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2.xml" ContentType="application/vnd.openxmlformats-officedocument.presentationml.notesSlid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3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6" r:id="rId1"/>
    <p:sldMasterId id="2147483697" r:id="rId2"/>
  </p:sldMasterIdLst>
  <p:notesMasterIdLst>
    <p:notesMasterId r:id="rId7"/>
  </p:notesMasterIdLst>
  <p:sldIdLst>
    <p:sldId id="2147196855" r:id="rId3"/>
    <p:sldId id="2147474590" r:id="rId4"/>
    <p:sldId id="10753" r:id="rId5"/>
    <p:sldId id="2147474591" r:id="rId6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A86E4"/>
    <a:srgbClr val="1901A0"/>
    <a:srgbClr val="E85B0D"/>
    <a:srgbClr val="003A5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15A14AC-3394-FD39-9B07-D25D990B9D73}" v="3" dt="2025-03-17T09:58:55.394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987" autoAdjust="0"/>
    <p:restoredTop sz="94660"/>
  </p:normalViewPr>
  <p:slideViewPr>
    <p:cSldViewPr snapToGrid="0">
      <p:cViewPr varScale="1">
        <p:scale>
          <a:sx n="122" d="100"/>
          <a:sy n="122" d="100"/>
        </p:scale>
        <p:origin x="96" y="54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13" Type="http://schemas.microsoft.com/office/2015/10/relationships/revisionInfo" Target="revisionInfo.xml"/><Relationship Id="rId3" Type="http://schemas.openxmlformats.org/officeDocument/2006/relationships/slide" Target="slides/slide1.xml"/><Relationship Id="rId7" Type="http://schemas.openxmlformats.org/officeDocument/2006/relationships/notesMaster" Target="notesMasters/notesMaster1.xml"/><Relationship Id="rId12" Type="http://schemas.microsoft.com/office/2016/11/relationships/changesInfo" Target="changesInfos/changesInfo1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tableStyles" Target="tableStyles.xml"/><Relationship Id="rId5" Type="http://schemas.openxmlformats.org/officeDocument/2006/relationships/slide" Target="slides/slide3.xml"/><Relationship Id="rId10" Type="http://schemas.openxmlformats.org/officeDocument/2006/relationships/theme" Target="theme/theme1.xml"/><Relationship Id="rId4" Type="http://schemas.openxmlformats.org/officeDocument/2006/relationships/slide" Target="slides/slide2.xml"/><Relationship Id="rId9" Type="http://schemas.openxmlformats.org/officeDocument/2006/relationships/viewProps" Target="view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Balzano, Emanuele" userId="28a855f8-0191-4643-87e3-50227280815d" providerId="ADAL" clId="{E4490ACD-0C5D-498F-9577-DDE88531802A}"/>
    <pc:docChg chg="undo custSel addSld delSld modSld sldOrd">
      <pc:chgData name="Balzano, Emanuele" userId="28a855f8-0191-4643-87e3-50227280815d" providerId="ADAL" clId="{E4490ACD-0C5D-498F-9577-DDE88531802A}" dt="2025-03-13T15:56:53.873" v="432" actId="1076"/>
      <pc:docMkLst>
        <pc:docMk/>
      </pc:docMkLst>
      <pc:sldChg chg="del">
        <pc:chgData name="Balzano, Emanuele" userId="28a855f8-0191-4643-87e3-50227280815d" providerId="ADAL" clId="{E4490ACD-0C5D-498F-9577-DDE88531802A}" dt="2025-02-18T09:59:17.321" v="15" actId="2696"/>
        <pc:sldMkLst>
          <pc:docMk/>
          <pc:sldMk cId="3910287114" sldId="3730"/>
        </pc:sldMkLst>
      </pc:sldChg>
      <pc:sldChg chg="addSp modSp mod">
        <pc:chgData name="Balzano, Emanuele" userId="28a855f8-0191-4643-87e3-50227280815d" providerId="ADAL" clId="{E4490ACD-0C5D-498F-9577-DDE88531802A}" dt="2025-03-13T15:46:15.709" v="389" actId="1076"/>
        <pc:sldMkLst>
          <pc:docMk/>
          <pc:sldMk cId="3198990156" sldId="10753"/>
        </pc:sldMkLst>
        <pc:spChg chg="add mod">
          <ac:chgData name="Balzano, Emanuele" userId="28a855f8-0191-4643-87e3-50227280815d" providerId="ADAL" clId="{E4490ACD-0C5D-498F-9577-DDE88531802A}" dt="2025-03-13T15:46:15.709" v="389" actId="1076"/>
          <ac:spMkLst>
            <pc:docMk/>
            <pc:sldMk cId="3198990156" sldId="10753"/>
            <ac:spMk id="2" creationId="{B98809F2-94B1-5FD8-F470-415B6579D412}"/>
          </ac:spMkLst>
        </pc:spChg>
        <pc:spChg chg="mod">
          <ac:chgData name="Balzano, Emanuele" userId="28a855f8-0191-4643-87e3-50227280815d" providerId="ADAL" clId="{E4490ACD-0C5D-498F-9577-DDE88531802A}" dt="2025-03-13T15:46:05.999" v="388" actId="20577"/>
          <ac:spMkLst>
            <pc:docMk/>
            <pc:sldMk cId="3198990156" sldId="10753"/>
            <ac:spMk id="4" creationId="{1EF2F9A0-03FB-39D6-C907-FC8C1527D97F}"/>
          </ac:spMkLst>
        </pc:spChg>
        <pc:spChg chg="mod">
          <ac:chgData name="Balzano, Emanuele" userId="28a855f8-0191-4643-87e3-50227280815d" providerId="ADAL" clId="{E4490ACD-0C5D-498F-9577-DDE88531802A}" dt="2025-02-18T10:01:48.068" v="43"/>
          <ac:spMkLst>
            <pc:docMk/>
            <pc:sldMk cId="3198990156" sldId="10753"/>
            <ac:spMk id="7" creationId="{E02CCC24-39AC-16E0-7A47-02C584589BB4}"/>
          </ac:spMkLst>
        </pc:spChg>
        <pc:spChg chg="add mod">
          <ac:chgData name="Balzano, Emanuele" userId="28a855f8-0191-4643-87e3-50227280815d" providerId="ADAL" clId="{E4490ACD-0C5D-498F-9577-DDE88531802A}" dt="2025-03-13T15:46:15.709" v="389" actId="1076"/>
          <ac:spMkLst>
            <pc:docMk/>
            <pc:sldMk cId="3198990156" sldId="10753"/>
            <ac:spMk id="8" creationId="{FD0B0907-8174-5D49-875F-7D3C91BFCB1A}"/>
          </ac:spMkLst>
        </pc:spChg>
        <pc:spChg chg="mod">
          <ac:chgData name="Balzano, Emanuele" userId="28a855f8-0191-4643-87e3-50227280815d" providerId="ADAL" clId="{E4490ACD-0C5D-498F-9577-DDE88531802A}" dt="2025-02-18T10:03:28.878" v="51" actId="122"/>
          <ac:spMkLst>
            <pc:docMk/>
            <pc:sldMk cId="3198990156" sldId="10753"/>
            <ac:spMk id="23" creationId="{B3AC76E3-77A2-EAC8-47E5-DA51164CFD83}"/>
          </ac:spMkLst>
        </pc:spChg>
        <pc:spChg chg="mod">
          <ac:chgData name="Balzano, Emanuele" userId="28a855f8-0191-4643-87e3-50227280815d" providerId="ADAL" clId="{E4490ACD-0C5D-498F-9577-DDE88531802A}" dt="2025-02-18T10:03:34.184" v="52" actId="122"/>
          <ac:spMkLst>
            <pc:docMk/>
            <pc:sldMk cId="3198990156" sldId="10753"/>
            <ac:spMk id="25" creationId="{25143F53-DCC1-D8C8-6838-E696DDBA6914}"/>
          </ac:spMkLst>
        </pc:spChg>
        <pc:spChg chg="mod">
          <ac:chgData name="Balzano, Emanuele" userId="28a855f8-0191-4643-87e3-50227280815d" providerId="ADAL" clId="{E4490ACD-0C5D-498F-9577-DDE88531802A}" dt="2025-03-13T15:43:43.229" v="268" actId="1076"/>
          <ac:spMkLst>
            <pc:docMk/>
            <pc:sldMk cId="3198990156" sldId="10753"/>
            <ac:spMk id="28" creationId="{D88A5E68-0B93-35D2-D229-95DE122615CF}"/>
          </ac:spMkLst>
        </pc:spChg>
        <pc:spChg chg="mod">
          <ac:chgData name="Balzano, Emanuele" userId="28a855f8-0191-4643-87e3-50227280815d" providerId="ADAL" clId="{E4490ACD-0C5D-498F-9577-DDE88531802A}" dt="2025-03-13T15:43:43.229" v="268" actId="1076"/>
          <ac:spMkLst>
            <pc:docMk/>
            <pc:sldMk cId="3198990156" sldId="10753"/>
            <ac:spMk id="41" creationId="{533F3837-3C24-077E-3055-C452D89038E2}"/>
          </ac:spMkLst>
        </pc:spChg>
        <pc:spChg chg="mod">
          <ac:chgData name="Balzano, Emanuele" userId="28a855f8-0191-4643-87e3-50227280815d" providerId="ADAL" clId="{E4490ACD-0C5D-498F-9577-DDE88531802A}" dt="2025-03-13T15:43:43.229" v="268" actId="1076"/>
          <ac:spMkLst>
            <pc:docMk/>
            <pc:sldMk cId="3198990156" sldId="10753"/>
            <ac:spMk id="42" creationId="{04379090-840D-4BD1-1BC1-1FC3E4FD5150}"/>
          </ac:spMkLst>
        </pc:spChg>
      </pc:sldChg>
      <pc:sldChg chg="addSp delSp modSp add mod ord">
        <pc:chgData name="Balzano, Emanuele" userId="28a855f8-0191-4643-87e3-50227280815d" providerId="ADAL" clId="{E4490ACD-0C5D-498F-9577-DDE88531802A}" dt="2025-03-13T15:56:53.873" v="432" actId="1076"/>
        <pc:sldMkLst>
          <pc:docMk/>
          <pc:sldMk cId="4158881704" sldId="2147196855"/>
        </pc:sldMkLst>
        <pc:spChg chg="del mod">
          <ac:chgData name="Balzano, Emanuele" userId="28a855f8-0191-4643-87e3-50227280815d" providerId="ADAL" clId="{E4490ACD-0C5D-498F-9577-DDE88531802A}" dt="2025-03-13T13:52:57.772" v="121" actId="478"/>
          <ac:spMkLst>
            <pc:docMk/>
            <pc:sldMk cId="4158881704" sldId="2147196855"/>
            <ac:spMk id="2" creationId="{C1037569-52DF-CC8F-1FEF-728A7469DCBF}"/>
          </ac:spMkLst>
        </pc:spChg>
        <pc:spChg chg="mod">
          <ac:chgData name="Balzano, Emanuele" userId="28a855f8-0191-4643-87e3-50227280815d" providerId="ADAL" clId="{E4490ACD-0C5D-498F-9577-DDE88531802A}" dt="2025-03-13T13:53:39.241" v="136" actId="1076"/>
          <ac:spMkLst>
            <pc:docMk/>
            <pc:sldMk cId="4158881704" sldId="2147196855"/>
            <ac:spMk id="3" creationId="{8F150FB7-82EF-80BB-9551-FF52E73AAA61}"/>
          </ac:spMkLst>
        </pc:spChg>
        <pc:spChg chg="mod">
          <ac:chgData name="Balzano, Emanuele" userId="28a855f8-0191-4643-87e3-50227280815d" providerId="ADAL" clId="{E4490ACD-0C5D-498F-9577-DDE88531802A}" dt="2025-03-13T15:46:32.553" v="398" actId="1076"/>
          <ac:spMkLst>
            <pc:docMk/>
            <pc:sldMk cId="4158881704" sldId="2147196855"/>
            <ac:spMk id="4" creationId="{CCDFF03F-A55D-4422-962A-517253EE9B16}"/>
          </ac:spMkLst>
        </pc:spChg>
        <pc:spChg chg="del mod">
          <ac:chgData name="Balzano, Emanuele" userId="28a855f8-0191-4643-87e3-50227280815d" providerId="ADAL" clId="{E4490ACD-0C5D-498F-9577-DDE88531802A}" dt="2025-03-13T13:52:56.588" v="119" actId="478"/>
          <ac:spMkLst>
            <pc:docMk/>
            <pc:sldMk cId="4158881704" sldId="2147196855"/>
            <ac:spMk id="7" creationId="{234CABEA-EA16-6349-EA85-FBAEE64A2CEE}"/>
          </ac:spMkLst>
        </pc:spChg>
        <pc:spChg chg="mod">
          <ac:chgData name="Balzano, Emanuele" userId="28a855f8-0191-4643-87e3-50227280815d" providerId="ADAL" clId="{E4490ACD-0C5D-498F-9577-DDE88531802A}" dt="2025-03-13T15:50:46.908" v="425"/>
          <ac:spMkLst>
            <pc:docMk/>
            <pc:sldMk cId="4158881704" sldId="2147196855"/>
            <ac:spMk id="7" creationId="{2524014A-037C-9672-747C-38D2685DA6F6}"/>
          </ac:spMkLst>
        </pc:spChg>
        <pc:spChg chg="mod">
          <ac:chgData name="Balzano, Emanuele" userId="28a855f8-0191-4643-87e3-50227280815d" providerId="ADAL" clId="{E4490ACD-0C5D-498F-9577-DDE88531802A}" dt="2025-03-13T15:47:21.712" v="418" actId="14100"/>
          <ac:spMkLst>
            <pc:docMk/>
            <pc:sldMk cId="4158881704" sldId="2147196855"/>
            <ac:spMk id="8" creationId="{F77CC9B5-C73C-5BDA-69BF-4E9F3A2C0CD8}"/>
          </ac:spMkLst>
        </pc:spChg>
        <pc:spChg chg="mod">
          <ac:chgData name="Balzano, Emanuele" userId="28a855f8-0191-4643-87e3-50227280815d" providerId="ADAL" clId="{E4490ACD-0C5D-498F-9577-DDE88531802A}" dt="2025-03-13T15:50:46.908" v="425"/>
          <ac:spMkLst>
            <pc:docMk/>
            <pc:sldMk cId="4158881704" sldId="2147196855"/>
            <ac:spMk id="9" creationId="{FA411EC2-4578-DABE-B02C-52DE570181CD}"/>
          </ac:spMkLst>
        </pc:spChg>
        <pc:spChg chg="mod">
          <ac:chgData name="Balzano, Emanuele" userId="28a855f8-0191-4643-87e3-50227280815d" providerId="ADAL" clId="{E4490ACD-0C5D-498F-9577-DDE88531802A}" dt="2025-03-13T15:50:46.908" v="425"/>
          <ac:spMkLst>
            <pc:docMk/>
            <pc:sldMk cId="4158881704" sldId="2147196855"/>
            <ac:spMk id="10" creationId="{6E255A76-F6B9-F1E3-7574-9B8688676AAF}"/>
          </ac:spMkLst>
        </pc:spChg>
        <pc:spChg chg="mod">
          <ac:chgData name="Balzano, Emanuele" userId="28a855f8-0191-4643-87e3-50227280815d" providerId="ADAL" clId="{E4490ACD-0C5D-498F-9577-DDE88531802A}" dt="2025-03-13T15:50:46.908" v="425"/>
          <ac:spMkLst>
            <pc:docMk/>
            <pc:sldMk cId="4158881704" sldId="2147196855"/>
            <ac:spMk id="11" creationId="{37B6B594-6EA9-8A40-390E-1DEE0B6A16ED}"/>
          </ac:spMkLst>
        </pc:spChg>
        <pc:spChg chg="mod">
          <ac:chgData name="Balzano, Emanuele" userId="28a855f8-0191-4643-87e3-50227280815d" providerId="ADAL" clId="{E4490ACD-0C5D-498F-9577-DDE88531802A}" dt="2025-03-13T15:50:46.908" v="425"/>
          <ac:spMkLst>
            <pc:docMk/>
            <pc:sldMk cId="4158881704" sldId="2147196855"/>
            <ac:spMk id="12" creationId="{3C25536F-A0BD-B5E0-CB03-9278868E18CD}"/>
          </ac:spMkLst>
        </pc:spChg>
        <pc:spChg chg="mod">
          <ac:chgData name="Balzano, Emanuele" userId="28a855f8-0191-4643-87e3-50227280815d" providerId="ADAL" clId="{E4490ACD-0C5D-498F-9577-DDE88531802A}" dt="2025-03-13T15:50:46.908" v="425"/>
          <ac:spMkLst>
            <pc:docMk/>
            <pc:sldMk cId="4158881704" sldId="2147196855"/>
            <ac:spMk id="13" creationId="{9D32A6E2-85F6-59C5-FB92-DBE4885E4CD1}"/>
          </ac:spMkLst>
        </pc:spChg>
        <pc:spChg chg="mod">
          <ac:chgData name="Balzano, Emanuele" userId="28a855f8-0191-4643-87e3-50227280815d" providerId="ADAL" clId="{E4490ACD-0C5D-498F-9577-DDE88531802A}" dt="2025-03-13T15:50:46.908" v="425"/>
          <ac:spMkLst>
            <pc:docMk/>
            <pc:sldMk cId="4158881704" sldId="2147196855"/>
            <ac:spMk id="14" creationId="{9A296527-2345-1987-8BD3-BA6AEE5FEEFA}"/>
          </ac:spMkLst>
        </pc:spChg>
        <pc:spChg chg="mod">
          <ac:chgData name="Balzano, Emanuele" userId="28a855f8-0191-4643-87e3-50227280815d" providerId="ADAL" clId="{E4490ACD-0C5D-498F-9577-DDE88531802A}" dt="2025-03-13T15:50:46.908" v="425"/>
          <ac:spMkLst>
            <pc:docMk/>
            <pc:sldMk cId="4158881704" sldId="2147196855"/>
            <ac:spMk id="15" creationId="{8CC3BE97-00E3-8EC9-F4FC-D0619B7EF3F7}"/>
          </ac:spMkLst>
        </pc:spChg>
        <pc:spChg chg="mod">
          <ac:chgData name="Balzano, Emanuele" userId="28a855f8-0191-4643-87e3-50227280815d" providerId="ADAL" clId="{E4490ACD-0C5D-498F-9577-DDE88531802A}" dt="2025-03-13T15:50:46.908" v="425"/>
          <ac:spMkLst>
            <pc:docMk/>
            <pc:sldMk cId="4158881704" sldId="2147196855"/>
            <ac:spMk id="16" creationId="{3B8BFF0E-6DE4-D1C7-FE6C-EE56B5AB9B31}"/>
          </ac:spMkLst>
        </pc:spChg>
        <pc:spChg chg="mod">
          <ac:chgData name="Balzano, Emanuele" userId="28a855f8-0191-4643-87e3-50227280815d" providerId="ADAL" clId="{E4490ACD-0C5D-498F-9577-DDE88531802A}" dt="2025-03-13T15:50:46.908" v="425"/>
          <ac:spMkLst>
            <pc:docMk/>
            <pc:sldMk cId="4158881704" sldId="2147196855"/>
            <ac:spMk id="17" creationId="{C5EE50B0-3238-2D0E-5B05-171B7938C87A}"/>
          </ac:spMkLst>
        </pc:spChg>
        <pc:spChg chg="mod">
          <ac:chgData name="Balzano, Emanuele" userId="28a855f8-0191-4643-87e3-50227280815d" providerId="ADAL" clId="{E4490ACD-0C5D-498F-9577-DDE88531802A}" dt="2025-03-13T15:50:46.908" v="425"/>
          <ac:spMkLst>
            <pc:docMk/>
            <pc:sldMk cId="4158881704" sldId="2147196855"/>
            <ac:spMk id="18" creationId="{76172FC8-53C2-EB16-26CD-05EAA64C0CCE}"/>
          </ac:spMkLst>
        </pc:spChg>
        <pc:spChg chg="mod">
          <ac:chgData name="Balzano, Emanuele" userId="28a855f8-0191-4643-87e3-50227280815d" providerId="ADAL" clId="{E4490ACD-0C5D-498F-9577-DDE88531802A}" dt="2025-03-13T15:50:46.908" v="425"/>
          <ac:spMkLst>
            <pc:docMk/>
            <pc:sldMk cId="4158881704" sldId="2147196855"/>
            <ac:spMk id="19" creationId="{83C5DFE7-BE1D-D9BF-3D80-45EE46732176}"/>
          </ac:spMkLst>
        </pc:spChg>
        <pc:spChg chg="mod">
          <ac:chgData name="Balzano, Emanuele" userId="28a855f8-0191-4643-87e3-50227280815d" providerId="ADAL" clId="{E4490ACD-0C5D-498F-9577-DDE88531802A}" dt="2025-03-13T15:50:46.908" v="425"/>
          <ac:spMkLst>
            <pc:docMk/>
            <pc:sldMk cId="4158881704" sldId="2147196855"/>
            <ac:spMk id="20" creationId="{FB3599FE-E077-5A6D-C7F5-B901D983A0E7}"/>
          </ac:spMkLst>
        </pc:spChg>
        <pc:spChg chg="mod">
          <ac:chgData name="Balzano, Emanuele" userId="28a855f8-0191-4643-87e3-50227280815d" providerId="ADAL" clId="{E4490ACD-0C5D-498F-9577-DDE88531802A}" dt="2025-03-13T15:50:46.908" v="425"/>
          <ac:spMkLst>
            <pc:docMk/>
            <pc:sldMk cId="4158881704" sldId="2147196855"/>
            <ac:spMk id="21" creationId="{E1B64421-F0CD-6CA7-AE9E-032BC367A21F}"/>
          </ac:spMkLst>
        </pc:spChg>
        <pc:spChg chg="mod">
          <ac:chgData name="Balzano, Emanuele" userId="28a855f8-0191-4643-87e3-50227280815d" providerId="ADAL" clId="{E4490ACD-0C5D-498F-9577-DDE88531802A}" dt="2025-03-13T15:50:46.908" v="425"/>
          <ac:spMkLst>
            <pc:docMk/>
            <pc:sldMk cId="4158881704" sldId="2147196855"/>
            <ac:spMk id="22" creationId="{7A91CF9D-A6E9-65E0-19E7-04902B707D75}"/>
          </ac:spMkLst>
        </pc:spChg>
        <pc:spChg chg="mod">
          <ac:chgData name="Balzano, Emanuele" userId="28a855f8-0191-4643-87e3-50227280815d" providerId="ADAL" clId="{E4490ACD-0C5D-498F-9577-DDE88531802A}" dt="2025-03-13T15:50:46.908" v="425"/>
          <ac:spMkLst>
            <pc:docMk/>
            <pc:sldMk cId="4158881704" sldId="2147196855"/>
            <ac:spMk id="23" creationId="{467B9D65-DB9C-9279-5F30-FE39DD735986}"/>
          </ac:spMkLst>
        </pc:spChg>
        <pc:spChg chg="mod">
          <ac:chgData name="Balzano, Emanuele" userId="28a855f8-0191-4643-87e3-50227280815d" providerId="ADAL" clId="{E4490ACD-0C5D-498F-9577-DDE88531802A}" dt="2025-03-13T15:50:46.908" v="425"/>
          <ac:spMkLst>
            <pc:docMk/>
            <pc:sldMk cId="4158881704" sldId="2147196855"/>
            <ac:spMk id="24" creationId="{109D5892-F372-2C46-DC05-869BA2DCF06E}"/>
          </ac:spMkLst>
        </pc:spChg>
        <pc:spChg chg="mod">
          <ac:chgData name="Balzano, Emanuele" userId="28a855f8-0191-4643-87e3-50227280815d" providerId="ADAL" clId="{E4490ACD-0C5D-498F-9577-DDE88531802A}" dt="2025-03-13T15:50:46.908" v="425"/>
          <ac:spMkLst>
            <pc:docMk/>
            <pc:sldMk cId="4158881704" sldId="2147196855"/>
            <ac:spMk id="25" creationId="{22D858B9-C791-CDAC-1A9C-B781846CA175}"/>
          </ac:spMkLst>
        </pc:spChg>
        <pc:spChg chg="mod">
          <ac:chgData name="Balzano, Emanuele" userId="28a855f8-0191-4643-87e3-50227280815d" providerId="ADAL" clId="{E4490ACD-0C5D-498F-9577-DDE88531802A}" dt="2025-03-13T15:50:46.908" v="425"/>
          <ac:spMkLst>
            <pc:docMk/>
            <pc:sldMk cId="4158881704" sldId="2147196855"/>
            <ac:spMk id="26" creationId="{C2999662-262B-E3C8-967C-DB46D456867E}"/>
          </ac:spMkLst>
        </pc:spChg>
        <pc:spChg chg="mod">
          <ac:chgData name="Balzano, Emanuele" userId="28a855f8-0191-4643-87e3-50227280815d" providerId="ADAL" clId="{E4490ACD-0C5D-498F-9577-DDE88531802A}" dt="2025-03-13T15:50:46.908" v="425"/>
          <ac:spMkLst>
            <pc:docMk/>
            <pc:sldMk cId="4158881704" sldId="2147196855"/>
            <ac:spMk id="27" creationId="{E2B265B2-6960-3C22-40F4-0230D86F35F0}"/>
          </ac:spMkLst>
        </pc:spChg>
        <pc:spChg chg="mod">
          <ac:chgData name="Balzano, Emanuele" userId="28a855f8-0191-4643-87e3-50227280815d" providerId="ADAL" clId="{E4490ACD-0C5D-498F-9577-DDE88531802A}" dt="2025-03-13T15:50:46.908" v="425"/>
          <ac:spMkLst>
            <pc:docMk/>
            <pc:sldMk cId="4158881704" sldId="2147196855"/>
            <ac:spMk id="28" creationId="{A7834CC3-DEE8-036B-2788-7808EDC1B0AA}"/>
          </ac:spMkLst>
        </pc:spChg>
        <pc:spChg chg="mod">
          <ac:chgData name="Balzano, Emanuele" userId="28a855f8-0191-4643-87e3-50227280815d" providerId="ADAL" clId="{E4490ACD-0C5D-498F-9577-DDE88531802A}" dt="2025-03-13T15:50:46.908" v="425"/>
          <ac:spMkLst>
            <pc:docMk/>
            <pc:sldMk cId="4158881704" sldId="2147196855"/>
            <ac:spMk id="29" creationId="{22365D8F-9DBC-0061-4F2B-C88638782BBE}"/>
          </ac:spMkLst>
        </pc:spChg>
        <pc:spChg chg="mod">
          <ac:chgData name="Balzano, Emanuele" userId="28a855f8-0191-4643-87e3-50227280815d" providerId="ADAL" clId="{E4490ACD-0C5D-498F-9577-DDE88531802A}" dt="2025-03-13T15:50:46.908" v="425"/>
          <ac:spMkLst>
            <pc:docMk/>
            <pc:sldMk cId="4158881704" sldId="2147196855"/>
            <ac:spMk id="30" creationId="{D3F15A30-6393-C701-5454-270B16FAE021}"/>
          </ac:spMkLst>
        </pc:spChg>
        <pc:spChg chg="mod">
          <ac:chgData name="Balzano, Emanuele" userId="28a855f8-0191-4643-87e3-50227280815d" providerId="ADAL" clId="{E4490ACD-0C5D-498F-9577-DDE88531802A}" dt="2025-03-13T15:50:46.908" v="425"/>
          <ac:spMkLst>
            <pc:docMk/>
            <pc:sldMk cId="4158881704" sldId="2147196855"/>
            <ac:spMk id="33" creationId="{8F9562AC-C7CB-3EAD-964B-A06855572F6D}"/>
          </ac:spMkLst>
        </pc:spChg>
        <pc:spChg chg="del">
          <ac:chgData name="Balzano, Emanuele" userId="28a855f8-0191-4643-87e3-50227280815d" providerId="ADAL" clId="{E4490ACD-0C5D-498F-9577-DDE88531802A}" dt="2025-03-13T13:52:49.633" v="114" actId="478"/>
          <ac:spMkLst>
            <pc:docMk/>
            <pc:sldMk cId="4158881704" sldId="2147196855"/>
            <ac:spMk id="35" creationId="{40E681B1-F8AA-EE13-8F37-E474B8C9F365}"/>
          </ac:spMkLst>
        </pc:spChg>
        <pc:spChg chg="mod">
          <ac:chgData name="Balzano, Emanuele" userId="28a855f8-0191-4643-87e3-50227280815d" providerId="ADAL" clId="{E4490ACD-0C5D-498F-9577-DDE88531802A}" dt="2025-03-13T15:50:46.908" v="425"/>
          <ac:spMkLst>
            <pc:docMk/>
            <pc:sldMk cId="4158881704" sldId="2147196855"/>
            <ac:spMk id="36" creationId="{9473973E-7B5C-0122-4A6B-47A141508B25}"/>
          </ac:spMkLst>
        </pc:spChg>
        <pc:spChg chg="mod">
          <ac:chgData name="Balzano, Emanuele" userId="28a855f8-0191-4643-87e3-50227280815d" providerId="ADAL" clId="{E4490ACD-0C5D-498F-9577-DDE88531802A}" dt="2025-03-13T15:50:46.908" v="425"/>
          <ac:spMkLst>
            <pc:docMk/>
            <pc:sldMk cId="4158881704" sldId="2147196855"/>
            <ac:spMk id="37" creationId="{711E4FCC-6A00-025F-C688-26870F747A9A}"/>
          </ac:spMkLst>
        </pc:spChg>
        <pc:spChg chg="del">
          <ac:chgData name="Balzano, Emanuele" userId="28a855f8-0191-4643-87e3-50227280815d" providerId="ADAL" clId="{E4490ACD-0C5D-498F-9577-DDE88531802A}" dt="2025-03-13T13:52:46.332" v="110" actId="478"/>
          <ac:spMkLst>
            <pc:docMk/>
            <pc:sldMk cId="4158881704" sldId="2147196855"/>
            <ac:spMk id="38" creationId="{E25C35EE-89CB-47CB-C481-8E47570BC6F4}"/>
          </ac:spMkLst>
        </pc:spChg>
        <pc:spChg chg="mod">
          <ac:chgData name="Balzano, Emanuele" userId="28a855f8-0191-4643-87e3-50227280815d" providerId="ADAL" clId="{E4490ACD-0C5D-498F-9577-DDE88531802A}" dt="2025-03-13T15:50:46.908" v="425"/>
          <ac:spMkLst>
            <pc:docMk/>
            <pc:sldMk cId="4158881704" sldId="2147196855"/>
            <ac:spMk id="39" creationId="{CDB713A9-32FB-2C43-8757-538E59DD1ABA}"/>
          </ac:spMkLst>
        </pc:spChg>
        <pc:spChg chg="mod">
          <ac:chgData name="Balzano, Emanuele" userId="28a855f8-0191-4643-87e3-50227280815d" providerId="ADAL" clId="{E4490ACD-0C5D-498F-9577-DDE88531802A}" dt="2025-03-13T15:50:46.908" v="425"/>
          <ac:spMkLst>
            <pc:docMk/>
            <pc:sldMk cId="4158881704" sldId="2147196855"/>
            <ac:spMk id="40" creationId="{0AD2BA74-FBB9-00FC-EB50-6E70D3A0F073}"/>
          </ac:spMkLst>
        </pc:spChg>
        <pc:spChg chg="del mod">
          <ac:chgData name="Balzano, Emanuele" userId="28a855f8-0191-4643-87e3-50227280815d" providerId="ADAL" clId="{E4490ACD-0C5D-498F-9577-DDE88531802A}" dt="2025-03-13T13:52:51.301" v="116" actId="478"/>
          <ac:spMkLst>
            <pc:docMk/>
            <pc:sldMk cId="4158881704" sldId="2147196855"/>
            <ac:spMk id="40" creationId="{2020782A-AD8F-F41F-F745-AD3AEDA0754F}"/>
          </ac:spMkLst>
        </pc:spChg>
        <pc:spChg chg="del mod">
          <ac:chgData name="Balzano, Emanuele" userId="28a855f8-0191-4643-87e3-50227280815d" providerId="ADAL" clId="{E4490ACD-0C5D-498F-9577-DDE88531802A}" dt="2025-03-13T15:46:24.320" v="391" actId="478"/>
          <ac:spMkLst>
            <pc:docMk/>
            <pc:sldMk cId="4158881704" sldId="2147196855"/>
            <ac:spMk id="41" creationId="{99F060FC-16D0-E26B-AED0-D6B8FC799E2F}"/>
          </ac:spMkLst>
        </pc:spChg>
        <pc:spChg chg="mod">
          <ac:chgData name="Balzano, Emanuele" userId="28a855f8-0191-4643-87e3-50227280815d" providerId="ADAL" clId="{E4490ACD-0C5D-498F-9577-DDE88531802A}" dt="2025-03-13T15:50:46.908" v="425"/>
          <ac:spMkLst>
            <pc:docMk/>
            <pc:sldMk cId="4158881704" sldId="2147196855"/>
            <ac:spMk id="42" creationId="{B4EB9D06-8FE5-979B-CD4E-F363F3FE7D9F}"/>
          </ac:spMkLst>
        </pc:spChg>
        <pc:spChg chg="mod">
          <ac:chgData name="Balzano, Emanuele" userId="28a855f8-0191-4643-87e3-50227280815d" providerId="ADAL" clId="{E4490ACD-0C5D-498F-9577-DDE88531802A}" dt="2025-03-13T15:50:46.908" v="425"/>
          <ac:spMkLst>
            <pc:docMk/>
            <pc:sldMk cId="4158881704" sldId="2147196855"/>
            <ac:spMk id="43" creationId="{31439E8E-7041-0D4C-D454-D92337873AF8}"/>
          </ac:spMkLst>
        </pc:spChg>
        <pc:spChg chg="mod">
          <ac:chgData name="Balzano, Emanuele" userId="28a855f8-0191-4643-87e3-50227280815d" providerId="ADAL" clId="{E4490ACD-0C5D-498F-9577-DDE88531802A}" dt="2025-03-13T15:50:46.908" v="425"/>
          <ac:spMkLst>
            <pc:docMk/>
            <pc:sldMk cId="4158881704" sldId="2147196855"/>
            <ac:spMk id="47" creationId="{94951880-EE08-8677-52B4-477EC6E584CA}"/>
          </ac:spMkLst>
        </pc:spChg>
        <pc:spChg chg="mod">
          <ac:chgData name="Balzano, Emanuele" userId="28a855f8-0191-4643-87e3-50227280815d" providerId="ADAL" clId="{E4490ACD-0C5D-498F-9577-DDE88531802A}" dt="2025-03-13T15:50:46.908" v="425"/>
          <ac:spMkLst>
            <pc:docMk/>
            <pc:sldMk cId="4158881704" sldId="2147196855"/>
            <ac:spMk id="48" creationId="{34F8CF44-7113-BAD1-75C0-9BA084013768}"/>
          </ac:spMkLst>
        </pc:spChg>
        <pc:spChg chg="mod">
          <ac:chgData name="Balzano, Emanuele" userId="28a855f8-0191-4643-87e3-50227280815d" providerId="ADAL" clId="{E4490ACD-0C5D-498F-9577-DDE88531802A}" dt="2025-03-13T15:50:46.908" v="425"/>
          <ac:spMkLst>
            <pc:docMk/>
            <pc:sldMk cId="4158881704" sldId="2147196855"/>
            <ac:spMk id="49" creationId="{942E9592-50CC-6BBD-DF81-70C9B09C2688}"/>
          </ac:spMkLst>
        </pc:spChg>
        <pc:spChg chg="mod">
          <ac:chgData name="Balzano, Emanuele" userId="28a855f8-0191-4643-87e3-50227280815d" providerId="ADAL" clId="{E4490ACD-0C5D-498F-9577-DDE88531802A}" dt="2025-03-13T13:53:49.781" v="138" actId="1076"/>
          <ac:spMkLst>
            <pc:docMk/>
            <pc:sldMk cId="4158881704" sldId="2147196855"/>
            <ac:spMk id="51" creationId="{2948A2DF-7E9B-4A8B-AEF0-C8CFC12AB0AA}"/>
          </ac:spMkLst>
        </pc:spChg>
        <pc:spChg chg="mod">
          <ac:chgData name="Balzano, Emanuele" userId="28a855f8-0191-4643-87e3-50227280815d" providerId="ADAL" clId="{E4490ACD-0C5D-498F-9577-DDE88531802A}" dt="2025-03-13T15:46:56.737" v="401" actId="1076"/>
          <ac:spMkLst>
            <pc:docMk/>
            <pc:sldMk cId="4158881704" sldId="2147196855"/>
            <ac:spMk id="52" creationId="{3F4CDA25-C8CD-40F6-821E-FE3F4CC08B27}"/>
          </ac:spMkLst>
        </pc:spChg>
        <pc:spChg chg="mod">
          <ac:chgData name="Balzano, Emanuele" userId="28a855f8-0191-4643-87e3-50227280815d" providerId="ADAL" clId="{E4490ACD-0C5D-498F-9577-DDE88531802A}" dt="2025-03-13T15:50:46.908" v="425"/>
          <ac:spMkLst>
            <pc:docMk/>
            <pc:sldMk cId="4158881704" sldId="2147196855"/>
            <ac:spMk id="53" creationId="{91CE2DE3-FF10-3463-21BE-BE7862D9D540}"/>
          </ac:spMkLst>
        </pc:spChg>
        <pc:spChg chg="mod">
          <ac:chgData name="Balzano, Emanuele" userId="28a855f8-0191-4643-87e3-50227280815d" providerId="ADAL" clId="{E4490ACD-0C5D-498F-9577-DDE88531802A}" dt="2025-03-13T15:46:56.737" v="401" actId="1076"/>
          <ac:spMkLst>
            <pc:docMk/>
            <pc:sldMk cId="4158881704" sldId="2147196855"/>
            <ac:spMk id="54" creationId="{7359F6F4-8649-4F02-9C6D-7799BBE18380}"/>
          </ac:spMkLst>
        </pc:spChg>
        <pc:spChg chg="mod">
          <ac:chgData name="Balzano, Emanuele" userId="28a855f8-0191-4643-87e3-50227280815d" providerId="ADAL" clId="{E4490ACD-0C5D-498F-9577-DDE88531802A}" dt="2025-03-13T15:50:46.908" v="425"/>
          <ac:spMkLst>
            <pc:docMk/>
            <pc:sldMk cId="4158881704" sldId="2147196855"/>
            <ac:spMk id="55" creationId="{260099A6-DCD8-D04A-E730-D821582FA479}"/>
          </ac:spMkLst>
        </pc:spChg>
        <pc:spChg chg="mod">
          <ac:chgData name="Balzano, Emanuele" userId="28a855f8-0191-4643-87e3-50227280815d" providerId="ADAL" clId="{E4490ACD-0C5D-498F-9577-DDE88531802A}" dt="2025-03-13T15:50:46.908" v="425"/>
          <ac:spMkLst>
            <pc:docMk/>
            <pc:sldMk cId="4158881704" sldId="2147196855"/>
            <ac:spMk id="56" creationId="{8AA6DA6B-479E-AB98-B6E7-34E0451635B9}"/>
          </ac:spMkLst>
        </pc:spChg>
        <pc:spChg chg="mod">
          <ac:chgData name="Balzano, Emanuele" userId="28a855f8-0191-4643-87e3-50227280815d" providerId="ADAL" clId="{E4490ACD-0C5D-498F-9577-DDE88531802A}" dt="2025-03-13T15:50:46.908" v="425"/>
          <ac:spMkLst>
            <pc:docMk/>
            <pc:sldMk cId="4158881704" sldId="2147196855"/>
            <ac:spMk id="57" creationId="{CF8EA327-6CDF-1688-EF2F-3FF6AF30CD25}"/>
          </ac:spMkLst>
        </pc:spChg>
        <pc:spChg chg="mod">
          <ac:chgData name="Balzano, Emanuele" userId="28a855f8-0191-4643-87e3-50227280815d" providerId="ADAL" clId="{E4490ACD-0C5D-498F-9577-DDE88531802A}" dt="2025-03-13T15:50:46.908" v="425"/>
          <ac:spMkLst>
            <pc:docMk/>
            <pc:sldMk cId="4158881704" sldId="2147196855"/>
            <ac:spMk id="58" creationId="{DB084DE5-2E52-8148-8E0F-E65C5DA65D7F}"/>
          </ac:spMkLst>
        </pc:spChg>
        <pc:spChg chg="mod">
          <ac:chgData name="Balzano, Emanuele" userId="28a855f8-0191-4643-87e3-50227280815d" providerId="ADAL" clId="{E4490ACD-0C5D-498F-9577-DDE88531802A}" dt="2025-03-13T15:56:21.900" v="427"/>
          <ac:spMkLst>
            <pc:docMk/>
            <pc:sldMk cId="4158881704" sldId="2147196855"/>
            <ac:spMk id="65" creationId="{1C34E024-75E3-2ACB-3C7C-81EB04768A09}"/>
          </ac:spMkLst>
        </pc:spChg>
        <pc:spChg chg="mod">
          <ac:chgData name="Balzano, Emanuele" userId="28a855f8-0191-4643-87e3-50227280815d" providerId="ADAL" clId="{E4490ACD-0C5D-498F-9577-DDE88531802A}" dt="2025-03-13T15:56:21.900" v="427"/>
          <ac:spMkLst>
            <pc:docMk/>
            <pc:sldMk cId="4158881704" sldId="2147196855"/>
            <ac:spMk id="68" creationId="{DED58A15-6129-E467-90B8-06AD308B67EB}"/>
          </ac:spMkLst>
        </pc:spChg>
        <pc:spChg chg="mod">
          <ac:chgData name="Balzano, Emanuele" userId="28a855f8-0191-4643-87e3-50227280815d" providerId="ADAL" clId="{E4490ACD-0C5D-498F-9577-DDE88531802A}" dt="2025-03-13T13:53:25.295" v="130" actId="1076"/>
          <ac:spMkLst>
            <pc:docMk/>
            <pc:sldMk cId="4158881704" sldId="2147196855"/>
            <ac:spMk id="69" creationId="{1C460F3F-05E8-4ED8-AF24-A24DB8F72479}"/>
          </ac:spMkLst>
        </pc:spChg>
        <pc:spChg chg="mod">
          <ac:chgData name="Balzano, Emanuele" userId="28a855f8-0191-4643-87e3-50227280815d" providerId="ADAL" clId="{E4490ACD-0C5D-498F-9577-DDE88531802A}" dt="2025-03-13T15:56:21.900" v="427"/>
          <ac:spMkLst>
            <pc:docMk/>
            <pc:sldMk cId="4158881704" sldId="2147196855"/>
            <ac:spMk id="70" creationId="{B4D043B9-DEFC-04E0-7A29-EF31B3CE620A}"/>
          </ac:spMkLst>
        </pc:spChg>
        <pc:spChg chg="mod">
          <ac:chgData name="Balzano, Emanuele" userId="28a855f8-0191-4643-87e3-50227280815d" providerId="ADAL" clId="{E4490ACD-0C5D-498F-9577-DDE88531802A}" dt="2025-03-13T15:56:21.900" v="427"/>
          <ac:spMkLst>
            <pc:docMk/>
            <pc:sldMk cId="4158881704" sldId="2147196855"/>
            <ac:spMk id="71" creationId="{97130C97-11E2-0279-9E1F-10E7B58B7090}"/>
          </ac:spMkLst>
        </pc:spChg>
        <pc:spChg chg="mod">
          <ac:chgData name="Balzano, Emanuele" userId="28a855f8-0191-4643-87e3-50227280815d" providerId="ADAL" clId="{E4490ACD-0C5D-498F-9577-DDE88531802A}" dt="2025-03-13T15:56:21.900" v="427"/>
          <ac:spMkLst>
            <pc:docMk/>
            <pc:sldMk cId="4158881704" sldId="2147196855"/>
            <ac:spMk id="72" creationId="{BE4D4037-F280-E647-4A8B-7418A1AA2AE1}"/>
          </ac:spMkLst>
        </pc:spChg>
        <pc:spChg chg="mod">
          <ac:chgData name="Balzano, Emanuele" userId="28a855f8-0191-4643-87e3-50227280815d" providerId="ADAL" clId="{E4490ACD-0C5D-498F-9577-DDE88531802A}" dt="2025-03-13T15:56:21.900" v="427"/>
          <ac:spMkLst>
            <pc:docMk/>
            <pc:sldMk cId="4158881704" sldId="2147196855"/>
            <ac:spMk id="74" creationId="{FBCE9DC4-96BC-C891-A154-FE0A4F49AA0A}"/>
          </ac:spMkLst>
        </pc:spChg>
        <pc:spChg chg="mod">
          <ac:chgData name="Balzano, Emanuele" userId="28a855f8-0191-4643-87e3-50227280815d" providerId="ADAL" clId="{E4490ACD-0C5D-498F-9577-DDE88531802A}" dt="2025-03-13T15:56:21.900" v="427"/>
          <ac:spMkLst>
            <pc:docMk/>
            <pc:sldMk cId="4158881704" sldId="2147196855"/>
            <ac:spMk id="75" creationId="{4F565D3E-D382-6048-D00D-28C406E0F65C}"/>
          </ac:spMkLst>
        </pc:spChg>
        <pc:spChg chg="mod">
          <ac:chgData name="Balzano, Emanuele" userId="28a855f8-0191-4643-87e3-50227280815d" providerId="ADAL" clId="{E4490ACD-0C5D-498F-9577-DDE88531802A}" dt="2025-03-13T15:56:21.900" v="427"/>
          <ac:spMkLst>
            <pc:docMk/>
            <pc:sldMk cId="4158881704" sldId="2147196855"/>
            <ac:spMk id="78" creationId="{BDD12B80-63F2-D3B5-D1A7-CEB6E42321C4}"/>
          </ac:spMkLst>
        </pc:spChg>
        <pc:spChg chg="mod">
          <ac:chgData name="Balzano, Emanuele" userId="28a855f8-0191-4643-87e3-50227280815d" providerId="ADAL" clId="{E4490ACD-0C5D-498F-9577-DDE88531802A}" dt="2025-03-13T15:56:21.900" v="427"/>
          <ac:spMkLst>
            <pc:docMk/>
            <pc:sldMk cId="4158881704" sldId="2147196855"/>
            <ac:spMk id="79" creationId="{6A27AF57-349C-36D9-F24D-0737B91A6581}"/>
          </ac:spMkLst>
        </pc:spChg>
        <pc:spChg chg="mod">
          <ac:chgData name="Balzano, Emanuele" userId="28a855f8-0191-4643-87e3-50227280815d" providerId="ADAL" clId="{E4490ACD-0C5D-498F-9577-DDE88531802A}" dt="2025-03-13T15:56:21.900" v="427"/>
          <ac:spMkLst>
            <pc:docMk/>
            <pc:sldMk cId="4158881704" sldId="2147196855"/>
            <ac:spMk id="80" creationId="{A452E824-19D3-6AF3-498B-C5711C520D19}"/>
          </ac:spMkLst>
        </pc:spChg>
        <pc:spChg chg="mod">
          <ac:chgData name="Balzano, Emanuele" userId="28a855f8-0191-4643-87e3-50227280815d" providerId="ADAL" clId="{E4490ACD-0C5D-498F-9577-DDE88531802A}" dt="2025-03-13T15:56:21.900" v="427"/>
          <ac:spMkLst>
            <pc:docMk/>
            <pc:sldMk cId="4158881704" sldId="2147196855"/>
            <ac:spMk id="83" creationId="{1C27DAA7-D580-396A-0C60-F9FC57BBA6F2}"/>
          </ac:spMkLst>
        </pc:spChg>
        <pc:spChg chg="mod">
          <ac:chgData name="Balzano, Emanuele" userId="28a855f8-0191-4643-87e3-50227280815d" providerId="ADAL" clId="{E4490ACD-0C5D-498F-9577-DDE88531802A}" dt="2025-03-13T13:53:28.209" v="131" actId="1076"/>
          <ac:spMkLst>
            <pc:docMk/>
            <pc:sldMk cId="4158881704" sldId="2147196855"/>
            <ac:spMk id="90" creationId="{D267B2BF-56DD-4EB5-BF8A-473A2F901C2E}"/>
          </ac:spMkLst>
        </pc:spChg>
        <pc:spChg chg="mod">
          <ac:chgData name="Balzano, Emanuele" userId="28a855f8-0191-4643-87e3-50227280815d" providerId="ADAL" clId="{E4490ACD-0C5D-498F-9577-DDE88531802A}" dt="2025-03-13T15:56:21.900" v="427"/>
          <ac:spMkLst>
            <pc:docMk/>
            <pc:sldMk cId="4158881704" sldId="2147196855"/>
            <ac:spMk id="91" creationId="{25C60B5E-6FB9-9920-AB0E-E15360AA5836}"/>
          </ac:spMkLst>
        </pc:spChg>
        <pc:spChg chg="mod">
          <ac:chgData name="Balzano, Emanuele" userId="28a855f8-0191-4643-87e3-50227280815d" providerId="ADAL" clId="{E4490ACD-0C5D-498F-9577-DDE88531802A}" dt="2025-03-13T15:56:21.900" v="427"/>
          <ac:spMkLst>
            <pc:docMk/>
            <pc:sldMk cId="4158881704" sldId="2147196855"/>
            <ac:spMk id="92" creationId="{2EEFDB18-3449-DC51-7C8A-A545E6847BBA}"/>
          </ac:spMkLst>
        </pc:spChg>
        <pc:spChg chg="mod">
          <ac:chgData name="Balzano, Emanuele" userId="28a855f8-0191-4643-87e3-50227280815d" providerId="ADAL" clId="{E4490ACD-0C5D-498F-9577-DDE88531802A}" dt="2025-03-13T15:56:21.900" v="427"/>
          <ac:spMkLst>
            <pc:docMk/>
            <pc:sldMk cId="4158881704" sldId="2147196855"/>
            <ac:spMk id="93" creationId="{D15ABD1E-D71D-4414-6CCD-A39E359B76C0}"/>
          </ac:spMkLst>
        </pc:spChg>
        <pc:spChg chg="mod">
          <ac:chgData name="Balzano, Emanuele" userId="28a855f8-0191-4643-87e3-50227280815d" providerId="ADAL" clId="{E4490ACD-0C5D-498F-9577-DDE88531802A}" dt="2025-03-13T15:56:21.900" v="427"/>
          <ac:spMkLst>
            <pc:docMk/>
            <pc:sldMk cId="4158881704" sldId="2147196855"/>
            <ac:spMk id="94" creationId="{7B7CB050-3D5F-3E14-0A52-254C6CE42B13}"/>
          </ac:spMkLst>
        </pc:spChg>
        <pc:spChg chg="mod">
          <ac:chgData name="Balzano, Emanuele" userId="28a855f8-0191-4643-87e3-50227280815d" providerId="ADAL" clId="{E4490ACD-0C5D-498F-9577-DDE88531802A}" dt="2025-03-13T15:56:21.900" v="427"/>
          <ac:spMkLst>
            <pc:docMk/>
            <pc:sldMk cId="4158881704" sldId="2147196855"/>
            <ac:spMk id="95" creationId="{AFC74F5D-3B37-165E-ED0E-EE966E6F4666}"/>
          </ac:spMkLst>
        </pc:spChg>
        <pc:spChg chg="mod">
          <ac:chgData name="Balzano, Emanuele" userId="28a855f8-0191-4643-87e3-50227280815d" providerId="ADAL" clId="{E4490ACD-0C5D-498F-9577-DDE88531802A}" dt="2025-03-13T15:56:21.900" v="427"/>
          <ac:spMkLst>
            <pc:docMk/>
            <pc:sldMk cId="4158881704" sldId="2147196855"/>
            <ac:spMk id="96" creationId="{7D0C3361-E5DA-54C5-23CF-BC01CE2BBE97}"/>
          </ac:spMkLst>
        </pc:spChg>
        <pc:spChg chg="mod">
          <ac:chgData name="Balzano, Emanuele" userId="28a855f8-0191-4643-87e3-50227280815d" providerId="ADAL" clId="{E4490ACD-0C5D-498F-9577-DDE88531802A}" dt="2025-03-13T13:53:44.966" v="137" actId="1076"/>
          <ac:spMkLst>
            <pc:docMk/>
            <pc:sldMk cId="4158881704" sldId="2147196855"/>
            <ac:spMk id="102" creationId="{964FD310-42D0-4F11-A72C-E702C515A37F}"/>
          </ac:spMkLst>
        </pc:spChg>
        <pc:spChg chg="mod">
          <ac:chgData name="Balzano, Emanuele" userId="28a855f8-0191-4643-87e3-50227280815d" providerId="ADAL" clId="{E4490ACD-0C5D-498F-9577-DDE88531802A}" dt="2025-03-13T13:53:44.966" v="137" actId="1076"/>
          <ac:spMkLst>
            <pc:docMk/>
            <pc:sldMk cId="4158881704" sldId="2147196855"/>
            <ac:spMk id="103" creationId="{03F4D62D-A980-495C-849E-7E8CE1565906}"/>
          </ac:spMkLst>
        </pc:spChg>
        <pc:spChg chg="mod">
          <ac:chgData name="Balzano, Emanuele" userId="28a855f8-0191-4643-87e3-50227280815d" providerId="ADAL" clId="{E4490ACD-0C5D-498F-9577-DDE88531802A}" dt="2025-03-13T13:53:49.781" v="138" actId="1076"/>
          <ac:spMkLst>
            <pc:docMk/>
            <pc:sldMk cId="4158881704" sldId="2147196855"/>
            <ac:spMk id="104" creationId="{BE298EE2-AC32-4CDE-95E8-2C820A9B028B}"/>
          </ac:spMkLst>
        </pc:spChg>
        <pc:spChg chg="mod">
          <ac:chgData name="Balzano, Emanuele" userId="28a855f8-0191-4643-87e3-50227280815d" providerId="ADAL" clId="{E4490ACD-0C5D-498F-9577-DDE88531802A}" dt="2025-03-13T15:46:52.830" v="400" actId="1076"/>
          <ac:spMkLst>
            <pc:docMk/>
            <pc:sldMk cId="4158881704" sldId="2147196855"/>
            <ac:spMk id="105" creationId="{A0193F94-13A8-4FEF-93C1-7DD52ADED319}"/>
          </ac:spMkLst>
        </pc:spChg>
        <pc:spChg chg="mod">
          <ac:chgData name="Balzano, Emanuele" userId="28a855f8-0191-4643-87e3-50227280815d" providerId="ADAL" clId="{E4490ACD-0C5D-498F-9577-DDE88531802A}" dt="2025-03-13T15:46:52.830" v="400" actId="1076"/>
          <ac:spMkLst>
            <pc:docMk/>
            <pc:sldMk cId="4158881704" sldId="2147196855"/>
            <ac:spMk id="106" creationId="{6C830410-4C95-40BC-9478-9EC17434D290}"/>
          </ac:spMkLst>
        </pc:spChg>
        <pc:spChg chg="mod">
          <ac:chgData name="Balzano, Emanuele" userId="28a855f8-0191-4643-87e3-50227280815d" providerId="ADAL" clId="{E4490ACD-0C5D-498F-9577-DDE88531802A}" dt="2025-03-13T13:53:49.781" v="138" actId="1076"/>
          <ac:spMkLst>
            <pc:docMk/>
            <pc:sldMk cId="4158881704" sldId="2147196855"/>
            <ac:spMk id="107" creationId="{C269CC1C-3C19-4F51-B6D9-944015210CD4}"/>
          </ac:spMkLst>
        </pc:spChg>
        <pc:spChg chg="mod">
          <ac:chgData name="Balzano, Emanuele" userId="28a855f8-0191-4643-87e3-50227280815d" providerId="ADAL" clId="{E4490ACD-0C5D-498F-9577-DDE88531802A}" dt="2025-03-13T15:47:03.903" v="402" actId="1076"/>
          <ac:spMkLst>
            <pc:docMk/>
            <pc:sldMk cId="4158881704" sldId="2147196855"/>
            <ac:spMk id="108" creationId="{24DF490E-CCAD-4DEE-A07B-8D8DC84C8569}"/>
          </ac:spMkLst>
        </pc:spChg>
        <pc:spChg chg="mod">
          <ac:chgData name="Balzano, Emanuele" userId="28a855f8-0191-4643-87e3-50227280815d" providerId="ADAL" clId="{E4490ACD-0C5D-498F-9577-DDE88531802A}" dt="2025-03-13T13:53:39.241" v="136" actId="1076"/>
          <ac:spMkLst>
            <pc:docMk/>
            <pc:sldMk cId="4158881704" sldId="2147196855"/>
            <ac:spMk id="109" creationId="{1E795BE3-800C-444D-A17E-0762143F566A}"/>
          </ac:spMkLst>
        </pc:spChg>
        <pc:spChg chg="mod">
          <ac:chgData name="Balzano, Emanuele" userId="28a855f8-0191-4643-87e3-50227280815d" providerId="ADAL" clId="{E4490ACD-0C5D-498F-9577-DDE88531802A}" dt="2025-03-13T15:50:16.030" v="423" actId="207"/>
          <ac:spMkLst>
            <pc:docMk/>
            <pc:sldMk cId="4158881704" sldId="2147196855"/>
            <ac:spMk id="116" creationId="{E560596D-E134-43CC-8508-5DE7CF30115D}"/>
          </ac:spMkLst>
        </pc:spChg>
        <pc:spChg chg="mod">
          <ac:chgData name="Balzano, Emanuele" userId="28a855f8-0191-4643-87e3-50227280815d" providerId="ADAL" clId="{E4490ACD-0C5D-498F-9577-DDE88531802A}" dt="2025-03-13T15:56:44.774" v="429"/>
          <ac:spMkLst>
            <pc:docMk/>
            <pc:sldMk cId="4158881704" sldId="2147196855"/>
            <ac:spMk id="118" creationId="{4EFFC132-1BDC-0D47-B50F-3D30B0B5BBAA}"/>
          </ac:spMkLst>
        </pc:spChg>
        <pc:spChg chg="mod">
          <ac:chgData name="Balzano, Emanuele" userId="28a855f8-0191-4643-87e3-50227280815d" providerId="ADAL" clId="{E4490ACD-0C5D-498F-9577-DDE88531802A}" dt="2025-03-13T15:56:44.774" v="429"/>
          <ac:spMkLst>
            <pc:docMk/>
            <pc:sldMk cId="4158881704" sldId="2147196855"/>
            <ac:spMk id="119" creationId="{AF2AFB9A-D612-9C32-C2B9-B446674024E2}"/>
          </ac:spMkLst>
        </pc:spChg>
        <pc:spChg chg="mod">
          <ac:chgData name="Balzano, Emanuele" userId="28a855f8-0191-4643-87e3-50227280815d" providerId="ADAL" clId="{E4490ACD-0C5D-498F-9577-DDE88531802A}" dt="2025-03-13T15:56:44.774" v="429"/>
          <ac:spMkLst>
            <pc:docMk/>
            <pc:sldMk cId="4158881704" sldId="2147196855"/>
            <ac:spMk id="120" creationId="{79D8B876-461D-EAA3-09B7-45302BDF6B80}"/>
          </ac:spMkLst>
        </pc:spChg>
        <pc:spChg chg="mod">
          <ac:chgData name="Balzano, Emanuele" userId="28a855f8-0191-4643-87e3-50227280815d" providerId="ADAL" clId="{E4490ACD-0C5D-498F-9577-DDE88531802A}" dt="2025-03-13T15:56:44.774" v="429"/>
          <ac:spMkLst>
            <pc:docMk/>
            <pc:sldMk cId="4158881704" sldId="2147196855"/>
            <ac:spMk id="122" creationId="{DA354FE2-62E4-CF90-9A21-8B58D74A2731}"/>
          </ac:spMkLst>
        </pc:spChg>
        <pc:spChg chg="mod">
          <ac:chgData name="Balzano, Emanuele" userId="28a855f8-0191-4643-87e3-50227280815d" providerId="ADAL" clId="{E4490ACD-0C5D-498F-9577-DDE88531802A}" dt="2025-03-13T15:56:44.774" v="429"/>
          <ac:spMkLst>
            <pc:docMk/>
            <pc:sldMk cId="4158881704" sldId="2147196855"/>
            <ac:spMk id="124" creationId="{D6173F83-0350-6D52-E7A5-950099F3D66E}"/>
          </ac:spMkLst>
        </pc:spChg>
        <pc:spChg chg="mod">
          <ac:chgData name="Balzano, Emanuele" userId="28a855f8-0191-4643-87e3-50227280815d" providerId="ADAL" clId="{E4490ACD-0C5D-498F-9577-DDE88531802A}" dt="2025-03-13T15:56:44.774" v="429"/>
          <ac:spMkLst>
            <pc:docMk/>
            <pc:sldMk cId="4158881704" sldId="2147196855"/>
            <ac:spMk id="125" creationId="{C7B1AB24-BB5C-767A-ACFD-8F85D2577E6E}"/>
          </ac:spMkLst>
        </pc:spChg>
        <pc:spChg chg="mod">
          <ac:chgData name="Balzano, Emanuele" userId="28a855f8-0191-4643-87e3-50227280815d" providerId="ADAL" clId="{E4490ACD-0C5D-498F-9577-DDE88531802A}" dt="2025-03-13T15:56:44.774" v="429"/>
          <ac:spMkLst>
            <pc:docMk/>
            <pc:sldMk cId="4158881704" sldId="2147196855"/>
            <ac:spMk id="126" creationId="{9057C76C-0319-51E2-27B4-CE4350C05AF1}"/>
          </ac:spMkLst>
        </pc:spChg>
        <pc:spChg chg="mod">
          <ac:chgData name="Balzano, Emanuele" userId="28a855f8-0191-4643-87e3-50227280815d" providerId="ADAL" clId="{E4490ACD-0C5D-498F-9577-DDE88531802A}" dt="2025-03-13T15:56:44.774" v="429"/>
          <ac:spMkLst>
            <pc:docMk/>
            <pc:sldMk cId="4158881704" sldId="2147196855"/>
            <ac:spMk id="127" creationId="{7A52041C-8F70-D3B3-1F42-57C9A156A752}"/>
          </ac:spMkLst>
        </pc:spChg>
        <pc:spChg chg="mod">
          <ac:chgData name="Balzano, Emanuele" userId="28a855f8-0191-4643-87e3-50227280815d" providerId="ADAL" clId="{E4490ACD-0C5D-498F-9577-DDE88531802A}" dt="2025-03-13T15:56:44.774" v="429"/>
          <ac:spMkLst>
            <pc:docMk/>
            <pc:sldMk cId="4158881704" sldId="2147196855"/>
            <ac:spMk id="128" creationId="{5E0F5B54-10E9-13BA-C056-DCA0BB95C255}"/>
          </ac:spMkLst>
        </pc:spChg>
        <pc:spChg chg="mod">
          <ac:chgData name="Balzano, Emanuele" userId="28a855f8-0191-4643-87e3-50227280815d" providerId="ADAL" clId="{E4490ACD-0C5D-498F-9577-DDE88531802A}" dt="2025-03-13T15:56:44.774" v="429"/>
          <ac:spMkLst>
            <pc:docMk/>
            <pc:sldMk cId="4158881704" sldId="2147196855"/>
            <ac:spMk id="129" creationId="{C7DADD38-EE45-F674-B5E3-F57F5AF3B62E}"/>
          </ac:spMkLst>
        </pc:spChg>
        <pc:spChg chg="mod">
          <ac:chgData name="Balzano, Emanuele" userId="28a855f8-0191-4643-87e3-50227280815d" providerId="ADAL" clId="{E4490ACD-0C5D-498F-9577-DDE88531802A}" dt="2025-03-13T15:56:44.774" v="429"/>
          <ac:spMkLst>
            <pc:docMk/>
            <pc:sldMk cId="4158881704" sldId="2147196855"/>
            <ac:spMk id="130" creationId="{71F38D2D-5FFD-FD2B-9032-8C3E099FBAE1}"/>
          </ac:spMkLst>
        </pc:spChg>
        <pc:spChg chg="mod">
          <ac:chgData name="Balzano, Emanuele" userId="28a855f8-0191-4643-87e3-50227280815d" providerId="ADAL" clId="{E4490ACD-0C5D-498F-9577-DDE88531802A}" dt="2025-03-13T15:56:44.774" v="429"/>
          <ac:spMkLst>
            <pc:docMk/>
            <pc:sldMk cId="4158881704" sldId="2147196855"/>
            <ac:spMk id="131" creationId="{127D16B7-5580-C562-97AC-8EA7BF4BB80C}"/>
          </ac:spMkLst>
        </pc:spChg>
        <pc:spChg chg="mod">
          <ac:chgData name="Balzano, Emanuele" userId="28a855f8-0191-4643-87e3-50227280815d" providerId="ADAL" clId="{E4490ACD-0C5D-498F-9577-DDE88531802A}" dt="2025-03-13T15:56:44.774" v="429"/>
          <ac:spMkLst>
            <pc:docMk/>
            <pc:sldMk cId="4158881704" sldId="2147196855"/>
            <ac:spMk id="133" creationId="{28069B71-2269-AC67-8EAB-5BEC019C4D24}"/>
          </ac:spMkLst>
        </pc:spChg>
        <pc:spChg chg="mod">
          <ac:chgData name="Balzano, Emanuele" userId="28a855f8-0191-4643-87e3-50227280815d" providerId="ADAL" clId="{E4490ACD-0C5D-498F-9577-DDE88531802A}" dt="2025-03-13T15:56:44.774" v="429"/>
          <ac:spMkLst>
            <pc:docMk/>
            <pc:sldMk cId="4158881704" sldId="2147196855"/>
            <ac:spMk id="134" creationId="{DDC06CBD-E45D-EA04-D78F-4793DE029BB4}"/>
          </ac:spMkLst>
        </pc:spChg>
        <pc:spChg chg="mod">
          <ac:chgData name="Balzano, Emanuele" userId="28a855f8-0191-4643-87e3-50227280815d" providerId="ADAL" clId="{E4490ACD-0C5D-498F-9577-DDE88531802A}" dt="2025-03-13T15:56:44.774" v="429"/>
          <ac:spMkLst>
            <pc:docMk/>
            <pc:sldMk cId="4158881704" sldId="2147196855"/>
            <ac:spMk id="135" creationId="{B54EF9E9-DA1E-3545-47F1-BED75D23FBCC}"/>
          </ac:spMkLst>
        </pc:spChg>
        <pc:spChg chg="mod">
          <ac:chgData name="Balzano, Emanuele" userId="28a855f8-0191-4643-87e3-50227280815d" providerId="ADAL" clId="{E4490ACD-0C5D-498F-9577-DDE88531802A}" dt="2025-03-13T15:56:44.774" v="429"/>
          <ac:spMkLst>
            <pc:docMk/>
            <pc:sldMk cId="4158881704" sldId="2147196855"/>
            <ac:spMk id="136" creationId="{B292DF5C-9756-14A5-0094-B7A56C640B4B}"/>
          </ac:spMkLst>
        </pc:spChg>
        <pc:spChg chg="mod">
          <ac:chgData name="Balzano, Emanuele" userId="28a855f8-0191-4643-87e3-50227280815d" providerId="ADAL" clId="{E4490ACD-0C5D-498F-9577-DDE88531802A}" dt="2025-03-13T15:56:44.774" v="429"/>
          <ac:spMkLst>
            <pc:docMk/>
            <pc:sldMk cId="4158881704" sldId="2147196855"/>
            <ac:spMk id="137" creationId="{4B23437B-3D69-3CB3-ADAE-B0826572417B}"/>
          </ac:spMkLst>
        </pc:spChg>
        <pc:spChg chg="mod">
          <ac:chgData name="Balzano, Emanuele" userId="28a855f8-0191-4643-87e3-50227280815d" providerId="ADAL" clId="{E4490ACD-0C5D-498F-9577-DDE88531802A}" dt="2025-03-13T15:56:44.774" v="429"/>
          <ac:spMkLst>
            <pc:docMk/>
            <pc:sldMk cId="4158881704" sldId="2147196855"/>
            <ac:spMk id="138" creationId="{7080D1BC-577E-CFC2-8C81-74BB3C55E578}"/>
          </ac:spMkLst>
        </pc:spChg>
        <pc:spChg chg="mod">
          <ac:chgData name="Balzano, Emanuele" userId="28a855f8-0191-4643-87e3-50227280815d" providerId="ADAL" clId="{E4490ACD-0C5D-498F-9577-DDE88531802A}" dt="2025-03-13T15:56:44.774" v="429"/>
          <ac:spMkLst>
            <pc:docMk/>
            <pc:sldMk cId="4158881704" sldId="2147196855"/>
            <ac:spMk id="139" creationId="{75A1806A-B950-EDBE-4497-9BAE740ED929}"/>
          </ac:spMkLst>
        </pc:spChg>
        <pc:spChg chg="mod">
          <ac:chgData name="Balzano, Emanuele" userId="28a855f8-0191-4643-87e3-50227280815d" providerId="ADAL" clId="{E4490ACD-0C5D-498F-9577-DDE88531802A}" dt="2025-03-13T15:56:44.774" v="429"/>
          <ac:spMkLst>
            <pc:docMk/>
            <pc:sldMk cId="4158881704" sldId="2147196855"/>
            <ac:spMk id="141" creationId="{1854F4D4-1ECD-20B3-BF33-5AE5DB156197}"/>
          </ac:spMkLst>
        </pc:spChg>
        <pc:spChg chg="mod">
          <ac:chgData name="Balzano, Emanuele" userId="28a855f8-0191-4643-87e3-50227280815d" providerId="ADAL" clId="{E4490ACD-0C5D-498F-9577-DDE88531802A}" dt="2025-03-13T15:56:44.774" v="429"/>
          <ac:spMkLst>
            <pc:docMk/>
            <pc:sldMk cId="4158881704" sldId="2147196855"/>
            <ac:spMk id="142" creationId="{D5D11C3A-6FCE-AE69-4C1A-6A1581B95ED8}"/>
          </ac:spMkLst>
        </pc:spChg>
        <pc:spChg chg="mod">
          <ac:chgData name="Balzano, Emanuele" userId="28a855f8-0191-4643-87e3-50227280815d" providerId="ADAL" clId="{E4490ACD-0C5D-498F-9577-DDE88531802A}" dt="2025-03-13T15:56:44.774" v="429"/>
          <ac:spMkLst>
            <pc:docMk/>
            <pc:sldMk cId="4158881704" sldId="2147196855"/>
            <ac:spMk id="143" creationId="{1990B1AE-0517-6D48-F133-633D7E944BB5}"/>
          </ac:spMkLst>
        </pc:spChg>
        <pc:spChg chg="mod">
          <ac:chgData name="Balzano, Emanuele" userId="28a855f8-0191-4643-87e3-50227280815d" providerId="ADAL" clId="{E4490ACD-0C5D-498F-9577-DDE88531802A}" dt="2025-03-13T15:56:44.774" v="429"/>
          <ac:spMkLst>
            <pc:docMk/>
            <pc:sldMk cId="4158881704" sldId="2147196855"/>
            <ac:spMk id="144" creationId="{B3CE6DD4-39CF-81BA-0CD9-F6AAFEE63EB9}"/>
          </ac:spMkLst>
        </pc:spChg>
        <pc:spChg chg="mod">
          <ac:chgData name="Balzano, Emanuele" userId="28a855f8-0191-4643-87e3-50227280815d" providerId="ADAL" clId="{E4490ACD-0C5D-498F-9577-DDE88531802A}" dt="2025-03-13T15:56:44.774" v="429"/>
          <ac:spMkLst>
            <pc:docMk/>
            <pc:sldMk cId="4158881704" sldId="2147196855"/>
            <ac:spMk id="145" creationId="{842956E3-EFD7-ACF4-AB32-7314586E881F}"/>
          </ac:spMkLst>
        </pc:spChg>
        <pc:spChg chg="mod">
          <ac:chgData name="Balzano, Emanuele" userId="28a855f8-0191-4643-87e3-50227280815d" providerId="ADAL" clId="{E4490ACD-0C5D-498F-9577-DDE88531802A}" dt="2025-03-13T15:56:44.774" v="429"/>
          <ac:spMkLst>
            <pc:docMk/>
            <pc:sldMk cId="4158881704" sldId="2147196855"/>
            <ac:spMk id="146" creationId="{632163CC-843E-3955-E00E-D506935DC788}"/>
          </ac:spMkLst>
        </pc:spChg>
        <pc:grpChg chg="add mod">
          <ac:chgData name="Balzano, Emanuele" userId="28a855f8-0191-4643-87e3-50227280815d" providerId="ADAL" clId="{E4490ACD-0C5D-498F-9577-DDE88531802A}" dt="2025-03-13T15:50:50.546" v="426" actId="1076"/>
          <ac:grpSpMkLst>
            <pc:docMk/>
            <pc:sldMk cId="4158881704" sldId="2147196855"/>
            <ac:grpSpMk id="2" creationId="{D89493FB-587D-6621-DA28-2A78976CC1FD}"/>
          </ac:grpSpMkLst>
        </pc:grpChg>
        <pc:grpChg chg="mod">
          <ac:chgData name="Balzano, Emanuele" userId="28a855f8-0191-4643-87e3-50227280815d" providerId="ADAL" clId="{E4490ACD-0C5D-498F-9577-DDE88531802A}" dt="2025-03-13T15:50:46.908" v="425"/>
          <ac:grpSpMkLst>
            <pc:docMk/>
            <pc:sldMk cId="4158881704" sldId="2147196855"/>
            <ac:grpSpMk id="5" creationId="{85CDBD1D-B436-AF93-CBFD-3A9D2A759BA6}"/>
          </ac:grpSpMkLst>
        </pc:grpChg>
        <pc:grpChg chg="mod">
          <ac:chgData name="Balzano, Emanuele" userId="28a855f8-0191-4643-87e3-50227280815d" providerId="ADAL" clId="{E4490ACD-0C5D-498F-9577-DDE88531802A}" dt="2025-03-13T15:50:46.908" v="425"/>
          <ac:grpSpMkLst>
            <pc:docMk/>
            <pc:sldMk cId="4158881704" sldId="2147196855"/>
            <ac:grpSpMk id="6" creationId="{07D83F79-1B63-8C05-6D5C-FC330C494D11}"/>
          </ac:grpSpMkLst>
        </pc:grpChg>
        <pc:grpChg chg="mod">
          <ac:chgData name="Balzano, Emanuele" userId="28a855f8-0191-4643-87e3-50227280815d" providerId="ADAL" clId="{E4490ACD-0C5D-498F-9577-DDE88531802A}" dt="2025-03-13T15:50:46.908" v="425"/>
          <ac:grpSpMkLst>
            <pc:docMk/>
            <pc:sldMk cId="4158881704" sldId="2147196855"/>
            <ac:grpSpMk id="31" creationId="{7A1C6E4B-D1D3-A6DD-7482-7F33433F4738}"/>
          </ac:grpSpMkLst>
        </pc:grpChg>
        <pc:grpChg chg="mod">
          <ac:chgData name="Balzano, Emanuele" userId="28a855f8-0191-4643-87e3-50227280815d" providerId="ADAL" clId="{E4490ACD-0C5D-498F-9577-DDE88531802A}" dt="2025-03-13T15:50:46.908" v="425"/>
          <ac:grpSpMkLst>
            <pc:docMk/>
            <pc:sldMk cId="4158881704" sldId="2147196855"/>
            <ac:grpSpMk id="32" creationId="{9C29F074-F322-C417-E417-3E72FF50B067}"/>
          </ac:grpSpMkLst>
        </pc:grpChg>
        <pc:grpChg chg="mod">
          <ac:chgData name="Balzano, Emanuele" userId="28a855f8-0191-4643-87e3-50227280815d" providerId="ADAL" clId="{E4490ACD-0C5D-498F-9577-DDE88531802A}" dt="2025-03-13T15:50:46.908" v="425"/>
          <ac:grpSpMkLst>
            <pc:docMk/>
            <pc:sldMk cId="4158881704" sldId="2147196855"/>
            <ac:grpSpMk id="34" creationId="{4175628A-866A-05BE-72A9-E90FB4DC0A1E}"/>
          </ac:grpSpMkLst>
        </pc:grpChg>
        <pc:grpChg chg="mod">
          <ac:chgData name="Balzano, Emanuele" userId="28a855f8-0191-4643-87e3-50227280815d" providerId="ADAL" clId="{E4490ACD-0C5D-498F-9577-DDE88531802A}" dt="2025-03-13T15:50:46.908" v="425"/>
          <ac:grpSpMkLst>
            <pc:docMk/>
            <pc:sldMk cId="4158881704" sldId="2147196855"/>
            <ac:grpSpMk id="35" creationId="{A33EB13E-C8F5-5D29-CC66-9BC495657A49}"/>
          </ac:grpSpMkLst>
        </pc:grpChg>
        <pc:grpChg chg="mod">
          <ac:chgData name="Balzano, Emanuele" userId="28a855f8-0191-4643-87e3-50227280815d" providerId="ADAL" clId="{E4490ACD-0C5D-498F-9577-DDE88531802A}" dt="2025-03-13T15:50:46.908" v="425"/>
          <ac:grpSpMkLst>
            <pc:docMk/>
            <pc:sldMk cId="4158881704" sldId="2147196855"/>
            <ac:grpSpMk id="38" creationId="{E3D55CD1-025B-ADDD-4EC2-A8E98F5FAF5D}"/>
          </ac:grpSpMkLst>
        </pc:grpChg>
        <pc:grpChg chg="mod">
          <ac:chgData name="Balzano, Emanuele" userId="28a855f8-0191-4643-87e3-50227280815d" providerId="ADAL" clId="{E4490ACD-0C5D-498F-9577-DDE88531802A}" dt="2025-03-13T15:50:46.908" v="425"/>
          <ac:grpSpMkLst>
            <pc:docMk/>
            <pc:sldMk cId="4158881704" sldId="2147196855"/>
            <ac:grpSpMk id="44" creationId="{A8D4CEE5-D303-2859-D7AD-12A858AAD013}"/>
          </ac:grpSpMkLst>
        </pc:grpChg>
        <pc:grpChg chg="mod">
          <ac:chgData name="Balzano, Emanuele" userId="28a855f8-0191-4643-87e3-50227280815d" providerId="ADAL" clId="{E4490ACD-0C5D-498F-9577-DDE88531802A}" dt="2025-03-13T15:50:46.908" v="425"/>
          <ac:grpSpMkLst>
            <pc:docMk/>
            <pc:sldMk cId="4158881704" sldId="2147196855"/>
            <ac:grpSpMk id="45" creationId="{B1196285-D410-D6A0-0218-E220ECA21431}"/>
          </ac:grpSpMkLst>
        </pc:grpChg>
        <pc:grpChg chg="mod">
          <ac:chgData name="Balzano, Emanuele" userId="28a855f8-0191-4643-87e3-50227280815d" providerId="ADAL" clId="{E4490ACD-0C5D-498F-9577-DDE88531802A}" dt="2025-03-13T15:50:46.908" v="425"/>
          <ac:grpSpMkLst>
            <pc:docMk/>
            <pc:sldMk cId="4158881704" sldId="2147196855"/>
            <ac:grpSpMk id="46" creationId="{41DB2295-9BCF-29D1-C39A-4466ADA72550}"/>
          </ac:grpSpMkLst>
        </pc:grpChg>
        <pc:grpChg chg="mod">
          <ac:chgData name="Balzano, Emanuele" userId="28a855f8-0191-4643-87e3-50227280815d" providerId="ADAL" clId="{E4490ACD-0C5D-498F-9577-DDE88531802A}" dt="2025-03-13T15:50:46.908" v="425"/>
          <ac:grpSpMkLst>
            <pc:docMk/>
            <pc:sldMk cId="4158881704" sldId="2147196855"/>
            <ac:grpSpMk id="50" creationId="{75D2D647-6A55-8733-9A54-5A3F6F4A62AA}"/>
          </ac:grpSpMkLst>
        </pc:grpChg>
        <pc:grpChg chg="add mod">
          <ac:chgData name="Balzano, Emanuele" userId="28a855f8-0191-4643-87e3-50227280815d" providerId="ADAL" clId="{E4490ACD-0C5D-498F-9577-DDE88531802A}" dt="2025-03-13T15:56:31.514" v="428" actId="1076"/>
          <ac:grpSpMkLst>
            <pc:docMk/>
            <pc:sldMk cId="4158881704" sldId="2147196855"/>
            <ac:grpSpMk id="59" creationId="{CAA873A7-1412-61CE-2504-7B8019A54FEE}"/>
          </ac:grpSpMkLst>
        </pc:grpChg>
        <pc:grpChg chg="mod">
          <ac:chgData name="Balzano, Emanuele" userId="28a855f8-0191-4643-87e3-50227280815d" providerId="ADAL" clId="{E4490ACD-0C5D-498F-9577-DDE88531802A}" dt="2025-03-13T15:56:21.900" v="427"/>
          <ac:grpSpMkLst>
            <pc:docMk/>
            <pc:sldMk cId="4158881704" sldId="2147196855"/>
            <ac:grpSpMk id="60" creationId="{DD19E70A-2C64-11AB-95E2-45C103E50D79}"/>
          </ac:grpSpMkLst>
        </pc:grpChg>
        <pc:grpChg chg="mod">
          <ac:chgData name="Balzano, Emanuele" userId="28a855f8-0191-4643-87e3-50227280815d" providerId="ADAL" clId="{E4490ACD-0C5D-498F-9577-DDE88531802A}" dt="2025-03-13T15:56:21.900" v="427"/>
          <ac:grpSpMkLst>
            <pc:docMk/>
            <pc:sldMk cId="4158881704" sldId="2147196855"/>
            <ac:grpSpMk id="61" creationId="{5E1CEA7E-67FE-39DC-7E9C-82BBA2071274}"/>
          </ac:grpSpMkLst>
        </pc:grpChg>
        <pc:grpChg chg="mod">
          <ac:chgData name="Balzano, Emanuele" userId="28a855f8-0191-4643-87e3-50227280815d" providerId="ADAL" clId="{E4490ACD-0C5D-498F-9577-DDE88531802A}" dt="2025-03-13T15:56:21.900" v="427"/>
          <ac:grpSpMkLst>
            <pc:docMk/>
            <pc:sldMk cId="4158881704" sldId="2147196855"/>
            <ac:grpSpMk id="62" creationId="{93E47C72-9B40-E2A9-9B9F-C25FE7AB7C9A}"/>
          </ac:grpSpMkLst>
        </pc:grpChg>
        <pc:grpChg chg="mod">
          <ac:chgData name="Balzano, Emanuele" userId="28a855f8-0191-4643-87e3-50227280815d" providerId="ADAL" clId="{E4490ACD-0C5D-498F-9577-DDE88531802A}" dt="2025-03-13T15:56:21.900" v="427"/>
          <ac:grpSpMkLst>
            <pc:docMk/>
            <pc:sldMk cId="4158881704" sldId="2147196855"/>
            <ac:grpSpMk id="63" creationId="{69999CEF-F4ED-62BB-8473-FFFDDC9C1D5D}"/>
          </ac:grpSpMkLst>
        </pc:grpChg>
        <pc:grpChg chg="mod">
          <ac:chgData name="Balzano, Emanuele" userId="28a855f8-0191-4643-87e3-50227280815d" providerId="ADAL" clId="{E4490ACD-0C5D-498F-9577-DDE88531802A}" dt="2025-03-13T15:56:21.900" v="427"/>
          <ac:grpSpMkLst>
            <pc:docMk/>
            <pc:sldMk cId="4158881704" sldId="2147196855"/>
            <ac:grpSpMk id="64" creationId="{9DE221D6-0E9E-C157-2633-ADDF55F47680}"/>
          </ac:grpSpMkLst>
        </pc:grpChg>
        <pc:grpChg chg="mod">
          <ac:chgData name="Balzano, Emanuele" userId="28a855f8-0191-4643-87e3-50227280815d" providerId="ADAL" clId="{E4490ACD-0C5D-498F-9577-DDE88531802A}" dt="2025-03-13T15:56:21.900" v="427"/>
          <ac:grpSpMkLst>
            <pc:docMk/>
            <pc:sldMk cId="4158881704" sldId="2147196855"/>
            <ac:grpSpMk id="66" creationId="{E5924FAA-DC4A-46B1-4289-CC433263FC6D}"/>
          </ac:grpSpMkLst>
        </pc:grpChg>
        <pc:grpChg chg="mod">
          <ac:chgData name="Balzano, Emanuele" userId="28a855f8-0191-4643-87e3-50227280815d" providerId="ADAL" clId="{E4490ACD-0C5D-498F-9577-DDE88531802A}" dt="2025-03-13T15:56:21.900" v="427"/>
          <ac:grpSpMkLst>
            <pc:docMk/>
            <pc:sldMk cId="4158881704" sldId="2147196855"/>
            <ac:grpSpMk id="67" creationId="{B9772F2D-F183-7364-001A-C11445096C73}"/>
          </ac:grpSpMkLst>
        </pc:grpChg>
        <pc:grpChg chg="mod">
          <ac:chgData name="Balzano, Emanuele" userId="28a855f8-0191-4643-87e3-50227280815d" providerId="ADAL" clId="{E4490ACD-0C5D-498F-9577-DDE88531802A}" dt="2025-03-13T15:56:21.900" v="427"/>
          <ac:grpSpMkLst>
            <pc:docMk/>
            <pc:sldMk cId="4158881704" sldId="2147196855"/>
            <ac:grpSpMk id="77" creationId="{8D74D0BE-80BC-EB13-DB00-DEBD4424AA55}"/>
          </ac:grpSpMkLst>
        </pc:grpChg>
        <pc:grpChg chg="mod">
          <ac:chgData name="Balzano, Emanuele" userId="28a855f8-0191-4643-87e3-50227280815d" providerId="ADAL" clId="{E4490ACD-0C5D-498F-9577-DDE88531802A}" dt="2025-03-13T15:56:21.900" v="427"/>
          <ac:grpSpMkLst>
            <pc:docMk/>
            <pc:sldMk cId="4158881704" sldId="2147196855"/>
            <ac:grpSpMk id="82" creationId="{9DCF8BFB-2189-8FDA-C645-7194AD8CF892}"/>
          </ac:grpSpMkLst>
        </pc:grpChg>
        <pc:grpChg chg="add mod">
          <ac:chgData name="Balzano, Emanuele" userId="28a855f8-0191-4643-87e3-50227280815d" providerId="ADAL" clId="{E4490ACD-0C5D-498F-9577-DDE88531802A}" dt="2025-03-13T15:56:53.873" v="432" actId="1076"/>
          <ac:grpSpMkLst>
            <pc:docMk/>
            <pc:sldMk cId="4158881704" sldId="2147196855"/>
            <ac:grpSpMk id="97" creationId="{6296287D-D7FC-B9FF-9CBE-7C2F96C5F5B7}"/>
          </ac:grpSpMkLst>
        </pc:grpChg>
        <pc:grpChg chg="mod">
          <ac:chgData name="Balzano, Emanuele" userId="28a855f8-0191-4643-87e3-50227280815d" providerId="ADAL" clId="{E4490ACD-0C5D-498F-9577-DDE88531802A}" dt="2025-03-13T15:56:44.774" v="429"/>
          <ac:grpSpMkLst>
            <pc:docMk/>
            <pc:sldMk cId="4158881704" sldId="2147196855"/>
            <ac:grpSpMk id="98" creationId="{56D660AF-57F5-52E2-D596-FD39270223BD}"/>
          </ac:grpSpMkLst>
        </pc:grpChg>
        <pc:grpChg chg="mod">
          <ac:chgData name="Balzano, Emanuele" userId="28a855f8-0191-4643-87e3-50227280815d" providerId="ADAL" clId="{E4490ACD-0C5D-498F-9577-DDE88531802A}" dt="2025-03-13T15:56:44.774" v="429"/>
          <ac:grpSpMkLst>
            <pc:docMk/>
            <pc:sldMk cId="4158881704" sldId="2147196855"/>
            <ac:grpSpMk id="99" creationId="{4FDB3F9B-0013-D5BF-B7CB-05DB3A4ECA05}"/>
          </ac:grpSpMkLst>
        </pc:grpChg>
        <pc:grpChg chg="mod">
          <ac:chgData name="Balzano, Emanuele" userId="28a855f8-0191-4643-87e3-50227280815d" providerId="ADAL" clId="{E4490ACD-0C5D-498F-9577-DDE88531802A}" dt="2025-03-13T15:50:24.248" v="424" actId="14100"/>
          <ac:grpSpMkLst>
            <pc:docMk/>
            <pc:sldMk cId="4158881704" sldId="2147196855"/>
            <ac:grpSpMk id="110" creationId="{80642F83-252F-495D-BDF7-94E6BB668F6D}"/>
          </ac:grpSpMkLst>
        </pc:grpChg>
        <pc:grpChg chg="mod">
          <ac:chgData name="Balzano, Emanuele" userId="28a855f8-0191-4643-87e3-50227280815d" providerId="ADAL" clId="{E4490ACD-0C5D-498F-9577-DDE88531802A}" dt="2025-03-13T15:56:44.774" v="429"/>
          <ac:grpSpMkLst>
            <pc:docMk/>
            <pc:sldMk cId="4158881704" sldId="2147196855"/>
            <ac:grpSpMk id="117" creationId="{5E0DBA8C-3FA6-35A2-CD8C-73662A4CD09F}"/>
          </ac:grpSpMkLst>
        </pc:grpChg>
        <pc:grpChg chg="mod">
          <ac:chgData name="Balzano, Emanuele" userId="28a855f8-0191-4643-87e3-50227280815d" providerId="ADAL" clId="{E4490ACD-0C5D-498F-9577-DDE88531802A}" dt="2025-03-13T15:56:44.774" v="429"/>
          <ac:grpSpMkLst>
            <pc:docMk/>
            <pc:sldMk cId="4158881704" sldId="2147196855"/>
            <ac:grpSpMk id="121" creationId="{E739F1F4-9350-F2BF-84D7-C927448BA2C6}"/>
          </ac:grpSpMkLst>
        </pc:grpChg>
        <pc:grpChg chg="mod">
          <ac:chgData name="Balzano, Emanuele" userId="28a855f8-0191-4643-87e3-50227280815d" providerId="ADAL" clId="{E4490ACD-0C5D-498F-9577-DDE88531802A}" dt="2025-03-13T15:56:44.774" v="429"/>
          <ac:grpSpMkLst>
            <pc:docMk/>
            <pc:sldMk cId="4158881704" sldId="2147196855"/>
            <ac:grpSpMk id="123" creationId="{247DBB8A-1769-9F94-C294-4A6945F21E38}"/>
          </ac:grpSpMkLst>
        </pc:grpChg>
        <pc:grpChg chg="mod">
          <ac:chgData name="Balzano, Emanuele" userId="28a855f8-0191-4643-87e3-50227280815d" providerId="ADAL" clId="{E4490ACD-0C5D-498F-9577-DDE88531802A}" dt="2025-03-13T15:56:44.774" v="429"/>
          <ac:grpSpMkLst>
            <pc:docMk/>
            <pc:sldMk cId="4158881704" sldId="2147196855"/>
            <ac:grpSpMk id="132" creationId="{C07EC1AD-5947-5D73-3005-CB11B42581F4}"/>
          </ac:grpSpMkLst>
        </pc:grpChg>
        <pc:grpChg chg="mod">
          <ac:chgData name="Balzano, Emanuele" userId="28a855f8-0191-4643-87e3-50227280815d" providerId="ADAL" clId="{E4490ACD-0C5D-498F-9577-DDE88531802A}" dt="2025-03-13T15:56:44.774" v="429"/>
          <ac:grpSpMkLst>
            <pc:docMk/>
            <pc:sldMk cId="4158881704" sldId="2147196855"/>
            <ac:grpSpMk id="140" creationId="{1F9A56D1-16CE-C376-66B6-3C68799C1640}"/>
          </ac:grpSpMkLst>
        </pc:grpChg>
        <pc:picChg chg="del">
          <ac:chgData name="Balzano, Emanuele" userId="28a855f8-0191-4643-87e3-50227280815d" providerId="ADAL" clId="{E4490ACD-0C5D-498F-9577-DDE88531802A}" dt="2025-03-13T13:52:47.020" v="111" actId="478"/>
          <ac:picMkLst>
            <pc:docMk/>
            <pc:sldMk cId="4158881704" sldId="2147196855"/>
            <ac:picMk id="36" creationId="{884FBFBB-0025-4EF7-014A-C4183E64D456}"/>
          </ac:picMkLst>
        </pc:picChg>
        <pc:picChg chg="del">
          <ac:chgData name="Balzano, Emanuele" userId="28a855f8-0191-4643-87e3-50227280815d" providerId="ADAL" clId="{E4490ACD-0C5D-498F-9577-DDE88531802A}" dt="2025-03-13T13:52:47.988" v="113" actId="478"/>
          <ac:picMkLst>
            <pc:docMk/>
            <pc:sldMk cId="4158881704" sldId="2147196855"/>
            <ac:picMk id="37" creationId="{1EAECD5A-FA9F-EF0C-49C3-7E7E30DA143F}"/>
          </ac:picMkLst>
        </pc:picChg>
        <pc:picChg chg="del">
          <ac:chgData name="Balzano, Emanuele" userId="28a855f8-0191-4643-87e3-50227280815d" providerId="ADAL" clId="{E4490ACD-0C5D-498F-9577-DDE88531802A}" dt="2025-03-13T13:52:51.885" v="117" actId="478"/>
          <ac:picMkLst>
            <pc:docMk/>
            <pc:sldMk cId="4158881704" sldId="2147196855"/>
            <ac:picMk id="39" creationId="{4AC77368-3C9A-C24E-29F9-08C5D26CCC4F}"/>
          </ac:picMkLst>
        </pc:picChg>
        <pc:picChg chg="mod">
          <ac:chgData name="Balzano, Emanuele" userId="28a855f8-0191-4643-87e3-50227280815d" providerId="ADAL" clId="{E4490ACD-0C5D-498F-9577-DDE88531802A}" dt="2025-03-13T13:53:25.295" v="130" actId="1076"/>
          <ac:picMkLst>
            <pc:docMk/>
            <pc:sldMk cId="4158881704" sldId="2147196855"/>
            <ac:picMk id="73" creationId="{02596A83-765F-4EA3-8655-50FD13E84E76}"/>
          </ac:picMkLst>
        </pc:picChg>
        <pc:picChg chg="mod">
          <ac:chgData name="Balzano, Emanuele" userId="28a855f8-0191-4643-87e3-50227280815d" providerId="ADAL" clId="{E4490ACD-0C5D-498F-9577-DDE88531802A}" dt="2025-03-13T13:53:25.295" v="130" actId="1076"/>
          <ac:picMkLst>
            <pc:docMk/>
            <pc:sldMk cId="4158881704" sldId="2147196855"/>
            <ac:picMk id="76" creationId="{D97CA638-6965-4C44-B0C4-1FB5AB448BAC}"/>
          </ac:picMkLst>
        </pc:picChg>
        <pc:picChg chg="mod">
          <ac:chgData name="Balzano, Emanuele" userId="28a855f8-0191-4643-87e3-50227280815d" providerId="ADAL" clId="{E4490ACD-0C5D-498F-9577-DDE88531802A}" dt="2025-03-13T13:53:25.295" v="130" actId="1076"/>
          <ac:picMkLst>
            <pc:docMk/>
            <pc:sldMk cId="4158881704" sldId="2147196855"/>
            <ac:picMk id="81" creationId="{3D3A07F2-6B88-492C-8CED-66F9A5B848DB}"/>
          </ac:picMkLst>
        </pc:picChg>
        <pc:picChg chg="mod">
          <ac:chgData name="Balzano, Emanuele" userId="28a855f8-0191-4643-87e3-50227280815d" providerId="ADAL" clId="{E4490ACD-0C5D-498F-9577-DDE88531802A}" dt="2025-03-13T13:53:25.295" v="130" actId="1076"/>
          <ac:picMkLst>
            <pc:docMk/>
            <pc:sldMk cId="4158881704" sldId="2147196855"/>
            <ac:picMk id="84" creationId="{F1912298-1A2C-4C7E-AB02-8DF1EBADD77C}"/>
          </ac:picMkLst>
        </pc:picChg>
        <pc:picChg chg="mod">
          <ac:chgData name="Balzano, Emanuele" userId="28a855f8-0191-4643-87e3-50227280815d" providerId="ADAL" clId="{E4490ACD-0C5D-498F-9577-DDE88531802A}" dt="2025-03-13T13:53:25.295" v="130" actId="1076"/>
          <ac:picMkLst>
            <pc:docMk/>
            <pc:sldMk cId="4158881704" sldId="2147196855"/>
            <ac:picMk id="85" creationId="{E17B79B3-6C1C-46CB-A8E8-66DF0CC24578}"/>
          </ac:picMkLst>
        </pc:picChg>
        <pc:picChg chg="mod">
          <ac:chgData name="Balzano, Emanuele" userId="28a855f8-0191-4643-87e3-50227280815d" providerId="ADAL" clId="{E4490ACD-0C5D-498F-9577-DDE88531802A}" dt="2025-03-13T13:53:25.295" v="130" actId="1076"/>
          <ac:picMkLst>
            <pc:docMk/>
            <pc:sldMk cId="4158881704" sldId="2147196855"/>
            <ac:picMk id="86" creationId="{FDA67E5F-ABDB-4D9B-9E33-4ADC0552F2FB}"/>
          </ac:picMkLst>
        </pc:picChg>
        <pc:picChg chg="mod">
          <ac:chgData name="Balzano, Emanuele" userId="28a855f8-0191-4643-87e3-50227280815d" providerId="ADAL" clId="{E4490ACD-0C5D-498F-9577-DDE88531802A}" dt="2025-03-13T13:53:25.295" v="130" actId="1076"/>
          <ac:picMkLst>
            <pc:docMk/>
            <pc:sldMk cId="4158881704" sldId="2147196855"/>
            <ac:picMk id="87" creationId="{341E6C43-C7F8-44B2-A680-E8D0B586C604}"/>
          </ac:picMkLst>
        </pc:picChg>
        <pc:picChg chg="mod">
          <ac:chgData name="Balzano, Emanuele" userId="28a855f8-0191-4643-87e3-50227280815d" providerId="ADAL" clId="{E4490ACD-0C5D-498F-9577-DDE88531802A}" dt="2025-03-13T13:53:25.295" v="130" actId="1076"/>
          <ac:picMkLst>
            <pc:docMk/>
            <pc:sldMk cId="4158881704" sldId="2147196855"/>
            <ac:picMk id="88" creationId="{53DCBFEE-3D24-45C8-8C2A-FE253F8E07C3}"/>
          </ac:picMkLst>
        </pc:picChg>
        <pc:picChg chg="mod">
          <ac:chgData name="Balzano, Emanuele" userId="28a855f8-0191-4643-87e3-50227280815d" providerId="ADAL" clId="{E4490ACD-0C5D-498F-9577-DDE88531802A}" dt="2025-03-13T13:53:25.295" v="130" actId="1076"/>
          <ac:picMkLst>
            <pc:docMk/>
            <pc:sldMk cId="4158881704" sldId="2147196855"/>
            <ac:picMk id="89" creationId="{DE84700E-73BC-4CEA-A360-61E53EE71435}"/>
          </ac:picMkLst>
        </pc:picChg>
        <pc:picChg chg="mod">
          <ac:chgData name="Balzano, Emanuele" userId="28a855f8-0191-4643-87e3-50227280815d" providerId="ADAL" clId="{E4490ACD-0C5D-498F-9577-DDE88531802A}" dt="2025-03-13T13:53:25.295" v="130" actId="1076"/>
          <ac:picMkLst>
            <pc:docMk/>
            <pc:sldMk cId="4158881704" sldId="2147196855"/>
            <ac:picMk id="100" creationId="{866F4059-7084-4776-BC31-23B3179DADFA}"/>
          </ac:picMkLst>
        </pc:picChg>
        <pc:picChg chg="mod">
          <ac:chgData name="Balzano, Emanuele" userId="28a855f8-0191-4643-87e3-50227280815d" providerId="ADAL" clId="{E4490ACD-0C5D-498F-9577-DDE88531802A}" dt="2025-03-13T13:53:49.781" v="138" actId="1076"/>
          <ac:picMkLst>
            <pc:docMk/>
            <pc:sldMk cId="4158881704" sldId="2147196855"/>
            <ac:picMk id="101" creationId="{0DC4901A-9A52-4181-90E7-6460A458B952}"/>
          </ac:picMkLst>
        </pc:picChg>
        <pc:picChg chg="del">
          <ac:chgData name="Balzano, Emanuele" userId="28a855f8-0191-4643-87e3-50227280815d" providerId="ADAL" clId="{E4490ACD-0C5D-498F-9577-DDE88531802A}" dt="2025-03-13T13:52:47.521" v="112" actId="478"/>
          <ac:picMkLst>
            <pc:docMk/>
            <pc:sldMk cId="4158881704" sldId="2147196855"/>
            <ac:picMk id="6146" creationId="{CBAAA214-9FBE-BB5B-F816-F4D94B826D03}"/>
          </ac:picMkLst>
        </pc:picChg>
      </pc:sldChg>
      <pc:sldChg chg="modSp mod">
        <pc:chgData name="Balzano, Emanuele" userId="28a855f8-0191-4643-87e3-50227280815d" providerId="ADAL" clId="{E4490ACD-0C5D-498F-9577-DDE88531802A}" dt="2025-02-18T10:03:14.699" v="49" actId="1076"/>
        <pc:sldMkLst>
          <pc:docMk/>
          <pc:sldMk cId="264562851" sldId="2147474590"/>
        </pc:sldMkLst>
        <pc:spChg chg="mod">
          <ac:chgData name="Balzano, Emanuele" userId="28a855f8-0191-4643-87e3-50227280815d" providerId="ADAL" clId="{E4490ACD-0C5D-498F-9577-DDE88531802A}" dt="2025-02-18T09:58:37.805" v="12" actId="207"/>
          <ac:spMkLst>
            <pc:docMk/>
            <pc:sldMk cId="264562851" sldId="2147474590"/>
            <ac:spMk id="3" creationId="{8014869B-6BB4-5453-0FFA-154783B0349D}"/>
          </ac:spMkLst>
        </pc:spChg>
        <pc:spChg chg="mod">
          <ac:chgData name="Balzano, Emanuele" userId="28a855f8-0191-4643-87e3-50227280815d" providerId="ADAL" clId="{E4490ACD-0C5D-498F-9577-DDE88531802A}" dt="2025-02-18T10:00:26.206" v="42" actId="20577"/>
          <ac:spMkLst>
            <pc:docMk/>
            <pc:sldMk cId="264562851" sldId="2147474590"/>
            <ac:spMk id="10" creationId="{B00BC99B-B34D-C27F-7486-740FF744ACEA}"/>
          </ac:spMkLst>
        </pc:spChg>
        <pc:spChg chg="mod">
          <ac:chgData name="Balzano, Emanuele" userId="28a855f8-0191-4643-87e3-50227280815d" providerId="ADAL" clId="{E4490ACD-0C5D-498F-9577-DDE88531802A}" dt="2025-02-18T09:58:54.776" v="14" actId="1076"/>
          <ac:spMkLst>
            <pc:docMk/>
            <pc:sldMk cId="264562851" sldId="2147474590"/>
            <ac:spMk id="121" creationId="{665E893C-EE99-B0B1-978D-86830605D921}"/>
          </ac:spMkLst>
        </pc:spChg>
        <pc:spChg chg="mod">
          <ac:chgData name="Balzano, Emanuele" userId="28a855f8-0191-4643-87e3-50227280815d" providerId="ADAL" clId="{E4490ACD-0C5D-498F-9577-DDE88531802A}" dt="2025-02-18T09:57:36.417" v="7" actId="1076"/>
          <ac:spMkLst>
            <pc:docMk/>
            <pc:sldMk cId="264562851" sldId="2147474590"/>
            <ac:spMk id="124" creationId="{20733A0D-230C-97C7-E032-81A86DE990AF}"/>
          </ac:spMkLst>
        </pc:spChg>
        <pc:spChg chg="mod">
          <ac:chgData name="Balzano, Emanuele" userId="28a855f8-0191-4643-87e3-50227280815d" providerId="ADAL" clId="{E4490ACD-0C5D-498F-9577-DDE88531802A}" dt="2025-02-18T09:58:32.829" v="11" actId="207"/>
          <ac:spMkLst>
            <pc:docMk/>
            <pc:sldMk cId="264562851" sldId="2147474590"/>
            <ac:spMk id="128" creationId="{3E3932AE-F09D-B2D0-B919-D9D7998C8551}"/>
          </ac:spMkLst>
        </pc:spChg>
        <pc:spChg chg="mod">
          <ac:chgData name="Balzano, Emanuele" userId="28a855f8-0191-4643-87e3-50227280815d" providerId="ADAL" clId="{E4490ACD-0C5D-498F-9577-DDE88531802A}" dt="2025-02-18T09:58:44.410" v="13" actId="207"/>
          <ac:spMkLst>
            <pc:docMk/>
            <pc:sldMk cId="264562851" sldId="2147474590"/>
            <ac:spMk id="130" creationId="{700D1326-320C-8ED7-8183-D9A4504A8CB6}"/>
          </ac:spMkLst>
        </pc:spChg>
        <pc:spChg chg="mod">
          <ac:chgData name="Balzano, Emanuele" userId="28a855f8-0191-4643-87e3-50227280815d" providerId="ADAL" clId="{E4490ACD-0C5D-498F-9577-DDE88531802A}" dt="2025-02-18T10:03:14.699" v="49" actId="1076"/>
          <ac:spMkLst>
            <pc:docMk/>
            <pc:sldMk cId="264562851" sldId="2147474590"/>
            <ac:spMk id="131" creationId="{A4F52B8D-0CF8-1A52-11F0-2B993502A861}"/>
          </ac:spMkLst>
        </pc:spChg>
        <pc:spChg chg="mod">
          <ac:chgData name="Balzano, Emanuele" userId="28a855f8-0191-4643-87e3-50227280815d" providerId="ADAL" clId="{E4490ACD-0C5D-498F-9577-DDE88531802A}" dt="2025-02-18T09:57:44.986" v="9" actId="1076"/>
          <ac:spMkLst>
            <pc:docMk/>
            <pc:sldMk cId="264562851" sldId="2147474590"/>
            <ac:spMk id="132" creationId="{3E4F1A7E-F51D-0BBE-C630-5BD06030D1A5}"/>
          </ac:spMkLst>
        </pc:spChg>
        <pc:picChg chg="mod">
          <ac:chgData name="Balzano, Emanuele" userId="28a855f8-0191-4643-87e3-50227280815d" providerId="ADAL" clId="{E4490ACD-0C5D-498F-9577-DDE88531802A}" dt="2025-02-18T10:02:45.073" v="45" actId="1076"/>
          <ac:picMkLst>
            <pc:docMk/>
            <pc:sldMk cId="264562851" sldId="2147474590"/>
            <ac:picMk id="123" creationId="{9736EEA3-7C6B-CCAE-92C8-857F0B83AA71}"/>
          </ac:picMkLst>
        </pc:picChg>
      </pc:sldChg>
      <pc:sldChg chg="addSp delSp modSp mod">
        <pc:chgData name="Balzano, Emanuele" userId="28a855f8-0191-4643-87e3-50227280815d" providerId="ADAL" clId="{E4490ACD-0C5D-498F-9577-DDE88531802A}" dt="2025-03-13T15:39:34.338" v="163" actId="1076"/>
        <pc:sldMkLst>
          <pc:docMk/>
          <pc:sldMk cId="3275080945" sldId="2147474591"/>
        </pc:sldMkLst>
        <pc:spChg chg="del">
          <ac:chgData name="Balzano, Emanuele" userId="28a855f8-0191-4643-87e3-50227280815d" providerId="ADAL" clId="{E4490ACD-0C5D-498F-9577-DDE88531802A}" dt="2025-02-18T10:09:14.436" v="55" actId="478"/>
          <ac:spMkLst>
            <pc:docMk/>
            <pc:sldMk cId="3275080945" sldId="2147474591"/>
            <ac:spMk id="3" creationId="{1E737D28-B70B-7C4B-134B-E8E4DAB378A8}"/>
          </ac:spMkLst>
        </pc:spChg>
        <pc:spChg chg="del">
          <ac:chgData name="Balzano, Emanuele" userId="28a855f8-0191-4643-87e3-50227280815d" providerId="ADAL" clId="{E4490ACD-0C5D-498F-9577-DDE88531802A}" dt="2025-02-18T10:09:15.525" v="56" actId="478"/>
          <ac:spMkLst>
            <pc:docMk/>
            <pc:sldMk cId="3275080945" sldId="2147474591"/>
            <ac:spMk id="7" creationId="{AEF31C38-2FDE-23CF-5DB4-0AB9EEDBFE32}"/>
          </ac:spMkLst>
        </pc:spChg>
        <pc:spChg chg="mod">
          <ac:chgData name="Balzano, Emanuele" userId="28a855f8-0191-4643-87e3-50227280815d" providerId="ADAL" clId="{E4490ACD-0C5D-498F-9577-DDE88531802A}" dt="2025-02-18T10:12:12.008" v="77" actId="14100"/>
          <ac:spMkLst>
            <pc:docMk/>
            <pc:sldMk cId="3275080945" sldId="2147474591"/>
            <ac:spMk id="9" creationId="{8818BFF2-3A22-D5E7-A3E9-8C1E8E0C64AD}"/>
          </ac:spMkLst>
        </pc:spChg>
        <pc:spChg chg="del mod topLvl">
          <ac:chgData name="Balzano, Emanuele" userId="28a855f8-0191-4643-87e3-50227280815d" providerId="ADAL" clId="{E4490ACD-0C5D-498F-9577-DDE88531802A}" dt="2025-02-18T10:13:09.565" v="100" actId="478"/>
          <ac:spMkLst>
            <pc:docMk/>
            <pc:sldMk cId="3275080945" sldId="2147474591"/>
            <ac:spMk id="13" creationId="{273D5D1D-6EDF-6FAD-CD58-EB24BAD7D0E4}"/>
          </ac:spMkLst>
        </pc:spChg>
        <pc:spChg chg="del mod">
          <ac:chgData name="Balzano, Emanuele" userId="28a855f8-0191-4643-87e3-50227280815d" providerId="ADAL" clId="{E4490ACD-0C5D-498F-9577-DDE88531802A}" dt="2025-02-18T10:13:02.111" v="96" actId="478"/>
          <ac:spMkLst>
            <pc:docMk/>
            <pc:sldMk cId="3275080945" sldId="2147474591"/>
            <ac:spMk id="15" creationId="{6872B62F-8237-F2D1-B367-B668A4F9FF76}"/>
          </ac:spMkLst>
        </pc:spChg>
        <pc:spChg chg="del mod topLvl">
          <ac:chgData name="Balzano, Emanuele" userId="28a855f8-0191-4643-87e3-50227280815d" providerId="ADAL" clId="{E4490ACD-0C5D-498F-9577-DDE88531802A}" dt="2025-02-18T10:13:06.999" v="98" actId="478"/>
          <ac:spMkLst>
            <pc:docMk/>
            <pc:sldMk cId="3275080945" sldId="2147474591"/>
            <ac:spMk id="16" creationId="{27526FAD-0E50-7AAE-8A43-6AC05A91BAEC}"/>
          </ac:spMkLst>
        </pc:spChg>
        <pc:grpChg chg="del mod">
          <ac:chgData name="Balzano, Emanuele" userId="28a855f8-0191-4643-87e3-50227280815d" providerId="ADAL" clId="{E4490ACD-0C5D-498F-9577-DDE88531802A}" dt="2025-03-13T13:54:47.989" v="146" actId="478"/>
          <ac:grpSpMkLst>
            <pc:docMk/>
            <pc:sldMk cId="3275080945" sldId="2147474591"/>
            <ac:grpSpMk id="11" creationId="{870B542A-72AB-EF82-E3DA-0B4CB28FCDA5}"/>
          </ac:grpSpMkLst>
        </pc:grpChg>
        <pc:grpChg chg="del mod">
          <ac:chgData name="Balzano, Emanuele" userId="28a855f8-0191-4643-87e3-50227280815d" providerId="ADAL" clId="{E4490ACD-0C5D-498F-9577-DDE88531802A}" dt="2025-02-18T10:13:06.999" v="98" actId="478"/>
          <ac:grpSpMkLst>
            <pc:docMk/>
            <pc:sldMk cId="3275080945" sldId="2147474591"/>
            <ac:grpSpMk id="12" creationId="{A6BC2944-2D62-1A7E-1C50-356F8E96C068}"/>
          </ac:grpSpMkLst>
        </pc:grpChg>
        <pc:grpChg chg="del mod">
          <ac:chgData name="Balzano, Emanuele" userId="28a855f8-0191-4643-87e3-50227280815d" providerId="ADAL" clId="{E4490ACD-0C5D-498F-9577-DDE88531802A}" dt="2025-02-18T10:13:02.111" v="96" actId="478"/>
          <ac:grpSpMkLst>
            <pc:docMk/>
            <pc:sldMk cId="3275080945" sldId="2147474591"/>
            <ac:grpSpMk id="14" creationId="{B5BFDBA7-973F-11A5-4876-128B7CB6C9AA}"/>
          </ac:grpSpMkLst>
        </pc:grpChg>
        <pc:picChg chg="add mod">
          <ac:chgData name="Balzano, Emanuele" userId="28a855f8-0191-4643-87e3-50227280815d" providerId="ADAL" clId="{E4490ACD-0C5D-498F-9577-DDE88531802A}" dt="2025-03-13T15:39:34.338" v="163" actId="1076"/>
          <ac:picMkLst>
            <pc:docMk/>
            <pc:sldMk cId="3275080945" sldId="2147474591"/>
            <ac:picMk id="2" creationId="{3F25E2FD-CC24-4CE3-E8E2-4BB057FD003E}"/>
          </ac:picMkLst>
        </pc:picChg>
        <pc:picChg chg="del">
          <ac:chgData name="Balzano, Emanuele" userId="28a855f8-0191-4643-87e3-50227280815d" providerId="ADAL" clId="{E4490ACD-0C5D-498F-9577-DDE88531802A}" dt="2025-02-18T10:09:13.108" v="54" actId="478"/>
          <ac:picMkLst>
            <pc:docMk/>
            <pc:sldMk cId="3275080945" sldId="2147474591"/>
            <ac:picMk id="2" creationId="{A7BF5E7E-DAB2-52B9-740E-53B0AB241BE4}"/>
          </ac:picMkLst>
        </pc:picChg>
        <pc:picChg chg="del">
          <ac:chgData name="Balzano, Emanuele" userId="28a855f8-0191-4643-87e3-50227280815d" providerId="ADAL" clId="{E4490ACD-0C5D-498F-9577-DDE88531802A}" dt="2025-02-18T10:09:12.556" v="53" actId="478"/>
          <ac:picMkLst>
            <pc:docMk/>
            <pc:sldMk cId="3275080945" sldId="2147474591"/>
            <ac:picMk id="4" creationId="{B90AFA5D-13C3-F1B1-B0EB-E79C36EB92EB}"/>
          </ac:picMkLst>
        </pc:picChg>
        <pc:picChg chg="add del mod">
          <ac:chgData name="Balzano, Emanuele" userId="28a855f8-0191-4643-87e3-50227280815d" providerId="ADAL" clId="{E4490ACD-0C5D-498F-9577-DDE88531802A}" dt="2025-03-13T13:54:50.320" v="149" actId="478"/>
          <ac:picMkLst>
            <pc:docMk/>
            <pc:sldMk cId="3275080945" sldId="2147474591"/>
            <ac:picMk id="8" creationId="{2BED28A9-F035-ADDB-B51E-453FAE301F78}"/>
          </ac:picMkLst>
        </pc:picChg>
        <pc:picChg chg="mod">
          <ac:chgData name="Balzano, Emanuele" userId="28a855f8-0191-4643-87e3-50227280815d" providerId="ADAL" clId="{E4490ACD-0C5D-498F-9577-DDE88531802A}" dt="2025-02-18T10:48:39.576" v="102" actId="1076"/>
          <ac:picMkLst>
            <pc:docMk/>
            <pc:sldMk cId="3275080945" sldId="2147474591"/>
            <ac:picMk id="17" creationId="{59A13B9F-52C3-45B4-6CAF-D2DAACFBAD40}"/>
          </ac:picMkLst>
        </pc:picChg>
        <pc:picChg chg="mod">
          <ac:chgData name="Balzano, Emanuele" userId="28a855f8-0191-4643-87e3-50227280815d" providerId="ADAL" clId="{E4490ACD-0C5D-498F-9577-DDE88531802A}" dt="2025-02-18T10:48:39.576" v="102" actId="1076"/>
          <ac:picMkLst>
            <pc:docMk/>
            <pc:sldMk cId="3275080945" sldId="2147474591"/>
            <ac:picMk id="18" creationId="{8FC54F35-355E-A9F5-4F1F-2CFB5B6FD656}"/>
          </ac:picMkLst>
        </pc:picChg>
        <pc:picChg chg="add del mod">
          <ac:chgData name="Balzano, Emanuele" userId="28a855f8-0191-4643-87e3-50227280815d" providerId="ADAL" clId="{E4490ACD-0C5D-498F-9577-DDE88531802A}" dt="2025-03-13T13:54:49.808" v="148" actId="478"/>
          <ac:picMkLst>
            <pc:docMk/>
            <pc:sldMk cId="3275080945" sldId="2147474591"/>
            <ac:picMk id="1026" creationId="{2CFA8365-FE6A-60C3-8F7A-FBBF5EB28C92}"/>
          </ac:picMkLst>
        </pc:picChg>
        <pc:picChg chg="del mod">
          <ac:chgData name="Balzano, Emanuele" userId="28a855f8-0191-4643-87e3-50227280815d" providerId="ADAL" clId="{E4490ACD-0C5D-498F-9577-DDE88531802A}" dt="2025-03-13T13:55:00.461" v="152" actId="478"/>
          <ac:picMkLst>
            <pc:docMk/>
            <pc:sldMk cId="3275080945" sldId="2147474591"/>
            <ac:picMk id="1029" creationId="{DEF4719B-568D-3046-A394-15C5DA5B842E}"/>
          </ac:picMkLst>
        </pc:picChg>
      </pc:sldChg>
      <pc:sldChg chg="new del">
        <pc:chgData name="Balzano, Emanuele" userId="28a855f8-0191-4643-87e3-50227280815d" providerId="ADAL" clId="{E4490ACD-0C5D-498F-9577-DDE88531802A}" dt="2025-03-13T13:52:36.843" v="106" actId="47"/>
        <pc:sldMkLst>
          <pc:docMk/>
          <pc:sldMk cId="541847336" sldId="2147474592"/>
        </pc:sldMkLst>
      </pc:sldChg>
      <pc:sldChg chg="new del">
        <pc:chgData name="Balzano, Emanuele" userId="28a855f8-0191-4643-87e3-50227280815d" providerId="ADAL" clId="{E4490ACD-0C5D-498F-9577-DDE88531802A}" dt="2025-03-13T09:17:41.095" v="104" actId="2696"/>
        <pc:sldMkLst>
          <pc:docMk/>
          <pc:sldMk cId="1578085504" sldId="2147474592"/>
        </pc:sldMkLst>
      </pc:sldChg>
    </pc:docChg>
  </pc:docChgLst>
  <pc:docChgLst>
    <pc:chgData name="lorena.gucciardo@assolombarda.it" userId="S::urn:spo:guest#lorena.gucciardo@assolombarda.it::" providerId="AD" clId="Web-{B15A14AC-3394-FD39-9B07-D25D990B9D73}"/>
    <pc:docChg chg="addSld delSld sldOrd">
      <pc:chgData name="lorena.gucciardo@assolombarda.it" userId="S::urn:spo:guest#lorena.gucciardo@assolombarda.it::" providerId="AD" clId="Web-{B15A14AC-3394-FD39-9B07-D25D990B9D73}" dt="2025-03-17T09:58:55.394" v="2"/>
      <pc:docMkLst>
        <pc:docMk/>
      </pc:docMkLst>
      <pc:sldChg chg="new del ord">
        <pc:chgData name="lorena.gucciardo@assolombarda.it" userId="S::urn:spo:guest#lorena.gucciardo@assolombarda.it::" providerId="AD" clId="Web-{B15A14AC-3394-FD39-9B07-D25D990B9D73}" dt="2025-03-17T09:58:55.394" v="2"/>
        <pc:sldMkLst>
          <pc:docMk/>
          <pc:sldMk cId="3676301117" sldId="2147474592"/>
        </pc:sldMkLst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9A2233C-7C77-40A8-A8CB-95D1823CBB4B}" type="datetimeFigureOut">
              <a:rPr lang="en-US" smtClean="0"/>
              <a:t>3/17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8DB3C82-86D7-4E96-A9A6-D79E3FBCC28A}" type="slidenum">
              <a:rPr lang="en-US" smtClean="0"/>
              <a:t>‹N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3725370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20675" y="384175"/>
            <a:ext cx="4022725" cy="226218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414BB17-FF98-46EA-B034-E0DB034B88CD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666666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666666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7874524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4065588" y="1381125"/>
            <a:ext cx="14454188" cy="81311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it-IT" dirty="0">
                <a:cs typeface="Calibri"/>
              </a:rPr>
              <a:t>Benessere: pilastro che guida le strategie e politiche di MDLZ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414BB17-FF98-46EA-B034-E0DB034B88CD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666666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666666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0387576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4065588" y="1381125"/>
            <a:ext cx="14454188" cy="81311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37160" marR="0" lvl="0" indent="-13716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kumimoji="0" lang="it-IT" sz="1200" b="0" i="0" u="none" strike="noStrike" kern="1200" cap="none" spc="0" normalizeH="0" baseline="0" noProof="0" dirty="0">
                <a:ln>
                  <a:noFill/>
                </a:ln>
                <a:solidFill>
                  <a:srgbClr val="666666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ercorso iniziato ad Aprile 2023, Ottenimento a Luglio 2023 </a:t>
            </a:r>
            <a:r>
              <a:rPr kumimoji="0" lang="it-IT" sz="1200" b="0" i="0" u="none" strike="noStrike" kern="1200" cap="none" spc="0" normalizeH="0" baseline="0" noProof="0" dirty="0">
                <a:ln>
                  <a:noFill/>
                </a:ln>
                <a:solidFill>
                  <a:srgbClr val="666666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Wingdings" panose="05000000000000000000" pitchFamily="2" charset="2"/>
              </a:rPr>
              <a:t> </a:t>
            </a:r>
            <a:r>
              <a:rPr kumimoji="0" lang="it-IT" sz="1200" b="1" i="0" u="none" strike="noStrike" kern="1200" cap="none" spc="0" normalizeH="0" baseline="0" noProof="0" dirty="0">
                <a:ln>
                  <a:noFill/>
                </a:ln>
                <a:solidFill>
                  <a:srgbClr val="666666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ertificazione per la Parità di Genere UNI/PDR 125:2022</a:t>
            </a:r>
            <a:r>
              <a:rPr kumimoji="0" lang="it-IT" sz="1200" b="0" i="0" u="none" strike="noStrike" kern="1200" cap="none" spc="0" normalizeH="0" baseline="0" noProof="0" dirty="0">
                <a:ln>
                  <a:noFill/>
                </a:ln>
                <a:solidFill>
                  <a:srgbClr val="666666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con punteggio medio di 94,6/100 sulle 5 entità legali – il più alto tra tutte le aziende certificate da IMQ e uno dei primi gruppi ad ottenerla nel settore alimentare</a:t>
            </a:r>
          </a:p>
          <a:p>
            <a:pPr marL="0" indent="0">
              <a:buNone/>
            </a:pPr>
            <a:endParaRPr lang="it-IT" dirty="0"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414BB17-FF98-46EA-B034-E0DB034B88CD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666666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666666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8620600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Circle Pictur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10">
            <a:extLst>
              <a:ext uri="{FF2B5EF4-FFF2-40B4-BE49-F238E27FC236}">
                <a16:creationId xmlns:a16="http://schemas.microsoft.com/office/drawing/2014/main" id="{655B1FCA-4D49-4122-B6E9-D550AA0C5E76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2"/>
            <a:ext cx="5266036" cy="6857999"/>
          </a:xfrm>
          <a:custGeom>
            <a:avLst/>
            <a:gdLst>
              <a:gd name="connsiteX0" fmla="*/ 0 w 5266036"/>
              <a:gd name="connsiteY0" fmla="*/ 0 h 6857999"/>
              <a:gd name="connsiteX1" fmla="*/ 3014696 w 5266036"/>
              <a:gd name="connsiteY1" fmla="*/ 0 h 6857999"/>
              <a:gd name="connsiteX2" fmla="*/ 3040982 w 5266036"/>
              <a:gd name="connsiteY2" fmla="*/ 11408 h 6857999"/>
              <a:gd name="connsiteX3" fmla="*/ 5250901 w 5266036"/>
              <a:gd name="connsiteY3" fmla="*/ 4085922 h 6857999"/>
              <a:gd name="connsiteX4" fmla="*/ 3435696 w 5266036"/>
              <a:gd name="connsiteY4" fmla="*/ 6839477 h 6857999"/>
              <a:gd name="connsiteX5" fmla="*/ 3398838 w 5266036"/>
              <a:gd name="connsiteY5" fmla="*/ 6857999 h 6857999"/>
              <a:gd name="connsiteX6" fmla="*/ 0 w 5266036"/>
              <a:gd name="connsiteY6" fmla="*/ 6857999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266036" h="6857999">
                <a:moveTo>
                  <a:pt x="0" y="0"/>
                </a:moveTo>
                <a:lnTo>
                  <a:pt x="3014696" y="0"/>
                </a:lnTo>
                <a:lnTo>
                  <a:pt x="3040982" y="11408"/>
                </a:lnTo>
                <a:cubicBezTo>
                  <a:pt x="4562919" y="717837"/>
                  <a:pt x="5390071" y="2397951"/>
                  <a:pt x="5250901" y="4085922"/>
                </a:cubicBezTo>
                <a:cubicBezTo>
                  <a:pt x="5138669" y="5484335"/>
                  <a:pt x="4361602" y="6343612"/>
                  <a:pt x="3435696" y="6839477"/>
                </a:cubicBezTo>
                <a:lnTo>
                  <a:pt x="3398838" y="6857999"/>
                </a:lnTo>
                <a:lnTo>
                  <a:pt x="0" y="6857999"/>
                </a:lnTo>
                <a:close/>
              </a:path>
            </a:pathLst>
          </a:custGeom>
          <a:solidFill>
            <a:srgbClr val="D9D9D9"/>
          </a:solidFill>
        </p:spPr>
        <p:txBody>
          <a:bodyPr wrap="square" tIns="3657600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Arial" panose="020B0604020202020204" pitchFamily="34" charset="0"/>
              <a:buNone/>
              <a:tabLst/>
              <a:defRPr sz="160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dirty="0"/>
              <a:t>Click icon to insert picture</a:t>
            </a:r>
            <a:br>
              <a:rPr dirty="0"/>
            </a:br>
            <a:r>
              <a:rPr dirty="0"/>
              <a:t>(minimum recommended size for </a:t>
            </a:r>
            <a:br>
              <a:rPr dirty="0"/>
            </a:br>
            <a:r>
              <a:rPr dirty="0"/>
              <a:t>half slide image is 640 x 720 pixels)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76608E2E-E744-4878-A234-60F6B6711C8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096000" y="3306349"/>
            <a:ext cx="5638800" cy="722086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2000"/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t>Subtitle or Presenter Name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3534CB02-81D9-4803-9899-8E6A2EABA97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0" y="457200"/>
            <a:ext cx="5715000" cy="2565401"/>
          </a:xfrm>
        </p:spPr>
        <p:txBody>
          <a:bodyPr/>
          <a:lstStyle>
            <a:lvl1pPr>
              <a:lnSpc>
                <a:spcPct val="82000"/>
              </a:lnSpc>
              <a:defRPr sz="6600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8A3D9FA7-D2DB-46FB-BE00-B926A730276E}"/>
              </a:ext>
            </a:extLst>
          </p:cNvPr>
          <p:cNvGrpSpPr>
            <a:grpSpLocks noChangeAspect="1"/>
          </p:cNvGrpSpPr>
          <p:nvPr/>
        </p:nvGrpSpPr>
        <p:grpSpPr>
          <a:xfrm>
            <a:off x="9544152" y="5543531"/>
            <a:ext cx="2286000" cy="880288"/>
            <a:chOff x="2078951" y="1888610"/>
            <a:chExt cx="8030200" cy="3092248"/>
          </a:xfrm>
          <a:solidFill>
            <a:srgbClr val="FFFFFF"/>
          </a:solidFill>
        </p:grpSpPr>
        <p:sp>
          <p:nvSpPr>
            <p:cNvPr id="7" name="Freeform: Shape 6">
              <a:extLst>
                <a:ext uri="{FF2B5EF4-FFF2-40B4-BE49-F238E27FC236}">
                  <a16:creationId xmlns:a16="http://schemas.microsoft.com/office/drawing/2014/main" id="{958E2998-F3DA-4CEC-9A7D-6C088E1B4977}"/>
                </a:ext>
              </a:extLst>
            </p:cNvPr>
            <p:cNvSpPr/>
            <p:nvPr/>
          </p:nvSpPr>
          <p:spPr>
            <a:xfrm>
              <a:off x="2078951" y="2872694"/>
              <a:ext cx="951880" cy="652717"/>
            </a:xfrm>
            <a:custGeom>
              <a:avLst/>
              <a:gdLst>
                <a:gd name="connsiteX0" fmla="*/ 903041 w 951880"/>
                <a:gd name="connsiteY0" fmla="*/ 330574 h 652717"/>
                <a:gd name="connsiteX1" fmla="*/ 780656 w 951880"/>
                <a:gd name="connsiteY1" fmla="*/ 379528 h 652717"/>
                <a:gd name="connsiteX2" fmla="*/ 598439 w 951880"/>
                <a:gd name="connsiteY2" fmla="*/ 311537 h 652717"/>
                <a:gd name="connsiteX3" fmla="*/ 505970 w 951880"/>
                <a:gd name="connsiteY3" fmla="*/ 164675 h 652717"/>
                <a:gd name="connsiteX4" fmla="*/ 266640 w 951880"/>
                <a:gd name="connsiteY4" fmla="*/ 61329 h 652717"/>
                <a:gd name="connsiteX5" fmla="*/ 103461 w 951880"/>
                <a:gd name="connsiteY5" fmla="*/ 458398 h 652717"/>
                <a:gd name="connsiteX6" fmla="*/ 756179 w 951880"/>
                <a:gd name="connsiteY6" fmla="*/ 485595 h 652717"/>
                <a:gd name="connsiteX7" fmla="*/ 903041 w 951880"/>
                <a:gd name="connsiteY7" fmla="*/ 330574 h 6527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51880" h="652717">
                  <a:moveTo>
                    <a:pt x="903041" y="330574"/>
                  </a:moveTo>
                  <a:cubicBezTo>
                    <a:pt x="867685" y="363210"/>
                    <a:pt x="813292" y="374089"/>
                    <a:pt x="780656" y="379528"/>
                  </a:cubicBezTo>
                  <a:cubicBezTo>
                    <a:pt x="712664" y="387687"/>
                    <a:pt x="641953" y="365930"/>
                    <a:pt x="598439" y="311537"/>
                  </a:cubicBezTo>
                  <a:cubicBezTo>
                    <a:pt x="563083" y="268022"/>
                    <a:pt x="544046" y="210910"/>
                    <a:pt x="505970" y="164675"/>
                  </a:cubicBezTo>
                  <a:cubicBezTo>
                    <a:pt x="448858" y="93964"/>
                    <a:pt x="359109" y="45011"/>
                    <a:pt x="266640" y="61329"/>
                  </a:cubicBezTo>
                  <a:cubicBezTo>
                    <a:pt x="81704" y="93964"/>
                    <a:pt x="114" y="308817"/>
                    <a:pt x="103461" y="458398"/>
                  </a:cubicBezTo>
                  <a:cubicBezTo>
                    <a:pt x="253042" y="670531"/>
                    <a:pt x="584840" y="635176"/>
                    <a:pt x="756179" y="485595"/>
                  </a:cubicBezTo>
                  <a:cubicBezTo>
                    <a:pt x="813292" y="442080"/>
                    <a:pt x="862246" y="390407"/>
                    <a:pt x="903041" y="330574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/>
            </a:p>
          </p:txBody>
        </p:sp>
        <p:sp>
          <p:nvSpPr>
            <p:cNvPr id="9" name="Freeform: Shape 8">
              <a:extLst>
                <a:ext uri="{FF2B5EF4-FFF2-40B4-BE49-F238E27FC236}">
                  <a16:creationId xmlns:a16="http://schemas.microsoft.com/office/drawing/2014/main" id="{994CA604-4385-462E-97F5-497C4C504015}"/>
                </a:ext>
              </a:extLst>
            </p:cNvPr>
            <p:cNvSpPr/>
            <p:nvPr/>
          </p:nvSpPr>
          <p:spPr>
            <a:xfrm>
              <a:off x="9151831" y="2872694"/>
              <a:ext cx="951880" cy="652717"/>
            </a:xfrm>
            <a:custGeom>
              <a:avLst/>
              <a:gdLst>
                <a:gd name="connsiteX0" fmla="*/ 58178 w 951880"/>
                <a:gd name="connsiteY0" fmla="*/ 330574 h 652717"/>
                <a:gd name="connsiteX1" fmla="*/ 180563 w 951880"/>
                <a:gd name="connsiteY1" fmla="*/ 379528 h 652717"/>
                <a:gd name="connsiteX2" fmla="*/ 362780 w 951880"/>
                <a:gd name="connsiteY2" fmla="*/ 311537 h 652717"/>
                <a:gd name="connsiteX3" fmla="*/ 455249 w 951880"/>
                <a:gd name="connsiteY3" fmla="*/ 164675 h 652717"/>
                <a:gd name="connsiteX4" fmla="*/ 694578 w 951880"/>
                <a:gd name="connsiteY4" fmla="*/ 61329 h 652717"/>
                <a:gd name="connsiteX5" fmla="*/ 857758 w 951880"/>
                <a:gd name="connsiteY5" fmla="*/ 458398 h 652717"/>
                <a:gd name="connsiteX6" fmla="*/ 205040 w 951880"/>
                <a:gd name="connsiteY6" fmla="*/ 485595 h 652717"/>
                <a:gd name="connsiteX7" fmla="*/ 58178 w 951880"/>
                <a:gd name="connsiteY7" fmla="*/ 330574 h 6527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51880" h="652717">
                  <a:moveTo>
                    <a:pt x="58178" y="330574"/>
                  </a:moveTo>
                  <a:cubicBezTo>
                    <a:pt x="96253" y="363210"/>
                    <a:pt x="147927" y="374089"/>
                    <a:pt x="180563" y="379528"/>
                  </a:cubicBezTo>
                  <a:cubicBezTo>
                    <a:pt x="248554" y="387687"/>
                    <a:pt x="319266" y="365930"/>
                    <a:pt x="362780" y="311537"/>
                  </a:cubicBezTo>
                  <a:cubicBezTo>
                    <a:pt x="398136" y="268022"/>
                    <a:pt x="417174" y="210910"/>
                    <a:pt x="455249" y="164675"/>
                  </a:cubicBezTo>
                  <a:cubicBezTo>
                    <a:pt x="512362" y="93964"/>
                    <a:pt x="602110" y="45011"/>
                    <a:pt x="694578" y="61329"/>
                  </a:cubicBezTo>
                  <a:cubicBezTo>
                    <a:pt x="879515" y="93964"/>
                    <a:pt x="961105" y="308817"/>
                    <a:pt x="857758" y="458398"/>
                  </a:cubicBezTo>
                  <a:cubicBezTo>
                    <a:pt x="708176" y="670531"/>
                    <a:pt x="376379" y="635176"/>
                    <a:pt x="205040" y="485595"/>
                  </a:cubicBezTo>
                  <a:cubicBezTo>
                    <a:pt x="150646" y="442080"/>
                    <a:pt x="101693" y="390407"/>
                    <a:pt x="58178" y="330574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/>
            </a:p>
          </p:txBody>
        </p:sp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0115F7ED-889E-4F9E-A1EC-B09712AAF8F4}"/>
                </a:ext>
              </a:extLst>
            </p:cNvPr>
            <p:cNvSpPr/>
            <p:nvPr/>
          </p:nvSpPr>
          <p:spPr>
            <a:xfrm>
              <a:off x="8001294" y="2010994"/>
              <a:ext cx="734308" cy="299162"/>
            </a:xfrm>
            <a:custGeom>
              <a:avLst/>
              <a:gdLst>
                <a:gd name="connsiteX0" fmla="*/ 596792 w 734307"/>
                <a:gd name="connsiteY0" fmla="*/ 58178 h 299162"/>
                <a:gd name="connsiteX1" fmla="*/ 148048 w 734307"/>
                <a:gd name="connsiteY1" fmla="*/ 58178 h 299162"/>
                <a:gd name="connsiteX2" fmla="*/ 58299 w 734307"/>
                <a:gd name="connsiteY2" fmla="*/ 150646 h 299162"/>
                <a:gd name="connsiteX3" fmla="*/ 148048 w 734307"/>
                <a:gd name="connsiteY3" fmla="*/ 251274 h 299162"/>
                <a:gd name="connsiteX4" fmla="*/ 596792 w 734307"/>
                <a:gd name="connsiteY4" fmla="*/ 251274 h 299162"/>
                <a:gd name="connsiteX5" fmla="*/ 686541 w 734307"/>
                <a:gd name="connsiteY5" fmla="*/ 158805 h 299162"/>
                <a:gd name="connsiteX6" fmla="*/ 596792 w 734307"/>
                <a:gd name="connsiteY6" fmla="*/ 58178 h 2991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34307" h="299162">
                  <a:moveTo>
                    <a:pt x="596792" y="58178"/>
                  </a:moveTo>
                  <a:cubicBezTo>
                    <a:pt x="591353" y="58178"/>
                    <a:pt x="153487" y="58178"/>
                    <a:pt x="148048" y="58178"/>
                  </a:cubicBezTo>
                  <a:cubicBezTo>
                    <a:pt x="99094" y="60898"/>
                    <a:pt x="61019" y="104412"/>
                    <a:pt x="58299" y="150646"/>
                  </a:cubicBezTo>
                  <a:cubicBezTo>
                    <a:pt x="55580" y="199600"/>
                    <a:pt x="99094" y="248554"/>
                    <a:pt x="148048" y="251274"/>
                  </a:cubicBezTo>
                  <a:cubicBezTo>
                    <a:pt x="153487" y="251274"/>
                    <a:pt x="591353" y="251274"/>
                    <a:pt x="596792" y="251274"/>
                  </a:cubicBezTo>
                  <a:cubicBezTo>
                    <a:pt x="645746" y="248554"/>
                    <a:pt x="683821" y="205040"/>
                    <a:pt x="686541" y="158805"/>
                  </a:cubicBezTo>
                  <a:cubicBezTo>
                    <a:pt x="689260" y="109852"/>
                    <a:pt x="648465" y="60898"/>
                    <a:pt x="596792" y="58178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/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DF6E4E17-2397-4CA3-ABA9-61E3BD559404}"/>
                </a:ext>
              </a:extLst>
            </p:cNvPr>
            <p:cNvSpPr/>
            <p:nvPr/>
          </p:nvSpPr>
          <p:spPr>
            <a:xfrm>
              <a:off x="4920042" y="2277520"/>
              <a:ext cx="1006274" cy="951879"/>
            </a:xfrm>
            <a:custGeom>
              <a:avLst/>
              <a:gdLst>
                <a:gd name="connsiteX0" fmla="*/ 884954 w 1006273"/>
                <a:gd name="connsiteY0" fmla="*/ 746251 h 951879"/>
                <a:gd name="connsiteX1" fmla="*/ 874076 w 1006273"/>
                <a:gd name="connsiteY1" fmla="*/ 670101 h 951879"/>
                <a:gd name="connsiteX2" fmla="*/ 874076 w 1006273"/>
                <a:gd name="connsiteY2" fmla="*/ 536837 h 951879"/>
                <a:gd name="connsiteX3" fmla="*/ 689139 w 1006273"/>
                <a:gd name="connsiteY3" fmla="*/ 88094 h 951879"/>
                <a:gd name="connsiteX4" fmla="*/ 428052 w 1006273"/>
                <a:gd name="connsiteY4" fmla="*/ 253993 h 951879"/>
                <a:gd name="connsiteX5" fmla="*/ 196881 w 1006273"/>
                <a:gd name="connsiteY5" fmla="*/ 58178 h 951879"/>
                <a:gd name="connsiteX6" fmla="*/ 58178 w 1006273"/>
                <a:gd name="connsiteY6" fmla="*/ 128889 h 951879"/>
                <a:gd name="connsiteX7" fmla="*/ 142488 w 1006273"/>
                <a:gd name="connsiteY7" fmla="*/ 273031 h 951879"/>
                <a:gd name="connsiteX8" fmla="*/ 142488 w 1006273"/>
                <a:gd name="connsiteY8" fmla="*/ 757130 h 951879"/>
                <a:gd name="connsiteX9" fmla="*/ 283910 w 1006273"/>
                <a:gd name="connsiteY9" fmla="*/ 895832 h 951879"/>
                <a:gd name="connsiteX10" fmla="*/ 428052 w 1006273"/>
                <a:gd name="connsiteY10" fmla="*/ 757130 h 951879"/>
                <a:gd name="connsiteX11" fmla="*/ 428052 w 1006273"/>
                <a:gd name="connsiteY11" fmla="*/ 400855 h 951879"/>
                <a:gd name="connsiteX12" fmla="*/ 523240 w 1006273"/>
                <a:gd name="connsiteY12" fmla="*/ 283910 h 951879"/>
                <a:gd name="connsiteX13" fmla="*/ 591231 w 1006273"/>
                <a:gd name="connsiteY13" fmla="*/ 354621 h 951879"/>
                <a:gd name="connsiteX14" fmla="*/ 591231 w 1006273"/>
                <a:gd name="connsiteY14" fmla="*/ 697297 h 951879"/>
                <a:gd name="connsiteX15" fmla="*/ 593951 w 1006273"/>
                <a:gd name="connsiteY15" fmla="*/ 729933 h 951879"/>
                <a:gd name="connsiteX16" fmla="*/ 610269 w 1006273"/>
                <a:gd name="connsiteY16" fmla="*/ 778887 h 951879"/>
                <a:gd name="connsiteX17" fmla="*/ 822402 w 1006273"/>
                <a:gd name="connsiteY17" fmla="*/ 893112 h 951879"/>
                <a:gd name="connsiteX18" fmla="*/ 961105 w 1006273"/>
                <a:gd name="connsiteY18" fmla="*/ 822401 h 951879"/>
                <a:gd name="connsiteX19" fmla="*/ 884954 w 1006273"/>
                <a:gd name="connsiteY19" fmla="*/ 746251 h 9518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006273" h="951879">
                  <a:moveTo>
                    <a:pt x="884954" y="746251"/>
                  </a:moveTo>
                  <a:cubicBezTo>
                    <a:pt x="879515" y="721774"/>
                    <a:pt x="876795" y="694578"/>
                    <a:pt x="874076" y="670101"/>
                  </a:cubicBezTo>
                  <a:cubicBezTo>
                    <a:pt x="874076" y="634745"/>
                    <a:pt x="874076" y="583072"/>
                    <a:pt x="874076" y="536837"/>
                  </a:cubicBezTo>
                  <a:cubicBezTo>
                    <a:pt x="879515" y="373658"/>
                    <a:pt x="909431" y="88094"/>
                    <a:pt x="689139" y="88094"/>
                  </a:cubicBezTo>
                  <a:cubicBezTo>
                    <a:pt x="539558" y="88094"/>
                    <a:pt x="452529" y="213199"/>
                    <a:pt x="428052" y="253993"/>
                  </a:cubicBezTo>
                  <a:cubicBezTo>
                    <a:pt x="425332" y="139768"/>
                    <a:pt x="335583" y="58178"/>
                    <a:pt x="196881" y="58178"/>
                  </a:cubicBezTo>
                  <a:cubicBezTo>
                    <a:pt x="109852" y="58178"/>
                    <a:pt x="58178" y="128889"/>
                    <a:pt x="58178" y="128889"/>
                  </a:cubicBezTo>
                  <a:cubicBezTo>
                    <a:pt x="58178" y="128889"/>
                    <a:pt x="142488" y="158805"/>
                    <a:pt x="142488" y="273031"/>
                  </a:cubicBezTo>
                  <a:cubicBezTo>
                    <a:pt x="142488" y="354621"/>
                    <a:pt x="142488" y="757130"/>
                    <a:pt x="142488" y="757130"/>
                  </a:cubicBezTo>
                  <a:cubicBezTo>
                    <a:pt x="145207" y="827841"/>
                    <a:pt x="194161" y="895832"/>
                    <a:pt x="283910" y="895832"/>
                  </a:cubicBezTo>
                  <a:cubicBezTo>
                    <a:pt x="373659" y="895832"/>
                    <a:pt x="428052" y="827841"/>
                    <a:pt x="428052" y="757130"/>
                  </a:cubicBezTo>
                  <a:lnTo>
                    <a:pt x="428052" y="400855"/>
                  </a:lnTo>
                  <a:cubicBezTo>
                    <a:pt x="441650" y="343742"/>
                    <a:pt x="474286" y="283910"/>
                    <a:pt x="523240" y="283910"/>
                  </a:cubicBezTo>
                  <a:cubicBezTo>
                    <a:pt x="585792" y="283910"/>
                    <a:pt x="591231" y="354621"/>
                    <a:pt x="591231" y="354621"/>
                  </a:cubicBezTo>
                  <a:lnTo>
                    <a:pt x="591231" y="697297"/>
                  </a:lnTo>
                  <a:cubicBezTo>
                    <a:pt x="591231" y="708176"/>
                    <a:pt x="593951" y="719054"/>
                    <a:pt x="593951" y="729933"/>
                  </a:cubicBezTo>
                  <a:cubicBezTo>
                    <a:pt x="596671" y="748971"/>
                    <a:pt x="602110" y="765289"/>
                    <a:pt x="610269" y="778887"/>
                  </a:cubicBezTo>
                  <a:cubicBezTo>
                    <a:pt x="645624" y="846878"/>
                    <a:pt x="719055" y="893112"/>
                    <a:pt x="822402" y="893112"/>
                  </a:cubicBezTo>
                  <a:cubicBezTo>
                    <a:pt x="909431" y="893112"/>
                    <a:pt x="961105" y="822401"/>
                    <a:pt x="961105" y="822401"/>
                  </a:cubicBezTo>
                  <a:cubicBezTo>
                    <a:pt x="961105" y="822401"/>
                    <a:pt x="909431" y="808803"/>
                    <a:pt x="884954" y="746251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F13A5CD1-6182-4595-B8A8-D785063BF716}"/>
                </a:ext>
              </a:extLst>
            </p:cNvPr>
            <p:cNvSpPr/>
            <p:nvPr/>
          </p:nvSpPr>
          <p:spPr>
            <a:xfrm>
              <a:off x="7552331" y="1888610"/>
              <a:ext cx="489539" cy="1332631"/>
            </a:xfrm>
            <a:custGeom>
              <a:avLst/>
              <a:gdLst>
                <a:gd name="connsiteX0" fmla="*/ 368560 w 489538"/>
                <a:gd name="connsiteY0" fmla="*/ 1135162 h 1332630"/>
                <a:gd name="connsiteX1" fmla="*/ 357681 w 489538"/>
                <a:gd name="connsiteY1" fmla="*/ 1059011 h 1332630"/>
                <a:gd name="connsiteX2" fmla="*/ 357681 w 489538"/>
                <a:gd name="connsiteY2" fmla="*/ 207759 h 1332630"/>
                <a:gd name="connsiteX3" fmla="*/ 208099 w 489538"/>
                <a:gd name="connsiteY3" fmla="*/ 58178 h 1332630"/>
                <a:gd name="connsiteX4" fmla="*/ 58518 w 489538"/>
                <a:gd name="connsiteY4" fmla="*/ 207759 h 1332630"/>
                <a:gd name="connsiteX5" fmla="*/ 58518 w 489538"/>
                <a:gd name="connsiteY5" fmla="*/ 961104 h 1332630"/>
                <a:gd name="connsiteX6" fmla="*/ 85715 w 489538"/>
                <a:gd name="connsiteY6" fmla="*/ 1159639 h 1332630"/>
                <a:gd name="connsiteX7" fmla="*/ 306007 w 489538"/>
                <a:gd name="connsiteY7" fmla="*/ 1282023 h 1332630"/>
                <a:gd name="connsiteX8" fmla="*/ 444710 w 489538"/>
                <a:gd name="connsiteY8" fmla="*/ 1211312 h 1332630"/>
                <a:gd name="connsiteX9" fmla="*/ 368560 w 489538"/>
                <a:gd name="connsiteY9" fmla="*/ 1135162 h 13326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89538" h="1332630">
                  <a:moveTo>
                    <a:pt x="368560" y="1135162"/>
                  </a:moveTo>
                  <a:cubicBezTo>
                    <a:pt x="363120" y="1110685"/>
                    <a:pt x="357681" y="1083488"/>
                    <a:pt x="357681" y="1059011"/>
                  </a:cubicBezTo>
                  <a:lnTo>
                    <a:pt x="357681" y="207759"/>
                  </a:lnTo>
                  <a:cubicBezTo>
                    <a:pt x="357681" y="126170"/>
                    <a:pt x="289689" y="58178"/>
                    <a:pt x="208099" y="58178"/>
                  </a:cubicBezTo>
                  <a:cubicBezTo>
                    <a:pt x="126510" y="58178"/>
                    <a:pt x="58518" y="126170"/>
                    <a:pt x="58518" y="207759"/>
                  </a:cubicBezTo>
                  <a:lnTo>
                    <a:pt x="58518" y="961104"/>
                  </a:lnTo>
                  <a:cubicBezTo>
                    <a:pt x="58518" y="1029095"/>
                    <a:pt x="53079" y="1097086"/>
                    <a:pt x="85715" y="1159639"/>
                  </a:cubicBezTo>
                  <a:cubicBezTo>
                    <a:pt x="118351" y="1227630"/>
                    <a:pt x="202660" y="1282023"/>
                    <a:pt x="306007" y="1282023"/>
                  </a:cubicBezTo>
                  <a:cubicBezTo>
                    <a:pt x="393036" y="1282023"/>
                    <a:pt x="444710" y="1211312"/>
                    <a:pt x="444710" y="1211312"/>
                  </a:cubicBezTo>
                  <a:cubicBezTo>
                    <a:pt x="444710" y="1211312"/>
                    <a:pt x="393036" y="1197714"/>
                    <a:pt x="368560" y="1135162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5D0FE459-FDBA-4224-BF8C-7FB56F088B01}"/>
                </a:ext>
              </a:extLst>
            </p:cNvPr>
            <p:cNvSpPr/>
            <p:nvPr/>
          </p:nvSpPr>
          <p:spPr>
            <a:xfrm>
              <a:off x="4162324" y="2357456"/>
              <a:ext cx="815899" cy="815898"/>
            </a:xfrm>
            <a:custGeom>
              <a:avLst/>
              <a:gdLst>
                <a:gd name="connsiteX0" fmla="*/ 407949 w 815899"/>
                <a:gd name="connsiteY0" fmla="*/ 174058 h 815898"/>
                <a:gd name="connsiteX1" fmla="*/ 293723 w 815899"/>
                <a:gd name="connsiteY1" fmla="*/ 407950 h 815898"/>
                <a:gd name="connsiteX2" fmla="*/ 410669 w 815899"/>
                <a:gd name="connsiteY2" fmla="*/ 641840 h 815898"/>
                <a:gd name="connsiteX3" fmla="*/ 522175 w 815899"/>
                <a:gd name="connsiteY3" fmla="*/ 407950 h 815898"/>
                <a:gd name="connsiteX4" fmla="*/ 407949 w 815899"/>
                <a:gd name="connsiteY4" fmla="*/ 174058 h 815898"/>
                <a:gd name="connsiteX5" fmla="*/ 407950 w 815899"/>
                <a:gd name="connsiteY5" fmla="*/ 0 h 815898"/>
                <a:gd name="connsiteX6" fmla="*/ 815899 w 815899"/>
                <a:gd name="connsiteY6" fmla="*/ 407949 h 815898"/>
                <a:gd name="connsiteX7" fmla="*/ 407950 w 815899"/>
                <a:gd name="connsiteY7" fmla="*/ 815898 h 815898"/>
                <a:gd name="connsiteX8" fmla="*/ 0 w 815899"/>
                <a:gd name="connsiteY8" fmla="*/ 407949 h 815898"/>
                <a:gd name="connsiteX9" fmla="*/ 407950 w 815899"/>
                <a:gd name="connsiteY9" fmla="*/ 0 h 815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15899" h="815898">
                  <a:moveTo>
                    <a:pt x="407949" y="174058"/>
                  </a:moveTo>
                  <a:cubicBezTo>
                    <a:pt x="342677" y="174058"/>
                    <a:pt x="293723" y="263807"/>
                    <a:pt x="293723" y="407950"/>
                  </a:cubicBezTo>
                  <a:cubicBezTo>
                    <a:pt x="293723" y="552091"/>
                    <a:pt x="331799" y="639120"/>
                    <a:pt x="410669" y="641840"/>
                  </a:cubicBezTo>
                  <a:cubicBezTo>
                    <a:pt x="489539" y="641840"/>
                    <a:pt x="527614" y="552091"/>
                    <a:pt x="522175" y="407950"/>
                  </a:cubicBezTo>
                  <a:cubicBezTo>
                    <a:pt x="522175" y="263807"/>
                    <a:pt x="473221" y="176778"/>
                    <a:pt x="407949" y="174058"/>
                  </a:cubicBezTo>
                  <a:close/>
                  <a:moveTo>
                    <a:pt x="407950" y="0"/>
                  </a:moveTo>
                  <a:cubicBezTo>
                    <a:pt x="633682" y="0"/>
                    <a:pt x="815899" y="182217"/>
                    <a:pt x="815899" y="407949"/>
                  </a:cubicBezTo>
                  <a:cubicBezTo>
                    <a:pt x="815899" y="633681"/>
                    <a:pt x="633682" y="815898"/>
                    <a:pt x="407950" y="815898"/>
                  </a:cubicBezTo>
                  <a:cubicBezTo>
                    <a:pt x="182218" y="815898"/>
                    <a:pt x="0" y="633681"/>
                    <a:pt x="0" y="407949"/>
                  </a:cubicBezTo>
                  <a:cubicBezTo>
                    <a:pt x="0" y="182217"/>
                    <a:pt x="182218" y="0"/>
                    <a:pt x="407950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6792F31E-ABF9-488A-BA83-294468B5A968}"/>
                </a:ext>
              </a:extLst>
            </p:cNvPr>
            <p:cNvSpPr/>
            <p:nvPr/>
          </p:nvSpPr>
          <p:spPr>
            <a:xfrm>
              <a:off x="5884871" y="1946788"/>
              <a:ext cx="912802" cy="1223846"/>
            </a:xfrm>
            <a:custGeom>
              <a:avLst/>
              <a:gdLst>
                <a:gd name="connsiteX0" fmla="*/ 387907 w 912802"/>
                <a:gd name="connsiteY0" fmla="*/ 620081 h 1223846"/>
                <a:gd name="connsiteX1" fmla="*/ 273681 w 912802"/>
                <a:gd name="connsiteY1" fmla="*/ 824055 h 1223846"/>
                <a:gd name="connsiteX2" fmla="*/ 390627 w 912802"/>
                <a:gd name="connsiteY2" fmla="*/ 1028029 h 1223846"/>
                <a:gd name="connsiteX3" fmla="*/ 502132 w 912802"/>
                <a:gd name="connsiteY3" fmla="*/ 824055 h 1223846"/>
                <a:gd name="connsiteX4" fmla="*/ 387907 w 912802"/>
                <a:gd name="connsiteY4" fmla="*/ 620081 h 1223846"/>
                <a:gd name="connsiteX5" fmla="*/ 676192 w 912802"/>
                <a:gd name="connsiteY5" fmla="*/ 0 h 1223846"/>
                <a:gd name="connsiteX6" fmla="*/ 825773 w 912802"/>
                <a:gd name="connsiteY6" fmla="*/ 149581 h 1223846"/>
                <a:gd name="connsiteX7" fmla="*/ 825773 w 912802"/>
                <a:gd name="connsiteY7" fmla="*/ 1000834 h 1223846"/>
                <a:gd name="connsiteX8" fmla="*/ 836651 w 912802"/>
                <a:gd name="connsiteY8" fmla="*/ 1076985 h 1223846"/>
                <a:gd name="connsiteX9" fmla="*/ 912802 w 912802"/>
                <a:gd name="connsiteY9" fmla="*/ 1150415 h 1223846"/>
                <a:gd name="connsiteX10" fmla="*/ 774099 w 912802"/>
                <a:gd name="connsiteY10" fmla="*/ 1221126 h 1223846"/>
                <a:gd name="connsiteX11" fmla="*/ 553807 w 912802"/>
                <a:gd name="connsiteY11" fmla="*/ 1098742 h 1223846"/>
                <a:gd name="connsiteX12" fmla="*/ 548367 w 912802"/>
                <a:gd name="connsiteY12" fmla="*/ 1085144 h 1223846"/>
                <a:gd name="connsiteX13" fmla="*/ 398786 w 912802"/>
                <a:gd name="connsiteY13" fmla="*/ 1212967 h 1223846"/>
                <a:gd name="connsiteX14" fmla="*/ 156736 w 912802"/>
                <a:gd name="connsiteY14" fmla="*/ 1180332 h 1223846"/>
                <a:gd name="connsiteX15" fmla="*/ 287280 w 912802"/>
                <a:gd name="connsiteY15" fmla="*/ 416107 h 1223846"/>
                <a:gd name="connsiteX16" fmla="*/ 526611 w 912802"/>
                <a:gd name="connsiteY16" fmla="*/ 552091 h 1223846"/>
                <a:gd name="connsiteX17" fmla="*/ 526611 w 912802"/>
                <a:gd name="connsiteY17" fmla="*/ 149581 h 1223846"/>
                <a:gd name="connsiteX18" fmla="*/ 676192 w 912802"/>
                <a:gd name="connsiteY18" fmla="*/ 0 h 1223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912802" h="1223846">
                  <a:moveTo>
                    <a:pt x="387907" y="620081"/>
                  </a:moveTo>
                  <a:cubicBezTo>
                    <a:pt x="322635" y="620081"/>
                    <a:pt x="273681" y="698951"/>
                    <a:pt x="273681" y="824055"/>
                  </a:cubicBezTo>
                  <a:cubicBezTo>
                    <a:pt x="273681" y="949160"/>
                    <a:pt x="311756" y="1028029"/>
                    <a:pt x="390627" y="1028029"/>
                  </a:cubicBezTo>
                  <a:cubicBezTo>
                    <a:pt x="466777" y="1025310"/>
                    <a:pt x="504852" y="949160"/>
                    <a:pt x="502132" y="824055"/>
                  </a:cubicBezTo>
                  <a:cubicBezTo>
                    <a:pt x="502132" y="698951"/>
                    <a:pt x="455898" y="622801"/>
                    <a:pt x="387907" y="620081"/>
                  </a:cubicBezTo>
                  <a:close/>
                  <a:moveTo>
                    <a:pt x="676192" y="0"/>
                  </a:moveTo>
                  <a:cubicBezTo>
                    <a:pt x="757781" y="0"/>
                    <a:pt x="825773" y="67992"/>
                    <a:pt x="825773" y="149581"/>
                  </a:cubicBezTo>
                  <a:lnTo>
                    <a:pt x="825773" y="1000834"/>
                  </a:lnTo>
                  <a:cubicBezTo>
                    <a:pt x="828492" y="1025311"/>
                    <a:pt x="831212" y="1052508"/>
                    <a:pt x="836651" y="1076985"/>
                  </a:cubicBezTo>
                  <a:cubicBezTo>
                    <a:pt x="861128" y="1139537"/>
                    <a:pt x="912802" y="1150415"/>
                    <a:pt x="912802" y="1150415"/>
                  </a:cubicBezTo>
                  <a:cubicBezTo>
                    <a:pt x="912802" y="1150415"/>
                    <a:pt x="861128" y="1221126"/>
                    <a:pt x="774099" y="1221126"/>
                  </a:cubicBezTo>
                  <a:cubicBezTo>
                    <a:pt x="670752" y="1221126"/>
                    <a:pt x="589162" y="1166733"/>
                    <a:pt x="553807" y="1098742"/>
                  </a:cubicBezTo>
                  <a:cubicBezTo>
                    <a:pt x="551087" y="1093303"/>
                    <a:pt x="551087" y="1090583"/>
                    <a:pt x="548367" y="1085144"/>
                  </a:cubicBezTo>
                  <a:cubicBezTo>
                    <a:pt x="534769" y="1147696"/>
                    <a:pt x="450460" y="1199369"/>
                    <a:pt x="398786" y="1212967"/>
                  </a:cubicBezTo>
                  <a:cubicBezTo>
                    <a:pt x="322636" y="1234725"/>
                    <a:pt x="222008" y="1223846"/>
                    <a:pt x="156736" y="1180332"/>
                  </a:cubicBezTo>
                  <a:cubicBezTo>
                    <a:pt x="-79874" y="1028031"/>
                    <a:pt x="-58117" y="416107"/>
                    <a:pt x="287280" y="416107"/>
                  </a:cubicBezTo>
                  <a:cubicBezTo>
                    <a:pt x="412385" y="416107"/>
                    <a:pt x="491255" y="503137"/>
                    <a:pt x="526611" y="552091"/>
                  </a:cubicBezTo>
                  <a:lnTo>
                    <a:pt x="526611" y="149581"/>
                  </a:lnTo>
                  <a:cubicBezTo>
                    <a:pt x="526611" y="67992"/>
                    <a:pt x="594602" y="0"/>
                    <a:pt x="676192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C33162D5-7247-412F-A7EA-E2527FDDE86B}"/>
                </a:ext>
              </a:extLst>
            </p:cNvPr>
            <p:cNvSpPr/>
            <p:nvPr/>
          </p:nvSpPr>
          <p:spPr>
            <a:xfrm>
              <a:off x="6789513" y="2362895"/>
              <a:ext cx="747906" cy="810458"/>
            </a:xfrm>
            <a:custGeom>
              <a:avLst/>
              <a:gdLst>
                <a:gd name="connsiteX0" fmla="*/ 394818 w 747906"/>
                <a:gd name="connsiteY0" fmla="*/ 163222 h 810458"/>
                <a:gd name="connsiteX1" fmla="*/ 356275 w 747906"/>
                <a:gd name="connsiteY1" fmla="*/ 174058 h 810458"/>
                <a:gd name="connsiteX2" fmla="*/ 274685 w 747906"/>
                <a:gd name="connsiteY2" fmla="*/ 356275 h 810458"/>
                <a:gd name="connsiteX3" fmla="*/ 375313 w 747906"/>
                <a:gd name="connsiteY3" fmla="*/ 358994 h 810458"/>
                <a:gd name="connsiteX4" fmla="*/ 473220 w 747906"/>
                <a:gd name="connsiteY4" fmla="*/ 239329 h 810458"/>
                <a:gd name="connsiteX5" fmla="*/ 394818 w 747906"/>
                <a:gd name="connsiteY5" fmla="*/ 163222 h 810458"/>
                <a:gd name="connsiteX6" fmla="*/ 386192 w 747906"/>
                <a:gd name="connsiteY6" fmla="*/ 0 h 810458"/>
                <a:gd name="connsiteX7" fmla="*/ 747906 w 747906"/>
                <a:gd name="connsiteY7" fmla="*/ 266526 h 810458"/>
                <a:gd name="connsiteX8" fmla="*/ 291004 w 747906"/>
                <a:gd name="connsiteY8" fmla="*/ 484100 h 810458"/>
                <a:gd name="connsiteX9" fmla="*/ 497698 w 747906"/>
                <a:gd name="connsiteY9" fmla="*/ 617363 h 810458"/>
                <a:gd name="connsiteX10" fmla="*/ 712551 w 747906"/>
                <a:gd name="connsiteY10" fmla="*/ 557530 h 810458"/>
                <a:gd name="connsiteX11" fmla="*/ 388912 w 747906"/>
                <a:gd name="connsiteY11" fmla="*/ 810458 h 810458"/>
                <a:gd name="connsiteX12" fmla="*/ 0 w 747906"/>
                <a:gd name="connsiteY12" fmla="*/ 413389 h 810458"/>
                <a:gd name="connsiteX13" fmla="*/ 386192 w 747906"/>
                <a:gd name="connsiteY13" fmla="*/ 0 h 8104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747906" h="810458">
                  <a:moveTo>
                    <a:pt x="394818" y="163222"/>
                  </a:moveTo>
                  <a:cubicBezTo>
                    <a:pt x="381772" y="163179"/>
                    <a:pt x="368514" y="166579"/>
                    <a:pt x="356275" y="174058"/>
                  </a:cubicBezTo>
                  <a:cubicBezTo>
                    <a:pt x="299162" y="212133"/>
                    <a:pt x="282844" y="291003"/>
                    <a:pt x="274685" y="356275"/>
                  </a:cubicBezTo>
                  <a:cubicBezTo>
                    <a:pt x="274685" y="364434"/>
                    <a:pt x="369873" y="358994"/>
                    <a:pt x="375313" y="358994"/>
                  </a:cubicBezTo>
                  <a:cubicBezTo>
                    <a:pt x="432425" y="345396"/>
                    <a:pt x="473220" y="301881"/>
                    <a:pt x="473220" y="239329"/>
                  </a:cubicBezTo>
                  <a:cubicBezTo>
                    <a:pt x="471181" y="194455"/>
                    <a:pt x="433956" y="163349"/>
                    <a:pt x="394818" y="163222"/>
                  </a:cubicBezTo>
                  <a:close/>
                  <a:moveTo>
                    <a:pt x="386192" y="0"/>
                  </a:moveTo>
                  <a:cubicBezTo>
                    <a:pt x="519455" y="0"/>
                    <a:pt x="747906" y="65272"/>
                    <a:pt x="747906" y="266526"/>
                  </a:cubicBezTo>
                  <a:cubicBezTo>
                    <a:pt x="747906" y="467782"/>
                    <a:pt x="538493" y="484100"/>
                    <a:pt x="291004" y="484100"/>
                  </a:cubicBezTo>
                  <a:cubicBezTo>
                    <a:pt x="291004" y="484100"/>
                    <a:pt x="326359" y="617363"/>
                    <a:pt x="497698" y="617363"/>
                  </a:cubicBezTo>
                  <a:cubicBezTo>
                    <a:pt x="669036" y="617363"/>
                    <a:pt x="712551" y="557530"/>
                    <a:pt x="712551" y="557530"/>
                  </a:cubicBezTo>
                  <a:cubicBezTo>
                    <a:pt x="712551" y="557530"/>
                    <a:pt x="696233" y="810458"/>
                    <a:pt x="388912" y="810458"/>
                  </a:cubicBezTo>
                  <a:cubicBezTo>
                    <a:pt x="212134" y="810458"/>
                    <a:pt x="0" y="677195"/>
                    <a:pt x="0" y="413389"/>
                  </a:cubicBezTo>
                  <a:cubicBezTo>
                    <a:pt x="0" y="176778"/>
                    <a:pt x="163180" y="0"/>
                    <a:pt x="386192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C2A5EB49-78D9-47C5-8F4C-92D82FF96117}"/>
                </a:ext>
              </a:extLst>
            </p:cNvPr>
            <p:cNvSpPr/>
            <p:nvPr/>
          </p:nvSpPr>
          <p:spPr>
            <a:xfrm>
              <a:off x="7988882" y="2362895"/>
              <a:ext cx="747906" cy="810458"/>
            </a:xfrm>
            <a:custGeom>
              <a:avLst/>
              <a:gdLst>
                <a:gd name="connsiteX0" fmla="*/ 394818 w 747906"/>
                <a:gd name="connsiteY0" fmla="*/ 163222 h 810458"/>
                <a:gd name="connsiteX1" fmla="*/ 356275 w 747906"/>
                <a:gd name="connsiteY1" fmla="*/ 174058 h 810458"/>
                <a:gd name="connsiteX2" fmla="*/ 274685 w 747906"/>
                <a:gd name="connsiteY2" fmla="*/ 356275 h 810458"/>
                <a:gd name="connsiteX3" fmla="*/ 375313 w 747906"/>
                <a:gd name="connsiteY3" fmla="*/ 358994 h 810458"/>
                <a:gd name="connsiteX4" fmla="*/ 473220 w 747906"/>
                <a:gd name="connsiteY4" fmla="*/ 239329 h 810458"/>
                <a:gd name="connsiteX5" fmla="*/ 394818 w 747906"/>
                <a:gd name="connsiteY5" fmla="*/ 163222 h 810458"/>
                <a:gd name="connsiteX6" fmla="*/ 386192 w 747906"/>
                <a:gd name="connsiteY6" fmla="*/ 0 h 810458"/>
                <a:gd name="connsiteX7" fmla="*/ 747906 w 747906"/>
                <a:gd name="connsiteY7" fmla="*/ 266526 h 810458"/>
                <a:gd name="connsiteX8" fmla="*/ 291004 w 747906"/>
                <a:gd name="connsiteY8" fmla="*/ 484100 h 810458"/>
                <a:gd name="connsiteX9" fmla="*/ 497697 w 747906"/>
                <a:gd name="connsiteY9" fmla="*/ 617363 h 810458"/>
                <a:gd name="connsiteX10" fmla="*/ 712551 w 747906"/>
                <a:gd name="connsiteY10" fmla="*/ 557530 h 810458"/>
                <a:gd name="connsiteX11" fmla="*/ 388911 w 747906"/>
                <a:gd name="connsiteY11" fmla="*/ 810458 h 810458"/>
                <a:gd name="connsiteX12" fmla="*/ 0 w 747906"/>
                <a:gd name="connsiteY12" fmla="*/ 413389 h 810458"/>
                <a:gd name="connsiteX13" fmla="*/ 386192 w 747906"/>
                <a:gd name="connsiteY13" fmla="*/ 0 h 8104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747906" h="810458">
                  <a:moveTo>
                    <a:pt x="394818" y="163222"/>
                  </a:moveTo>
                  <a:cubicBezTo>
                    <a:pt x="381772" y="163179"/>
                    <a:pt x="368514" y="166579"/>
                    <a:pt x="356275" y="174058"/>
                  </a:cubicBezTo>
                  <a:cubicBezTo>
                    <a:pt x="299162" y="212133"/>
                    <a:pt x="282844" y="291003"/>
                    <a:pt x="274685" y="356275"/>
                  </a:cubicBezTo>
                  <a:cubicBezTo>
                    <a:pt x="274685" y="364434"/>
                    <a:pt x="369873" y="358994"/>
                    <a:pt x="375313" y="358994"/>
                  </a:cubicBezTo>
                  <a:cubicBezTo>
                    <a:pt x="432426" y="345396"/>
                    <a:pt x="473220" y="301881"/>
                    <a:pt x="473220" y="239329"/>
                  </a:cubicBezTo>
                  <a:cubicBezTo>
                    <a:pt x="471181" y="194455"/>
                    <a:pt x="433955" y="163349"/>
                    <a:pt x="394818" y="163222"/>
                  </a:cubicBezTo>
                  <a:close/>
                  <a:moveTo>
                    <a:pt x="386192" y="0"/>
                  </a:moveTo>
                  <a:cubicBezTo>
                    <a:pt x="519455" y="0"/>
                    <a:pt x="747906" y="65272"/>
                    <a:pt x="747906" y="266526"/>
                  </a:cubicBezTo>
                  <a:cubicBezTo>
                    <a:pt x="747906" y="467782"/>
                    <a:pt x="538492" y="484100"/>
                    <a:pt x="291004" y="484100"/>
                  </a:cubicBezTo>
                  <a:cubicBezTo>
                    <a:pt x="291004" y="484100"/>
                    <a:pt x="326359" y="617363"/>
                    <a:pt x="497697" y="617363"/>
                  </a:cubicBezTo>
                  <a:cubicBezTo>
                    <a:pt x="669036" y="617363"/>
                    <a:pt x="712551" y="557530"/>
                    <a:pt x="712551" y="557530"/>
                  </a:cubicBezTo>
                  <a:cubicBezTo>
                    <a:pt x="712551" y="557530"/>
                    <a:pt x="696233" y="810458"/>
                    <a:pt x="388911" y="810458"/>
                  </a:cubicBezTo>
                  <a:cubicBezTo>
                    <a:pt x="212133" y="810458"/>
                    <a:pt x="0" y="677195"/>
                    <a:pt x="0" y="413389"/>
                  </a:cubicBezTo>
                  <a:cubicBezTo>
                    <a:pt x="0" y="176778"/>
                    <a:pt x="163180" y="0"/>
                    <a:pt x="386192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3153BD94-FC6C-491C-87CC-FE707C871FD4}"/>
                </a:ext>
              </a:extLst>
            </p:cNvPr>
            <p:cNvSpPr/>
            <p:nvPr/>
          </p:nvSpPr>
          <p:spPr>
            <a:xfrm>
              <a:off x="8683414" y="2274801"/>
              <a:ext cx="897487" cy="951879"/>
            </a:xfrm>
            <a:custGeom>
              <a:avLst/>
              <a:gdLst>
                <a:gd name="connsiteX0" fmla="*/ 580988 w 897487"/>
                <a:gd name="connsiteY0" fmla="*/ 667381 h 951879"/>
                <a:gd name="connsiteX1" fmla="*/ 409649 w 897487"/>
                <a:gd name="connsiteY1" fmla="*/ 667381 h 951879"/>
                <a:gd name="connsiteX2" fmla="*/ 591866 w 897487"/>
                <a:gd name="connsiteY2" fmla="*/ 525959 h 951879"/>
                <a:gd name="connsiteX3" fmla="*/ 842075 w 897487"/>
                <a:gd name="connsiteY3" fmla="*/ 123450 h 951879"/>
                <a:gd name="connsiteX4" fmla="*/ 842075 w 897487"/>
                <a:gd name="connsiteY4" fmla="*/ 123450 h 951879"/>
                <a:gd name="connsiteX5" fmla="*/ 798560 w 897487"/>
                <a:gd name="connsiteY5" fmla="*/ 58178 h 951879"/>
                <a:gd name="connsiteX6" fmla="*/ 746887 w 897487"/>
                <a:gd name="connsiteY6" fmla="*/ 107132 h 951879"/>
                <a:gd name="connsiteX7" fmla="*/ 697933 w 897487"/>
                <a:gd name="connsiteY7" fmla="*/ 115291 h 951879"/>
                <a:gd name="connsiteX8" fmla="*/ 219273 w 897487"/>
                <a:gd name="connsiteY8" fmla="*/ 115291 h 951879"/>
                <a:gd name="connsiteX9" fmla="*/ 102328 w 897487"/>
                <a:gd name="connsiteY9" fmla="*/ 224077 h 951879"/>
                <a:gd name="connsiteX10" fmla="*/ 213834 w 897487"/>
                <a:gd name="connsiteY10" fmla="*/ 332863 h 951879"/>
                <a:gd name="connsiteX11" fmla="*/ 485800 w 897487"/>
                <a:gd name="connsiteY11" fmla="*/ 335583 h 951879"/>
                <a:gd name="connsiteX12" fmla="*/ 134964 w 897487"/>
                <a:gd name="connsiteY12" fmla="*/ 615708 h 951879"/>
                <a:gd name="connsiteX13" fmla="*/ 61533 w 897487"/>
                <a:gd name="connsiteY13" fmla="*/ 884953 h 951879"/>
                <a:gd name="connsiteX14" fmla="*/ 398771 w 897487"/>
                <a:gd name="connsiteY14" fmla="*/ 806083 h 951879"/>
                <a:gd name="connsiteX15" fmla="*/ 529314 w 897487"/>
                <a:gd name="connsiteY15" fmla="*/ 863196 h 951879"/>
                <a:gd name="connsiteX16" fmla="*/ 782242 w 897487"/>
                <a:gd name="connsiteY16" fmla="*/ 607549 h 951879"/>
                <a:gd name="connsiteX17" fmla="*/ 580988 w 897487"/>
                <a:gd name="connsiteY17" fmla="*/ 667381 h 9518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897487" h="951879">
                  <a:moveTo>
                    <a:pt x="580988" y="667381"/>
                  </a:moveTo>
                  <a:lnTo>
                    <a:pt x="409649" y="667381"/>
                  </a:lnTo>
                  <a:cubicBezTo>
                    <a:pt x="423248" y="667381"/>
                    <a:pt x="548352" y="561314"/>
                    <a:pt x="591866" y="525959"/>
                  </a:cubicBezTo>
                  <a:cubicBezTo>
                    <a:pt x="700653" y="433491"/>
                    <a:pt x="899188" y="297508"/>
                    <a:pt x="842075" y="123450"/>
                  </a:cubicBezTo>
                  <a:lnTo>
                    <a:pt x="842075" y="123450"/>
                  </a:lnTo>
                  <a:cubicBezTo>
                    <a:pt x="831197" y="82655"/>
                    <a:pt x="798560" y="58178"/>
                    <a:pt x="798560" y="58178"/>
                  </a:cubicBezTo>
                  <a:cubicBezTo>
                    <a:pt x="798560" y="58178"/>
                    <a:pt x="787682" y="90814"/>
                    <a:pt x="746887" y="107132"/>
                  </a:cubicBezTo>
                  <a:cubicBezTo>
                    <a:pt x="730569" y="109852"/>
                    <a:pt x="714251" y="115291"/>
                    <a:pt x="697933" y="115291"/>
                  </a:cubicBezTo>
                  <a:cubicBezTo>
                    <a:pt x="684334" y="115291"/>
                    <a:pt x="219273" y="115291"/>
                    <a:pt x="219273" y="115291"/>
                  </a:cubicBezTo>
                  <a:cubicBezTo>
                    <a:pt x="156721" y="115291"/>
                    <a:pt x="105048" y="166964"/>
                    <a:pt x="102328" y="224077"/>
                  </a:cubicBezTo>
                  <a:cubicBezTo>
                    <a:pt x="102328" y="283910"/>
                    <a:pt x="151282" y="332863"/>
                    <a:pt x="213834" y="332863"/>
                  </a:cubicBezTo>
                  <a:lnTo>
                    <a:pt x="485800" y="335583"/>
                  </a:lnTo>
                  <a:cubicBezTo>
                    <a:pt x="360695" y="406294"/>
                    <a:pt x="211114" y="487884"/>
                    <a:pt x="134964" y="615708"/>
                  </a:cubicBezTo>
                  <a:cubicBezTo>
                    <a:pt x="91449" y="689138"/>
                    <a:pt x="45215" y="800644"/>
                    <a:pt x="61533" y="884953"/>
                  </a:cubicBezTo>
                  <a:cubicBezTo>
                    <a:pt x="121366" y="830560"/>
                    <a:pt x="279106" y="778887"/>
                    <a:pt x="398771" y="806083"/>
                  </a:cubicBezTo>
                  <a:cubicBezTo>
                    <a:pt x="445005" y="814242"/>
                    <a:pt x="491239" y="838719"/>
                    <a:pt x="529314" y="863196"/>
                  </a:cubicBezTo>
                  <a:cubicBezTo>
                    <a:pt x="755046" y="1004618"/>
                    <a:pt x="891029" y="727213"/>
                    <a:pt x="782242" y="607549"/>
                  </a:cubicBezTo>
                  <a:cubicBezTo>
                    <a:pt x="784962" y="607549"/>
                    <a:pt x="722410" y="667381"/>
                    <a:pt x="580988" y="667381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3BC82946-E68D-4E5D-A508-7F6DEA272480}"/>
                </a:ext>
              </a:extLst>
            </p:cNvPr>
            <p:cNvSpPr/>
            <p:nvPr/>
          </p:nvSpPr>
          <p:spPr>
            <a:xfrm>
              <a:off x="2624650" y="1948442"/>
              <a:ext cx="1903761" cy="1577400"/>
            </a:xfrm>
            <a:custGeom>
              <a:avLst/>
              <a:gdLst>
                <a:gd name="connsiteX0" fmla="*/ 1559430 w 1903760"/>
                <a:gd name="connsiteY0" fmla="*/ 1165078 h 1577399"/>
                <a:gd name="connsiteX1" fmla="*/ 1369054 w 1903760"/>
                <a:gd name="connsiteY1" fmla="*/ 593950 h 1577399"/>
                <a:gd name="connsiteX2" fmla="*/ 1483279 w 1903760"/>
                <a:gd name="connsiteY2" fmla="*/ 126170 h 1577399"/>
                <a:gd name="connsiteX3" fmla="*/ 1311941 w 1903760"/>
                <a:gd name="connsiteY3" fmla="*/ 58178 h 1577399"/>
                <a:gd name="connsiteX4" fmla="*/ 1078050 w 1903760"/>
                <a:gd name="connsiteY4" fmla="*/ 205040 h 1577399"/>
                <a:gd name="connsiteX5" fmla="*/ 846879 w 1903760"/>
                <a:gd name="connsiteY5" fmla="*/ 523239 h 1577399"/>
                <a:gd name="connsiteX6" fmla="*/ 645624 w 1903760"/>
                <a:gd name="connsiteY6" fmla="*/ 210479 h 1577399"/>
                <a:gd name="connsiteX7" fmla="*/ 455248 w 1903760"/>
                <a:gd name="connsiteY7" fmla="*/ 63617 h 1577399"/>
                <a:gd name="connsiteX8" fmla="*/ 234956 w 1903760"/>
                <a:gd name="connsiteY8" fmla="*/ 137048 h 1577399"/>
                <a:gd name="connsiteX9" fmla="*/ 316546 w 1903760"/>
                <a:gd name="connsiteY9" fmla="*/ 588511 h 1577399"/>
                <a:gd name="connsiteX10" fmla="*/ 58178 w 1903760"/>
                <a:gd name="connsiteY10" fmla="*/ 1072610 h 1577399"/>
                <a:gd name="connsiteX11" fmla="*/ 474286 w 1903760"/>
                <a:gd name="connsiteY11" fmla="*/ 1020936 h 1577399"/>
                <a:gd name="connsiteX12" fmla="*/ 555876 w 1903760"/>
                <a:gd name="connsiteY12" fmla="*/ 572193 h 1577399"/>
                <a:gd name="connsiteX13" fmla="*/ 830561 w 1903760"/>
                <a:gd name="connsiteY13" fmla="*/ 993740 h 1577399"/>
                <a:gd name="connsiteX14" fmla="*/ 1140602 w 1903760"/>
                <a:gd name="connsiteY14" fmla="*/ 574913 h 1577399"/>
                <a:gd name="connsiteX15" fmla="*/ 1567589 w 1903760"/>
                <a:gd name="connsiteY15" fmla="*/ 1526792 h 1577399"/>
                <a:gd name="connsiteX16" fmla="*/ 1866751 w 1903760"/>
                <a:gd name="connsiteY16" fmla="*/ 1322818 h 1577399"/>
                <a:gd name="connsiteX17" fmla="*/ 1559430 w 1903760"/>
                <a:gd name="connsiteY17" fmla="*/ 1165078 h 15773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903760" h="1577399">
                  <a:moveTo>
                    <a:pt x="1559430" y="1165078"/>
                  </a:moveTo>
                  <a:cubicBezTo>
                    <a:pt x="1420727" y="1012777"/>
                    <a:pt x="1377213" y="762569"/>
                    <a:pt x="1369054" y="593950"/>
                  </a:cubicBezTo>
                  <a:cubicBezTo>
                    <a:pt x="1360895" y="449809"/>
                    <a:pt x="1369054" y="199600"/>
                    <a:pt x="1483279" y="126170"/>
                  </a:cubicBezTo>
                  <a:cubicBezTo>
                    <a:pt x="1445204" y="77216"/>
                    <a:pt x="1369054" y="58178"/>
                    <a:pt x="1311941" y="58178"/>
                  </a:cubicBezTo>
                  <a:cubicBezTo>
                    <a:pt x="1184117" y="58178"/>
                    <a:pt x="1121565" y="142488"/>
                    <a:pt x="1078050" y="205040"/>
                  </a:cubicBezTo>
                  <a:cubicBezTo>
                    <a:pt x="1064452" y="224077"/>
                    <a:pt x="846879" y="523239"/>
                    <a:pt x="846879" y="523239"/>
                  </a:cubicBezTo>
                  <a:cubicBezTo>
                    <a:pt x="846879" y="523239"/>
                    <a:pt x="667382" y="243115"/>
                    <a:pt x="645624" y="210479"/>
                  </a:cubicBezTo>
                  <a:cubicBezTo>
                    <a:pt x="615708" y="164245"/>
                    <a:pt x="555876" y="77216"/>
                    <a:pt x="455248" y="63617"/>
                  </a:cubicBezTo>
                  <a:cubicBezTo>
                    <a:pt x="411734" y="58178"/>
                    <a:pt x="297508" y="52739"/>
                    <a:pt x="234956" y="137048"/>
                  </a:cubicBezTo>
                  <a:cubicBezTo>
                    <a:pt x="341023" y="221357"/>
                    <a:pt x="338303" y="438930"/>
                    <a:pt x="316546" y="588511"/>
                  </a:cubicBezTo>
                  <a:cubicBezTo>
                    <a:pt x="248554" y="1031815"/>
                    <a:pt x="58178" y="1072610"/>
                    <a:pt x="58178" y="1072610"/>
                  </a:cubicBezTo>
                  <a:cubicBezTo>
                    <a:pt x="156086" y="1333696"/>
                    <a:pt x="403575" y="1230350"/>
                    <a:pt x="474286" y="1020936"/>
                  </a:cubicBezTo>
                  <a:cubicBezTo>
                    <a:pt x="520520" y="884953"/>
                    <a:pt x="550436" y="713615"/>
                    <a:pt x="555876" y="572193"/>
                  </a:cubicBezTo>
                  <a:lnTo>
                    <a:pt x="830561" y="993740"/>
                  </a:lnTo>
                  <a:cubicBezTo>
                    <a:pt x="830561" y="993740"/>
                    <a:pt x="1140602" y="574913"/>
                    <a:pt x="1140602" y="574913"/>
                  </a:cubicBezTo>
                  <a:cubicBezTo>
                    <a:pt x="1088929" y="1314659"/>
                    <a:pt x="1344577" y="1526792"/>
                    <a:pt x="1567589" y="1526792"/>
                  </a:cubicBezTo>
                  <a:cubicBezTo>
                    <a:pt x="1790601" y="1526792"/>
                    <a:pt x="1866751" y="1322818"/>
                    <a:pt x="1866751" y="1322818"/>
                  </a:cubicBezTo>
                  <a:cubicBezTo>
                    <a:pt x="1744367" y="1314659"/>
                    <a:pt x="1641019" y="1252107"/>
                    <a:pt x="1559430" y="1165078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/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91FFC926-DCB2-4DFD-8921-31D3740A1576}"/>
                </a:ext>
              </a:extLst>
            </p:cNvPr>
            <p:cNvSpPr/>
            <p:nvPr/>
          </p:nvSpPr>
          <p:spPr>
            <a:xfrm>
              <a:off x="4792218" y="3234839"/>
              <a:ext cx="271966" cy="652717"/>
            </a:xfrm>
            <a:custGeom>
              <a:avLst/>
              <a:gdLst>
                <a:gd name="connsiteX0" fmla="*/ 88095 w 271965"/>
                <a:gd name="connsiteY0" fmla="*/ 120730 h 652717"/>
                <a:gd name="connsiteX1" fmla="*/ 93534 w 271965"/>
                <a:gd name="connsiteY1" fmla="*/ 153366 h 652717"/>
                <a:gd name="connsiteX2" fmla="*/ 93534 w 271965"/>
                <a:gd name="connsiteY2" fmla="*/ 544997 h 652717"/>
                <a:gd name="connsiteX3" fmla="*/ 156086 w 271965"/>
                <a:gd name="connsiteY3" fmla="*/ 604829 h 652717"/>
                <a:gd name="connsiteX4" fmla="*/ 221358 w 271965"/>
                <a:gd name="connsiteY4" fmla="*/ 544997 h 652717"/>
                <a:gd name="connsiteX5" fmla="*/ 221358 w 271965"/>
                <a:gd name="connsiteY5" fmla="*/ 194161 h 652717"/>
                <a:gd name="connsiteX6" fmla="*/ 210479 w 271965"/>
                <a:gd name="connsiteY6" fmla="*/ 109852 h 652717"/>
                <a:gd name="connsiteX7" fmla="*/ 118011 w 271965"/>
                <a:gd name="connsiteY7" fmla="*/ 58178 h 652717"/>
                <a:gd name="connsiteX8" fmla="*/ 58178 w 271965"/>
                <a:gd name="connsiteY8" fmla="*/ 88094 h 652717"/>
                <a:gd name="connsiteX9" fmla="*/ 88095 w 271965"/>
                <a:gd name="connsiteY9" fmla="*/ 120730 h 6527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71965" h="652717">
                  <a:moveTo>
                    <a:pt x="88095" y="120730"/>
                  </a:moveTo>
                  <a:cubicBezTo>
                    <a:pt x="90814" y="131609"/>
                    <a:pt x="90814" y="142487"/>
                    <a:pt x="93534" y="153366"/>
                  </a:cubicBezTo>
                  <a:cubicBezTo>
                    <a:pt x="93534" y="156086"/>
                    <a:pt x="93534" y="542277"/>
                    <a:pt x="93534" y="544997"/>
                  </a:cubicBezTo>
                  <a:cubicBezTo>
                    <a:pt x="93534" y="577632"/>
                    <a:pt x="123450" y="604829"/>
                    <a:pt x="156086" y="604829"/>
                  </a:cubicBezTo>
                  <a:cubicBezTo>
                    <a:pt x="188722" y="607548"/>
                    <a:pt x="221358" y="577632"/>
                    <a:pt x="221358" y="544997"/>
                  </a:cubicBezTo>
                  <a:cubicBezTo>
                    <a:pt x="221358" y="539557"/>
                    <a:pt x="221358" y="194161"/>
                    <a:pt x="221358" y="194161"/>
                  </a:cubicBezTo>
                  <a:cubicBezTo>
                    <a:pt x="221358" y="164245"/>
                    <a:pt x="224078" y="134329"/>
                    <a:pt x="210479" y="109852"/>
                  </a:cubicBezTo>
                  <a:cubicBezTo>
                    <a:pt x="196881" y="79935"/>
                    <a:pt x="158806" y="58178"/>
                    <a:pt x="118011" y="58178"/>
                  </a:cubicBezTo>
                  <a:cubicBezTo>
                    <a:pt x="79936" y="58178"/>
                    <a:pt x="58178" y="88094"/>
                    <a:pt x="58178" y="88094"/>
                  </a:cubicBezTo>
                  <a:cubicBezTo>
                    <a:pt x="58178" y="88094"/>
                    <a:pt x="77216" y="93534"/>
                    <a:pt x="88095" y="120730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B7D561CC-A307-418B-BB5B-2E9F6029C1FE}"/>
                </a:ext>
              </a:extLst>
            </p:cNvPr>
            <p:cNvSpPr/>
            <p:nvPr/>
          </p:nvSpPr>
          <p:spPr>
            <a:xfrm>
              <a:off x="8751819" y="3234667"/>
              <a:ext cx="271966" cy="652717"/>
            </a:xfrm>
            <a:custGeom>
              <a:avLst/>
              <a:gdLst>
                <a:gd name="connsiteX0" fmla="*/ 191663 w 271965"/>
                <a:gd name="connsiteY0" fmla="*/ 542449 h 652717"/>
                <a:gd name="connsiteX1" fmla="*/ 186224 w 271965"/>
                <a:gd name="connsiteY1" fmla="*/ 509813 h 652717"/>
                <a:gd name="connsiteX2" fmla="*/ 186224 w 271965"/>
                <a:gd name="connsiteY2" fmla="*/ 118183 h 652717"/>
                <a:gd name="connsiteX3" fmla="*/ 123672 w 271965"/>
                <a:gd name="connsiteY3" fmla="*/ 58350 h 652717"/>
                <a:gd name="connsiteX4" fmla="*/ 58400 w 271965"/>
                <a:gd name="connsiteY4" fmla="*/ 118183 h 652717"/>
                <a:gd name="connsiteX5" fmla="*/ 58400 w 271965"/>
                <a:gd name="connsiteY5" fmla="*/ 469018 h 652717"/>
                <a:gd name="connsiteX6" fmla="*/ 69279 w 271965"/>
                <a:gd name="connsiteY6" fmla="*/ 553328 h 652717"/>
                <a:gd name="connsiteX7" fmla="*/ 161747 w 271965"/>
                <a:gd name="connsiteY7" fmla="*/ 605001 h 652717"/>
                <a:gd name="connsiteX8" fmla="*/ 221580 w 271965"/>
                <a:gd name="connsiteY8" fmla="*/ 575085 h 652717"/>
                <a:gd name="connsiteX9" fmla="*/ 191663 w 271965"/>
                <a:gd name="connsiteY9" fmla="*/ 542449 h 6527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71965" h="652717">
                  <a:moveTo>
                    <a:pt x="191663" y="542449"/>
                  </a:moveTo>
                  <a:cubicBezTo>
                    <a:pt x="188944" y="531570"/>
                    <a:pt x="186224" y="520692"/>
                    <a:pt x="186224" y="509813"/>
                  </a:cubicBezTo>
                  <a:cubicBezTo>
                    <a:pt x="186224" y="507093"/>
                    <a:pt x="186224" y="120902"/>
                    <a:pt x="186224" y="118183"/>
                  </a:cubicBezTo>
                  <a:cubicBezTo>
                    <a:pt x="186224" y="85547"/>
                    <a:pt x="156308" y="58350"/>
                    <a:pt x="123672" y="58350"/>
                  </a:cubicBezTo>
                  <a:cubicBezTo>
                    <a:pt x="91036" y="55631"/>
                    <a:pt x="58400" y="85547"/>
                    <a:pt x="58400" y="118183"/>
                  </a:cubicBezTo>
                  <a:cubicBezTo>
                    <a:pt x="58400" y="123622"/>
                    <a:pt x="58400" y="469018"/>
                    <a:pt x="58400" y="469018"/>
                  </a:cubicBezTo>
                  <a:cubicBezTo>
                    <a:pt x="58400" y="498934"/>
                    <a:pt x="55680" y="528851"/>
                    <a:pt x="69279" y="553328"/>
                  </a:cubicBezTo>
                  <a:cubicBezTo>
                    <a:pt x="82877" y="583244"/>
                    <a:pt x="120953" y="605001"/>
                    <a:pt x="161747" y="605001"/>
                  </a:cubicBezTo>
                  <a:cubicBezTo>
                    <a:pt x="199822" y="605001"/>
                    <a:pt x="221580" y="575085"/>
                    <a:pt x="221580" y="575085"/>
                  </a:cubicBezTo>
                  <a:cubicBezTo>
                    <a:pt x="221580" y="575085"/>
                    <a:pt x="202542" y="566926"/>
                    <a:pt x="191663" y="542449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3B41DF09-4DE2-4BA3-8850-42F1FE05A316}"/>
                </a:ext>
              </a:extLst>
            </p:cNvPr>
            <p:cNvSpPr/>
            <p:nvPr/>
          </p:nvSpPr>
          <p:spPr>
            <a:xfrm>
              <a:off x="6320666" y="3416868"/>
              <a:ext cx="435145" cy="462341"/>
            </a:xfrm>
            <a:custGeom>
              <a:avLst/>
              <a:gdLst>
                <a:gd name="connsiteX0" fmla="*/ 302948 w 435145"/>
                <a:gd name="connsiteY0" fmla="*/ 74684 h 462341"/>
                <a:gd name="connsiteX1" fmla="*/ 186003 w 435145"/>
                <a:gd name="connsiteY1" fmla="*/ 148115 h 462341"/>
                <a:gd name="connsiteX2" fmla="*/ 186003 w 435145"/>
                <a:gd name="connsiteY2" fmla="*/ 148115 h 462341"/>
                <a:gd name="connsiteX3" fmla="*/ 186003 w 435145"/>
                <a:gd name="connsiteY3" fmla="*/ 115479 h 462341"/>
                <a:gd name="connsiteX4" fmla="*/ 123450 w 435145"/>
                <a:gd name="connsiteY4" fmla="*/ 58366 h 462341"/>
                <a:gd name="connsiteX5" fmla="*/ 58178 w 435145"/>
                <a:gd name="connsiteY5" fmla="*/ 115479 h 462341"/>
                <a:gd name="connsiteX6" fmla="*/ 58178 w 435145"/>
                <a:gd name="connsiteY6" fmla="*/ 362967 h 462341"/>
                <a:gd name="connsiteX7" fmla="*/ 120730 w 435145"/>
                <a:gd name="connsiteY7" fmla="*/ 422800 h 462341"/>
                <a:gd name="connsiteX8" fmla="*/ 186003 w 435145"/>
                <a:gd name="connsiteY8" fmla="*/ 362967 h 462341"/>
                <a:gd name="connsiteX9" fmla="*/ 186003 w 435145"/>
                <a:gd name="connsiteY9" fmla="*/ 213386 h 462341"/>
                <a:gd name="connsiteX10" fmla="*/ 186003 w 435145"/>
                <a:gd name="connsiteY10" fmla="*/ 213386 h 462341"/>
                <a:gd name="connsiteX11" fmla="*/ 229517 w 435145"/>
                <a:gd name="connsiteY11" fmla="*/ 161713 h 462341"/>
                <a:gd name="connsiteX12" fmla="*/ 259433 w 435145"/>
                <a:gd name="connsiteY12" fmla="*/ 194349 h 462341"/>
                <a:gd name="connsiteX13" fmla="*/ 259433 w 435145"/>
                <a:gd name="connsiteY13" fmla="*/ 362967 h 462341"/>
                <a:gd name="connsiteX14" fmla="*/ 321985 w 435145"/>
                <a:gd name="connsiteY14" fmla="*/ 422800 h 462341"/>
                <a:gd name="connsiteX15" fmla="*/ 387257 w 435145"/>
                <a:gd name="connsiteY15" fmla="*/ 362967 h 462341"/>
                <a:gd name="connsiteX16" fmla="*/ 387257 w 435145"/>
                <a:gd name="connsiteY16" fmla="*/ 273219 h 462341"/>
                <a:gd name="connsiteX17" fmla="*/ 302948 w 435145"/>
                <a:gd name="connsiteY17" fmla="*/ 74684 h 4623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435145" h="462341">
                  <a:moveTo>
                    <a:pt x="302948" y="74684"/>
                  </a:moveTo>
                  <a:cubicBezTo>
                    <a:pt x="234956" y="74684"/>
                    <a:pt x="196881" y="131797"/>
                    <a:pt x="186003" y="148115"/>
                  </a:cubicBezTo>
                  <a:lnTo>
                    <a:pt x="186003" y="148115"/>
                  </a:lnTo>
                  <a:cubicBezTo>
                    <a:pt x="186003" y="129077"/>
                    <a:pt x="186003" y="115479"/>
                    <a:pt x="186003" y="115479"/>
                  </a:cubicBezTo>
                  <a:cubicBezTo>
                    <a:pt x="186003" y="82843"/>
                    <a:pt x="156086" y="58366"/>
                    <a:pt x="123450" y="58366"/>
                  </a:cubicBezTo>
                  <a:cubicBezTo>
                    <a:pt x="90814" y="55646"/>
                    <a:pt x="58178" y="82843"/>
                    <a:pt x="58178" y="115479"/>
                  </a:cubicBezTo>
                  <a:cubicBezTo>
                    <a:pt x="58178" y="120918"/>
                    <a:pt x="58178" y="360248"/>
                    <a:pt x="58178" y="362967"/>
                  </a:cubicBezTo>
                  <a:cubicBezTo>
                    <a:pt x="58178" y="395603"/>
                    <a:pt x="88095" y="422800"/>
                    <a:pt x="120730" y="422800"/>
                  </a:cubicBezTo>
                  <a:cubicBezTo>
                    <a:pt x="153366" y="425519"/>
                    <a:pt x="186003" y="395603"/>
                    <a:pt x="186003" y="362967"/>
                  </a:cubicBezTo>
                  <a:cubicBezTo>
                    <a:pt x="186003" y="360248"/>
                    <a:pt x="186003" y="281378"/>
                    <a:pt x="186003" y="213386"/>
                  </a:cubicBezTo>
                  <a:lnTo>
                    <a:pt x="186003" y="213386"/>
                  </a:lnTo>
                  <a:cubicBezTo>
                    <a:pt x="191442" y="186190"/>
                    <a:pt x="205040" y="161713"/>
                    <a:pt x="229517" y="161713"/>
                  </a:cubicBezTo>
                  <a:cubicBezTo>
                    <a:pt x="259433" y="161713"/>
                    <a:pt x="259433" y="194349"/>
                    <a:pt x="259433" y="194349"/>
                  </a:cubicBezTo>
                  <a:lnTo>
                    <a:pt x="259433" y="362967"/>
                  </a:lnTo>
                  <a:cubicBezTo>
                    <a:pt x="259433" y="395603"/>
                    <a:pt x="289349" y="422800"/>
                    <a:pt x="321985" y="422800"/>
                  </a:cubicBezTo>
                  <a:cubicBezTo>
                    <a:pt x="354621" y="425519"/>
                    <a:pt x="387257" y="395603"/>
                    <a:pt x="387257" y="362967"/>
                  </a:cubicBezTo>
                  <a:lnTo>
                    <a:pt x="387257" y="273219"/>
                  </a:lnTo>
                  <a:cubicBezTo>
                    <a:pt x="387257" y="183470"/>
                    <a:pt x="395416" y="71964"/>
                    <a:pt x="302948" y="74684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2F743D14-4DD4-4BBF-9C77-D2CF60D0443C}"/>
                </a:ext>
              </a:extLst>
            </p:cNvPr>
            <p:cNvSpPr/>
            <p:nvPr/>
          </p:nvSpPr>
          <p:spPr>
            <a:xfrm>
              <a:off x="7960620" y="3416868"/>
              <a:ext cx="435145" cy="462341"/>
            </a:xfrm>
            <a:custGeom>
              <a:avLst/>
              <a:gdLst>
                <a:gd name="connsiteX0" fmla="*/ 302948 w 435145"/>
                <a:gd name="connsiteY0" fmla="*/ 74684 h 462341"/>
                <a:gd name="connsiteX1" fmla="*/ 186002 w 435145"/>
                <a:gd name="connsiteY1" fmla="*/ 148115 h 462341"/>
                <a:gd name="connsiteX2" fmla="*/ 186002 w 435145"/>
                <a:gd name="connsiteY2" fmla="*/ 148115 h 462341"/>
                <a:gd name="connsiteX3" fmla="*/ 186002 w 435145"/>
                <a:gd name="connsiteY3" fmla="*/ 115479 h 462341"/>
                <a:gd name="connsiteX4" fmla="*/ 123450 w 435145"/>
                <a:gd name="connsiteY4" fmla="*/ 58366 h 462341"/>
                <a:gd name="connsiteX5" fmla="*/ 58178 w 435145"/>
                <a:gd name="connsiteY5" fmla="*/ 115479 h 462341"/>
                <a:gd name="connsiteX6" fmla="*/ 58178 w 435145"/>
                <a:gd name="connsiteY6" fmla="*/ 362967 h 462341"/>
                <a:gd name="connsiteX7" fmla="*/ 120730 w 435145"/>
                <a:gd name="connsiteY7" fmla="*/ 422800 h 462341"/>
                <a:gd name="connsiteX8" fmla="*/ 186002 w 435145"/>
                <a:gd name="connsiteY8" fmla="*/ 362967 h 462341"/>
                <a:gd name="connsiteX9" fmla="*/ 186002 w 435145"/>
                <a:gd name="connsiteY9" fmla="*/ 213386 h 462341"/>
                <a:gd name="connsiteX10" fmla="*/ 186002 w 435145"/>
                <a:gd name="connsiteY10" fmla="*/ 213386 h 462341"/>
                <a:gd name="connsiteX11" fmla="*/ 229517 w 435145"/>
                <a:gd name="connsiteY11" fmla="*/ 161713 h 462341"/>
                <a:gd name="connsiteX12" fmla="*/ 259433 w 435145"/>
                <a:gd name="connsiteY12" fmla="*/ 194349 h 462341"/>
                <a:gd name="connsiteX13" fmla="*/ 259433 w 435145"/>
                <a:gd name="connsiteY13" fmla="*/ 362967 h 462341"/>
                <a:gd name="connsiteX14" fmla="*/ 321985 w 435145"/>
                <a:gd name="connsiteY14" fmla="*/ 422800 h 462341"/>
                <a:gd name="connsiteX15" fmla="*/ 387257 w 435145"/>
                <a:gd name="connsiteY15" fmla="*/ 362967 h 462341"/>
                <a:gd name="connsiteX16" fmla="*/ 387257 w 435145"/>
                <a:gd name="connsiteY16" fmla="*/ 273219 h 462341"/>
                <a:gd name="connsiteX17" fmla="*/ 302948 w 435145"/>
                <a:gd name="connsiteY17" fmla="*/ 74684 h 4623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435145" h="462341">
                  <a:moveTo>
                    <a:pt x="302948" y="74684"/>
                  </a:moveTo>
                  <a:cubicBezTo>
                    <a:pt x="234956" y="74684"/>
                    <a:pt x="196881" y="131797"/>
                    <a:pt x="186002" y="148115"/>
                  </a:cubicBezTo>
                  <a:lnTo>
                    <a:pt x="186002" y="148115"/>
                  </a:lnTo>
                  <a:cubicBezTo>
                    <a:pt x="186002" y="129077"/>
                    <a:pt x="186002" y="115479"/>
                    <a:pt x="186002" y="115479"/>
                  </a:cubicBezTo>
                  <a:cubicBezTo>
                    <a:pt x="186002" y="82843"/>
                    <a:pt x="156086" y="58366"/>
                    <a:pt x="123450" y="58366"/>
                  </a:cubicBezTo>
                  <a:cubicBezTo>
                    <a:pt x="90814" y="55646"/>
                    <a:pt x="58178" y="82843"/>
                    <a:pt x="58178" y="115479"/>
                  </a:cubicBezTo>
                  <a:cubicBezTo>
                    <a:pt x="58178" y="120918"/>
                    <a:pt x="58178" y="360248"/>
                    <a:pt x="58178" y="362967"/>
                  </a:cubicBezTo>
                  <a:cubicBezTo>
                    <a:pt x="58178" y="395603"/>
                    <a:pt x="88095" y="422800"/>
                    <a:pt x="120730" y="422800"/>
                  </a:cubicBezTo>
                  <a:cubicBezTo>
                    <a:pt x="153366" y="425519"/>
                    <a:pt x="186002" y="395603"/>
                    <a:pt x="186002" y="362967"/>
                  </a:cubicBezTo>
                  <a:cubicBezTo>
                    <a:pt x="186002" y="360248"/>
                    <a:pt x="186002" y="281378"/>
                    <a:pt x="186002" y="213386"/>
                  </a:cubicBezTo>
                  <a:lnTo>
                    <a:pt x="186002" y="213386"/>
                  </a:lnTo>
                  <a:cubicBezTo>
                    <a:pt x="191442" y="186190"/>
                    <a:pt x="205040" y="161713"/>
                    <a:pt x="229517" y="161713"/>
                  </a:cubicBezTo>
                  <a:cubicBezTo>
                    <a:pt x="259433" y="161713"/>
                    <a:pt x="259433" y="194349"/>
                    <a:pt x="259433" y="194349"/>
                  </a:cubicBezTo>
                  <a:lnTo>
                    <a:pt x="259433" y="362967"/>
                  </a:lnTo>
                  <a:cubicBezTo>
                    <a:pt x="259433" y="395603"/>
                    <a:pt x="289349" y="422800"/>
                    <a:pt x="321985" y="422800"/>
                  </a:cubicBezTo>
                  <a:cubicBezTo>
                    <a:pt x="354621" y="425519"/>
                    <a:pt x="387257" y="395603"/>
                    <a:pt x="387257" y="362967"/>
                  </a:cubicBezTo>
                  <a:lnTo>
                    <a:pt x="387257" y="273219"/>
                  </a:lnTo>
                  <a:cubicBezTo>
                    <a:pt x="384537" y="183470"/>
                    <a:pt x="395416" y="71964"/>
                    <a:pt x="302948" y="74684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39390E2C-0C7D-4CE4-9EDE-DDC867E57F7C}"/>
                </a:ext>
              </a:extLst>
            </p:cNvPr>
            <p:cNvSpPr/>
            <p:nvPr/>
          </p:nvSpPr>
          <p:spPr>
            <a:xfrm>
              <a:off x="5020669" y="3416868"/>
              <a:ext cx="435145" cy="462341"/>
            </a:xfrm>
            <a:custGeom>
              <a:avLst/>
              <a:gdLst>
                <a:gd name="connsiteX0" fmla="*/ 302948 w 435145"/>
                <a:gd name="connsiteY0" fmla="*/ 74684 h 462341"/>
                <a:gd name="connsiteX1" fmla="*/ 186002 w 435145"/>
                <a:gd name="connsiteY1" fmla="*/ 148115 h 462341"/>
                <a:gd name="connsiteX2" fmla="*/ 186002 w 435145"/>
                <a:gd name="connsiteY2" fmla="*/ 148115 h 462341"/>
                <a:gd name="connsiteX3" fmla="*/ 186002 w 435145"/>
                <a:gd name="connsiteY3" fmla="*/ 115479 h 462341"/>
                <a:gd name="connsiteX4" fmla="*/ 123450 w 435145"/>
                <a:gd name="connsiteY4" fmla="*/ 58366 h 462341"/>
                <a:gd name="connsiteX5" fmla="*/ 58178 w 435145"/>
                <a:gd name="connsiteY5" fmla="*/ 115479 h 462341"/>
                <a:gd name="connsiteX6" fmla="*/ 58178 w 435145"/>
                <a:gd name="connsiteY6" fmla="*/ 362967 h 462341"/>
                <a:gd name="connsiteX7" fmla="*/ 120730 w 435145"/>
                <a:gd name="connsiteY7" fmla="*/ 422800 h 462341"/>
                <a:gd name="connsiteX8" fmla="*/ 186002 w 435145"/>
                <a:gd name="connsiteY8" fmla="*/ 362967 h 462341"/>
                <a:gd name="connsiteX9" fmla="*/ 186002 w 435145"/>
                <a:gd name="connsiteY9" fmla="*/ 213386 h 462341"/>
                <a:gd name="connsiteX10" fmla="*/ 186002 w 435145"/>
                <a:gd name="connsiteY10" fmla="*/ 213386 h 462341"/>
                <a:gd name="connsiteX11" fmla="*/ 229517 w 435145"/>
                <a:gd name="connsiteY11" fmla="*/ 161713 h 462341"/>
                <a:gd name="connsiteX12" fmla="*/ 259433 w 435145"/>
                <a:gd name="connsiteY12" fmla="*/ 194349 h 462341"/>
                <a:gd name="connsiteX13" fmla="*/ 259433 w 435145"/>
                <a:gd name="connsiteY13" fmla="*/ 362967 h 462341"/>
                <a:gd name="connsiteX14" fmla="*/ 321985 w 435145"/>
                <a:gd name="connsiteY14" fmla="*/ 422800 h 462341"/>
                <a:gd name="connsiteX15" fmla="*/ 387257 w 435145"/>
                <a:gd name="connsiteY15" fmla="*/ 362967 h 462341"/>
                <a:gd name="connsiteX16" fmla="*/ 387257 w 435145"/>
                <a:gd name="connsiteY16" fmla="*/ 273219 h 462341"/>
                <a:gd name="connsiteX17" fmla="*/ 302948 w 435145"/>
                <a:gd name="connsiteY17" fmla="*/ 74684 h 4623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435145" h="462341">
                  <a:moveTo>
                    <a:pt x="302948" y="74684"/>
                  </a:moveTo>
                  <a:cubicBezTo>
                    <a:pt x="234956" y="74684"/>
                    <a:pt x="196881" y="131797"/>
                    <a:pt x="186002" y="148115"/>
                  </a:cubicBezTo>
                  <a:lnTo>
                    <a:pt x="186002" y="148115"/>
                  </a:lnTo>
                  <a:cubicBezTo>
                    <a:pt x="186002" y="129077"/>
                    <a:pt x="186002" y="115479"/>
                    <a:pt x="186002" y="115479"/>
                  </a:cubicBezTo>
                  <a:cubicBezTo>
                    <a:pt x="186002" y="82843"/>
                    <a:pt x="156086" y="58366"/>
                    <a:pt x="123450" y="58366"/>
                  </a:cubicBezTo>
                  <a:cubicBezTo>
                    <a:pt x="90814" y="55646"/>
                    <a:pt x="58178" y="82843"/>
                    <a:pt x="58178" y="115479"/>
                  </a:cubicBezTo>
                  <a:cubicBezTo>
                    <a:pt x="58178" y="120918"/>
                    <a:pt x="58178" y="360248"/>
                    <a:pt x="58178" y="362967"/>
                  </a:cubicBezTo>
                  <a:cubicBezTo>
                    <a:pt x="58178" y="395603"/>
                    <a:pt x="88094" y="422800"/>
                    <a:pt x="120730" y="422800"/>
                  </a:cubicBezTo>
                  <a:cubicBezTo>
                    <a:pt x="153366" y="425519"/>
                    <a:pt x="186002" y="395603"/>
                    <a:pt x="186002" y="362967"/>
                  </a:cubicBezTo>
                  <a:cubicBezTo>
                    <a:pt x="186002" y="360248"/>
                    <a:pt x="186002" y="281378"/>
                    <a:pt x="186002" y="213386"/>
                  </a:cubicBezTo>
                  <a:lnTo>
                    <a:pt x="186002" y="213386"/>
                  </a:lnTo>
                  <a:cubicBezTo>
                    <a:pt x="191442" y="186190"/>
                    <a:pt x="205040" y="161713"/>
                    <a:pt x="229517" y="161713"/>
                  </a:cubicBezTo>
                  <a:cubicBezTo>
                    <a:pt x="259433" y="161713"/>
                    <a:pt x="259433" y="194349"/>
                    <a:pt x="259433" y="194349"/>
                  </a:cubicBezTo>
                  <a:lnTo>
                    <a:pt x="259433" y="362967"/>
                  </a:lnTo>
                  <a:cubicBezTo>
                    <a:pt x="259433" y="395603"/>
                    <a:pt x="289349" y="422800"/>
                    <a:pt x="321985" y="422800"/>
                  </a:cubicBezTo>
                  <a:cubicBezTo>
                    <a:pt x="354621" y="425519"/>
                    <a:pt x="387257" y="395603"/>
                    <a:pt x="387257" y="362967"/>
                  </a:cubicBezTo>
                  <a:lnTo>
                    <a:pt x="387257" y="273219"/>
                  </a:lnTo>
                  <a:cubicBezTo>
                    <a:pt x="384537" y="183470"/>
                    <a:pt x="395416" y="71964"/>
                    <a:pt x="302948" y="74684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54A0F7AE-90E5-429D-94C7-CEF924483DC2}"/>
                </a:ext>
              </a:extLst>
            </p:cNvPr>
            <p:cNvSpPr/>
            <p:nvPr/>
          </p:nvSpPr>
          <p:spPr>
            <a:xfrm>
              <a:off x="7616289" y="3475234"/>
              <a:ext cx="364436" cy="364434"/>
            </a:xfrm>
            <a:custGeom>
              <a:avLst/>
              <a:gdLst>
                <a:gd name="connsiteX0" fmla="*/ 182218 w 364436"/>
                <a:gd name="connsiteY0" fmla="*/ 73431 h 364434"/>
                <a:gd name="connsiteX1" fmla="*/ 130544 w 364436"/>
                <a:gd name="connsiteY1" fmla="*/ 179499 h 364434"/>
                <a:gd name="connsiteX2" fmla="*/ 182218 w 364436"/>
                <a:gd name="connsiteY2" fmla="*/ 285565 h 364434"/>
                <a:gd name="connsiteX3" fmla="*/ 233891 w 364436"/>
                <a:gd name="connsiteY3" fmla="*/ 179499 h 364434"/>
                <a:gd name="connsiteX4" fmla="*/ 182218 w 364436"/>
                <a:gd name="connsiteY4" fmla="*/ 73431 h 364434"/>
                <a:gd name="connsiteX5" fmla="*/ 182219 w 364436"/>
                <a:gd name="connsiteY5" fmla="*/ 0 h 364434"/>
                <a:gd name="connsiteX6" fmla="*/ 364436 w 364436"/>
                <a:gd name="connsiteY6" fmla="*/ 182217 h 364434"/>
                <a:gd name="connsiteX7" fmla="*/ 182219 w 364436"/>
                <a:gd name="connsiteY7" fmla="*/ 364434 h 364434"/>
                <a:gd name="connsiteX8" fmla="*/ 0 w 364436"/>
                <a:gd name="connsiteY8" fmla="*/ 182217 h 364434"/>
                <a:gd name="connsiteX9" fmla="*/ 182219 w 364436"/>
                <a:gd name="connsiteY9" fmla="*/ 0 h 3644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64436" h="364434">
                  <a:moveTo>
                    <a:pt x="182218" y="73431"/>
                  </a:moveTo>
                  <a:cubicBezTo>
                    <a:pt x="152302" y="76151"/>
                    <a:pt x="130544" y="114226"/>
                    <a:pt x="130544" y="179499"/>
                  </a:cubicBezTo>
                  <a:cubicBezTo>
                    <a:pt x="130544" y="244770"/>
                    <a:pt x="146862" y="285565"/>
                    <a:pt x="182218" y="285565"/>
                  </a:cubicBezTo>
                  <a:cubicBezTo>
                    <a:pt x="217573" y="285565"/>
                    <a:pt x="233891" y="247490"/>
                    <a:pt x="233891" y="179499"/>
                  </a:cubicBezTo>
                  <a:cubicBezTo>
                    <a:pt x="233891" y="114226"/>
                    <a:pt x="212134" y="73431"/>
                    <a:pt x="182218" y="73431"/>
                  </a:cubicBezTo>
                  <a:close/>
                  <a:moveTo>
                    <a:pt x="182219" y="0"/>
                  </a:moveTo>
                  <a:cubicBezTo>
                    <a:pt x="282846" y="0"/>
                    <a:pt x="364436" y="81590"/>
                    <a:pt x="364436" y="182217"/>
                  </a:cubicBezTo>
                  <a:cubicBezTo>
                    <a:pt x="364436" y="282844"/>
                    <a:pt x="282846" y="364434"/>
                    <a:pt x="182219" y="364434"/>
                  </a:cubicBezTo>
                  <a:cubicBezTo>
                    <a:pt x="81591" y="364434"/>
                    <a:pt x="0" y="282844"/>
                    <a:pt x="0" y="182217"/>
                  </a:cubicBezTo>
                  <a:cubicBezTo>
                    <a:pt x="0" y="81590"/>
                    <a:pt x="81591" y="0"/>
                    <a:pt x="182219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975E2EAA-30F6-4FD9-AD9B-7853CD78081E}"/>
                </a:ext>
              </a:extLst>
            </p:cNvPr>
            <p:cNvSpPr/>
            <p:nvPr/>
          </p:nvSpPr>
          <p:spPr>
            <a:xfrm>
              <a:off x="6743101" y="3464184"/>
              <a:ext cx="372773" cy="375657"/>
            </a:xfrm>
            <a:custGeom>
              <a:avLst/>
              <a:gdLst>
                <a:gd name="connsiteX0" fmla="*/ 176958 w 372773"/>
                <a:gd name="connsiteY0" fmla="*/ 98080 h 375657"/>
                <a:gd name="connsiteX1" fmla="*/ 125284 w 372773"/>
                <a:gd name="connsiteY1" fmla="*/ 190548 h 375657"/>
                <a:gd name="connsiteX2" fmla="*/ 176958 w 372773"/>
                <a:gd name="connsiteY2" fmla="*/ 283017 h 375657"/>
                <a:gd name="connsiteX3" fmla="*/ 228631 w 372773"/>
                <a:gd name="connsiteY3" fmla="*/ 190548 h 375657"/>
                <a:gd name="connsiteX4" fmla="*/ 176958 w 372773"/>
                <a:gd name="connsiteY4" fmla="*/ 98080 h 375657"/>
                <a:gd name="connsiteX5" fmla="*/ 307501 w 372773"/>
                <a:gd name="connsiteY5" fmla="*/ 172 h 375657"/>
                <a:gd name="connsiteX6" fmla="*/ 372773 w 372773"/>
                <a:gd name="connsiteY6" fmla="*/ 62724 h 375657"/>
                <a:gd name="connsiteX7" fmla="*/ 372773 w 372773"/>
                <a:gd name="connsiteY7" fmla="*/ 312934 h 375657"/>
                <a:gd name="connsiteX8" fmla="*/ 302061 w 372773"/>
                <a:gd name="connsiteY8" fmla="*/ 375486 h 375657"/>
                <a:gd name="connsiteX9" fmla="*/ 239509 w 372773"/>
                <a:gd name="connsiteY9" fmla="*/ 326532 h 375657"/>
                <a:gd name="connsiteX10" fmla="*/ 179677 w 372773"/>
                <a:gd name="connsiteY10" fmla="*/ 370046 h 375657"/>
                <a:gd name="connsiteX11" fmla="*/ 70890 w 372773"/>
                <a:gd name="connsiteY11" fmla="*/ 353728 h 375657"/>
                <a:gd name="connsiteX12" fmla="*/ 128003 w 372773"/>
                <a:gd name="connsiteY12" fmla="*/ 11051 h 375657"/>
                <a:gd name="connsiteX13" fmla="*/ 236790 w 372773"/>
                <a:gd name="connsiteY13" fmla="*/ 70883 h 375657"/>
                <a:gd name="connsiteX14" fmla="*/ 236790 w 372773"/>
                <a:gd name="connsiteY14" fmla="*/ 62724 h 375657"/>
                <a:gd name="connsiteX15" fmla="*/ 307501 w 372773"/>
                <a:gd name="connsiteY15" fmla="*/ 172 h 3756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72773" h="375657">
                  <a:moveTo>
                    <a:pt x="176958" y="98080"/>
                  </a:moveTo>
                  <a:cubicBezTo>
                    <a:pt x="147042" y="100800"/>
                    <a:pt x="125284" y="133436"/>
                    <a:pt x="125284" y="190548"/>
                  </a:cubicBezTo>
                  <a:cubicBezTo>
                    <a:pt x="125284" y="247661"/>
                    <a:pt x="141602" y="283017"/>
                    <a:pt x="176958" y="283017"/>
                  </a:cubicBezTo>
                  <a:cubicBezTo>
                    <a:pt x="212314" y="283017"/>
                    <a:pt x="228631" y="247661"/>
                    <a:pt x="228631" y="190548"/>
                  </a:cubicBezTo>
                  <a:cubicBezTo>
                    <a:pt x="228631" y="133436"/>
                    <a:pt x="206874" y="98080"/>
                    <a:pt x="176958" y="98080"/>
                  </a:cubicBezTo>
                  <a:close/>
                  <a:moveTo>
                    <a:pt x="307501" y="172"/>
                  </a:moveTo>
                  <a:cubicBezTo>
                    <a:pt x="340137" y="172"/>
                    <a:pt x="372773" y="30088"/>
                    <a:pt x="372773" y="62724"/>
                  </a:cubicBezTo>
                  <a:cubicBezTo>
                    <a:pt x="372773" y="65444"/>
                    <a:pt x="372773" y="307494"/>
                    <a:pt x="372773" y="312934"/>
                  </a:cubicBezTo>
                  <a:cubicBezTo>
                    <a:pt x="370053" y="348289"/>
                    <a:pt x="337417" y="378205"/>
                    <a:pt x="302061" y="375486"/>
                  </a:cubicBezTo>
                  <a:cubicBezTo>
                    <a:pt x="274865" y="372766"/>
                    <a:pt x="247668" y="353728"/>
                    <a:pt x="239509" y="326532"/>
                  </a:cubicBezTo>
                  <a:cubicBezTo>
                    <a:pt x="225911" y="348289"/>
                    <a:pt x="198715" y="364607"/>
                    <a:pt x="179677" y="370046"/>
                  </a:cubicBezTo>
                  <a:cubicBezTo>
                    <a:pt x="147041" y="378205"/>
                    <a:pt x="100807" y="372766"/>
                    <a:pt x="70890" y="353728"/>
                  </a:cubicBezTo>
                  <a:cubicBezTo>
                    <a:pt x="-35177" y="285737"/>
                    <a:pt x="-27018" y="11051"/>
                    <a:pt x="128003" y="11051"/>
                  </a:cubicBezTo>
                  <a:cubicBezTo>
                    <a:pt x="185116" y="11051"/>
                    <a:pt x="220471" y="49126"/>
                    <a:pt x="236790" y="70883"/>
                  </a:cubicBezTo>
                  <a:cubicBezTo>
                    <a:pt x="236790" y="70883"/>
                    <a:pt x="236790" y="65444"/>
                    <a:pt x="236790" y="62724"/>
                  </a:cubicBezTo>
                  <a:cubicBezTo>
                    <a:pt x="239509" y="27369"/>
                    <a:pt x="272145" y="-2547"/>
                    <a:pt x="307501" y="172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/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B527C85E-1B82-4FE6-BBB7-5F2120F9A818}"/>
                </a:ext>
              </a:extLst>
            </p:cNvPr>
            <p:cNvSpPr/>
            <p:nvPr/>
          </p:nvSpPr>
          <p:spPr>
            <a:xfrm>
              <a:off x="8380335" y="3464184"/>
              <a:ext cx="372772" cy="375657"/>
            </a:xfrm>
            <a:custGeom>
              <a:avLst/>
              <a:gdLst>
                <a:gd name="connsiteX0" fmla="*/ 176957 w 372772"/>
                <a:gd name="connsiteY0" fmla="*/ 98080 h 375657"/>
                <a:gd name="connsiteX1" fmla="*/ 125282 w 372772"/>
                <a:gd name="connsiteY1" fmla="*/ 190548 h 375657"/>
                <a:gd name="connsiteX2" fmla="*/ 176957 w 372772"/>
                <a:gd name="connsiteY2" fmla="*/ 283017 h 375657"/>
                <a:gd name="connsiteX3" fmla="*/ 228630 w 372772"/>
                <a:gd name="connsiteY3" fmla="*/ 190548 h 375657"/>
                <a:gd name="connsiteX4" fmla="*/ 176957 w 372772"/>
                <a:gd name="connsiteY4" fmla="*/ 98080 h 375657"/>
                <a:gd name="connsiteX5" fmla="*/ 307501 w 372772"/>
                <a:gd name="connsiteY5" fmla="*/ 172 h 375657"/>
                <a:gd name="connsiteX6" fmla="*/ 372772 w 372772"/>
                <a:gd name="connsiteY6" fmla="*/ 62724 h 375657"/>
                <a:gd name="connsiteX7" fmla="*/ 372772 w 372772"/>
                <a:gd name="connsiteY7" fmla="*/ 312934 h 375657"/>
                <a:gd name="connsiteX8" fmla="*/ 302062 w 372772"/>
                <a:gd name="connsiteY8" fmla="*/ 375486 h 375657"/>
                <a:gd name="connsiteX9" fmla="*/ 239509 w 372772"/>
                <a:gd name="connsiteY9" fmla="*/ 326532 h 375657"/>
                <a:gd name="connsiteX10" fmla="*/ 179677 w 372772"/>
                <a:gd name="connsiteY10" fmla="*/ 370046 h 375657"/>
                <a:gd name="connsiteX11" fmla="*/ 70890 w 372772"/>
                <a:gd name="connsiteY11" fmla="*/ 353728 h 375657"/>
                <a:gd name="connsiteX12" fmla="*/ 128002 w 372772"/>
                <a:gd name="connsiteY12" fmla="*/ 11051 h 375657"/>
                <a:gd name="connsiteX13" fmla="*/ 236790 w 372772"/>
                <a:gd name="connsiteY13" fmla="*/ 70883 h 375657"/>
                <a:gd name="connsiteX14" fmla="*/ 236790 w 372772"/>
                <a:gd name="connsiteY14" fmla="*/ 62724 h 375657"/>
                <a:gd name="connsiteX15" fmla="*/ 307501 w 372772"/>
                <a:gd name="connsiteY15" fmla="*/ 172 h 3756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72772" h="375657">
                  <a:moveTo>
                    <a:pt x="176957" y="98080"/>
                  </a:moveTo>
                  <a:cubicBezTo>
                    <a:pt x="147039" y="100800"/>
                    <a:pt x="125282" y="133436"/>
                    <a:pt x="125282" y="190548"/>
                  </a:cubicBezTo>
                  <a:cubicBezTo>
                    <a:pt x="125282" y="247661"/>
                    <a:pt x="141600" y="283017"/>
                    <a:pt x="176957" y="283017"/>
                  </a:cubicBezTo>
                  <a:cubicBezTo>
                    <a:pt x="212312" y="283017"/>
                    <a:pt x="228630" y="247661"/>
                    <a:pt x="228630" y="190548"/>
                  </a:cubicBezTo>
                  <a:cubicBezTo>
                    <a:pt x="228630" y="133436"/>
                    <a:pt x="206873" y="98080"/>
                    <a:pt x="176957" y="98080"/>
                  </a:cubicBezTo>
                  <a:close/>
                  <a:moveTo>
                    <a:pt x="307501" y="172"/>
                  </a:moveTo>
                  <a:cubicBezTo>
                    <a:pt x="340137" y="172"/>
                    <a:pt x="372772" y="30088"/>
                    <a:pt x="372772" y="62724"/>
                  </a:cubicBezTo>
                  <a:cubicBezTo>
                    <a:pt x="372772" y="65444"/>
                    <a:pt x="372772" y="307494"/>
                    <a:pt x="372772" y="312934"/>
                  </a:cubicBezTo>
                  <a:cubicBezTo>
                    <a:pt x="370053" y="348289"/>
                    <a:pt x="337417" y="378205"/>
                    <a:pt x="302062" y="375486"/>
                  </a:cubicBezTo>
                  <a:cubicBezTo>
                    <a:pt x="274865" y="372766"/>
                    <a:pt x="247668" y="353728"/>
                    <a:pt x="239509" y="326532"/>
                  </a:cubicBezTo>
                  <a:cubicBezTo>
                    <a:pt x="228630" y="348289"/>
                    <a:pt x="198714" y="364607"/>
                    <a:pt x="179677" y="370046"/>
                  </a:cubicBezTo>
                  <a:cubicBezTo>
                    <a:pt x="147040" y="378205"/>
                    <a:pt x="100806" y="372766"/>
                    <a:pt x="70890" y="353728"/>
                  </a:cubicBezTo>
                  <a:cubicBezTo>
                    <a:pt x="-35177" y="285737"/>
                    <a:pt x="-27018" y="11051"/>
                    <a:pt x="128002" y="11051"/>
                  </a:cubicBezTo>
                  <a:cubicBezTo>
                    <a:pt x="185116" y="11051"/>
                    <a:pt x="220472" y="49126"/>
                    <a:pt x="236790" y="70883"/>
                  </a:cubicBezTo>
                  <a:cubicBezTo>
                    <a:pt x="236790" y="70883"/>
                    <a:pt x="236790" y="65444"/>
                    <a:pt x="236790" y="62724"/>
                  </a:cubicBezTo>
                  <a:cubicBezTo>
                    <a:pt x="239509" y="27369"/>
                    <a:pt x="272145" y="-2547"/>
                    <a:pt x="307501" y="172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9B55D4A9-FB64-4681-89C3-FE7FC1BA5D7D}"/>
                </a:ext>
              </a:extLst>
            </p:cNvPr>
            <p:cNvSpPr/>
            <p:nvPr/>
          </p:nvSpPr>
          <p:spPr>
            <a:xfrm>
              <a:off x="7389492" y="3444253"/>
              <a:ext cx="217573" cy="435145"/>
            </a:xfrm>
            <a:custGeom>
              <a:avLst/>
              <a:gdLst>
                <a:gd name="connsiteX0" fmla="*/ 186002 w 217572"/>
                <a:gd name="connsiteY0" fmla="*/ 118011 h 435144"/>
                <a:gd name="connsiteX1" fmla="*/ 128890 w 217572"/>
                <a:gd name="connsiteY1" fmla="*/ 58178 h 435144"/>
                <a:gd name="connsiteX2" fmla="*/ 123450 w 217572"/>
                <a:gd name="connsiteY2" fmla="*/ 58178 h 435144"/>
                <a:gd name="connsiteX3" fmla="*/ 58178 w 217572"/>
                <a:gd name="connsiteY3" fmla="*/ 115291 h 435144"/>
                <a:gd name="connsiteX4" fmla="*/ 58178 w 217572"/>
                <a:gd name="connsiteY4" fmla="*/ 232236 h 435144"/>
                <a:gd name="connsiteX5" fmla="*/ 58178 w 217572"/>
                <a:gd name="connsiteY5" fmla="*/ 232236 h 435144"/>
                <a:gd name="connsiteX6" fmla="*/ 58178 w 217572"/>
                <a:gd name="connsiteY6" fmla="*/ 335583 h 435144"/>
                <a:gd name="connsiteX7" fmla="*/ 115291 w 217572"/>
                <a:gd name="connsiteY7" fmla="*/ 395415 h 435144"/>
                <a:gd name="connsiteX8" fmla="*/ 120730 w 217572"/>
                <a:gd name="connsiteY8" fmla="*/ 395415 h 435144"/>
                <a:gd name="connsiteX9" fmla="*/ 186002 w 217572"/>
                <a:gd name="connsiteY9" fmla="*/ 338303 h 435144"/>
                <a:gd name="connsiteX10" fmla="*/ 186002 w 217572"/>
                <a:gd name="connsiteY10" fmla="*/ 240395 h 435144"/>
                <a:gd name="connsiteX11" fmla="*/ 186002 w 217572"/>
                <a:gd name="connsiteY11" fmla="*/ 240395 h 435144"/>
                <a:gd name="connsiteX12" fmla="*/ 186002 w 217572"/>
                <a:gd name="connsiteY12" fmla="*/ 118011 h 4351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17572" h="435144">
                  <a:moveTo>
                    <a:pt x="186002" y="118011"/>
                  </a:moveTo>
                  <a:cubicBezTo>
                    <a:pt x="183283" y="85375"/>
                    <a:pt x="158806" y="60898"/>
                    <a:pt x="128890" y="58178"/>
                  </a:cubicBezTo>
                  <a:cubicBezTo>
                    <a:pt x="126170" y="58178"/>
                    <a:pt x="126170" y="58178"/>
                    <a:pt x="123450" y="58178"/>
                  </a:cubicBezTo>
                  <a:cubicBezTo>
                    <a:pt x="96254" y="58178"/>
                    <a:pt x="58178" y="82655"/>
                    <a:pt x="58178" y="115291"/>
                  </a:cubicBezTo>
                  <a:lnTo>
                    <a:pt x="58178" y="232236"/>
                  </a:lnTo>
                  <a:lnTo>
                    <a:pt x="58178" y="232236"/>
                  </a:lnTo>
                  <a:cubicBezTo>
                    <a:pt x="58178" y="270311"/>
                    <a:pt x="58178" y="335583"/>
                    <a:pt x="58178" y="335583"/>
                  </a:cubicBezTo>
                  <a:cubicBezTo>
                    <a:pt x="60898" y="368219"/>
                    <a:pt x="85375" y="392696"/>
                    <a:pt x="115291" y="395415"/>
                  </a:cubicBezTo>
                  <a:cubicBezTo>
                    <a:pt x="118011" y="395415"/>
                    <a:pt x="118011" y="395415"/>
                    <a:pt x="120730" y="395415"/>
                  </a:cubicBezTo>
                  <a:cubicBezTo>
                    <a:pt x="147927" y="395415"/>
                    <a:pt x="186002" y="370938"/>
                    <a:pt x="186002" y="338303"/>
                  </a:cubicBezTo>
                  <a:lnTo>
                    <a:pt x="186002" y="240395"/>
                  </a:lnTo>
                  <a:lnTo>
                    <a:pt x="186002" y="240395"/>
                  </a:lnTo>
                  <a:cubicBezTo>
                    <a:pt x="186002" y="202320"/>
                    <a:pt x="186002" y="118011"/>
                    <a:pt x="186002" y="118011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B0CF25C3-5B20-4C65-97E6-2FCBDCF69FA5}"/>
                </a:ext>
              </a:extLst>
            </p:cNvPr>
            <p:cNvSpPr/>
            <p:nvPr/>
          </p:nvSpPr>
          <p:spPr>
            <a:xfrm>
              <a:off x="7392212" y="3280901"/>
              <a:ext cx="217573" cy="217572"/>
            </a:xfrm>
            <a:custGeom>
              <a:avLst/>
              <a:gdLst>
                <a:gd name="connsiteX0" fmla="*/ 183282 w 217572"/>
                <a:gd name="connsiteY0" fmla="*/ 120902 h 217572"/>
                <a:gd name="connsiteX1" fmla="*/ 120730 w 217572"/>
                <a:gd name="connsiteY1" fmla="*/ 183454 h 217572"/>
                <a:gd name="connsiteX2" fmla="*/ 58178 w 217572"/>
                <a:gd name="connsiteY2" fmla="*/ 120902 h 217572"/>
                <a:gd name="connsiteX3" fmla="*/ 120730 w 217572"/>
                <a:gd name="connsiteY3" fmla="*/ 58350 h 217572"/>
                <a:gd name="connsiteX4" fmla="*/ 183282 w 217572"/>
                <a:gd name="connsiteY4" fmla="*/ 120902 h 2175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17572" h="217572">
                  <a:moveTo>
                    <a:pt x="183282" y="120902"/>
                  </a:moveTo>
                  <a:cubicBezTo>
                    <a:pt x="183282" y="156258"/>
                    <a:pt x="156086" y="183454"/>
                    <a:pt x="120730" y="183454"/>
                  </a:cubicBezTo>
                  <a:cubicBezTo>
                    <a:pt x="85375" y="183454"/>
                    <a:pt x="58178" y="156258"/>
                    <a:pt x="58178" y="120902"/>
                  </a:cubicBezTo>
                  <a:cubicBezTo>
                    <a:pt x="58178" y="85547"/>
                    <a:pt x="85375" y="58350"/>
                    <a:pt x="120730" y="58350"/>
                  </a:cubicBezTo>
                  <a:cubicBezTo>
                    <a:pt x="153366" y="55630"/>
                    <a:pt x="183282" y="85547"/>
                    <a:pt x="183282" y="120902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/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75C2C835-ACA7-4713-BA24-2EC3F725F54B}"/>
                </a:ext>
              </a:extLst>
            </p:cNvPr>
            <p:cNvSpPr/>
            <p:nvPr/>
          </p:nvSpPr>
          <p:spPr>
            <a:xfrm>
              <a:off x="6005186" y="3416884"/>
              <a:ext cx="380752" cy="462341"/>
            </a:xfrm>
            <a:custGeom>
              <a:avLst/>
              <a:gdLst>
                <a:gd name="connsiteX0" fmla="*/ 270312 w 380752"/>
                <a:gd name="connsiteY0" fmla="*/ 69229 h 462341"/>
                <a:gd name="connsiteX1" fmla="*/ 188722 w 380752"/>
                <a:gd name="connsiteY1" fmla="*/ 134501 h 462341"/>
                <a:gd name="connsiteX2" fmla="*/ 188722 w 380752"/>
                <a:gd name="connsiteY2" fmla="*/ 118183 h 462341"/>
                <a:gd name="connsiteX3" fmla="*/ 126170 w 380752"/>
                <a:gd name="connsiteY3" fmla="*/ 58350 h 462341"/>
                <a:gd name="connsiteX4" fmla="*/ 58178 w 380752"/>
                <a:gd name="connsiteY4" fmla="*/ 118183 h 462341"/>
                <a:gd name="connsiteX5" fmla="*/ 58178 w 380752"/>
                <a:gd name="connsiteY5" fmla="*/ 210651 h 462341"/>
                <a:gd name="connsiteX6" fmla="*/ 58178 w 380752"/>
                <a:gd name="connsiteY6" fmla="*/ 365671 h 462341"/>
                <a:gd name="connsiteX7" fmla="*/ 58178 w 380752"/>
                <a:gd name="connsiteY7" fmla="*/ 365671 h 462341"/>
                <a:gd name="connsiteX8" fmla="*/ 120730 w 380752"/>
                <a:gd name="connsiteY8" fmla="*/ 425504 h 462341"/>
                <a:gd name="connsiteX9" fmla="*/ 186002 w 380752"/>
                <a:gd name="connsiteY9" fmla="*/ 365671 h 462341"/>
                <a:gd name="connsiteX10" fmla="*/ 186002 w 380752"/>
                <a:gd name="connsiteY10" fmla="*/ 365671 h 462341"/>
                <a:gd name="connsiteX11" fmla="*/ 186002 w 380752"/>
                <a:gd name="connsiteY11" fmla="*/ 210651 h 462341"/>
                <a:gd name="connsiteX12" fmla="*/ 215919 w 380752"/>
                <a:gd name="connsiteY12" fmla="*/ 158978 h 462341"/>
                <a:gd name="connsiteX13" fmla="*/ 275751 w 380752"/>
                <a:gd name="connsiteY13" fmla="*/ 221530 h 462341"/>
                <a:gd name="connsiteX14" fmla="*/ 270312 w 380752"/>
                <a:gd name="connsiteY14" fmla="*/ 69229 h 4623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80752" h="462341">
                  <a:moveTo>
                    <a:pt x="270312" y="69229"/>
                  </a:moveTo>
                  <a:cubicBezTo>
                    <a:pt x="232236" y="71949"/>
                    <a:pt x="213199" y="99145"/>
                    <a:pt x="188722" y="134501"/>
                  </a:cubicBezTo>
                  <a:cubicBezTo>
                    <a:pt x="188722" y="134501"/>
                    <a:pt x="188722" y="118183"/>
                    <a:pt x="188722" y="118183"/>
                  </a:cubicBezTo>
                  <a:cubicBezTo>
                    <a:pt x="188722" y="85547"/>
                    <a:pt x="158806" y="58350"/>
                    <a:pt x="126170" y="58350"/>
                  </a:cubicBezTo>
                  <a:cubicBezTo>
                    <a:pt x="93534" y="55631"/>
                    <a:pt x="60898" y="85547"/>
                    <a:pt x="58178" y="118183"/>
                  </a:cubicBezTo>
                  <a:lnTo>
                    <a:pt x="58178" y="210651"/>
                  </a:lnTo>
                  <a:lnTo>
                    <a:pt x="58178" y="365671"/>
                  </a:lnTo>
                  <a:lnTo>
                    <a:pt x="58178" y="365671"/>
                  </a:lnTo>
                  <a:cubicBezTo>
                    <a:pt x="58178" y="398307"/>
                    <a:pt x="88094" y="425504"/>
                    <a:pt x="120730" y="425504"/>
                  </a:cubicBezTo>
                  <a:cubicBezTo>
                    <a:pt x="153366" y="428224"/>
                    <a:pt x="186002" y="398307"/>
                    <a:pt x="186002" y="365671"/>
                  </a:cubicBezTo>
                  <a:lnTo>
                    <a:pt x="186002" y="365671"/>
                  </a:lnTo>
                  <a:lnTo>
                    <a:pt x="186002" y="210651"/>
                  </a:lnTo>
                  <a:cubicBezTo>
                    <a:pt x="188722" y="188894"/>
                    <a:pt x="196881" y="158978"/>
                    <a:pt x="215919" y="158978"/>
                  </a:cubicBezTo>
                  <a:cubicBezTo>
                    <a:pt x="243115" y="158978"/>
                    <a:pt x="215919" y="221530"/>
                    <a:pt x="275751" y="221530"/>
                  </a:cubicBezTo>
                  <a:cubicBezTo>
                    <a:pt x="362780" y="221530"/>
                    <a:pt x="373658" y="63790"/>
                    <a:pt x="270312" y="69229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/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4D839F09-6869-4782-997A-C1DB13D3FAFD}"/>
                </a:ext>
              </a:extLst>
            </p:cNvPr>
            <p:cNvSpPr/>
            <p:nvPr/>
          </p:nvSpPr>
          <p:spPr>
            <a:xfrm>
              <a:off x="5693490" y="3475234"/>
              <a:ext cx="337238" cy="364434"/>
            </a:xfrm>
            <a:custGeom>
              <a:avLst/>
              <a:gdLst>
                <a:gd name="connsiteX0" fmla="*/ 180433 w 337238"/>
                <a:gd name="connsiteY0" fmla="*/ 73984 h 364434"/>
                <a:gd name="connsiteX1" fmla="*/ 163180 w 337238"/>
                <a:gd name="connsiteY1" fmla="*/ 78870 h 364434"/>
                <a:gd name="connsiteX2" fmla="*/ 125105 w 337238"/>
                <a:gd name="connsiteY2" fmla="*/ 160461 h 364434"/>
                <a:gd name="connsiteX3" fmla="*/ 171339 w 337238"/>
                <a:gd name="connsiteY3" fmla="*/ 163180 h 364434"/>
                <a:gd name="connsiteX4" fmla="*/ 214854 w 337238"/>
                <a:gd name="connsiteY4" fmla="*/ 108787 h 364434"/>
                <a:gd name="connsiteX5" fmla="*/ 180433 w 337238"/>
                <a:gd name="connsiteY5" fmla="*/ 73984 h 364434"/>
                <a:gd name="connsiteX6" fmla="*/ 174059 w 337238"/>
                <a:gd name="connsiteY6" fmla="*/ 0 h 364434"/>
                <a:gd name="connsiteX7" fmla="*/ 337238 w 337238"/>
                <a:gd name="connsiteY7" fmla="*/ 119665 h 364434"/>
                <a:gd name="connsiteX8" fmla="*/ 133264 w 337238"/>
                <a:gd name="connsiteY8" fmla="*/ 217573 h 364434"/>
                <a:gd name="connsiteX9" fmla="*/ 225732 w 337238"/>
                <a:gd name="connsiteY9" fmla="*/ 277405 h 364434"/>
                <a:gd name="connsiteX10" fmla="*/ 320920 w 337238"/>
                <a:gd name="connsiteY10" fmla="*/ 250208 h 364434"/>
                <a:gd name="connsiteX11" fmla="*/ 174059 w 337238"/>
                <a:gd name="connsiteY11" fmla="*/ 364434 h 364434"/>
                <a:gd name="connsiteX12" fmla="*/ 0 w 337238"/>
                <a:gd name="connsiteY12" fmla="*/ 184937 h 364434"/>
                <a:gd name="connsiteX13" fmla="*/ 174059 w 337238"/>
                <a:gd name="connsiteY13" fmla="*/ 0 h 3644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37238" h="364434">
                  <a:moveTo>
                    <a:pt x="180433" y="73984"/>
                  </a:moveTo>
                  <a:cubicBezTo>
                    <a:pt x="174569" y="73941"/>
                    <a:pt x="168620" y="75471"/>
                    <a:pt x="163180" y="78870"/>
                  </a:cubicBezTo>
                  <a:cubicBezTo>
                    <a:pt x="135984" y="95189"/>
                    <a:pt x="127825" y="130544"/>
                    <a:pt x="125105" y="160461"/>
                  </a:cubicBezTo>
                  <a:cubicBezTo>
                    <a:pt x="125105" y="163180"/>
                    <a:pt x="168620" y="160461"/>
                    <a:pt x="171339" y="163180"/>
                  </a:cubicBezTo>
                  <a:cubicBezTo>
                    <a:pt x="195816" y="157741"/>
                    <a:pt x="214854" y="135984"/>
                    <a:pt x="214854" y="108787"/>
                  </a:cubicBezTo>
                  <a:cubicBezTo>
                    <a:pt x="214854" y="88389"/>
                    <a:pt x="198026" y="74111"/>
                    <a:pt x="180433" y="73984"/>
                  </a:cubicBezTo>
                  <a:close/>
                  <a:moveTo>
                    <a:pt x="174059" y="0"/>
                  </a:moveTo>
                  <a:cubicBezTo>
                    <a:pt x="233891" y="0"/>
                    <a:pt x="337238" y="29916"/>
                    <a:pt x="337238" y="119665"/>
                  </a:cubicBezTo>
                  <a:cubicBezTo>
                    <a:pt x="337238" y="209414"/>
                    <a:pt x="244770" y="217573"/>
                    <a:pt x="133264" y="217573"/>
                  </a:cubicBezTo>
                  <a:cubicBezTo>
                    <a:pt x="133264" y="217573"/>
                    <a:pt x="149581" y="277405"/>
                    <a:pt x="225732" y="277405"/>
                  </a:cubicBezTo>
                  <a:cubicBezTo>
                    <a:pt x="301883" y="277405"/>
                    <a:pt x="320920" y="250208"/>
                    <a:pt x="320920" y="250208"/>
                  </a:cubicBezTo>
                  <a:cubicBezTo>
                    <a:pt x="320920" y="250208"/>
                    <a:pt x="315481" y="364434"/>
                    <a:pt x="174059" y="364434"/>
                  </a:cubicBezTo>
                  <a:cubicBezTo>
                    <a:pt x="95188" y="364434"/>
                    <a:pt x="0" y="304602"/>
                    <a:pt x="0" y="184937"/>
                  </a:cubicBezTo>
                  <a:cubicBezTo>
                    <a:pt x="0" y="78870"/>
                    <a:pt x="73431" y="0"/>
                    <a:pt x="174059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/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43EAC811-8309-4A43-8AAB-7D47E24129FF}"/>
                </a:ext>
              </a:extLst>
            </p:cNvPr>
            <p:cNvSpPr/>
            <p:nvPr/>
          </p:nvSpPr>
          <p:spPr>
            <a:xfrm>
              <a:off x="5376945" y="3338014"/>
              <a:ext cx="353556" cy="543931"/>
            </a:xfrm>
            <a:custGeom>
              <a:avLst/>
              <a:gdLst>
                <a:gd name="connsiteX0" fmla="*/ 311107 w 353555"/>
                <a:gd name="connsiteY0" fmla="*/ 433663 h 543931"/>
                <a:gd name="connsiteX1" fmla="*/ 215919 w 353555"/>
                <a:gd name="connsiteY1" fmla="*/ 501654 h 543931"/>
                <a:gd name="connsiteX2" fmla="*/ 98973 w 353555"/>
                <a:gd name="connsiteY2" fmla="*/ 392868 h 543931"/>
                <a:gd name="connsiteX3" fmla="*/ 98973 w 353555"/>
                <a:gd name="connsiteY3" fmla="*/ 221530 h 543931"/>
                <a:gd name="connsiteX4" fmla="*/ 82655 w 353555"/>
                <a:gd name="connsiteY4" fmla="*/ 221530 h 543931"/>
                <a:gd name="connsiteX5" fmla="*/ 58178 w 353555"/>
                <a:gd name="connsiteY5" fmla="*/ 191614 h 543931"/>
                <a:gd name="connsiteX6" fmla="*/ 85375 w 353555"/>
                <a:gd name="connsiteY6" fmla="*/ 164417 h 543931"/>
                <a:gd name="connsiteX7" fmla="*/ 101693 w 353555"/>
                <a:gd name="connsiteY7" fmla="*/ 164417 h 543931"/>
                <a:gd name="connsiteX8" fmla="*/ 101693 w 353555"/>
                <a:gd name="connsiteY8" fmla="*/ 118183 h 543931"/>
                <a:gd name="connsiteX9" fmla="*/ 166965 w 353555"/>
                <a:gd name="connsiteY9" fmla="*/ 58350 h 543931"/>
                <a:gd name="connsiteX10" fmla="*/ 229517 w 353555"/>
                <a:gd name="connsiteY10" fmla="*/ 118183 h 543931"/>
                <a:gd name="connsiteX11" fmla="*/ 229517 w 353555"/>
                <a:gd name="connsiteY11" fmla="*/ 118183 h 543931"/>
                <a:gd name="connsiteX12" fmla="*/ 229517 w 353555"/>
                <a:gd name="connsiteY12" fmla="*/ 164417 h 543931"/>
                <a:gd name="connsiteX13" fmla="*/ 283910 w 353555"/>
                <a:gd name="connsiteY13" fmla="*/ 164417 h 543931"/>
                <a:gd name="connsiteX14" fmla="*/ 308387 w 353555"/>
                <a:gd name="connsiteY14" fmla="*/ 194333 h 543931"/>
                <a:gd name="connsiteX15" fmla="*/ 281190 w 353555"/>
                <a:gd name="connsiteY15" fmla="*/ 221530 h 543931"/>
                <a:gd name="connsiteX16" fmla="*/ 229517 w 353555"/>
                <a:gd name="connsiteY16" fmla="*/ 221530 h 543931"/>
                <a:gd name="connsiteX17" fmla="*/ 229517 w 353555"/>
                <a:gd name="connsiteY17" fmla="*/ 365671 h 543931"/>
                <a:gd name="connsiteX18" fmla="*/ 311107 w 353555"/>
                <a:gd name="connsiteY18" fmla="*/ 433663 h 5439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353555" h="543931">
                  <a:moveTo>
                    <a:pt x="311107" y="433663"/>
                  </a:moveTo>
                  <a:cubicBezTo>
                    <a:pt x="311107" y="433663"/>
                    <a:pt x="278471" y="501654"/>
                    <a:pt x="215919" y="501654"/>
                  </a:cubicBezTo>
                  <a:cubicBezTo>
                    <a:pt x="164245" y="501654"/>
                    <a:pt x="101693" y="458140"/>
                    <a:pt x="98973" y="392868"/>
                  </a:cubicBezTo>
                  <a:cubicBezTo>
                    <a:pt x="98973" y="392868"/>
                    <a:pt x="98973" y="297680"/>
                    <a:pt x="98973" y="221530"/>
                  </a:cubicBezTo>
                  <a:lnTo>
                    <a:pt x="82655" y="221530"/>
                  </a:lnTo>
                  <a:cubicBezTo>
                    <a:pt x="74496" y="221530"/>
                    <a:pt x="58178" y="216090"/>
                    <a:pt x="58178" y="191614"/>
                  </a:cubicBezTo>
                  <a:cubicBezTo>
                    <a:pt x="58178" y="167137"/>
                    <a:pt x="77216" y="164417"/>
                    <a:pt x="85375" y="164417"/>
                  </a:cubicBezTo>
                  <a:lnTo>
                    <a:pt x="101693" y="164417"/>
                  </a:lnTo>
                  <a:cubicBezTo>
                    <a:pt x="101693" y="137220"/>
                    <a:pt x="101693" y="118183"/>
                    <a:pt x="101693" y="118183"/>
                  </a:cubicBezTo>
                  <a:cubicBezTo>
                    <a:pt x="104413" y="85547"/>
                    <a:pt x="134329" y="55631"/>
                    <a:pt x="166965" y="58350"/>
                  </a:cubicBezTo>
                  <a:cubicBezTo>
                    <a:pt x="196881" y="61070"/>
                    <a:pt x="229517" y="85547"/>
                    <a:pt x="229517" y="118183"/>
                  </a:cubicBezTo>
                  <a:lnTo>
                    <a:pt x="229517" y="118183"/>
                  </a:lnTo>
                  <a:lnTo>
                    <a:pt x="229517" y="164417"/>
                  </a:lnTo>
                  <a:lnTo>
                    <a:pt x="283910" y="164417"/>
                  </a:lnTo>
                  <a:cubicBezTo>
                    <a:pt x="292069" y="164417"/>
                    <a:pt x="308387" y="169856"/>
                    <a:pt x="308387" y="194333"/>
                  </a:cubicBezTo>
                  <a:cubicBezTo>
                    <a:pt x="308387" y="218810"/>
                    <a:pt x="292069" y="221530"/>
                    <a:pt x="281190" y="221530"/>
                  </a:cubicBezTo>
                  <a:lnTo>
                    <a:pt x="229517" y="221530"/>
                  </a:lnTo>
                  <a:lnTo>
                    <a:pt x="229517" y="365671"/>
                  </a:lnTo>
                  <a:cubicBezTo>
                    <a:pt x="226797" y="409186"/>
                    <a:pt x="267592" y="433663"/>
                    <a:pt x="311107" y="433663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/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AB8AA284-744C-4339-8893-D6368FD10AAE}"/>
                </a:ext>
              </a:extLst>
            </p:cNvPr>
            <p:cNvSpPr/>
            <p:nvPr/>
          </p:nvSpPr>
          <p:spPr>
            <a:xfrm>
              <a:off x="7090329" y="3338014"/>
              <a:ext cx="353556" cy="543931"/>
            </a:xfrm>
            <a:custGeom>
              <a:avLst/>
              <a:gdLst>
                <a:gd name="connsiteX0" fmla="*/ 311107 w 353555"/>
                <a:gd name="connsiteY0" fmla="*/ 433663 h 543931"/>
                <a:gd name="connsiteX1" fmla="*/ 215919 w 353555"/>
                <a:gd name="connsiteY1" fmla="*/ 501654 h 543931"/>
                <a:gd name="connsiteX2" fmla="*/ 98973 w 353555"/>
                <a:gd name="connsiteY2" fmla="*/ 392868 h 543931"/>
                <a:gd name="connsiteX3" fmla="*/ 98973 w 353555"/>
                <a:gd name="connsiteY3" fmla="*/ 221530 h 543931"/>
                <a:gd name="connsiteX4" fmla="*/ 82655 w 353555"/>
                <a:gd name="connsiteY4" fmla="*/ 221530 h 543931"/>
                <a:gd name="connsiteX5" fmla="*/ 58178 w 353555"/>
                <a:gd name="connsiteY5" fmla="*/ 191614 h 543931"/>
                <a:gd name="connsiteX6" fmla="*/ 85375 w 353555"/>
                <a:gd name="connsiteY6" fmla="*/ 164417 h 543931"/>
                <a:gd name="connsiteX7" fmla="*/ 101693 w 353555"/>
                <a:gd name="connsiteY7" fmla="*/ 164417 h 543931"/>
                <a:gd name="connsiteX8" fmla="*/ 101693 w 353555"/>
                <a:gd name="connsiteY8" fmla="*/ 118183 h 543931"/>
                <a:gd name="connsiteX9" fmla="*/ 166965 w 353555"/>
                <a:gd name="connsiteY9" fmla="*/ 58350 h 543931"/>
                <a:gd name="connsiteX10" fmla="*/ 229517 w 353555"/>
                <a:gd name="connsiteY10" fmla="*/ 118183 h 543931"/>
                <a:gd name="connsiteX11" fmla="*/ 229517 w 353555"/>
                <a:gd name="connsiteY11" fmla="*/ 118183 h 543931"/>
                <a:gd name="connsiteX12" fmla="*/ 229517 w 353555"/>
                <a:gd name="connsiteY12" fmla="*/ 164417 h 543931"/>
                <a:gd name="connsiteX13" fmla="*/ 283910 w 353555"/>
                <a:gd name="connsiteY13" fmla="*/ 164417 h 543931"/>
                <a:gd name="connsiteX14" fmla="*/ 308387 w 353555"/>
                <a:gd name="connsiteY14" fmla="*/ 194333 h 543931"/>
                <a:gd name="connsiteX15" fmla="*/ 281190 w 353555"/>
                <a:gd name="connsiteY15" fmla="*/ 221530 h 543931"/>
                <a:gd name="connsiteX16" fmla="*/ 229517 w 353555"/>
                <a:gd name="connsiteY16" fmla="*/ 221530 h 543931"/>
                <a:gd name="connsiteX17" fmla="*/ 229517 w 353555"/>
                <a:gd name="connsiteY17" fmla="*/ 365671 h 543931"/>
                <a:gd name="connsiteX18" fmla="*/ 311107 w 353555"/>
                <a:gd name="connsiteY18" fmla="*/ 433663 h 5439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353555" h="543931">
                  <a:moveTo>
                    <a:pt x="311107" y="433663"/>
                  </a:moveTo>
                  <a:cubicBezTo>
                    <a:pt x="311107" y="433663"/>
                    <a:pt x="278471" y="501654"/>
                    <a:pt x="215919" y="501654"/>
                  </a:cubicBezTo>
                  <a:cubicBezTo>
                    <a:pt x="164245" y="501654"/>
                    <a:pt x="101693" y="458140"/>
                    <a:pt x="98973" y="392868"/>
                  </a:cubicBezTo>
                  <a:cubicBezTo>
                    <a:pt x="98973" y="392868"/>
                    <a:pt x="98973" y="297680"/>
                    <a:pt x="98973" y="221530"/>
                  </a:cubicBezTo>
                  <a:lnTo>
                    <a:pt x="82655" y="221530"/>
                  </a:lnTo>
                  <a:cubicBezTo>
                    <a:pt x="74496" y="221530"/>
                    <a:pt x="58178" y="216090"/>
                    <a:pt x="58178" y="191614"/>
                  </a:cubicBezTo>
                  <a:cubicBezTo>
                    <a:pt x="58178" y="167137"/>
                    <a:pt x="77216" y="164417"/>
                    <a:pt x="85375" y="164417"/>
                  </a:cubicBezTo>
                  <a:lnTo>
                    <a:pt x="101693" y="164417"/>
                  </a:lnTo>
                  <a:cubicBezTo>
                    <a:pt x="101693" y="137220"/>
                    <a:pt x="101693" y="118183"/>
                    <a:pt x="101693" y="118183"/>
                  </a:cubicBezTo>
                  <a:cubicBezTo>
                    <a:pt x="104412" y="85547"/>
                    <a:pt x="134329" y="55631"/>
                    <a:pt x="166965" y="58350"/>
                  </a:cubicBezTo>
                  <a:cubicBezTo>
                    <a:pt x="196881" y="61070"/>
                    <a:pt x="229517" y="85547"/>
                    <a:pt x="229517" y="118183"/>
                  </a:cubicBezTo>
                  <a:lnTo>
                    <a:pt x="229517" y="118183"/>
                  </a:lnTo>
                  <a:lnTo>
                    <a:pt x="229517" y="164417"/>
                  </a:lnTo>
                  <a:lnTo>
                    <a:pt x="283910" y="164417"/>
                  </a:lnTo>
                  <a:cubicBezTo>
                    <a:pt x="292069" y="164417"/>
                    <a:pt x="308387" y="169856"/>
                    <a:pt x="308387" y="194333"/>
                  </a:cubicBezTo>
                  <a:cubicBezTo>
                    <a:pt x="308387" y="218810"/>
                    <a:pt x="292069" y="221530"/>
                    <a:pt x="281190" y="221530"/>
                  </a:cubicBezTo>
                  <a:lnTo>
                    <a:pt x="229517" y="221530"/>
                  </a:lnTo>
                  <a:lnTo>
                    <a:pt x="229517" y="365671"/>
                  </a:lnTo>
                  <a:cubicBezTo>
                    <a:pt x="229517" y="409186"/>
                    <a:pt x="270312" y="433663"/>
                    <a:pt x="311107" y="433663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/>
            </a:p>
          </p:txBody>
        </p:sp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id="{C865B7A3-B595-43E8-9EBD-1FED225C9FCB}"/>
                </a:ext>
              </a:extLst>
            </p:cNvPr>
            <p:cNvSpPr/>
            <p:nvPr/>
          </p:nvSpPr>
          <p:spPr>
            <a:xfrm>
              <a:off x="2080719" y="4178559"/>
              <a:ext cx="462342" cy="788700"/>
            </a:xfrm>
            <a:custGeom>
              <a:avLst/>
              <a:gdLst>
                <a:gd name="connsiteX0" fmla="*/ 403575 w 462341"/>
                <a:gd name="connsiteY0" fmla="*/ 583072 h 788699"/>
                <a:gd name="connsiteX1" fmla="*/ 406295 w 462341"/>
                <a:gd name="connsiteY1" fmla="*/ 596670 h 788699"/>
                <a:gd name="connsiteX2" fmla="*/ 400855 w 462341"/>
                <a:gd name="connsiteY2" fmla="*/ 610268 h 788699"/>
                <a:gd name="connsiteX3" fmla="*/ 389977 w 462341"/>
                <a:gd name="connsiteY3" fmla="*/ 626586 h 788699"/>
                <a:gd name="connsiteX4" fmla="*/ 354621 w 462341"/>
                <a:gd name="connsiteY4" fmla="*/ 675540 h 788699"/>
                <a:gd name="connsiteX5" fmla="*/ 327424 w 462341"/>
                <a:gd name="connsiteY5" fmla="*/ 691858 h 788699"/>
                <a:gd name="connsiteX6" fmla="*/ 292069 w 462341"/>
                <a:gd name="connsiteY6" fmla="*/ 713615 h 788699"/>
                <a:gd name="connsiteX7" fmla="*/ 251274 w 462341"/>
                <a:gd name="connsiteY7" fmla="*/ 724494 h 788699"/>
                <a:gd name="connsiteX8" fmla="*/ 221358 w 462341"/>
                <a:gd name="connsiteY8" fmla="*/ 721774 h 788699"/>
                <a:gd name="connsiteX9" fmla="*/ 191442 w 462341"/>
                <a:gd name="connsiteY9" fmla="*/ 721774 h 788699"/>
                <a:gd name="connsiteX10" fmla="*/ 153366 w 462341"/>
                <a:gd name="connsiteY10" fmla="*/ 713615 h 788699"/>
                <a:gd name="connsiteX11" fmla="*/ 104412 w 462341"/>
                <a:gd name="connsiteY11" fmla="*/ 675540 h 788699"/>
                <a:gd name="connsiteX12" fmla="*/ 104412 w 462341"/>
                <a:gd name="connsiteY12" fmla="*/ 689138 h 788699"/>
                <a:gd name="connsiteX13" fmla="*/ 101693 w 462341"/>
                <a:gd name="connsiteY13" fmla="*/ 710895 h 788699"/>
                <a:gd name="connsiteX14" fmla="*/ 85375 w 462341"/>
                <a:gd name="connsiteY14" fmla="*/ 732653 h 788699"/>
                <a:gd name="connsiteX15" fmla="*/ 69057 w 462341"/>
                <a:gd name="connsiteY15" fmla="*/ 727214 h 788699"/>
                <a:gd name="connsiteX16" fmla="*/ 60898 w 462341"/>
                <a:gd name="connsiteY16" fmla="*/ 710895 h 788699"/>
                <a:gd name="connsiteX17" fmla="*/ 58178 w 462341"/>
                <a:gd name="connsiteY17" fmla="*/ 691858 h 788699"/>
                <a:gd name="connsiteX18" fmla="*/ 60898 w 462341"/>
                <a:gd name="connsiteY18" fmla="*/ 664661 h 788699"/>
                <a:gd name="connsiteX19" fmla="*/ 60898 w 462341"/>
                <a:gd name="connsiteY19" fmla="*/ 607549 h 788699"/>
                <a:gd name="connsiteX20" fmla="*/ 63618 w 462341"/>
                <a:gd name="connsiteY20" fmla="*/ 528679 h 788699"/>
                <a:gd name="connsiteX21" fmla="*/ 69057 w 462341"/>
                <a:gd name="connsiteY21" fmla="*/ 504202 h 788699"/>
                <a:gd name="connsiteX22" fmla="*/ 74496 w 462341"/>
                <a:gd name="connsiteY22" fmla="*/ 493323 h 788699"/>
                <a:gd name="connsiteX23" fmla="*/ 82655 w 462341"/>
                <a:gd name="connsiteY23" fmla="*/ 487884 h 788699"/>
                <a:gd name="connsiteX24" fmla="*/ 90814 w 462341"/>
                <a:gd name="connsiteY24" fmla="*/ 493323 h 788699"/>
                <a:gd name="connsiteX25" fmla="*/ 98973 w 462341"/>
                <a:gd name="connsiteY25" fmla="*/ 512361 h 788699"/>
                <a:gd name="connsiteX26" fmla="*/ 101693 w 462341"/>
                <a:gd name="connsiteY26" fmla="*/ 555875 h 788699"/>
                <a:gd name="connsiteX27" fmla="*/ 101693 w 462341"/>
                <a:gd name="connsiteY27" fmla="*/ 596670 h 788699"/>
                <a:gd name="connsiteX28" fmla="*/ 109852 w 462341"/>
                <a:gd name="connsiteY28" fmla="*/ 626586 h 788699"/>
                <a:gd name="connsiteX29" fmla="*/ 128889 w 462341"/>
                <a:gd name="connsiteY29" fmla="*/ 651063 h 788699"/>
                <a:gd name="connsiteX30" fmla="*/ 153366 w 462341"/>
                <a:gd name="connsiteY30" fmla="*/ 670101 h 788699"/>
                <a:gd name="connsiteX31" fmla="*/ 196881 w 462341"/>
                <a:gd name="connsiteY31" fmla="*/ 678260 h 788699"/>
                <a:gd name="connsiteX32" fmla="*/ 221358 w 462341"/>
                <a:gd name="connsiteY32" fmla="*/ 667381 h 788699"/>
                <a:gd name="connsiteX33" fmla="*/ 253994 w 462341"/>
                <a:gd name="connsiteY33" fmla="*/ 659222 h 788699"/>
                <a:gd name="connsiteX34" fmla="*/ 275751 w 462341"/>
                <a:gd name="connsiteY34" fmla="*/ 637465 h 788699"/>
                <a:gd name="connsiteX35" fmla="*/ 281190 w 462341"/>
                <a:gd name="connsiteY35" fmla="*/ 615708 h 788699"/>
                <a:gd name="connsiteX36" fmla="*/ 278471 w 462341"/>
                <a:gd name="connsiteY36" fmla="*/ 602109 h 788699"/>
                <a:gd name="connsiteX37" fmla="*/ 262153 w 462341"/>
                <a:gd name="connsiteY37" fmla="*/ 572193 h 788699"/>
                <a:gd name="connsiteX38" fmla="*/ 245835 w 462341"/>
                <a:gd name="connsiteY38" fmla="*/ 536838 h 788699"/>
                <a:gd name="connsiteX39" fmla="*/ 196881 w 462341"/>
                <a:gd name="connsiteY39" fmla="*/ 477005 h 788699"/>
                <a:gd name="connsiteX40" fmla="*/ 145207 w 462341"/>
                <a:gd name="connsiteY40" fmla="*/ 419892 h 788699"/>
                <a:gd name="connsiteX41" fmla="*/ 93534 w 462341"/>
                <a:gd name="connsiteY41" fmla="*/ 357340 h 788699"/>
                <a:gd name="connsiteX42" fmla="*/ 66337 w 462341"/>
                <a:gd name="connsiteY42" fmla="*/ 283910 h 788699"/>
                <a:gd name="connsiteX43" fmla="*/ 58178 w 462341"/>
                <a:gd name="connsiteY43" fmla="*/ 224077 h 788699"/>
                <a:gd name="connsiteX44" fmla="*/ 82655 w 462341"/>
                <a:gd name="connsiteY44" fmla="*/ 150647 h 788699"/>
                <a:gd name="connsiteX45" fmla="*/ 137048 w 462341"/>
                <a:gd name="connsiteY45" fmla="*/ 96253 h 788699"/>
                <a:gd name="connsiteX46" fmla="*/ 196881 w 462341"/>
                <a:gd name="connsiteY46" fmla="*/ 77216 h 788699"/>
                <a:gd name="connsiteX47" fmla="*/ 232236 w 462341"/>
                <a:gd name="connsiteY47" fmla="*/ 69057 h 788699"/>
                <a:gd name="connsiteX48" fmla="*/ 262153 w 462341"/>
                <a:gd name="connsiteY48" fmla="*/ 74496 h 788699"/>
                <a:gd name="connsiteX49" fmla="*/ 294789 w 462341"/>
                <a:gd name="connsiteY49" fmla="*/ 85375 h 788699"/>
                <a:gd name="connsiteX50" fmla="*/ 327424 w 462341"/>
                <a:gd name="connsiteY50" fmla="*/ 104412 h 788699"/>
                <a:gd name="connsiteX51" fmla="*/ 332864 w 462341"/>
                <a:gd name="connsiteY51" fmla="*/ 74496 h 788699"/>
                <a:gd name="connsiteX52" fmla="*/ 338303 w 462341"/>
                <a:gd name="connsiteY52" fmla="*/ 63618 h 788699"/>
                <a:gd name="connsiteX53" fmla="*/ 349182 w 462341"/>
                <a:gd name="connsiteY53" fmla="*/ 58178 h 788699"/>
                <a:gd name="connsiteX54" fmla="*/ 357341 w 462341"/>
                <a:gd name="connsiteY54" fmla="*/ 63618 h 788699"/>
                <a:gd name="connsiteX55" fmla="*/ 365500 w 462341"/>
                <a:gd name="connsiteY55" fmla="*/ 82655 h 788699"/>
                <a:gd name="connsiteX56" fmla="*/ 368219 w 462341"/>
                <a:gd name="connsiteY56" fmla="*/ 142488 h 788699"/>
                <a:gd name="connsiteX57" fmla="*/ 368219 w 462341"/>
                <a:gd name="connsiteY57" fmla="*/ 188722 h 788699"/>
                <a:gd name="connsiteX58" fmla="*/ 370939 w 462341"/>
                <a:gd name="connsiteY58" fmla="*/ 245834 h 788699"/>
                <a:gd name="connsiteX59" fmla="*/ 354621 w 462341"/>
                <a:gd name="connsiteY59" fmla="*/ 286629 h 788699"/>
                <a:gd name="connsiteX60" fmla="*/ 338303 w 462341"/>
                <a:gd name="connsiteY60" fmla="*/ 281190 h 788699"/>
                <a:gd name="connsiteX61" fmla="*/ 330144 w 462341"/>
                <a:gd name="connsiteY61" fmla="*/ 264872 h 788699"/>
                <a:gd name="connsiteX62" fmla="*/ 327424 w 462341"/>
                <a:gd name="connsiteY62" fmla="*/ 248554 h 788699"/>
                <a:gd name="connsiteX63" fmla="*/ 330144 w 462341"/>
                <a:gd name="connsiteY63" fmla="*/ 221357 h 788699"/>
                <a:gd name="connsiteX64" fmla="*/ 330144 w 462341"/>
                <a:gd name="connsiteY64" fmla="*/ 188722 h 788699"/>
                <a:gd name="connsiteX65" fmla="*/ 327424 w 462341"/>
                <a:gd name="connsiteY65" fmla="*/ 164245 h 788699"/>
                <a:gd name="connsiteX66" fmla="*/ 311107 w 462341"/>
                <a:gd name="connsiteY66" fmla="*/ 134329 h 788699"/>
                <a:gd name="connsiteX67" fmla="*/ 283910 w 462341"/>
                <a:gd name="connsiteY67" fmla="*/ 118011 h 788699"/>
                <a:gd name="connsiteX68" fmla="*/ 251274 w 462341"/>
                <a:gd name="connsiteY68" fmla="*/ 112571 h 788699"/>
                <a:gd name="connsiteX69" fmla="*/ 215918 w 462341"/>
                <a:gd name="connsiteY69" fmla="*/ 123450 h 788699"/>
                <a:gd name="connsiteX70" fmla="*/ 202320 w 462341"/>
                <a:gd name="connsiteY70" fmla="*/ 147927 h 788699"/>
                <a:gd name="connsiteX71" fmla="*/ 188722 w 462341"/>
                <a:gd name="connsiteY71" fmla="*/ 180563 h 788699"/>
                <a:gd name="connsiteX72" fmla="*/ 183283 w 462341"/>
                <a:gd name="connsiteY72" fmla="*/ 210479 h 788699"/>
                <a:gd name="connsiteX73" fmla="*/ 188722 w 462341"/>
                <a:gd name="connsiteY73" fmla="*/ 226797 h 788699"/>
                <a:gd name="connsiteX74" fmla="*/ 188722 w 462341"/>
                <a:gd name="connsiteY74" fmla="*/ 248554 h 788699"/>
                <a:gd name="connsiteX75" fmla="*/ 210479 w 462341"/>
                <a:gd name="connsiteY75" fmla="*/ 273031 h 788699"/>
                <a:gd name="connsiteX76" fmla="*/ 226797 w 462341"/>
                <a:gd name="connsiteY76" fmla="*/ 300228 h 788699"/>
                <a:gd name="connsiteX77" fmla="*/ 256713 w 462341"/>
                <a:gd name="connsiteY77" fmla="*/ 332864 h 788699"/>
                <a:gd name="connsiteX78" fmla="*/ 275751 w 462341"/>
                <a:gd name="connsiteY78" fmla="*/ 351901 h 788699"/>
                <a:gd name="connsiteX79" fmla="*/ 324705 w 462341"/>
                <a:gd name="connsiteY79" fmla="*/ 400855 h 788699"/>
                <a:gd name="connsiteX80" fmla="*/ 343742 w 462341"/>
                <a:gd name="connsiteY80" fmla="*/ 428051 h 788699"/>
                <a:gd name="connsiteX81" fmla="*/ 351901 w 462341"/>
                <a:gd name="connsiteY81" fmla="*/ 433491 h 788699"/>
                <a:gd name="connsiteX82" fmla="*/ 360060 w 462341"/>
                <a:gd name="connsiteY82" fmla="*/ 447089 h 788699"/>
                <a:gd name="connsiteX83" fmla="*/ 384537 w 462341"/>
                <a:gd name="connsiteY83" fmla="*/ 474286 h 788699"/>
                <a:gd name="connsiteX84" fmla="*/ 395416 w 462341"/>
                <a:gd name="connsiteY84" fmla="*/ 506921 h 788699"/>
                <a:gd name="connsiteX85" fmla="*/ 406295 w 462341"/>
                <a:gd name="connsiteY85" fmla="*/ 536838 h 788699"/>
                <a:gd name="connsiteX86" fmla="*/ 409014 w 462341"/>
                <a:gd name="connsiteY86" fmla="*/ 547716 h 788699"/>
                <a:gd name="connsiteX87" fmla="*/ 406295 w 462341"/>
                <a:gd name="connsiteY87" fmla="*/ 569473 h 788699"/>
                <a:gd name="connsiteX88" fmla="*/ 403575 w 462341"/>
                <a:gd name="connsiteY88" fmla="*/ 583072 h 788699"/>
                <a:gd name="connsiteX89" fmla="*/ 403575 w 462341"/>
                <a:gd name="connsiteY89" fmla="*/ 583072 h 7886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</a:cxnLst>
              <a:rect l="l" t="t" r="r" b="b"/>
              <a:pathLst>
                <a:path w="462341" h="788699">
                  <a:moveTo>
                    <a:pt x="403575" y="583072"/>
                  </a:moveTo>
                  <a:cubicBezTo>
                    <a:pt x="403575" y="588511"/>
                    <a:pt x="406295" y="591231"/>
                    <a:pt x="406295" y="596670"/>
                  </a:cubicBezTo>
                  <a:cubicBezTo>
                    <a:pt x="406295" y="602109"/>
                    <a:pt x="403575" y="604829"/>
                    <a:pt x="400855" y="610268"/>
                  </a:cubicBezTo>
                  <a:cubicBezTo>
                    <a:pt x="398136" y="615708"/>
                    <a:pt x="392696" y="621147"/>
                    <a:pt x="389977" y="626586"/>
                  </a:cubicBezTo>
                  <a:cubicBezTo>
                    <a:pt x="381818" y="645624"/>
                    <a:pt x="368219" y="661942"/>
                    <a:pt x="354621" y="675540"/>
                  </a:cubicBezTo>
                  <a:cubicBezTo>
                    <a:pt x="346462" y="683699"/>
                    <a:pt x="338303" y="686419"/>
                    <a:pt x="327424" y="691858"/>
                  </a:cubicBezTo>
                  <a:cubicBezTo>
                    <a:pt x="316546" y="700017"/>
                    <a:pt x="302948" y="708176"/>
                    <a:pt x="292069" y="713615"/>
                  </a:cubicBezTo>
                  <a:cubicBezTo>
                    <a:pt x="281190" y="719054"/>
                    <a:pt x="264872" y="724494"/>
                    <a:pt x="251274" y="724494"/>
                  </a:cubicBezTo>
                  <a:cubicBezTo>
                    <a:pt x="240395" y="724494"/>
                    <a:pt x="229517" y="721774"/>
                    <a:pt x="221358" y="721774"/>
                  </a:cubicBezTo>
                  <a:cubicBezTo>
                    <a:pt x="213199" y="721774"/>
                    <a:pt x="202320" y="721774"/>
                    <a:pt x="191442" y="721774"/>
                  </a:cubicBezTo>
                  <a:cubicBezTo>
                    <a:pt x="172404" y="721774"/>
                    <a:pt x="172404" y="721774"/>
                    <a:pt x="153366" y="713615"/>
                  </a:cubicBezTo>
                  <a:cubicBezTo>
                    <a:pt x="134329" y="708176"/>
                    <a:pt x="118011" y="691858"/>
                    <a:pt x="104412" y="675540"/>
                  </a:cubicBezTo>
                  <a:cubicBezTo>
                    <a:pt x="104412" y="678260"/>
                    <a:pt x="104412" y="680979"/>
                    <a:pt x="104412" y="689138"/>
                  </a:cubicBezTo>
                  <a:cubicBezTo>
                    <a:pt x="104412" y="694578"/>
                    <a:pt x="104412" y="702737"/>
                    <a:pt x="101693" y="710895"/>
                  </a:cubicBezTo>
                  <a:cubicBezTo>
                    <a:pt x="101693" y="721774"/>
                    <a:pt x="96253" y="732653"/>
                    <a:pt x="85375" y="732653"/>
                  </a:cubicBezTo>
                  <a:cubicBezTo>
                    <a:pt x="77216" y="732653"/>
                    <a:pt x="74496" y="729933"/>
                    <a:pt x="69057" y="727214"/>
                  </a:cubicBezTo>
                  <a:cubicBezTo>
                    <a:pt x="63618" y="724494"/>
                    <a:pt x="60898" y="716335"/>
                    <a:pt x="60898" y="710895"/>
                  </a:cubicBezTo>
                  <a:cubicBezTo>
                    <a:pt x="58178" y="702737"/>
                    <a:pt x="58178" y="697297"/>
                    <a:pt x="58178" y="691858"/>
                  </a:cubicBezTo>
                  <a:cubicBezTo>
                    <a:pt x="58178" y="683699"/>
                    <a:pt x="60898" y="678260"/>
                    <a:pt x="60898" y="664661"/>
                  </a:cubicBezTo>
                  <a:cubicBezTo>
                    <a:pt x="60898" y="656502"/>
                    <a:pt x="60898" y="632026"/>
                    <a:pt x="60898" y="607549"/>
                  </a:cubicBezTo>
                  <a:cubicBezTo>
                    <a:pt x="60898" y="574913"/>
                    <a:pt x="60898" y="542277"/>
                    <a:pt x="63618" y="528679"/>
                  </a:cubicBezTo>
                  <a:cubicBezTo>
                    <a:pt x="63618" y="520520"/>
                    <a:pt x="63618" y="509641"/>
                    <a:pt x="69057" y="504202"/>
                  </a:cubicBezTo>
                  <a:cubicBezTo>
                    <a:pt x="71777" y="501482"/>
                    <a:pt x="71777" y="498762"/>
                    <a:pt x="74496" y="493323"/>
                  </a:cubicBezTo>
                  <a:cubicBezTo>
                    <a:pt x="77216" y="490603"/>
                    <a:pt x="79936" y="487884"/>
                    <a:pt x="82655" y="487884"/>
                  </a:cubicBezTo>
                  <a:cubicBezTo>
                    <a:pt x="85375" y="487884"/>
                    <a:pt x="90814" y="490603"/>
                    <a:pt x="90814" y="493323"/>
                  </a:cubicBezTo>
                  <a:cubicBezTo>
                    <a:pt x="93534" y="498762"/>
                    <a:pt x="98973" y="506921"/>
                    <a:pt x="98973" y="512361"/>
                  </a:cubicBezTo>
                  <a:cubicBezTo>
                    <a:pt x="98973" y="520520"/>
                    <a:pt x="101693" y="536838"/>
                    <a:pt x="101693" y="555875"/>
                  </a:cubicBezTo>
                  <a:cubicBezTo>
                    <a:pt x="101693" y="569473"/>
                    <a:pt x="101693" y="583072"/>
                    <a:pt x="101693" y="596670"/>
                  </a:cubicBezTo>
                  <a:cubicBezTo>
                    <a:pt x="101693" y="607549"/>
                    <a:pt x="104412" y="618427"/>
                    <a:pt x="109852" y="626586"/>
                  </a:cubicBezTo>
                  <a:cubicBezTo>
                    <a:pt x="115291" y="637465"/>
                    <a:pt x="123450" y="642904"/>
                    <a:pt x="128889" y="651063"/>
                  </a:cubicBezTo>
                  <a:cubicBezTo>
                    <a:pt x="137048" y="661942"/>
                    <a:pt x="139768" y="667381"/>
                    <a:pt x="153366" y="670101"/>
                  </a:cubicBezTo>
                  <a:cubicBezTo>
                    <a:pt x="161525" y="670101"/>
                    <a:pt x="183283" y="678260"/>
                    <a:pt x="196881" y="678260"/>
                  </a:cubicBezTo>
                  <a:cubicBezTo>
                    <a:pt x="207759" y="678260"/>
                    <a:pt x="210479" y="672820"/>
                    <a:pt x="221358" y="667381"/>
                  </a:cubicBezTo>
                  <a:cubicBezTo>
                    <a:pt x="232236" y="661942"/>
                    <a:pt x="245835" y="664661"/>
                    <a:pt x="253994" y="659222"/>
                  </a:cubicBezTo>
                  <a:cubicBezTo>
                    <a:pt x="262153" y="653783"/>
                    <a:pt x="273031" y="645624"/>
                    <a:pt x="275751" y="637465"/>
                  </a:cubicBezTo>
                  <a:cubicBezTo>
                    <a:pt x="281190" y="629306"/>
                    <a:pt x="281190" y="621147"/>
                    <a:pt x="281190" y="615708"/>
                  </a:cubicBezTo>
                  <a:cubicBezTo>
                    <a:pt x="281190" y="610268"/>
                    <a:pt x="281190" y="607549"/>
                    <a:pt x="278471" y="602109"/>
                  </a:cubicBezTo>
                  <a:cubicBezTo>
                    <a:pt x="275751" y="591231"/>
                    <a:pt x="267592" y="583072"/>
                    <a:pt x="262153" y="572193"/>
                  </a:cubicBezTo>
                  <a:cubicBezTo>
                    <a:pt x="256713" y="561314"/>
                    <a:pt x="253994" y="547716"/>
                    <a:pt x="245835" y="536838"/>
                  </a:cubicBezTo>
                  <a:cubicBezTo>
                    <a:pt x="232236" y="515080"/>
                    <a:pt x="213199" y="498762"/>
                    <a:pt x="196881" y="477005"/>
                  </a:cubicBezTo>
                  <a:cubicBezTo>
                    <a:pt x="180563" y="457968"/>
                    <a:pt x="164245" y="438930"/>
                    <a:pt x="145207" y="419892"/>
                  </a:cubicBezTo>
                  <a:cubicBezTo>
                    <a:pt x="126170" y="400855"/>
                    <a:pt x="109852" y="379098"/>
                    <a:pt x="93534" y="357340"/>
                  </a:cubicBezTo>
                  <a:cubicBezTo>
                    <a:pt x="77216" y="335583"/>
                    <a:pt x="71777" y="308387"/>
                    <a:pt x="66337" y="283910"/>
                  </a:cubicBezTo>
                  <a:cubicBezTo>
                    <a:pt x="63618" y="267592"/>
                    <a:pt x="58178" y="245834"/>
                    <a:pt x="58178" y="224077"/>
                  </a:cubicBezTo>
                  <a:cubicBezTo>
                    <a:pt x="58178" y="194161"/>
                    <a:pt x="69057" y="175123"/>
                    <a:pt x="82655" y="150647"/>
                  </a:cubicBezTo>
                  <a:cubicBezTo>
                    <a:pt x="96253" y="128889"/>
                    <a:pt x="115291" y="109852"/>
                    <a:pt x="137048" y="96253"/>
                  </a:cubicBezTo>
                  <a:cubicBezTo>
                    <a:pt x="158806" y="82655"/>
                    <a:pt x="172404" y="79936"/>
                    <a:pt x="196881" y="77216"/>
                  </a:cubicBezTo>
                  <a:cubicBezTo>
                    <a:pt x="210479" y="77216"/>
                    <a:pt x="215918" y="69057"/>
                    <a:pt x="232236" y="69057"/>
                  </a:cubicBezTo>
                  <a:cubicBezTo>
                    <a:pt x="243115" y="69057"/>
                    <a:pt x="251274" y="71776"/>
                    <a:pt x="262153" y="74496"/>
                  </a:cubicBezTo>
                  <a:cubicBezTo>
                    <a:pt x="273031" y="77216"/>
                    <a:pt x="283910" y="82655"/>
                    <a:pt x="294789" y="85375"/>
                  </a:cubicBezTo>
                  <a:cubicBezTo>
                    <a:pt x="308387" y="90814"/>
                    <a:pt x="319265" y="96253"/>
                    <a:pt x="327424" y="104412"/>
                  </a:cubicBezTo>
                  <a:cubicBezTo>
                    <a:pt x="327424" y="90814"/>
                    <a:pt x="327424" y="79936"/>
                    <a:pt x="332864" y="74496"/>
                  </a:cubicBezTo>
                  <a:cubicBezTo>
                    <a:pt x="335583" y="71776"/>
                    <a:pt x="335583" y="69057"/>
                    <a:pt x="338303" y="63618"/>
                  </a:cubicBezTo>
                  <a:cubicBezTo>
                    <a:pt x="341023" y="60898"/>
                    <a:pt x="346462" y="58178"/>
                    <a:pt x="349182" y="58178"/>
                  </a:cubicBezTo>
                  <a:cubicBezTo>
                    <a:pt x="351901" y="58178"/>
                    <a:pt x="357341" y="60898"/>
                    <a:pt x="357341" y="63618"/>
                  </a:cubicBezTo>
                  <a:cubicBezTo>
                    <a:pt x="360060" y="69057"/>
                    <a:pt x="365500" y="77216"/>
                    <a:pt x="365500" y="82655"/>
                  </a:cubicBezTo>
                  <a:cubicBezTo>
                    <a:pt x="365500" y="90814"/>
                    <a:pt x="368219" y="123450"/>
                    <a:pt x="368219" y="142488"/>
                  </a:cubicBezTo>
                  <a:cubicBezTo>
                    <a:pt x="368219" y="158806"/>
                    <a:pt x="368219" y="177843"/>
                    <a:pt x="368219" y="188722"/>
                  </a:cubicBezTo>
                  <a:cubicBezTo>
                    <a:pt x="368219" y="213199"/>
                    <a:pt x="370939" y="224077"/>
                    <a:pt x="370939" y="245834"/>
                  </a:cubicBezTo>
                  <a:cubicBezTo>
                    <a:pt x="370939" y="256713"/>
                    <a:pt x="370939" y="286629"/>
                    <a:pt x="354621" y="286629"/>
                  </a:cubicBezTo>
                  <a:cubicBezTo>
                    <a:pt x="346462" y="286629"/>
                    <a:pt x="343742" y="283910"/>
                    <a:pt x="338303" y="281190"/>
                  </a:cubicBezTo>
                  <a:cubicBezTo>
                    <a:pt x="332864" y="278470"/>
                    <a:pt x="330144" y="270311"/>
                    <a:pt x="330144" y="264872"/>
                  </a:cubicBezTo>
                  <a:cubicBezTo>
                    <a:pt x="327424" y="256713"/>
                    <a:pt x="327424" y="251274"/>
                    <a:pt x="327424" y="248554"/>
                  </a:cubicBezTo>
                  <a:cubicBezTo>
                    <a:pt x="327424" y="240395"/>
                    <a:pt x="330144" y="234956"/>
                    <a:pt x="330144" y="221357"/>
                  </a:cubicBezTo>
                  <a:cubicBezTo>
                    <a:pt x="330144" y="213199"/>
                    <a:pt x="330144" y="202320"/>
                    <a:pt x="330144" y="188722"/>
                  </a:cubicBezTo>
                  <a:cubicBezTo>
                    <a:pt x="330144" y="180563"/>
                    <a:pt x="327424" y="172404"/>
                    <a:pt x="327424" y="164245"/>
                  </a:cubicBezTo>
                  <a:cubicBezTo>
                    <a:pt x="324705" y="153366"/>
                    <a:pt x="319265" y="142488"/>
                    <a:pt x="311107" y="134329"/>
                  </a:cubicBezTo>
                  <a:cubicBezTo>
                    <a:pt x="302948" y="126170"/>
                    <a:pt x="294789" y="120730"/>
                    <a:pt x="283910" y="118011"/>
                  </a:cubicBezTo>
                  <a:cubicBezTo>
                    <a:pt x="275751" y="115291"/>
                    <a:pt x="262153" y="112571"/>
                    <a:pt x="251274" y="112571"/>
                  </a:cubicBezTo>
                  <a:cubicBezTo>
                    <a:pt x="237676" y="112571"/>
                    <a:pt x="224077" y="115291"/>
                    <a:pt x="215918" y="123450"/>
                  </a:cubicBezTo>
                  <a:cubicBezTo>
                    <a:pt x="207759" y="128889"/>
                    <a:pt x="205040" y="139768"/>
                    <a:pt x="202320" y="147927"/>
                  </a:cubicBezTo>
                  <a:cubicBezTo>
                    <a:pt x="196881" y="158806"/>
                    <a:pt x="191442" y="166964"/>
                    <a:pt x="188722" y="180563"/>
                  </a:cubicBezTo>
                  <a:cubicBezTo>
                    <a:pt x="186002" y="191441"/>
                    <a:pt x="183283" y="199600"/>
                    <a:pt x="183283" y="210479"/>
                  </a:cubicBezTo>
                  <a:cubicBezTo>
                    <a:pt x="183283" y="215918"/>
                    <a:pt x="186002" y="221357"/>
                    <a:pt x="188722" y="226797"/>
                  </a:cubicBezTo>
                  <a:cubicBezTo>
                    <a:pt x="191442" y="234956"/>
                    <a:pt x="188722" y="243115"/>
                    <a:pt x="188722" y="248554"/>
                  </a:cubicBezTo>
                  <a:cubicBezTo>
                    <a:pt x="191442" y="259433"/>
                    <a:pt x="202320" y="264872"/>
                    <a:pt x="210479" y="273031"/>
                  </a:cubicBezTo>
                  <a:cubicBezTo>
                    <a:pt x="218638" y="281190"/>
                    <a:pt x="221358" y="292069"/>
                    <a:pt x="226797" y="300228"/>
                  </a:cubicBezTo>
                  <a:cubicBezTo>
                    <a:pt x="234956" y="311106"/>
                    <a:pt x="245835" y="321985"/>
                    <a:pt x="256713" y="332864"/>
                  </a:cubicBezTo>
                  <a:cubicBezTo>
                    <a:pt x="259433" y="338303"/>
                    <a:pt x="267592" y="343742"/>
                    <a:pt x="275751" y="351901"/>
                  </a:cubicBezTo>
                  <a:cubicBezTo>
                    <a:pt x="292069" y="368219"/>
                    <a:pt x="311107" y="384537"/>
                    <a:pt x="324705" y="400855"/>
                  </a:cubicBezTo>
                  <a:cubicBezTo>
                    <a:pt x="332864" y="409014"/>
                    <a:pt x="335583" y="419892"/>
                    <a:pt x="343742" y="428051"/>
                  </a:cubicBezTo>
                  <a:cubicBezTo>
                    <a:pt x="346462" y="430771"/>
                    <a:pt x="349182" y="430771"/>
                    <a:pt x="351901" y="433491"/>
                  </a:cubicBezTo>
                  <a:cubicBezTo>
                    <a:pt x="354621" y="436210"/>
                    <a:pt x="357341" y="441650"/>
                    <a:pt x="360060" y="447089"/>
                  </a:cubicBezTo>
                  <a:cubicBezTo>
                    <a:pt x="368219" y="455248"/>
                    <a:pt x="376378" y="463407"/>
                    <a:pt x="384537" y="474286"/>
                  </a:cubicBezTo>
                  <a:cubicBezTo>
                    <a:pt x="389977" y="482445"/>
                    <a:pt x="392696" y="496043"/>
                    <a:pt x="395416" y="506921"/>
                  </a:cubicBezTo>
                  <a:cubicBezTo>
                    <a:pt x="400855" y="517800"/>
                    <a:pt x="400855" y="528679"/>
                    <a:pt x="406295" y="536838"/>
                  </a:cubicBezTo>
                  <a:cubicBezTo>
                    <a:pt x="409014" y="539557"/>
                    <a:pt x="409014" y="544997"/>
                    <a:pt x="409014" y="547716"/>
                  </a:cubicBezTo>
                  <a:cubicBezTo>
                    <a:pt x="409014" y="555875"/>
                    <a:pt x="406295" y="561314"/>
                    <a:pt x="406295" y="569473"/>
                  </a:cubicBezTo>
                  <a:cubicBezTo>
                    <a:pt x="406295" y="574913"/>
                    <a:pt x="403575" y="577632"/>
                    <a:pt x="403575" y="583072"/>
                  </a:cubicBezTo>
                  <a:lnTo>
                    <a:pt x="403575" y="583072"/>
                  </a:ln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/>
            </a:p>
          </p:txBody>
        </p:sp>
        <p:sp>
          <p:nvSpPr>
            <p:cNvPr id="35" name="Freeform: Shape 34">
              <a:extLst>
                <a:ext uri="{FF2B5EF4-FFF2-40B4-BE49-F238E27FC236}">
                  <a16:creationId xmlns:a16="http://schemas.microsoft.com/office/drawing/2014/main" id="{BD1848C6-7FFC-4763-9871-A8C7CE2CBD6C}"/>
                </a:ext>
              </a:extLst>
            </p:cNvPr>
            <p:cNvSpPr/>
            <p:nvPr/>
          </p:nvSpPr>
          <p:spPr>
            <a:xfrm>
              <a:off x="2456032" y="4192158"/>
              <a:ext cx="571128" cy="761503"/>
            </a:xfrm>
            <a:custGeom>
              <a:avLst/>
              <a:gdLst>
                <a:gd name="connsiteX0" fmla="*/ 512361 w 571128"/>
                <a:gd name="connsiteY0" fmla="*/ 79936 h 761503"/>
                <a:gd name="connsiteX1" fmla="*/ 539558 w 571128"/>
                <a:gd name="connsiteY1" fmla="*/ 96253 h 761503"/>
                <a:gd name="connsiteX2" fmla="*/ 534118 w 571128"/>
                <a:gd name="connsiteY2" fmla="*/ 112571 h 761503"/>
                <a:gd name="connsiteX3" fmla="*/ 523240 w 571128"/>
                <a:gd name="connsiteY3" fmla="*/ 120730 h 761503"/>
                <a:gd name="connsiteX4" fmla="*/ 506922 w 571128"/>
                <a:gd name="connsiteY4" fmla="*/ 123450 h 761503"/>
                <a:gd name="connsiteX5" fmla="*/ 477006 w 571128"/>
                <a:gd name="connsiteY5" fmla="*/ 123450 h 761503"/>
                <a:gd name="connsiteX6" fmla="*/ 479725 w 571128"/>
                <a:gd name="connsiteY6" fmla="*/ 145207 h 761503"/>
                <a:gd name="connsiteX7" fmla="*/ 477006 w 571128"/>
                <a:gd name="connsiteY7" fmla="*/ 180563 h 761503"/>
                <a:gd name="connsiteX8" fmla="*/ 482445 w 571128"/>
                <a:gd name="connsiteY8" fmla="*/ 232236 h 761503"/>
                <a:gd name="connsiteX9" fmla="*/ 485165 w 571128"/>
                <a:gd name="connsiteY9" fmla="*/ 283910 h 761503"/>
                <a:gd name="connsiteX10" fmla="*/ 485165 w 571128"/>
                <a:gd name="connsiteY10" fmla="*/ 327424 h 761503"/>
                <a:gd name="connsiteX11" fmla="*/ 487884 w 571128"/>
                <a:gd name="connsiteY11" fmla="*/ 373658 h 761503"/>
                <a:gd name="connsiteX12" fmla="*/ 485165 w 571128"/>
                <a:gd name="connsiteY12" fmla="*/ 419892 h 761503"/>
                <a:gd name="connsiteX13" fmla="*/ 485165 w 571128"/>
                <a:gd name="connsiteY13" fmla="*/ 463407 h 761503"/>
                <a:gd name="connsiteX14" fmla="*/ 482445 w 571128"/>
                <a:gd name="connsiteY14" fmla="*/ 515080 h 761503"/>
                <a:gd name="connsiteX15" fmla="*/ 482445 w 571128"/>
                <a:gd name="connsiteY15" fmla="*/ 558595 h 761503"/>
                <a:gd name="connsiteX16" fmla="*/ 479725 w 571128"/>
                <a:gd name="connsiteY16" fmla="*/ 602109 h 761503"/>
                <a:gd name="connsiteX17" fmla="*/ 485165 w 571128"/>
                <a:gd name="connsiteY17" fmla="*/ 648343 h 761503"/>
                <a:gd name="connsiteX18" fmla="*/ 474286 w 571128"/>
                <a:gd name="connsiteY18" fmla="*/ 675540 h 761503"/>
                <a:gd name="connsiteX19" fmla="*/ 428052 w 571128"/>
                <a:gd name="connsiteY19" fmla="*/ 691858 h 761503"/>
                <a:gd name="connsiteX20" fmla="*/ 387257 w 571128"/>
                <a:gd name="connsiteY20" fmla="*/ 683699 h 761503"/>
                <a:gd name="connsiteX21" fmla="*/ 351901 w 571128"/>
                <a:gd name="connsiteY21" fmla="*/ 664661 h 761503"/>
                <a:gd name="connsiteX22" fmla="*/ 305667 w 571128"/>
                <a:gd name="connsiteY22" fmla="*/ 596670 h 761503"/>
                <a:gd name="connsiteX23" fmla="*/ 270312 w 571128"/>
                <a:gd name="connsiteY23" fmla="*/ 509641 h 761503"/>
                <a:gd name="connsiteX24" fmla="*/ 251274 w 571128"/>
                <a:gd name="connsiteY24" fmla="*/ 460687 h 761503"/>
                <a:gd name="connsiteX25" fmla="*/ 224077 w 571128"/>
                <a:gd name="connsiteY25" fmla="*/ 381817 h 761503"/>
                <a:gd name="connsiteX26" fmla="*/ 207759 w 571128"/>
                <a:gd name="connsiteY26" fmla="*/ 330144 h 761503"/>
                <a:gd name="connsiteX27" fmla="*/ 191442 w 571128"/>
                <a:gd name="connsiteY27" fmla="*/ 286629 h 761503"/>
                <a:gd name="connsiteX28" fmla="*/ 183283 w 571128"/>
                <a:gd name="connsiteY28" fmla="*/ 278470 h 761503"/>
                <a:gd name="connsiteX29" fmla="*/ 180563 w 571128"/>
                <a:gd name="connsiteY29" fmla="*/ 292069 h 761503"/>
                <a:gd name="connsiteX30" fmla="*/ 180563 w 571128"/>
                <a:gd name="connsiteY30" fmla="*/ 305667 h 761503"/>
                <a:gd name="connsiteX31" fmla="*/ 183283 w 571128"/>
                <a:gd name="connsiteY31" fmla="*/ 354621 h 761503"/>
                <a:gd name="connsiteX32" fmla="*/ 188722 w 571128"/>
                <a:gd name="connsiteY32" fmla="*/ 449809 h 761503"/>
                <a:gd name="connsiteX33" fmla="*/ 188722 w 571128"/>
                <a:gd name="connsiteY33" fmla="*/ 479725 h 761503"/>
                <a:gd name="connsiteX34" fmla="*/ 188722 w 571128"/>
                <a:gd name="connsiteY34" fmla="*/ 542277 h 761503"/>
                <a:gd name="connsiteX35" fmla="*/ 186002 w 571128"/>
                <a:gd name="connsiteY35" fmla="*/ 615708 h 761503"/>
                <a:gd name="connsiteX36" fmla="*/ 186002 w 571128"/>
                <a:gd name="connsiteY36" fmla="*/ 637465 h 761503"/>
                <a:gd name="connsiteX37" fmla="*/ 183283 w 571128"/>
                <a:gd name="connsiteY37" fmla="*/ 664661 h 761503"/>
                <a:gd name="connsiteX38" fmla="*/ 226797 w 571128"/>
                <a:gd name="connsiteY38" fmla="*/ 664661 h 761503"/>
                <a:gd name="connsiteX39" fmla="*/ 253994 w 571128"/>
                <a:gd name="connsiteY39" fmla="*/ 680979 h 761503"/>
                <a:gd name="connsiteX40" fmla="*/ 248554 w 571128"/>
                <a:gd name="connsiteY40" fmla="*/ 697297 h 761503"/>
                <a:gd name="connsiteX41" fmla="*/ 234956 w 571128"/>
                <a:gd name="connsiteY41" fmla="*/ 705456 h 761503"/>
                <a:gd name="connsiteX42" fmla="*/ 218638 w 571128"/>
                <a:gd name="connsiteY42" fmla="*/ 708176 h 761503"/>
                <a:gd name="connsiteX43" fmla="*/ 183283 w 571128"/>
                <a:gd name="connsiteY43" fmla="*/ 708176 h 761503"/>
                <a:gd name="connsiteX44" fmla="*/ 150647 w 571128"/>
                <a:gd name="connsiteY44" fmla="*/ 708176 h 761503"/>
                <a:gd name="connsiteX45" fmla="*/ 107132 w 571128"/>
                <a:gd name="connsiteY45" fmla="*/ 708176 h 761503"/>
                <a:gd name="connsiteX46" fmla="*/ 88094 w 571128"/>
                <a:gd name="connsiteY46" fmla="*/ 708176 h 761503"/>
                <a:gd name="connsiteX47" fmla="*/ 69057 w 571128"/>
                <a:gd name="connsiteY47" fmla="*/ 702737 h 761503"/>
                <a:gd name="connsiteX48" fmla="*/ 58178 w 571128"/>
                <a:gd name="connsiteY48" fmla="*/ 686419 h 761503"/>
                <a:gd name="connsiteX49" fmla="*/ 60898 w 571128"/>
                <a:gd name="connsiteY49" fmla="*/ 678260 h 761503"/>
                <a:gd name="connsiteX50" fmla="*/ 77216 w 571128"/>
                <a:gd name="connsiteY50" fmla="*/ 670101 h 761503"/>
                <a:gd name="connsiteX51" fmla="*/ 120730 w 571128"/>
                <a:gd name="connsiteY51" fmla="*/ 664661 h 761503"/>
                <a:gd name="connsiteX52" fmla="*/ 131609 w 571128"/>
                <a:gd name="connsiteY52" fmla="*/ 664661 h 761503"/>
                <a:gd name="connsiteX53" fmla="*/ 134329 w 571128"/>
                <a:gd name="connsiteY53" fmla="*/ 539557 h 761503"/>
                <a:gd name="connsiteX54" fmla="*/ 134329 w 571128"/>
                <a:gd name="connsiteY54" fmla="*/ 504202 h 761503"/>
                <a:gd name="connsiteX55" fmla="*/ 131609 w 571128"/>
                <a:gd name="connsiteY55" fmla="*/ 376378 h 761503"/>
                <a:gd name="connsiteX56" fmla="*/ 131609 w 571128"/>
                <a:gd name="connsiteY56" fmla="*/ 302947 h 761503"/>
                <a:gd name="connsiteX57" fmla="*/ 134329 w 571128"/>
                <a:gd name="connsiteY57" fmla="*/ 221357 h 761503"/>
                <a:gd name="connsiteX58" fmla="*/ 137048 w 571128"/>
                <a:gd name="connsiteY58" fmla="*/ 123450 h 761503"/>
                <a:gd name="connsiteX59" fmla="*/ 107132 w 571128"/>
                <a:gd name="connsiteY59" fmla="*/ 123450 h 761503"/>
                <a:gd name="connsiteX60" fmla="*/ 88094 w 571128"/>
                <a:gd name="connsiteY60" fmla="*/ 123450 h 761503"/>
                <a:gd name="connsiteX61" fmla="*/ 69057 w 571128"/>
                <a:gd name="connsiteY61" fmla="*/ 118011 h 761503"/>
                <a:gd name="connsiteX62" fmla="*/ 58178 w 571128"/>
                <a:gd name="connsiteY62" fmla="*/ 101693 h 761503"/>
                <a:gd name="connsiteX63" fmla="*/ 60898 w 571128"/>
                <a:gd name="connsiteY63" fmla="*/ 93534 h 761503"/>
                <a:gd name="connsiteX64" fmla="*/ 77216 w 571128"/>
                <a:gd name="connsiteY64" fmla="*/ 85375 h 761503"/>
                <a:gd name="connsiteX65" fmla="*/ 131609 w 571128"/>
                <a:gd name="connsiteY65" fmla="*/ 79936 h 761503"/>
                <a:gd name="connsiteX66" fmla="*/ 161525 w 571128"/>
                <a:gd name="connsiteY66" fmla="*/ 79936 h 761503"/>
                <a:gd name="connsiteX67" fmla="*/ 177843 w 571128"/>
                <a:gd name="connsiteY67" fmla="*/ 66337 h 761503"/>
                <a:gd name="connsiteX68" fmla="*/ 202320 w 571128"/>
                <a:gd name="connsiteY68" fmla="*/ 58178 h 761503"/>
                <a:gd name="connsiteX69" fmla="*/ 234956 w 571128"/>
                <a:gd name="connsiteY69" fmla="*/ 77216 h 761503"/>
                <a:gd name="connsiteX70" fmla="*/ 251274 w 571128"/>
                <a:gd name="connsiteY70" fmla="*/ 107132 h 761503"/>
                <a:gd name="connsiteX71" fmla="*/ 267592 w 571128"/>
                <a:gd name="connsiteY71" fmla="*/ 147927 h 761503"/>
                <a:gd name="connsiteX72" fmla="*/ 281190 w 571128"/>
                <a:gd name="connsiteY72" fmla="*/ 183282 h 761503"/>
                <a:gd name="connsiteX73" fmla="*/ 297508 w 571128"/>
                <a:gd name="connsiteY73" fmla="*/ 224077 h 761503"/>
                <a:gd name="connsiteX74" fmla="*/ 308387 w 571128"/>
                <a:gd name="connsiteY74" fmla="*/ 264872 h 761503"/>
                <a:gd name="connsiteX75" fmla="*/ 319265 w 571128"/>
                <a:gd name="connsiteY75" fmla="*/ 300228 h 761503"/>
                <a:gd name="connsiteX76" fmla="*/ 351901 w 571128"/>
                <a:gd name="connsiteY76" fmla="*/ 379098 h 761503"/>
                <a:gd name="connsiteX77" fmla="*/ 365500 w 571128"/>
                <a:gd name="connsiteY77" fmla="*/ 417173 h 761503"/>
                <a:gd name="connsiteX78" fmla="*/ 379098 w 571128"/>
                <a:gd name="connsiteY78" fmla="*/ 457968 h 761503"/>
                <a:gd name="connsiteX79" fmla="*/ 395416 w 571128"/>
                <a:gd name="connsiteY79" fmla="*/ 496043 h 761503"/>
                <a:gd name="connsiteX80" fmla="*/ 406295 w 571128"/>
                <a:gd name="connsiteY80" fmla="*/ 512361 h 761503"/>
                <a:gd name="connsiteX81" fmla="*/ 411734 w 571128"/>
                <a:gd name="connsiteY81" fmla="*/ 531398 h 761503"/>
                <a:gd name="connsiteX82" fmla="*/ 419893 w 571128"/>
                <a:gd name="connsiteY82" fmla="*/ 558595 h 761503"/>
                <a:gd name="connsiteX83" fmla="*/ 425332 w 571128"/>
                <a:gd name="connsiteY83" fmla="*/ 564034 h 761503"/>
                <a:gd name="connsiteX84" fmla="*/ 430771 w 571128"/>
                <a:gd name="connsiteY84" fmla="*/ 558595 h 761503"/>
                <a:gd name="connsiteX85" fmla="*/ 430771 w 571128"/>
                <a:gd name="connsiteY85" fmla="*/ 550436 h 761503"/>
                <a:gd name="connsiteX86" fmla="*/ 430771 w 571128"/>
                <a:gd name="connsiteY86" fmla="*/ 501482 h 761503"/>
                <a:gd name="connsiteX87" fmla="*/ 430771 w 571128"/>
                <a:gd name="connsiteY87" fmla="*/ 403575 h 761503"/>
                <a:gd name="connsiteX88" fmla="*/ 425332 w 571128"/>
                <a:gd name="connsiteY88" fmla="*/ 313826 h 761503"/>
                <a:gd name="connsiteX89" fmla="*/ 425332 w 571128"/>
                <a:gd name="connsiteY89" fmla="*/ 248554 h 761503"/>
                <a:gd name="connsiteX90" fmla="*/ 425332 w 571128"/>
                <a:gd name="connsiteY90" fmla="*/ 210479 h 761503"/>
                <a:gd name="connsiteX91" fmla="*/ 422613 w 571128"/>
                <a:gd name="connsiteY91" fmla="*/ 153366 h 761503"/>
                <a:gd name="connsiteX92" fmla="*/ 425332 w 571128"/>
                <a:gd name="connsiteY92" fmla="*/ 123450 h 761503"/>
                <a:gd name="connsiteX93" fmla="*/ 398136 w 571128"/>
                <a:gd name="connsiteY93" fmla="*/ 123450 h 761503"/>
                <a:gd name="connsiteX94" fmla="*/ 379098 w 571128"/>
                <a:gd name="connsiteY94" fmla="*/ 123450 h 761503"/>
                <a:gd name="connsiteX95" fmla="*/ 360060 w 571128"/>
                <a:gd name="connsiteY95" fmla="*/ 118011 h 761503"/>
                <a:gd name="connsiteX96" fmla="*/ 349182 w 571128"/>
                <a:gd name="connsiteY96" fmla="*/ 101693 h 761503"/>
                <a:gd name="connsiteX97" fmla="*/ 351901 w 571128"/>
                <a:gd name="connsiteY97" fmla="*/ 93534 h 761503"/>
                <a:gd name="connsiteX98" fmla="*/ 368219 w 571128"/>
                <a:gd name="connsiteY98" fmla="*/ 85375 h 761503"/>
                <a:gd name="connsiteX99" fmla="*/ 422613 w 571128"/>
                <a:gd name="connsiteY99" fmla="*/ 79936 h 761503"/>
                <a:gd name="connsiteX100" fmla="*/ 444370 w 571128"/>
                <a:gd name="connsiteY100" fmla="*/ 79936 h 761503"/>
                <a:gd name="connsiteX101" fmla="*/ 463407 w 571128"/>
                <a:gd name="connsiteY101" fmla="*/ 71776 h 761503"/>
                <a:gd name="connsiteX102" fmla="*/ 477006 w 571128"/>
                <a:gd name="connsiteY102" fmla="*/ 79936 h 761503"/>
                <a:gd name="connsiteX103" fmla="*/ 512361 w 571128"/>
                <a:gd name="connsiteY103" fmla="*/ 79936 h 761503"/>
                <a:gd name="connsiteX104" fmla="*/ 512361 w 571128"/>
                <a:gd name="connsiteY104" fmla="*/ 79936 h 761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</a:cxnLst>
              <a:rect l="l" t="t" r="r" b="b"/>
              <a:pathLst>
                <a:path w="571128" h="761503">
                  <a:moveTo>
                    <a:pt x="512361" y="79936"/>
                  </a:moveTo>
                  <a:cubicBezTo>
                    <a:pt x="520520" y="79936"/>
                    <a:pt x="539558" y="79936"/>
                    <a:pt x="539558" y="96253"/>
                  </a:cubicBezTo>
                  <a:cubicBezTo>
                    <a:pt x="539558" y="104412"/>
                    <a:pt x="539558" y="107132"/>
                    <a:pt x="534118" y="112571"/>
                  </a:cubicBezTo>
                  <a:cubicBezTo>
                    <a:pt x="531399" y="118011"/>
                    <a:pt x="525960" y="120730"/>
                    <a:pt x="523240" y="120730"/>
                  </a:cubicBezTo>
                  <a:cubicBezTo>
                    <a:pt x="515081" y="123450"/>
                    <a:pt x="512361" y="123450"/>
                    <a:pt x="506922" y="123450"/>
                  </a:cubicBezTo>
                  <a:cubicBezTo>
                    <a:pt x="504202" y="123450"/>
                    <a:pt x="490604" y="123450"/>
                    <a:pt x="477006" y="123450"/>
                  </a:cubicBezTo>
                  <a:cubicBezTo>
                    <a:pt x="477006" y="131609"/>
                    <a:pt x="479725" y="137048"/>
                    <a:pt x="479725" y="145207"/>
                  </a:cubicBezTo>
                  <a:cubicBezTo>
                    <a:pt x="479725" y="156086"/>
                    <a:pt x="477006" y="166964"/>
                    <a:pt x="477006" y="180563"/>
                  </a:cubicBezTo>
                  <a:cubicBezTo>
                    <a:pt x="477006" y="196881"/>
                    <a:pt x="479725" y="215918"/>
                    <a:pt x="482445" y="232236"/>
                  </a:cubicBezTo>
                  <a:cubicBezTo>
                    <a:pt x="485165" y="248554"/>
                    <a:pt x="485165" y="267592"/>
                    <a:pt x="485165" y="283910"/>
                  </a:cubicBezTo>
                  <a:cubicBezTo>
                    <a:pt x="485165" y="297508"/>
                    <a:pt x="485165" y="313826"/>
                    <a:pt x="485165" y="327424"/>
                  </a:cubicBezTo>
                  <a:cubicBezTo>
                    <a:pt x="485165" y="343742"/>
                    <a:pt x="487884" y="357340"/>
                    <a:pt x="487884" y="373658"/>
                  </a:cubicBezTo>
                  <a:cubicBezTo>
                    <a:pt x="487884" y="389976"/>
                    <a:pt x="485165" y="403575"/>
                    <a:pt x="485165" y="419892"/>
                  </a:cubicBezTo>
                  <a:cubicBezTo>
                    <a:pt x="485165" y="436210"/>
                    <a:pt x="485165" y="449809"/>
                    <a:pt x="485165" y="463407"/>
                  </a:cubicBezTo>
                  <a:cubicBezTo>
                    <a:pt x="485165" y="479725"/>
                    <a:pt x="485165" y="498762"/>
                    <a:pt x="482445" y="515080"/>
                  </a:cubicBezTo>
                  <a:cubicBezTo>
                    <a:pt x="482445" y="528679"/>
                    <a:pt x="482445" y="542277"/>
                    <a:pt x="482445" y="558595"/>
                  </a:cubicBezTo>
                  <a:cubicBezTo>
                    <a:pt x="482445" y="572193"/>
                    <a:pt x="479725" y="588511"/>
                    <a:pt x="479725" y="602109"/>
                  </a:cubicBezTo>
                  <a:cubicBezTo>
                    <a:pt x="479725" y="615708"/>
                    <a:pt x="485165" y="632026"/>
                    <a:pt x="485165" y="648343"/>
                  </a:cubicBezTo>
                  <a:cubicBezTo>
                    <a:pt x="485165" y="659222"/>
                    <a:pt x="482445" y="670101"/>
                    <a:pt x="474286" y="675540"/>
                  </a:cubicBezTo>
                  <a:cubicBezTo>
                    <a:pt x="460688" y="686419"/>
                    <a:pt x="444370" y="691858"/>
                    <a:pt x="428052" y="691858"/>
                  </a:cubicBezTo>
                  <a:cubicBezTo>
                    <a:pt x="414454" y="691858"/>
                    <a:pt x="400855" y="689138"/>
                    <a:pt x="387257" y="683699"/>
                  </a:cubicBezTo>
                  <a:cubicBezTo>
                    <a:pt x="373659" y="678260"/>
                    <a:pt x="360060" y="672820"/>
                    <a:pt x="351901" y="664661"/>
                  </a:cubicBezTo>
                  <a:cubicBezTo>
                    <a:pt x="330144" y="645624"/>
                    <a:pt x="316546" y="621147"/>
                    <a:pt x="305667" y="596670"/>
                  </a:cubicBezTo>
                  <a:cubicBezTo>
                    <a:pt x="292069" y="569473"/>
                    <a:pt x="281190" y="539557"/>
                    <a:pt x="270312" y="509641"/>
                  </a:cubicBezTo>
                  <a:cubicBezTo>
                    <a:pt x="264872" y="493323"/>
                    <a:pt x="256713" y="477005"/>
                    <a:pt x="251274" y="460687"/>
                  </a:cubicBezTo>
                  <a:cubicBezTo>
                    <a:pt x="240395" y="433491"/>
                    <a:pt x="232236" y="409014"/>
                    <a:pt x="224077" y="381817"/>
                  </a:cubicBezTo>
                  <a:cubicBezTo>
                    <a:pt x="218638" y="365499"/>
                    <a:pt x="213199" y="346462"/>
                    <a:pt x="207759" y="330144"/>
                  </a:cubicBezTo>
                  <a:cubicBezTo>
                    <a:pt x="202320" y="316545"/>
                    <a:pt x="196881" y="300228"/>
                    <a:pt x="191442" y="286629"/>
                  </a:cubicBezTo>
                  <a:cubicBezTo>
                    <a:pt x="188722" y="281190"/>
                    <a:pt x="186002" y="278470"/>
                    <a:pt x="183283" y="278470"/>
                  </a:cubicBezTo>
                  <a:cubicBezTo>
                    <a:pt x="180563" y="278470"/>
                    <a:pt x="180563" y="286629"/>
                    <a:pt x="180563" y="292069"/>
                  </a:cubicBezTo>
                  <a:cubicBezTo>
                    <a:pt x="180563" y="297508"/>
                    <a:pt x="180563" y="302947"/>
                    <a:pt x="180563" y="305667"/>
                  </a:cubicBezTo>
                  <a:cubicBezTo>
                    <a:pt x="180563" y="321985"/>
                    <a:pt x="183283" y="338303"/>
                    <a:pt x="183283" y="354621"/>
                  </a:cubicBezTo>
                  <a:cubicBezTo>
                    <a:pt x="183283" y="387257"/>
                    <a:pt x="186002" y="417173"/>
                    <a:pt x="188722" y="449809"/>
                  </a:cubicBezTo>
                  <a:cubicBezTo>
                    <a:pt x="188722" y="460687"/>
                    <a:pt x="188722" y="468846"/>
                    <a:pt x="188722" y="479725"/>
                  </a:cubicBezTo>
                  <a:cubicBezTo>
                    <a:pt x="188722" y="501482"/>
                    <a:pt x="188722" y="523239"/>
                    <a:pt x="188722" y="542277"/>
                  </a:cubicBezTo>
                  <a:cubicBezTo>
                    <a:pt x="188722" y="566754"/>
                    <a:pt x="186002" y="591231"/>
                    <a:pt x="186002" y="615708"/>
                  </a:cubicBezTo>
                  <a:cubicBezTo>
                    <a:pt x="186002" y="623867"/>
                    <a:pt x="186002" y="632026"/>
                    <a:pt x="186002" y="637465"/>
                  </a:cubicBezTo>
                  <a:cubicBezTo>
                    <a:pt x="186002" y="645624"/>
                    <a:pt x="183283" y="656502"/>
                    <a:pt x="183283" y="664661"/>
                  </a:cubicBezTo>
                  <a:cubicBezTo>
                    <a:pt x="202320" y="664661"/>
                    <a:pt x="218638" y="664661"/>
                    <a:pt x="226797" y="664661"/>
                  </a:cubicBezTo>
                  <a:cubicBezTo>
                    <a:pt x="234956" y="664661"/>
                    <a:pt x="253994" y="664661"/>
                    <a:pt x="253994" y="680979"/>
                  </a:cubicBezTo>
                  <a:cubicBezTo>
                    <a:pt x="253994" y="689138"/>
                    <a:pt x="253994" y="691858"/>
                    <a:pt x="248554" y="697297"/>
                  </a:cubicBezTo>
                  <a:cubicBezTo>
                    <a:pt x="245835" y="702737"/>
                    <a:pt x="240395" y="705456"/>
                    <a:pt x="234956" y="705456"/>
                  </a:cubicBezTo>
                  <a:cubicBezTo>
                    <a:pt x="226797" y="708176"/>
                    <a:pt x="224077" y="708176"/>
                    <a:pt x="218638" y="708176"/>
                  </a:cubicBezTo>
                  <a:cubicBezTo>
                    <a:pt x="215918" y="708176"/>
                    <a:pt x="199600" y="708176"/>
                    <a:pt x="183283" y="708176"/>
                  </a:cubicBezTo>
                  <a:cubicBezTo>
                    <a:pt x="166965" y="708176"/>
                    <a:pt x="153366" y="708176"/>
                    <a:pt x="150647" y="708176"/>
                  </a:cubicBezTo>
                  <a:cubicBezTo>
                    <a:pt x="139768" y="708176"/>
                    <a:pt x="120730" y="708176"/>
                    <a:pt x="107132" y="708176"/>
                  </a:cubicBezTo>
                  <a:cubicBezTo>
                    <a:pt x="101693" y="708176"/>
                    <a:pt x="96253" y="708176"/>
                    <a:pt x="88094" y="708176"/>
                  </a:cubicBezTo>
                  <a:cubicBezTo>
                    <a:pt x="82655" y="708176"/>
                    <a:pt x="74496" y="708176"/>
                    <a:pt x="69057" y="702737"/>
                  </a:cubicBezTo>
                  <a:cubicBezTo>
                    <a:pt x="63618" y="700017"/>
                    <a:pt x="58178" y="691858"/>
                    <a:pt x="58178" y="686419"/>
                  </a:cubicBezTo>
                  <a:cubicBezTo>
                    <a:pt x="58178" y="683699"/>
                    <a:pt x="58178" y="680979"/>
                    <a:pt x="60898" y="678260"/>
                  </a:cubicBezTo>
                  <a:cubicBezTo>
                    <a:pt x="63618" y="675540"/>
                    <a:pt x="71777" y="672820"/>
                    <a:pt x="77216" y="670101"/>
                  </a:cubicBezTo>
                  <a:cubicBezTo>
                    <a:pt x="90814" y="667381"/>
                    <a:pt x="115291" y="664661"/>
                    <a:pt x="120730" y="664661"/>
                  </a:cubicBezTo>
                  <a:cubicBezTo>
                    <a:pt x="123450" y="664661"/>
                    <a:pt x="126170" y="664661"/>
                    <a:pt x="131609" y="664661"/>
                  </a:cubicBezTo>
                  <a:cubicBezTo>
                    <a:pt x="131609" y="623867"/>
                    <a:pt x="134329" y="583072"/>
                    <a:pt x="134329" y="539557"/>
                  </a:cubicBezTo>
                  <a:cubicBezTo>
                    <a:pt x="134329" y="528679"/>
                    <a:pt x="134329" y="515080"/>
                    <a:pt x="134329" y="504202"/>
                  </a:cubicBezTo>
                  <a:cubicBezTo>
                    <a:pt x="131609" y="460687"/>
                    <a:pt x="131609" y="417173"/>
                    <a:pt x="131609" y="376378"/>
                  </a:cubicBezTo>
                  <a:cubicBezTo>
                    <a:pt x="131609" y="351901"/>
                    <a:pt x="131609" y="327424"/>
                    <a:pt x="131609" y="302947"/>
                  </a:cubicBezTo>
                  <a:cubicBezTo>
                    <a:pt x="131609" y="275751"/>
                    <a:pt x="131609" y="248554"/>
                    <a:pt x="134329" y="221357"/>
                  </a:cubicBezTo>
                  <a:cubicBezTo>
                    <a:pt x="134329" y="188722"/>
                    <a:pt x="137048" y="156086"/>
                    <a:pt x="137048" y="123450"/>
                  </a:cubicBezTo>
                  <a:cubicBezTo>
                    <a:pt x="126170" y="123450"/>
                    <a:pt x="115291" y="123450"/>
                    <a:pt x="107132" y="123450"/>
                  </a:cubicBezTo>
                  <a:cubicBezTo>
                    <a:pt x="101693" y="123450"/>
                    <a:pt x="96253" y="123450"/>
                    <a:pt x="88094" y="123450"/>
                  </a:cubicBezTo>
                  <a:cubicBezTo>
                    <a:pt x="82655" y="123450"/>
                    <a:pt x="74496" y="120730"/>
                    <a:pt x="69057" y="118011"/>
                  </a:cubicBezTo>
                  <a:cubicBezTo>
                    <a:pt x="63618" y="115291"/>
                    <a:pt x="58178" y="107132"/>
                    <a:pt x="58178" y="101693"/>
                  </a:cubicBezTo>
                  <a:cubicBezTo>
                    <a:pt x="58178" y="98973"/>
                    <a:pt x="58178" y="96253"/>
                    <a:pt x="60898" y="93534"/>
                  </a:cubicBezTo>
                  <a:cubicBezTo>
                    <a:pt x="63618" y="90814"/>
                    <a:pt x="71777" y="88095"/>
                    <a:pt x="77216" y="85375"/>
                  </a:cubicBezTo>
                  <a:cubicBezTo>
                    <a:pt x="90814" y="82655"/>
                    <a:pt x="126170" y="79936"/>
                    <a:pt x="131609" y="79936"/>
                  </a:cubicBezTo>
                  <a:cubicBezTo>
                    <a:pt x="137048" y="79936"/>
                    <a:pt x="147927" y="79936"/>
                    <a:pt x="161525" y="79936"/>
                  </a:cubicBezTo>
                  <a:cubicBezTo>
                    <a:pt x="166965" y="74496"/>
                    <a:pt x="172404" y="71776"/>
                    <a:pt x="177843" y="66337"/>
                  </a:cubicBezTo>
                  <a:cubicBezTo>
                    <a:pt x="186002" y="60898"/>
                    <a:pt x="194161" y="58178"/>
                    <a:pt x="202320" y="58178"/>
                  </a:cubicBezTo>
                  <a:cubicBezTo>
                    <a:pt x="215918" y="58178"/>
                    <a:pt x="226797" y="63618"/>
                    <a:pt x="234956" y="77216"/>
                  </a:cubicBezTo>
                  <a:cubicBezTo>
                    <a:pt x="240395" y="88095"/>
                    <a:pt x="248554" y="96253"/>
                    <a:pt x="251274" y="107132"/>
                  </a:cubicBezTo>
                  <a:cubicBezTo>
                    <a:pt x="256713" y="120730"/>
                    <a:pt x="259433" y="134329"/>
                    <a:pt x="267592" y="147927"/>
                  </a:cubicBezTo>
                  <a:cubicBezTo>
                    <a:pt x="273031" y="158806"/>
                    <a:pt x="275751" y="172404"/>
                    <a:pt x="281190" y="183282"/>
                  </a:cubicBezTo>
                  <a:cubicBezTo>
                    <a:pt x="286630" y="196881"/>
                    <a:pt x="292069" y="210479"/>
                    <a:pt x="297508" y="224077"/>
                  </a:cubicBezTo>
                  <a:cubicBezTo>
                    <a:pt x="300228" y="237676"/>
                    <a:pt x="305667" y="251274"/>
                    <a:pt x="308387" y="264872"/>
                  </a:cubicBezTo>
                  <a:cubicBezTo>
                    <a:pt x="311107" y="278470"/>
                    <a:pt x="311107" y="289349"/>
                    <a:pt x="319265" y="300228"/>
                  </a:cubicBezTo>
                  <a:cubicBezTo>
                    <a:pt x="332864" y="324704"/>
                    <a:pt x="346462" y="351901"/>
                    <a:pt x="351901" y="379098"/>
                  </a:cubicBezTo>
                  <a:cubicBezTo>
                    <a:pt x="354621" y="392696"/>
                    <a:pt x="360060" y="403575"/>
                    <a:pt x="365500" y="417173"/>
                  </a:cubicBezTo>
                  <a:cubicBezTo>
                    <a:pt x="373659" y="430771"/>
                    <a:pt x="373659" y="444369"/>
                    <a:pt x="379098" y="457968"/>
                  </a:cubicBezTo>
                  <a:cubicBezTo>
                    <a:pt x="381818" y="471566"/>
                    <a:pt x="387257" y="482445"/>
                    <a:pt x="395416" y="496043"/>
                  </a:cubicBezTo>
                  <a:cubicBezTo>
                    <a:pt x="398136" y="501482"/>
                    <a:pt x="403575" y="506921"/>
                    <a:pt x="406295" y="512361"/>
                  </a:cubicBezTo>
                  <a:cubicBezTo>
                    <a:pt x="409014" y="517800"/>
                    <a:pt x="409014" y="525959"/>
                    <a:pt x="411734" y="531398"/>
                  </a:cubicBezTo>
                  <a:cubicBezTo>
                    <a:pt x="414454" y="539557"/>
                    <a:pt x="417173" y="550436"/>
                    <a:pt x="419893" y="558595"/>
                  </a:cubicBezTo>
                  <a:cubicBezTo>
                    <a:pt x="422613" y="561314"/>
                    <a:pt x="422613" y="564034"/>
                    <a:pt x="425332" y="564034"/>
                  </a:cubicBezTo>
                  <a:cubicBezTo>
                    <a:pt x="428052" y="564034"/>
                    <a:pt x="428052" y="561314"/>
                    <a:pt x="430771" y="558595"/>
                  </a:cubicBezTo>
                  <a:cubicBezTo>
                    <a:pt x="430771" y="555875"/>
                    <a:pt x="430771" y="553156"/>
                    <a:pt x="430771" y="550436"/>
                  </a:cubicBezTo>
                  <a:cubicBezTo>
                    <a:pt x="430771" y="534118"/>
                    <a:pt x="430771" y="517800"/>
                    <a:pt x="430771" y="501482"/>
                  </a:cubicBezTo>
                  <a:cubicBezTo>
                    <a:pt x="430771" y="468846"/>
                    <a:pt x="433491" y="436210"/>
                    <a:pt x="430771" y="403575"/>
                  </a:cubicBezTo>
                  <a:cubicBezTo>
                    <a:pt x="430771" y="373658"/>
                    <a:pt x="425332" y="343742"/>
                    <a:pt x="425332" y="313826"/>
                  </a:cubicBezTo>
                  <a:cubicBezTo>
                    <a:pt x="425332" y="292069"/>
                    <a:pt x="425332" y="270311"/>
                    <a:pt x="425332" y="248554"/>
                  </a:cubicBezTo>
                  <a:cubicBezTo>
                    <a:pt x="425332" y="234956"/>
                    <a:pt x="425332" y="224077"/>
                    <a:pt x="425332" y="210479"/>
                  </a:cubicBezTo>
                  <a:cubicBezTo>
                    <a:pt x="425332" y="191441"/>
                    <a:pt x="422613" y="172404"/>
                    <a:pt x="422613" y="153366"/>
                  </a:cubicBezTo>
                  <a:cubicBezTo>
                    <a:pt x="422613" y="142488"/>
                    <a:pt x="422613" y="134329"/>
                    <a:pt x="425332" y="123450"/>
                  </a:cubicBezTo>
                  <a:cubicBezTo>
                    <a:pt x="417173" y="123450"/>
                    <a:pt x="406295" y="123450"/>
                    <a:pt x="398136" y="123450"/>
                  </a:cubicBezTo>
                  <a:cubicBezTo>
                    <a:pt x="392696" y="123450"/>
                    <a:pt x="387257" y="123450"/>
                    <a:pt x="379098" y="123450"/>
                  </a:cubicBezTo>
                  <a:cubicBezTo>
                    <a:pt x="373659" y="123450"/>
                    <a:pt x="365500" y="120730"/>
                    <a:pt x="360060" y="118011"/>
                  </a:cubicBezTo>
                  <a:cubicBezTo>
                    <a:pt x="354621" y="115291"/>
                    <a:pt x="349182" y="107132"/>
                    <a:pt x="349182" y="101693"/>
                  </a:cubicBezTo>
                  <a:cubicBezTo>
                    <a:pt x="349182" y="98973"/>
                    <a:pt x="349182" y="96253"/>
                    <a:pt x="351901" y="93534"/>
                  </a:cubicBezTo>
                  <a:cubicBezTo>
                    <a:pt x="354621" y="90814"/>
                    <a:pt x="362780" y="88095"/>
                    <a:pt x="368219" y="85375"/>
                  </a:cubicBezTo>
                  <a:cubicBezTo>
                    <a:pt x="381818" y="82655"/>
                    <a:pt x="417173" y="79936"/>
                    <a:pt x="422613" y="79936"/>
                  </a:cubicBezTo>
                  <a:cubicBezTo>
                    <a:pt x="428052" y="79936"/>
                    <a:pt x="433491" y="79936"/>
                    <a:pt x="444370" y="79936"/>
                  </a:cubicBezTo>
                  <a:cubicBezTo>
                    <a:pt x="449809" y="74496"/>
                    <a:pt x="455248" y="71776"/>
                    <a:pt x="463407" y="71776"/>
                  </a:cubicBezTo>
                  <a:cubicBezTo>
                    <a:pt x="471566" y="71776"/>
                    <a:pt x="477006" y="74496"/>
                    <a:pt x="477006" y="79936"/>
                  </a:cubicBezTo>
                  <a:cubicBezTo>
                    <a:pt x="490604" y="82655"/>
                    <a:pt x="504202" y="79936"/>
                    <a:pt x="512361" y="79936"/>
                  </a:cubicBezTo>
                  <a:lnTo>
                    <a:pt x="512361" y="79936"/>
                  </a:ln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/>
            </a:p>
          </p:txBody>
        </p:sp>
        <p:sp>
          <p:nvSpPr>
            <p:cNvPr id="36" name="Freeform: Shape 35">
              <a:extLst>
                <a:ext uri="{FF2B5EF4-FFF2-40B4-BE49-F238E27FC236}">
                  <a16:creationId xmlns:a16="http://schemas.microsoft.com/office/drawing/2014/main" id="{397BA53C-5927-4890-95E0-16501B2A2A63}"/>
                </a:ext>
              </a:extLst>
            </p:cNvPr>
            <p:cNvSpPr/>
            <p:nvPr/>
          </p:nvSpPr>
          <p:spPr>
            <a:xfrm>
              <a:off x="2987430" y="4242177"/>
              <a:ext cx="494979" cy="674476"/>
            </a:xfrm>
            <a:custGeom>
              <a:avLst/>
              <a:gdLst>
                <a:gd name="connsiteX0" fmla="*/ 228453 w 494979"/>
                <a:gd name="connsiteY0" fmla="*/ 97907 h 674476"/>
                <a:gd name="connsiteX1" fmla="*/ 212135 w 494979"/>
                <a:gd name="connsiteY1" fmla="*/ 119665 h 674476"/>
                <a:gd name="connsiteX2" fmla="*/ 203976 w 494979"/>
                <a:gd name="connsiteY2" fmla="*/ 152300 h 674476"/>
                <a:gd name="connsiteX3" fmla="*/ 201256 w 494979"/>
                <a:gd name="connsiteY3" fmla="*/ 168618 h 674476"/>
                <a:gd name="connsiteX4" fmla="*/ 198537 w 494979"/>
                <a:gd name="connsiteY4" fmla="*/ 184936 h 674476"/>
                <a:gd name="connsiteX5" fmla="*/ 190378 w 494979"/>
                <a:gd name="connsiteY5" fmla="*/ 220292 h 674476"/>
                <a:gd name="connsiteX6" fmla="*/ 171340 w 494979"/>
                <a:gd name="connsiteY6" fmla="*/ 291003 h 674476"/>
                <a:gd name="connsiteX7" fmla="*/ 163180 w 494979"/>
                <a:gd name="connsiteY7" fmla="*/ 323639 h 674476"/>
                <a:gd name="connsiteX8" fmla="*/ 152302 w 494979"/>
                <a:gd name="connsiteY8" fmla="*/ 361714 h 674476"/>
                <a:gd name="connsiteX9" fmla="*/ 146862 w 494979"/>
                <a:gd name="connsiteY9" fmla="*/ 388910 h 674476"/>
                <a:gd name="connsiteX10" fmla="*/ 152302 w 494979"/>
                <a:gd name="connsiteY10" fmla="*/ 391630 h 674476"/>
                <a:gd name="connsiteX11" fmla="*/ 174060 w 494979"/>
                <a:gd name="connsiteY11" fmla="*/ 391630 h 674476"/>
                <a:gd name="connsiteX12" fmla="*/ 195817 w 494979"/>
                <a:gd name="connsiteY12" fmla="*/ 388910 h 674476"/>
                <a:gd name="connsiteX13" fmla="*/ 214855 w 494979"/>
                <a:gd name="connsiteY13" fmla="*/ 388910 h 674476"/>
                <a:gd name="connsiteX14" fmla="*/ 239332 w 494979"/>
                <a:gd name="connsiteY14" fmla="*/ 388910 h 674476"/>
                <a:gd name="connsiteX15" fmla="*/ 252930 w 494979"/>
                <a:gd name="connsiteY15" fmla="*/ 386191 h 674476"/>
                <a:gd name="connsiteX16" fmla="*/ 261089 w 494979"/>
                <a:gd name="connsiteY16" fmla="*/ 386191 h 674476"/>
                <a:gd name="connsiteX17" fmla="*/ 258369 w 494979"/>
                <a:gd name="connsiteY17" fmla="*/ 367153 h 674476"/>
                <a:gd name="connsiteX18" fmla="*/ 252930 w 494979"/>
                <a:gd name="connsiteY18" fmla="*/ 331797 h 674476"/>
                <a:gd name="connsiteX19" fmla="*/ 250210 w 494979"/>
                <a:gd name="connsiteY19" fmla="*/ 244769 h 674476"/>
                <a:gd name="connsiteX20" fmla="*/ 244771 w 494979"/>
                <a:gd name="connsiteY20" fmla="*/ 203974 h 674476"/>
                <a:gd name="connsiteX21" fmla="*/ 239332 w 494979"/>
                <a:gd name="connsiteY21" fmla="*/ 157740 h 674476"/>
                <a:gd name="connsiteX22" fmla="*/ 236612 w 494979"/>
                <a:gd name="connsiteY22" fmla="*/ 119665 h 674476"/>
                <a:gd name="connsiteX23" fmla="*/ 228453 w 494979"/>
                <a:gd name="connsiteY23" fmla="*/ 97907 h 674476"/>
                <a:gd name="connsiteX24" fmla="*/ 274687 w 494979"/>
                <a:gd name="connsiteY24" fmla="*/ 0 h 674476"/>
                <a:gd name="connsiteX25" fmla="*/ 304603 w 494979"/>
                <a:gd name="connsiteY25" fmla="*/ 5439 h 674476"/>
                <a:gd name="connsiteX26" fmla="*/ 320921 w 494979"/>
                <a:gd name="connsiteY26" fmla="*/ 24477 h 674476"/>
                <a:gd name="connsiteX27" fmla="*/ 334519 w 494979"/>
                <a:gd name="connsiteY27" fmla="*/ 43515 h 674476"/>
                <a:gd name="connsiteX28" fmla="*/ 339959 w 494979"/>
                <a:gd name="connsiteY28" fmla="*/ 65272 h 674476"/>
                <a:gd name="connsiteX29" fmla="*/ 348118 w 494979"/>
                <a:gd name="connsiteY29" fmla="*/ 114226 h 674476"/>
                <a:gd name="connsiteX30" fmla="*/ 361716 w 494979"/>
                <a:gd name="connsiteY30" fmla="*/ 163180 h 674476"/>
                <a:gd name="connsiteX31" fmla="*/ 369875 w 494979"/>
                <a:gd name="connsiteY31" fmla="*/ 220293 h 674476"/>
                <a:gd name="connsiteX32" fmla="*/ 378034 w 494979"/>
                <a:gd name="connsiteY32" fmla="*/ 274686 h 674476"/>
                <a:gd name="connsiteX33" fmla="*/ 383473 w 494979"/>
                <a:gd name="connsiteY33" fmla="*/ 301883 h 674476"/>
                <a:gd name="connsiteX34" fmla="*/ 391632 w 494979"/>
                <a:gd name="connsiteY34" fmla="*/ 337238 h 674476"/>
                <a:gd name="connsiteX35" fmla="*/ 397071 w 494979"/>
                <a:gd name="connsiteY35" fmla="*/ 364435 h 674476"/>
                <a:gd name="connsiteX36" fmla="*/ 405230 w 494979"/>
                <a:gd name="connsiteY36" fmla="*/ 383473 h 674476"/>
                <a:gd name="connsiteX37" fmla="*/ 416109 w 494979"/>
                <a:gd name="connsiteY37" fmla="*/ 386192 h 674476"/>
                <a:gd name="connsiteX38" fmla="*/ 426988 w 494979"/>
                <a:gd name="connsiteY38" fmla="*/ 386192 h 674476"/>
                <a:gd name="connsiteX39" fmla="*/ 454184 w 494979"/>
                <a:gd name="connsiteY39" fmla="*/ 397071 h 674476"/>
                <a:gd name="connsiteX40" fmla="*/ 456904 w 494979"/>
                <a:gd name="connsiteY40" fmla="*/ 405230 h 674476"/>
                <a:gd name="connsiteX41" fmla="*/ 451465 w 494979"/>
                <a:gd name="connsiteY41" fmla="*/ 416108 h 674476"/>
                <a:gd name="connsiteX42" fmla="*/ 432427 w 494979"/>
                <a:gd name="connsiteY42" fmla="*/ 429707 h 674476"/>
                <a:gd name="connsiteX43" fmla="*/ 421548 w 494979"/>
                <a:gd name="connsiteY43" fmla="*/ 432426 h 674476"/>
                <a:gd name="connsiteX44" fmla="*/ 413389 w 494979"/>
                <a:gd name="connsiteY44" fmla="*/ 435146 h 674476"/>
                <a:gd name="connsiteX45" fmla="*/ 413389 w 494979"/>
                <a:gd name="connsiteY45" fmla="*/ 440585 h 674476"/>
                <a:gd name="connsiteX46" fmla="*/ 416109 w 494979"/>
                <a:gd name="connsiteY46" fmla="*/ 451464 h 674476"/>
                <a:gd name="connsiteX47" fmla="*/ 418829 w 494979"/>
                <a:gd name="connsiteY47" fmla="*/ 465062 h 674476"/>
                <a:gd name="connsiteX48" fmla="*/ 418829 w 494979"/>
                <a:gd name="connsiteY48" fmla="*/ 475941 h 674476"/>
                <a:gd name="connsiteX49" fmla="*/ 418829 w 494979"/>
                <a:gd name="connsiteY49" fmla="*/ 486820 h 674476"/>
                <a:gd name="connsiteX50" fmla="*/ 426988 w 494979"/>
                <a:gd name="connsiteY50" fmla="*/ 516736 h 674476"/>
                <a:gd name="connsiteX51" fmla="*/ 432427 w 494979"/>
                <a:gd name="connsiteY51" fmla="*/ 543932 h 674476"/>
                <a:gd name="connsiteX52" fmla="*/ 437866 w 494979"/>
                <a:gd name="connsiteY52" fmla="*/ 573848 h 674476"/>
                <a:gd name="connsiteX53" fmla="*/ 443306 w 494979"/>
                <a:gd name="connsiteY53" fmla="*/ 606484 h 674476"/>
                <a:gd name="connsiteX54" fmla="*/ 446025 w 494979"/>
                <a:gd name="connsiteY54" fmla="*/ 617363 h 674476"/>
                <a:gd name="connsiteX55" fmla="*/ 470502 w 494979"/>
                <a:gd name="connsiteY55" fmla="*/ 617363 h 674476"/>
                <a:gd name="connsiteX56" fmla="*/ 494979 w 494979"/>
                <a:gd name="connsiteY56" fmla="*/ 641840 h 674476"/>
                <a:gd name="connsiteX57" fmla="*/ 486820 w 494979"/>
                <a:gd name="connsiteY57" fmla="*/ 655438 h 674476"/>
                <a:gd name="connsiteX58" fmla="*/ 470502 w 494979"/>
                <a:gd name="connsiteY58" fmla="*/ 663597 h 674476"/>
                <a:gd name="connsiteX59" fmla="*/ 446025 w 494979"/>
                <a:gd name="connsiteY59" fmla="*/ 666317 h 674476"/>
                <a:gd name="connsiteX60" fmla="*/ 424268 w 494979"/>
                <a:gd name="connsiteY60" fmla="*/ 666317 h 674476"/>
                <a:gd name="connsiteX61" fmla="*/ 416109 w 494979"/>
                <a:gd name="connsiteY61" fmla="*/ 666317 h 674476"/>
                <a:gd name="connsiteX62" fmla="*/ 402511 w 494979"/>
                <a:gd name="connsiteY62" fmla="*/ 671756 h 674476"/>
                <a:gd name="connsiteX63" fmla="*/ 386193 w 494979"/>
                <a:gd name="connsiteY63" fmla="*/ 674476 h 674476"/>
                <a:gd name="connsiteX64" fmla="*/ 350837 w 494979"/>
                <a:gd name="connsiteY64" fmla="*/ 669036 h 674476"/>
                <a:gd name="connsiteX65" fmla="*/ 329080 w 494979"/>
                <a:gd name="connsiteY65" fmla="*/ 669036 h 674476"/>
                <a:gd name="connsiteX66" fmla="*/ 280126 w 494979"/>
                <a:gd name="connsiteY66" fmla="*/ 669036 h 674476"/>
                <a:gd name="connsiteX67" fmla="*/ 255649 w 494979"/>
                <a:gd name="connsiteY67" fmla="*/ 663597 h 674476"/>
                <a:gd name="connsiteX68" fmla="*/ 239331 w 494979"/>
                <a:gd name="connsiteY68" fmla="*/ 647279 h 674476"/>
                <a:gd name="connsiteX69" fmla="*/ 263808 w 494979"/>
                <a:gd name="connsiteY69" fmla="*/ 630961 h 674476"/>
                <a:gd name="connsiteX70" fmla="*/ 291005 w 494979"/>
                <a:gd name="connsiteY70" fmla="*/ 628241 h 674476"/>
                <a:gd name="connsiteX71" fmla="*/ 288285 w 494979"/>
                <a:gd name="connsiteY71" fmla="*/ 609204 h 674476"/>
                <a:gd name="connsiteX72" fmla="*/ 285565 w 494979"/>
                <a:gd name="connsiteY72" fmla="*/ 582007 h 674476"/>
                <a:gd name="connsiteX73" fmla="*/ 282846 w 494979"/>
                <a:gd name="connsiteY73" fmla="*/ 568409 h 674476"/>
                <a:gd name="connsiteX74" fmla="*/ 285565 w 494979"/>
                <a:gd name="connsiteY74" fmla="*/ 554811 h 674476"/>
                <a:gd name="connsiteX75" fmla="*/ 280126 w 494979"/>
                <a:gd name="connsiteY75" fmla="*/ 538493 h 674476"/>
                <a:gd name="connsiteX76" fmla="*/ 274687 w 494979"/>
                <a:gd name="connsiteY76" fmla="*/ 505857 h 674476"/>
                <a:gd name="connsiteX77" fmla="*/ 271967 w 494979"/>
                <a:gd name="connsiteY77" fmla="*/ 478660 h 674476"/>
                <a:gd name="connsiteX78" fmla="*/ 269247 w 494979"/>
                <a:gd name="connsiteY78" fmla="*/ 446025 h 674476"/>
                <a:gd name="connsiteX79" fmla="*/ 263808 w 494979"/>
                <a:gd name="connsiteY79" fmla="*/ 437866 h 674476"/>
                <a:gd name="connsiteX80" fmla="*/ 252929 w 494979"/>
                <a:gd name="connsiteY80" fmla="*/ 437866 h 674476"/>
                <a:gd name="connsiteX81" fmla="*/ 223013 w 494979"/>
                <a:gd name="connsiteY81" fmla="*/ 440585 h 674476"/>
                <a:gd name="connsiteX82" fmla="*/ 193097 w 494979"/>
                <a:gd name="connsiteY82" fmla="*/ 443305 h 674476"/>
                <a:gd name="connsiteX83" fmla="*/ 168620 w 494979"/>
                <a:gd name="connsiteY83" fmla="*/ 443305 h 674476"/>
                <a:gd name="connsiteX84" fmla="*/ 146862 w 494979"/>
                <a:gd name="connsiteY84" fmla="*/ 440585 h 674476"/>
                <a:gd name="connsiteX85" fmla="*/ 138703 w 494979"/>
                <a:gd name="connsiteY85" fmla="*/ 454184 h 674476"/>
                <a:gd name="connsiteX86" fmla="*/ 133263 w 494979"/>
                <a:gd name="connsiteY86" fmla="*/ 486820 h 674476"/>
                <a:gd name="connsiteX87" fmla="*/ 122385 w 494979"/>
                <a:gd name="connsiteY87" fmla="*/ 541213 h 674476"/>
                <a:gd name="connsiteX88" fmla="*/ 106067 w 494979"/>
                <a:gd name="connsiteY88" fmla="*/ 614643 h 674476"/>
                <a:gd name="connsiteX89" fmla="*/ 135983 w 494979"/>
                <a:gd name="connsiteY89" fmla="*/ 614643 h 674476"/>
                <a:gd name="connsiteX90" fmla="*/ 171340 w 494979"/>
                <a:gd name="connsiteY90" fmla="*/ 630961 h 674476"/>
                <a:gd name="connsiteX91" fmla="*/ 165900 w 494979"/>
                <a:gd name="connsiteY91" fmla="*/ 647279 h 674476"/>
                <a:gd name="connsiteX92" fmla="*/ 149581 w 494979"/>
                <a:gd name="connsiteY92" fmla="*/ 655438 h 674476"/>
                <a:gd name="connsiteX93" fmla="*/ 127824 w 494979"/>
                <a:gd name="connsiteY93" fmla="*/ 658158 h 674476"/>
                <a:gd name="connsiteX94" fmla="*/ 106067 w 494979"/>
                <a:gd name="connsiteY94" fmla="*/ 658158 h 674476"/>
                <a:gd name="connsiteX95" fmla="*/ 62552 w 494979"/>
                <a:gd name="connsiteY95" fmla="*/ 658158 h 674476"/>
                <a:gd name="connsiteX96" fmla="*/ 40795 w 494979"/>
                <a:gd name="connsiteY96" fmla="*/ 658158 h 674476"/>
                <a:gd name="connsiteX97" fmla="*/ 16318 w 494979"/>
                <a:gd name="connsiteY97" fmla="*/ 652718 h 674476"/>
                <a:gd name="connsiteX98" fmla="*/ 0 w 494979"/>
                <a:gd name="connsiteY98" fmla="*/ 636401 h 674476"/>
                <a:gd name="connsiteX99" fmla="*/ 2720 w 494979"/>
                <a:gd name="connsiteY99" fmla="*/ 628241 h 674476"/>
                <a:gd name="connsiteX100" fmla="*/ 24477 w 494979"/>
                <a:gd name="connsiteY100" fmla="*/ 620082 h 674476"/>
                <a:gd name="connsiteX101" fmla="*/ 62552 w 494979"/>
                <a:gd name="connsiteY101" fmla="*/ 617363 h 674476"/>
                <a:gd name="connsiteX102" fmla="*/ 62552 w 494979"/>
                <a:gd name="connsiteY102" fmla="*/ 614643 h 674476"/>
                <a:gd name="connsiteX103" fmla="*/ 65272 w 494979"/>
                <a:gd name="connsiteY103" fmla="*/ 587447 h 674476"/>
                <a:gd name="connsiteX104" fmla="*/ 76151 w 494979"/>
                <a:gd name="connsiteY104" fmla="*/ 522175 h 674476"/>
                <a:gd name="connsiteX105" fmla="*/ 87029 w 494979"/>
                <a:gd name="connsiteY105" fmla="*/ 470501 h 674476"/>
                <a:gd name="connsiteX106" fmla="*/ 92469 w 494979"/>
                <a:gd name="connsiteY106" fmla="*/ 446025 h 674476"/>
                <a:gd name="connsiteX107" fmla="*/ 65272 w 494979"/>
                <a:gd name="connsiteY107" fmla="*/ 432426 h 674476"/>
                <a:gd name="connsiteX108" fmla="*/ 54393 w 494979"/>
                <a:gd name="connsiteY108" fmla="*/ 421548 h 674476"/>
                <a:gd name="connsiteX109" fmla="*/ 73431 w 494979"/>
                <a:gd name="connsiteY109" fmla="*/ 407949 h 674476"/>
                <a:gd name="connsiteX110" fmla="*/ 100628 w 494979"/>
                <a:gd name="connsiteY110" fmla="*/ 399790 h 674476"/>
                <a:gd name="connsiteX111" fmla="*/ 108787 w 494979"/>
                <a:gd name="connsiteY111" fmla="*/ 369874 h 674476"/>
                <a:gd name="connsiteX112" fmla="*/ 125105 w 494979"/>
                <a:gd name="connsiteY112" fmla="*/ 307322 h 674476"/>
                <a:gd name="connsiteX113" fmla="*/ 141423 w 494979"/>
                <a:gd name="connsiteY113" fmla="*/ 242051 h 674476"/>
                <a:gd name="connsiteX114" fmla="*/ 155021 w 494979"/>
                <a:gd name="connsiteY114" fmla="*/ 179498 h 674476"/>
                <a:gd name="connsiteX115" fmla="*/ 168620 w 494979"/>
                <a:gd name="connsiteY115" fmla="*/ 119665 h 674476"/>
                <a:gd name="connsiteX116" fmla="*/ 193097 w 494979"/>
                <a:gd name="connsiteY116" fmla="*/ 57113 h 674476"/>
                <a:gd name="connsiteX117" fmla="*/ 201256 w 494979"/>
                <a:gd name="connsiteY117" fmla="*/ 38075 h 674476"/>
                <a:gd name="connsiteX118" fmla="*/ 217574 w 494979"/>
                <a:gd name="connsiteY118" fmla="*/ 13598 h 674476"/>
                <a:gd name="connsiteX119" fmla="*/ 274687 w 494979"/>
                <a:gd name="connsiteY119" fmla="*/ 0 h 6744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</a:cxnLst>
              <a:rect l="l" t="t" r="r" b="b"/>
              <a:pathLst>
                <a:path w="494979" h="674476">
                  <a:moveTo>
                    <a:pt x="228453" y="97907"/>
                  </a:moveTo>
                  <a:cubicBezTo>
                    <a:pt x="220294" y="97907"/>
                    <a:pt x="212135" y="114225"/>
                    <a:pt x="212135" y="119665"/>
                  </a:cubicBezTo>
                  <a:cubicBezTo>
                    <a:pt x="209415" y="130543"/>
                    <a:pt x="206696" y="144141"/>
                    <a:pt x="203976" y="152300"/>
                  </a:cubicBezTo>
                  <a:cubicBezTo>
                    <a:pt x="201256" y="157740"/>
                    <a:pt x="201256" y="163179"/>
                    <a:pt x="201256" y="168618"/>
                  </a:cubicBezTo>
                  <a:cubicBezTo>
                    <a:pt x="201256" y="174058"/>
                    <a:pt x="198537" y="179497"/>
                    <a:pt x="198537" y="184936"/>
                  </a:cubicBezTo>
                  <a:cubicBezTo>
                    <a:pt x="195817" y="195815"/>
                    <a:pt x="193097" y="209413"/>
                    <a:pt x="190378" y="220292"/>
                  </a:cubicBezTo>
                  <a:cubicBezTo>
                    <a:pt x="187658" y="244769"/>
                    <a:pt x="179499" y="269246"/>
                    <a:pt x="171340" y="291003"/>
                  </a:cubicBezTo>
                  <a:cubicBezTo>
                    <a:pt x="168620" y="301881"/>
                    <a:pt x="165900" y="312760"/>
                    <a:pt x="163180" y="323639"/>
                  </a:cubicBezTo>
                  <a:cubicBezTo>
                    <a:pt x="160461" y="337237"/>
                    <a:pt x="157741" y="348115"/>
                    <a:pt x="152302" y="361714"/>
                  </a:cubicBezTo>
                  <a:cubicBezTo>
                    <a:pt x="149582" y="367153"/>
                    <a:pt x="146862" y="383471"/>
                    <a:pt x="146862" y="388910"/>
                  </a:cubicBezTo>
                  <a:cubicBezTo>
                    <a:pt x="146862" y="391630"/>
                    <a:pt x="149582" y="391630"/>
                    <a:pt x="152302" y="391630"/>
                  </a:cubicBezTo>
                  <a:cubicBezTo>
                    <a:pt x="157741" y="391630"/>
                    <a:pt x="171340" y="391630"/>
                    <a:pt x="174060" y="391630"/>
                  </a:cubicBezTo>
                  <a:cubicBezTo>
                    <a:pt x="182219" y="391630"/>
                    <a:pt x="190378" y="391630"/>
                    <a:pt x="195817" y="388910"/>
                  </a:cubicBezTo>
                  <a:cubicBezTo>
                    <a:pt x="201256" y="388910"/>
                    <a:pt x="206696" y="388910"/>
                    <a:pt x="214855" y="388910"/>
                  </a:cubicBezTo>
                  <a:cubicBezTo>
                    <a:pt x="220294" y="388910"/>
                    <a:pt x="228453" y="388910"/>
                    <a:pt x="239332" y="388910"/>
                  </a:cubicBezTo>
                  <a:cubicBezTo>
                    <a:pt x="244771" y="388910"/>
                    <a:pt x="250210" y="388910"/>
                    <a:pt x="252930" y="386191"/>
                  </a:cubicBezTo>
                  <a:cubicBezTo>
                    <a:pt x="258369" y="391630"/>
                    <a:pt x="261089" y="388910"/>
                    <a:pt x="261089" y="386191"/>
                  </a:cubicBezTo>
                  <a:cubicBezTo>
                    <a:pt x="261089" y="380751"/>
                    <a:pt x="258369" y="372592"/>
                    <a:pt x="258369" y="367153"/>
                  </a:cubicBezTo>
                  <a:cubicBezTo>
                    <a:pt x="255650" y="353555"/>
                    <a:pt x="252930" y="342676"/>
                    <a:pt x="252930" y="331797"/>
                  </a:cubicBezTo>
                  <a:cubicBezTo>
                    <a:pt x="252930" y="301881"/>
                    <a:pt x="252930" y="274685"/>
                    <a:pt x="250210" y="244769"/>
                  </a:cubicBezTo>
                  <a:cubicBezTo>
                    <a:pt x="250210" y="231170"/>
                    <a:pt x="247491" y="217572"/>
                    <a:pt x="244771" y="203974"/>
                  </a:cubicBezTo>
                  <a:cubicBezTo>
                    <a:pt x="242051" y="187656"/>
                    <a:pt x="239332" y="174058"/>
                    <a:pt x="239332" y="157740"/>
                  </a:cubicBezTo>
                  <a:cubicBezTo>
                    <a:pt x="239332" y="152300"/>
                    <a:pt x="239332" y="133263"/>
                    <a:pt x="236612" y="119665"/>
                  </a:cubicBezTo>
                  <a:cubicBezTo>
                    <a:pt x="236612" y="106066"/>
                    <a:pt x="233892" y="97907"/>
                    <a:pt x="228453" y="97907"/>
                  </a:cubicBezTo>
                  <a:close/>
                  <a:moveTo>
                    <a:pt x="274687" y="0"/>
                  </a:moveTo>
                  <a:cubicBezTo>
                    <a:pt x="288285" y="0"/>
                    <a:pt x="293724" y="2720"/>
                    <a:pt x="304603" y="5439"/>
                  </a:cubicBezTo>
                  <a:cubicBezTo>
                    <a:pt x="315482" y="10879"/>
                    <a:pt x="315482" y="16318"/>
                    <a:pt x="320921" y="24477"/>
                  </a:cubicBezTo>
                  <a:cubicBezTo>
                    <a:pt x="326360" y="29916"/>
                    <a:pt x="331800" y="35356"/>
                    <a:pt x="334519" y="43515"/>
                  </a:cubicBezTo>
                  <a:cubicBezTo>
                    <a:pt x="337239" y="51674"/>
                    <a:pt x="337239" y="57113"/>
                    <a:pt x="339959" y="65272"/>
                  </a:cubicBezTo>
                  <a:cubicBezTo>
                    <a:pt x="345398" y="78870"/>
                    <a:pt x="342678" y="97908"/>
                    <a:pt x="348118" y="114226"/>
                  </a:cubicBezTo>
                  <a:cubicBezTo>
                    <a:pt x="350837" y="130544"/>
                    <a:pt x="358996" y="146863"/>
                    <a:pt x="361716" y="163180"/>
                  </a:cubicBezTo>
                  <a:cubicBezTo>
                    <a:pt x="364435" y="182218"/>
                    <a:pt x="364435" y="201256"/>
                    <a:pt x="369875" y="220293"/>
                  </a:cubicBezTo>
                  <a:cubicBezTo>
                    <a:pt x="375314" y="239331"/>
                    <a:pt x="378034" y="255649"/>
                    <a:pt x="378034" y="274686"/>
                  </a:cubicBezTo>
                  <a:cubicBezTo>
                    <a:pt x="378034" y="282845"/>
                    <a:pt x="380753" y="293724"/>
                    <a:pt x="383473" y="301883"/>
                  </a:cubicBezTo>
                  <a:cubicBezTo>
                    <a:pt x="386193" y="312762"/>
                    <a:pt x="388912" y="326360"/>
                    <a:pt x="391632" y="337238"/>
                  </a:cubicBezTo>
                  <a:cubicBezTo>
                    <a:pt x="391632" y="342678"/>
                    <a:pt x="394352" y="353556"/>
                    <a:pt x="397071" y="364435"/>
                  </a:cubicBezTo>
                  <a:cubicBezTo>
                    <a:pt x="399791" y="372594"/>
                    <a:pt x="402511" y="380753"/>
                    <a:pt x="405230" y="383473"/>
                  </a:cubicBezTo>
                  <a:cubicBezTo>
                    <a:pt x="407950" y="386192"/>
                    <a:pt x="413389" y="386192"/>
                    <a:pt x="416109" y="386192"/>
                  </a:cubicBezTo>
                  <a:cubicBezTo>
                    <a:pt x="418829" y="386192"/>
                    <a:pt x="424268" y="386192"/>
                    <a:pt x="426988" y="386192"/>
                  </a:cubicBezTo>
                  <a:cubicBezTo>
                    <a:pt x="437866" y="386192"/>
                    <a:pt x="448745" y="388912"/>
                    <a:pt x="454184" y="397071"/>
                  </a:cubicBezTo>
                  <a:cubicBezTo>
                    <a:pt x="456904" y="399790"/>
                    <a:pt x="456904" y="402510"/>
                    <a:pt x="456904" y="405230"/>
                  </a:cubicBezTo>
                  <a:cubicBezTo>
                    <a:pt x="456904" y="407949"/>
                    <a:pt x="454184" y="410669"/>
                    <a:pt x="451465" y="416108"/>
                  </a:cubicBezTo>
                  <a:cubicBezTo>
                    <a:pt x="446025" y="421548"/>
                    <a:pt x="440586" y="426987"/>
                    <a:pt x="432427" y="429707"/>
                  </a:cubicBezTo>
                  <a:cubicBezTo>
                    <a:pt x="429707" y="429707"/>
                    <a:pt x="426988" y="432426"/>
                    <a:pt x="421548" y="432426"/>
                  </a:cubicBezTo>
                  <a:cubicBezTo>
                    <a:pt x="418829" y="432426"/>
                    <a:pt x="416109" y="432426"/>
                    <a:pt x="413389" y="435146"/>
                  </a:cubicBezTo>
                  <a:cubicBezTo>
                    <a:pt x="413389" y="435146"/>
                    <a:pt x="413389" y="437866"/>
                    <a:pt x="413389" y="440585"/>
                  </a:cubicBezTo>
                  <a:cubicBezTo>
                    <a:pt x="413389" y="443305"/>
                    <a:pt x="413389" y="448744"/>
                    <a:pt x="416109" y="451464"/>
                  </a:cubicBezTo>
                  <a:cubicBezTo>
                    <a:pt x="416109" y="456903"/>
                    <a:pt x="418829" y="462343"/>
                    <a:pt x="418829" y="465062"/>
                  </a:cubicBezTo>
                  <a:lnTo>
                    <a:pt x="418829" y="475941"/>
                  </a:lnTo>
                  <a:cubicBezTo>
                    <a:pt x="418829" y="481380"/>
                    <a:pt x="418829" y="484100"/>
                    <a:pt x="418829" y="486820"/>
                  </a:cubicBezTo>
                  <a:cubicBezTo>
                    <a:pt x="421548" y="497698"/>
                    <a:pt x="424268" y="505857"/>
                    <a:pt x="426988" y="516736"/>
                  </a:cubicBezTo>
                  <a:cubicBezTo>
                    <a:pt x="426988" y="524895"/>
                    <a:pt x="429707" y="535773"/>
                    <a:pt x="432427" y="543932"/>
                  </a:cubicBezTo>
                  <a:cubicBezTo>
                    <a:pt x="435147" y="554811"/>
                    <a:pt x="437866" y="562970"/>
                    <a:pt x="437866" y="573848"/>
                  </a:cubicBezTo>
                  <a:cubicBezTo>
                    <a:pt x="437866" y="587447"/>
                    <a:pt x="440586" y="595606"/>
                    <a:pt x="443306" y="606484"/>
                  </a:cubicBezTo>
                  <a:cubicBezTo>
                    <a:pt x="443306" y="609204"/>
                    <a:pt x="446025" y="614643"/>
                    <a:pt x="446025" y="617363"/>
                  </a:cubicBezTo>
                  <a:cubicBezTo>
                    <a:pt x="454184" y="617363"/>
                    <a:pt x="462343" y="617363"/>
                    <a:pt x="470502" y="617363"/>
                  </a:cubicBezTo>
                  <a:cubicBezTo>
                    <a:pt x="478661" y="625522"/>
                    <a:pt x="492259" y="630961"/>
                    <a:pt x="494979" y="641840"/>
                  </a:cubicBezTo>
                  <a:cubicBezTo>
                    <a:pt x="494979" y="647279"/>
                    <a:pt x="489540" y="649999"/>
                    <a:pt x="486820" y="655438"/>
                  </a:cubicBezTo>
                  <a:cubicBezTo>
                    <a:pt x="484100" y="660877"/>
                    <a:pt x="475942" y="663597"/>
                    <a:pt x="470502" y="663597"/>
                  </a:cubicBezTo>
                  <a:cubicBezTo>
                    <a:pt x="459623" y="666317"/>
                    <a:pt x="454184" y="666317"/>
                    <a:pt x="446025" y="666317"/>
                  </a:cubicBezTo>
                  <a:cubicBezTo>
                    <a:pt x="440586" y="666317"/>
                    <a:pt x="432427" y="666317"/>
                    <a:pt x="424268" y="666317"/>
                  </a:cubicBezTo>
                  <a:cubicBezTo>
                    <a:pt x="421548" y="666317"/>
                    <a:pt x="418829" y="666317"/>
                    <a:pt x="416109" y="666317"/>
                  </a:cubicBezTo>
                  <a:cubicBezTo>
                    <a:pt x="410670" y="669036"/>
                    <a:pt x="407950" y="669036"/>
                    <a:pt x="402511" y="671756"/>
                  </a:cubicBezTo>
                  <a:cubicBezTo>
                    <a:pt x="397071" y="671756"/>
                    <a:pt x="391632" y="674476"/>
                    <a:pt x="386193" y="674476"/>
                  </a:cubicBezTo>
                  <a:cubicBezTo>
                    <a:pt x="375314" y="674476"/>
                    <a:pt x="361716" y="671756"/>
                    <a:pt x="350837" y="669036"/>
                  </a:cubicBezTo>
                  <a:cubicBezTo>
                    <a:pt x="342678" y="669036"/>
                    <a:pt x="334519" y="669036"/>
                    <a:pt x="329080" y="669036"/>
                  </a:cubicBezTo>
                  <a:cubicBezTo>
                    <a:pt x="307323" y="669036"/>
                    <a:pt x="288285" y="669036"/>
                    <a:pt x="280126" y="669036"/>
                  </a:cubicBezTo>
                  <a:cubicBezTo>
                    <a:pt x="271967" y="669036"/>
                    <a:pt x="261088" y="669036"/>
                    <a:pt x="255649" y="663597"/>
                  </a:cubicBezTo>
                  <a:cubicBezTo>
                    <a:pt x="250210" y="660877"/>
                    <a:pt x="239331" y="655438"/>
                    <a:pt x="239331" y="647279"/>
                  </a:cubicBezTo>
                  <a:cubicBezTo>
                    <a:pt x="239331" y="636401"/>
                    <a:pt x="255649" y="633681"/>
                    <a:pt x="263808" y="630961"/>
                  </a:cubicBezTo>
                  <a:cubicBezTo>
                    <a:pt x="269247" y="630961"/>
                    <a:pt x="277406" y="630961"/>
                    <a:pt x="291005" y="628241"/>
                  </a:cubicBezTo>
                  <a:cubicBezTo>
                    <a:pt x="291005" y="620082"/>
                    <a:pt x="291005" y="614643"/>
                    <a:pt x="288285" y="609204"/>
                  </a:cubicBezTo>
                  <a:cubicBezTo>
                    <a:pt x="288285" y="601045"/>
                    <a:pt x="285565" y="590166"/>
                    <a:pt x="285565" y="582007"/>
                  </a:cubicBezTo>
                  <a:cubicBezTo>
                    <a:pt x="285565" y="576568"/>
                    <a:pt x="282846" y="573848"/>
                    <a:pt x="282846" y="568409"/>
                  </a:cubicBezTo>
                  <a:cubicBezTo>
                    <a:pt x="282846" y="562970"/>
                    <a:pt x="285565" y="557531"/>
                    <a:pt x="285565" y="554811"/>
                  </a:cubicBezTo>
                  <a:cubicBezTo>
                    <a:pt x="285565" y="549371"/>
                    <a:pt x="282846" y="546652"/>
                    <a:pt x="280126" y="538493"/>
                  </a:cubicBezTo>
                  <a:cubicBezTo>
                    <a:pt x="280126" y="527614"/>
                    <a:pt x="274687" y="516736"/>
                    <a:pt x="274687" y="505857"/>
                  </a:cubicBezTo>
                  <a:cubicBezTo>
                    <a:pt x="274687" y="494978"/>
                    <a:pt x="274687" y="486820"/>
                    <a:pt x="271967" y="478660"/>
                  </a:cubicBezTo>
                  <a:cubicBezTo>
                    <a:pt x="269247" y="467782"/>
                    <a:pt x="269247" y="456903"/>
                    <a:pt x="269247" y="446025"/>
                  </a:cubicBezTo>
                  <a:cubicBezTo>
                    <a:pt x="269247" y="440585"/>
                    <a:pt x="266528" y="437866"/>
                    <a:pt x="263808" y="437866"/>
                  </a:cubicBezTo>
                  <a:cubicBezTo>
                    <a:pt x="261088" y="437866"/>
                    <a:pt x="258369" y="437866"/>
                    <a:pt x="252929" y="437866"/>
                  </a:cubicBezTo>
                  <a:cubicBezTo>
                    <a:pt x="242051" y="437866"/>
                    <a:pt x="231172" y="437866"/>
                    <a:pt x="223013" y="440585"/>
                  </a:cubicBezTo>
                  <a:cubicBezTo>
                    <a:pt x="212135" y="440585"/>
                    <a:pt x="203976" y="443305"/>
                    <a:pt x="193097" y="443305"/>
                  </a:cubicBezTo>
                  <a:cubicBezTo>
                    <a:pt x="184938" y="443305"/>
                    <a:pt x="176779" y="443305"/>
                    <a:pt x="168620" y="443305"/>
                  </a:cubicBezTo>
                  <a:cubicBezTo>
                    <a:pt x="165900" y="443305"/>
                    <a:pt x="155021" y="440585"/>
                    <a:pt x="146862" y="440585"/>
                  </a:cubicBezTo>
                  <a:cubicBezTo>
                    <a:pt x="138703" y="440585"/>
                    <a:pt x="138703" y="448744"/>
                    <a:pt x="138703" y="454184"/>
                  </a:cubicBezTo>
                  <a:cubicBezTo>
                    <a:pt x="138703" y="465062"/>
                    <a:pt x="135983" y="475941"/>
                    <a:pt x="133263" y="486820"/>
                  </a:cubicBezTo>
                  <a:cubicBezTo>
                    <a:pt x="130544" y="505857"/>
                    <a:pt x="125105" y="522175"/>
                    <a:pt x="122385" y="541213"/>
                  </a:cubicBezTo>
                  <a:cubicBezTo>
                    <a:pt x="119665" y="560250"/>
                    <a:pt x="111506" y="595606"/>
                    <a:pt x="106067" y="614643"/>
                  </a:cubicBezTo>
                  <a:cubicBezTo>
                    <a:pt x="114226" y="614643"/>
                    <a:pt x="125105" y="614643"/>
                    <a:pt x="135983" y="614643"/>
                  </a:cubicBezTo>
                  <a:cubicBezTo>
                    <a:pt x="149581" y="614643"/>
                    <a:pt x="171340" y="614643"/>
                    <a:pt x="171340" y="630961"/>
                  </a:cubicBezTo>
                  <a:cubicBezTo>
                    <a:pt x="171340" y="639120"/>
                    <a:pt x="168620" y="639120"/>
                    <a:pt x="165900" y="647279"/>
                  </a:cubicBezTo>
                  <a:cubicBezTo>
                    <a:pt x="163181" y="652718"/>
                    <a:pt x="155021" y="655438"/>
                    <a:pt x="149581" y="655438"/>
                  </a:cubicBezTo>
                  <a:cubicBezTo>
                    <a:pt x="141423" y="658158"/>
                    <a:pt x="135983" y="658158"/>
                    <a:pt x="127824" y="658158"/>
                  </a:cubicBezTo>
                  <a:cubicBezTo>
                    <a:pt x="122385" y="658158"/>
                    <a:pt x="116946" y="658158"/>
                    <a:pt x="106067" y="658158"/>
                  </a:cubicBezTo>
                  <a:cubicBezTo>
                    <a:pt x="92469" y="658158"/>
                    <a:pt x="78870" y="658158"/>
                    <a:pt x="62552" y="658158"/>
                  </a:cubicBezTo>
                  <a:cubicBezTo>
                    <a:pt x="54393" y="658158"/>
                    <a:pt x="46234" y="658158"/>
                    <a:pt x="40795" y="658158"/>
                  </a:cubicBezTo>
                  <a:cubicBezTo>
                    <a:pt x="32636" y="658158"/>
                    <a:pt x="21758" y="658158"/>
                    <a:pt x="16318" y="652718"/>
                  </a:cubicBezTo>
                  <a:cubicBezTo>
                    <a:pt x="8159" y="649999"/>
                    <a:pt x="0" y="641840"/>
                    <a:pt x="0" y="636401"/>
                  </a:cubicBezTo>
                  <a:cubicBezTo>
                    <a:pt x="0" y="633681"/>
                    <a:pt x="0" y="630961"/>
                    <a:pt x="2720" y="628241"/>
                  </a:cubicBezTo>
                  <a:cubicBezTo>
                    <a:pt x="8159" y="625522"/>
                    <a:pt x="16318" y="622802"/>
                    <a:pt x="24477" y="620082"/>
                  </a:cubicBezTo>
                  <a:cubicBezTo>
                    <a:pt x="38075" y="617363"/>
                    <a:pt x="48954" y="617363"/>
                    <a:pt x="62552" y="617363"/>
                  </a:cubicBezTo>
                  <a:cubicBezTo>
                    <a:pt x="62552" y="617363"/>
                    <a:pt x="62552" y="614643"/>
                    <a:pt x="62552" y="614643"/>
                  </a:cubicBezTo>
                  <a:cubicBezTo>
                    <a:pt x="62552" y="603765"/>
                    <a:pt x="65272" y="590166"/>
                    <a:pt x="65272" y="587447"/>
                  </a:cubicBezTo>
                  <a:cubicBezTo>
                    <a:pt x="67992" y="565689"/>
                    <a:pt x="73431" y="543932"/>
                    <a:pt x="76151" y="522175"/>
                  </a:cubicBezTo>
                  <a:cubicBezTo>
                    <a:pt x="78870" y="505857"/>
                    <a:pt x="81590" y="486820"/>
                    <a:pt x="87029" y="470501"/>
                  </a:cubicBezTo>
                  <a:cubicBezTo>
                    <a:pt x="87029" y="465062"/>
                    <a:pt x="92469" y="451464"/>
                    <a:pt x="92469" y="446025"/>
                  </a:cubicBezTo>
                  <a:cubicBezTo>
                    <a:pt x="92469" y="437866"/>
                    <a:pt x="73431" y="437866"/>
                    <a:pt x="65272" y="432426"/>
                  </a:cubicBezTo>
                  <a:cubicBezTo>
                    <a:pt x="59833" y="429707"/>
                    <a:pt x="54393" y="426987"/>
                    <a:pt x="54393" y="421548"/>
                  </a:cubicBezTo>
                  <a:cubicBezTo>
                    <a:pt x="54393" y="413389"/>
                    <a:pt x="62552" y="410669"/>
                    <a:pt x="73431" y="407949"/>
                  </a:cubicBezTo>
                  <a:cubicBezTo>
                    <a:pt x="78870" y="407949"/>
                    <a:pt x="92469" y="405230"/>
                    <a:pt x="100628" y="399790"/>
                  </a:cubicBezTo>
                  <a:cubicBezTo>
                    <a:pt x="106067" y="394351"/>
                    <a:pt x="106067" y="378033"/>
                    <a:pt x="108787" y="369874"/>
                  </a:cubicBezTo>
                  <a:cubicBezTo>
                    <a:pt x="114226" y="348117"/>
                    <a:pt x="119665" y="326360"/>
                    <a:pt x="125105" y="307322"/>
                  </a:cubicBezTo>
                  <a:cubicBezTo>
                    <a:pt x="130544" y="285565"/>
                    <a:pt x="135983" y="263808"/>
                    <a:pt x="141423" y="242051"/>
                  </a:cubicBezTo>
                  <a:cubicBezTo>
                    <a:pt x="146862" y="220293"/>
                    <a:pt x="152301" y="198536"/>
                    <a:pt x="155021" y="179498"/>
                  </a:cubicBezTo>
                  <a:cubicBezTo>
                    <a:pt x="157740" y="160461"/>
                    <a:pt x="163181" y="138703"/>
                    <a:pt x="168620" y="119665"/>
                  </a:cubicBezTo>
                  <a:cubicBezTo>
                    <a:pt x="176779" y="100627"/>
                    <a:pt x="182218" y="76150"/>
                    <a:pt x="193097" y="57113"/>
                  </a:cubicBezTo>
                  <a:lnTo>
                    <a:pt x="201256" y="38075"/>
                  </a:lnTo>
                  <a:cubicBezTo>
                    <a:pt x="206695" y="29916"/>
                    <a:pt x="209415" y="19038"/>
                    <a:pt x="217574" y="13598"/>
                  </a:cubicBezTo>
                  <a:cubicBezTo>
                    <a:pt x="231172" y="2720"/>
                    <a:pt x="255649" y="0"/>
                    <a:pt x="274687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/>
            </a:p>
          </p:txBody>
        </p:sp>
        <p:sp>
          <p:nvSpPr>
            <p:cNvPr id="37" name="Freeform: Shape 36">
              <a:extLst>
                <a:ext uri="{FF2B5EF4-FFF2-40B4-BE49-F238E27FC236}">
                  <a16:creationId xmlns:a16="http://schemas.microsoft.com/office/drawing/2014/main" id="{3C9EF25D-B45E-483F-A696-70FB19DAB924}"/>
                </a:ext>
              </a:extLst>
            </p:cNvPr>
            <p:cNvSpPr/>
            <p:nvPr/>
          </p:nvSpPr>
          <p:spPr>
            <a:xfrm>
              <a:off x="3443268" y="4186718"/>
              <a:ext cx="435145" cy="761503"/>
            </a:xfrm>
            <a:custGeom>
              <a:avLst/>
              <a:gdLst>
                <a:gd name="connsiteX0" fmla="*/ 400855 w 435145"/>
                <a:gd name="connsiteY0" fmla="*/ 678260 h 761503"/>
                <a:gd name="connsiteX1" fmla="*/ 384537 w 435145"/>
                <a:gd name="connsiteY1" fmla="*/ 719054 h 761503"/>
                <a:gd name="connsiteX2" fmla="*/ 368219 w 435145"/>
                <a:gd name="connsiteY2" fmla="*/ 713615 h 761503"/>
                <a:gd name="connsiteX3" fmla="*/ 360060 w 435145"/>
                <a:gd name="connsiteY3" fmla="*/ 697297 h 761503"/>
                <a:gd name="connsiteX4" fmla="*/ 360060 w 435145"/>
                <a:gd name="connsiteY4" fmla="*/ 651063 h 761503"/>
                <a:gd name="connsiteX5" fmla="*/ 332864 w 435145"/>
                <a:gd name="connsiteY5" fmla="*/ 686418 h 761503"/>
                <a:gd name="connsiteX6" fmla="*/ 251274 w 435145"/>
                <a:gd name="connsiteY6" fmla="*/ 721774 h 761503"/>
                <a:gd name="connsiteX7" fmla="*/ 229517 w 435145"/>
                <a:gd name="connsiteY7" fmla="*/ 719054 h 761503"/>
                <a:gd name="connsiteX8" fmla="*/ 158806 w 435145"/>
                <a:gd name="connsiteY8" fmla="*/ 694578 h 761503"/>
                <a:gd name="connsiteX9" fmla="*/ 112571 w 435145"/>
                <a:gd name="connsiteY9" fmla="*/ 659222 h 761503"/>
                <a:gd name="connsiteX10" fmla="*/ 79936 w 435145"/>
                <a:gd name="connsiteY10" fmla="*/ 607548 h 761503"/>
                <a:gd name="connsiteX11" fmla="*/ 63618 w 435145"/>
                <a:gd name="connsiteY11" fmla="*/ 542277 h 761503"/>
                <a:gd name="connsiteX12" fmla="*/ 58178 w 435145"/>
                <a:gd name="connsiteY12" fmla="*/ 471566 h 761503"/>
                <a:gd name="connsiteX13" fmla="*/ 60898 w 435145"/>
                <a:gd name="connsiteY13" fmla="*/ 400855 h 761503"/>
                <a:gd name="connsiteX14" fmla="*/ 66337 w 435145"/>
                <a:gd name="connsiteY14" fmla="*/ 335583 h 761503"/>
                <a:gd name="connsiteX15" fmla="*/ 85375 w 435145"/>
                <a:gd name="connsiteY15" fmla="*/ 267592 h 761503"/>
                <a:gd name="connsiteX16" fmla="*/ 109852 w 435145"/>
                <a:gd name="connsiteY16" fmla="*/ 199600 h 761503"/>
                <a:gd name="connsiteX17" fmla="*/ 145207 w 435145"/>
                <a:gd name="connsiteY17" fmla="*/ 145207 h 761503"/>
                <a:gd name="connsiteX18" fmla="*/ 188722 w 435145"/>
                <a:gd name="connsiteY18" fmla="*/ 96253 h 761503"/>
                <a:gd name="connsiteX19" fmla="*/ 243115 w 435145"/>
                <a:gd name="connsiteY19" fmla="*/ 71776 h 761503"/>
                <a:gd name="connsiteX20" fmla="*/ 286630 w 435145"/>
                <a:gd name="connsiteY20" fmla="*/ 63617 h 761503"/>
                <a:gd name="connsiteX21" fmla="*/ 305667 w 435145"/>
                <a:gd name="connsiteY21" fmla="*/ 66337 h 761503"/>
                <a:gd name="connsiteX22" fmla="*/ 324705 w 435145"/>
                <a:gd name="connsiteY22" fmla="*/ 79936 h 761503"/>
                <a:gd name="connsiteX23" fmla="*/ 341023 w 435145"/>
                <a:gd name="connsiteY23" fmla="*/ 101693 h 761503"/>
                <a:gd name="connsiteX24" fmla="*/ 354621 w 435145"/>
                <a:gd name="connsiteY24" fmla="*/ 123450 h 761503"/>
                <a:gd name="connsiteX25" fmla="*/ 354621 w 435145"/>
                <a:gd name="connsiteY25" fmla="*/ 98973 h 761503"/>
                <a:gd name="connsiteX26" fmla="*/ 360060 w 435145"/>
                <a:gd name="connsiteY26" fmla="*/ 74496 h 761503"/>
                <a:gd name="connsiteX27" fmla="*/ 365500 w 435145"/>
                <a:gd name="connsiteY27" fmla="*/ 63617 h 761503"/>
                <a:gd name="connsiteX28" fmla="*/ 373659 w 435145"/>
                <a:gd name="connsiteY28" fmla="*/ 58178 h 761503"/>
                <a:gd name="connsiteX29" fmla="*/ 381818 w 435145"/>
                <a:gd name="connsiteY29" fmla="*/ 63617 h 761503"/>
                <a:gd name="connsiteX30" fmla="*/ 389977 w 435145"/>
                <a:gd name="connsiteY30" fmla="*/ 82655 h 761503"/>
                <a:gd name="connsiteX31" fmla="*/ 392696 w 435145"/>
                <a:gd name="connsiteY31" fmla="*/ 126170 h 761503"/>
                <a:gd name="connsiteX32" fmla="*/ 395416 w 435145"/>
                <a:gd name="connsiteY32" fmla="*/ 186002 h 761503"/>
                <a:gd name="connsiteX33" fmla="*/ 398136 w 435145"/>
                <a:gd name="connsiteY33" fmla="*/ 237675 h 761503"/>
                <a:gd name="connsiteX34" fmla="*/ 398136 w 435145"/>
                <a:gd name="connsiteY34" fmla="*/ 243115 h 761503"/>
                <a:gd name="connsiteX35" fmla="*/ 395416 w 435145"/>
                <a:gd name="connsiteY35" fmla="*/ 256713 h 761503"/>
                <a:gd name="connsiteX36" fmla="*/ 379098 w 435145"/>
                <a:gd name="connsiteY36" fmla="*/ 278470 h 761503"/>
                <a:gd name="connsiteX37" fmla="*/ 362780 w 435145"/>
                <a:gd name="connsiteY37" fmla="*/ 273031 h 761503"/>
                <a:gd name="connsiteX38" fmla="*/ 354621 w 435145"/>
                <a:gd name="connsiteY38" fmla="*/ 256713 h 761503"/>
                <a:gd name="connsiteX39" fmla="*/ 354621 w 435145"/>
                <a:gd name="connsiteY39" fmla="*/ 213198 h 761503"/>
                <a:gd name="connsiteX40" fmla="*/ 354621 w 435145"/>
                <a:gd name="connsiteY40" fmla="*/ 205040 h 761503"/>
                <a:gd name="connsiteX41" fmla="*/ 338303 w 435145"/>
                <a:gd name="connsiteY41" fmla="*/ 147927 h 761503"/>
                <a:gd name="connsiteX42" fmla="*/ 292069 w 435145"/>
                <a:gd name="connsiteY42" fmla="*/ 107132 h 761503"/>
                <a:gd name="connsiteX43" fmla="*/ 262153 w 435145"/>
                <a:gd name="connsiteY43" fmla="*/ 120730 h 761503"/>
                <a:gd name="connsiteX44" fmla="*/ 251274 w 435145"/>
                <a:gd name="connsiteY44" fmla="*/ 131609 h 761503"/>
                <a:gd name="connsiteX45" fmla="*/ 240395 w 435145"/>
                <a:gd name="connsiteY45" fmla="*/ 139768 h 761503"/>
                <a:gd name="connsiteX46" fmla="*/ 237676 w 435145"/>
                <a:gd name="connsiteY46" fmla="*/ 164245 h 761503"/>
                <a:gd name="connsiteX47" fmla="*/ 226797 w 435145"/>
                <a:gd name="connsiteY47" fmla="*/ 196881 h 761503"/>
                <a:gd name="connsiteX48" fmla="*/ 213199 w 435145"/>
                <a:gd name="connsiteY48" fmla="*/ 259433 h 761503"/>
                <a:gd name="connsiteX49" fmla="*/ 207759 w 435145"/>
                <a:gd name="connsiteY49" fmla="*/ 324704 h 761503"/>
                <a:gd name="connsiteX50" fmla="*/ 207759 w 435145"/>
                <a:gd name="connsiteY50" fmla="*/ 335583 h 761503"/>
                <a:gd name="connsiteX51" fmla="*/ 205040 w 435145"/>
                <a:gd name="connsiteY51" fmla="*/ 349181 h 761503"/>
                <a:gd name="connsiteX52" fmla="*/ 207759 w 435145"/>
                <a:gd name="connsiteY52" fmla="*/ 368219 h 761503"/>
                <a:gd name="connsiteX53" fmla="*/ 207759 w 435145"/>
                <a:gd name="connsiteY53" fmla="*/ 376378 h 761503"/>
                <a:gd name="connsiteX54" fmla="*/ 205040 w 435145"/>
                <a:gd name="connsiteY54" fmla="*/ 387256 h 761503"/>
                <a:gd name="connsiteX55" fmla="*/ 205040 w 435145"/>
                <a:gd name="connsiteY55" fmla="*/ 395415 h 761503"/>
                <a:gd name="connsiteX56" fmla="*/ 205040 w 435145"/>
                <a:gd name="connsiteY56" fmla="*/ 406294 h 761503"/>
                <a:gd name="connsiteX57" fmla="*/ 205040 w 435145"/>
                <a:gd name="connsiteY57" fmla="*/ 425332 h 761503"/>
                <a:gd name="connsiteX58" fmla="*/ 213199 w 435145"/>
                <a:gd name="connsiteY58" fmla="*/ 493323 h 761503"/>
                <a:gd name="connsiteX59" fmla="*/ 221358 w 435145"/>
                <a:gd name="connsiteY59" fmla="*/ 561314 h 761503"/>
                <a:gd name="connsiteX60" fmla="*/ 226797 w 435145"/>
                <a:gd name="connsiteY60" fmla="*/ 591231 h 761503"/>
                <a:gd name="connsiteX61" fmla="*/ 240395 w 435145"/>
                <a:gd name="connsiteY61" fmla="*/ 618427 h 761503"/>
                <a:gd name="connsiteX62" fmla="*/ 283910 w 435145"/>
                <a:gd name="connsiteY62" fmla="*/ 651063 h 761503"/>
                <a:gd name="connsiteX63" fmla="*/ 338303 w 435145"/>
                <a:gd name="connsiteY63" fmla="*/ 612988 h 761503"/>
                <a:gd name="connsiteX64" fmla="*/ 354621 w 435145"/>
                <a:gd name="connsiteY64" fmla="*/ 577632 h 761503"/>
                <a:gd name="connsiteX65" fmla="*/ 357341 w 435145"/>
                <a:gd name="connsiteY65" fmla="*/ 509641 h 761503"/>
                <a:gd name="connsiteX66" fmla="*/ 362780 w 435145"/>
                <a:gd name="connsiteY66" fmla="*/ 485164 h 761503"/>
                <a:gd name="connsiteX67" fmla="*/ 368219 w 435145"/>
                <a:gd name="connsiteY67" fmla="*/ 474286 h 761503"/>
                <a:gd name="connsiteX68" fmla="*/ 376378 w 435145"/>
                <a:gd name="connsiteY68" fmla="*/ 468846 h 761503"/>
                <a:gd name="connsiteX69" fmla="*/ 384537 w 435145"/>
                <a:gd name="connsiteY69" fmla="*/ 474286 h 761503"/>
                <a:gd name="connsiteX70" fmla="*/ 392696 w 435145"/>
                <a:gd name="connsiteY70" fmla="*/ 493323 h 761503"/>
                <a:gd name="connsiteX71" fmla="*/ 395416 w 435145"/>
                <a:gd name="connsiteY71" fmla="*/ 558595 h 761503"/>
                <a:gd name="connsiteX72" fmla="*/ 398136 w 435145"/>
                <a:gd name="connsiteY72" fmla="*/ 618427 h 761503"/>
                <a:gd name="connsiteX73" fmla="*/ 400855 w 435145"/>
                <a:gd name="connsiteY73" fmla="*/ 678260 h 761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</a:cxnLst>
              <a:rect l="l" t="t" r="r" b="b"/>
              <a:pathLst>
                <a:path w="435145" h="761503">
                  <a:moveTo>
                    <a:pt x="400855" y="678260"/>
                  </a:moveTo>
                  <a:cubicBezTo>
                    <a:pt x="400855" y="689138"/>
                    <a:pt x="400855" y="719054"/>
                    <a:pt x="384537" y="719054"/>
                  </a:cubicBezTo>
                  <a:cubicBezTo>
                    <a:pt x="376378" y="719054"/>
                    <a:pt x="373659" y="716335"/>
                    <a:pt x="368219" y="713615"/>
                  </a:cubicBezTo>
                  <a:cubicBezTo>
                    <a:pt x="362780" y="710895"/>
                    <a:pt x="360060" y="702736"/>
                    <a:pt x="360060" y="697297"/>
                  </a:cubicBezTo>
                  <a:cubicBezTo>
                    <a:pt x="357341" y="680979"/>
                    <a:pt x="357341" y="664661"/>
                    <a:pt x="360060" y="651063"/>
                  </a:cubicBezTo>
                  <a:cubicBezTo>
                    <a:pt x="354621" y="659222"/>
                    <a:pt x="341023" y="678260"/>
                    <a:pt x="332864" y="686418"/>
                  </a:cubicBezTo>
                  <a:cubicBezTo>
                    <a:pt x="311107" y="708176"/>
                    <a:pt x="283910" y="721774"/>
                    <a:pt x="251274" y="721774"/>
                  </a:cubicBezTo>
                  <a:cubicBezTo>
                    <a:pt x="243115" y="721774"/>
                    <a:pt x="237676" y="721774"/>
                    <a:pt x="229517" y="719054"/>
                  </a:cubicBezTo>
                  <a:cubicBezTo>
                    <a:pt x="207759" y="716335"/>
                    <a:pt x="183283" y="708176"/>
                    <a:pt x="158806" y="694578"/>
                  </a:cubicBezTo>
                  <a:cubicBezTo>
                    <a:pt x="142488" y="686418"/>
                    <a:pt x="126170" y="672820"/>
                    <a:pt x="112571" y="659222"/>
                  </a:cubicBezTo>
                  <a:cubicBezTo>
                    <a:pt x="98973" y="642904"/>
                    <a:pt x="88095" y="626586"/>
                    <a:pt x="79936" y="607548"/>
                  </a:cubicBezTo>
                  <a:cubicBezTo>
                    <a:pt x="71777" y="585791"/>
                    <a:pt x="66337" y="566754"/>
                    <a:pt x="63618" y="542277"/>
                  </a:cubicBezTo>
                  <a:cubicBezTo>
                    <a:pt x="60898" y="517800"/>
                    <a:pt x="58178" y="493323"/>
                    <a:pt x="58178" y="471566"/>
                  </a:cubicBezTo>
                  <a:cubicBezTo>
                    <a:pt x="58178" y="447089"/>
                    <a:pt x="58178" y="425332"/>
                    <a:pt x="60898" y="400855"/>
                  </a:cubicBezTo>
                  <a:cubicBezTo>
                    <a:pt x="63618" y="379098"/>
                    <a:pt x="60898" y="357340"/>
                    <a:pt x="66337" y="335583"/>
                  </a:cubicBezTo>
                  <a:cubicBezTo>
                    <a:pt x="69057" y="313826"/>
                    <a:pt x="77216" y="289349"/>
                    <a:pt x="85375" y="267592"/>
                  </a:cubicBezTo>
                  <a:cubicBezTo>
                    <a:pt x="93534" y="243115"/>
                    <a:pt x="98973" y="221357"/>
                    <a:pt x="109852" y="199600"/>
                  </a:cubicBezTo>
                  <a:cubicBezTo>
                    <a:pt x="118011" y="177843"/>
                    <a:pt x="131609" y="161525"/>
                    <a:pt x="145207" y="145207"/>
                  </a:cubicBezTo>
                  <a:cubicBezTo>
                    <a:pt x="158806" y="128889"/>
                    <a:pt x="172404" y="109852"/>
                    <a:pt x="188722" y="96253"/>
                  </a:cubicBezTo>
                  <a:cubicBezTo>
                    <a:pt x="205040" y="82655"/>
                    <a:pt x="224077" y="77216"/>
                    <a:pt x="243115" y="71776"/>
                  </a:cubicBezTo>
                  <a:cubicBezTo>
                    <a:pt x="256713" y="69057"/>
                    <a:pt x="273031" y="63617"/>
                    <a:pt x="286630" y="63617"/>
                  </a:cubicBezTo>
                  <a:cubicBezTo>
                    <a:pt x="292069" y="63617"/>
                    <a:pt x="297508" y="63617"/>
                    <a:pt x="305667" y="66337"/>
                  </a:cubicBezTo>
                  <a:cubicBezTo>
                    <a:pt x="313826" y="69057"/>
                    <a:pt x="319266" y="74496"/>
                    <a:pt x="324705" y="79936"/>
                  </a:cubicBezTo>
                  <a:cubicBezTo>
                    <a:pt x="332864" y="85375"/>
                    <a:pt x="332864" y="93534"/>
                    <a:pt x="341023" y="101693"/>
                  </a:cubicBezTo>
                  <a:cubicBezTo>
                    <a:pt x="346462" y="107132"/>
                    <a:pt x="349182" y="118011"/>
                    <a:pt x="354621" y="123450"/>
                  </a:cubicBezTo>
                  <a:cubicBezTo>
                    <a:pt x="354621" y="115291"/>
                    <a:pt x="354621" y="101693"/>
                    <a:pt x="354621" y="98973"/>
                  </a:cubicBezTo>
                  <a:cubicBezTo>
                    <a:pt x="354621" y="90814"/>
                    <a:pt x="354621" y="79936"/>
                    <a:pt x="360060" y="74496"/>
                  </a:cubicBezTo>
                  <a:cubicBezTo>
                    <a:pt x="362780" y="71776"/>
                    <a:pt x="362780" y="69057"/>
                    <a:pt x="365500" y="63617"/>
                  </a:cubicBezTo>
                  <a:cubicBezTo>
                    <a:pt x="368219" y="60898"/>
                    <a:pt x="370939" y="58178"/>
                    <a:pt x="373659" y="58178"/>
                  </a:cubicBezTo>
                  <a:cubicBezTo>
                    <a:pt x="376378" y="58178"/>
                    <a:pt x="379098" y="60898"/>
                    <a:pt x="381818" y="63617"/>
                  </a:cubicBezTo>
                  <a:cubicBezTo>
                    <a:pt x="384537" y="69057"/>
                    <a:pt x="387257" y="77216"/>
                    <a:pt x="389977" y="82655"/>
                  </a:cubicBezTo>
                  <a:cubicBezTo>
                    <a:pt x="389977" y="90814"/>
                    <a:pt x="392696" y="107132"/>
                    <a:pt x="392696" y="126170"/>
                  </a:cubicBezTo>
                  <a:cubicBezTo>
                    <a:pt x="392696" y="150647"/>
                    <a:pt x="392696" y="177843"/>
                    <a:pt x="395416" y="186002"/>
                  </a:cubicBezTo>
                  <a:cubicBezTo>
                    <a:pt x="398136" y="205040"/>
                    <a:pt x="398136" y="215918"/>
                    <a:pt x="398136" y="237675"/>
                  </a:cubicBezTo>
                  <a:cubicBezTo>
                    <a:pt x="398136" y="240395"/>
                    <a:pt x="398136" y="243115"/>
                    <a:pt x="398136" y="243115"/>
                  </a:cubicBezTo>
                  <a:cubicBezTo>
                    <a:pt x="398136" y="248554"/>
                    <a:pt x="398136" y="251274"/>
                    <a:pt x="395416" y="256713"/>
                  </a:cubicBezTo>
                  <a:cubicBezTo>
                    <a:pt x="392696" y="267592"/>
                    <a:pt x="389977" y="278470"/>
                    <a:pt x="379098" y="278470"/>
                  </a:cubicBezTo>
                  <a:cubicBezTo>
                    <a:pt x="370939" y="278470"/>
                    <a:pt x="368219" y="275751"/>
                    <a:pt x="362780" y="273031"/>
                  </a:cubicBezTo>
                  <a:cubicBezTo>
                    <a:pt x="357341" y="270311"/>
                    <a:pt x="354621" y="262152"/>
                    <a:pt x="354621" y="256713"/>
                  </a:cubicBezTo>
                  <a:cubicBezTo>
                    <a:pt x="349182" y="237675"/>
                    <a:pt x="354621" y="232236"/>
                    <a:pt x="354621" y="213198"/>
                  </a:cubicBezTo>
                  <a:cubicBezTo>
                    <a:pt x="354621" y="210479"/>
                    <a:pt x="354621" y="207759"/>
                    <a:pt x="354621" y="205040"/>
                  </a:cubicBezTo>
                  <a:cubicBezTo>
                    <a:pt x="349182" y="186002"/>
                    <a:pt x="343742" y="169684"/>
                    <a:pt x="338303" y="147927"/>
                  </a:cubicBezTo>
                  <a:cubicBezTo>
                    <a:pt x="332864" y="131609"/>
                    <a:pt x="311107" y="107132"/>
                    <a:pt x="292069" y="107132"/>
                  </a:cubicBezTo>
                  <a:cubicBezTo>
                    <a:pt x="281190" y="107132"/>
                    <a:pt x="270312" y="115291"/>
                    <a:pt x="262153" y="120730"/>
                  </a:cubicBezTo>
                  <a:cubicBezTo>
                    <a:pt x="259433" y="123450"/>
                    <a:pt x="256713" y="126170"/>
                    <a:pt x="251274" y="131609"/>
                  </a:cubicBezTo>
                  <a:cubicBezTo>
                    <a:pt x="248554" y="134329"/>
                    <a:pt x="243115" y="137048"/>
                    <a:pt x="240395" y="139768"/>
                  </a:cubicBezTo>
                  <a:cubicBezTo>
                    <a:pt x="237676" y="145207"/>
                    <a:pt x="240395" y="156086"/>
                    <a:pt x="237676" y="164245"/>
                  </a:cubicBezTo>
                  <a:cubicBezTo>
                    <a:pt x="232236" y="175123"/>
                    <a:pt x="229517" y="186002"/>
                    <a:pt x="226797" y="196881"/>
                  </a:cubicBezTo>
                  <a:cubicBezTo>
                    <a:pt x="221358" y="218638"/>
                    <a:pt x="218638" y="237675"/>
                    <a:pt x="213199" y="259433"/>
                  </a:cubicBezTo>
                  <a:cubicBezTo>
                    <a:pt x="210479" y="281190"/>
                    <a:pt x="207759" y="302947"/>
                    <a:pt x="207759" y="324704"/>
                  </a:cubicBezTo>
                  <a:cubicBezTo>
                    <a:pt x="207759" y="327424"/>
                    <a:pt x="207759" y="332863"/>
                    <a:pt x="207759" y="335583"/>
                  </a:cubicBezTo>
                  <a:cubicBezTo>
                    <a:pt x="207759" y="341022"/>
                    <a:pt x="205040" y="343742"/>
                    <a:pt x="205040" y="349181"/>
                  </a:cubicBezTo>
                  <a:cubicBezTo>
                    <a:pt x="205040" y="354621"/>
                    <a:pt x="207759" y="362779"/>
                    <a:pt x="207759" y="368219"/>
                  </a:cubicBezTo>
                  <a:cubicBezTo>
                    <a:pt x="207759" y="370939"/>
                    <a:pt x="207759" y="373658"/>
                    <a:pt x="207759" y="376378"/>
                  </a:cubicBezTo>
                  <a:cubicBezTo>
                    <a:pt x="205040" y="381817"/>
                    <a:pt x="205040" y="384537"/>
                    <a:pt x="205040" y="387256"/>
                  </a:cubicBezTo>
                  <a:cubicBezTo>
                    <a:pt x="205040" y="389976"/>
                    <a:pt x="205040" y="392696"/>
                    <a:pt x="205040" y="395415"/>
                  </a:cubicBezTo>
                  <a:cubicBezTo>
                    <a:pt x="205040" y="398135"/>
                    <a:pt x="205040" y="403574"/>
                    <a:pt x="205040" y="406294"/>
                  </a:cubicBezTo>
                  <a:cubicBezTo>
                    <a:pt x="205040" y="411733"/>
                    <a:pt x="205040" y="417173"/>
                    <a:pt x="205040" y="425332"/>
                  </a:cubicBezTo>
                  <a:cubicBezTo>
                    <a:pt x="205040" y="449809"/>
                    <a:pt x="213199" y="471566"/>
                    <a:pt x="213199" y="493323"/>
                  </a:cubicBezTo>
                  <a:cubicBezTo>
                    <a:pt x="213199" y="517800"/>
                    <a:pt x="215919" y="539557"/>
                    <a:pt x="221358" y="561314"/>
                  </a:cubicBezTo>
                  <a:cubicBezTo>
                    <a:pt x="224077" y="572193"/>
                    <a:pt x="224077" y="580352"/>
                    <a:pt x="226797" y="591231"/>
                  </a:cubicBezTo>
                  <a:cubicBezTo>
                    <a:pt x="229517" y="599390"/>
                    <a:pt x="237676" y="607548"/>
                    <a:pt x="240395" y="618427"/>
                  </a:cubicBezTo>
                  <a:cubicBezTo>
                    <a:pt x="248554" y="637465"/>
                    <a:pt x="262153" y="651063"/>
                    <a:pt x="283910" y="651063"/>
                  </a:cubicBezTo>
                  <a:cubicBezTo>
                    <a:pt x="302948" y="651063"/>
                    <a:pt x="330144" y="629306"/>
                    <a:pt x="338303" y="612988"/>
                  </a:cubicBezTo>
                  <a:cubicBezTo>
                    <a:pt x="346462" y="599390"/>
                    <a:pt x="351901" y="591231"/>
                    <a:pt x="354621" y="577632"/>
                  </a:cubicBezTo>
                  <a:cubicBezTo>
                    <a:pt x="354621" y="550436"/>
                    <a:pt x="354621" y="517800"/>
                    <a:pt x="357341" y="509641"/>
                  </a:cubicBezTo>
                  <a:cubicBezTo>
                    <a:pt x="357341" y="501482"/>
                    <a:pt x="357341" y="490603"/>
                    <a:pt x="362780" y="485164"/>
                  </a:cubicBezTo>
                  <a:cubicBezTo>
                    <a:pt x="365500" y="482444"/>
                    <a:pt x="365500" y="479725"/>
                    <a:pt x="368219" y="474286"/>
                  </a:cubicBezTo>
                  <a:cubicBezTo>
                    <a:pt x="370939" y="471566"/>
                    <a:pt x="373659" y="468846"/>
                    <a:pt x="376378" y="468846"/>
                  </a:cubicBezTo>
                  <a:cubicBezTo>
                    <a:pt x="379098" y="468846"/>
                    <a:pt x="381818" y="471566"/>
                    <a:pt x="384537" y="474286"/>
                  </a:cubicBezTo>
                  <a:cubicBezTo>
                    <a:pt x="387257" y="479725"/>
                    <a:pt x="389977" y="487884"/>
                    <a:pt x="392696" y="493323"/>
                  </a:cubicBezTo>
                  <a:cubicBezTo>
                    <a:pt x="392696" y="501482"/>
                    <a:pt x="395416" y="539557"/>
                    <a:pt x="395416" y="558595"/>
                  </a:cubicBezTo>
                  <a:cubicBezTo>
                    <a:pt x="395416" y="583072"/>
                    <a:pt x="395416" y="610268"/>
                    <a:pt x="398136" y="618427"/>
                  </a:cubicBezTo>
                  <a:cubicBezTo>
                    <a:pt x="398136" y="648343"/>
                    <a:pt x="400855" y="659222"/>
                    <a:pt x="400855" y="678260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/>
            </a:p>
          </p:txBody>
        </p:sp>
        <p:sp>
          <p:nvSpPr>
            <p:cNvPr id="38" name="Freeform: Shape 37">
              <a:extLst>
                <a:ext uri="{FF2B5EF4-FFF2-40B4-BE49-F238E27FC236}">
                  <a16:creationId xmlns:a16="http://schemas.microsoft.com/office/drawing/2014/main" id="{2AC84430-0710-42C3-979B-215E8CEF9C69}"/>
                </a:ext>
              </a:extLst>
            </p:cNvPr>
            <p:cNvSpPr/>
            <p:nvPr/>
          </p:nvSpPr>
          <p:spPr>
            <a:xfrm>
              <a:off x="3829459" y="4200317"/>
              <a:ext cx="598325" cy="761503"/>
            </a:xfrm>
            <a:custGeom>
              <a:avLst/>
              <a:gdLst>
                <a:gd name="connsiteX0" fmla="*/ 360060 w 598324"/>
                <a:gd name="connsiteY0" fmla="*/ 332863 h 761503"/>
                <a:gd name="connsiteX1" fmla="*/ 341023 w 598324"/>
                <a:gd name="connsiteY1" fmla="*/ 370939 h 761503"/>
                <a:gd name="connsiteX2" fmla="*/ 376378 w 598324"/>
                <a:gd name="connsiteY2" fmla="*/ 389976 h 761503"/>
                <a:gd name="connsiteX3" fmla="*/ 425332 w 598324"/>
                <a:gd name="connsiteY3" fmla="*/ 433491 h 761503"/>
                <a:gd name="connsiteX4" fmla="*/ 438930 w 598324"/>
                <a:gd name="connsiteY4" fmla="*/ 463407 h 761503"/>
                <a:gd name="connsiteX5" fmla="*/ 449809 w 598324"/>
                <a:gd name="connsiteY5" fmla="*/ 498762 h 761503"/>
                <a:gd name="connsiteX6" fmla="*/ 457968 w 598324"/>
                <a:gd name="connsiteY6" fmla="*/ 528679 h 761503"/>
                <a:gd name="connsiteX7" fmla="*/ 466127 w 598324"/>
                <a:gd name="connsiteY7" fmla="*/ 564034 h 761503"/>
                <a:gd name="connsiteX8" fmla="*/ 471566 w 598324"/>
                <a:gd name="connsiteY8" fmla="*/ 593950 h 761503"/>
                <a:gd name="connsiteX9" fmla="*/ 479725 w 598324"/>
                <a:gd name="connsiteY9" fmla="*/ 607548 h 761503"/>
                <a:gd name="connsiteX10" fmla="*/ 487884 w 598324"/>
                <a:gd name="connsiteY10" fmla="*/ 623867 h 761503"/>
                <a:gd name="connsiteX11" fmla="*/ 501482 w 598324"/>
                <a:gd name="connsiteY11" fmla="*/ 651063 h 761503"/>
                <a:gd name="connsiteX12" fmla="*/ 523240 w 598324"/>
                <a:gd name="connsiteY12" fmla="*/ 670101 h 761503"/>
                <a:gd name="connsiteX13" fmla="*/ 534119 w 598324"/>
                <a:gd name="connsiteY13" fmla="*/ 686418 h 761503"/>
                <a:gd name="connsiteX14" fmla="*/ 531399 w 598324"/>
                <a:gd name="connsiteY14" fmla="*/ 694578 h 761503"/>
                <a:gd name="connsiteX15" fmla="*/ 498763 w 598324"/>
                <a:gd name="connsiteY15" fmla="*/ 708176 h 761503"/>
                <a:gd name="connsiteX16" fmla="*/ 449809 w 598324"/>
                <a:gd name="connsiteY16" fmla="*/ 700017 h 761503"/>
                <a:gd name="connsiteX17" fmla="*/ 400855 w 598324"/>
                <a:gd name="connsiteY17" fmla="*/ 667381 h 761503"/>
                <a:gd name="connsiteX18" fmla="*/ 381817 w 598324"/>
                <a:gd name="connsiteY18" fmla="*/ 642904 h 761503"/>
                <a:gd name="connsiteX19" fmla="*/ 368219 w 598324"/>
                <a:gd name="connsiteY19" fmla="*/ 610268 h 761503"/>
                <a:gd name="connsiteX20" fmla="*/ 349182 w 598324"/>
                <a:gd name="connsiteY20" fmla="*/ 550436 h 761503"/>
                <a:gd name="connsiteX21" fmla="*/ 338303 w 598324"/>
                <a:gd name="connsiteY21" fmla="*/ 504202 h 761503"/>
                <a:gd name="connsiteX22" fmla="*/ 330144 w 598324"/>
                <a:gd name="connsiteY22" fmla="*/ 477005 h 761503"/>
                <a:gd name="connsiteX23" fmla="*/ 321985 w 598324"/>
                <a:gd name="connsiteY23" fmla="*/ 455248 h 761503"/>
                <a:gd name="connsiteX24" fmla="*/ 305667 w 598324"/>
                <a:gd name="connsiteY24" fmla="*/ 436210 h 761503"/>
                <a:gd name="connsiteX25" fmla="*/ 294788 w 598324"/>
                <a:gd name="connsiteY25" fmla="*/ 441650 h 761503"/>
                <a:gd name="connsiteX26" fmla="*/ 278471 w 598324"/>
                <a:gd name="connsiteY26" fmla="*/ 463407 h 761503"/>
                <a:gd name="connsiteX27" fmla="*/ 264872 w 598324"/>
                <a:gd name="connsiteY27" fmla="*/ 496043 h 761503"/>
                <a:gd name="connsiteX28" fmla="*/ 262153 w 598324"/>
                <a:gd name="connsiteY28" fmla="*/ 517800 h 761503"/>
                <a:gd name="connsiteX29" fmla="*/ 262153 w 598324"/>
                <a:gd name="connsiteY29" fmla="*/ 523239 h 761503"/>
                <a:gd name="connsiteX30" fmla="*/ 262153 w 598324"/>
                <a:gd name="connsiteY30" fmla="*/ 553155 h 761503"/>
                <a:gd name="connsiteX31" fmla="*/ 262153 w 598324"/>
                <a:gd name="connsiteY31" fmla="*/ 629306 h 761503"/>
                <a:gd name="connsiteX32" fmla="*/ 259433 w 598324"/>
                <a:gd name="connsiteY32" fmla="*/ 659222 h 761503"/>
                <a:gd name="connsiteX33" fmla="*/ 283910 w 598324"/>
                <a:gd name="connsiteY33" fmla="*/ 659222 h 761503"/>
                <a:gd name="connsiteX34" fmla="*/ 321985 w 598324"/>
                <a:gd name="connsiteY34" fmla="*/ 675540 h 761503"/>
                <a:gd name="connsiteX35" fmla="*/ 316546 w 598324"/>
                <a:gd name="connsiteY35" fmla="*/ 691858 h 761503"/>
                <a:gd name="connsiteX36" fmla="*/ 300228 w 598324"/>
                <a:gd name="connsiteY36" fmla="*/ 700017 h 761503"/>
                <a:gd name="connsiteX37" fmla="*/ 278471 w 598324"/>
                <a:gd name="connsiteY37" fmla="*/ 702736 h 761503"/>
                <a:gd name="connsiteX38" fmla="*/ 243115 w 598324"/>
                <a:gd name="connsiteY38" fmla="*/ 702736 h 761503"/>
                <a:gd name="connsiteX39" fmla="*/ 221358 w 598324"/>
                <a:gd name="connsiteY39" fmla="*/ 710895 h 761503"/>
                <a:gd name="connsiteX40" fmla="*/ 194161 w 598324"/>
                <a:gd name="connsiteY40" fmla="*/ 702736 h 761503"/>
                <a:gd name="connsiteX41" fmla="*/ 177843 w 598324"/>
                <a:gd name="connsiteY41" fmla="*/ 702736 h 761503"/>
                <a:gd name="connsiteX42" fmla="*/ 126170 w 598324"/>
                <a:gd name="connsiteY42" fmla="*/ 702736 h 761503"/>
                <a:gd name="connsiteX43" fmla="*/ 101693 w 598324"/>
                <a:gd name="connsiteY43" fmla="*/ 702736 h 761503"/>
                <a:gd name="connsiteX44" fmla="*/ 74496 w 598324"/>
                <a:gd name="connsiteY44" fmla="*/ 697297 h 761503"/>
                <a:gd name="connsiteX45" fmla="*/ 58178 w 598324"/>
                <a:gd name="connsiteY45" fmla="*/ 680979 h 761503"/>
                <a:gd name="connsiteX46" fmla="*/ 63617 w 598324"/>
                <a:gd name="connsiteY46" fmla="*/ 672820 h 761503"/>
                <a:gd name="connsiteX47" fmla="*/ 85375 w 598324"/>
                <a:gd name="connsiteY47" fmla="*/ 664661 h 761503"/>
                <a:gd name="connsiteX48" fmla="*/ 128889 w 598324"/>
                <a:gd name="connsiteY48" fmla="*/ 659222 h 761503"/>
                <a:gd name="connsiteX49" fmla="*/ 147927 w 598324"/>
                <a:gd name="connsiteY49" fmla="*/ 659222 h 761503"/>
                <a:gd name="connsiteX50" fmla="*/ 145207 w 598324"/>
                <a:gd name="connsiteY50" fmla="*/ 653783 h 761503"/>
                <a:gd name="connsiteX51" fmla="*/ 131609 w 598324"/>
                <a:gd name="connsiteY51" fmla="*/ 585791 h 761503"/>
                <a:gd name="connsiteX52" fmla="*/ 134329 w 598324"/>
                <a:gd name="connsiteY52" fmla="*/ 498762 h 761503"/>
                <a:gd name="connsiteX53" fmla="*/ 137048 w 598324"/>
                <a:gd name="connsiteY53" fmla="*/ 406294 h 761503"/>
                <a:gd name="connsiteX54" fmla="*/ 134329 w 598324"/>
                <a:gd name="connsiteY54" fmla="*/ 327424 h 761503"/>
                <a:gd name="connsiteX55" fmla="*/ 137048 w 598324"/>
                <a:gd name="connsiteY55" fmla="*/ 253993 h 761503"/>
                <a:gd name="connsiteX56" fmla="*/ 139768 w 598324"/>
                <a:gd name="connsiteY56" fmla="*/ 207759 h 761503"/>
                <a:gd name="connsiteX57" fmla="*/ 137048 w 598324"/>
                <a:gd name="connsiteY57" fmla="*/ 172404 h 761503"/>
                <a:gd name="connsiteX58" fmla="*/ 137048 w 598324"/>
                <a:gd name="connsiteY58" fmla="*/ 112571 h 761503"/>
                <a:gd name="connsiteX59" fmla="*/ 126170 w 598324"/>
                <a:gd name="connsiteY59" fmla="*/ 112571 h 761503"/>
                <a:gd name="connsiteX60" fmla="*/ 101693 w 598324"/>
                <a:gd name="connsiteY60" fmla="*/ 112571 h 761503"/>
                <a:gd name="connsiteX61" fmla="*/ 74496 w 598324"/>
                <a:gd name="connsiteY61" fmla="*/ 107132 h 761503"/>
                <a:gd name="connsiteX62" fmla="*/ 58178 w 598324"/>
                <a:gd name="connsiteY62" fmla="*/ 90814 h 761503"/>
                <a:gd name="connsiteX63" fmla="*/ 63617 w 598324"/>
                <a:gd name="connsiteY63" fmla="*/ 82655 h 761503"/>
                <a:gd name="connsiteX64" fmla="*/ 85375 w 598324"/>
                <a:gd name="connsiteY64" fmla="*/ 74496 h 761503"/>
                <a:gd name="connsiteX65" fmla="*/ 137048 w 598324"/>
                <a:gd name="connsiteY65" fmla="*/ 69057 h 761503"/>
                <a:gd name="connsiteX66" fmla="*/ 145207 w 598324"/>
                <a:gd name="connsiteY66" fmla="*/ 69057 h 761503"/>
                <a:gd name="connsiteX67" fmla="*/ 169684 w 598324"/>
                <a:gd name="connsiteY67" fmla="*/ 58178 h 761503"/>
                <a:gd name="connsiteX68" fmla="*/ 177843 w 598324"/>
                <a:gd name="connsiteY68" fmla="*/ 58178 h 761503"/>
                <a:gd name="connsiteX69" fmla="*/ 205040 w 598324"/>
                <a:gd name="connsiteY69" fmla="*/ 66337 h 761503"/>
                <a:gd name="connsiteX70" fmla="*/ 286629 w 598324"/>
                <a:gd name="connsiteY70" fmla="*/ 63617 h 761503"/>
                <a:gd name="connsiteX71" fmla="*/ 324705 w 598324"/>
                <a:gd name="connsiteY71" fmla="*/ 79936 h 761503"/>
                <a:gd name="connsiteX72" fmla="*/ 319265 w 598324"/>
                <a:gd name="connsiteY72" fmla="*/ 96253 h 761503"/>
                <a:gd name="connsiteX73" fmla="*/ 302948 w 598324"/>
                <a:gd name="connsiteY73" fmla="*/ 104412 h 761503"/>
                <a:gd name="connsiteX74" fmla="*/ 278471 w 598324"/>
                <a:gd name="connsiteY74" fmla="*/ 112571 h 761503"/>
                <a:gd name="connsiteX75" fmla="*/ 232236 w 598324"/>
                <a:gd name="connsiteY75" fmla="*/ 112571 h 761503"/>
                <a:gd name="connsiteX76" fmla="*/ 240395 w 598324"/>
                <a:gd name="connsiteY76" fmla="*/ 137048 h 761503"/>
                <a:gd name="connsiteX77" fmla="*/ 240395 w 598324"/>
                <a:gd name="connsiteY77" fmla="*/ 150647 h 761503"/>
                <a:gd name="connsiteX78" fmla="*/ 243115 w 598324"/>
                <a:gd name="connsiteY78" fmla="*/ 158805 h 761503"/>
                <a:gd name="connsiteX79" fmla="*/ 248554 w 598324"/>
                <a:gd name="connsiteY79" fmla="*/ 188722 h 761503"/>
                <a:gd name="connsiteX80" fmla="*/ 248554 w 598324"/>
                <a:gd name="connsiteY80" fmla="*/ 199600 h 761503"/>
                <a:gd name="connsiteX81" fmla="*/ 248554 w 598324"/>
                <a:gd name="connsiteY81" fmla="*/ 221357 h 761503"/>
                <a:gd name="connsiteX82" fmla="*/ 253994 w 598324"/>
                <a:gd name="connsiteY82" fmla="*/ 264872 h 761503"/>
                <a:gd name="connsiteX83" fmla="*/ 262153 w 598324"/>
                <a:gd name="connsiteY83" fmla="*/ 297508 h 761503"/>
                <a:gd name="connsiteX84" fmla="*/ 264872 w 598324"/>
                <a:gd name="connsiteY84" fmla="*/ 324704 h 761503"/>
                <a:gd name="connsiteX85" fmla="*/ 264872 w 598324"/>
                <a:gd name="connsiteY85" fmla="*/ 332863 h 761503"/>
                <a:gd name="connsiteX86" fmla="*/ 264872 w 598324"/>
                <a:gd name="connsiteY86" fmla="*/ 351901 h 761503"/>
                <a:gd name="connsiteX87" fmla="*/ 262153 w 598324"/>
                <a:gd name="connsiteY87" fmla="*/ 370939 h 761503"/>
                <a:gd name="connsiteX88" fmla="*/ 267592 w 598324"/>
                <a:gd name="connsiteY88" fmla="*/ 384537 h 761503"/>
                <a:gd name="connsiteX89" fmla="*/ 278471 w 598324"/>
                <a:gd name="connsiteY89" fmla="*/ 370939 h 761503"/>
                <a:gd name="connsiteX90" fmla="*/ 297508 w 598324"/>
                <a:gd name="connsiteY90" fmla="*/ 332863 h 761503"/>
                <a:gd name="connsiteX91" fmla="*/ 311106 w 598324"/>
                <a:gd name="connsiteY91" fmla="*/ 305667 h 761503"/>
                <a:gd name="connsiteX92" fmla="*/ 335583 w 598324"/>
                <a:gd name="connsiteY92" fmla="*/ 259433 h 761503"/>
                <a:gd name="connsiteX93" fmla="*/ 354621 w 598324"/>
                <a:gd name="connsiteY93" fmla="*/ 224077 h 761503"/>
                <a:gd name="connsiteX94" fmla="*/ 381817 w 598324"/>
                <a:gd name="connsiteY94" fmla="*/ 172404 h 761503"/>
                <a:gd name="connsiteX95" fmla="*/ 409014 w 598324"/>
                <a:gd name="connsiteY95" fmla="*/ 118011 h 761503"/>
                <a:gd name="connsiteX96" fmla="*/ 411734 w 598324"/>
                <a:gd name="connsiteY96" fmla="*/ 115291 h 761503"/>
                <a:gd name="connsiteX97" fmla="*/ 398136 w 598324"/>
                <a:gd name="connsiteY97" fmla="*/ 115291 h 761503"/>
                <a:gd name="connsiteX98" fmla="*/ 379098 w 598324"/>
                <a:gd name="connsiteY98" fmla="*/ 109852 h 761503"/>
                <a:gd name="connsiteX99" fmla="*/ 368219 w 598324"/>
                <a:gd name="connsiteY99" fmla="*/ 93534 h 761503"/>
                <a:gd name="connsiteX100" fmla="*/ 370939 w 598324"/>
                <a:gd name="connsiteY100" fmla="*/ 85375 h 761503"/>
                <a:gd name="connsiteX101" fmla="*/ 387257 w 598324"/>
                <a:gd name="connsiteY101" fmla="*/ 77216 h 761503"/>
                <a:gd name="connsiteX102" fmla="*/ 422612 w 598324"/>
                <a:gd name="connsiteY102" fmla="*/ 71776 h 761503"/>
                <a:gd name="connsiteX103" fmla="*/ 436211 w 598324"/>
                <a:gd name="connsiteY103" fmla="*/ 71776 h 761503"/>
                <a:gd name="connsiteX104" fmla="*/ 438930 w 598324"/>
                <a:gd name="connsiteY104" fmla="*/ 69057 h 761503"/>
                <a:gd name="connsiteX105" fmla="*/ 452529 w 598324"/>
                <a:gd name="connsiteY105" fmla="*/ 66337 h 761503"/>
                <a:gd name="connsiteX106" fmla="*/ 466127 w 598324"/>
                <a:gd name="connsiteY106" fmla="*/ 69057 h 761503"/>
                <a:gd name="connsiteX107" fmla="*/ 471566 w 598324"/>
                <a:gd name="connsiteY107" fmla="*/ 71776 h 761503"/>
                <a:gd name="connsiteX108" fmla="*/ 515081 w 598324"/>
                <a:gd name="connsiteY108" fmla="*/ 71776 h 761503"/>
                <a:gd name="connsiteX109" fmla="*/ 542277 w 598324"/>
                <a:gd name="connsiteY109" fmla="*/ 88094 h 761503"/>
                <a:gd name="connsiteX110" fmla="*/ 536838 w 598324"/>
                <a:gd name="connsiteY110" fmla="*/ 104412 h 761503"/>
                <a:gd name="connsiteX111" fmla="*/ 525959 w 598324"/>
                <a:gd name="connsiteY111" fmla="*/ 112571 h 761503"/>
                <a:gd name="connsiteX112" fmla="*/ 509642 w 598324"/>
                <a:gd name="connsiteY112" fmla="*/ 115291 h 761503"/>
                <a:gd name="connsiteX113" fmla="*/ 468847 w 598324"/>
                <a:gd name="connsiteY113" fmla="*/ 115291 h 761503"/>
                <a:gd name="connsiteX114" fmla="*/ 457968 w 598324"/>
                <a:gd name="connsiteY114" fmla="*/ 137048 h 761503"/>
                <a:gd name="connsiteX115" fmla="*/ 430771 w 598324"/>
                <a:gd name="connsiteY115" fmla="*/ 194161 h 761503"/>
                <a:gd name="connsiteX116" fmla="*/ 400855 w 598324"/>
                <a:gd name="connsiteY116" fmla="*/ 262152 h 761503"/>
                <a:gd name="connsiteX117" fmla="*/ 360060 w 598324"/>
                <a:gd name="connsiteY117" fmla="*/ 332863 h 761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</a:cxnLst>
              <a:rect l="l" t="t" r="r" b="b"/>
              <a:pathLst>
                <a:path w="598324" h="761503">
                  <a:moveTo>
                    <a:pt x="360060" y="332863"/>
                  </a:moveTo>
                  <a:cubicBezTo>
                    <a:pt x="351901" y="343742"/>
                    <a:pt x="341023" y="357340"/>
                    <a:pt x="341023" y="370939"/>
                  </a:cubicBezTo>
                  <a:cubicBezTo>
                    <a:pt x="341023" y="379098"/>
                    <a:pt x="357341" y="381817"/>
                    <a:pt x="376378" y="389976"/>
                  </a:cubicBezTo>
                  <a:cubicBezTo>
                    <a:pt x="395416" y="398135"/>
                    <a:pt x="417173" y="417173"/>
                    <a:pt x="425332" y="433491"/>
                  </a:cubicBezTo>
                  <a:cubicBezTo>
                    <a:pt x="430771" y="444369"/>
                    <a:pt x="436211" y="452528"/>
                    <a:pt x="438930" y="463407"/>
                  </a:cubicBezTo>
                  <a:cubicBezTo>
                    <a:pt x="444370" y="474286"/>
                    <a:pt x="447089" y="487884"/>
                    <a:pt x="449809" y="498762"/>
                  </a:cubicBezTo>
                  <a:cubicBezTo>
                    <a:pt x="452529" y="512361"/>
                    <a:pt x="452529" y="517800"/>
                    <a:pt x="457968" y="528679"/>
                  </a:cubicBezTo>
                  <a:cubicBezTo>
                    <a:pt x="463407" y="539557"/>
                    <a:pt x="463407" y="553155"/>
                    <a:pt x="466127" y="564034"/>
                  </a:cubicBezTo>
                  <a:cubicBezTo>
                    <a:pt x="468847" y="572193"/>
                    <a:pt x="468847" y="585791"/>
                    <a:pt x="471566" y="593950"/>
                  </a:cubicBezTo>
                  <a:cubicBezTo>
                    <a:pt x="474286" y="599390"/>
                    <a:pt x="477006" y="602109"/>
                    <a:pt x="479725" y="607548"/>
                  </a:cubicBezTo>
                  <a:cubicBezTo>
                    <a:pt x="482445" y="612988"/>
                    <a:pt x="487884" y="618427"/>
                    <a:pt x="487884" y="623867"/>
                  </a:cubicBezTo>
                  <a:cubicBezTo>
                    <a:pt x="490604" y="634745"/>
                    <a:pt x="496043" y="642904"/>
                    <a:pt x="501482" y="651063"/>
                  </a:cubicBezTo>
                  <a:cubicBezTo>
                    <a:pt x="506922" y="661942"/>
                    <a:pt x="512361" y="664661"/>
                    <a:pt x="523240" y="670101"/>
                  </a:cubicBezTo>
                  <a:cubicBezTo>
                    <a:pt x="528679" y="672820"/>
                    <a:pt x="534119" y="680979"/>
                    <a:pt x="534119" y="686418"/>
                  </a:cubicBezTo>
                  <a:cubicBezTo>
                    <a:pt x="534119" y="689138"/>
                    <a:pt x="534119" y="691858"/>
                    <a:pt x="531399" y="694578"/>
                  </a:cubicBezTo>
                  <a:cubicBezTo>
                    <a:pt x="525959" y="702736"/>
                    <a:pt x="512361" y="708176"/>
                    <a:pt x="498763" y="708176"/>
                  </a:cubicBezTo>
                  <a:cubicBezTo>
                    <a:pt x="485165" y="708176"/>
                    <a:pt x="466127" y="705456"/>
                    <a:pt x="449809" y="700017"/>
                  </a:cubicBezTo>
                  <a:cubicBezTo>
                    <a:pt x="430771" y="694578"/>
                    <a:pt x="409014" y="675540"/>
                    <a:pt x="400855" y="667381"/>
                  </a:cubicBezTo>
                  <a:cubicBezTo>
                    <a:pt x="392696" y="659222"/>
                    <a:pt x="387257" y="651063"/>
                    <a:pt x="381817" y="642904"/>
                  </a:cubicBezTo>
                  <a:cubicBezTo>
                    <a:pt x="376378" y="632025"/>
                    <a:pt x="370939" y="623867"/>
                    <a:pt x="368219" y="610268"/>
                  </a:cubicBezTo>
                  <a:cubicBezTo>
                    <a:pt x="360060" y="588511"/>
                    <a:pt x="357341" y="574913"/>
                    <a:pt x="349182" y="550436"/>
                  </a:cubicBezTo>
                  <a:cubicBezTo>
                    <a:pt x="343742" y="534118"/>
                    <a:pt x="341023" y="520520"/>
                    <a:pt x="338303" y="504202"/>
                  </a:cubicBezTo>
                  <a:cubicBezTo>
                    <a:pt x="335583" y="493323"/>
                    <a:pt x="332864" y="485164"/>
                    <a:pt x="330144" y="477005"/>
                  </a:cubicBezTo>
                  <a:cubicBezTo>
                    <a:pt x="327424" y="471566"/>
                    <a:pt x="324705" y="463407"/>
                    <a:pt x="321985" y="455248"/>
                  </a:cubicBezTo>
                  <a:cubicBezTo>
                    <a:pt x="316546" y="444369"/>
                    <a:pt x="311106" y="436210"/>
                    <a:pt x="305667" y="436210"/>
                  </a:cubicBezTo>
                  <a:cubicBezTo>
                    <a:pt x="302948" y="436210"/>
                    <a:pt x="300228" y="438930"/>
                    <a:pt x="294788" y="441650"/>
                  </a:cubicBezTo>
                  <a:cubicBezTo>
                    <a:pt x="289349" y="447089"/>
                    <a:pt x="283910" y="455248"/>
                    <a:pt x="278471" y="463407"/>
                  </a:cubicBezTo>
                  <a:cubicBezTo>
                    <a:pt x="270312" y="474286"/>
                    <a:pt x="267592" y="485164"/>
                    <a:pt x="264872" y="496043"/>
                  </a:cubicBezTo>
                  <a:cubicBezTo>
                    <a:pt x="264872" y="504202"/>
                    <a:pt x="262153" y="512361"/>
                    <a:pt x="262153" y="517800"/>
                  </a:cubicBezTo>
                  <a:cubicBezTo>
                    <a:pt x="262153" y="520520"/>
                    <a:pt x="262153" y="520520"/>
                    <a:pt x="262153" y="523239"/>
                  </a:cubicBezTo>
                  <a:cubicBezTo>
                    <a:pt x="262153" y="528679"/>
                    <a:pt x="262153" y="544997"/>
                    <a:pt x="262153" y="553155"/>
                  </a:cubicBezTo>
                  <a:cubicBezTo>
                    <a:pt x="262153" y="583072"/>
                    <a:pt x="264872" y="599390"/>
                    <a:pt x="262153" y="629306"/>
                  </a:cubicBezTo>
                  <a:cubicBezTo>
                    <a:pt x="262153" y="640184"/>
                    <a:pt x="262153" y="648343"/>
                    <a:pt x="259433" y="659222"/>
                  </a:cubicBezTo>
                  <a:cubicBezTo>
                    <a:pt x="270312" y="659222"/>
                    <a:pt x="278471" y="659222"/>
                    <a:pt x="283910" y="659222"/>
                  </a:cubicBezTo>
                  <a:cubicBezTo>
                    <a:pt x="297508" y="659222"/>
                    <a:pt x="321985" y="659222"/>
                    <a:pt x="321985" y="675540"/>
                  </a:cubicBezTo>
                  <a:cubicBezTo>
                    <a:pt x="321985" y="683699"/>
                    <a:pt x="319265" y="686418"/>
                    <a:pt x="316546" y="691858"/>
                  </a:cubicBezTo>
                  <a:cubicBezTo>
                    <a:pt x="311106" y="697297"/>
                    <a:pt x="305667" y="700017"/>
                    <a:pt x="300228" y="700017"/>
                  </a:cubicBezTo>
                  <a:cubicBezTo>
                    <a:pt x="292069" y="702736"/>
                    <a:pt x="283910" y="702736"/>
                    <a:pt x="278471" y="702736"/>
                  </a:cubicBezTo>
                  <a:cubicBezTo>
                    <a:pt x="275751" y="702736"/>
                    <a:pt x="259433" y="702736"/>
                    <a:pt x="243115" y="702736"/>
                  </a:cubicBezTo>
                  <a:cubicBezTo>
                    <a:pt x="237676" y="708176"/>
                    <a:pt x="229517" y="710895"/>
                    <a:pt x="221358" y="710895"/>
                  </a:cubicBezTo>
                  <a:cubicBezTo>
                    <a:pt x="213199" y="710895"/>
                    <a:pt x="202320" y="708176"/>
                    <a:pt x="194161" y="702736"/>
                  </a:cubicBezTo>
                  <a:cubicBezTo>
                    <a:pt x="186002" y="702736"/>
                    <a:pt x="180563" y="702736"/>
                    <a:pt x="177843" y="702736"/>
                  </a:cubicBezTo>
                  <a:cubicBezTo>
                    <a:pt x="164245" y="702736"/>
                    <a:pt x="139768" y="702736"/>
                    <a:pt x="126170" y="702736"/>
                  </a:cubicBezTo>
                  <a:cubicBezTo>
                    <a:pt x="118011" y="702736"/>
                    <a:pt x="109852" y="702736"/>
                    <a:pt x="101693" y="702736"/>
                  </a:cubicBezTo>
                  <a:cubicBezTo>
                    <a:pt x="93534" y="702736"/>
                    <a:pt x="82655" y="702736"/>
                    <a:pt x="74496" y="697297"/>
                  </a:cubicBezTo>
                  <a:cubicBezTo>
                    <a:pt x="66337" y="694578"/>
                    <a:pt x="58178" y="686418"/>
                    <a:pt x="58178" y="680979"/>
                  </a:cubicBezTo>
                  <a:cubicBezTo>
                    <a:pt x="58178" y="678260"/>
                    <a:pt x="58178" y="675540"/>
                    <a:pt x="63617" y="672820"/>
                  </a:cubicBezTo>
                  <a:cubicBezTo>
                    <a:pt x="69057" y="670101"/>
                    <a:pt x="79935" y="667381"/>
                    <a:pt x="85375" y="664661"/>
                  </a:cubicBezTo>
                  <a:cubicBezTo>
                    <a:pt x="104412" y="661942"/>
                    <a:pt x="123450" y="659222"/>
                    <a:pt x="128889" y="659222"/>
                  </a:cubicBezTo>
                  <a:cubicBezTo>
                    <a:pt x="134329" y="659222"/>
                    <a:pt x="139768" y="659222"/>
                    <a:pt x="147927" y="659222"/>
                  </a:cubicBezTo>
                  <a:cubicBezTo>
                    <a:pt x="147927" y="656502"/>
                    <a:pt x="145207" y="653783"/>
                    <a:pt x="145207" y="653783"/>
                  </a:cubicBezTo>
                  <a:cubicBezTo>
                    <a:pt x="131609" y="632025"/>
                    <a:pt x="131609" y="610268"/>
                    <a:pt x="131609" y="585791"/>
                  </a:cubicBezTo>
                  <a:cubicBezTo>
                    <a:pt x="131609" y="555875"/>
                    <a:pt x="131609" y="528679"/>
                    <a:pt x="134329" y="498762"/>
                  </a:cubicBezTo>
                  <a:cubicBezTo>
                    <a:pt x="134329" y="468846"/>
                    <a:pt x="137048" y="436210"/>
                    <a:pt x="137048" y="406294"/>
                  </a:cubicBezTo>
                  <a:cubicBezTo>
                    <a:pt x="137048" y="379098"/>
                    <a:pt x="134329" y="354621"/>
                    <a:pt x="134329" y="327424"/>
                  </a:cubicBezTo>
                  <a:cubicBezTo>
                    <a:pt x="134329" y="302947"/>
                    <a:pt x="137048" y="278470"/>
                    <a:pt x="137048" y="253993"/>
                  </a:cubicBezTo>
                  <a:cubicBezTo>
                    <a:pt x="137048" y="237675"/>
                    <a:pt x="139768" y="224077"/>
                    <a:pt x="139768" y="207759"/>
                  </a:cubicBezTo>
                  <a:cubicBezTo>
                    <a:pt x="139768" y="196881"/>
                    <a:pt x="137048" y="183282"/>
                    <a:pt x="137048" y="172404"/>
                  </a:cubicBezTo>
                  <a:cubicBezTo>
                    <a:pt x="137048" y="150647"/>
                    <a:pt x="137048" y="131609"/>
                    <a:pt x="137048" y="112571"/>
                  </a:cubicBezTo>
                  <a:cubicBezTo>
                    <a:pt x="134329" y="112571"/>
                    <a:pt x="137048" y="112571"/>
                    <a:pt x="126170" y="112571"/>
                  </a:cubicBezTo>
                  <a:cubicBezTo>
                    <a:pt x="118011" y="112571"/>
                    <a:pt x="109852" y="112571"/>
                    <a:pt x="101693" y="112571"/>
                  </a:cubicBezTo>
                  <a:cubicBezTo>
                    <a:pt x="93534" y="112571"/>
                    <a:pt x="82655" y="109852"/>
                    <a:pt x="74496" y="107132"/>
                  </a:cubicBezTo>
                  <a:cubicBezTo>
                    <a:pt x="66337" y="104412"/>
                    <a:pt x="58178" y="96253"/>
                    <a:pt x="58178" y="90814"/>
                  </a:cubicBezTo>
                  <a:cubicBezTo>
                    <a:pt x="58178" y="88094"/>
                    <a:pt x="58178" y="85375"/>
                    <a:pt x="63617" y="82655"/>
                  </a:cubicBezTo>
                  <a:cubicBezTo>
                    <a:pt x="69057" y="79936"/>
                    <a:pt x="79935" y="77216"/>
                    <a:pt x="85375" y="74496"/>
                  </a:cubicBezTo>
                  <a:cubicBezTo>
                    <a:pt x="104412" y="71776"/>
                    <a:pt x="128889" y="69057"/>
                    <a:pt x="137048" y="69057"/>
                  </a:cubicBezTo>
                  <a:cubicBezTo>
                    <a:pt x="137048" y="69057"/>
                    <a:pt x="139768" y="69057"/>
                    <a:pt x="145207" y="69057"/>
                  </a:cubicBezTo>
                  <a:cubicBezTo>
                    <a:pt x="150646" y="60898"/>
                    <a:pt x="158806" y="58178"/>
                    <a:pt x="169684" y="58178"/>
                  </a:cubicBezTo>
                  <a:cubicBezTo>
                    <a:pt x="172404" y="58178"/>
                    <a:pt x="175123" y="58178"/>
                    <a:pt x="177843" y="58178"/>
                  </a:cubicBezTo>
                  <a:cubicBezTo>
                    <a:pt x="186002" y="58178"/>
                    <a:pt x="196881" y="63617"/>
                    <a:pt x="205040" y="66337"/>
                  </a:cubicBezTo>
                  <a:cubicBezTo>
                    <a:pt x="237676" y="66337"/>
                    <a:pt x="273031" y="63617"/>
                    <a:pt x="286629" y="63617"/>
                  </a:cubicBezTo>
                  <a:cubicBezTo>
                    <a:pt x="300228" y="63617"/>
                    <a:pt x="324705" y="63617"/>
                    <a:pt x="324705" y="79936"/>
                  </a:cubicBezTo>
                  <a:cubicBezTo>
                    <a:pt x="324705" y="88094"/>
                    <a:pt x="321985" y="90814"/>
                    <a:pt x="319265" y="96253"/>
                  </a:cubicBezTo>
                  <a:cubicBezTo>
                    <a:pt x="313826" y="101693"/>
                    <a:pt x="308387" y="104412"/>
                    <a:pt x="302948" y="104412"/>
                  </a:cubicBezTo>
                  <a:cubicBezTo>
                    <a:pt x="289349" y="112571"/>
                    <a:pt x="283910" y="112571"/>
                    <a:pt x="278471" y="112571"/>
                  </a:cubicBezTo>
                  <a:cubicBezTo>
                    <a:pt x="273031" y="112571"/>
                    <a:pt x="253994" y="112571"/>
                    <a:pt x="232236" y="112571"/>
                  </a:cubicBezTo>
                  <a:cubicBezTo>
                    <a:pt x="237676" y="120730"/>
                    <a:pt x="240395" y="128889"/>
                    <a:pt x="240395" y="137048"/>
                  </a:cubicBezTo>
                  <a:cubicBezTo>
                    <a:pt x="240395" y="142487"/>
                    <a:pt x="240395" y="145207"/>
                    <a:pt x="240395" y="150647"/>
                  </a:cubicBezTo>
                  <a:cubicBezTo>
                    <a:pt x="240395" y="153366"/>
                    <a:pt x="240395" y="156086"/>
                    <a:pt x="243115" y="158805"/>
                  </a:cubicBezTo>
                  <a:cubicBezTo>
                    <a:pt x="245835" y="169684"/>
                    <a:pt x="245835" y="180563"/>
                    <a:pt x="248554" y="188722"/>
                  </a:cubicBezTo>
                  <a:cubicBezTo>
                    <a:pt x="248554" y="191441"/>
                    <a:pt x="248554" y="194161"/>
                    <a:pt x="248554" y="199600"/>
                  </a:cubicBezTo>
                  <a:cubicBezTo>
                    <a:pt x="248554" y="207759"/>
                    <a:pt x="248554" y="213198"/>
                    <a:pt x="248554" y="221357"/>
                  </a:cubicBezTo>
                  <a:cubicBezTo>
                    <a:pt x="248554" y="234956"/>
                    <a:pt x="251274" y="248554"/>
                    <a:pt x="253994" y="264872"/>
                  </a:cubicBezTo>
                  <a:cubicBezTo>
                    <a:pt x="256713" y="275751"/>
                    <a:pt x="259433" y="286629"/>
                    <a:pt x="262153" y="297508"/>
                  </a:cubicBezTo>
                  <a:cubicBezTo>
                    <a:pt x="264872" y="305667"/>
                    <a:pt x="264872" y="313826"/>
                    <a:pt x="264872" y="324704"/>
                  </a:cubicBezTo>
                  <a:cubicBezTo>
                    <a:pt x="264872" y="327424"/>
                    <a:pt x="264872" y="330144"/>
                    <a:pt x="264872" y="332863"/>
                  </a:cubicBezTo>
                  <a:cubicBezTo>
                    <a:pt x="264872" y="338303"/>
                    <a:pt x="264872" y="346462"/>
                    <a:pt x="264872" y="351901"/>
                  </a:cubicBezTo>
                  <a:cubicBezTo>
                    <a:pt x="264872" y="357340"/>
                    <a:pt x="262153" y="365499"/>
                    <a:pt x="262153" y="370939"/>
                  </a:cubicBezTo>
                  <a:cubicBezTo>
                    <a:pt x="262153" y="376378"/>
                    <a:pt x="264872" y="384537"/>
                    <a:pt x="267592" y="384537"/>
                  </a:cubicBezTo>
                  <a:cubicBezTo>
                    <a:pt x="273031" y="384537"/>
                    <a:pt x="275751" y="376378"/>
                    <a:pt x="278471" y="370939"/>
                  </a:cubicBezTo>
                  <a:cubicBezTo>
                    <a:pt x="283910" y="360060"/>
                    <a:pt x="289349" y="346462"/>
                    <a:pt x="297508" y="332863"/>
                  </a:cubicBezTo>
                  <a:cubicBezTo>
                    <a:pt x="302948" y="324704"/>
                    <a:pt x="305667" y="313826"/>
                    <a:pt x="311106" y="305667"/>
                  </a:cubicBezTo>
                  <a:cubicBezTo>
                    <a:pt x="319265" y="289349"/>
                    <a:pt x="327424" y="275751"/>
                    <a:pt x="335583" y="259433"/>
                  </a:cubicBezTo>
                  <a:cubicBezTo>
                    <a:pt x="341023" y="248554"/>
                    <a:pt x="349182" y="234956"/>
                    <a:pt x="354621" y="224077"/>
                  </a:cubicBezTo>
                  <a:cubicBezTo>
                    <a:pt x="362780" y="207759"/>
                    <a:pt x="370939" y="191441"/>
                    <a:pt x="381817" y="172404"/>
                  </a:cubicBezTo>
                  <a:cubicBezTo>
                    <a:pt x="389977" y="153366"/>
                    <a:pt x="400855" y="134329"/>
                    <a:pt x="409014" y="118011"/>
                  </a:cubicBezTo>
                  <a:cubicBezTo>
                    <a:pt x="409014" y="115291"/>
                    <a:pt x="409014" y="115291"/>
                    <a:pt x="411734" y="115291"/>
                  </a:cubicBezTo>
                  <a:cubicBezTo>
                    <a:pt x="406294" y="115291"/>
                    <a:pt x="400855" y="115291"/>
                    <a:pt x="398136" y="115291"/>
                  </a:cubicBezTo>
                  <a:cubicBezTo>
                    <a:pt x="392696" y="115291"/>
                    <a:pt x="384537" y="115291"/>
                    <a:pt x="379098" y="109852"/>
                  </a:cubicBezTo>
                  <a:cubicBezTo>
                    <a:pt x="373659" y="107132"/>
                    <a:pt x="368219" y="98973"/>
                    <a:pt x="368219" y="93534"/>
                  </a:cubicBezTo>
                  <a:cubicBezTo>
                    <a:pt x="368219" y="90814"/>
                    <a:pt x="368219" y="88094"/>
                    <a:pt x="370939" y="85375"/>
                  </a:cubicBezTo>
                  <a:cubicBezTo>
                    <a:pt x="373659" y="82655"/>
                    <a:pt x="381817" y="79936"/>
                    <a:pt x="387257" y="77216"/>
                  </a:cubicBezTo>
                  <a:cubicBezTo>
                    <a:pt x="400855" y="74496"/>
                    <a:pt x="414453" y="71776"/>
                    <a:pt x="422612" y="71776"/>
                  </a:cubicBezTo>
                  <a:cubicBezTo>
                    <a:pt x="425332" y="71776"/>
                    <a:pt x="430771" y="71776"/>
                    <a:pt x="436211" y="71776"/>
                  </a:cubicBezTo>
                  <a:cubicBezTo>
                    <a:pt x="436211" y="71776"/>
                    <a:pt x="438930" y="69057"/>
                    <a:pt x="438930" y="69057"/>
                  </a:cubicBezTo>
                  <a:cubicBezTo>
                    <a:pt x="444370" y="66337"/>
                    <a:pt x="447089" y="66337"/>
                    <a:pt x="452529" y="66337"/>
                  </a:cubicBezTo>
                  <a:cubicBezTo>
                    <a:pt x="457968" y="66337"/>
                    <a:pt x="460688" y="66337"/>
                    <a:pt x="466127" y="69057"/>
                  </a:cubicBezTo>
                  <a:cubicBezTo>
                    <a:pt x="468847" y="69057"/>
                    <a:pt x="471566" y="71776"/>
                    <a:pt x="471566" y="71776"/>
                  </a:cubicBezTo>
                  <a:cubicBezTo>
                    <a:pt x="490604" y="71776"/>
                    <a:pt x="506922" y="71776"/>
                    <a:pt x="515081" y="71776"/>
                  </a:cubicBezTo>
                  <a:cubicBezTo>
                    <a:pt x="523240" y="71776"/>
                    <a:pt x="542277" y="71776"/>
                    <a:pt x="542277" y="88094"/>
                  </a:cubicBezTo>
                  <a:cubicBezTo>
                    <a:pt x="542277" y="96253"/>
                    <a:pt x="542277" y="98973"/>
                    <a:pt x="536838" y="104412"/>
                  </a:cubicBezTo>
                  <a:cubicBezTo>
                    <a:pt x="534119" y="109852"/>
                    <a:pt x="528679" y="112571"/>
                    <a:pt x="525959" y="112571"/>
                  </a:cubicBezTo>
                  <a:cubicBezTo>
                    <a:pt x="520520" y="115291"/>
                    <a:pt x="515081" y="115291"/>
                    <a:pt x="509642" y="115291"/>
                  </a:cubicBezTo>
                  <a:cubicBezTo>
                    <a:pt x="506922" y="115291"/>
                    <a:pt x="487884" y="115291"/>
                    <a:pt x="468847" y="115291"/>
                  </a:cubicBezTo>
                  <a:cubicBezTo>
                    <a:pt x="466127" y="123450"/>
                    <a:pt x="460688" y="128889"/>
                    <a:pt x="457968" y="137048"/>
                  </a:cubicBezTo>
                  <a:cubicBezTo>
                    <a:pt x="447089" y="156086"/>
                    <a:pt x="438930" y="175123"/>
                    <a:pt x="430771" y="194161"/>
                  </a:cubicBezTo>
                  <a:cubicBezTo>
                    <a:pt x="419893" y="215918"/>
                    <a:pt x="411734" y="240395"/>
                    <a:pt x="400855" y="262152"/>
                  </a:cubicBezTo>
                  <a:cubicBezTo>
                    <a:pt x="387257" y="289349"/>
                    <a:pt x="373659" y="311106"/>
                    <a:pt x="360060" y="332863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/>
            </a:p>
          </p:txBody>
        </p:sp>
        <p:sp>
          <p:nvSpPr>
            <p:cNvPr id="39" name="Freeform: Shape 38">
              <a:extLst>
                <a:ext uri="{FF2B5EF4-FFF2-40B4-BE49-F238E27FC236}">
                  <a16:creationId xmlns:a16="http://schemas.microsoft.com/office/drawing/2014/main" id="{C42A3273-E3DC-4FAE-9AFF-EC913E562EE9}"/>
                </a:ext>
              </a:extLst>
            </p:cNvPr>
            <p:cNvSpPr/>
            <p:nvPr/>
          </p:nvSpPr>
          <p:spPr>
            <a:xfrm>
              <a:off x="4335316" y="4186718"/>
              <a:ext cx="353556" cy="761503"/>
            </a:xfrm>
            <a:custGeom>
              <a:avLst/>
              <a:gdLst>
                <a:gd name="connsiteX0" fmla="*/ 283910 w 353555"/>
                <a:gd name="connsiteY0" fmla="*/ 672820 h 761503"/>
                <a:gd name="connsiteX1" fmla="*/ 321985 w 353555"/>
                <a:gd name="connsiteY1" fmla="*/ 689138 h 761503"/>
                <a:gd name="connsiteX2" fmla="*/ 316546 w 353555"/>
                <a:gd name="connsiteY2" fmla="*/ 705456 h 761503"/>
                <a:gd name="connsiteX3" fmla="*/ 300228 w 353555"/>
                <a:gd name="connsiteY3" fmla="*/ 713615 h 761503"/>
                <a:gd name="connsiteX4" fmla="*/ 278471 w 353555"/>
                <a:gd name="connsiteY4" fmla="*/ 716335 h 761503"/>
                <a:gd name="connsiteX5" fmla="*/ 237676 w 353555"/>
                <a:gd name="connsiteY5" fmla="*/ 716335 h 761503"/>
                <a:gd name="connsiteX6" fmla="*/ 180563 w 353555"/>
                <a:gd name="connsiteY6" fmla="*/ 719054 h 761503"/>
                <a:gd name="connsiteX7" fmla="*/ 126170 w 353555"/>
                <a:gd name="connsiteY7" fmla="*/ 719054 h 761503"/>
                <a:gd name="connsiteX8" fmla="*/ 101693 w 353555"/>
                <a:gd name="connsiteY8" fmla="*/ 719054 h 761503"/>
                <a:gd name="connsiteX9" fmla="*/ 74496 w 353555"/>
                <a:gd name="connsiteY9" fmla="*/ 713615 h 761503"/>
                <a:gd name="connsiteX10" fmla="*/ 58178 w 353555"/>
                <a:gd name="connsiteY10" fmla="*/ 697297 h 761503"/>
                <a:gd name="connsiteX11" fmla="*/ 63617 w 353555"/>
                <a:gd name="connsiteY11" fmla="*/ 689138 h 761503"/>
                <a:gd name="connsiteX12" fmla="*/ 85375 w 353555"/>
                <a:gd name="connsiteY12" fmla="*/ 680979 h 761503"/>
                <a:gd name="connsiteX13" fmla="*/ 131609 w 353555"/>
                <a:gd name="connsiteY13" fmla="*/ 675540 h 761503"/>
                <a:gd name="connsiteX14" fmla="*/ 142488 w 353555"/>
                <a:gd name="connsiteY14" fmla="*/ 675540 h 761503"/>
                <a:gd name="connsiteX15" fmla="*/ 131609 w 353555"/>
                <a:gd name="connsiteY15" fmla="*/ 653783 h 761503"/>
                <a:gd name="connsiteX16" fmla="*/ 128889 w 353555"/>
                <a:gd name="connsiteY16" fmla="*/ 640184 h 761503"/>
                <a:gd name="connsiteX17" fmla="*/ 128889 w 353555"/>
                <a:gd name="connsiteY17" fmla="*/ 629306 h 761503"/>
                <a:gd name="connsiteX18" fmla="*/ 128889 w 353555"/>
                <a:gd name="connsiteY18" fmla="*/ 621147 h 761503"/>
                <a:gd name="connsiteX19" fmla="*/ 128889 w 353555"/>
                <a:gd name="connsiteY19" fmla="*/ 593950 h 761503"/>
                <a:gd name="connsiteX20" fmla="*/ 128889 w 353555"/>
                <a:gd name="connsiteY20" fmla="*/ 583072 h 761503"/>
                <a:gd name="connsiteX21" fmla="*/ 128889 w 353555"/>
                <a:gd name="connsiteY21" fmla="*/ 436210 h 761503"/>
                <a:gd name="connsiteX22" fmla="*/ 128889 w 353555"/>
                <a:gd name="connsiteY22" fmla="*/ 357340 h 761503"/>
                <a:gd name="connsiteX23" fmla="*/ 131609 w 353555"/>
                <a:gd name="connsiteY23" fmla="*/ 289349 h 761503"/>
                <a:gd name="connsiteX24" fmla="*/ 131609 w 353555"/>
                <a:gd name="connsiteY24" fmla="*/ 251274 h 761503"/>
                <a:gd name="connsiteX25" fmla="*/ 131609 w 353555"/>
                <a:gd name="connsiteY25" fmla="*/ 205040 h 761503"/>
                <a:gd name="connsiteX26" fmla="*/ 131609 w 353555"/>
                <a:gd name="connsiteY26" fmla="*/ 139768 h 761503"/>
                <a:gd name="connsiteX27" fmla="*/ 131609 w 353555"/>
                <a:gd name="connsiteY27" fmla="*/ 128889 h 761503"/>
                <a:gd name="connsiteX28" fmla="*/ 126170 w 353555"/>
                <a:gd name="connsiteY28" fmla="*/ 128889 h 761503"/>
                <a:gd name="connsiteX29" fmla="*/ 101693 w 353555"/>
                <a:gd name="connsiteY29" fmla="*/ 128889 h 761503"/>
                <a:gd name="connsiteX30" fmla="*/ 74496 w 353555"/>
                <a:gd name="connsiteY30" fmla="*/ 123450 h 761503"/>
                <a:gd name="connsiteX31" fmla="*/ 58178 w 353555"/>
                <a:gd name="connsiteY31" fmla="*/ 107132 h 761503"/>
                <a:gd name="connsiteX32" fmla="*/ 60898 w 353555"/>
                <a:gd name="connsiteY32" fmla="*/ 98973 h 761503"/>
                <a:gd name="connsiteX33" fmla="*/ 82655 w 353555"/>
                <a:gd name="connsiteY33" fmla="*/ 93534 h 761503"/>
                <a:gd name="connsiteX34" fmla="*/ 131609 w 353555"/>
                <a:gd name="connsiteY34" fmla="*/ 88094 h 761503"/>
                <a:gd name="connsiteX35" fmla="*/ 131609 w 353555"/>
                <a:gd name="connsiteY35" fmla="*/ 82655 h 761503"/>
                <a:gd name="connsiteX36" fmla="*/ 134329 w 353555"/>
                <a:gd name="connsiteY36" fmla="*/ 71776 h 761503"/>
                <a:gd name="connsiteX37" fmla="*/ 147927 w 353555"/>
                <a:gd name="connsiteY37" fmla="*/ 63617 h 761503"/>
                <a:gd name="connsiteX38" fmla="*/ 164245 w 353555"/>
                <a:gd name="connsiteY38" fmla="*/ 58178 h 761503"/>
                <a:gd name="connsiteX39" fmla="*/ 177843 w 353555"/>
                <a:gd name="connsiteY39" fmla="*/ 58178 h 761503"/>
                <a:gd name="connsiteX40" fmla="*/ 196881 w 353555"/>
                <a:gd name="connsiteY40" fmla="*/ 60898 h 761503"/>
                <a:gd name="connsiteX41" fmla="*/ 232236 w 353555"/>
                <a:gd name="connsiteY41" fmla="*/ 88094 h 761503"/>
                <a:gd name="connsiteX42" fmla="*/ 278471 w 353555"/>
                <a:gd name="connsiteY42" fmla="*/ 88094 h 761503"/>
                <a:gd name="connsiteX43" fmla="*/ 316546 w 353555"/>
                <a:gd name="connsiteY43" fmla="*/ 104412 h 761503"/>
                <a:gd name="connsiteX44" fmla="*/ 311106 w 353555"/>
                <a:gd name="connsiteY44" fmla="*/ 120730 h 761503"/>
                <a:gd name="connsiteX45" fmla="*/ 294788 w 353555"/>
                <a:gd name="connsiteY45" fmla="*/ 128889 h 761503"/>
                <a:gd name="connsiteX46" fmla="*/ 273031 w 353555"/>
                <a:gd name="connsiteY46" fmla="*/ 131609 h 761503"/>
                <a:gd name="connsiteX47" fmla="*/ 243115 w 353555"/>
                <a:gd name="connsiteY47" fmla="*/ 131609 h 761503"/>
                <a:gd name="connsiteX48" fmla="*/ 243115 w 353555"/>
                <a:gd name="connsiteY48" fmla="*/ 134329 h 761503"/>
                <a:gd name="connsiteX49" fmla="*/ 248554 w 353555"/>
                <a:gd name="connsiteY49" fmla="*/ 169684 h 761503"/>
                <a:gd name="connsiteX50" fmla="*/ 251274 w 353555"/>
                <a:gd name="connsiteY50" fmla="*/ 205040 h 761503"/>
                <a:gd name="connsiteX51" fmla="*/ 251274 w 353555"/>
                <a:gd name="connsiteY51" fmla="*/ 240395 h 761503"/>
                <a:gd name="connsiteX52" fmla="*/ 251274 w 353555"/>
                <a:gd name="connsiteY52" fmla="*/ 256713 h 761503"/>
                <a:gd name="connsiteX53" fmla="*/ 253994 w 353555"/>
                <a:gd name="connsiteY53" fmla="*/ 270311 h 761503"/>
                <a:gd name="connsiteX54" fmla="*/ 259433 w 353555"/>
                <a:gd name="connsiteY54" fmla="*/ 343742 h 761503"/>
                <a:gd name="connsiteX55" fmla="*/ 262153 w 353555"/>
                <a:gd name="connsiteY55" fmla="*/ 425332 h 761503"/>
                <a:gd name="connsiteX56" fmla="*/ 264872 w 353555"/>
                <a:gd name="connsiteY56" fmla="*/ 490603 h 761503"/>
                <a:gd name="connsiteX57" fmla="*/ 270312 w 353555"/>
                <a:gd name="connsiteY57" fmla="*/ 564034 h 761503"/>
                <a:gd name="connsiteX58" fmla="*/ 270312 w 353555"/>
                <a:gd name="connsiteY58" fmla="*/ 599390 h 761503"/>
                <a:gd name="connsiteX59" fmla="*/ 270312 w 353555"/>
                <a:gd name="connsiteY59" fmla="*/ 637465 h 761503"/>
                <a:gd name="connsiteX60" fmla="*/ 264872 w 353555"/>
                <a:gd name="connsiteY60" fmla="*/ 670101 h 761503"/>
                <a:gd name="connsiteX61" fmla="*/ 283910 w 353555"/>
                <a:gd name="connsiteY61" fmla="*/ 672820 h 761503"/>
                <a:gd name="connsiteX62" fmla="*/ 283910 w 353555"/>
                <a:gd name="connsiteY62" fmla="*/ 672820 h 761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</a:cxnLst>
              <a:rect l="l" t="t" r="r" b="b"/>
              <a:pathLst>
                <a:path w="353555" h="761503">
                  <a:moveTo>
                    <a:pt x="283910" y="672820"/>
                  </a:moveTo>
                  <a:cubicBezTo>
                    <a:pt x="297508" y="672820"/>
                    <a:pt x="321985" y="672820"/>
                    <a:pt x="321985" y="689138"/>
                  </a:cubicBezTo>
                  <a:cubicBezTo>
                    <a:pt x="321985" y="697297"/>
                    <a:pt x="319265" y="697297"/>
                    <a:pt x="316546" y="705456"/>
                  </a:cubicBezTo>
                  <a:cubicBezTo>
                    <a:pt x="311106" y="710895"/>
                    <a:pt x="305667" y="713615"/>
                    <a:pt x="300228" y="713615"/>
                  </a:cubicBezTo>
                  <a:cubicBezTo>
                    <a:pt x="292069" y="716335"/>
                    <a:pt x="283910" y="716335"/>
                    <a:pt x="278471" y="716335"/>
                  </a:cubicBezTo>
                  <a:cubicBezTo>
                    <a:pt x="275751" y="716335"/>
                    <a:pt x="256713" y="716335"/>
                    <a:pt x="237676" y="716335"/>
                  </a:cubicBezTo>
                  <a:cubicBezTo>
                    <a:pt x="213199" y="716335"/>
                    <a:pt x="186002" y="719054"/>
                    <a:pt x="180563" y="719054"/>
                  </a:cubicBezTo>
                  <a:cubicBezTo>
                    <a:pt x="166965" y="719054"/>
                    <a:pt x="142488" y="719054"/>
                    <a:pt x="126170" y="719054"/>
                  </a:cubicBezTo>
                  <a:cubicBezTo>
                    <a:pt x="118011" y="719054"/>
                    <a:pt x="109852" y="719054"/>
                    <a:pt x="101693" y="719054"/>
                  </a:cubicBezTo>
                  <a:cubicBezTo>
                    <a:pt x="93534" y="719054"/>
                    <a:pt x="82655" y="719054"/>
                    <a:pt x="74496" y="713615"/>
                  </a:cubicBezTo>
                  <a:cubicBezTo>
                    <a:pt x="66337" y="710895"/>
                    <a:pt x="58178" y="702736"/>
                    <a:pt x="58178" y="697297"/>
                  </a:cubicBezTo>
                  <a:cubicBezTo>
                    <a:pt x="58178" y="694578"/>
                    <a:pt x="58178" y="691858"/>
                    <a:pt x="63617" y="689138"/>
                  </a:cubicBezTo>
                  <a:cubicBezTo>
                    <a:pt x="69057" y="686418"/>
                    <a:pt x="79935" y="683699"/>
                    <a:pt x="85375" y="680979"/>
                  </a:cubicBezTo>
                  <a:cubicBezTo>
                    <a:pt x="104412" y="678260"/>
                    <a:pt x="123450" y="675540"/>
                    <a:pt x="131609" y="675540"/>
                  </a:cubicBezTo>
                  <a:cubicBezTo>
                    <a:pt x="134329" y="675540"/>
                    <a:pt x="137048" y="675540"/>
                    <a:pt x="142488" y="675540"/>
                  </a:cubicBezTo>
                  <a:cubicBezTo>
                    <a:pt x="134329" y="670101"/>
                    <a:pt x="131609" y="661942"/>
                    <a:pt x="131609" y="653783"/>
                  </a:cubicBezTo>
                  <a:cubicBezTo>
                    <a:pt x="131609" y="648343"/>
                    <a:pt x="131609" y="642904"/>
                    <a:pt x="128889" y="640184"/>
                  </a:cubicBezTo>
                  <a:cubicBezTo>
                    <a:pt x="128889" y="637465"/>
                    <a:pt x="128889" y="634745"/>
                    <a:pt x="128889" y="629306"/>
                  </a:cubicBezTo>
                  <a:cubicBezTo>
                    <a:pt x="128889" y="626586"/>
                    <a:pt x="128889" y="623867"/>
                    <a:pt x="128889" y="621147"/>
                  </a:cubicBezTo>
                  <a:cubicBezTo>
                    <a:pt x="128889" y="612988"/>
                    <a:pt x="128889" y="604829"/>
                    <a:pt x="128889" y="593950"/>
                  </a:cubicBezTo>
                  <a:cubicBezTo>
                    <a:pt x="128889" y="591231"/>
                    <a:pt x="128889" y="585791"/>
                    <a:pt x="128889" y="583072"/>
                  </a:cubicBezTo>
                  <a:cubicBezTo>
                    <a:pt x="128889" y="534118"/>
                    <a:pt x="131609" y="485164"/>
                    <a:pt x="128889" y="436210"/>
                  </a:cubicBezTo>
                  <a:cubicBezTo>
                    <a:pt x="128889" y="409014"/>
                    <a:pt x="128889" y="384537"/>
                    <a:pt x="128889" y="357340"/>
                  </a:cubicBezTo>
                  <a:cubicBezTo>
                    <a:pt x="128889" y="335583"/>
                    <a:pt x="131609" y="313826"/>
                    <a:pt x="131609" y="289349"/>
                  </a:cubicBezTo>
                  <a:cubicBezTo>
                    <a:pt x="131609" y="275751"/>
                    <a:pt x="131609" y="264872"/>
                    <a:pt x="131609" y="251274"/>
                  </a:cubicBezTo>
                  <a:cubicBezTo>
                    <a:pt x="131609" y="234956"/>
                    <a:pt x="131609" y="221357"/>
                    <a:pt x="131609" y="205040"/>
                  </a:cubicBezTo>
                  <a:cubicBezTo>
                    <a:pt x="131609" y="183282"/>
                    <a:pt x="131609" y="161525"/>
                    <a:pt x="131609" y="139768"/>
                  </a:cubicBezTo>
                  <a:cubicBezTo>
                    <a:pt x="131609" y="137048"/>
                    <a:pt x="131609" y="134329"/>
                    <a:pt x="131609" y="128889"/>
                  </a:cubicBezTo>
                  <a:cubicBezTo>
                    <a:pt x="128889" y="128889"/>
                    <a:pt x="126170" y="128889"/>
                    <a:pt x="126170" y="128889"/>
                  </a:cubicBezTo>
                  <a:cubicBezTo>
                    <a:pt x="118011" y="128889"/>
                    <a:pt x="109852" y="128889"/>
                    <a:pt x="101693" y="128889"/>
                  </a:cubicBezTo>
                  <a:cubicBezTo>
                    <a:pt x="93534" y="128889"/>
                    <a:pt x="82655" y="128889"/>
                    <a:pt x="74496" y="123450"/>
                  </a:cubicBezTo>
                  <a:cubicBezTo>
                    <a:pt x="66337" y="120730"/>
                    <a:pt x="58178" y="112571"/>
                    <a:pt x="58178" y="107132"/>
                  </a:cubicBezTo>
                  <a:cubicBezTo>
                    <a:pt x="58178" y="104412"/>
                    <a:pt x="58178" y="101693"/>
                    <a:pt x="60898" y="98973"/>
                  </a:cubicBezTo>
                  <a:cubicBezTo>
                    <a:pt x="63617" y="96253"/>
                    <a:pt x="77216" y="93534"/>
                    <a:pt x="82655" y="93534"/>
                  </a:cubicBezTo>
                  <a:cubicBezTo>
                    <a:pt x="98973" y="90814"/>
                    <a:pt x="123450" y="88094"/>
                    <a:pt x="131609" y="88094"/>
                  </a:cubicBezTo>
                  <a:cubicBezTo>
                    <a:pt x="131609" y="85375"/>
                    <a:pt x="131609" y="85375"/>
                    <a:pt x="131609" y="82655"/>
                  </a:cubicBezTo>
                  <a:cubicBezTo>
                    <a:pt x="131609" y="77216"/>
                    <a:pt x="131609" y="74496"/>
                    <a:pt x="134329" y="71776"/>
                  </a:cubicBezTo>
                  <a:cubicBezTo>
                    <a:pt x="137048" y="69057"/>
                    <a:pt x="145207" y="66337"/>
                    <a:pt x="147927" y="63617"/>
                  </a:cubicBezTo>
                  <a:cubicBezTo>
                    <a:pt x="153366" y="60898"/>
                    <a:pt x="158806" y="58178"/>
                    <a:pt x="164245" y="58178"/>
                  </a:cubicBezTo>
                  <a:cubicBezTo>
                    <a:pt x="169684" y="58178"/>
                    <a:pt x="175123" y="58178"/>
                    <a:pt x="177843" y="58178"/>
                  </a:cubicBezTo>
                  <a:cubicBezTo>
                    <a:pt x="183283" y="58178"/>
                    <a:pt x="191442" y="58178"/>
                    <a:pt x="196881" y="60898"/>
                  </a:cubicBezTo>
                  <a:cubicBezTo>
                    <a:pt x="213199" y="63617"/>
                    <a:pt x="224077" y="74496"/>
                    <a:pt x="232236" y="88094"/>
                  </a:cubicBezTo>
                  <a:cubicBezTo>
                    <a:pt x="253994" y="88094"/>
                    <a:pt x="270312" y="88094"/>
                    <a:pt x="278471" y="88094"/>
                  </a:cubicBezTo>
                  <a:cubicBezTo>
                    <a:pt x="292069" y="88094"/>
                    <a:pt x="316546" y="88094"/>
                    <a:pt x="316546" y="104412"/>
                  </a:cubicBezTo>
                  <a:cubicBezTo>
                    <a:pt x="316546" y="112571"/>
                    <a:pt x="313826" y="112571"/>
                    <a:pt x="311106" y="120730"/>
                  </a:cubicBezTo>
                  <a:cubicBezTo>
                    <a:pt x="305667" y="126170"/>
                    <a:pt x="300228" y="128889"/>
                    <a:pt x="294788" y="128889"/>
                  </a:cubicBezTo>
                  <a:cubicBezTo>
                    <a:pt x="286630" y="131609"/>
                    <a:pt x="278471" y="131609"/>
                    <a:pt x="273031" y="131609"/>
                  </a:cubicBezTo>
                  <a:cubicBezTo>
                    <a:pt x="270312" y="131609"/>
                    <a:pt x="259433" y="131609"/>
                    <a:pt x="243115" y="131609"/>
                  </a:cubicBezTo>
                  <a:lnTo>
                    <a:pt x="243115" y="134329"/>
                  </a:lnTo>
                  <a:cubicBezTo>
                    <a:pt x="245835" y="145207"/>
                    <a:pt x="245835" y="158805"/>
                    <a:pt x="248554" y="169684"/>
                  </a:cubicBezTo>
                  <a:cubicBezTo>
                    <a:pt x="251274" y="180563"/>
                    <a:pt x="251274" y="194161"/>
                    <a:pt x="251274" y="205040"/>
                  </a:cubicBezTo>
                  <a:cubicBezTo>
                    <a:pt x="251274" y="215918"/>
                    <a:pt x="251274" y="226797"/>
                    <a:pt x="251274" y="240395"/>
                  </a:cubicBezTo>
                  <a:cubicBezTo>
                    <a:pt x="251274" y="245834"/>
                    <a:pt x="251274" y="251274"/>
                    <a:pt x="251274" y="256713"/>
                  </a:cubicBezTo>
                  <a:cubicBezTo>
                    <a:pt x="251274" y="262152"/>
                    <a:pt x="251274" y="267592"/>
                    <a:pt x="253994" y="270311"/>
                  </a:cubicBezTo>
                  <a:cubicBezTo>
                    <a:pt x="256713" y="294788"/>
                    <a:pt x="256713" y="319265"/>
                    <a:pt x="259433" y="343742"/>
                  </a:cubicBezTo>
                  <a:cubicBezTo>
                    <a:pt x="259433" y="370939"/>
                    <a:pt x="262153" y="398135"/>
                    <a:pt x="262153" y="425332"/>
                  </a:cubicBezTo>
                  <a:cubicBezTo>
                    <a:pt x="262153" y="447089"/>
                    <a:pt x="262153" y="468846"/>
                    <a:pt x="264872" y="490603"/>
                  </a:cubicBezTo>
                  <a:cubicBezTo>
                    <a:pt x="264872" y="515080"/>
                    <a:pt x="270312" y="539557"/>
                    <a:pt x="270312" y="564034"/>
                  </a:cubicBezTo>
                  <a:cubicBezTo>
                    <a:pt x="270312" y="574913"/>
                    <a:pt x="270312" y="588511"/>
                    <a:pt x="270312" y="599390"/>
                  </a:cubicBezTo>
                  <a:cubicBezTo>
                    <a:pt x="270312" y="612988"/>
                    <a:pt x="270312" y="623867"/>
                    <a:pt x="270312" y="637465"/>
                  </a:cubicBezTo>
                  <a:cubicBezTo>
                    <a:pt x="270312" y="648343"/>
                    <a:pt x="270312" y="661942"/>
                    <a:pt x="264872" y="670101"/>
                  </a:cubicBezTo>
                  <a:cubicBezTo>
                    <a:pt x="273031" y="672820"/>
                    <a:pt x="278471" y="672820"/>
                    <a:pt x="283910" y="672820"/>
                  </a:cubicBezTo>
                  <a:lnTo>
                    <a:pt x="283910" y="672820"/>
                  </a:ln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/>
            </a:p>
          </p:txBody>
        </p:sp>
        <p:sp>
          <p:nvSpPr>
            <p:cNvPr id="40" name="Freeform: Shape 39">
              <a:extLst>
                <a:ext uri="{FF2B5EF4-FFF2-40B4-BE49-F238E27FC236}">
                  <a16:creationId xmlns:a16="http://schemas.microsoft.com/office/drawing/2014/main" id="{990D7267-1414-4CB3-9CEF-BEBE0366111F}"/>
                </a:ext>
              </a:extLst>
            </p:cNvPr>
            <p:cNvSpPr/>
            <p:nvPr/>
          </p:nvSpPr>
          <p:spPr>
            <a:xfrm>
              <a:off x="4620880" y="4194877"/>
              <a:ext cx="598325" cy="761503"/>
            </a:xfrm>
            <a:custGeom>
              <a:avLst/>
              <a:gdLst>
                <a:gd name="connsiteX0" fmla="*/ 515081 w 598324"/>
                <a:gd name="connsiteY0" fmla="*/ 79935 h 761503"/>
                <a:gd name="connsiteX1" fmla="*/ 542277 w 598324"/>
                <a:gd name="connsiteY1" fmla="*/ 96253 h 761503"/>
                <a:gd name="connsiteX2" fmla="*/ 536838 w 598324"/>
                <a:gd name="connsiteY2" fmla="*/ 112571 h 761503"/>
                <a:gd name="connsiteX3" fmla="*/ 523240 w 598324"/>
                <a:gd name="connsiteY3" fmla="*/ 120730 h 761503"/>
                <a:gd name="connsiteX4" fmla="*/ 506922 w 598324"/>
                <a:gd name="connsiteY4" fmla="*/ 123450 h 761503"/>
                <a:gd name="connsiteX5" fmla="*/ 477006 w 598324"/>
                <a:gd name="connsiteY5" fmla="*/ 123450 h 761503"/>
                <a:gd name="connsiteX6" fmla="*/ 479725 w 598324"/>
                <a:gd name="connsiteY6" fmla="*/ 145207 h 761503"/>
                <a:gd name="connsiteX7" fmla="*/ 477006 w 598324"/>
                <a:gd name="connsiteY7" fmla="*/ 180563 h 761503"/>
                <a:gd name="connsiteX8" fmla="*/ 482445 w 598324"/>
                <a:gd name="connsiteY8" fmla="*/ 232236 h 761503"/>
                <a:gd name="connsiteX9" fmla="*/ 485165 w 598324"/>
                <a:gd name="connsiteY9" fmla="*/ 283909 h 761503"/>
                <a:gd name="connsiteX10" fmla="*/ 485165 w 598324"/>
                <a:gd name="connsiteY10" fmla="*/ 327424 h 761503"/>
                <a:gd name="connsiteX11" fmla="*/ 487884 w 598324"/>
                <a:gd name="connsiteY11" fmla="*/ 373658 h 761503"/>
                <a:gd name="connsiteX12" fmla="*/ 485165 w 598324"/>
                <a:gd name="connsiteY12" fmla="*/ 419892 h 761503"/>
                <a:gd name="connsiteX13" fmla="*/ 485165 w 598324"/>
                <a:gd name="connsiteY13" fmla="*/ 463407 h 761503"/>
                <a:gd name="connsiteX14" fmla="*/ 482445 w 598324"/>
                <a:gd name="connsiteY14" fmla="*/ 515080 h 761503"/>
                <a:gd name="connsiteX15" fmla="*/ 482445 w 598324"/>
                <a:gd name="connsiteY15" fmla="*/ 558595 h 761503"/>
                <a:gd name="connsiteX16" fmla="*/ 479725 w 598324"/>
                <a:gd name="connsiteY16" fmla="*/ 602109 h 761503"/>
                <a:gd name="connsiteX17" fmla="*/ 485165 w 598324"/>
                <a:gd name="connsiteY17" fmla="*/ 648343 h 761503"/>
                <a:gd name="connsiteX18" fmla="*/ 474286 w 598324"/>
                <a:gd name="connsiteY18" fmla="*/ 675540 h 761503"/>
                <a:gd name="connsiteX19" fmla="*/ 428052 w 598324"/>
                <a:gd name="connsiteY19" fmla="*/ 691858 h 761503"/>
                <a:gd name="connsiteX20" fmla="*/ 387257 w 598324"/>
                <a:gd name="connsiteY20" fmla="*/ 683699 h 761503"/>
                <a:gd name="connsiteX21" fmla="*/ 351901 w 598324"/>
                <a:gd name="connsiteY21" fmla="*/ 664661 h 761503"/>
                <a:gd name="connsiteX22" fmla="*/ 305667 w 598324"/>
                <a:gd name="connsiteY22" fmla="*/ 596670 h 761503"/>
                <a:gd name="connsiteX23" fmla="*/ 270312 w 598324"/>
                <a:gd name="connsiteY23" fmla="*/ 509641 h 761503"/>
                <a:gd name="connsiteX24" fmla="*/ 251274 w 598324"/>
                <a:gd name="connsiteY24" fmla="*/ 460687 h 761503"/>
                <a:gd name="connsiteX25" fmla="*/ 224077 w 598324"/>
                <a:gd name="connsiteY25" fmla="*/ 381817 h 761503"/>
                <a:gd name="connsiteX26" fmla="*/ 207759 w 598324"/>
                <a:gd name="connsiteY26" fmla="*/ 330144 h 761503"/>
                <a:gd name="connsiteX27" fmla="*/ 191442 w 598324"/>
                <a:gd name="connsiteY27" fmla="*/ 286629 h 761503"/>
                <a:gd name="connsiteX28" fmla="*/ 183283 w 598324"/>
                <a:gd name="connsiteY28" fmla="*/ 278470 h 761503"/>
                <a:gd name="connsiteX29" fmla="*/ 180563 w 598324"/>
                <a:gd name="connsiteY29" fmla="*/ 292068 h 761503"/>
                <a:gd name="connsiteX30" fmla="*/ 180563 w 598324"/>
                <a:gd name="connsiteY30" fmla="*/ 305667 h 761503"/>
                <a:gd name="connsiteX31" fmla="*/ 183283 w 598324"/>
                <a:gd name="connsiteY31" fmla="*/ 354620 h 761503"/>
                <a:gd name="connsiteX32" fmla="*/ 188722 w 598324"/>
                <a:gd name="connsiteY32" fmla="*/ 449808 h 761503"/>
                <a:gd name="connsiteX33" fmla="*/ 188722 w 598324"/>
                <a:gd name="connsiteY33" fmla="*/ 479725 h 761503"/>
                <a:gd name="connsiteX34" fmla="*/ 188722 w 598324"/>
                <a:gd name="connsiteY34" fmla="*/ 542277 h 761503"/>
                <a:gd name="connsiteX35" fmla="*/ 186002 w 598324"/>
                <a:gd name="connsiteY35" fmla="*/ 615708 h 761503"/>
                <a:gd name="connsiteX36" fmla="*/ 186002 w 598324"/>
                <a:gd name="connsiteY36" fmla="*/ 637465 h 761503"/>
                <a:gd name="connsiteX37" fmla="*/ 183283 w 598324"/>
                <a:gd name="connsiteY37" fmla="*/ 664661 h 761503"/>
                <a:gd name="connsiteX38" fmla="*/ 226797 w 598324"/>
                <a:gd name="connsiteY38" fmla="*/ 664661 h 761503"/>
                <a:gd name="connsiteX39" fmla="*/ 253994 w 598324"/>
                <a:gd name="connsiteY39" fmla="*/ 680979 h 761503"/>
                <a:gd name="connsiteX40" fmla="*/ 248554 w 598324"/>
                <a:gd name="connsiteY40" fmla="*/ 697297 h 761503"/>
                <a:gd name="connsiteX41" fmla="*/ 234956 w 598324"/>
                <a:gd name="connsiteY41" fmla="*/ 705456 h 761503"/>
                <a:gd name="connsiteX42" fmla="*/ 218638 w 598324"/>
                <a:gd name="connsiteY42" fmla="*/ 708176 h 761503"/>
                <a:gd name="connsiteX43" fmla="*/ 183283 w 598324"/>
                <a:gd name="connsiteY43" fmla="*/ 708176 h 761503"/>
                <a:gd name="connsiteX44" fmla="*/ 150647 w 598324"/>
                <a:gd name="connsiteY44" fmla="*/ 708176 h 761503"/>
                <a:gd name="connsiteX45" fmla="*/ 107132 w 598324"/>
                <a:gd name="connsiteY45" fmla="*/ 708176 h 761503"/>
                <a:gd name="connsiteX46" fmla="*/ 88094 w 598324"/>
                <a:gd name="connsiteY46" fmla="*/ 708176 h 761503"/>
                <a:gd name="connsiteX47" fmla="*/ 69057 w 598324"/>
                <a:gd name="connsiteY47" fmla="*/ 702736 h 761503"/>
                <a:gd name="connsiteX48" fmla="*/ 58178 w 598324"/>
                <a:gd name="connsiteY48" fmla="*/ 686418 h 761503"/>
                <a:gd name="connsiteX49" fmla="*/ 60898 w 598324"/>
                <a:gd name="connsiteY49" fmla="*/ 678259 h 761503"/>
                <a:gd name="connsiteX50" fmla="*/ 77216 w 598324"/>
                <a:gd name="connsiteY50" fmla="*/ 670101 h 761503"/>
                <a:gd name="connsiteX51" fmla="*/ 120730 w 598324"/>
                <a:gd name="connsiteY51" fmla="*/ 664661 h 761503"/>
                <a:gd name="connsiteX52" fmla="*/ 131609 w 598324"/>
                <a:gd name="connsiteY52" fmla="*/ 664661 h 761503"/>
                <a:gd name="connsiteX53" fmla="*/ 134329 w 598324"/>
                <a:gd name="connsiteY53" fmla="*/ 539557 h 761503"/>
                <a:gd name="connsiteX54" fmla="*/ 134329 w 598324"/>
                <a:gd name="connsiteY54" fmla="*/ 504201 h 761503"/>
                <a:gd name="connsiteX55" fmla="*/ 131609 w 598324"/>
                <a:gd name="connsiteY55" fmla="*/ 376378 h 761503"/>
                <a:gd name="connsiteX56" fmla="*/ 131609 w 598324"/>
                <a:gd name="connsiteY56" fmla="*/ 302947 h 761503"/>
                <a:gd name="connsiteX57" fmla="*/ 134329 w 598324"/>
                <a:gd name="connsiteY57" fmla="*/ 221357 h 761503"/>
                <a:gd name="connsiteX58" fmla="*/ 137048 w 598324"/>
                <a:gd name="connsiteY58" fmla="*/ 123450 h 761503"/>
                <a:gd name="connsiteX59" fmla="*/ 107132 w 598324"/>
                <a:gd name="connsiteY59" fmla="*/ 123450 h 761503"/>
                <a:gd name="connsiteX60" fmla="*/ 88094 w 598324"/>
                <a:gd name="connsiteY60" fmla="*/ 123450 h 761503"/>
                <a:gd name="connsiteX61" fmla="*/ 69057 w 598324"/>
                <a:gd name="connsiteY61" fmla="*/ 118011 h 761503"/>
                <a:gd name="connsiteX62" fmla="*/ 58178 w 598324"/>
                <a:gd name="connsiteY62" fmla="*/ 101693 h 761503"/>
                <a:gd name="connsiteX63" fmla="*/ 60898 w 598324"/>
                <a:gd name="connsiteY63" fmla="*/ 93534 h 761503"/>
                <a:gd name="connsiteX64" fmla="*/ 77216 w 598324"/>
                <a:gd name="connsiteY64" fmla="*/ 85375 h 761503"/>
                <a:gd name="connsiteX65" fmla="*/ 131609 w 598324"/>
                <a:gd name="connsiteY65" fmla="*/ 79935 h 761503"/>
                <a:gd name="connsiteX66" fmla="*/ 161525 w 598324"/>
                <a:gd name="connsiteY66" fmla="*/ 79935 h 761503"/>
                <a:gd name="connsiteX67" fmla="*/ 177843 w 598324"/>
                <a:gd name="connsiteY67" fmla="*/ 66337 h 761503"/>
                <a:gd name="connsiteX68" fmla="*/ 202320 w 598324"/>
                <a:gd name="connsiteY68" fmla="*/ 58178 h 761503"/>
                <a:gd name="connsiteX69" fmla="*/ 234956 w 598324"/>
                <a:gd name="connsiteY69" fmla="*/ 77216 h 761503"/>
                <a:gd name="connsiteX70" fmla="*/ 251274 w 598324"/>
                <a:gd name="connsiteY70" fmla="*/ 107132 h 761503"/>
                <a:gd name="connsiteX71" fmla="*/ 267592 w 598324"/>
                <a:gd name="connsiteY71" fmla="*/ 147927 h 761503"/>
                <a:gd name="connsiteX72" fmla="*/ 281190 w 598324"/>
                <a:gd name="connsiteY72" fmla="*/ 183282 h 761503"/>
                <a:gd name="connsiteX73" fmla="*/ 297508 w 598324"/>
                <a:gd name="connsiteY73" fmla="*/ 224077 h 761503"/>
                <a:gd name="connsiteX74" fmla="*/ 308387 w 598324"/>
                <a:gd name="connsiteY74" fmla="*/ 264872 h 761503"/>
                <a:gd name="connsiteX75" fmla="*/ 319265 w 598324"/>
                <a:gd name="connsiteY75" fmla="*/ 300227 h 761503"/>
                <a:gd name="connsiteX76" fmla="*/ 351901 w 598324"/>
                <a:gd name="connsiteY76" fmla="*/ 379097 h 761503"/>
                <a:gd name="connsiteX77" fmla="*/ 365500 w 598324"/>
                <a:gd name="connsiteY77" fmla="*/ 417173 h 761503"/>
                <a:gd name="connsiteX78" fmla="*/ 379098 w 598324"/>
                <a:gd name="connsiteY78" fmla="*/ 457967 h 761503"/>
                <a:gd name="connsiteX79" fmla="*/ 395416 w 598324"/>
                <a:gd name="connsiteY79" fmla="*/ 496043 h 761503"/>
                <a:gd name="connsiteX80" fmla="*/ 406294 w 598324"/>
                <a:gd name="connsiteY80" fmla="*/ 512361 h 761503"/>
                <a:gd name="connsiteX81" fmla="*/ 411734 w 598324"/>
                <a:gd name="connsiteY81" fmla="*/ 531398 h 761503"/>
                <a:gd name="connsiteX82" fmla="*/ 419893 w 598324"/>
                <a:gd name="connsiteY82" fmla="*/ 558595 h 761503"/>
                <a:gd name="connsiteX83" fmla="*/ 425332 w 598324"/>
                <a:gd name="connsiteY83" fmla="*/ 564034 h 761503"/>
                <a:gd name="connsiteX84" fmla="*/ 430771 w 598324"/>
                <a:gd name="connsiteY84" fmla="*/ 558595 h 761503"/>
                <a:gd name="connsiteX85" fmla="*/ 430771 w 598324"/>
                <a:gd name="connsiteY85" fmla="*/ 550436 h 761503"/>
                <a:gd name="connsiteX86" fmla="*/ 430771 w 598324"/>
                <a:gd name="connsiteY86" fmla="*/ 501482 h 761503"/>
                <a:gd name="connsiteX87" fmla="*/ 430771 w 598324"/>
                <a:gd name="connsiteY87" fmla="*/ 403574 h 761503"/>
                <a:gd name="connsiteX88" fmla="*/ 425332 w 598324"/>
                <a:gd name="connsiteY88" fmla="*/ 313826 h 761503"/>
                <a:gd name="connsiteX89" fmla="*/ 425332 w 598324"/>
                <a:gd name="connsiteY89" fmla="*/ 248554 h 761503"/>
                <a:gd name="connsiteX90" fmla="*/ 425332 w 598324"/>
                <a:gd name="connsiteY90" fmla="*/ 210479 h 761503"/>
                <a:gd name="connsiteX91" fmla="*/ 422613 w 598324"/>
                <a:gd name="connsiteY91" fmla="*/ 153366 h 761503"/>
                <a:gd name="connsiteX92" fmla="*/ 425332 w 598324"/>
                <a:gd name="connsiteY92" fmla="*/ 123450 h 761503"/>
                <a:gd name="connsiteX93" fmla="*/ 398136 w 598324"/>
                <a:gd name="connsiteY93" fmla="*/ 123450 h 761503"/>
                <a:gd name="connsiteX94" fmla="*/ 379098 w 598324"/>
                <a:gd name="connsiteY94" fmla="*/ 123450 h 761503"/>
                <a:gd name="connsiteX95" fmla="*/ 360060 w 598324"/>
                <a:gd name="connsiteY95" fmla="*/ 118011 h 761503"/>
                <a:gd name="connsiteX96" fmla="*/ 349182 w 598324"/>
                <a:gd name="connsiteY96" fmla="*/ 101693 h 761503"/>
                <a:gd name="connsiteX97" fmla="*/ 351901 w 598324"/>
                <a:gd name="connsiteY97" fmla="*/ 93534 h 761503"/>
                <a:gd name="connsiteX98" fmla="*/ 368219 w 598324"/>
                <a:gd name="connsiteY98" fmla="*/ 85375 h 761503"/>
                <a:gd name="connsiteX99" fmla="*/ 422613 w 598324"/>
                <a:gd name="connsiteY99" fmla="*/ 79935 h 761503"/>
                <a:gd name="connsiteX100" fmla="*/ 444370 w 598324"/>
                <a:gd name="connsiteY100" fmla="*/ 79935 h 761503"/>
                <a:gd name="connsiteX101" fmla="*/ 463407 w 598324"/>
                <a:gd name="connsiteY101" fmla="*/ 71776 h 761503"/>
                <a:gd name="connsiteX102" fmla="*/ 477006 w 598324"/>
                <a:gd name="connsiteY102" fmla="*/ 79935 h 761503"/>
                <a:gd name="connsiteX103" fmla="*/ 515081 w 598324"/>
                <a:gd name="connsiteY103" fmla="*/ 79935 h 761503"/>
                <a:gd name="connsiteX104" fmla="*/ 515081 w 598324"/>
                <a:gd name="connsiteY104" fmla="*/ 79935 h 761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</a:cxnLst>
              <a:rect l="l" t="t" r="r" b="b"/>
              <a:pathLst>
                <a:path w="598324" h="761503">
                  <a:moveTo>
                    <a:pt x="515081" y="79935"/>
                  </a:moveTo>
                  <a:cubicBezTo>
                    <a:pt x="523240" y="79935"/>
                    <a:pt x="542277" y="79935"/>
                    <a:pt x="542277" y="96253"/>
                  </a:cubicBezTo>
                  <a:cubicBezTo>
                    <a:pt x="542277" y="104412"/>
                    <a:pt x="542277" y="107132"/>
                    <a:pt x="536838" y="112571"/>
                  </a:cubicBezTo>
                  <a:cubicBezTo>
                    <a:pt x="534119" y="118011"/>
                    <a:pt x="528679" y="120730"/>
                    <a:pt x="523240" y="120730"/>
                  </a:cubicBezTo>
                  <a:cubicBezTo>
                    <a:pt x="515081" y="123450"/>
                    <a:pt x="512361" y="123450"/>
                    <a:pt x="506922" y="123450"/>
                  </a:cubicBezTo>
                  <a:cubicBezTo>
                    <a:pt x="504202" y="123450"/>
                    <a:pt x="490604" y="123450"/>
                    <a:pt x="477006" y="123450"/>
                  </a:cubicBezTo>
                  <a:cubicBezTo>
                    <a:pt x="477006" y="131609"/>
                    <a:pt x="479725" y="137048"/>
                    <a:pt x="479725" y="145207"/>
                  </a:cubicBezTo>
                  <a:cubicBezTo>
                    <a:pt x="479725" y="156086"/>
                    <a:pt x="477006" y="166964"/>
                    <a:pt x="477006" y="180563"/>
                  </a:cubicBezTo>
                  <a:cubicBezTo>
                    <a:pt x="477006" y="196881"/>
                    <a:pt x="479725" y="215918"/>
                    <a:pt x="482445" y="232236"/>
                  </a:cubicBezTo>
                  <a:cubicBezTo>
                    <a:pt x="485165" y="248554"/>
                    <a:pt x="485165" y="267592"/>
                    <a:pt x="485165" y="283909"/>
                  </a:cubicBezTo>
                  <a:cubicBezTo>
                    <a:pt x="485165" y="297508"/>
                    <a:pt x="485165" y="313826"/>
                    <a:pt x="485165" y="327424"/>
                  </a:cubicBezTo>
                  <a:cubicBezTo>
                    <a:pt x="485165" y="343742"/>
                    <a:pt x="487884" y="357340"/>
                    <a:pt x="487884" y="373658"/>
                  </a:cubicBezTo>
                  <a:cubicBezTo>
                    <a:pt x="487884" y="389976"/>
                    <a:pt x="485165" y="403574"/>
                    <a:pt x="485165" y="419892"/>
                  </a:cubicBezTo>
                  <a:cubicBezTo>
                    <a:pt x="485165" y="436210"/>
                    <a:pt x="485165" y="449808"/>
                    <a:pt x="485165" y="463407"/>
                  </a:cubicBezTo>
                  <a:cubicBezTo>
                    <a:pt x="485165" y="479725"/>
                    <a:pt x="485165" y="498762"/>
                    <a:pt x="482445" y="515080"/>
                  </a:cubicBezTo>
                  <a:cubicBezTo>
                    <a:pt x="482445" y="528678"/>
                    <a:pt x="482445" y="542277"/>
                    <a:pt x="482445" y="558595"/>
                  </a:cubicBezTo>
                  <a:cubicBezTo>
                    <a:pt x="482445" y="572193"/>
                    <a:pt x="479725" y="588511"/>
                    <a:pt x="479725" y="602109"/>
                  </a:cubicBezTo>
                  <a:cubicBezTo>
                    <a:pt x="479725" y="615708"/>
                    <a:pt x="485165" y="632025"/>
                    <a:pt x="485165" y="648343"/>
                  </a:cubicBezTo>
                  <a:cubicBezTo>
                    <a:pt x="485165" y="659222"/>
                    <a:pt x="482445" y="670101"/>
                    <a:pt x="474286" y="675540"/>
                  </a:cubicBezTo>
                  <a:cubicBezTo>
                    <a:pt x="460688" y="686418"/>
                    <a:pt x="444370" y="691858"/>
                    <a:pt x="428052" y="691858"/>
                  </a:cubicBezTo>
                  <a:cubicBezTo>
                    <a:pt x="414453" y="691858"/>
                    <a:pt x="400855" y="689138"/>
                    <a:pt x="387257" y="683699"/>
                  </a:cubicBezTo>
                  <a:cubicBezTo>
                    <a:pt x="373659" y="678259"/>
                    <a:pt x="360060" y="672820"/>
                    <a:pt x="351901" y="664661"/>
                  </a:cubicBezTo>
                  <a:cubicBezTo>
                    <a:pt x="330144" y="645624"/>
                    <a:pt x="316546" y="621147"/>
                    <a:pt x="305667" y="596670"/>
                  </a:cubicBezTo>
                  <a:cubicBezTo>
                    <a:pt x="292069" y="569473"/>
                    <a:pt x="281190" y="539557"/>
                    <a:pt x="270312" y="509641"/>
                  </a:cubicBezTo>
                  <a:cubicBezTo>
                    <a:pt x="264872" y="493323"/>
                    <a:pt x="256713" y="477005"/>
                    <a:pt x="251274" y="460687"/>
                  </a:cubicBezTo>
                  <a:cubicBezTo>
                    <a:pt x="240395" y="433490"/>
                    <a:pt x="232236" y="409014"/>
                    <a:pt x="224077" y="381817"/>
                  </a:cubicBezTo>
                  <a:cubicBezTo>
                    <a:pt x="218638" y="365499"/>
                    <a:pt x="213199" y="346462"/>
                    <a:pt x="207759" y="330144"/>
                  </a:cubicBezTo>
                  <a:cubicBezTo>
                    <a:pt x="202320" y="316545"/>
                    <a:pt x="196881" y="300227"/>
                    <a:pt x="191442" y="286629"/>
                  </a:cubicBezTo>
                  <a:cubicBezTo>
                    <a:pt x="188722" y="281190"/>
                    <a:pt x="186002" y="278470"/>
                    <a:pt x="183283" y="278470"/>
                  </a:cubicBezTo>
                  <a:cubicBezTo>
                    <a:pt x="180563" y="278470"/>
                    <a:pt x="180563" y="286629"/>
                    <a:pt x="180563" y="292068"/>
                  </a:cubicBezTo>
                  <a:cubicBezTo>
                    <a:pt x="180563" y="297508"/>
                    <a:pt x="180563" y="302947"/>
                    <a:pt x="180563" y="305667"/>
                  </a:cubicBezTo>
                  <a:cubicBezTo>
                    <a:pt x="180563" y="321985"/>
                    <a:pt x="183283" y="338303"/>
                    <a:pt x="183283" y="354620"/>
                  </a:cubicBezTo>
                  <a:cubicBezTo>
                    <a:pt x="183283" y="387256"/>
                    <a:pt x="186002" y="417173"/>
                    <a:pt x="188722" y="449808"/>
                  </a:cubicBezTo>
                  <a:cubicBezTo>
                    <a:pt x="188722" y="460687"/>
                    <a:pt x="188722" y="468846"/>
                    <a:pt x="188722" y="479725"/>
                  </a:cubicBezTo>
                  <a:cubicBezTo>
                    <a:pt x="188722" y="501482"/>
                    <a:pt x="188722" y="523239"/>
                    <a:pt x="188722" y="542277"/>
                  </a:cubicBezTo>
                  <a:cubicBezTo>
                    <a:pt x="188722" y="566754"/>
                    <a:pt x="186002" y="591231"/>
                    <a:pt x="186002" y="615708"/>
                  </a:cubicBezTo>
                  <a:cubicBezTo>
                    <a:pt x="186002" y="623866"/>
                    <a:pt x="186002" y="632025"/>
                    <a:pt x="186002" y="637465"/>
                  </a:cubicBezTo>
                  <a:cubicBezTo>
                    <a:pt x="186002" y="645624"/>
                    <a:pt x="183283" y="656502"/>
                    <a:pt x="183283" y="664661"/>
                  </a:cubicBezTo>
                  <a:cubicBezTo>
                    <a:pt x="202320" y="664661"/>
                    <a:pt x="218638" y="664661"/>
                    <a:pt x="226797" y="664661"/>
                  </a:cubicBezTo>
                  <a:cubicBezTo>
                    <a:pt x="234956" y="664661"/>
                    <a:pt x="253994" y="664661"/>
                    <a:pt x="253994" y="680979"/>
                  </a:cubicBezTo>
                  <a:cubicBezTo>
                    <a:pt x="253994" y="689138"/>
                    <a:pt x="253994" y="691858"/>
                    <a:pt x="248554" y="697297"/>
                  </a:cubicBezTo>
                  <a:cubicBezTo>
                    <a:pt x="245835" y="702736"/>
                    <a:pt x="240395" y="705456"/>
                    <a:pt x="234956" y="705456"/>
                  </a:cubicBezTo>
                  <a:cubicBezTo>
                    <a:pt x="226797" y="708176"/>
                    <a:pt x="224077" y="708176"/>
                    <a:pt x="218638" y="708176"/>
                  </a:cubicBezTo>
                  <a:cubicBezTo>
                    <a:pt x="215918" y="708176"/>
                    <a:pt x="199600" y="708176"/>
                    <a:pt x="183283" y="708176"/>
                  </a:cubicBezTo>
                  <a:cubicBezTo>
                    <a:pt x="166965" y="708176"/>
                    <a:pt x="153366" y="708176"/>
                    <a:pt x="150647" y="708176"/>
                  </a:cubicBezTo>
                  <a:cubicBezTo>
                    <a:pt x="139768" y="708176"/>
                    <a:pt x="120730" y="708176"/>
                    <a:pt x="107132" y="708176"/>
                  </a:cubicBezTo>
                  <a:cubicBezTo>
                    <a:pt x="101693" y="708176"/>
                    <a:pt x="96254" y="708176"/>
                    <a:pt x="88094" y="708176"/>
                  </a:cubicBezTo>
                  <a:cubicBezTo>
                    <a:pt x="82655" y="708176"/>
                    <a:pt x="74496" y="708176"/>
                    <a:pt x="69057" y="702736"/>
                  </a:cubicBezTo>
                  <a:cubicBezTo>
                    <a:pt x="63617" y="700017"/>
                    <a:pt x="58178" y="691858"/>
                    <a:pt x="58178" y="686418"/>
                  </a:cubicBezTo>
                  <a:cubicBezTo>
                    <a:pt x="58178" y="683699"/>
                    <a:pt x="58178" y="680979"/>
                    <a:pt x="60898" y="678259"/>
                  </a:cubicBezTo>
                  <a:cubicBezTo>
                    <a:pt x="63617" y="675540"/>
                    <a:pt x="71777" y="672820"/>
                    <a:pt x="77216" y="670101"/>
                  </a:cubicBezTo>
                  <a:cubicBezTo>
                    <a:pt x="90814" y="667381"/>
                    <a:pt x="115291" y="664661"/>
                    <a:pt x="120730" y="664661"/>
                  </a:cubicBezTo>
                  <a:cubicBezTo>
                    <a:pt x="123450" y="664661"/>
                    <a:pt x="126170" y="664661"/>
                    <a:pt x="131609" y="664661"/>
                  </a:cubicBezTo>
                  <a:cubicBezTo>
                    <a:pt x="131609" y="623866"/>
                    <a:pt x="134329" y="583072"/>
                    <a:pt x="134329" y="539557"/>
                  </a:cubicBezTo>
                  <a:cubicBezTo>
                    <a:pt x="134329" y="528678"/>
                    <a:pt x="134329" y="515080"/>
                    <a:pt x="134329" y="504201"/>
                  </a:cubicBezTo>
                  <a:cubicBezTo>
                    <a:pt x="131609" y="460687"/>
                    <a:pt x="131609" y="417173"/>
                    <a:pt x="131609" y="376378"/>
                  </a:cubicBezTo>
                  <a:cubicBezTo>
                    <a:pt x="131609" y="351901"/>
                    <a:pt x="131609" y="327424"/>
                    <a:pt x="131609" y="302947"/>
                  </a:cubicBezTo>
                  <a:cubicBezTo>
                    <a:pt x="131609" y="275751"/>
                    <a:pt x="131609" y="248554"/>
                    <a:pt x="134329" y="221357"/>
                  </a:cubicBezTo>
                  <a:cubicBezTo>
                    <a:pt x="134329" y="188722"/>
                    <a:pt x="137048" y="156086"/>
                    <a:pt x="137048" y="123450"/>
                  </a:cubicBezTo>
                  <a:cubicBezTo>
                    <a:pt x="126170" y="123450"/>
                    <a:pt x="115291" y="123450"/>
                    <a:pt x="107132" y="123450"/>
                  </a:cubicBezTo>
                  <a:cubicBezTo>
                    <a:pt x="101693" y="123450"/>
                    <a:pt x="96254" y="123450"/>
                    <a:pt x="88094" y="123450"/>
                  </a:cubicBezTo>
                  <a:cubicBezTo>
                    <a:pt x="82655" y="123450"/>
                    <a:pt x="74496" y="120730"/>
                    <a:pt x="69057" y="118011"/>
                  </a:cubicBezTo>
                  <a:cubicBezTo>
                    <a:pt x="63617" y="115291"/>
                    <a:pt x="58178" y="107132"/>
                    <a:pt x="58178" y="101693"/>
                  </a:cubicBezTo>
                  <a:cubicBezTo>
                    <a:pt x="58178" y="98973"/>
                    <a:pt x="58178" y="96253"/>
                    <a:pt x="60898" y="93534"/>
                  </a:cubicBezTo>
                  <a:cubicBezTo>
                    <a:pt x="63617" y="90814"/>
                    <a:pt x="71777" y="88094"/>
                    <a:pt x="77216" y="85375"/>
                  </a:cubicBezTo>
                  <a:cubicBezTo>
                    <a:pt x="90814" y="82655"/>
                    <a:pt x="126170" y="79935"/>
                    <a:pt x="131609" y="79935"/>
                  </a:cubicBezTo>
                  <a:cubicBezTo>
                    <a:pt x="137048" y="79935"/>
                    <a:pt x="147927" y="79935"/>
                    <a:pt x="161525" y="79935"/>
                  </a:cubicBezTo>
                  <a:cubicBezTo>
                    <a:pt x="166965" y="74496"/>
                    <a:pt x="172404" y="71776"/>
                    <a:pt x="177843" y="66337"/>
                  </a:cubicBezTo>
                  <a:cubicBezTo>
                    <a:pt x="186002" y="60898"/>
                    <a:pt x="194161" y="58178"/>
                    <a:pt x="202320" y="58178"/>
                  </a:cubicBezTo>
                  <a:cubicBezTo>
                    <a:pt x="215918" y="58178"/>
                    <a:pt x="226797" y="63617"/>
                    <a:pt x="234956" y="77216"/>
                  </a:cubicBezTo>
                  <a:cubicBezTo>
                    <a:pt x="240395" y="88094"/>
                    <a:pt x="248554" y="96253"/>
                    <a:pt x="251274" y="107132"/>
                  </a:cubicBezTo>
                  <a:cubicBezTo>
                    <a:pt x="256713" y="120730"/>
                    <a:pt x="259433" y="134328"/>
                    <a:pt x="267592" y="147927"/>
                  </a:cubicBezTo>
                  <a:cubicBezTo>
                    <a:pt x="273031" y="158805"/>
                    <a:pt x="275751" y="172404"/>
                    <a:pt x="281190" y="183282"/>
                  </a:cubicBezTo>
                  <a:cubicBezTo>
                    <a:pt x="286630" y="196881"/>
                    <a:pt x="292069" y="210479"/>
                    <a:pt x="297508" y="224077"/>
                  </a:cubicBezTo>
                  <a:cubicBezTo>
                    <a:pt x="300228" y="237675"/>
                    <a:pt x="305667" y="251274"/>
                    <a:pt x="308387" y="264872"/>
                  </a:cubicBezTo>
                  <a:cubicBezTo>
                    <a:pt x="311106" y="278470"/>
                    <a:pt x="311106" y="289349"/>
                    <a:pt x="319265" y="300227"/>
                  </a:cubicBezTo>
                  <a:cubicBezTo>
                    <a:pt x="332864" y="324704"/>
                    <a:pt x="346462" y="351901"/>
                    <a:pt x="351901" y="379097"/>
                  </a:cubicBezTo>
                  <a:cubicBezTo>
                    <a:pt x="354621" y="392696"/>
                    <a:pt x="360060" y="403574"/>
                    <a:pt x="365500" y="417173"/>
                  </a:cubicBezTo>
                  <a:cubicBezTo>
                    <a:pt x="373659" y="430771"/>
                    <a:pt x="373659" y="444369"/>
                    <a:pt x="379098" y="457967"/>
                  </a:cubicBezTo>
                  <a:cubicBezTo>
                    <a:pt x="381818" y="471566"/>
                    <a:pt x="387257" y="482444"/>
                    <a:pt x="395416" y="496043"/>
                  </a:cubicBezTo>
                  <a:cubicBezTo>
                    <a:pt x="398136" y="501482"/>
                    <a:pt x="403575" y="506921"/>
                    <a:pt x="406294" y="512361"/>
                  </a:cubicBezTo>
                  <a:cubicBezTo>
                    <a:pt x="409014" y="517800"/>
                    <a:pt x="409014" y="525959"/>
                    <a:pt x="411734" y="531398"/>
                  </a:cubicBezTo>
                  <a:cubicBezTo>
                    <a:pt x="414453" y="539557"/>
                    <a:pt x="417173" y="550436"/>
                    <a:pt x="419893" y="558595"/>
                  </a:cubicBezTo>
                  <a:cubicBezTo>
                    <a:pt x="422613" y="561314"/>
                    <a:pt x="422613" y="564034"/>
                    <a:pt x="425332" y="564034"/>
                  </a:cubicBezTo>
                  <a:cubicBezTo>
                    <a:pt x="428052" y="564034"/>
                    <a:pt x="428052" y="561314"/>
                    <a:pt x="430771" y="558595"/>
                  </a:cubicBezTo>
                  <a:cubicBezTo>
                    <a:pt x="430771" y="555875"/>
                    <a:pt x="430771" y="553155"/>
                    <a:pt x="430771" y="550436"/>
                  </a:cubicBezTo>
                  <a:cubicBezTo>
                    <a:pt x="430771" y="534118"/>
                    <a:pt x="430771" y="517800"/>
                    <a:pt x="430771" y="501482"/>
                  </a:cubicBezTo>
                  <a:cubicBezTo>
                    <a:pt x="430771" y="468846"/>
                    <a:pt x="433491" y="436210"/>
                    <a:pt x="430771" y="403574"/>
                  </a:cubicBezTo>
                  <a:cubicBezTo>
                    <a:pt x="430771" y="373658"/>
                    <a:pt x="425332" y="343742"/>
                    <a:pt x="425332" y="313826"/>
                  </a:cubicBezTo>
                  <a:cubicBezTo>
                    <a:pt x="425332" y="292068"/>
                    <a:pt x="425332" y="270311"/>
                    <a:pt x="425332" y="248554"/>
                  </a:cubicBezTo>
                  <a:cubicBezTo>
                    <a:pt x="425332" y="234956"/>
                    <a:pt x="425332" y="224077"/>
                    <a:pt x="425332" y="210479"/>
                  </a:cubicBezTo>
                  <a:cubicBezTo>
                    <a:pt x="425332" y="191441"/>
                    <a:pt x="422613" y="172404"/>
                    <a:pt x="422613" y="153366"/>
                  </a:cubicBezTo>
                  <a:cubicBezTo>
                    <a:pt x="422613" y="142487"/>
                    <a:pt x="422613" y="134328"/>
                    <a:pt x="425332" y="123450"/>
                  </a:cubicBezTo>
                  <a:cubicBezTo>
                    <a:pt x="417173" y="123450"/>
                    <a:pt x="406294" y="123450"/>
                    <a:pt x="398136" y="123450"/>
                  </a:cubicBezTo>
                  <a:cubicBezTo>
                    <a:pt x="392696" y="123450"/>
                    <a:pt x="387257" y="123450"/>
                    <a:pt x="379098" y="123450"/>
                  </a:cubicBezTo>
                  <a:cubicBezTo>
                    <a:pt x="373659" y="123450"/>
                    <a:pt x="365500" y="120730"/>
                    <a:pt x="360060" y="118011"/>
                  </a:cubicBezTo>
                  <a:cubicBezTo>
                    <a:pt x="354621" y="115291"/>
                    <a:pt x="349182" y="107132"/>
                    <a:pt x="349182" y="101693"/>
                  </a:cubicBezTo>
                  <a:cubicBezTo>
                    <a:pt x="349182" y="98973"/>
                    <a:pt x="349182" y="96253"/>
                    <a:pt x="351901" y="93534"/>
                  </a:cubicBezTo>
                  <a:cubicBezTo>
                    <a:pt x="354621" y="90814"/>
                    <a:pt x="362780" y="88094"/>
                    <a:pt x="368219" y="85375"/>
                  </a:cubicBezTo>
                  <a:cubicBezTo>
                    <a:pt x="381818" y="82655"/>
                    <a:pt x="417173" y="79935"/>
                    <a:pt x="422613" y="79935"/>
                  </a:cubicBezTo>
                  <a:cubicBezTo>
                    <a:pt x="428052" y="79935"/>
                    <a:pt x="433491" y="79935"/>
                    <a:pt x="444370" y="79935"/>
                  </a:cubicBezTo>
                  <a:cubicBezTo>
                    <a:pt x="449809" y="74496"/>
                    <a:pt x="455248" y="71776"/>
                    <a:pt x="463407" y="71776"/>
                  </a:cubicBezTo>
                  <a:cubicBezTo>
                    <a:pt x="471566" y="71776"/>
                    <a:pt x="477006" y="74496"/>
                    <a:pt x="477006" y="79935"/>
                  </a:cubicBezTo>
                  <a:cubicBezTo>
                    <a:pt x="493324" y="79935"/>
                    <a:pt x="506922" y="79935"/>
                    <a:pt x="515081" y="79935"/>
                  </a:cubicBezTo>
                  <a:lnTo>
                    <a:pt x="515081" y="79935"/>
                  </a:ln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/>
            </a:p>
          </p:txBody>
        </p:sp>
        <p:sp>
          <p:nvSpPr>
            <p:cNvPr id="41" name="Freeform: Shape 40">
              <a:extLst>
                <a:ext uri="{FF2B5EF4-FFF2-40B4-BE49-F238E27FC236}">
                  <a16:creationId xmlns:a16="http://schemas.microsoft.com/office/drawing/2014/main" id="{0F39874A-9569-4901-8D42-9F6951FAB3F9}"/>
                </a:ext>
              </a:extLst>
            </p:cNvPr>
            <p:cNvSpPr/>
            <p:nvPr/>
          </p:nvSpPr>
          <p:spPr>
            <a:xfrm>
              <a:off x="5139126" y="4192158"/>
              <a:ext cx="516735" cy="788700"/>
            </a:xfrm>
            <a:custGeom>
              <a:avLst/>
              <a:gdLst>
                <a:gd name="connsiteX0" fmla="*/ 464616 w 516735"/>
                <a:gd name="connsiteY0" fmla="*/ 436210 h 788699"/>
                <a:gd name="connsiteX1" fmla="*/ 445578 w 516735"/>
                <a:gd name="connsiteY1" fmla="*/ 455248 h 788699"/>
                <a:gd name="connsiteX2" fmla="*/ 404784 w 516735"/>
                <a:gd name="connsiteY2" fmla="*/ 466126 h 788699"/>
                <a:gd name="connsiteX3" fmla="*/ 385746 w 516735"/>
                <a:gd name="connsiteY3" fmla="*/ 479725 h 788699"/>
                <a:gd name="connsiteX4" fmla="*/ 388466 w 516735"/>
                <a:gd name="connsiteY4" fmla="*/ 512361 h 788699"/>
                <a:gd name="connsiteX5" fmla="*/ 388466 w 516735"/>
                <a:gd name="connsiteY5" fmla="*/ 544997 h 788699"/>
                <a:gd name="connsiteX6" fmla="*/ 388466 w 516735"/>
                <a:gd name="connsiteY6" fmla="*/ 566754 h 788699"/>
                <a:gd name="connsiteX7" fmla="*/ 391185 w 516735"/>
                <a:gd name="connsiteY7" fmla="*/ 632026 h 788699"/>
                <a:gd name="connsiteX8" fmla="*/ 393905 w 516735"/>
                <a:gd name="connsiteY8" fmla="*/ 683699 h 788699"/>
                <a:gd name="connsiteX9" fmla="*/ 377587 w 516735"/>
                <a:gd name="connsiteY9" fmla="*/ 724494 h 788699"/>
                <a:gd name="connsiteX10" fmla="*/ 361269 w 516735"/>
                <a:gd name="connsiteY10" fmla="*/ 719054 h 788699"/>
                <a:gd name="connsiteX11" fmla="*/ 353110 w 516735"/>
                <a:gd name="connsiteY11" fmla="*/ 702737 h 788699"/>
                <a:gd name="connsiteX12" fmla="*/ 350390 w 516735"/>
                <a:gd name="connsiteY12" fmla="*/ 686419 h 788699"/>
                <a:gd name="connsiteX13" fmla="*/ 353110 w 516735"/>
                <a:gd name="connsiteY13" fmla="*/ 659222 h 788699"/>
                <a:gd name="connsiteX14" fmla="*/ 353110 w 516735"/>
                <a:gd name="connsiteY14" fmla="*/ 656502 h 788699"/>
                <a:gd name="connsiteX15" fmla="*/ 317755 w 516735"/>
                <a:gd name="connsiteY15" fmla="*/ 708176 h 788699"/>
                <a:gd name="connsiteX16" fmla="*/ 241604 w 516735"/>
                <a:gd name="connsiteY16" fmla="*/ 735372 h 788699"/>
                <a:gd name="connsiteX17" fmla="*/ 187211 w 516735"/>
                <a:gd name="connsiteY17" fmla="*/ 727214 h 788699"/>
                <a:gd name="connsiteX18" fmla="*/ 135538 w 516735"/>
                <a:gd name="connsiteY18" fmla="*/ 694578 h 788699"/>
                <a:gd name="connsiteX19" fmla="*/ 86584 w 516735"/>
                <a:gd name="connsiteY19" fmla="*/ 621147 h 788699"/>
                <a:gd name="connsiteX20" fmla="*/ 67546 w 516735"/>
                <a:gd name="connsiteY20" fmla="*/ 555875 h 788699"/>
                <a:gd name="connsiteX21" fmla="*/ 59387 w 516735"/>
                <a:gd name="connsiteY21" fmla="*/ 509641 h 788699"/>
                <a:gd name="connsiteX22" fmla="*/ 59387 w 516735"/>
                <a:gd name="connsiteY22" fmla="*/ 468846 h 788699"/>
                <a:gd name="connsiteX23" fmla="*/ 86584 w 516735"/>
                <a:gd name="connsiteY23" fmla="*/ 302947 h 788699"/>
                <a:gd name="connsiteX24" fmla="*/ 108341 w 516735"/>
                <a:gd name="connsiteY24" fmla="*/ 224077 h 788699"/>
                <a:gd name="connsiteX25" fmla="*/ 146416 w 516735"/>
                <a:gd name="connsiteY25" fmla="*/ 145207 h 788699"/>
                <a:gd name="connsiteX26" fmla="*/ 198090 w 516735"/>
                <a:gd name="connsiteY26" fmla="*/ 85375 h 788699"/>
                <a:gd name="connsiteX27" fmla="*/ 228006 w 516735"/>
                <a:gd name="connsiteY27" fmla="*/ 69057 h 788699"/>
                <a:gd name="connsiteX28" fmla="*/ 268801 w 516735"/>
                <a:gd name="connsiteY28" fmla="*/ 58178 h 788699"/>
                <a:gd name="connsiteX29" fmla="*/ 274240 w 516735"/>
                <a:gd name="connsiteY29" fmla="*/ 58178 h 788699"/>
                <a:gd name="connsiteX30" fmla="*/ 295997 w 516735"/>
                <a:gd name="connsiteY30" fmla="*/ 60898 h 788699"/>
                <a:gd name="connsiteX31" fmla="*/ 331353 w 516735"/>
                <a:gd name="connsiteY31" fmla="*/ 71776 h 788699"/>
                <a:gd name="connsiteX32" fmla="*/ 350390 w 516735"/>
                <a:gd name="connsiteY32" fmla="*/ 93534 h 788699"/>
                <a:gd name="connsiteX33" fmla="*/ 353110 w 516735"/>
                <a:gd name="connsiteY33" fmla="*/ 74496 h 788699"/>
                <a:gd name="connsiteX34" fmla="*/ 358549 w 516735"/>
                <a:gd name="connsiteY34" fmla="*/ 63618 h 788699"/>
                <a:gd name="connsiteX35" fmla="*/ 366708 w 516735"/>
                <a:gd name="connsiteY35" fmla="*/ 58178 h 788699"/>
                <a:gd name="connsiteX36" fmla="*/ 374867 w 516735"/>
                <a:gd name="connsiteY36" fmla="*/ 63618 h 788699"/>
                <a:gd name="connsiteX37" fmla="*/ 383026 w 516735"/>
                <a:gd name="connsiteY37" fmla="*/ 82655 h 788699"/>
                <a:gd name="connsiteX38" fmla="*/ 385746 w 516735"/>
                <a:gd name="connsiteY38" fmla="*/ 126170 h 788699"/>
                <a:gd name="connsiteX39" fmla="*/ 388466 w 516735"/>
                <a:gd name="connsiteY39" fmla="*/ 186002 h 788699"/>
                <a:gd name="connsiteX40" fmla="*/ 391185 w 516735"/>
                <a:gd name="connsiteY40" fmla="*/ 237676 h 788699"/>
                <a:gd name="connsiteX41" fmla="*/ 374867 w 516735"/>
                <a:gd name="connsiteY41" fmla="*/ 278470 h 788699"/>
                <a:gd name="connsiteX42" fmla="*/ 358549 w 516735"/>
                <a:gd name="connsiteY42" fmla="*/ 273031 h 788699"/>
                <a:gd name="connsiteX43" fmla="*/ 350390 w 516735"/>
                <a:gd name="connsiteY43" fmla="*/ 256713 h 788699"/>
                <a:gd name="connsiteX44" fmla="*/ 347671 w 516735"/>
                <a:gd name="connsiteY44" fmla="*/ 240395 h 788699"/>
                <a:gd name="connsiteX45" fmla="*/ 347671 w 516735"/>
                <a:gd name="connsiteY45" fmla="*/ 213199 h 788699"/>
                <a:gd name="connsiteX46" fmla="*/ 344951 w 516735"/>
                <a:gd name="connsiteY46" fmla="*/ 194161 h 788699"/>
                <a:gd name="connsiteX47" fmla="*/ 339512 w 516735"/>
                <a:gd name="connsiteY47" fmla="*/ 150647 h 788699"/>
                <a:gd name="connsiteX48" fmla="*/ 323194 w 516735"/>
                <a:gd name="connsiteY48" fmla="*/ 112571 h 788699"/>
                <a:gd name="connsiteX49" fmla="*/ 293278 w 516735"/>
                <a:gd name="connsiteY49" fmla="*/ 101693 h 788699"/>
                <a:gd name="connsiteX50" fmla="*/ 263361 w 516735"/>
                <a:gd name="connsiteY50" fmla="*/ 120730 h 788699"/>
                <a:gd name="connsiteX51" fmla="*/ 241604 w 516735"/>
                <a:gd name="connsiteY51" fmla="*/ 153366 h 788699"/>
                <a:gd name="connsiteX52" fmla="*/ 233445 w 516735"/>
                <a:gd name="connsiteY52" fmla="*/ 194161 h 788699"/>
                <a:gd name="connsiteX53" fmla="*/ 225286 w 516735"/>
                <a:gd name="connsiteY53" fmla="*/ 232236 h 788699"/>
                <a:gd name="connsiteX54" fmla="*/ 217127 w 516735"/>
                <a:gd name="connsiteY54" fmla="*/ 275751 h 788699"/>
                <a:gd name="connsiteX55" fmla="*/ 211688 w 516735"/>
                <a:gd name="connsiteY55" fmla="*/ 316545 h 788699"/>
                <a:gd name="connsiteX56" fmla="*/ 206249 w 516735"/>
                <a:gd name="connsiteY56" fmla="*/ 354621 h 788699"/>
                <a:gd name="connsiteX57" fmla="*/ 200809 w 516735"/>
                <a:gd name="connsiteY57" fmla="*/ 398135 h 788699"/>
                <a:gd name="connsiteX58" fmla="*/ 195370 w 516735"/>
                <a:gd name="connsiteY58" fmla="*/ 438930 h 788699"/>
                <a:gd name="connsiteX59" fmla="*/ 192650 w 516735"/>
                <a:gd name="connsiteY59" fmla="*/ 474286 h 788699"/>
                <a:gd name="connsiteX60" fmla="*/ 195370 w 516735"/>
                <a:gd name="connsiteY60" fmla="*/ 525959 h 788699"/>
                <a:gd name="connsiteX61" fmla="*/ 208968 w 516735"/>
                <a:gd name="connsiteY61" fmla="*/ 596670 h 788699"/>
                <a:gd name="connsiteX62" fmla="*/ 214407 w 516735"/>
                <a:gd name="connsiteY62" fmla="*/ 623867 h 788699"/>
                <a:gd name="connsiteX63" fmla="*/ 228006 w 516735"/>
                <a:gd name="connsiteY63" fmla="*/ 656502 h 788699"/>
                <a:gd name="connsiteX64" fmla="*/ 271520 w 516735"/>
                <a:gd name="connsiteY64" fmla="*/ 689138 h 788699"/>
                <a:gd name="connsiteX65" fmla="*/ 306876 w 516735"/>
                <a:gd name="connsiteY65" fmla="*/ 664661 h 788699"/>
                <a:gd name="connsiteX66" fmla="*/ 331353 w 516735"/>
                <a:gd name="connsiteY66" fmla="*/ 602109 h 788699"/>
                <a:gd name="connsiteX67" fmla="*/ 336792 w 516735"/>
                <a:gd name="connsiteY67" fmla="*/ 544997 h 788699"/>
                <a:gd name="connsiteX68" fmla="*/ 336792 w 516735"/>
                <a:gd name="connsiteY68" fmla="*/ 498762 h 788699"/>
                <a:gd name="connsiteX69" fmla="*/ 336792 w 516735"/>
                <a:gd name="connsiteY69" fmla="*/ 490603 h 788699"/>
                <a:gd name="connsiteX70" fmla="*/ 320474 w 516735"/>
                <a:gd name="connsiteY70" fmla="*/ 477005 h 788699"/>
                <a:gd name="connsiteX71" fmla="*/ 282399 w 516735"/>
                <a:gd name="connsiteY71" fmla="*/ 479725 h 788699"/>
                <a:gd name="connsiteX72" fmla="*/ 252483 w 516735"/>
                <a:gd name="connsiteY72" fmla="*/ 474286 h 788699"/>
                <a:gd name="connsiteX73" fmla="*/ 247043 w 516735"/>
                <a:gd name="connsiteY73" fmla="*/ 466126 h 788699"/>
                <a:gd name="connsiteX74" fmla="*/ 249763 w 516735"/>
                <a:gd name="connsiteY74" fmla="*/ 457968 h 788699"/>
                <a:gd name="connsiteX75" fmla="*/ 268801 w 516735"/>
                <a:gd name="connsiteY75" fmla="*/ 447089 h 788699"/>
                <a:gd name="connsiteX76" fmla="*/ 312315 w 516735"/>
                <a:gd name="connsiteY76" fmla="*/ 436210 h 788699"/>
                <a:gd name="connsiteX77" fmla="*/ 353110 w 516735"/>
                <a:gd name="connsiteY77" fmla="*/ 430771 h 788699"/>
                <a:gd name="connsiteX78" fmla="*/ 385746 w 516735"/>
                <a:gd name="connsiteY78" fmla="*/ 430771 h 788699"/>
                <a:gd name="connsiteX79" fmla="*/ 437420 w 516735"/>
                <a:gd name="connsiteY79" fmla="*/ 428051 h 788699"/>
                <a:gd name="connsiteX80" fmla="*/ 464616 w 516735"/>
                <a:gd name="connsiteY80" fmla="*/ 436210 h 7886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</a:cxnLst>
              <a:rect l="l" t="t" r="r" b="b"/>
              <a:pathLst>
                <a:path w="516735" h="788699">
                  <a:moveTo>
                    <a:pt x="464616" y="436210"/>
                  </a:moveTo>
                  <a:cubicBezTo>
                    <a:pt x="464616" y="447089"/>
                    <a:pt x="453737" y="452528"/>
                    <a:pt x="445578" y="455248"/>
                  </a:cubicBezTo>
                  <a:cubicBezTo>
                    <a:pt x="434700" y="460687"/>
                    <a:pt x="415662" y="463407"/>
                    <a:pt x="404784" y="466126"/>
                  </a:cubicBezTo>
                  <a:cubicBezTo>
                    <a:pt x="393905" y="466126"/>
                    <a:pt x="385746" y="468846"/>
                    <a:pt x="385746" y="479725"/>
                  </a:cubicBezTo>
                  <a:cubicBezTo>
                    <a:pt x="385746" y="487884"/>
                    <a:pt x="388466" y="506921"/>
                    <a:pt x="388466" y="512361"/>
                  </a:cubicBezTo>
                  <a:cubicBezTo>
                    <a:pt x="388466" y="515080"/>
                    <a:pt x="388466" y="539557"/>
                    <a:pt x="388466" y="544997"/>
                  </a:cubicBezTo>
                  <a:cubicBezTo>
                    <a:pt x="388466" y="550436"/>
                    <a:pt x="388466" y="558595"/>
                    <a:pt x="388466" y="566754"/>
                  </a:cubicBezTo>
                  <a:cubicBezTo>
                    <a:pt x="388466" y="591231"/>
                    <a:pt x="388466" y="621147"/>
                    <a:pt x="391185" y="632026"/>
                  </a:cubicBezTo>
                  <a:cubicBezTo>
                    <a:pt x="393905" y="653783"/>
                    <a:pt x="393905" y="661942"/>
                    <a:pt x="393905" y="683699"/>
                  </a:cubicBezTo>
                  <a:cubicBezTo>
                    <a:pt x="393905" y="694578"/>
                    <a:pt x="393905" y="724494"/>
                    <a:pt x="377587" y="724494"/>
                  </a:cubicBezTo>
                  <a:cubicBezTo>
                    <a:pt x="369428" y="724494"/>
                    <a:pt x="366708" y="721774"/>
                    <a:pt x="361269" y="719054"/>
                  </a:cubicBezTo>
                  <a:cubicBezTo>
                    <a:pt x="355830" y="716335"/>
                    <a:pt x="353110" y="708176"/>
                    <a:pt x="353110" y="702737"/>
                  </a:cubicBezTo>
                  <a:cubicBezTo>
                    <a:pt x="350390" y="694578"/>
                    <a:pt x="350390" y="689138"/>
                    <a:pt x="350390" y="686419"/>
                  </a:cubicBezTo>
                  <a:cubicBezTo>
                    <a:pt x="350390" y="678260"/>
                    <a:pt x="353110" y="672820"/>
                    <a:pt x="353110" y="659222"/>
                  </a:cubicBezTo>
                  <a:lnTo>
                    <a:pt x="353110" y="656502"/>
                  </a:lnTo>
                  <a:cubicBezTo>
                    <a:pt x="347671" y="675540"/>
                    <a:pt x="334072" y="694578"/>
                    <a:pt x="317755" y="708176"/>
                  </a:cubicBezTo>
                  <a:cubicBezTo>
                    <a:pt x="293278" y="727214"/>
                    <a:pt x="274240" y="735372"/>
                    <a:pt x="241604" y="735372"/>
                  </a:cubicBezTo>
                  <a:cubicBezTo>
                    <a:pt x="222566" y="735372"/>
                    <a:pt x="203529" y="732653"/>
                    <a:pt x="187211" y="727214"/>
                  </a:cubicBezTo>
                  <a:cubicBezTo>
                    <a:pt x="165454" y="719054"/>
                    <a:pt x="149136" y="708176"/>
                    <a:pt x="135538" y="694578"/>
                  </a:cubicBezTo>
                  <a:cubicBezTo>
                    <a:pt x="113780" y="672820"/>
                    <a:pt x="100182" y="648343"/>
                    <a:pt x="86584" y="621147"/>
                  </a:cubicBezTo>
                  <a:cubicBezTo>
                    <a:pt x="75705" y="599390"/>
                    <a:pt x="70266" y="580352"/>
                    <a:pt x="67546" y="555875"/>
                  </a:cubicBezTo>
                  <a:cubicBezTo>
                    <a:pt x="64826" y="539557"/>
                    <a:pt x="62107" y="525959"/>
                    <a:pt x="59387" y="509641"/>
                  </a:cubicBezTo>
                  <a:cubicBezTo>
                    <a:pt x="56667" y="493323"/>
                    <a:pt x="59387" y="485164"/>
                    <a:pt x="59387" y="468846"/>
                  </a:cubicBezTo>
                  <a:cubicBezTo>
                    <a:pt x="59387" y="414453"/>
                    <a:pt x="72985" y="362780"/>
                    <a:pt x="86584" y="302947"/>
                  </a:cubicBezTo>
                  <a:cubicBezTo>
                    <a:pt x="92023" y="275751"/>
                    <a:pt x="100182" y="248554"/>
                    <a:pt x="108341" y="224077"/>
                  </a:cubicBezTo>
                  <a:cubicBezTo>
                    <a:pt x="116500" y="196881"/>
                    <a:pt x="130098" y="169684"/>
                    <a:pt x="146416" y="145207"/>
                  </a:cubicBezTo>
                  <a:cubicBezTo>
                    <a:pt x="160014" y="123450"/>
                    <a:pt x="176332" y="101693"/>
                    <a:pt x="198090" y="85375"/>
                  </a:cubicBezTo>
                  <a:cubicBezTo>
                    <a:pt x="206249" y="77216"/>
                    <a:pt x="217127" y="71776"/>
                    <a:pt x="228006" y="69057"/>
                  </a:cubicBezTo>
                  <a:cubicBezTo>
                    <a:pt x="241604" y="63618"/>
                    <a:pt x="255202" y="58178"/>
                    <a:pt x="268801" y="58178"/>
                  </a:cubicBezTo>
                  <a:cubicBezTo>
                    <a:pt x="271520" y="58178"/>
                    <a:pt x="274240" y="58178"/>
                    <a:pt x="274240" y="58178"/>
                  </a:cubicBezTo>
                  <a:cubicBezTo>
                    <a:pt x="279679" y="58178"/>
                    <a:pt x="285119" y="58178"/>
                    <a:pt x="295997" y="60898"/>
                  </a:cubicBezTo>
                  <a:cubicBezTo>
                    <a:pt x="309595" y="63618"/>
                    <a:pt x="320474" y="66337"/>
                    <a:pt x="331353" y="71776"/>
                  </a:cubicBezTo>
                  <a:cubicBezTo>
                    <a:pt x="339512" y="77216"/>
                    <a:pt x="347671" y="85375"/>
                    <a:pt x="350390" y="93534"/>
                  </a:cubicBezTo>
                  <a:cubicBezTo>
                    <a:pt x="350390" y="88095"/>
                    <a:pt x="353110" y="79936"/>
                    <a:pt x="353110" y="74496"/>
                  </a:cubicBezTo>
                  <a:cubicBezTo>
                    <a:pt x="355830" y="71776"/>
                    <a:pt x="355830" y="69057"/>
                    <a:pt x="358549" y="63618"/>
                  </a:cubicBezTo>
                  <a:cubicBezTo>
                    <a:pt x="361269" y="60898"/>
                    <a:pt x="363989" y="58178"/>
                    <a:pt x="366708" y="58178"/>
                  </a:cubicBezTo>
                  <a:cubicBezTo>
                    <a:pt x="369428" y="58178"/>
                    <a:pt x="372148" y="60898"/>
                    <a:pt x="374867" y="63618"/>
                  </a:cubicBezTo>
                  <a:cubicBezTo>
                    <a:pt x="377587" y="69057"/>
                    <a:pt x="380307" y="77216"/>
                    <a:pt x="383026" y="82655"/>
                  </a:cubicBezTo>
                  <a:cubicBezTo>
                    <a:pt x="383026" y="90814"/>
                    <a:pt x="385746" y="107132"/>
                    <a:pt x="385746" y="126170"/>
                  </a:cubicBezTo>
                  <a:cubicBezTo>
                    <a:pt x="385746" y="150647"/>
                    <a:pt x="385746" y="177843"/>
                    <a:pt x="388466" y="186002"/>
                  </a:cubicBezTo>
                  <a:cubicBezTo>
                    <a:pt x="391185" y="207759"/>
                    <a:pt x="391185" y="215918"/>
                    <a:pt x="391185" y="237676"/>
                  </a:cubicBezTo>
                  <a:cubicBezTo>
                    <a:pt x="391185" y="248554"/>
                    <a:pt x="391185" y="278470"/>
                    <a:pt x="374867" y="278470"/>
                  </a:cubicBezTo>
                  <a:cubicBezTo>
                    <a:pt x="366708" y="278470"/>
                    <a:pt x="363989" y="275751"/>
                    <a:pt x="358549" y="273031"/>
                  </a:cubicBezTo>
                  <a:cubicBezTo>
                    <a:pt x="353110" y="270311"/>
                    <a:pt x="350390" y="262152"/>
                    <a:pt x="350390" y="256713"/>
                  </a:cubicBezTo>
                  <a:cubicBezTo>
                    <a:pt x="350390" y="251274"/>
                    <a:pt x="347671" y="245834"/>
                    <a:pt x="347671" y="240395"/>
                  </a:cubicBezTo>
                  <a:cubicBezTo>
                    <a:pt x="347671" y="232236"/>
                    <a:pt x="347671" y="224077"/>
                    <a:pt x="347671" y="213199"/>
                  </a:cubicBezTo>
                  <a:cubicBezTo>
                    <a:pt x="347671" y="207759"/>
                    <a:pt x="347671" y="199600"/>
                    <a:pt x="344951" y="194161"/>
                  </a:cubicBezTo>
                  <a:cubicBezTo>
                    <a:pt x="342232" y="180563"/>
                    <a:pt x="342232" y="164245"/>
                    <a:pt x="339512" y="150647"/>
                  </a:cubicBezTo>
                  <a:cubicBezTo>
                    <a:pt x="336792" y="137048"/>
                    <a:pt x="331353" y="123450"/>
                    <a:pt x="323194" y="112571"/>
                  </a:cubicBezTo>
                  <a:cubicBezTo>
                    <a:pt x="317755" y="104412"/>
                    <a:pt x="304156" y="101693"/>
                    <a:pt x="293278" y="101693"/>
                  </a:cubicBezTo>
                  <a:cubicBezTo>
                    <a:pt x="279679" y="101693"/>
                    <a:pt x="271520" y="109852"/>
                    <a:pt x="263361" y="120730"/>
                  </a:cubicBezTo>
                  <a:cubicBezTo>
                    <a:pt x="257922" y="131609"/>
                    <a:pt x="247043" y="139768"/>
                    <a:pt x="241604" y="153366"/>
                  </a:cubicBezTo>
                  <a:cubicBezTo>
                    <a:pt x="236165" y="166964"/>
                    <a:pt x="233445" y="180563"/>
                    <a:pt x="233445" y="194161"/>
                  </a:cubicBezTo>
                  <a:cubicBezTo>
                    <a:pt x="233445" y="207759"/>
                    <a:pt x="230726" y="218638"/>
                    <a:pt x="225286" y="232236"/>
                  </a:cubicBezTo>
                  <a:cubicBezTo>
                    <a:pt x="219847" y="245834"/>
                    <a:pt x="219847" y="262152"/>
                    <a:pt x="217127" y="275751"/>
                  </a:cubicBezTo>
                  <a:cubicBezTo>
                    <a:pt x="214407" y="289349"/>
                    <a:pt x="214407" y="302947"/>
                    <a:pt x="211688" y="316545"/>
                  </a:cubicBezTo>
                  <a:cubicBezTo>
                    <a:pt x="211688" y="330144"/>
                    <a:pt x="206249" y="341022"/>
                    <a:pt x="206249" y="354621"/>
                  </a:cubicBezTo>
                  <a:cubicBezTo>
                    <a:pt x="203529" y="368219"/>
                    <a:pt x="203529" y="381817"/>
                    <a:pt x="200809" y="398135"/>
                  </a:cubicBezTo>
                  <a:cubicBezTo>
                    <a:pt x="198090" y="411733"/>
                    <a:pt x="198090" y="425332"/>
                    <a:pt x="195370" y="438930"/>
                  </a:cubicBezTo>
                  <a:cubicBezTo>
                    <a:pt x="195370" y="449809"/>
                    <a:pt x="192650" y="463407"/>
                    <a:pt x="192650" y="474286"/>
                  </a:cubicBezTo>
                  <a:cubicBezTo>
                    <a:pt x="192650" y="490603"/>
                    <a:pt x="195370" y="509641"/>
                    <a:pt x="195370" y="525959"/>
                  </a:cubicBezTo>
                  <a:cubicBezTo>
                    <a:pt x="195370" y="550436"/>
                    <a:pt x="203529" y="572193"/>
                    <a:pt x="208968" y="596670"/>
                  </a:cubicBezTo>
                  <a:cubicBezTo>
                    <a:pt x="211688" y="604829"/>
                    <a:pt x="211688" y="615708"/>
                    <a:pt x="214407" y="623867"/>
                  </a:cubicBezTo>
                  <a:cubicBezTo>
                    <a:pt x="217127" y="634745"/>
                    <a:pt x="222566" y="645624"/>
                    <a:pt x="228006" y="656502"/>
                  </a:cubicBezTo>
                  <a:cubicBezTo>
                    <a:pt x="236165" y="670101"/>
                    <a:pt x="252483" y="689138"/>
                    <a:pt x="271520" y="689138"/>
                  </a:cubicBezTo>
                  <a:cubicBezTo>
                    <a:pt x="287838" y="689138"/>
                    <a:pt x="298717" y="675540"/>
                    <a:pt x="306876" y="664661"/>
                  </a:cubicBezTo>
                  <a:cubicBezTo>
                    <a:pt x="320474" y="645624"/>
                    <a:pt x="325914" y="623867"/>
                    <a:pt x="331353" y="602109"/>
                  </a:cubicBezTo>
                  <a:cubicBezTo>
                    <a:pt x="334072" y="583072"/>
                    <a:pt x="336792" y="564034"/>
                    <a:pt x="336792" y="544997"/>
                  </a:cubicBezTo>
                  <a:cubicBezTo>
                    <a:pt x="336792" y="531398"/>
                    <a:pt x="336792" y="512361"/>
                    <a:pt x="336792" y="498762"/>
                  </a:cubicBezTo>
                  <a:cubicBezTo>
                    <a:pt x="336792" y="496043"/>
                    <a:pt x="336792" y="493323"/>
                    <a:pt x="336792" y="490603"/>
                  </a:cubicBezTo>
                  <a:cubicBezTo>
                    <a:pt x="336792" y="479725"/>
                    <a:pt x="336792" y="477005"/>
                    <a:pt x="320474" y="477005"/>
                  </a:cubicBezTo>
                  <a:cubicBezTo>
                    <a:pt x="309595" y="477005"/>
                    <a:pt x="295997" y="479725"/>
                    <a:pt x="282399" y="479725"/>
                  </a:cubicBezTo>
                  <a:cubicBezTo>
                    <a:pt x="271520" y="479725"/>
                    <a:pt x="260642" y="479725"/>
                    <a:pt x="252483" y="474286"/>
                  </a:cubicBezTo>
                  <a:cubicBezTo>
                    <a:pt x="249763" y="471566"/>
                    <a:pt x="247043" y="468846"/>
                    <a:pt x="247043" y="466126"/>
                  </a:cubicBezTo>
                  <a:cubicBezTo>
                    <a:pt x="247043" y="463407"/>
                    <a:pt x="247043" y="460687"/>
                    <a:pt x="249763" y="457968"/>
                  </a:cubicBezTo>
                  <a:cubicBezTo>
                    <a:pt x="255202" y="452528"/>
                    <a:pt x="260642" y="449809"/>
                    <a:pt x="268801" y="447089"/>
                  </a:cubicBezTo>
                  <a:cubicBezTo>
                    <a:pt x="282399" y="441650"/>
                    <a:pt x="295997" y="438930"/>
                    <a:pt x="312315" y="436210"/>
                  </a:cubicBezTo>
                  <a:cubicBezTo>
                    <a:pt x="325914" y="433491"/>
                    <a:pt x="339512" y="433491"/>
                    <a:pt x="353110" y="430771"/>
                  </a:cubicBezTo>
                  <a:cubicBezTo>
                    <a:pt x="363989" y="430771"/>
                    <a:pt x="374867" y="430771"/>
                    <a:pt x="385746" y="430771"/>
                  </a:cubicBezTo>
                  <a:cubicBezTo>
                    <a:pt x="402064" y="430771"/>
                    <a:pt x="426541" y="428051"/>
                    <a:pt x="437420" y="428051"/>
                  </a:cubicBezTo>
                  <a:cubicBezTo>
                    <a:pt x="451018" y="419892"/>
                    <a:pt x="464616" y="425332"/>
                    <a:pt x="464616" y="436210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/>
            </a:p>
          </p:txBody>
        </p:sp>
        <p:sp>
          <p:nvSpPr>
            <p:cNvPr id="42" name="Freeform: Shape 41">
              <a:extLst>
                <a:ext uri="{FF2B5EF4-FFF2-40B4-BE49-F238E27FC236}">
                  <a16:creationId xmlns:a16="http://schemas.microsoft.com/office/drawing/2014/main" id="{B56393A6-A398-46C6-84A8-A69133016DD7}"/>
                </a:ext>
              </a:extLst>
            </p:cNvPr>
            <p:cNvSpPr/>
            <p:nvPr/>
          </p:nvSpPr>
          <p:spPr>
            <a:xfrm>
              <a:off x="5651630" y="4181279"/>
              <a:ext cx="734308" cy="788700"/>
            </a:xfrm>
            <a:custGeom>
              <a:avLst/>
              <a:gdLst>
                <a:gd name="connsiteX0" fmla="*/ 653783 w 734307"/>
                <a:gd name="connsiteY0" fmla="*/ 678259 h 788699"/>
                <a:gd name="connsiteX1" fmla="*/ 691859 w 734307"/>
                <a:gd name="connsiteY1" fmla="*/ 694577 h 788699"/>
                <a:gd name="connsiteX2" fmla="*/ 686419 w 734307"/>
                <a:gd name="connsiteY2" fmla="*/ 710895 h 788699"/>
                <a:gd name="connsiteX3" fmla="*/ 670101 w 734307"/>
                <a:gd name="connsiteY3" fmla="*/ 719054 h 788699"/>
                <a:gd name="connsiteX4" fmla="*/ 648344 w 734307"/>
                <a:gd name="connsiteY4" fmla="*/ 721774 h 788699"/>
                <a:gd name="connsiteX5" fmla="*/ 618428 w 734307"/>
                <a:gd name="connsiteY5" fmla="*/ 721774 h 788699"/>
                <a:gd name="connsiteX6" fmla="*/ 572194 w 734307"/>
                <a:gd name="connsiteY6" fmla="*/ 735372 h 788699"/>
                <a:gd name="connsiteX7" fmla="*/ 544997 w 734307"/>
                <a:gd name="connsiteY7" fmla="*/ 729933 h 788699"/>
                <a:gd name="connsiteX8" fmla="*/ 534119 w 734307"/>
                <a:gd name="connsiteY8" fmla="*/ 721774 h 788699"/>
                <a:gd name="connsiteX9" fmla="*/ 496043 w 734307"/>
                <a:gd name="connsiteY9" fmla="*/ 721774 h 788699"/>
                <a:gd name="connsiteX10" fmla="*/ 471566 w 734307"/>
                <a:gd name="connsiteY10" fmla="*/ 721774 h 788699"/>
                <a:gd name="connsiteX11" fmla="*/ 444370 w 734307"/>
                <a:gd name="connsiteY11" fmla="*/ 716335 h 788699"/>
                <a:gd name="connsiteX12" fmla="*/ 428052 w 734307"/>
                <a:gd name="connsiteY12" fmla="*/ 700017 h 788699"/>
                <a:gd name="connsiteX13" fmla="*/ 433491 w 734307"/>
                <a:gd name="connsiteY13" fmla="*/ 691858 h 788699"/>
                <a:gd name="connsiteX14" fmla="*/ 455248 w 734307"/>
                <a:gd name="connsiteY14" fmla="*/ 683699 h 788699"/>
                <a:gd name="connsiteX15" fmla="*/ 506922 w 734307"/>
                <a:gd name="connsiteY15" fmla="*/ 678259 h 788699"/>
                <a:gd name="connsiteX16" fmla="*/ 509641 w 734307"/>
                <a:gd name="connsiteY16" fmla="*/ 678259 h 788699"/>
                <a:gd name="connsiteX17" fmla="*/ 506922 w 734307"/>
                <a:gd name="connsiteY17" fmla="*/ 664661 h 788699"/>
                <a:gd name="connsiteX18" fmla="*/ 498763 w 734307"/>
                <a:gd name="connsiteY18" fmla="*/ 580352 h 788699"/>
                <a:gd name="connsiteX19" fmla="*/ 496043 w 734307"/>
                <a:gd name="connsiteY19" fmla="*/ 479725 h 788699"/>
                <a:gd name="connsiteX20" fmla="*/ 493324 w 734307"/>
                <a:gd name="connsiteY20" fmla="*/ 389976 h 788699"/>
                <a:gd name="connsiteX21" fmla="*/ 490604 w 734307"/>
                <a:gd name="connsiteY21" fmla="*/ 302947 h 788699"/>
                <a:gd name="connsiteX22" fmla="*/ 487884 w 734307"/>
                <a:gd name="connsiteY22" fmla="*/ 229516 h 788699"/>
                <a:gd name="connsiteX23" fmla="*/ 485165 w 734307"/>
                <a:gd name="connsiteY23" fmla="*/ 221357 h 788699"/>
                <a:gd name="connsiteX24" fmla="*/ 482445 w 734307"/>
                <a:gd name="connsiteY24" fmla="*/ 226797 h 788699"/>
                <a:gd name="connsiteX25" fmla="*/ 477006 w 734307"/>
                <a:gd name="connsiteY25" fmla="*/ 262152 h 788699"/>
                <a:gd name="connsiteX26" fmla="*/ 460688 w 734307"/>
                <a:gd name="connsiteY26" fmla="*/ 341022 h 788699"/>
                <a:gd name="connsiteX27" fmla="*/ 444370 w 734307"/>
                <a:gd name="connsiteY27" fmla="*/ 417173 h 788699"/>
                <a:gd name="connsiteX28" fmla="*/ 436211 w 734307"/>
                <a:gd name="connsiteY28" fmla="*/ 455248 h 788699"/>
                <a:gd name="connsiteX29" fmla="*/ 425332 w 734307"/>
                <a:gd name="connsiteY29" fmla="*/ 493323 h 788699"/>
                <a:gd name="connsiteX30" fmla="*/ 411734 w 734307"/>
                <a:gd name="connsiteY30" fmla="*/ 531398 h 788699"/>
                <a:gd name="connsiteX31" fmla="*/ 376378 w 734307"/>
                <a:gd name="connsiteY31" fmla="*/ 547716 h 788699"/>
                <a:gd name="connsiteX32" fmla="*/ 319265 w 734307"/>
                <a:gd name="connsiteY32" fmla="*/ 525959 h 788699"/>
                <a:gd name="connsiteX33" fmla="*/ 289349 w 734307"/>
                <a:gd name="connsiteY33" fmla="*/ 455248 h 788699"/>
                <a:gd name="connsiteX34" fmla="*/ 273031 w 734307"/>
                <a:gd name="connsiteY34" fmla="*/ 373658 h 788699"/>
                <a:gd name="connsiteX35" fmla="*/ 262153 w 734307"/>
                <a:gd name="connsiteY35" fmla="*/ 316545 h 788699"/>
                <a:gd name="connsiteX36" fmla="*/ 245835 w 734307"/>
                <a:gd name="connsiteY36" fmla="*/ 237675 h 788699"/>
                <a:gd name="connsiteX37" fmla="*/ 234956 w 734307"/>
                <a:gd name="connsiteY37" fmla="*/ 196881 h 788699"/>
                <a:gd name="connsiteX38" fmla="*/ 232236 w 734307"/>
                <a:gd name="connsiteY38" fmla="*/ 191441 h 788699"/>
                <a:gd name="connsiteX39" fmla="*/ 226797 w 734307"/>
                <a:gd name="connsiteY39" fmla="*/ 207759 h 788699"/>
                <a:gd name="connsiteX40" fmla="*/ 226797 w 734307"/>
                <a:gd name="connsiteY40" fmla="*/ 232236 h 788699"/>
                <a:gd name="connsiteX41" fmla="*/ 224077 w 734307"/>
                <a:gd name="connsiteY41" fmla="*/ 267592 h 788699"/>
                <a:gd name="connsiteX42" fmla="*/ 221358 w 734307"/>
                <a:gd name="connsiteY42" fmla="*/ 311106 h 788699"/>
                <a:gd name="connsiteX43" fmla="*/ 218638 w 734307"/>
                <a:gd name="connsiteY43" fmla="*/ 360060 h 788699"/>
                <a:gd name="connsiteX44" fmla="*/ 215919 w 734307"/>
                <a:gd name="connsiteY44" fmla="*/ 398135 h 788699"/>
                <a:gd name="connsiteX45" fmla="*/ 213199 w 734307"/>
                <a:gd name="connsiteY45" fmla="*/ 430771 h 788699"/>
                <a:gd name="connsiteX46" fmla="*/ 213199 w 734307"/>
                <a:gd name="connsiteY46" fmla="*/ 455248 h 788699"/>
                <a:gd name="connsiteX47" fmla="*/ 213199 w 734307"/>
                <a:gd name="connsiteY47" fmla="*/ 477005 h 788699"/>
                <a:gd name="connsiteX48" fmla="*/ 207759 w 734307"/>
                <a:gd name="connsiteY48" fmla="*/ 520520 h 788699"/>
                <a:gd name="connsiteX49" fmla="*/ 196881 w 734307"/>
                <a:gd name="connsiteY49" fmla="*/ 610268 h 788699"/>
                <a:gd name="connsiteX50" fmla="*/ 194161 w 734307"/>
                <a:gd name="connsiteY50" fmla="*/ 653783 h 788699"/>
                <a:gd name="connsiteX51" fmla="*/ 191441 w 734307"/>
                <a:gd name="connsiteY51" fmla="*/ 667381 h 788699"/>
                <a:gd name="connsiteX52" fmla="*/ 243115 w 734307"/>
                <a:gd name="connsiteY52" fmla="*/ 667381 h 788699"/>
                <a:gd name="connsiteX53" fmla="*/ 273031 w 734307"/>
                <a:gd name="connsiteY53" fmla="*/ 683699 h 788699"/>
                <a:gd name="connsiteX54" fmla="*/ 262153 w 734307"/>
                <a:gd name="connsiteY54" fmla="*/ 697297 h 788699"/>
                <a:gd name="connsiteX55" fmla="*/ 248554 w 734307"/>
                <a:gd name="connsiteY55" fmla="*/ 705456 h 788699"/>
                <a:gd name="connsiteX56" fmla="*/ 232236 w 734307"/>
                <a:gd name="connsiteY56" fmla="*/ 708176 h 788699"/>
                <a:gd name="connsiteX57" fmla="*/ 166965 w 734307"/>
                <a:gd name="connsiteY57" fmla="*/ 708176 h 788699"/>
                <a:gd name="connsiteX58" fmla="*/ 109852 w 734307"/>
                <a:gd name="connsiteY58" fmla="*/ 708176 h 788699"/>
                <a:gd name="connsiteX59" fmla="*/ 90814 w 734307"/>
                <a:gd name="connsiteY59" fmla="*/ 708176 h 788699"/>
                <a:gd name="connsiteX60" fmla="*/ 69057 w 734307"/>
                <a:gd name="connsiteY60" fmla="*/ 702736 h 788699"/>
                <a:gd name="connsiteX61" fmla="*/ 58178 w 734307"/>
                <a:gd name="connsiteY61" fmla="*/ 686418 h 788699"/>
                <a:gd name="connsiteX62" fmla="*/ 60898 w 734307"/>
                <a:gd name="connsiteY62" fmla="*/ 678259 h 788699"/>
                <a:gd name="connsiteX63" fmla="*/ 77216 w 734307"/>
                <a:gd name="connsiteY63" fmla="*/ 670101 h 788699"/>
                <a:gd name="connsiteX64" fmla="*/ 126170 w 734307"/>
                <a:gd name="connsiteY64" fmla="*/ 664661 h 788699"/>
                <a:gd name="connsiteX65" fmla="*/ 142487 w 734307"/>
                <a:gd name="connsiteY65" fmla="*/ 664661 h 788699"/>
                <a:gd name="connsiteX66" fmla="*/ 147927 w 734307"/>
                <a:gd name="connsiteY66" fmla="*/ 588511 h 788699"/>
                <a:gd name="connsiteX67" fmla="*/ 153366 w 734307"/>
                <a:gd name="connsiteY67" fmla="*/ 493323 h 788699"/>
                <a:gd name="connsiteX68" fmla="*/ 156086 w 734307"/>
                <a:gd name="connsiteY68" fmla="*/ 411733 h 788699"/>
                <a:gd name="connsiteX69" fmla="*/ 161525 w 734307"/>
                <a:gd name="connsiteY69" fmla="*/ 297508 h 788699"/>
                <a:gd name="connsiteX70" fmla="*/ 166965 w 734307"/>
                <a:gd name="connsiteY70" fmla="*/ 240395 h 788699"/>
                <a:gd name="connsiteX71" fmla="*/ 177843 w 734307"/>
                <a:gd name="connsiteY71" fmla="*/ 161525 h 788699"/>
                <a:gd name="connsiteX72" fmla="*/ 183282 w 734307"/>
                <a:gd name="connsiteY72" fmla="*/ 118011 h 788699"/>
                <a:gd name="connsiteX73" fmla="*/ 183282 w 734307"/>
                <a:gd name="connsiteY73" fmla="*/ 115291 h 788699"/>
                <a:gd name="connsiteX74" fmla="*/ 161525 w 734307"/>
                <a:gd name="connsiteY74" fmla="*/ 115291 h 788699"/>
                <a:gd name="connsiteX75" fmla="*/ 137048 w 734307"/>
                <a:gd name="connsiteY75" fmla="*/ 115291 h 788699"/>
                <a:gd name="connsiteX76" fmla="*/ 109852 w 734307"/>
                <a:gd name="connsiteY76" fmla="*/ 109851 h 788699"/>
                <a:gd name="connsiteX77" fmla="*/ 93534 w 734307"/>
                <a:gd name="connsiteY77" fmla="*/ 93534 h 788699"/>
                <a:gd name="connsiteX78" fmla="*/ 98973 w 734307"/>
                <a:gd name="connsiteY78" fmla="*/ 85375 h 788699"/>
                <a:gd name="connsiteX79" fmla="*/ 120730 w 734307"/>
                <a:gd name="connsiteY79" fmla="*/ 77216 h 788699"/>
                <a:gd name="connsiteX80" fmla="*/ 172404 w 734307"/>
                <a:gd name="connsiteY80" fmla="*/ 71776 h 788699"/>
                <a:gd name="connsiteX81" fmla="*/ 234956 w 734307"/>
                <a:gd name="connsiteY81" fmla="*/ 69057 h 788699"/>
                <a:gd name="connsiteX82" fmla="*/ 243115 w 734307"/>
                <a:gd name="connsiteY82" fmla="*/ 69057 h 788699"/>
                <a:gd name="connsiteX83" fmla="*/ 270312 w 734307"/>
                <a:gd name="connsiteY83" fmla="*/ 74496 h 788699"/>
                <a:gd name="connsiteX84" fmla="*/ 308387 w 734307"/>
                <a:gd name="connsiteY84" fmla="*/ 123450 h 788699"/>
                <a:gd name="connsiteX85" fmla="*/ 332864 w 734307"/>
                <a:gd name="connsiteY85" fmla="*/ 202320 h 788699"/>
                <a:gd name="connsiteX86" fmla="*/ 338303 w 734307"/>
                <a:gd name="connsiteY86" fmla="*/ 237675 h 788699"/>
                <a:gd name="connsiteX87" fmla="*/ 349182 w 734307"/>
                <a:gd name="connsiteY87" fmla="*/ 281190 h 788699"/>
                <a:gd name="connsiteX88" fmla="*/ 357341 w 734307"/>
                <a:gd name="connsiteY88" fmla="*/ 316545 h 788699"/>
                <a:gd name="connsiteX89" fmla="*/ 365500 w 734307"/>
                <a:gd name="connsiteY89" fmla="*/ 351901 h 788699"/>
                <a:gd name="connsiteX90" fmla="*/ 376378 w 734307"/>
                <a:gd name="connsiteY90" fmla="*/ 389976 h 788699"/>
                <a:gd name="connsiteX91" fmla="*/ 387257 w 734307"/>
                <a:gd name="connsiteY91" fmla="*/ 414453 h 788699"/>
                <a:gd name="connsiteX92" fmla="*/ 398136 w 734307"/>
                <a:gd name="connsiteY92" fmla="*/ 376378 h 788699"/>
                <a:gd name="connsiteX93" fmla="*/ 406295 w 734307"/>
                <a:gd name="connsiteY93" fmla="*/ 332863 h 788699"/>
                <a:gd name="connsiteX94" fmla="*/ 425332 w 734307"/>
                <a:gd name="connsiteY94" fmla="*/ 243115 h 788699"/>
                <a:gd name="connsiteX95" fmla="*/ 444370 w 734307"/>
                <a:gd name="connsiteY95" fmla="*/ 150646 h 788699"/>
                <a:gd name="connsiteX96" fmla="*/ 477006 w 734307"/>
                <a:gd name="connsiteY96" fmla="*/ 79935 h 788699"/>
                <a:gd name="connsiteX97" fmla="*/ 523240 w 734307"/>
                <a:gd name="connsiteY97" fmla="*/ 58178 h 788699"/>
                <a:gd name="connsiteX98" fmla="*/ 544997 w 734307"/>
                <a:gd name="connsiteY98" fmla="*/ 63617 h 788699"/>
                <a:gd name="connsiteX99" fmla="*/ 612988 w 734307"/>
                <a:gd name="connsiteY99" fmla="*/ 63617 h 788699"/>
                <a:gd name="connsiteX100" fmla="*/ 651064 w 734307"/>
                <a:gd name="connsiteY100" fmla="*/ 79935 h 788699"/>
                <a:gd name="connsiteX101" fmla="*/ 645624 w 734307"/>
                <a:gd name="connsiteY101" fmla="*/ 96253 h 788699"/>
                <a:gd name="connsiteX102" fmla="*/ 629307 w 734307"/>
                <a:gd name="connsiteY102" fmla="*/ 104412 h 788699"/>
                <a:gd name="connsiteX103" fmla="*/ 607549 w 734307"/>
                <a:gd name="connsiteY103" fmla="*/ 107132 h 788699"/>
                <a:gd name="connsiteX104" fmla="*/ 580353 w 734307"/>
                <a:gd name="connsiteY104" fmla="*/ 107132 h 788699"/>
                <a:gd name="connsiteX105" fmla="*/ 583072 w 734307"/>
                <a:gd name="connsiteY105" fmla="*/ 115291 h 788699"/>
                <a:gd name="connsiteX106" fmla="*/ 588512 w 734307"/>
                <a:gd name="connsiteY106" fmla="*/ 156086 h 788699"/>
                <a:gd name="connsiteX107" fmla="*/ 593951 w 734307"/>
                <a:gd name="connsiteY107" fmla="*/ 196881 h 788699"/>
                <a:gd name="connsiteX108" fmla="*/ 599390 w 734307"/>
                <a:gd name="connsiteY108" fmla="*/ 226797 h 788699"/>
                <a:gd name="connsiteX109" fmla="*/ 599390 w 734307"/>
                <a:gd name="connsiteY109" fmla="*/ 232236 h 788699"/>
                <a:gd name="connsiteX110" fmla="*/ 599390 w 734307"/>
                <a:gd name="connsiteY110" fmla="*/ 240395 h 788699"/>
                <a:gd name="connsiteX111" fmla="*/ 602110 w 734307"/>
                <a:gd name="connsiteY111" fmla="*/ 270311 h 788699"/>
                <a:gd name="connsiteX112" fmla="*/ 607549 w 734307"/>
                <a:gd name="connsiteY112" fmla="*/ 308386 h 788699"/>
                <a:gd name="connsiteX113" fmla="*/ 607549 w 734307"/>
                <a:gd name="connsiteY113" fmla="*/ 319265 h 788699"/>
                <a:gd name="connsiteX114" fmla="*/ 612988 w 734307"/>
                <a:gd name="connsiteY114" fmla="*/ 335583 h 788699"/>
                <a:gd name="connsiteX115" fmla="*/ 612988 w 734307"/>
                <a:gd name="connsiteY115" fmla="*/ 346462 h 788699"/>
                <a:gd name="connsiteX116" fmla="*/ 612988 w 734307"/>
                <a:gd name="connsiteY116" fmla="*/ 370939 h 788699"/>
                <a:gd name="connsiteX117" fmla="*/ 612988 w 734307"/>
                <a:gd name="connsiteY117" fmla="*/ 395415 h 788699"/>
                <a:gd name="connsiteX118" fmla="*/ 615708 w 734307"/>
                <a:gd name="connsiteY118" fmla="*/ 422612 h 788699"/>
                <a:gd name="connsiteX119" fmla="*/ 618428 w 734307"/>
                <a:gd name="connsiteY119" fmla="*/ 441650 h 788699"/>
                <a:gd name="connsiteX120" fmla="*/ 618428 w 734307"/>
                <a:gd name="connsiteY120" fmla="*/ 455248 h 788699"/>
                <a:gd name="connsiteX121" fmla="*/ 621147 w 734307"/>
                <a:gd name="connsiteY121" fmla="*/ 463407 h 788699"/>
                <a:gd name="connsiteX122" fmla="*/ 626587 w 734307"/>
                <a:gd name="connsiteY122" fmla="*/ 482444 h 788699"/>
                <a:gd name="connsiteX123" fmla="*/ 629307 w 734307"/>
                <a:gd name="connsiteY123" fmla="*/ 517800 h 788699"/>
                <a:gd name="connsiteX124" fmla="*/ 634746 w 734307"/>
                <a:gd name="connsiteY124" fmla="*/ 561314 h 788699"/>
                <a:gd name="connsiteX125" fmla="*/ 634746 w 734307"/>
                <a:gd name="connsiteY125" fmla="*/ 566754 h 788699"/>
                <a:gd name="connsiteX126" fmla="*/ 634746 w 734307"/>
                <a:gd name="connsiteY126" fmla="*/ 583072 h 788699"/>
                <a:gd name="connsiteX127" fmla="*/ 637466 w 734307"/>
                <a:gd name="connsiteY127" fmla="*/ 607548 h 788699"/>
                <a:gd name="connsiteX128" fmla="*/ 640185 w 734307"/>
                <a:gd name="connsiteY128" fmla="*/ 618427 h 788699"/>
                <a:gd name="connsiteX129" fmla="*/ 640185 w 734307"/>
                <a:gd name="connsiteY129" fmla="*/ 632025 h 788699"/>
                <a:gd name="connsiteX130" fmla="*/ 640185 w 734307"/>
                <a:gd name="connsiteY130" fmla="*/ 640184 h 788699"/>
                <a:gd name="connsiteX131" fmla="*/ 642905 w 734307"/>
                <a:gd name="connsiteY131" fmla="*/ 659222 h 788699"/>
                <a:gd name="connsiteX132" fmla="*/ 642905 w 734307"/>
                <a:gd name="connsiteY132" fmla="*/ 664661 h 788699"/>
                <a:gd name="connsiteX133" fmla="*/ 653783 w 734307"/>
                <a:gd name="connsiteY133" fmla="*/ 678259 h 788699"/>
                <a:gd name="connsiteX134" fmla="*/ 653783 w 734307"/>
                <a:gd name="connsiteY134" fmla="*/ 678259 h 7886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</a:cxnLst>
              <a:rect l="l" t="t" r="r" b="b"/>
              <a:pathLst>
                <a:path w="734307" h="788699">
                  <a:moveTo>
                    <a:pt x="653783" y="678259"/>
                  </a:moveTo>
                  <a:cubicBezTo>
                    <a:pt x="667382" y="678259"/>
                    <a:pt x="691859" y="678259"/>
                    <a:pt x="691859" y="694577"/>
                  </a:cubicBezTo>
                  <a:cubicBezTo>
                    <a:pt x="691859" y="702736"/>
                    <a:pt x="689139" y="705456"/>
                    <a:pt x="686419" y="710895"/>
                  </a:cubicBezTo>
                  <a:cubicBezTo>
                    <a:pt x="683700" y="716335"/>
                    <a:pt x="675541" y="719054"/>
                    <a:pt x="670101" y="719054"/>
                  </a:cubicBezTo>
                  <a:cubicBezTo>
                    <a:pt x="661942" y="721774"/>
                    <a:pt x="653783" y="721774"/>
                    <a:pt x="648344" y="721774"/>
                  </a:cubicBezTo>
                  <a:cubicBezTo>
                    <a:pt x="645624" y="721774"/>
                    <a:pt x="634746" y="721774"/>
                    <a:pt x="618428" y="721774"/>
                  </a:cubicBezTo>
                  <a:cubicBezTo>
                    <a:pt x="604829" y="729933"/>
                    <a:pt x="588512" y="735372"/>
                    <a:pt x="572194" y="735372"/>
                  </a:cubicBezTo>
                  <a:cubicBezTo>
                    <a:pt x="564035" y="735372"/>
                    <a:pt x="553156" y="732653"/>
                    <a:pt x="544997" y="729933"/>
                  </a:cubicBezTo>
                  <a:cubicBezTo>
                    <a:pt x="539558" y="727213"/>
                    <a:pt x="536838" y="724494"/>
                    <a:pt x="534119" y="721774"/>
                  </a:cubicBezTo>
                  <a:cubicBezTo>
                    <a:pt x="520520" y="721774"/>
                    <a:pt x="509641" y="721774"/>
                    <a:pt x="496043" y="721774"/>
                  </a:cubicBezTo>
                  <a:cubicBezTo>
                    <a:pt x="487884" y="721774"/>
                    <a:pt x="479725" y="721774"/>
                    <a:pt x="471566" y="721774"/>
                  </a:cubicBezTo>
                  <a:cubicBezTo>
                    <a:pt x="463407" y="721774"/>
                    <a:pt x="452529" y="721774"/>
                    <a:pt x="444370" y="716335"/>
                  </a:cubicBezTo>
                  <a:cubicBezTo>
                    <a:pt x="436211" y="713615"/>
                    <a:pt x="428052" y="705456"/>
                    <a:pt x="428052" y="700017"/>
                  </a:cubicBezTo>
                  <a:cubicBezTo>
                    <a:pt x="428052" y="697297"/>
                    <a:pt x="428052" y="694577"/>
                    <a:pt x="433491" y="691858"/>
                  </a:cubicBezTo>
                  <a:cubicBezTo>
                    <a:pt x="438930" y="689138"/>
                    <a:pt x="449809" y="686418"/>
                    <a:pt x="455248" y="683699"/>
                  </a:cubicBezTo>
                  <a:cubicBezTo>
                    <a:pt x="474286" y="680979"/>
                    <a:pt x="498763" y="678259"/>
                    <a:pt x="506922" y="678259"/>
                  </a:cubicBezTo>
                  <a:cubicBezTo>
                    <a:pt x="506922" y="678259"/>
                    <a:pt x="509641" y="678259"/>
                    <a:pt x="509641" y="678259"/>
                  </a:cubicBezTo>
                  <a:cubicBezTo>
                    <a:pt x="509641" y="672820"/>
                    <a:pt x="506922" y="670101"/>
                    <a:pt x="506922" y="664661"/>
                  </a:cubicBezTo>
                  <a:cubicBezTo>
                    <a:pt x="501483" y="640184"/>
                    <a:pt x="501483" y="612988"/>
                    <a:pt x="498763" y="580352"/>
                  </a:cubicBezTo>
                  <a:cubicBezTo>
                    <a:pt x="496043" y="547716"/>
                    <a:pt x="498763" y="512361"/>
                    <a:pt x="496043" y="479725"/>
                  </a:cubicBezTo>
                  <a:cubicBezTo>
                    <a:pt x="493324" y="449808"/>
                    <a:pt x="493324" y="419892"/>
                    <a:pt x="493324" y="389976"/>
                  </a:cubicBezTo>
                  <a:cubicBezTo>
                    <a:pt x="493324" y="360060"/>
                    <a:pt x="490604" y="332863"/>
                    <a:pt x="490604" y="302947"/>
                  </a:cubicBezTo>
                  <a:cubicBezTo>
                    <a:pt x="487884" y="275751"/>
                    <a:pt x="487884" y="240395"/>
                    <a:pt x="487884" y="229516"/>
                  </a:cubicBezTo>
                  <a:cubicBezTo>
                    <a:pt x="487884" y="224077"/>
                    <a:pt x="487884" y="221357"/>
                    <a:pt x="485165" y="221357"/>
                  </a:cubicBezTo>
                  <a:cubicBezTo>
                    <a:pt x="485165" y="221357"/>
                    <a:pt x="482445" y="224077"/>
                    <a:pt x="482445" y="226797"/>
                  </a:cubicBezTo>
                  <a:cubicBezTo>
                    <a:pt x="479725" y="237675"/>
                    <a:pt x="479725" y="251274"/>
                    <a:pt x="477006" y="262152"/>
                  </a:cubicBezTo>
                  <a:cubicBezTo>
                    <a:pt x="471566" y="289349"/>
                    <a:pt x="466127" y="316545"/>
                    <a:pt x="460688" y="341022"/>
                  </a:cubicBezTo>
                  <a:cubicBezTo>
                    <a:pt x="455248" y="365499"/>
                    <a:pt x="447090" y="392696"/>
                    <a:pt x="444370" y="417173"/>
                  </a:cubicBezTo>
                  <a:cubicBezTo>
                    <a:pt x="441650" y="430771"/>
                    <a:pt x="438930" y="441650"/>
                    <a:pt x="436211" y="455248"/>
                  </a:cubicBezTo>
                  <a:cubicBezTo>
                    <a:pt x="433491" y="468846"/>
                    <a:pt x="428052" y="479725"/>
                    <a:pt x="425332" y="493323"/>
                  </a:cubicBezTo>
                  <a:cubicBezTo>
                    <a:pt x="422612" y="506921"/>
                    <a:pt x="419893" y="520520"/>
                    <a:pt x="411734" y="531398"/>
                  </a:cubicBezTo>
                  <a:cubicBezTo>
                    <a:pt x="406295" y="539557"/>
                    <a:pt x="395416" y="547716"/>
                    <a:pt x="376378" y="547716"/>
                  </a:cubicBezTo>
                  <a:cubicBezTo>
                    <a:pt x="357341" y="547716"/>
                    <a:pt x="335583" y="539557"/>
                    <a:pt x="319265" y="525959"/>
                  </a:cubicBezTo>
                  <a:cubicBezTo>
                    <a:pt x="300228" y="506921"/>
                    <a:pt x="294788" y="479725"/>
                    <a:pt x="289349" y="455248"/>
                  </a:cubicBezTo>
                  <a:cubicBezTo>
                    <a:pt x="283910" y="428051"/>
                    <a:pt x="278470" y="400855"/>
                    <a:pt x="273031" y="373658"/>
                  </a:cubicBezTo>
                  <a:cubicBezTo>
                    <a:pt x="273031" y="368219"/>
                    <a:pt x="267592" y="346462"/>
                    <a:pt x="262153" y="316545"/>
                  </a:cubicBezTo>
                  <a:cubicBezTo>
                    <a:pt x="256713" y="292068"/>
                    <a:pt x="251274" y="262152"/>
                    <a:pt x="245835" y="237675"/>
                  </a:cubicBezTo>
                  <a:cubicBezTo>
                    <a:pt x="240395" y="218638"/>
                    <a:pt x="237675" y="205039"/>
                    <a:pt x="234956" y="196881"/>
                  </a:cubicBezTo>
                  <a:cubicBezTo>
                    <a:pt x="232236" y="191441"/>
                    <a:pt x="232236" y="191441"/>
                    <a:pt x="232236" y="191441"/>
                  </a:cubicBezTo>
                  <a:cubicBezTo>
                    <a:pt x="229517" y="191441"/>
                    <a:pt x="229517" y="196881"/>
                    <a:pt x="226797" y="207759"/>
                  </a:cubicBezTo>
                  <a:cubicBezTo>
                    <a:pt x="226797" y="215918"/>
                    <a:pt x="226797" y="229516"/>
                    <a:pt x="226797" y="232236"/>
                  </a:cubicBezTo>
                  <a:cubicBezTo>
                    <a:pt x="226797" y="243115"/>
                    <a:pt x="224077" y="256713"/>
                    <a:pt x="224077" y="267592"/>
                  </a:cubicBezTo>
                  <a:cubicBezTo>
                    <a:pt x="224077" y="278470"/>
                    <a:pt x="224077" y="294788"/>
                    <a:pt x="221358" y="311106"/>
                  </a:cubicBezTo>
                  <a:cubicBezTo>
                    <a:pt x="221358" y="327424"/>
                    <a:pt x="218638" y="343742"/>
                    <a:pt x="218638" y="360060"/>
                  </a:cubicBezTo>
                  <a:cubicBezTo>
                    <a:pt x="218638" y="373658"/>
                    <a:pt x="215919" y="384537"/>
                    <a:pt x="215919" y="398135"/>
                  </a:cubicBezTo>
                  <a:cubicBezTo>
                    <a:pt x="215919" y="409014"/>
                    <a:pt x="213199" y="419892"/>
                    <a:pt x="213199" y="430771"/>
                  </a:cubicBezTo>
                  <a:cubicBezTo>
                    <a:pt x="213199" y="438930"/>
                    <a:pt x="213199" y="447089"/>
                    <a:pt x="213199" y="455248"/>
                  </a:cubicBezTo>
                  <a:cubicBezTo>
                    <a:pt x="213199" y="463407"/>
                    <a:pt x="213199" y="471566"/>
                    <a:pt x="213199" y="477005"/>
                  </a:cubicBezTo>
                  <a:cubicBezTo>
                    <a:pt x="210479" y="490603"/>
                    <a:pt x="207759" y="506921"/>
                    <a:pt x="207759" y="520520"/>
                  </a:cubicBezTo>
                  <a:cubicBezTo>
                    <a:pt x="202320" y="550436"/>
                    <a:pt x="199600" y="580352"/>
                    <a:pt x="196881" y="610268"/>
                  </a:cubicBezTo>
                  <a:cubicBezTo>
                    <a:pt x="196881" y="623866"/>
                    <a:pt x="196881" y="640184"/>
                    <a:pt x="194161" y="653783"/>
                  </a:cubicBezTo>
                  <a:cubicBezTo>
                    <a:pt x="194161" y="659222"/>
                    <a:pt x="194161" y="661942"/>
                    <a:pt x="191441" y="667381"/>
                  </a:cubicBezTo>
                  <a:cubicBezTo>
                    <a:pt x="213199" y="667381"/>
                    <a:pt x="232236" y="667381"/>
                    <a:pt x="243115" y="667381"/>
                  </a:cubicBezTo>
                  <a:cubicBezTo>
                    <a:pt x="253994" y="667381"/>
                    <a:pt x="273031" y="670101"/>
                    <a:pt x="273031" y="683699"/>
                  </a:cubicBezTo>
                  <a:cubicBezTo>
                    <a:pt x="273031" y="691858"/>
                    <a:pt x="267592" y="691858"/>
                    <a:pt x="262153" y="697297"/>
                  </a:cubicBezTo>
                  <a:cubicBezTo>
                    <a:pt x="259433" y="702736"/>
                    <a:pt x="253994" y="705456"/>
                    <a:pt x="248554" y="705456"/>
                  </a:cubicBezTo>
                  <a:cubicBezTo>
                    <a:pt x="240395" y="708176"/>
                    <a:pt x="234956" y="708176"/>
                    <a:pt x="232236" y="708176"/>
                  </a:cubicBezTo>
                  <a:cubicBezTo>
                    <a:pt x="226797" y="708176"/>
                    <a:pt x="175124" y="708176"/>
                    <a:pt x="166965" y="708176"/>
                  </a:cubicBezTo>
                  <a:cubicBezTo>
                    <a:pt x="156086" y="708176"/>
                    <a:pt x="120730" y="708176"/>
                    <a:pt x="109852" y="708176"/>
                  </a:cubicBezTo>
                  <a:cubicBezTo>
                    <a:pt x="104412" y="708176"/>
                    <a:pt x="96253" y="708176"/>
                    <a:pt x="90814" y="708176"/>
                  </a:cubicBezTo>
                  <a:cubicBezTo>
                    <a:pt x="85375" y="708176"/>
                    <a:pt x="77216" y="705456"/>
                    <a:pt x="69057" y="702736"/>
                  </a:cubicBezTo>
                  <a:cubicBezTo>
                    <a:pt x="63617" y="700017"/>
                    <a:pt x="58178" y="691858"/>
                    <a:pt x="58178" y="686418"/>
                  </a:cubicBezTo>
                  <a:cubicBezTo>
                    <a:pt x="58178" y="683699"/>
                    <a:pt x="58178" y="680979"/>
                    <a:pt x="60898" y="678259"/>
                  </a:cubicBezTo>
                  <a:cubicBezTo>
                    <a:pt x="63617" y="675540"/>
                    <a:pt x="71777" y="672820"/>
                    <a:pt x="77216" y="670101"/>
                  </a:cubicBezTo>
                  <a:cubicBezTo>
                    <a:pt x="90814" y="667381"/>
                    <a:pt x="120730" y="664661"/>
                    <a:pt x="126170" y="664661"/>
                  </a:cubicBezTo>
                  <a:cubicBezTo>
                    <a:pt x="128889" y="664661"/>
                    <a:pt x="134329" y="664661"/>
                    <a:pt x="142487" y="664661"/>
                  </a:cubicBezTo>
                  <a:cubicBezTo>
                    <a:pt x="142487" y="640184"/>
                    <a:pt x="147927" y="612988"/>
                    <a:pt x="147927" y="588511"/>
                  </a:cubicBezTo>
                  <a:cubicBezTo>
                    <a:pt x="150646" y="555875"/>
                    <a:pt x="153366" y="523239"/>
                    <a:pt x="153366" y="493323"/>
                  </a:cubicBezTo>
                  <a:cubicBezTo>
                    <a:pt x="153366" y="466126"/>
                    <a:pt x="156086" y="438930"/>
                    <a:pt x="156086" y="411733"/>
                  </a:cubicBezTo>
                  <a:cubicBezTo>
                    <a:pt x="158806" y="373658"/>
                    <a:pt x="158806" y="335583"/>
                    <a:pt x="161525" y="297508"/>
                  </a:cubicBezTo>
                  <a:cubicBezTo>
                    <a:pt x="161525" y="278470"/>
                    <a:pt x="164245" y="259433"/>
                    <a:pt x="166965" y="240395"/>
                  </a:cubicBezTo>
                  <a:cubicBezTo>
                    <a:pt x="169684" y="210479"/>
                    <a:pt x="172404" y="191441"/>
                    <a:pt x="177843" y="161525"/>
                  </a:cubicBezTo>
                  <a:cubicBezTo>
                    <a:pt x="180563" y="147927"/>
                    <a:pt x="180563" y="131609"/>
                    <a:pt x="183282" y="118011"/>
                  </a:cubicBezTo>
                  <a:cubicBezTo>
                    <a:pt x="183282" y="118011"/>
                    <a:pt x="183282" y="115291"/>
                    <a:pt x="183282" y="115291"/>
                  </a:cubicBezTo>
                  <a:cubicBezTo>
                    <a:pt x="177843" y="115291"/>
                    <a:pt x="172404" y="115291"/>
                    <a:pt x="161525" y="115291"/>
                  </a:cubicBezTo>
                  <a:cubicBezTo>
                    <a:pt x="153366" y="115291"/>
                    <a:pt x="145207" y="115291"/>
                    <a:pt x="137048" y="115291"/>
                  </a:cubicBezTo>
                  <a:cubicBezTo>
                    <a:pt x="128889" y="115291"/>
                    <a:pt x="118011" y="115291"/>
                    <a:pt x="109852" y="109851"/>
                  </a:cubicBezTo>
                  <a:cubicBezTo>
                    <a:pt x="101693" y="107132"/>
                    <a:pt x="93534" y="98973"/>
                    <a:pt x="93534" y="93534"/>
                  </a:cubicBezTo>
                  <a:cubicBezTo>
                    <a:pt x="93534" y="90814"/>
                    <a:pt x="93534" y="88094"/>
                    <a:pt x="98973" y="85375"/>
                  </a:cubicBezTo>
                  <a:cubicBezTo>
                    <a:pt x="104412" y="82655"/>
                    <a:pt x="115291" y="79935"/>
                    <a:pt x="120730" y="77216"/>
                  </a:cubicBezTo>
                  <a:cubicBezTo>
                    <a:pt x="139768" y="74496"/>
                    <a:pt x="164245" y="71776"/>
                    <a:pt x="172404" y="71776"/>
                  </a:cubicBezTo>
                  <a:cubicBezTo>
                    <a:pt x="194161" y="71776"/>
                    <a:pt x="210479" y="69057"/>
                    <a:pt x="234956" y="69057"/>
                  </a:cubicBezTo>
                  <a:cubicBezTo>
                    <a:pt x="237675" y="69057"/>
                    <a:pt x="240395" y="69057"/>
                    <a:pt x="243115" y="69057"/>
                  </a:cubicBezTo>
                  <a:cubicBezTo>
                    <a:pt x="251274" y="69057"/>
                    <a:pt x="262153" y="69057"/>
                    <a:pt x="270312" y="74496"/>
                  </a:cubicBezTo>
                  <a:cubicBezTo>
                    <a:pt x="283910" y="82655"/>
                    <a:pt x="300228" y="96253"/>
                    <a:pt x="308387" y="123450"/>
                  </a:cubicBezTo>
                  <a:cubicBezTo>
                    <a:pt x="316546" y="147927"/>
                    <a:pt x="327424" y="175123"/>
                    <a:pt x="332864" y="202320"/>
                  </a:cubicBezTo>
                  <a:cubicBezTo>
                    <a:pt x="335583" y="213198"/>
                    <a:pt x="335583" y="226797"/>
                    <a:pt x="338303" y="237675"/>
                  </a:cubicBezTo>
                  <a:cubicBezTo>
                    <a:pt x="343742" y="251274"/>
                    <a:pt x="346462" y="264872"/>
                    <a:pt x="349182" y="281190"/>
                  </a:cubicBezTo>
                  <a:cubicBezTo>
                    <a:pt x="351901" y="292068"/>
                    <a:pt x="351901" y="305667"/>
                    <a:pt x="357341" y="316545"/>
                  </a:cubicBezTo>
                  <a:cubicBezTo>
                    <a:pt x="362780" y="327424"/>
                    <a:pt x="362780" y="338303"/>
                    <a:pt x="365500" y="351901"/>
                  </a:cubicBezTo>
                  <a:cubicBezTo>
                    <a:pt x="365500" y="357340"/>
                    <a:pt x="373658" y="373658"/>
                    <a:pt x="376378" y="389976"/>
                  </a:cubicBezTo>
                  <a:cubicBezTo>
                    <a:pt x="381817" y="403574"/>
                    <a:pt x="384537" y="414453"/>
                    <a:pt x="387257" y="414453"/>
                  </a:cubicBezTo>
                  <a:cubicBezTo>
                    <a:pt x="392696" y="414453"/>
                    <a:pt x="395416" y="381817"/>
                    <a:pt x="398136" y="376378"/>
                  </a:cubicBezTo>
                  <a:cubicBezTo>
                    <a:pt x="400855" y="362779"/>
                    <a:pt x="403575" y="346462"/>
                    <a:pt x="406295" y="332863"/>
                  </a:cubicBezTo>
                  <a:cubicBezTo>
                    <a:pt x="411734" y="302947"/>
                    <a:pt x="417173" y="273031"/>
                    <a:pt x="425332" y="243115"/>
                  </a:cubicBezTo>
                  <a:cubicBezTo>
                    <a:pt x="430771" y="213198"/>
                    <a:pt x="436211" y="180563"/>
                    <a:pt x="444370" y="150646"/>
                  </a:cubicBezTo>
                  <a:cubicBezTo>
                    <a:pt x="449809" y="126170"/>
                    <a:pt x="460688" y="98973"/>
                    <a:pt x="477006" y="79935"/>
                  </a:cubicBezTo>
                  <a:cubicBezTo>
                    <a:pt x="487884" y="66337"/>
                    <a:pt x="506922" y="58178"/>
                    <a:pt x="523240" y="58178"/>
                  </a:cubicBezTo>
                  <a:cubicBezTo>
                    <a:pt x="528679" y="58178"/>
                    <a:pt x="539558" y="58178"/>
                    <a:pt x="544997" y="63617"/>
                  </a:cubicBezTo>
                  <a:lnTo>
                    <a:pt x="612988" y="63617"/>
                  </a:lnTo>
                  <a:cubicBezTo>
                    <a:pt x="626587" y="63617"/>
                    <a:pt x="651064" y="63617"/>
                    <a:pt x="651064" y="79935"/>
                  </a:cubicBezTo>
                  <a:cubicBezTo>
                    <a:pt x="651064" y="88094"/>
                    <a:pt x="648344" y="88094"/>
                    <a:pt x="645624" y="96253"/>
                  </a:cubicBezTo>
                  <a:cubicBezTo>
                    <a:pt x="640185" y="101693"/>
                    <a:pt x="634746" y="104412"/>
                    <a:pt x="629307" y="104412"/>
                  </a:cubicBezTo>
                  <a:cubicBezTo>
                    <a:pt x="621147" y="107132"/>
                    <a:pt x="612988" y="107132"/>
                    <a:pt x="607549" y="107132"/>
                  </a:cubicBezTo>
                  <a:cubicBezTo>
                    <a:pt x="604829" y="107132"/>
                    <a:pt x="591231" y="107132"/>
                    <a:pt x="580353" y="107132"/>
                  </a:cubicBezTo>
                  <a:cubicBezTo>
                    <a:pt x="580353" y="109851"/>
                    <a:pt x="583072" y="112571"/>
                    <a:pt x="583072" y="115291"/>
                  </a:cubicBezTo>
                  <a:cubicBezTo>
                    <a:pt x="585792" y="128889"/>
                    <a:pt x="585792" y="142487"/>
                    <a:pt x="588512" y="156086"/>
                  </a:cubicBezTo>
                  <a:cubicBezTo>
                    <a:pt x="591231" y="169684"/>
                    <a:pt x="591231" y="183282"/>
                    <a:pt x="593951" y="196881"/>
                  </a:cubicBezTo>
                  <a:cubicBezTo>
                    <a:pt x="593951" y="207759"/>
                    <a:pt x="599390" y="215918"/>
                    <a:pt x="599390" y="226797"/>
                  </a:cubicBezTo>
                  <a:cubicBezTo>
                    <a:pt x="599390" y="229516"/>
                    <a:pt x="599390" y="229516"/>
                    <a:pt x="599390" y="232236"/>
                  </a:cubicBezTo>
                  <a:cubicBezTo>
                    <a:pt x="599390" y="234956"/>
                    <a:pt x="599390" y="237675"/>
                    <a:pt x="599390" y="240395"/>
                  </a:cubicBezTo>
                  <a:cubicBezTo>
                    <a:pt x="599390" y="251274"/>
                    <a:pt x="599390" y="259433"/>
                    <a:pt x="602110" y="270311"/>
                  </a:cubicBezTo>
                  <a:cubicBezTo>
                    <a:pt x="604829" y="283909"/>
                    <a:pt x="607549" y="294788"/>
                    <a:pt x="607549" y="308386"/>
                  </a:cubicBezTo>
                  <a:cubicBezTo>
                    <a:pt x="607549" y="311106"/>
                    <a:pt x="607549" y="316545"/>
                    <a:pt x="607549" y="319265"/>
                  </a:cubicBezTo>
                  <a:cubicBezTo>
                    <a:pt x="607549" y="324704"/>
                    <a:pt x="610269" y="330144"/>
                    <a:pt x="612988" y="335583"/>
                  </a:cubicBezTo>
                  <a:cubicBezTo>
                    <a:pt x="612988" y="338303"/>
                    <a:pt x="612988" y="343742"/>
                    <a:pt x="612988" y="346462"/>
                  </a:cubicBezTo>
                  <a:cubicBezTo>
                    <a:pt x="612988" y="354620"/>
                    <a:pt x="612988" y="362779"/>
                    <a:pt x="612988" y="370939"/>
                  </a:cubicBezTo>
                  <a:cubicBezTo>
                    <a:pt x="612988" y="379097"/>
                    <a:pt x="612988" y="387256"/>
                    <a:pt x="612988" y="395415"/>
                  </a:cubicBezTo>
                  <a:cubicBezTo>
                    <a:pt x="612988" y="403574"/>
                    <a:pt x="615708" y="414453"/>
                    <a:pt x="615708" y="422612"/>
                  </a:cubicBezTo>
                  <a:cubicBezTo>
                    <a:pt x="618428" y="430771"/>
                    <a:pt x="618428" y="436210"/>
                    <a:pt x="618428" y="441650"/>
                  </a:cubicBezTo>
                  <a:cubicBezTo>
                    <a:pt x="618428" y="444369"/>
                    <a:pt x="618428" y="449808"/>
                    <a:pt x="618428" y="455248"/>
                  </a:cubicBezTo>
                  <a:cubicBezTo>
                    <a:pt x="618428" y="460687"/>
                    <a:pt x="618428" y="460687"/>
                    <a:pt x="621147" y="463407"/>
                  </a:cubicBezTo>
                  <a:cubicBezTo>
                    <a:pt x="623867" y="471566"/>
                    <a:pt x="623867" y="477005"/>
                    <a:pt x="626587" y="482444"/>
                  </a:cubicBezTo>
                  <a:cubicBezTo>
                    <a:pt x="629307" y="493323"/>
                    <a:pt x="629307" y="506921"/>
                    <a:pt x="629307" y="517800"/>
                  </a:cubicBezTo>
                  <a:cubicBezTo>
                    <a:pt x="632026" y="534118"/>
                    <a:pt x="632026" y="547716"/>
                    <a:pt x="634746" y="561314"/>
                  </a:cubicBezTo>
                  <a:cubicBezTo>
                    <a:pt x="634746" y="564034"/>
                    <a:pt x="634746" y="564034"/>
                    <a:pt x="634746" y="566754"/>
                  </a:cubicBezTo>
                  <a:cubicBezTo>
                    <a:pt x="634746" y="572193"/>
                    <a:pt x="634746" y="577632"/>
                    <a:pt x="634746" y="583072"/>
                  </a:cubicBezTo>
                  <a:cubicBezTo>
                    <a:pt x="634746" y="596670"/>
                    <a:pt x="637466" y="602109"/>
                    <a:pt x="637466" y="607548"/>
                  </a:cubicBezTo>
                  <a:cubicBezTo>
                    <a:pt x="637466" y="610268"/>
                    <a:pt x="640185" y="615708"/>
                    <a:pt x="640185" y="618427"/>
                  </a:cubicBezTo>
                  <a:cubicBezTo>
                    <a:pt x="640185" y="623866"/>
                    <a:pt x="640185" y="629306"/>
                    <a:pt x="640185" y="632025"/>
                  </a:cubicBezTo>
                  <a:cubicBezTo>
                    <a:pt x="640185" y="634745"/>
                    <a:pt x="640185" y="637465"/>
                    <a:pt x="640185" y="640184"/>
                  </a:cubicBezTo>
                  <a:cubicBezTo>
                    <a:pt x="640185" y="645624"/>
                    <a:pt x="642905" y="653783"/>
                    <a:pt x="642905" y="659222"/>
                  </a:cubicBezTo>
                  <a:cubicBezTo>
                    <a:pt x="642905" y="661942"/>
                    <a:pt x="642905" y="661942"/>
                    <a:pt x="642905" y="664661"/>
                  </a:cubicBezTo>
                  <a:cubicBezTo>
                    <a:pt x="645624" y="678259"/>
                    <a:pt x="651064" y="678259"/>
                    <a:pt x="653783" y="678259"/>
                  </a:cubicBezTo>
                  <a:lnTo>
                    <a:pt x="653783" y="678259"/>
                  </a:ln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/>
            </a:p>
          </p:txBody>
        </p:sp>
        <p:sp>
          <p:nvSpPr>
            <p:cNvPr id="43" name="Freeform: Shape 42">
              <a:extLst>
                <a:ext uri="{FF2B5EF4-FFF2-40B4-BE49-F238E27FC236}">
                  <a16:creationId xmlns:a16="http://schemas.microsoft.com/office/drawing/2014/main" id="{CC240AB8-C073-4DBB-B4F1-A7BAF3CDDD94}"/>
                </a:ext>
              </a:extLst>
            </p:cNvPr>
            <p:cNvSpPr/>
            <p:nvPr/>
          </p:nvSpPr>
          <p:spPr>
            <a:xfrm>
              <a:off x="6362526" y="4242177"/>
              <a:ext cx="492259" cy="674476"/>
            </a:xfrm>
            <a:custGeom>
              <a:avLst/>
              <a:gdLst>
                <a:gd name="connsiteX0" fmla="*/ 225733 w 492259"/>
                <a:gd name="connsiteY0" fmla="*/ 97907 h 674476"/>
                <a:gd name="connsiteX1" fmla="*/ 209415 w 492259"/>
                <a:gd name="connsiteY1" fmla="*/ 119665 h 674476"/>
                <a:gd name="connsiteX2" fmla="*/ 201256 w 492259"/>
                <a:gd name="connsiteY2" fmla="*/ 152300 h 674476"/>
                <a:gd name="connsiteX3" fmla="*/ 198536 w 492259"/>
                <a:gd name="connsiteY3" fmla="*/ 168618 h 674476"/>
                <a:gd name="connsiteX4" fmla="*/ 195817 w 492259"/>
                <a:gd name="connsiteY4" fmla="*/ 184936 h 674476"/>
                <a:gd name="connsiteX5" fmla="*/ 187658 w 492259"/>
                <a:gd name="connsiteY5" fmla="*/ 220292 h 674476"/>
                <a:gd name="connsiteX6" fmla="*/ 168620 w 492259"/>
                <a:gd name="connsiteY6" fmla="*/ 291003 h 674476"/>
                <a:gd name="connsiteX7" fmla="*/ 160461 w 492259"/>
                <a:gd name="connsiteY7" fmla="*/ 323639 h 674476"/>
                <a:gd name="connsiteX8" fmla="*/ 149582 w 492259"/>
                <a:gd name="connsiteY8" fmla="*/ 361714 h 674476"/>
                <a:gd name="connsiteX9" fmla="*/ 144143 w 492259"/>
                <a:gd name="connsiteY9" fmla="*/ 388910 h 674476"/>
                <a:gd name="connsiteX10" fmla="*/ 149582 w 492259"/>
                <a:gd name="connsiteY10" fmla="*/ 391630 h 674476"/>
                <a:gd name="connsiteX11" fmla="*/ 171340 w 492259"/>
                <a:gd name="connsiteY11" fmla="*/ 391630 h 674476"/>
                <a:gd name="connsiteX12" fmla="*/ 193097 w 492259"/>
                <a:gd name="connsiteY12" fmla="*/ 388910 h 674476"/>
                <a:gd name="connsiteX13" fmla="*/ 212135 w 492259"/>
                <a:gd name="connsiteY13" fmla="*/ 388910 h 674476"/>
                <a:gd name="connsiteX14" fmla="*/ 236611 w 492259"/>
                <a:gd name="connsiteY14" fmla="*/ 388910 h 674476"/>
                <a:gd name="connsiteX15" fmla="*/ 250210 w 492259"/>
                <a:gd name="connsiteY15" fmla="*/ 386191 h 674476"/>
                <a:gd name="connsiteX16" fmla="*/ 258369 w 492259"/>
                <a:gd name="connsiteY16" fmla="*/ 386191 h 674476"/>
                <a:gd name="connsiteX17" fmla="*/ 255649 w 492259"/>
                <a:gd name="connsiteY17" fmla="*/ 367153 h 674476"/>
                <a:gd name="connsiteX18" fmla="*/ 250210 w 492259"/>
                <a:gd name="connsiteY18" fmla="*/ 331797 h 674476"/>
                <a:gd name="connsiteX19" fmla="*/ 247490 w 492259"/>
                <a:gd name="connsiteY19" fmla="*/ 244769 h 674476"/>
                <a:gd name="connsiteX20" fmla="*/ 242051 w 492259"/>
                <a:gd name="connsiteY20" fmla="*/ 203974 h 674476"/>
                <a:gd name="connsiteX21" fmla="*/ 236611 w 492259"/>
                <a:gd name="connsiteY21" fmla="*/ 157740 h 674476"/>
                <a:gd name="connsiteX22" fmla="*/ 233892 w 492259"/>
                <a:gd name="connsiteY22" fmla="*/ 119665 h 674476"/>
                <a:gd name="connsiteX23" fmla="*/ 225733 w 492259"/>
                <a:gd name="connsiteY23" fmla="*/ 97907 h 674476"/>
                <a:gd name="connsiteX24" fmla="*/ 274687 w 492259"/>
                <a:gd name="connsiteY24" fmla="*/ 0 h 674476"/>
                <a:gd name="connsiteX25" fmla="*/ 304603 w 492259"/>
                <a:gd name="connsiteY25" fmla="*/ 5439 h 674476"/>
                <a:gd name="connsiteX26" fmla="*/ 320921 w 492259"/>
                <a:gd name="connsiteY26" fmla="*/ 24477 h 674476"/>
                <a:gd name="connsiteX27" fmla="*/ 334519 w 492259"/>
                <a:gd name="connsiteY27" fmla="*/ 43515 h 674476"/>
                <a:gd name="connsiteX28" fmla="*/ 339959 w 492259"/>
                <a:gd name="connsiteY28" fmla="*/ 65272 h 674476"/>
                <a:gd name="connsiteX29" fmla="*/ 348118 w 492259"/>
                <a:gd name="connsiteY29" fmla="*/ 114226 h 674476"/>
                <a:gd name="connsiteX30" fmla="*/ 361716 w 492259"/>
                <a:gd name="connsiteY30" fmla="*/ 163180 h 674476"/>
                <a:gd name="connsiteX31" fmla="*/ 369875 w 492259"/>
                <a:gd name="connsiteY31" fmla="*/ 220293 h 674476"/>
                <a:gd name="connsiteX32" fmla="*/ 378034 w 492259"/>
                <a:gd name="connsiteY32" fmla="*/ 274686 h 674476"/>
                <a:gd name="connsiteX33" fmla="*/ 383473 w 492259"/>
                <a:gd name="connsiteY33" fmla="*/ 301883 h 674476"/>
                <a:gd name="connsiteX34" fmla="*/ 391632 w 492259"/>
                <a:gd name="connsiteY34" fmla="*/ 337238 h 674476"/>
                <a:gd name="connsiteX35" fmla="*/ 397071 w 492259"/>
                <a:gd name="connsiteY35" fmla="*/ 364435 h 674476"/>
                <a:gd name="connsiteX36" fmla="*/ 405230 w 492259"/>
                <a:gd name="connsiteY36" fmla="*/ 383473 h 674476"/>
                <a:gd name="connsiteX37" fmla="*/ 416109 w 492259"/>
                <a:gd name="connsiteY37" fmla="*/ 386192 h 674476"/>
                <a:gd name="connsiteX38" fmla="*/ 426988 w 492259"/>
                <a:gd name="connsiteY38" fmla="*/ 386192 h 674476"/>
                <a:gd name="connsiteX39" fmla="*/ 454184 w 492259"/>
                <a:gd name="connsiteY39" fmla="*/ 397071 h 674476"/>
                <a:gd name="connsiteX40" fmla="*/ 456904 w 492259"/>
                <a:gd name="connsiteY40" fmla="*/ 405230 h 674476"/>
                <a:gd name="connsiteX41" fmla="*/ 451464 w 492259"/>
                <a:gd name="connsiteY41" fmla="*/ 416108 h 674476"/>
                <a:gd name="connsiteX42" fmla="*/ 432427 w 492259"/>
                <a:gd name="connsiteY42" fmla="*/ 429707 h 674476"/>
                <a:gd name="connsiteX43" fmla="*/ 421548 w 492259"/>
                <a:gd name="connsiteY43" fmla="*/ 432426 h 674476"/>
                <a:gd name="connsiteX44" fmla="*/ 413389 w 492259"/>
                <a:gd name="connsiteY44" fmla="*/ 435146 h 674476"/>
                <a:gd name="connsiteX45" fmla="*/ 413389 w 492259"/>
                <a:gd name="connsiteY45" fmla="*/ 440585 h 674476"/>
                <a:gd name="connsiteX46" fmla="*/ 416109 w 492259"/>
                <a:gd name="connsiteY46" fmla="*/ 451464 h 674476"/>
                <a:gd name="connsiteX47" fmla="*/ 418829 w 492259"/>
                <a:gd name="connsiteY47" fmla="*/ 465062 h 674476"/>
                <a:gd name="connsiteX48" fmla="*/ 418829 w 492259"/>
                <a:gd name="connsiteY48" fmla="*/ 475941 h 674476"/>
                <a:gd name="connsiteX49" fmla="*/ 418829 w 492259"/>
                <a:gd name="connsiteY49" fmla="*/ 486820 h 674476"/>
                <a:gd name="connsiteX50" fmla="*/ 426988 w 492259"/>
                <a:gd name="connsiteY50" fmla="*/ 516736 h 674476"/>
                <a:gd name="connsiteX51" fmla="*/ 432427 w 492259"/>
                <a:gd name="connsiteY51" fmla="*/ 543932 h 674476"/>
                <a:gd name="connsiteX52" fmla="*/ 437866 w 492259"/>
                <a:gd name="connsiteY52" fmla="*/ 573848 h 674476"/>
                <a:gd name="connsiteX53" fmla="*/ 443306 w 492259"/>
                <a:gd name="connsiteY53" fmla="*/ 606484 h 674476"/>
                <a:gd name="connsiteX54" fmla="*/ 446025 w 492259"/>
                <a:gd name="connsiteY54" fmla="*/ 617363 h 674476"/>
                <a:gd name="connsiteX55" fmla="*/ 470502 w 492259"/>
                <a:gd name="connsiteY55" fmla="*/ 617363 h 674476"/>
                <a:gd name="connsiteX56" fmla="*/ 492259 w 492259"/>
                <a:gd name="connsiteY56" fmla="*/ 641840 h 674476"/>
                <a:gd name="connsiteX57" fmla="*/ 484101 w 492259"/>
                <a:gd name="connsiteY57" fmla="*/ 655438 h 674476"/>
                <a:gd name="connsiteX58" fmla="*/ 467782 w 492259"/>
                <a:gd name="connsiteY58" fmla="*/ 663597 h 674476"/>
                <a:gd name="connsiteX59" fmla="*/ 443306 w 492259"/>
                <a:gd name="connsiteY59" fmla="*/ 666317 h 674476"/>
                <a:gd name="connsiteX60" fmla="*/ 421548 w 492259"/>
                <a:gd name="connsiteY60" fmla="*/ 666317 h 674476"/>
                <a:gd name="connsiteX61" fmla="*/ 413389 w 492259"/>
                <a:gd name="connsiteY61" fmla="*/ 666317 h 674476"/>
                <a:gd name="connsiteX62" fmla="*/ 399791 w 492259"/>
                <a:gd name="connsiteY62" fmla="*/ 671756 h 674476"/>
                <a:gd name="connsiteX63" fmla="*/ 383473 w 492259"/>
                <a:gd name="connsiteY63" fmla="*/ 674476 h 674476"/>
                <a:gd name="connsiteX64" fmla="*/ 348118 w 492259"/>
                <a:gd name="connsiteY64" fmla="*/ 669036 h 674476"/>
                <a:gd name="connsiteX65" fmla="*/ 326360 w 492259"/>
                <a:gd name="connsiteY65" fmla="*/ 669036 h 674476"/>
                <a:gd name="connsiteX66" fmla="*/ 277406 w 492259"/>
                <a:gd name="connsiteY66" fmla="*/ 669036 h 674476"/>
                <a:gd name="connsiteX67" fmla="*/ 252930 w 492259"/>
                <a:gd name="connsiteY67" fmla="*/ 663597 h 674476"/>
                <a:gd name="connsiteX68" fmla="*/ 236611 w 492259"/>
                <a:gd name="connsiteY68" fmla="*/ 647279 h 674476"/>
                <a:gd name="connsiteX69" fmla="*/ 261088 w 492259"/>
                <a:gd name="connsiteY69" fmla="*/ 630961 h 674476"/>
                <a:gd name="connsiteX70" fmla="*/ 288285 w 492259"/>
                <a:gd name="connsiteY70" fmla="*/ 628241 h 674476"/>
                <a:gd name="connsiteX71" fmla="*/ 285565 w 492259"/>
                <a:gd name="connsiteY71" fmla="*/ 609204 h 674476"/>
                <a:gd name="connsiteX72" fmla="*/ 282846 w 492259"/>
                <a:gd name="connsiteY72" fmla="*/ 582007 h 674476"/>
                <a:gd name="connsiteX73" fmla="*/ 280126 w 492259"/>
                <a:gd name="connsiteY73" fmla="*/ 568409 h 674476"/>
                <a:gd name="connsiteX74" fmla="*/ 282846 w 492259"/>
                <a:gd name="connsiteY74" fmla="*/ 554811 h 674476"/>
                <a:gd name="connsiteX75" fmla="*/ 277406 w 492259"/>
                <a:gd name="connsiteY75" fmla="*/ 538493 h 674476"/>
                <a:gd name="connsiteX76" fmla="*/ 271967 w 492259"/>
                <a:gd name="connsiteY76" fmla="*/ 505857 h 674476"/>
                <a:gd name="connsiteX77" fmla="*/ 269247 w 492259"/>
                <a:gd name="connsiteY77" fmla="*/ 478660 h 674476"/>
                <a:gd name="connsiteX78" fmla="*/ 266528 w 492259"/>
                <a:gd name="connsiteY78" fmla="*/ 446025 h 674476"/>
                <a:gd name="connsiteX79" fmla="*/ 261088 w 492259"/>
                <a:gd name="connsiteY79" fmla="*/ 437866 h 674476"/>
                <a:gd name="connsiteX80" fmla="*/ 250210 w 492259"/>
                <a:gd name="connsiteY80" fmla="*/ 437866 h 674476"/>
                <a:gd name="connsiteX81" fmla="*/ 220293 w 492259"/>
                <a:gd name="connsiteY81" fmla="*/ 440585 h 674476"/>
                <a:gd name="connsiteX82" fmla="*/ 190377 w 492259"/>
                <a:gd name="connsiteY82" fmla="*/ 443305 h 674476"/>
                <a:gd name="connsiteX83" fmla="*/ 165900 w 492259"/>
                <a:gd name="connsiteY83" fmla="*/ 443305 h 674476"/>
                <a:gd name="connsiteX84" fmla="*/ 144143 w 492259"/>
                <a:gd name="connsiteY84" fmla="*/ 440585 h 674476"/>
                <a:gd name="connsiteX85" fmla="*/ 135984 w 492259"/>
                <a:gd name="connsiteY85" fmla="*/ 454184 h 674476"/>
                <a:gd name="connsiteX86" fmla="*/ 130545 w 492259"/>
                <a:gd name="connsiteY86" fmla="*/ 486820 h 674476"/>
                <a:gd name="connsiteX87" fmla="*/ 119666 w 492259"/>
                <a:gd name="connsiteY87" fmla="*/ 541213 h 674476"/>
                <a:gd name="connsiteX88" fmla="*/ 103348 w 492259"/>
                <a:gd name="connsiteY88" fmla="*/ 614643 h 674476"/>
                <a:gd name="connsiteX89" fmla="*/ 133264 w 492259"/>
                <a:gd name="connsiteY89" fmla="*/ 614643 h 674476"/>
                <a:gd name="connsiteX90" fmla="*/ 168620 w 492259"/>
                <a:gd name="connsiteY90" fmla="*/ 630961 h 674476"/>
                <a:gd name="connsiteX91" fmla="*/ 163181 w 492259"/>
                <a:gd name="connsiteY91" fmla="*/ 647279 h 674476"/>
                <a:gd name="connsiteX92" fmla="*/ 146863 w 492259"/>
                <a:gd name="connsiteY92" fmla="*/ 655438 h 674476"/>
                <a:gd name="connsiteX93" fmla="*/ 127825 w 492259"/>
                <a:gd name="connsiteY93" fmla="*/ 658158 h 674476"/>
                <a:gd name="connsiteX94" fmla="*/ 106068 w 492259"/>
                <a:gd name="connsiteY94" fmla="*/ 658158 h 674476"/>
                <a:gd name="connsiteX95" fmla="*/ 62552 w 492259"/>
                <a:gd name="connsiteY95" fmla="*/ 658158 h 674476"/>
                <a:gd name="connsiteX96" fmla="*/ 40795 w 492259"/>
                <a:gd name="connsiteY96" fmla="*/ 658158 h 674476"/>
                <a:gd name="connsiteX97" fmla="*/ 16318 w 492259"/>
                <a:gd name="connsiteY97" fmla="*/ 652718 h 674476"/>
                <a:gd name="connsiteX98" fmla="*/ 0 w 492259"/>
                <a:gd name="connsiteY98" fmla="*/ 636401 h 674476"/>
                <a:gd name="connsiteX99" fmla="*/ 2720 w 492259"/>
                <a:gd name="connsiteY99" fmla="*/ 628241 h 674476"/>
                <a:gd name="connsiteX100" fmla="*/ 24477 w 492259"/>
                <a:gd name="connsiteY100" fmla="*/ 620082 h 674476"/>
                <a:gd name="connsiteX101" fmla="*/ 62552 w 492259"/>
                <a:gd name="connsiteY101" fmla="*/ 617363 h 674476"/>
                <a:gd name="connsiteX102" fmla="*/ 62552 w 492259"/>
                <a:gd name="connsiteY102" fmla="*/ 614643 h 674476"/>
                <a:gd name="connsiteX103" fmla="*/ 65272 w 492259"/>
                <a:gd name="connsiteY103" fmla="*/ 587447 h 674476"/>
                <a:gd name="connsiteX104" fmla="*/ 76151 w 492259"/>
                <a:gd name="connsiteY104" fmla="*/ 522175 h 674476"/>
                <a:gd name="connsiteX105" fmla="*/ 87029 w 492259"/>
                <a:gd name="connsiteY105" fmla="*/ 470501 h 674476"/>
                <a:gd name="connsiteX106" fmla="*/ 92468 w 492259"/>
                <a:gd name="connsiteY106" fmla="*/ 446025 h 674476"/>
                <a:gd name="connsiteX107" fmla="*/ 65272 w 492259"/>
                <a:gd name="connsiteY107" fmla="*/ 432426 h 674476"/>
                <a:gd name="connsiteX108" fmla="*/ 54393 w 492259"/>
                <a:gd name="connsiteY108" fmla="*/ 421548 h 674476"/>
                <a:gd name="connsiteX109" fmla="*/ 73431 w 492259"/>
                <a:gd name="connsiteY109" fmla="*/ 407949 h 674476"/>
                <a:gd name="connsiteX110" fmla="*/ 100629 w 492259"/>
                <a:gd name="connsiteY110" fmla="*/ 399790 h 674476"/>
                <a:gd name="connsiteX111" fmla="*/ 108788 w 492259"/>
                <a:gd name="connsiteY111" fmla="*/ 369874 h 674476"/>
                <a:gd name="connsiteX112" fmla="*/ 125105 w 492259"/>
                <a:gd name="connsiteY112" fmla="*/ 307322 h 674476"/>
                <a:gd name="connsiteX113" fmla="*/ 141423 w 492259"/>
                <a:gd name="connsiteY113" fmla="*/ 242051 h 674476"/>
                <a:gd name="connsiteX114" fmla="*/ 155022 w 492259"/>
                <a:gd name="connsiteY114" fmla="*/ 179498 h 674476"/>
                <a:gd name="connsiteX115" fmla="*/ 168620 w 492259"/>
                <a:gd name="connsiteY115" fmla="*/ 119665 h 674476"/>
                <a:gd name="connsiteX116" fmla="*/ 193097 w 492259"/>
                <a:gd name="connsiteY116" fmla="*/ 57113 h 674476"/>
                <a:gd name="connsiteX117" fmla="*/ 201256 w 492259"/>
                <a:gd name="connsiteY117" fmla="*/ 38075 h 674476"/>
                <a:gd name="connsiteX118" fmla="*/ 217574 w 492259"/>
                <a:gd name="connsiteY118" fmla="*/ 13598 h 674476"/>
                <a:gd name="connsiteX119" fmla="*/ 274687 w 492259"/>
                <a:gd name="connsiteY119" fmla="*/ 0 h 6744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</a:cxnLst>
              <a:rect l="l" t="t" r="r" b="b"/>
              <a:pathLst>
                <a:path w="492259" h="674476">
                  <a:moveTo>
                    <a:pt x="225733" y="97907"/>
                  </a:moveTo>
                  <a:cubicBezTo>
                    <a:pt x="217574" y="97907"/>
                    <a:pt x="209415" y="114225"/>
                    <a:pt x="209415" y="119665"/>
                  </a:cubicBezTo>
                  <a:cubicBezTo>
                    <a:pt x="206695" y="130543"/>
                    <a:pt x="203976" y="144141"/>
                    <a:pt x="201256" y="152300"/>
                  </a:cubicBezTo>
                  <a:cubicBezTo>
                    <a:pt x="198536" y="157740"/>
                    <a:pt x="198536" y="163179"/>
                    <a:pt x="198536" y="168618"/>
                  </a:cubicBezTo>
                  <a:cubicBezTo>
                    <a:pt x="198536" y="174058"/>
                    <a:pt x="195817" y="179497"/>
                    <a:pt x="195817" y="184936"/>
                  </a:cubicBezTo>
                  <a:cubicBezTo>
                    <a:pt x="193097" y="195815"/>
                    <a:pt x="190377" y="209413"/>
                    <a:pt x="187658" y="220292"/>
                  </a:cubicBezTo>
                  <a:cubicBezTo>
                    <a:pt x="184938" y="244769"/>
                    <a:pt x="176779" y="269246"/>
                    <a:pt x="168620" y="291003"/>
                  </a:cubicBezTo>
                  <a:cubicBezTo>
                    <a:pt x="165900" y="301881"/>
                    <a:pt x="163181" y="312760"/>
                    <a:pt x="160461" y="323639"/>
                  </a:cubicBezTo>
                  <a:cubicBezTo>
                    <a:pt x="157742" y="337237"/>
                    <a:pt x="155022" y="348115"/>
                    <a:pt x="149582" y="361714"/>
                  </a:cubicBezTo>
                  <a:cubicBezTo>
                    <a:pt x="146863" y="367153"/>
                    <a:pt x="144143" y="383471"/>
                    <a:pt x="144143" y="388910"/>
                  </a:cubicBezTo>
                  <a:cubicBezTo>
                    <a:pt x="144143" y="391630"/>
                    <a:pt x="146863" y="391630"/>
                    <a:pt x="149582" y="391630"/>
                  </a:cubicBezTo>
                  <a:cubicBezTo>
                    <a:pt x="155022" y="391630"/>
                    <a:pt x="168620" y="391630"/>
                    <a:pt x="171340" y="391630"/>
                  </a:cubicBezTo>
                  <a:cubicBezTo>
                    <a:pt x="179498" y="391630"/>
                    <a:pt x="187658" y="391630"/>
                    <a:pt x="193097" y="388910"/>
                  </a:cubicBezTo>
                  <a:cubicBezTo>
                    <a:pt x="198536" y="388910"/>
                    <a:pt x="203976" y="388910"/>
                    <a:pt x="212135" y="388910"/>
                  </a:cubicBezTo>
                  <a:cubicBezTo>
                    <a:pt x="217574" y="388910"/>
                    <a:pt x="225733" y="388910"/>
                    <a:pt x="236611" y="388910"/>
                  </a:cubicBezTo>
                  <a:cubicBezTo>
                    <a:pt x="242051" y="388910"/>
                    <a:pt x="247490" y="388910"/>
                    <a:pt x="250210" y="386191"/>
                  </a:cubicBezTo>
                  <a:cubicBezTo>
                    <a:pt x="255649" y="391630"/>
                    <a:pt x="258369" y="388910"/>
                    <a:pt x="258369" y="386191"/>
                  </a:cubicBezTo>
                  <a:cubicBezTo>
                    <a:pt x="258369" y="380751"/>
                    <a:pt x="255649" y="372592"/>
                    <a:pt x="255649" y="367153"/>
                  </a:cubicBezTo>
                  <a:cubicBezTo>
                    <a:pt x="252930" y="353555"/>
                    <a:pt x="250210" y="342676"/>
                    <a:pt x="250210" y="331797"/>
                  </a:cubicBezTo>
                  <a:cubicBezTo>
                    <a:pt x="250210" y="301881"/>
                    <a:pt x="250210" y="274685"/>
                    <a:pt x="247490" y="244769"/>
                  </a:cubicBezTo>
                  <a:cubicBezTo>
                    <a:pt x="247490" y="231170"/>
                    <a:pt x="244771" y="217572"/>
                    <a:pt x="242051" y="203974"/>
                  </a:cubicBezTo>
                  <a:cubicBezTo>
                    <a:pt x="239331" y="187656"/>
                    <a:pt x="236611" y="174058"/>
                    <a:pt x="236611" y="157740"/>
                  </a:cubicBezTo>
                  <a:cubicBezTo>
                    <a:pt x="236611" y="152300"/>
                    <a:pt x="236611" y="133263"/>
                    <a:pt x="233892" y="119665"/>
                  </a:cubicBezTo>
                  <a:cubicBezTo>
                    <a:pt x="233892" y="106066"/>
                    <a:pt x="231172" y="97907"/>
                    <a:pt x="225733" y="97907"/>
                  </a:cubicBezTo>
                  <a:close/>
                  <a:moveTo>
                    <a:pt x="274687" y="0"/>
                  </a:moveTo>
                  <a:cubicBezTo>
                    <a:pt x="288285" y="0"/>
                    <a:pt x="293724" y="2720"/>
                    <a:pt x="304603" y="5439"/>
                  </a:cubicBezTo>
                  <a:cubicBezTo>
                    <a:pt x="315481" y="10879"/>
                    <a:pt x="315481" y="16318"/>
                    <a:pt x="320921" y="24477"/>
                  </a:cubicBezTo>
                  <a:cubicBezTo>
                    <a:pt x="326360" y="29916"/>
                    <a:pt x="331800" y="35356"/>
                    <a:pt x="334519" y="43515"/>
                  </a:cubicBezTo>
                  <a:cubicBezTo>
                    <a:pt x="337239" y="51674"/>
                    <a:pt x="337239" y="57113"/>
                    <a:pt x="339959" y="65272"/>
                  </a:cubicBezTo>
                  <a:cubicBezTo>
                    <a:pt x="345398" y="78870"/>
                    <a:pt x="342678" y="97908"/>
                    <a:pt x="348118" y="114226"/>
                  </a:cubicBezTo>
                  <a:cubicBezTo>
                    <a:pt x="350837" y="130544"/>
                    <a:pt x="358996" y="146863"/>
                    <a:pt x="361716" y="163180"/>
                  </a:cubicBezTo>
                  <a:cubicBezTo>
                    <a:pt x="364435" y="182218"/>
                    <a:pt x="364435" y="201256"/>
                    <a:pt x="369875" y="220293"/>
                  </a:cubicBezTo>
                  <a:cubicBezTo>
                    <a:pt x="375314" y="239331"/>
                    <a:pt x="378034" y="255649"/>
                    <a:pt x="378034" y="274686"/>
                  </a:cubicBezTo>
                  <a:cubicBezTo>
                    <a:pt x="378034" y="282845"/>
                    <a:pt x="380753" y="293724"/>
                    <a:pt x="383473" y="301883"/>
                  </a:cubicBezTo>
                  <a:cubicBezTo>
                    <a:pt x="386193" y="312762"/>
                    <a:pt x="388913" y="326360"/>
                    <a:pt x="391632" y="337238"/>
                  </a:cubicBezTo>
                  <a:cubicBezTo>
                    <a:pt x="391632" y="342678"/>
                    <a:pt x="394352" y="353556"/>
                    <a:pt x="397071" y="364435"/>
                  </a:cubicBezTo>
                  <a:cubicBezTo>
                    <a:pt x="399791" y="372594"/>
                    <a:pt x="402511" y="380753"/>
                    <a:pt x="405230" y="383473"/>
                  </a:cubicBezTo>
                  <a:cubicBezTo>
                    <a:pt x="407950" y="386192"/>
                    <a:pt x="413389" y="386192"/>
                    <a:pt x="416109" y="386192"/>
                  </a:cubicBezTo>
                  <a:cubicBezTo>
                    <a:pt x="418829" y="386192"/>
                    <a:pt x="424268" y="386192"/>
                    <a:pt x="426988" y="386192"/>
                  </a:cubicBezTo>
                  <a:cubicBezTo>
                    <a:pt x="437866" y="386192"/>
                    <a:pt x="448745" y="388912"/>
                    <a:pt x="454184" y="397071"/>
                  </a:cubicBezTo>
                  <a:cubicBezTo>
                    <a:pt x="456904" y="399790"/>
                    <a:pt x="456904" y="402510"/>
                    <a:pt x="456904" y="405230"/>
                  </a:cubicBezTo>
                  <a:cubicBezTo>
                    <a:pt x="456904" y="407949"/>
                    <a:pt x="454184" y="410669"/>
                    <a:pt x="451464" y="416108"/>
                  </a:cubicBezTo>
                  <a:cubicBezTo>
                    <a:pt x="446025" y="421548"/>
                    <a:pt x="440586" y="426987"/>
                    <a:pt x="432427" y="429707"/>
                  </a:cubicBezTo>
                  <a:cubicBezTo>
                    <a:pt x="429707" y="429707"/>
                    <a:pt x="426988" y="432426"/>
                    <a:pt x="421548" y="432426"/>
                  </a:cubicBezTo>
                  <a:cubicBezTo>
                    <a:pt x="418829" y="432426"/>
                    <a:pt x="416109" y="432426"/>
                    <a:pt x="413389" y="435146"/>
                  </a:cubicBezTo>
                  <a:cubicBezTo>
                    <a:pt x="413389" y="435146"/>
                    <a:pt x="413389" y="437866"/>
                    <a:pt x="413389" y="440585"/>
                  </a:cubicBezTo>
                  <a:cubicBezTo>
                    <a:pt x="413389" y="443305"/>
                    <a:pt x="413389" y="448744"/>
                    <a:pt x="416109" y="451464"/>
                  </a:cubicBezTo>
                  <a:cubicBezTo>
                    <a:pt x="416109" y="456903"/>
                    <a:pt x="418829" y="462343"/>
                    <a:pt x="418829" y="465062"/>
                  </a:cubicBezTo>
                  <a:lnTo>
                    <a:pt x="418829" y="475941"/>
                  </a:lnTo>
                  <a:cubicBezTo>
                    <a:pt x="418829" y="481380"/>
                    <a:pt x="418829" y="484100"/>
                    <a:pt x="418829" y="486820"/>
                  </a:cubicBezTo>
                  <a:cubicBezTo>
                    <a:pt x="421548" y="497698"/>
                    <a:pt x="424268" y="505857"/>
                    <a:pt x="426988" y="516736"/>
                  </a:cubicBezTo>
                  <a:cubicBezTo>
                    <a:pt x="426988" y="524895"/>
                    <a:pt x="429707" y="535773"/>
                    <a:pt x="432427" y="543932"/>
                  </a:cubicBezTo>
                  <a:cubicBezTo>
                    <a:pt x="435147" y="554811"/>
                    <a:pt x="437866" y="562970"/>
                    <a:pt x="437866" y="573848"/>
                  </a:cubicBezTo>
                  <a:cubicBezTo>
                    <a:pt x="437866" y="587447"/>
                    <a:pt x="440586" y="595606"/>
                    <a:pt x="443306" y="606484"/>
                  </a:cubicBezTo>
                  <a:cubicBezTo>
                    <a:pt x="443306" y="609204"/>
                    <a:pt x="446025" y="614643"/>
                    <a:pt x="446025" y="617363"/>
                  </a:cubicBezTo>
                  <a:cubicBezTo>
                    <a:pt x="454184" y="617363"/>
                    <a:pt x="462343" y="617363"/>
                    <a:pt x="470502" y="617363"/>
                  </a:cubicBezTo>
                  <a:cubicBezTo>
                    <a:pt x="475942" y="625522"/>
                    <a:pt x="492259" y="630961"/>
                    <a:pt x="492259" y="641840"/>
                  </a:cubicBezTo>
                  <a:cubicBezTo>
                    <a:pt x="492259" y="647279"/>
                    <a:pt x="486820" y="649999"/>
                    <a:pt x="484101" y="655438"/>
                  </a:cubicBezTo>
                  <a:cubicBezTo>
                    <a:pt x="481381" y="660877"/>
                    <a:pt x="473222" y="663597"/>
                    <a:pt x="467782" y="663597"/>
                  </a:cubicBezTo>
                  <a:cubicBezTo>
                    <a:pt x="456904" y="666317"/>
                    <a:pt x="451464" y="666317"/>
                    <a:pt x="443306" y="666317"/>
                  </a:cubicBezTo>
                  <a:cubicBezTo>
                    <a:pt x="437866" y="666317"/>
                    <a:pt x="429707" y="666317"/>
                    <a:pt x="421548" y="666317"/>
                  </a:cubicBezTo>
                  <a:cubicBezTo>
                    <a:pt x="418829" y="666317"/>
                    <a:pt x="416109" y="666317"/>
                    <a:pt x="413389" y="666317"/>
                  </a:cubicBezTo>
                  <a:cubicBezTo>
                    <a:pt x="407950" y="669036"/>
                    <a:pt x="405230" y="669036"/>
                    <a:pt x="399791" y="671756"/>
                  </a:cubicBezTo>
                  <a:cubicBezTo>
                    <a:pt x="394352" y="671756"/>
                    <a:pt x="388913" y="674476"/>
                    <a:pt x="383473" y="674476"/>
                  </a:cubicBezTo>
                  <a:cubicBezTo>
                    <a:pt x="372594" y="674476"/>
                    <a:pt x="358996" y="671756"/>
                    <a:pt x="348118" y="669036"/>
                  </a:cubicBezTo>
                  <a:cubicBezTo>
                    <a:pt x="339959" y="669036"/>
                    <a:pt x="331800" y="669036"/>
                    <a:pt x="326360" y="669036"/>
                  </a:cubicBezTo>
                  <a:cubicBezTo>
                    <a:pt x="304603" y="669036"/>
                    <a:pt x="285565" y="669036"/>
                    <a:pt x="277406" y="669036"/>
                  </a:cubicBezTo>
                  <a:cubicBezTo>
                    <a:pt x="269247" y="669036"/>
                    <a:pt x="258369" y="669036"/>
                    <a:pt x="252930" y="663597"/>
                  </a:cubicBezTo>
                  <a:cubicBezTo>
                    <a:pt x="247490" y="660877"/>
                    <a:pt x="236611" y="655438"/>
                    <a:pt x="236611" y="647279"/>
                  </a:cubicBezTo>
                  <a:cubicBezTo>
                    <a:pt x="236611" y="636401"/>
                    <a:pt x="252930" y="633681"/>
                    <a:pt x="261088" y="630961"/>
                  </a:cubicBezTo>
                  <a:cubicBezTo>
                    <a:pt x="266528" y="630961"/>
                    <a:pt x="274687" y="630961"/>
                    <a:pt x="288285" y="628241"/>
                  </a:cubicBezTo>
                  <a:cubicBezTo>
                    <a:pt x="288285" y="620082"/>
                    <a:pt x="288285" y="614643"/>
                    <a:pt x="285565" y="609204"/>
                  </a:cubicBezTo>
                  <a:cubicBezTo>
                    <a:pt x="285565" y="601045"/>
                    <a:pt x="282846" y="590166"/>
                    <a:pt x="282846" y="582007"/>
                  </a:cubicBezTo>
                  <a:cubicBezTo>
                    <a:pt x="282846" y="576568"/>
                    <a:pt x="280126" y="573848"/>
                    <a:pt x="280126" y="568409"/>
                  </a:cubicBezTo>
                  <a:cubicBezTo>
                    <a:pt x="280126" y="562970"/>
                    <a:pt x="282846" y="557531"/>
                    <a:pt x="282846" y="554811"/>
                  </a:cubicBezTo>
                  <a:cubicBezTo>
                    <a:pt x="282846" y="549371"/>
                    <a:pt x="280126" y="546652"/>
                    <a:pt x="277406" y="538493"/>
                  </a:cubicBezTo>
                  <a:cubicBezTo>
                    <a:pt x="277406" y="527614"/>
                    <a:pt x="271967" y="516736"/>
                    <a:pt x="271967" y="505857"/>
                  </a:cubicBezTo>
                  <a:cubicBezTo>
                    <a:pt x="271967" y="494978"/>
                    <a:pt x="271967" y="486820"/>
                    <a:pt x="269247" y="478660"/>
                  </a:cubicBezTo>
                  <a:cubicBezTo>
                    <a:pt x="266528" y="467782"/>
                    <a:pt x="266528" y="456903"/>
                    <a:pt x="266528" y="446025"/>
                  </a:cubicBezTo>
                  <a:cubicBezTo>
                    <a:pt x="266528" y="440585"/>
                    <a:pt x="263808" y="437866"/>
                    <a:pt x="261088" y="437866"/>
                  </a:cubicBezTo>
                  <a:cubicBezTo>
                    <a:pt x="258369" y="437866"/>
                    <a:pt x="255649" y="437866"/>
                    <a:pt x="250210" y="437866"/>
                  </a:cubicBezTo>
                  <a:cubicBezTo>
                    <a:pt x="239331" y="437866"/>
                    <a:pt x="228452" y="437866"/>
                    <a:pt x="220293" y="440585"/>
                  </a:cubicBezTo>
                  <a:cubicBezTo>
                    <a:pt x="209415" y="440585"/>
                    <a:pt x="201256" y="443305"/>
                    <a:pt x="190377" y="443305"/>
                  </a:cubicBezTo>
                  <a:cubicBezTo>
                    <a:pt x="182218" y="443305"/>
                    <a:pt x="174059" y="443305"/>
                    <a:pt x="165900" y="443305"/>
                  </a:cubicBezTo>
                  <a:cubicBezTo>
                    <a:pt x="163181" y="443305"/>
                    <a:pt x="152302" y="440585"/>
                    <a:pt x="144143" y="440585"/>
                  </a:cubicBezTo>
                  <a:cubicBezTo>
                    <a:pt x="135984" y="440585"/>
                    <a:pt x="135984" y="448744"/>
                    <a:pt x="135984" y="454184"/>
                  </a:cubicBezTo>
                  <a:cubicBezTo>
                    <a:pt x="135984" y="465062"/>
                    <a:pt x="133264" y="475941"/>
                    <a:pt x="130545" y="486820"/>
                  </a:cubicBezTo>
                  <a:cubicBezTo>
                    <a:pt x="127825" y="505857"/>
                    <a:pt x="122386" y="522175"/>
                    <a:pt x="119666" y="541213"/>
                  </a:cubicBezTo>
                  <a:cubicBezTo>
                    <a:pt x="116947" y="560250"/>
                    <a:pt x="108788" y="595606"/>
                    <a:pt x="103348" y="614643"/>
                  </a:cubicBezTo>
                  <a:cubicBezTo>
                    <a:pt x="111507" y="614643"/>
                    <a:pt x="122386" y="614643"/>
                    <a:pt x="133264" y="614643"/>
                  </a:cubicBezTo>
                  <a:cubicBezTo>
                    <a:pt x="146863" y="614643"/>
                    <a:pt x="168620" y="614643"/>
                    <a:pt x="168620" y="630961"/>
                  </a:cubicBezTo>
                  <a:cubicBezTo>
                    <a:pt x="168620" y="639120"/>
                    <a:pt x="165900" y="639120"/>
                    <a:pt x="163181" y="647279"/>
                  </a:cubicBezTo>
                  <a:cubicBezTo>
                    <a:pt x="160461" y="652718"/>
                    <a:pt x="152302" y="655438"/>
                    <a:pt x="146863" y="655438"/>
                  </a:cubicBezTo>
                  <a:cubicBezTo>
                    <a:pt x="138704" y="658158"/>
                    <a:pt x="133264" y="658158"/>
                    <a:pt x="127825" y="658158"/>
                  </a:cubicBezTo>
                  <a:cubicBezTo>
                    <a:pt x="122386" y="658158"/>
                    <a:pt x="116947" y="658158"/>
                    <a:pt x="106068" y="658158"/>
                  </a:cubicBezTo>
                  <a:cubicBezTo>
                    <a:pt x="92468" y="658158"/>
                    <a:pt x="78870" y="658158"/>
                    <a:pt x="62552" y="658158"/>
                  </a:cubicBezTo>
                  <a:cubicBezTo>
                    <a:pt x="54393" y="658158"/>
                    <a:pt x="46234" y="658158"/>
                    <a:pt x="40795" y="658158"/>
                  </a:cubicBezTo>
                  <a:cubicBezTo>
                    <a:pt x="32636" y="658158"/>
                    <a:pt x="21758" y="658158"/>
                    <a:pt x="16318" y="652718"/>
                  </a:cubicBezTo>
                  <a:cubicBezTo>
                    <a:pt x="8159" y="649999"/>
                    <a:pt x="0" y="641840"/>
                    <a:pt x="0" y="636401"/>
                  </a:cubicBezTo>
                  <a:cubicBezTo>
                    <a:pt x="0" y="633681"/>
                    <a:pt x="0" y="630961"/>
                    <a:pt x="2720" y="628241"/>
                  </a:cubicBezTo>
                  <a:cubicBezTo>
                    <a:pt x="8159" y="625522"/>
                    <a:pt x="16318" y="622802"/>
                    <a:pt x="24477" y="620082"/>
                  </a:cubicBezTo>
                  <a:cubicBezTo>
                    <a:pt x="38075" y="617363"/>
                    <a:pt x="48954" y="617363"/>
                    <a:pt x="62552" y="617363"/>
                  </a:cubicBezTo>
                  <a:cubicBezTo>
                    <a:pt x="62552" y="617363"/>
                    <a:pt x="62552" y="614643"/>
                    <a:pt x="62552" y="614643"/>
                  </a:cubicBezTo>
                  <a:cubicBezTo>
                    <a:pt x="62552" y="603765"/>
                    <a:pt x="65272" y="590166"/>
                    <a:pt x="65272" y="587447"/>
                  </a:cubicBezTo>
                  <a:cubicBezTo>
                    <a:pt x="67992" y="565689"/>
                    <a:pt x="73431" y="543932"/>
                    <a:pt x="76151" y="522175"/>
                  </a:cubicBezTo>
                  <a:cubicBezTo>
                    <a:pt x="78870" y="505857"/>
                    <a:pt x="81590" y="486820"/>
                    <a:pt x="87029" y="470501"/>
                  </a:cubicBezTo>
                  <a:cubicBezTo>
                    <a:pt x="87029" y="465062"/>
                    <a:pt x="92468" y="451464"/>
                    <a:pt x="92468" y="446025"/>
                  </a:cubicBezTo>
                  <a:cubicBezTo>
                    <a:pt x="92468" y="437866"/>
                    <a:pt x="73431" y="437866"/>
                    <a:pt x="65272" y="432426"/>
                  </a:cubicBezTo>
                  <a:cubicBezTo>
                    <a:pt x="59833" y="429707"/>
                    <a:pt x="54393" y="426987"/>
                    <a:pt x="54393" y="421548"/>
                  </a:cubicBezTo>
                  <a:cubicBezTo>
                    <a:pt x="54393" y="413389"/>
                    <a:pt x="62552" y="410669"/>
                    <a:pt x="73431" y="407949"/>
                  </a:cubicBezTo>
                  <a:cubicBezTo>
                    <a:pt x="78870" y="407949"/>
                    <a:pt x="92468" y="405230"/>
                    <a:pt x="100629" y="399790"/>
                  </a:cubicBezTo>
                  <a:cubicBezTo>
                    <a:pt x="106068" y="394351"/>
                    <a:pt x="106068" y="378033"/>
                    <a:pt x="108788" y="369874"/>
                  </a:cubicBezTo>
                  <a:cubicBezTo>
                    <a:pt x="114227" y="348117"/>
                    <a:pt x="119666" y="326360"/>
                    <a:pt x="125105" y="307322"/>
                  </a:cubicBezTo>
                  <a:cubicBezTo>
                    <a:pt x="130545" y="285565"/>
                    <a:pt x="135984" y="263808"/>
                    <a:pt x="141423" y="242051"/>
                  </a:cubicBezTo>
                  <a:cubicBezTo>
                    <a:pt x="146863" y="220293"/>
                    <a:pt x="152302" y="198536"/>
                    <a:pt x="155022" y="179498"/>
                  </a:cubicBezTo>
                  <a:cubicBezTo>
                    <a:pt x="157742" y="160461"/>
                    <a:pt x="163181" y="138703"/>
                    <a:pt x="168620" y="119665"/>
                  </a:cubicBezTo>
                  <a:cubicBezTo>
                    <a:pt x="176779" y="100627"/>
                    <a:pt x="182218" y="76150"/>
                    <a:pt x="193097" y="57113"/>
                  </a:cubicBezTo>
                  <a:lnTo>
                    <a:pt x="201256" y="38075"/>
                  </a:lnTo>
                  <a:cubicBezTo>
                    <a:pt x="206695" y="29916"/>
                    <a:pt x="209415" y="19038"/>
                    <a:pt x="217574" y="13598"/>
                  </a:cubicBezTo>
                  <a:cubicBezTo>
                    <a:pt x="231172" y="2720"/>
                    <a:pt x="255649" y="0"/>
                    <a:pt x="274687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/>
            </a:p>
          </p:txBody>
        </p:sp>
        <p:sp>
          <p:nvSpPr>
            <p:cNvPr id="44" name="Freeform: Shape 43">
              <a:extLst>
                <a:ext uri="{FF2B5EF4-FFF2-40B4-BE49-F238E27FC236}">
                  <a16:creationId xmlns:a16="http://schemas.microsoft.com/office/drawing/2014/main" id="{7256CA01-A592-4EFF-B363-73DF3F9E94E9}"/>
                </a:ext>
              </a:extLst>
            </p:cNvPr>
            <p:cNvSpPr/>
            <p:nvPr/>
          </p:nvSpPr>
          <p:spPr>
            <a:xfrm>
              <a:off x="6876542" y="4244897"/>
              <a:ext cx="462342" cy="677195"/>
            </a:xfrm>
            <a:custGeom>
              <a:avLst/>
              <a:gdLst>
                <a:gd name="connsiteX0" fmla="*/ 214853 w 462342"/>
                <a:gd name="connsiteY0" fmla="*/ 65272 h 677195"/>
                <a:gd name="connsiteX1" fmla="*/ 195815 w 462342"/>
                <a:gd name="connsiteY1" fmla="*/ 73431 h 677195"/>
                <a:gd name="connsiteX2" fmla="*/ 193096 w 462342"/>
                <a:gd name="connsiteY2" fmla="*/ 125105 h 677195"/>
                <a:gd name="connsiteX3" fmla="*/ 190376 w 462342"/>
                <a:gd name="connsiteY3" fmla="*/ 280125 h 677195"/>
                <a:gd name="connsiteX4" fmla="*/ 190376 w 462342"/>
                <a:gd name="connsiteY4" fmla="*/ 301882 h 677195"/>
                <a:gd name="connsiteX5" fmla="*/ 193096 w 462342"/>
                <a:gd name="connsiteY5" fmla="*/ 342677 h 677195"/>
                <a:gd name="connsiteX6" fmla="*/ 195815 w 462342"/>
                <a:gd name="connsiteY6" fmla="*/ 397070 h 677195"/>
                <a:gd name="connsiteX7" fmla="*/ 195815 w 462342"/>
                <a:gd name="connsiteY7" fmla="*/ 443304 h 677195"/>
                <a:gd name="connsiteX8" fmla="*/ 195815 w 462342"/>
                <a:gd name="connsiteY8" fmla="*/ 530333 h 677195"/>
                <a:gd name="connsiteX9" fmla="*/ 193096 w 462342"/>
                <a:gd name="connsiteY9" fmla="*/ 554810 h 677195"/>
                <a:gd name="connsiteX10" fmla="*/ 190376 w 462342"/>
                <a:gd name="connsiteY10" fmla="*/ 603764 h 677195"/>
                <a:gd name="connsiteX11" fmla="*/ 198535 w 462342"/>
                <a:gd name="connsiteY11" fmla="*/ 611923 h 677195"/>
                <a:gd name="connsiteX12" fmla="*/ 214853 w 462342"/>
                <a:gd name="connsiteY12" fmla="*/ 611923 h 677195"/>
                <a:gd name="connsiteX13" fmla="*/ 236610 w 462342"/>
                <a:gd name="connsiteY13" fmla="*/ 611923 h 677195"/>
                <a:gd name="connsiteX14" fmla="*/ 263807 w 462342"/>
                <a:gd name="connsiteY14" fmla="*/ 598325 h 677195"/>
                <a:gd name="connsiteX15" fmla="*/ 277405 w 462342"/>
                <a:gd name="connsiteY15" fmla="*/ 592885 h 677195"/>
                <a:gd name="connsiteX16" fmla="*/ 291004 w 462342"/>
                <a:gd name="connsiteY16" fmla="*/ 573848 h 677195"/>
                <a:gd name="connsiteX17" fmla="*/ 307322 w 462342"/>
                <a:gd name="connsiteY17" fmla="*/ 543931 h 677195"/>
                <a:gd name="connsiteX18" fmla="*/ 326359 w 462342"/>
                <a:gd name="connsiteY18" fmla="*/ 481379 h 677195"/>
                <a:gd name="connsiteX19" fmla="*/ 337238 w 462342"/>
                <a:gd name="connsiteY19" fmla="*/ 413388 h 677195"/>
                <a:gd name="connsiteX20" fmla="*/ 337238 w 462342"/>
                <a:gd name="connsiteY20" fmla="*/ 350836 h 677195"/>
                <a:gd name="connsiteX21" fmla="*/ 334518 w 462342"/>
                <a:gd name="connsiteY21" fmla="*/ 296443 h 677195"/>
                <a:gd name="connsiteX22" fmla="*/ 329079 w 462342"/>
                <a:gd name="connsiteY22" fmla="*/ 244769 h 677195"/>
                <a:gd name="connsiteX23" fmla="*/ 307322 w 462342"/>
                <a:gd name="connsiteY23" fmla="*/ 135983 h 677195"/>
                <a:gd name="connsiteX24" fmla="*/ 271966 w 462342"/>
                <a:gd name="connsiteY24" fmla="*/ 78870 h 677195"/>
                <a:gd name="connsiteX25" fmla="*/ 214853 w 462342"/>
                <a:gd name="connsiteY25" fmla="*/ 65272 h 677195"/>
                <a:gd name="connsiteX26" fmla="*/ 114226 w 462342"/>
                <a:gd name="connsiteY26" fmla="*/ 0 h 677195"/>
                <a:gd name="connsiteX27" fmla="*/ 127824 w 462342"/>
                <a:gd name="connsiteY27" fmla="*/ 0 h 677195"/>
                <a:gd name="connsiteX28" fmla="*/ 146862 w 462342"/>
                <a:gd name="connsiteY28" fmla="*/ 2720 h 677195"/>
                <a:gd name="connsiteX29" fmla="*/ 174059 w 462342"/>
                <a:gd name="connsiteY29" fmla="*/ 21758 h 677195"/>
                <a:gd name="connsiteX30" fmla="*/ 193096 w 462342"/>
                <a:gd name="connsiteY30" fmla="*/ 21758 h 677195"/>
                <a:gd name="connsiteX31" fmla="*/ 261088 w 462342"/>
                <a:gd name="connsiteY31" fmla="*/ 27197 h 677195"/>
                <a:gd name="connsiteX32" fmla="*/ 310042 w 462342"/>
                <a:gd name="connsiteY32" fmla="*/ 35356 h 677195"/>
                <a:gd name="connsiteX33" fmla="*/ 334518 w 462342"/>
                <a:gd name="connsiteY33" fmla="*/ 40795 h 677195"/>
                <a:gd name="connsiteX34" fmla="*/ 356276 w 462342"/>
                <a:gd name="connsiteY34" fmla="*/ 59833 h 677195"/>
                <a:gd name="connsiteX35" fmla="*/ 372593 w 462342"/>
                <a:gd name="connsiteY35" fmla="*/ 76151 h 677195"/>
                <a:gd name="connsiteX36" fmla="*/ 380752 w 462342"/>
                <a:gd name="connsiteY36" fmla="*/ 95188 h 677195"/>
                <a:gd name="connsiteX37" fmla="*/ 405230 w 462342"/>
                <a:gd name="connsiteY37" fmla="*/ 114226 h 677195"/>
                <a:gd name="connsiteX38" fmla="*/ 416108 w 462342"/>
                <a:gd name="connsiteY38" fmla="*/ 141422 h 677195"/>
                <a:gd name="connsiteX39" fmla="*/ 451464 w 462342"/>
                <a:gd name="connsiteY39" fmla="*/ 201256 h 677195"/>
                <a:gd name="connsiteX40" fmla="*/ 456903 w 462342"/>
                <a:gd name="connsiteY40" fmla="*/ 252929 h 677195"/>
                <a:gd name="connsiteX41" fmla="*/ 456903 w 462342"/>
                <a:gd name="connsiteY41" fmla="*/ 291004 h 677195"/>
                <a:gd name="connsiteX42" fmla="*/ 459623 w 462342"/>
                <a:gd name="connsiteY42" fmla="*/ 318201 h 677195"/>
                <a:gd name="connsiteX43" fmla="*/ 459623 w 462342"/>
                <a:gd name="connsiteY43" fmla="*/ 326360 h 677195"/>
                <a:gd name="connsiteX44" fmla="*/ 459623 w 462342"/>
                <a:gd name="connsiteY44" fmla="*/ 348117 h 677195"/>
                <a:gd name="connsiteX45" fmla="*/ 462342 w 462342"/>
                <a:gd name="connsiteY45" fmla="*/ 367155 h 677195"/>
                <a:gd name="connsiteX46" fmla="*/ 456903 w 462342"/>
                <a:gd name="connsiteY46" fmla="*/ 391632 h 677195"/>
                <a:gd name="connsiteX47" fmla="*/ 456903 w 462342"/>
                <a:gd name="connsiteY47" fmla="*/ 418828 h 677195"/>
                <a:gd name="connsiteX48" fmla="*/ 451464 w 462342"/>
                <a:gd name="connsiteY48" fmla="*/ 437866 h 677195"/>
                <a:gd name="connsiteX49" fmla="*/ 446025 w 462342"/>
                <a:gd name="connsiteY49" fmla="*/ 454184 h 677195"/>
                <a:gd name="connsiteX50" fmla="*/ 440585 w 462342"/>
                <a:gd name="connsiteY50" fmla="*/ 481380 h 677195"/>
                <a:gd name="connsiteX51" fmla="*/ 432426 w 462342"/>
                <a:gd name="connsiteY51" fmla="*/ 508577 h 677195"/>
                <a:gd name="connsiteX52" fmla="*/ 418828 w 462342"/>
                <a:gd name="connsiteY52" fmla="*/ 530334 h 677195"/>
                <a:gd name="connsiteX53" fmla="*/ 410669 w 462342"/>
                <a:gd name="connsiteY53" fmla="*/ 549371 h 677195"/>
                <a:gd name="connsiteX54" fmla="*/ 391631 w 462342"/>
                <a:gd name="connsiteY54" fmla="*/ 579288 h 677195"/>
                <a:gd name="connsiteX55" fmla="*/ 337238 w 462342"/>
                <a:gd name="connsiteY55" fmla="*/ 630961 h 677195"/>
                <a:gd name="connsiteX56" fmla="*/ 301883 w 462342"/>
                <a:gd name="connsiteY56" fmla="*/ 647279 h 677195"/>
                <a:gd name="connsiteX57" fmla="*/ 263807 w 462342"/>
                <a:gd name="connsiteY57" fmla="*/ 652718 h 677195"/>
                <a:gd name="connsiteX58" fmla="*/ 233891 w 462342"/>
                <a:gd name="connsiteY58" fmla="*/ 649999 h 677195"/>
                <a:gd name="connsiteX59" fmla="*/ 187657 w 462342"/>
                <a:gd name="connsiteY59" fmla="*/ 652718 h 677195"/>
                <a:gd name="connsiteX60" fmla="*/ 171339 w 462342"/>
                <a:gd name="connsiteY60" fmla="*/ 669036 h 677195"/>
                <a:gd name="connsiteX61" fmla="*/ 155021 w 462342"/>
                <a:gd name="connsiteY61" fmla="*/ 671756 h 677195"/>
                <a:gd name="connsiteX62" fmla="*/ 138703 w 462342"/>
                <a:gd name="connsiteY62" fmla="*/ 674476 h 677195"/>
                <a:gd name="connsiteX63" fmla="*/ 125105 w 462342"/>
                <a:gd name="connsiteY63" fmla="*/ 677195 h 677195"/>
                <a:gd name="connsiteX64" fmla="*/ 106067 w 462342"/>
                <a:gd name="connsiteY64" fmla="*/ 671756 h 677195"/>
                <a:gd name="connsiteX65" fmla="*/ 87029 w 462342"/>
                <a:gd name="connsiteY65" fmla="*/ 658158 h 677195"/>
                <a:gd name="connsiteX66" fmla="*/ 81590 w 462342"/>
                <a:gd name="connsiteY66" fmla="*/ 652718 h 677195"/>
                <a:gd name="connsiteX67" fmla="*/ 67992 w 462342"/>
                <a:gd name="connsiteY67" fmla="*/ 652718 h 677195"/>
                <a:gd name="connsiteX68" fmla="*/ 43515 w 462342"/>
                <a:gd name="connsiteY68" fmla="*/ 652718 h 677195"/>
                <a:gd name="connsiteX69" fmla="*/ 16318 w 462342"/>
                <a:gd name="connsiteY69" fmla="*/ 647279 h 677195"/>
                <a:gd name="connsiteX70" fmla="*/ 0 w 462342"/>
                <a:gd name="connsiteY70" fmla="*/ 630961 h 677195"/>
                <a:gd name="connsiteX71" fmla="*/ 5439 w 462342"/>
                <a:gd name="connsiteY71" fmla="*/ 620083 h 677195"/>
                <a:gd name="connsiteX72" fmla="*/ 27197 w 462342"/>
                <a:gd name="connsiteY72" fmla="*/ 611924 h 677195"/>
                <a:gd name="connsiteX73" fmla="*/ 65272 w 462342"/>
                <a:gd name="connsiteY73" fmla="*/ 609204 h 677195"/>
                <a:gd name="connsiteX74" fmla="*/ 65272 w 462342"/>
                <a:gd name="connsiteY74" fmla="*/ 584727 h 677195"/>
                <a:gd name="connsiteX75" fmla="*/ 62552 w 462342"/>
                <a:gd name="connsiteY75" fmla="*/ 456903 h 677195"/>
                <a:gd name="connsiteX76" fmla="*/ 65272 w 462342"/>
                <a:gd name="connsiteY76" fmla="*/ 337238 h 677195"/>
                <a:gd name="connsiteX77" fmla="*/ 67992 w 462342"/>
                <a:gd name="connsiteY77" fmla="*/ 203975 h 677195"/>
                <a:gd name="connsiteX78" fmla="*/ 70712 w 462342"/>
                <a:gd name="connsiteY78" fmla="*/ 119665 h 677195"/>
                <a:gd name="connsiteX79" fmla="*/ 73431 w 462342"/>
                <a:gd name="connsiteY79" fmla="*/ 67992 h 677195"/>
                <a:gd name="connsiteX80" fmla="*/ 67992 w 462342"/>
                <a:gd name="connsiteY80" fmla="*/ 67992 h 677195"/>
                <a:gd name="connsiteX81" fmla="*/ 43515 w 462342"/>
                <a:gd name="connsiteY81" fmla="*/ 67992 h 677195"/>
                <a:gd name="connsiteX82" fmla="*/ 16318 w 462342"/>
                <a:gd name="connsiteY82" fmla="*/ 62552 h 677195"/>
                <a:gd name="connsiteX83" fmla="*/ 0 w 462342"/>
                <a:gd name="connsiteY83" fmla="*/ 46234 h 677195"/>
                <a:gd name="connsiteX84" fmla="*/ 5439 w 462342"/>
                <a:gd name="connsiteY84" fmla="*/ 35356 h 677195"/>
                <a:gd name="connsiteX85" fmla="*/ 27197 w 462342"/>
                <a:gd name="connsiteY85" fmla="*/ 27197 h 677195"/>
                <a:gd name="connsiteX86" fmla="*/ 76151 w 462342"/>
                <a:gd name="connsiteY86" fmla="*/ 21758 h 677195"/>
                <a:gd name="connsiteX87" fmla="*/ 81590 w 462342"/>
                <a:gd name="connsiteY87" fmla="*/ 13598 h 677195"/>
                <a:gd name="connsiteX88" fmla="*/ 97908 w 462342"/>
                <a:gd name="connsiteY88" fmla="*/ 5439 h 677195"/>
                <a:gd name="connsiteX89" fmla="*/ 114226 w 462342"/>
                <a:gd name="connsiteY89" fmla="*/ 0 h 6771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</a:cxnLst>
              <a:rect l="l" t="t" r="r" b="b"/>
              <a:pathLst>
                <a:path w="462342" h="677195">
                  <a:moveTo>
                    <a:pt x="214853" y="65272"/>
                  </a:moveTo>
                  <a:cubicBezTo>
                    <a:pt x="203975" y="65272"/>
                    <a:pt x="195815" y="67992"/>
                    <a:pt x="195815" y="73431"/>
                  </a:cubicBezTo>
                  <a:cubicBezTo>
                    <a:pt x="193096" y="78870"/>
                    <a:pt x="193096" y="100628"/>
                    <a:pt x="193096" y="125105"/>
                  </a:cubicBezTo>
                  <a:cubicBezTo>
                    <a:pt x="193096" y="182217"/>
                    <a:pt x="193096" y="266527"/>
                    <a:pt x="190376" y="280125"/>
                  </a:cubicBezTo>
                  <a:cubicBezTo>
                    <a:pt x="190376" y="288284"/>
                    <a:pt x="190376" y="293723"/>
                    <a:pt x="190376" y="301882"/>
                  </a:cubicBezTo>
                  <a:cubicBezTo>
                    <a:pt x="190376" y="315480"/>
                    <a:pt x="190376" y="329079"/>
                    <a:pt x="193096" y="342677"/>
                  </a:cubicBezTo>
                  <a:cubicBezTo>
                    <a:pt x="193096" y="361715"/>
                    <a:pt x="193096" y="378033"/>
                    <a:pt x="195815" y="397070"/>
                  </a:cubicBezTo>
                  <a:cubicBezTo>
                    <a:pt x="195815" y="413388"/>
                    <a:pt x="195815" y="426986"/>
                    <a:pt x="195815" y="443304"/>
                  </a:cubicBezTo>
                  <a:cubicBezTo>
                    <a:pt x="195815" y="465061"/>
                    <a:pt x="198535" y="508576"/>
                    <a:pt x="195815" y="530333"/>
                  </a:cubicBezTo>
                  <a:cubicBezTo>
                    <a:pt x="195815" y="538492"/>
                    <a:pt x="193096" y="546651"/>
                    <a:pt x="193096" y="554810"/>
                  </a:cubicBezTo>
                  <a:cubicBezTo>
                    <a:pt x="193096" y="560249"/>
                    <a:pt x="190376" y="590166"/>
                    <a:pt x="190376" y="603764"/>
                  </a:cubicBezTo>
                  <a:cubicBezTo>
                    <a:pt x="190376" y="609203"/>
                    <a:pt x="190376" y="611923"/>
                    <a:pt x="198535" y="611923"/>
                  </a:cubicBezTo>
                  <a:cubicBezTo>
                    <a:pt x="206694" y="611923"/>
                    <a:pt x="209414" y="611923"/>
                    <a:pt x="214853" y="611923"/>
                  </a:cubicBezTo>
                  <a:cubicBezTo>
                    <a:pt x="223012" y="611923"/>
                    <a:pt x="220293" y="611923"/>
                    <a:pt x="236610" y="611923"/>
                  </a:cubicBezTo>
                  <a:cubicBezTo>
                    <a:pt x="242050" y="611923"/>
                    <a:pt x="258368" y="601044"/>
                    <a:pt x="263807" y="598325"/>
                  </a:cubicBezTo>
                  <a:cubicBezTo>
                    <a:pt x="266527" y="598325"/>
                    <a:pt x="274686" y="592885"/>
                    <a:pt x="277405" y="592885"/>
                  </a:cubicBezTo>
                  <a:cubicBezTo>
                    <a:pt x="285564" y="587446"/>
                    <a:pt x="288284" y="579287"/>
                    <a:pt x="291004" y="573848"/>
                  </a:cubicBezTo>
                  <a:cubicBezTo>
                    <a:pt x="296443" y="562969"/>
                    <a:pt x="301882" y="554810"/>
                    <a:pt x="307322" y="543931"/>
                  </a:cubicBezTo>
                  <a:cubicBezTo>
                    <a:pt x="315481" y="524894"/>
                    <a:pt x="320920" y="524894"/>
                    <a:pt x="326359" y="481379"/>
                  </a:cubicBezTo>
                  <a:cubicBezTo>
                    <a:pt x="329079" y="456903"/>
                    <a:pt x="334518" y="435145"/>
                    <a:pt x="337238" y="413388"/>
                  </a:cubicBezTo>
                  <a:cubicBezTo>
                    <a:pt x="337238" y="391631"/>
                    <a:pt x="337238" y="369873"/>
                    <a:pt x="337238" y="350836"/>
                  </a:cubicBezTo>
                  <a:cubicBezTo>
                    <a:pt x="337238" y="339957"/>
                    <a:pt x="337238" y="320920"/>
                    <a:pt x="334518" y="296443"/>
                  </a:cubicBezTo>
                  <a:cubicBezTo>
                    <a:pt x="331798" y="269246"/>
                    <a:pt x="329079" y="250209"/>
                    <a:pt x="329079" y="244769"/>
                  </a:cubicBezTo>
                  <a:cubicBezTo>
                    <a:pt x="323640" y="206694"/>
                    <a:pt x="318200" y="174058"/>
                    <a:pt x="307322" y="135983"/>
                  </a:cubicBezTo>
                  <a:cubicBezTo>
                    <a:pt x="304602" y="125105"/>
                    <a:pt x="304602" y="108787"/>
                    <a:pt x="271966" y="78870"/>
                  </a:cubicBezTo>
                  <a:cubicBezTo>
                    <a:pt x="263807" y="73431"/>
                    <a:pt x="233891" y="65272"/>
                    <a:pt x="214853" y="65272"/>
                  </a:cubicBezTo>
                  <a:close/>
                  <a:moveTo>
                    <a:pt x="114226" y="0"/>
                  </a:moveTo>
                  <a:cubicBezTo>
                    <a:pt x="119665" y="0"/>
                    <a:pt x="125105" y="0"/>
                    <a:pt x="127824" y="0"/>
                  </a:cubicBezTo>
                  <a:cubicBezTo>
                    <a:pt x="133264" y="0"/>
                    <a:pt x="141422" y="0"/>
                    <a:pt x="146862" y="2720"/>
                  </a:cubicBezTo>
                  <a:cubicBezTo>
                    <a:pt x="157741" y="5439"/>
                    <a:pt x="165900" y="13598"/>
                    <a:pt x="174059" y="21758"/>
                  </a:cubicBezTo>
                  <a:cubicBezTo>
                    <a:pt x="179498" y="21758"/>
                    <a:pt x="187657" y="21758"/>
                    <a:pt x="193096" y="21758"/>
                  </a:cubicBezTo>
                  <a:cubicBezTo>
                    <a:pt x="212134" y="21758"/>
                    <a:pt x="228452" y="27197"/>
                    <a:pt x="261088" y="27197"/>
                  </a:cubicBezTo>
                  <a:cubicBezTo>
                    <a:pt x="277405" y="27197"/>
                    <a:pt x="293723" y="35356"/>
                    <a:pt x="310042" y="35356"/>
                  </a:cubicBezTo>
                  <a:cubicBezTo>
                    <a:pt x="318200" y="35356"/>
                    <a:pt x="329079" y="35356"/>
                    <a:pt x="334518" y="40795"/>
                  </a:cubicBezTo>
                  <a:cubicBezTo>
                    <a:pt x="342677" y="46234"/>
                    <a:pt x="348117" y="54393"/>
                    <a:pt x="356276" y="59833"/>
                  </a:cubicBezTo>
                  <a:cubicBezTo>
                    <a:pt x="361715" y="65272"/>
                    <a:pt x="369874" y="67992"/>
                    <a:pt x="372593" y="76151"/>
                  </a:cubicBezTo>
                  <a:cubicBezTo>
                    <a:pt x="375313" y="81590"/>
                    <a:pt x="378033" y="89749"/>
                    <a:pt x="380752" y="95188"/>
                  </a:cubicBezTo>
                  <a:cubicBezTo>
                    <a:pt x="386192" y="103347"/>
                    <a:pt x="391631" y="106067"/>
                    <a:pt x="405230" y="114226"/>
                  </a:cubicBezTo>
                  <a:cubicBezTo>
                    <a:pt x="413388" y="119665"/>
                    <a:pt x="410669" y="133263"/>
                    <a:pt x="416108" y="141422"/>
                  </a:cubicBezTo>
                  <a:cubicBezTo>
                    <a:pt x="426987" y="160461"/>
                    <a:pt x="446025" y="182218"/>
                    <a:pt x="451464" y="201256"/>
                  </a:cubicBezTo>
                  <a:cubicBezTo>
                    <a:pt x="456903" y="220293"/>
                    <a:pt x="456903" y="236611"/>
                    <a:pt x="456903" y="252929"/>
                  </a:cubicBezTo>
                  <a:cubicBezTo>
                    <a:pt x="456903" y="266527"/>
                    <a:pt x="456903" y="277406"/>
                    <a:pt x="456903" y="291004"/>
                  </a:cubicBezTo>
                  <a:cubicBezTo>
                    <a:pt x="456903" y="299163"/>
                    <a:pt x="456903" y="307322"/>
                    <a:pt x="459623" y="318201"/>
                  </a:cubicBezTo>
                  <a:cubicBezTo>
                    <a:pt x="459623" y="320921"/>
                    <a:pt x="459623" y="323640"/>
                    <a:pt x="459623" y="326360"/>
                  </a:cubicBezTo>
                  <a:cubicBezTo>
                    <a:pt x="462342" y="331799"/>
                    <a:pt x="459623" y="337238"/>
                    <a:pt x="459623" y="348117"/>
                  </a:cubicBezTo>
                  <a:cubicBezTo>
                    <a:pt x="459623" y="350837"/>
                    <a:pt x="462342" y="361715"/>
                    <a:pt x="462342" y="367155"/>
                  </a:cubicBezTo>
                  <a:cubicBezTo>
                    <a:pt x="462342" y="375314"/>
                    <a:pt x="456903" y="383473"/>
                    <a:pt x="456903" y="391632"/>
                  </a:cubicBezTo>
                  <a:cubicBezTo>
                    <a:pt x="456903" y="399790"/>
                    <a:pt x="456903" y="410669"/>
                    <a:pt x="456903" y="418828"/>
                  </a:cubicBezTo>
                  <a:cubicBezTo>
                    <a:pt x="456903" y="421548"/>
                    <a:pt x="454183" y="429707"/>
                    <a:pt x="451464" y="437866"/>
                  </a:cubicBezTo>
                  <a:cubicBezTo>
                    <a:pt x="448744" y="443305"/>
                    <a:pt x="448744" y="451464"/>
                    <a:pt x="446025" y="454184"/>
                  </a:cubicBezTo>
                  <a:cubicBezTo>
                    <a:pt x="443305" y="462343"/>
                    <a:pt x="440585" y="473221"/>
                    <a:pt x="440585" y="481380"/>
                  </a:cubicBezTo>
                  <a:cubicBezTo>
                    <a:pt x="437865" y="489539"/>
                    <a:pt x="437865" y="500418"/>
                    <a:pt x="432426" y="508577"/>
                  </a:cubicBezTo>
                  <a:cubicBezTo>
                    <a:pt x="429706" y="516736"/>
                    <a:pt x="424267" y="522175"/>
                    <a:pt x="418828" y="530334"/>
                  </a:cubicBezTo>
                  <a:cubicBezTo>
                    <a:pt x="416108" y="535773"/>
                    <a:pt x="413388" y="543932"/>
                    <a:pt x="410669" y="549371"/>
                  </a:cubicBezTo>
                  <a:cubicBezTo>
                    <a:pt x="405230" y="557531"/>
                    <a:pt x="397071" y="573848"/>
                    <a:pt x="391631" y="579288"/>
                  </a:cubicBezTo>
                  <a:cubicBezTo>
                    <a:pt x="369874" y="609204"/>
                    <a:pt x="350836" y="620083"/>
                    <a:pt x="337238" y="630961"/>
                  </a:cubicBezTo>
                  <a:cubicBezTo>
                    <a:pt x="326359" y="639120"/>
                    <a:pt x="315481" y="641840"/>
                    <a:pt x="301883" y="647279"/>
                  </a:cubicBezTo>
                  <a:cubicBezTo>
                    <a:pt x="291004" y="649999"/>
                    <a:pt x="277405" y="652718"/>
                    <a:pt x="263807" y="652718"/>
                  </a:cubicBezTo>
                  <a:cubicBezTo>
                    <a:pt x="252929" y="652718"/>
                    <a:pt x="244770" y="649999"/>
                    <a:pt x="233891" y="649999"/>
                  </a:cubicBezTo>
                  <a:cubicBezTo>
                    <a:pt x="206694" y="649999"/>
                    <a:pt x="217573" y="652718"/>
                    <a:pt x="187657" y="652718"/>
                  </a:cubicBezTo>
                  <a:cubicBezTo>
                    <a:pt x="184937" y="660877"/>
                    <a:pt x="179498" y="666317"/>
                    <a:pt x="171339" y="669036"/>
                  </a:cubicBezTo>
                  <a:cubicBezTo>
                    <a:pt x="165900" y="671756"/>
                    <a:pt x="160460" y="671756"/>
                    <a:pt x="155021" y="671756"/>
                  </a:cubicBezTo>
                  <a:cubicBezTo>
                    <a:pt x="149581" y="671756"/>
                    <a:pt x="144142" y="674476"/>
                    <a:pt x="138703" y="674476"/>
                  </a:cubicBezTo>
                  <a:cubicBezTo>
                    <a:pt x="135983" y="674476"/>
                    <a:pt x="127824" y="677195"/>
                    <a:pt x="125105" y="677195"/>
                  </a:cubicBezTo>
                  <a:cubicBezTo>
                    <a:pt x="116946" y="677195"/>
                    <a:pt x="108787" y="671756"/>
                    <a:pt x="106067" y="671756"/>
                  </a:cubicBezTo>
                  <a:cubicBezTo>
                    <a:pt x="100628" y="669036"/>
                    <a:pt x="95188" y="663597"/>
                    <a:pt x="87029" y="658158"/>
                  </a:cubicBezTo>
                  <a:cubicBezTo>
                    <a:pt x="84310" y="655438"/>
                    <a:pt x="81590" y="655438"/>
                    <a:pt x="81590" y="652718"/>
                  </a:cubicBezTo>
                  <a:cubicBezTo>
                    <a:pt x="73431" y="652718"/>
                    <a:pt x="81590" y="652718"/>
                    <a:pt x="67992" y="652718"/>
                  </a:cubicBezTo>
                  <a:cubicBezTo>
                    <a:pt x="59833" y="652718"/>
                    <a:pt x="51674" y="652718"/>
                    <a:pt x="43515" y="652718"/>
                  </a:cubicBezTo>
                  <a:cubicBezTo>
                    <a:pt x="35356" y="652718"/>
                    <a:pt x="24477" y="652718"/>
                    <a:pt x="16318" y="647279"/>
                  </a:cubicBezTo>
                  <a:cubicBezTo>
                    <a:pt x="8159" y="644559"/>
                    <a:pt x="0" y="636401"/>
                    <a:pt x="0" y="630961"/>
                  </a:cubicBezTo>
                  <a:cubicBezTo>
                    <a:pt x="0" y="625522"/>
                    <a:pt x="0" y="622802"/>
                    <a:pt x="5439" y="620083"/>
                  </a:cubicBezTo>
                  <a:cubicBezTo>
                    <a:pt x="10879" y="617363"/>
                    <a:pt x="21758" y="614643"/>
                    <a:pt x="27197" y="611924"/>
                  </a:cubicBezTo>
                  <a:cubicBezTo>
                    <a:pt x="38076" y="609204"/>
                    <a:pt x="54393" y="609204"/>
                    <a:pt x="65272" y="609204"/>
                  </a:cubicBezTo>
                  <a:cubicBezTo>
                    <a:pt x="65272" y="601045"/>
                    <a:pt x="65272" y="592886"/>
                    <a:pt x="65272" y="584727"/>
                  </a:cubicBezTo>
                  <a:cubicBezTo>
                    <a:pt x="65272" y="541213"/>
                    <a:pt x="62552" y="500418"/>
                    <a:pt x="62552" y="456903"/>
                  </a:cubicBezTo>
                  <a:cubicBezTo>
                    <a:pt x="62552" y="440585"/>
                    <a:pt x="65272" y="397071"/>
                    <a:pt x="65272" y="337238"/>
                  </a:cubicBezTo>
                  <a:cubicBezTo>
                    <a:pt x="65272" y="293724"/>
                    <a:pt x="67992" y="247490"/>
                    <a:pt x="67992" y="203975"/>
                  </a:cubicBezTo>
                  <a:cubicBezTo>
                    <a:pt x="67992" y="179498"/>
                    <a:pt x="67992" y="149582"/>
                    <a:pt x="70712" y="119665"/>
                  </a:cubicBezTo>
                  <a:cubicBezTo>
                    <a:pt x="70712" y="103347"/>
                    <a:pt x="73431" y="84309"/>
                    <a:pt x="73431" y="67992"/>
                  </a:cubicBezTo>
                  <a:cubicBezTo>
                    <a:pt x="73431" y="67992"/>
                    <a:pt x="70712" y="67992"/>
                    <a:pt x="67992" y="67992"/>
                  </a:cubicBezTo>
                  <a:cubicBezTo>
                    <a:pt x="59833" y="67992"/>
                    <a:pt x="51674" y="67992"/>
                    <a:pt x="43515" y="67992"/>
                  </a:cubicBezTo>
                  <a:cubicBezTo>
                    <a:pt x="35356" y="67992"/>
                    <a:pt x="24477" y="67992"/>
                    <a:pt x="16318" y="62552"/>
                  </a:cubicBezTo>
                  <a:cubicBezTo>
                    <a:pt x="8159" y="59833"/>
                    <a:pt x="0" y="51674"/>
                    <a:pt x="0" y="46234"/>
                  </a:cubicBezTo>
                  <a:cubicBezTo>
                    <a:pt x="0" y="43515"/>
                    <a:pt x="0" y="38075"/>
                    <a:pt x="5439" y="35356"/>
                  </a:cubicBezTo>
                  <a:cubicBezTo>
                    <a:pt x="10879" y="32636"/>
                    <a:pt x="21758" y="29916"/>
                    <a:pt x="27197" y="27197"/>
                  </a:cubicBezTo>
                  <a:cubicBezTo>
                    <a:pt x="46234" y="24477"/>
                    <a:pt x="65272" y="21758"/>
                    <a:pt x="76151" y="21758"/>
                  </a:cubicBezTo>
                  <a:cubicBezTo>
                    <a:pt x="76151" y="19038"/>
                    <a:pt x="78871" y="16318"/>
                    <a:pt x="81590" y="13598"/>
                  </a:cubicBezTo>
                  <a:cubicBezTo>
                    <a:pt x="84310" y="10879"/>
                    <a:pt x="92469" y="5439"/>
                    <a:pt x="97908" y="5439"/>
                  </a:cubicBezTo>
                  <a:cubicBezTo>
                    <a:pt x="103347" y="2720"/>
                    <a:pt x="108787" y="0"/>
                    <a:pt x="114226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/>
            </a:p>
          </p:txBody>
        </p:sp>
        <p:sp>
          <p:nvSpPr>
            <p:cNvPr id="45" name="Freeform: Shape 44">
              <a:extLst>
                <a:ext uri="{FF2B5EF4-FFF2-40B4-BE49-F238E27FC236}">
                  <a16:creationId xmlns:a16="http://schemas.microsoft.com/office/drawing/2014/main" id="{70841B5E-00CD-4F84-848E-6459D72CA08D}"/>
                </a:ext>
              </a:extLst>
            </p:cNvPr>
            <p:cNvSpPr/>
            <p:nvPr/>
          </p:nvSpPr>
          <p:spPr>
            <a:xfrm>
              <a:off x="7310622" y="4197597"/>
              <a:ext cx="489539" cy="761503"/>
            </a:xfrm>
            <a:custGeom>
              <a:avLst/>
              <a:gdLst>
                <a:gd name="connsiteX0" fmla="*/ 433491 w 489538"/>
                <a:gd name="connsiteY0" fmla="*/ 651063 h 761503"/>
                <a:gd name="connsiteX1" fmla="*/ 438930 w 489538"/>
                <a:gd name="connsiteY1" fmla="*/ 661942 h 761503"/>
                <a:gd name="connsiteX2" fmla="*/ 425332 w 489538"/>
                <a:gd name="connsiteY2" fmla="*/ 683699 h 761503"/>
                <a:gd name="connsiteX3" fmla="*/ 400855 w 489538"/>
                <a:gd name="connsiteY3" fmla="*/ 691858 h 761503"/>
                <a:gd name="connsiteX4" fmla="*/ 343742 w 489538"/>
                <a:gd name="connsiteY4" fmla="*/ 700017 h 761503"/>
                <a:gd name="connsiteX5" fmla="*/ 316546 w 489538"/>
                <a:gd name="connsiteY5" fmla="*/ 705456 h 761503"/>
                <a:gd name="connsiteX6" fmla="*/ 275751 w 489538"/>
                <a:gd name="connsiteY6" fmla="*/ 705456 h 761503"/>
                <a:gd name="connsiteX7" fmla="*/ 264872 w 489538"/>
                <a:gd name="connsiteY7" fmla="*/ 708176 h 761503"/>
                <a:gd name="connsiteX8" fmla="*/ 253994 w 489538"/>
                <a:gd name="connsiteY8" fmla="*/ 708176 h 761503"/>
                <a:gd name="connsiteX9" fmla="*/ 240395 w 489538"/>
                <a:gd name="connsiteY9" fmla="*/ 719054 h 761503"/>
                <a:gd name="connsiteX10" fmla="*/ 224077 w 489538"/>
                <a:gd name="connsiteY10" fmla="*/ 721774 h 761503"/>
                <a:gd name="connsiteX11" fmla="*/ 205040 w 489538"/>
                <a:gd name="connsiteY11" fmla="*/ 724494 h 761503"/>
                <a:gd name="connsiteX12" fmla="*/ 191441 w 489538"/>
                <a:gd name="connsiteY12" fmla="*/ 727213 h 761503"/>
                <a:gd name="connsiteX13" fmla="*/ 169684 w 489538"/>
                <a:gd name="connsiteY13" fmla="*/ 721774 h 761503"/>
                <a:gd name="connsiteX14" fmla="*/ 150646 w 489538"/>
                <a:gd name="connsiteY14" fmla="*/ 708176 h 761503"/>
                <a:gd name="connsiteX15" fmla="*/ 139768 w 489538"/>
                <a:gd name="connsiteY15" fmla="*/ 708176 h 761503"/>
                <a:gd name="connsiteX16" fmla="*/ 120730 w 489538"/>
                <a:gd name="connsiteY16" fmla="*/ 708176 h 761503"/>
                <a:gd name="connsiteX17" fmla="*/ 98973 w 489538"/>
                <a:gd name="connsiteY17" fmla="*/ 708176 h 761503"/>
                <a:gd name="connsiteX18" fmla="*/ 74496 w 489538"/>
                <a:gd name="connsiteY18" fmla="*/ 702736 h 761503"/>
                <a:gd name="connsiteX19" fmla="*/ 58178 w 489538"/>
                <a:gd name="connsiteY19" fmla="*/ 683699 h 761503"/>
                <a:gd name="connsiteX20" fmla="*/ 63617 w 489538"/>
                <a:gd name="connsiteY20" fmla="*/ 675540 h 761503"/>
                <a:gd name="connsiteX21" fmla="*/ 85375 w 489538"/>
                <a:gd name="connsiteY21" fmla="*/ 667381 h 761503"/>
                <a:gd name="connsiteX22" fmla="*/ 128889 w 489538"/>
                <a:gd name="connsiteY22" fmla="*/ 661942 h 761503"/>
                <a:gd name="connsiteX23" fmla="*/ 128889 w 489538"/>
                <a:gd name="connsiteY23" fmla="*/ 602109 h 761503"/>
                <a:gd name="connsiteX24" fmla="*/ 126170 w 489538"/>
                <a:gd name="connsiteY24" fmla="*/ 523239 h 761503"/>
                <a:gd name="connsiteX25" fmla="*/ 126170 w 489538"/>
                <a:gd name="connsiteY25" fmla="*/ 468846 h 761503"/>
                <a:gd name="connsiteX26" fmla="*/ 123450 w 489538"/>
                <a:gd name="connsiteY26" fmla="*/ 409014 h 761503"/>
                <a:gd name="connsiteX27" fmla="*/ 123450 w 489538"/>
                <a:gd name="connsiteY27" fmla="*/ 384537 h 761503"/>
                <a:gd name="connsiteX28" fmla="*/ 126170 w 489538"/>
                <a:gd name="connsiteY28" fmla="*/ 349181 h 761503"/>
                <a:gd name="connsiteX29" fmla="*/ 126170 w 489538"/>
                <a:gd name="connsiteY29" fmla="*/ 324704 h 761503"/>
                <a:gd name="connsiteX30" fmla="*/ 128889 w 489538"/>
                <a:gd name="connsiteY30" fmla="*/ 292068 h 761503"/>
                <a:gd name="connsiteX31" fmla="*/ 134329 w 489538"/>
                <a:gd name="connsiteY31" fmla="*/ 234956 h 761503"/>
                <a:gd name="connsiteX32" fmla="*/ 134329 w 489538"/>
                <a:gd name="connsiteY32" fmla="*/ 172404 h 761503"/>
                <a:gd name="connsiteX33" fmla="*/ 137048 w 489538"/>
                <a:gd name="connsiteY33" fmla="*/ 123450 h 761503"/>
                <a:gd name="connsiteX34" fmla="*/ 123450 w 489538"/>
                <a:gd name="connsiteY34" fmla="*/ 123450 h 761503"/>
                <a:gd name="connsiteX35" fmla="*/ 101693 w 489538"/>
                <a:gd name="connsiteY35" fmla="*/ 123450 h 761503"/>
                <a:gd name="connsiteX36" fmla="*/ 77216 w 489538"/>
                <a:gd name="connsiteY36" fmla="*/ 118011 h 761503"/>
                <a:gd name="connsiteX37" fmla="*/ 60898 w 489538"/>
                <a:gd name="connsiteY37" fmla="*/ 98973 h 761503"/>
                <a:gd name="connsiteX38" fmla="*/ 66337 w 489538"/>
                <a:gd name="connsiteY38" fmla="*/ 90814 h 761503"/>
                <a:gd name="connsiteX39" fmla="*/ 88094 w 489538"/>
                <a:gd name="connsiteY39" fmla="*/ 82655 h 761503"/>
                <a:gd name="connsiteX40" fmla="*/ 145207 w 489538"/>
                <a:gd name="connsiteY40" fmla="*/ 77216 h 761503"/>
                <a:gd name="connsiteX41" fmla="*/ 145207 w 489538"/>
                <a:gd name="connsiteY41" fmla="*/ 77216 h 761503"/>
                <a:gd name="connsiteX42" fmla="*/ 153366 w 489538"/>
                <a:gd name="connsiteY42" fmla="*/ 69057 h 761503"/>
                <a:gd name="connsiteX43" fmla="*/ 177843 w 489538"/>
                <a:gd name="connsiteY43" fmla="*/ 60898 h 761503"/>
                <a:gd name="connsiteX44" fmla="*/ 196881 w 489538"/>
                <a:gd name="connsiteY44" fmla="*/ 58178 h 761503"/>
                <a:gd name="connsiteX45" fmla="*/ 205040 w 489538"/>
                <a:gd name="connsiteY45" fmla="*/ 58178 h 761503"/>
                <a:gd name="connsiteX46" fmla="*/ 215919 w 489538"/>
                <a:gd name="connsiteY46" fmla="*/ 63617 h 761503"/>
                <a:gd name="connsiteX47" fmla="*/ 229517 w 489538"/>
                <a:gd name="connsiteY47" fmla="*/ 69057 h 761503"/>
                <a:gd name="connsiteX48" fmla="*/ 256713 w 489538"/>
                <a:gd name="connsiteY48" fmla="*/ 77216 h 761503"/>
                <a:gd name="connsiteX49" fmla="*/ 264872 w 489538"/>
                <a:gd name="connsiteY49" fmla="*/ 77216 h 761503"/>
                <a:gd name="connsiteX50" fmla="*/ 281190 w 489538"/>
                <a:gd name="connsiteY50" fmla="*/ 77216 h 761503"/>
                <a:gd name="connsiteX51" fmla="*/ 330144 w 489538"/>
                <a:gd name="connsiteY51" fmla="*/ 77216 h 761503"/>
                <a:gd name="connsiteX52" fmla="*/ 357341 w 489538"/>
                <a:gd name="connsiteY52" fmla="*/ 79935 h 761503"/>
                <a:gd name="connsiteX53" fmla="*/ 387257 w 489538"/>
                <a:gd name="connsiteY53" fmla="*/ 82655 h 761503"/>
                <a:gd name="connsiteX54" fmla="*/ 406295 w 489538"/>
                <a:gd name="connsiteY54" fmla="*/ 85375 h 761503"/>
                <a:gd name="connsiteX55" fmla="*/ 417173 w 489538"/>
                <a:gd name="connsiteY55" fmla="*/ 79935 h 761503"/>
                <a:gd name="connsiteX56" fmla="*/ 425332 w 489538"/>
                <a:gd name="connsiteY56" fmla="*/ 85375 h 761503"/>
                <a:gd name="connsiteX57" fmla="*/ 433491 w 489538"/>
                <a:gd name="connsiteY57" fmla="*/ 104412 h 761503"/>
                <a:gd name="connsiteX58" fmla="*/ 436211 w 489538"/>
                <a:gd name="connsiteY58" fmla="*/ 137048 h 761503"/>
                <a:gd name="connsiteX59" fmla="*/ 438930 w 489538"/>
                <a:gd name="connsiteY59" fmla="*/ 183282 h 761503"/>
                <a:gd name="connsiteX60" fmla="*/ 422612 w 489538"/>
                <a:gd name="connsiteY60" fmla="*/ 218638 h 761503"/>
                <a:gd name="connsiteX61" fmla="*/ 406295 w 489538"/>
                <a:gd name="connsiteY61" fmla="*/ 213198 h 761503"/>
                <a:gd name="connsiteX62" fmla="*/ 398136 w 489538"/>
                <a:gd name="connsiteY62" fmla="*/ 196881 h 761503"/>
                <a:gd name="connsiteX63" fmla="*/ 395416 w 489538"/>
                <a:gd name="connsiteY63" fmla="*/ 175123 h 761503"/>
                <a:gd name="connsiteX64" fmla="*/ 395416 w 489538"/>
                <a:gd name="connsiteY64" fmla="*/ 153366 h 761503"/>
                <a:gd name="connsiteX65" fmla="*/ 395416 w 489538"/>
                <a:gd name="connsiteY65" fmla="*/ 126170 h 761503"/>
                <a:gd name="connsiteX66" fmla="*/ 370939 w 489538"/>
                <a:gd name="connsiteY66" fmla="*/ 128889 h 761503"/>
                <a:gd name="connsiteX67" fmla="*/ 338303 w 489538"/>
                <a:gd name="connsiteY67" fmla="*/ 131609 h 761503"/>
                <a:gd name="connsiteX68" fmla="*/ 286629 w 489538"/>
                <a:gd name="connsiteY68" fmla="*/ 134328 h 761503"/>
                <a:gd name="connsiteX69" fmla="*/ 273031 w 489538"/>
                <a:gd name="connsiteY69" fmla="*/ 137048 h 761503"/>
                <a:gd name="connsiteX70" fmla="*/ 262153 w 489538"/>
                <a:gd name="connsiteY70" fmla="*/ 142487 h 761503"/>
                <a:gd name="connsiteX71" fmla="*/ 259433 w 489538"/>
                <a:gd name="connsiteY71" fmla="*/ 153366 h 761503"/>
                <a:gd name="connsiteX72" fmla="*/ 262153 w 489538"/>
                <a:gd name="connsiteY72" fmla="*/ 166964 h 761503"/>
                <a:gd name="connsiteX73" fmla="*/ 262153 w 489538"/>
                <a:gd name="connsiteY73" fmla="*/ 196881 h 761503"/>
                <a:gd name="connsiteX74" fmla="*/ 262153 w 489538"/>
                <a:gd name="connsiteY74" fmla="*/ 215918 h 761503"/>
                <a:gd name="connsiteX75" fmla="*/ 262153 w 489538"/>
                <a:gd name="connsiteY75" fmla="*/ 251274 h 761503"/>
                <a:gd name="connsiteX76" fmla="*/ 259433 w 489538"/>
                <a:gd name="connsiteY76" fmla="*/ 278470 h 761503"/>
                <a:gd name="connsiteX77" fmla="*/ 259433 w 489538"/>
                <a:gd name="connsiteY77" fmla="*/ 308386 h 761503"/>
                <a:gd name="connsiteX78" fmla="*/ 259433 w 489538"/>
                <a:gd name="connsiteY78" fmla="*/ 321985 h 761503"/>
                <a:gd name="connsiteX79" fmla="*/ 259433 w 489538"/>
                <a:gd name="connsiteY79" fmla="*/ 332863 h 761503"/>
                <a:gd name="connsiteX80" fmla="*/ 267592 w 489538"/>
                <a:gd name="connsiteY80" fmla="*/ 335583 h 761503"/>
                <a:gd name="connsiteX81" fmla="*/ 281190 w 489538"/>
                <a:gd name="connsiteY81" fmla="*/ 335583 h 761503"/>
                <a:gd name="connsiteX82" fmla="*/ 327424 w 489538"/>
                <a:gd name="connsiteY82" fmla="*/ 338303 h 761503"/>
                <a:gd name="connsiteX83" fmla="*/ 351901 w 489538"/>
                <a:gd name="connsiteY83" fmla="*/ 341022 h 761503"/>
                <a:gd name="connsiteX84" fmla="*/ 351901 w 489538"/>
                <a:gd name="connsiteY84" fmla="*/ 335583 h 761503"/>
                <a:gd name="connsiteX85" fmla="*/ 351901 w 489538"/>
                <a:gd name="connsiteY85" fmla="*/ 313826 h 761503"/>
                <a:gd name="connsiteX86" fmla="*/ 357341 w 489538"/>
                <a:gd name="connsiteY86" fmla="*/ 289349 h 761503"/>
                <a:gd name="connsiteX87" fmla="*/ 373658 w 489538"/>
                <a:gd name="connsiteY87" fmla="*/ 273031 h 761503"/>
                <a:gd name="connsiteX88" fmla="*/ 381817 w 489538"/>
                <a:gd name="connsiteY88" fmla="*/ 278470 h 761503"/>
                <a:gd name="connsiteX89" fmla="*/ 389977 w 489538"/>
                <a:gd name="connsiteY89" fmla="*/ 300228 h 761503"/>
                <a:gd name="connsiteX90" fmla="*/ 395416 w 489538"/>
                <a:gd name="connsiteY90" fmla="*/ 351901 h 761503"/>
                <a:gd name="connsiteX91" fmla="*/ 398136 w 489538"/>
                <a:gd name="connsiteY91" fmla="*/ 409014 h 761503"/>
                <a:gd name="connsiteX92" fmla="*/ 381817 w 489538"/>
                <a:gd name="connsiteY92" fmla="*/ 444369 h 761503"/>
                <a:gd name="connsiteX93" fmla="*/ 365500 w 489538"/>
                <a:gd name="connsiteY93" fmla="*/ 438930 h 761503"/>
                <a:gd name="connsiteX94" fmla="*/ 357341 w 489538"/>
                <a:gd name="connsiteY94" fmla="*/ 422612 h 761503"/>
                <a:gd name="connsiteX95" fmla="*/ 354621 w 489538"/>
                <a:gd name="connsiteY95" fmla="*/ 400855 h 761503"/>
                <a:gd name="connsiteX96" fmla="*/ 354621 w 489538"/>
                <a:gd name="connsiteY96" fmla="*/ 381817 h 761503"/>
                <a:gd name="connsiteX97" fmla="*/ 270312 w 489538"/>
                <a:gd name="connsiteY97" fmla="*/ 381817 h 761503"/>
                <a:gd name="connsiteX98" fmla="*/ 256713 w 489538"/>
                <a:gd name="connsiteY98" fmla="*/ 395415 h 761503"/>
                <a:gd name="connsiteX99" fmla="*/ 253994 w 489538"/>
                <a:gd name="connsiteY99" fmla="*/ 422612 h 761503"/>
                <a:gd name="connsiteX100" fmla="*/ 253994 w 489538"/>
                <a:gd name="connsiteY100" fmla="*/ 433490 h 761503"/>
                <a:gd name="connsiteX101" fmla="*/ 253994 w 489538"/>
                <a:gd name="connsiteY101" fmla="*/ 449809 h 761503"/>
                <a:gd name="connsiteX102" fmla="*/ 256713 w 489538"/>
                <a:gd name="connsiteY102" fmla="*/ 474285 h 761503"/>
                <a:gd name="connsiteX103" fmla="*/ 256713 w 489538"/>
                <a:gd name="connsiteY103" fmla="*/ 496043 h 761503"/>
                <a:gd name="connsiteX104" fmla="*/ 259433 w 489538"/>
                <a:gd name="connsiteY104" fmla="*/ 534118 h 761503"/>
                <a:gd name="connsiteX105" fmla="*/ 259433 w 489538"/>
                <a:gd name="connsiteY105" fmla="*/ 591231 h 761503"/>
                <a:gd name="connsiteX106" fmla="*/ 262153 w 489538"/>
                <a:gd name="connsiteY106" fmla="*/ 618427 h 761503"/>
                <a:gd name="connsiteX107" fmla="*/ 267592 w 489538"/>
                <a:gd name="connsiteY107" fmla="*/ 648343 h 761503"/>
                <a:gd name="connsiteX108" fmla="*/ 292069 w 489538"/>
                <a:gd name="connsiteY108" fmla="*/ 651063 h 761503"/>
                <a:gd name="connsiteX109" fmla="*/ 327424 w 489538"/>
                <a:gd name="connsiteY109" fmla="*/ 651063 h 761503"/>
                <a:gd name="connsiteX110" fmla="*/ 362780 w 489538"/>
                <a:gd name="connsiteY110" fmla="*/ 653783 h 761503"/>
                <a:gd name="connsiteX111" fmla="*/ 395416 w 489538"/>
                <a:gd name="connsiteY111" fmla="*/ 648343 h 761503"/>
                <a:gd name="connsiteX112" fmla="*/ 395416 w 489538"/>
                <a:gd name="connsiteY112" fmla="*/ 618427 h 761503"/>
                <a:gd name="connsiteX113" fmla="*/ 395416 w 489538"/>
                <a:gd name="connsiteY113" fmla="*/ 596670 h 761503"/>
                <a:gd name="connsiteX114" fmla="*/ 398136 w 489538"/>
                <a:gd name="connsiteY114" fmla="*/ 574913 h 761503"/>
                <a:gd name="connsiteX115" fmla="*/ 406295 w 489538"/>
                <a:gd name="connsiteY115" fmla="*/ 558595 h 761503"/>
                <a:gd name="connsiteX116" fmla="*/ 422612 w 489538"/>
                <a:gd name="connsiteY116" fmla="*/ 553155 h 761503"/>
                <a:gd name="connsiteX117" fmla="*/ 438930 w 489538"/>
                <a:gd name="connsiteY117" fmla="*/ 588511 h 761503"/>
                <a:gd name="connsiteX118" fmla="*/ 436211 w 489538"/>
                <a:gd name="connsiteY118" fmla="*/ 645624 h 761503"/>
                <a:gd name="connsiteX119" fmla="*/ 433491 w 489538"/>
                <a:gd name="connsiteY119" fmla="*/ 651063 h 761503"/>
                <a:gd name="connsiteX120" fmla="*/ 433491 w 489538"/>
                <a:gd name="connsiteY120" fmla="*/ 651063 h 761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</a:cxnLst>
              <a:rect l="l" t="t" r="r" b="b"/>
              <a:pathLst>
                <a:path w="489538" h="761503">
                  <a:moveTo>
                    <a:pt x="433491" y="651063"/>
                  </a:moveTo>
                  <a:cubicBezTo>
                    <a:pt x="436211" y="653783"/>
                    <a:pt x="438930" y="656502"/>
                    <a:pt x="438930" y="661942"/>
                  </a:cubicBezTo>
                  <a:cubicBezTo>
                    <a:pt x="438930" y="670101"/>
                    <a:pt x="433491" y="678259"/>
                    <a:pt x="425332" y="683699"/>
                  </a:cubicBezTo>
                  <a:cubicBezTo>
                    <a:pt x="417173" y="689138"/>
                    <a:pt x="409014" y="689138"/>
                    <a:pt x="400855" y="691858"/>
                  </a:cubicBezTo>
                  <a:cubicBezTo>
                    <a:pt x="381817" y="694578"/>
                    <a:pt x="362780" y="694578"/>
                    <a:pt x="343742" y="700017"/>
                  </a:cubicBezTo>
                  <a:cubicBezTo>
                    <a:pt x="335583" y="702736"/>
                    <a:pt x="324705" y="702736"/>
                    <a:pt x="316546" y="705456"/>
                  </a:cubicBezTo>
                  <a:cubicBezTo>
                    <a:pt x="308387" y="705456"/>
                    <a:pt x="289349" y="705456"/>
                    <a:pt x="275751" y="705456"/>
                  </a:cubicBezTo>
                  <a:cubicBezTo>
                    <a:pt x="270312" y="705456"/>
                    <a:pt x="267592" y="708176"/>
                    <a:pt x="264872" y="708176"/>
                  </a:cubicBezTo>
                  <a:cubicBezTo>
                    <a:pt x="264872" y="708176"/>
                    <a:pt x="259433" y="708176"/>
                    <a:pt x="253994" y="708176"/>
                  </a:cubicBezTo>
                  <a:cubicBezTo>
                    <a:pt x="251274" y="713615"/>
                    <a:pt x="245835" y="716335"/>
                    <a:pt x="240395" y="719054"/>
                  </a:cubicBezTo>
                  <a:cubicBezTo>
                    <a:pt x="234956" y="721774"/>
                    <a:pt x="229517" y="721774"/>
                    <a:pt x="224077" y="721774"/>
                  </a:cubicBezTo>
                  <a:cubicBezTo>
                    <a:pt x="218638" y="721774"/>
                    <a:pt x="213199" y="724494"/>
                    <a:pt x="205040" y="724494"/>
                  </a:cubicBezTo>
                  <a:cubicBezTo>
                    <a:pt x="202320" y="724494"/>
                    <a:pt x="194161" y="727213"/>
                    <a:pt x="191441" y="727213"/>
                  </a:cubicBezTo>
                  <a:cubicBezTo>
                    <a:pt x="183282" y="727213"/>
                    <a:pt x="172404" y="721774"/>
                    <a:pt x="169684" y="721774"/>
                  </a:cubicBezTo>
                  <a:cubicBezTo>
                    <a:pt x="164245" y="719054"/>
                    <a:pt x="156086" y="713615"/>
                    <a:pt x="150646" y="708176"/>
                  </a:cubicBezTo>
                  <a:cubicBezTo>
                    <a:pt x="145207" y="708176"/>
                    <a:pt x="139768" y="708176"/>
                    <a:pt x="139768" y="708176"/>
                  </a:cubicBezTo>
                  <a:cubicBezTo>
                    <a:pt x="126170" y="708176"/>
                    <a:pt x="137048" y="708176"/>
                    <a:pt x="120730" y="708176"/>
                  </a:cubicBezTo>
                  <a:cubicBezTo>
                    <a:pt x="112571" y="708176"/>
                    <a:pt x="104412" y="708176"/>
                    <a:pt x="98973" y="708176"/>
                  </a:cubicBezTo>
                  <a:cubicBezTo>
                    <a:pt x="90814" y="708176"/>
                    <a:pt x="79936" y="708176"/>
                    <a:pt x="74496" y="702736"/>
                  </a:cubicBezTo>
                  <a:cubicBezTo>
                    <a:pt x="66337" y="700017"/>
                    <a:pt x="58178" y="689138"/>
                    <a:pt x="58178" y="683699"/>
                  </a:cubicBezTo>
                  <a:cubicBezTo>
                    <a:pt x="58178" y="680979"/>
                    <a:pt x="58178" y="678259"/>
                    <a:pt x="63617" y="675540"/>
                  </a:cubicBezTo>
                  <a:cubicBezTo>
                    <a:pt x="69057" y="672820"/>
                    <a:pt x="77216" y="670101"/>
                    <a:pt x="85375" y="667381"/>
                  </a:cubicBezTo>
                  <a:cubicBezTo>
                    <a:pt x="98973" y="664661"/>
                    <a:pt x="115291" y="664661"/>
                    <a:pt x="128889" y="661942"/>
                  </a:cubicBezTo>
                  <a:cubicBezTo>
                    <a:pt x="128889" y="645624"/>
                    <a:pt x="128889" y="623866"/>
                    <a:pt x="128889" y="602109"/>
                  </a:cubicBezTo>
                  <a:cubicBezTo>
                    <a:pt x="128889" y="566754"/>
                    <a:pt x="128889" y="531398"/>
                    <a:pt x="126170" y="523239"/>
                  </a:cubicBezTo>
                  <a:cubicBezTo>
                    <a:pt x="126170" y="517800"/>
                    <a:pt x="126170" y="487884"/>
                    <a:pt x="126170" y="468846"/>
                  </a:cubicBezTo>
                  <a:cubicBezTo>
                    <a:pt x="126170" y="449809"/>
                    <a:pt x="123450" y="430771"/>
                    <a:pt x="123450" y="409014"/>
                  </a:cubicBezTo>
                  <a:cubicBezTo>
                    <a:pt x="123450" y="400855"/>
                    <a:pt x="123450" y="392696"/>
                    <a:pt x="123450" y="384537"/>
                  </a:cubicBezTo>
                  <a:cubicBezTo>
                    <a:pt x="123450" y="373658"/>
                    <a:pt x="126170" y="360060"/>
                    <a:pt x="126170" y="349181"/>
                  </a:cubicBezTo>
                  <a:cubicBezTo>
                    <a:pt x="126170" y="341022"/>
                    <a:pt x="126170" y="332863"/>
                    <a:pt x="126170" y="324704"/>
                  </a:cubicBezTo>
                  <a:cubicBezTo>
                    <a:pt x="126170" y="313826"/>
                    <a:pt x="126170" y="302947"/>
                    <a:pt x="128889" y="292068"/>
                  </a:cubicBezTo>
                  <a:cubicBezTo>
                    <a:pt x="131609" y="273031"/>
                    <a:pt x="134329" y="253993"/>
                    <a:pt x="134329" y="234956"/>
                  </a:cubicBezTo>
                  <a:cubicBezTo>
                    <a:pt x="134329" y="213198"/>
                    <a:pt x="134329" y="191441"/>
                    <a:pt x="134329" y="172404"/>
                  </a:cubicBezTo>
                  <a:cubicBezTo>
                    <a:pt x="134329" y="156086"/>
                    <a:pt x="134329" y="139768"/>
                    <a:pt x="137048" y="123450"/>
                  </a:cubicBezTo>
                  <a:cubicBezTo>
                    <a:pt x="131609" y="123450"/>
                    <a:pt x="134329" y="123450"/>
                    <a:pt x="123450" y="123450"/>
                  </a:cubicBezTo>
                  <a:cubicBezTo>
                    <a:pt x="115291" y="123450"/>
                    <a:pt x="107132" y="123450"/>
                    <a:pt x="101693" y="123450"/>
                  </a:cubicBezTo>
                  <a:cubicBezTo>
                    <a:pt x="93534" y="123450"/>
                    <a:pt x="82655" y="123450"/>
                    <a:pt x="77216" y="118011"/>
                  </a:cubicBezTo>
                  <a:cubicBezTo>
                    <a:pt x="69057" y="115291"/>
                    <a:pt x="60898" y="101693"/>
                    <a:pt x="60898" y="98973"/>
                  </a:cubicBezTo>
                  <a:cubicBezTo>
                    <a:pt x="60898" y="96253"/>
                    <a:pt x="60898" y="93534"/>
                    <a:pt x="66337" y="90814"/>
                  </a:cubicBezTo>
                  <a:cubicBezTo>
                    <a:pt x="71777" y="88094"/>
                    <a:pt x="79936" y="85375"/>
                    <a:pt x="88094" y="82655"/>
                  </a:cubicBezTo>
                  <a:cubicBezTo>
                    <a:pt x="104412" y="79935"/>
                    <a:pt x="131609" y="77216"/>
                    <a:pt x="145207" y="77216"/>
                  </a:cubicBezTo>
                  <a:cubicBezTo>
                    <a:pt x="145207" y="77216"/>
                    <a:pt x="145207" y="77216"/>
                    <a:pt x="145207" y="77216"/>
                  </a:cubicBezTo>
                  <a:cubicBezTo>
                    <a:pt x="145207" y="74496"/>
                    <a:pt x="150646" y="71776"/>
                    <a:pt x="153366" y="69057"/>
                  </a:cubicBezTo>
                  <a:cubicBezTo>
                    <a:pt x="161525" y="63617"/>
                    <a:pt x="169684" y="63617"/>
                    <a:pt x="177843" y="60898"/>
                  </a:cubicBezTo>
                  <a:cubicBezTo>
                    <a:pt x="183282" y="58178"/>
                    <a:pt x="191441" y="58178"/>
                    <a:pt x="196881" y="58178"/>
                  </a:cubicBezTo>
                  <a:cubicBezTo>
                    <a:pt x="199600" y="58178"/>
                    <a:pt x="202320" y="58178"/>
                    <a:pt x="205040" y="58178"/>
                  </a:cubicBezTo>
                  <a:cubicBezTo>
                    <a:pt x="207759" y="58178"/>
                    <a:pt x="213199" y="60898"/>
                    <a:pt x="215919" y="63617"/>
                  </a:cubicBezTo>
                  <a:cubicBezTo>
                    <a:pt x="221358" y="66337"/>
                    <a:pt x="224077" y="66337"/>
                    <a:pt x="229517" y="69057"/>
                  </a:cubicBezTo>
                  <a:cubicBezTo>
                    <a:pt x="237675" y="71776"/>
                    <a:pt x="245835" y="77216"/>
                    <a:pt x="256713" y="77216"/>
                  </a:cubicBezTo>
                  <a:cubicBezTo>
                    <a:pt x="259433" y="77216"/>
                    <a:pt x="262153" y="77216"/>
                    <a:pt x="264872" y="77216"/>
                  </a:cubicBezTo>
                  <a:cubicBezTo>
                    <a:pt x="270312" y="77216"/>
                    <a:pt x="275751" y="77216"/>
                    <a:pt x="281190" y="77216"/>
                  </a:cubicBezTo>
                  <a:cubicBezTo>
                    <a:pt x="292069" y="77216"/>
                    <a:pt x="321985" y="77216"/>
                    <a:pt x="330144" y="77216"/>
                  </a:cubicBezTo>
                  <a:cubicBezTo>
                    <a:pt x="338303" y="77216"/>
                    <a:pt x="349182" y="77216"/>
                    <a:pt x="357341" y="79935"/>
                  </a:cubicBezTo>
                  <a:cubicBezTo>
                    <a:pt x="368219" y="79935"/>
                    <a:pt x="379098" y="82655"/>
                    <a:pt x="387257" y="82655"/>
                  </a:cubicBezTo>
                  <a:cubicBezTo>
                    <a:pt x="392696" y="82655"/>
                    <a:pt x="400855" y="85375"/>
                    <a:pt x="406295" y="85375"/>
                  </a:cubicBezTo>
                  <a:cubicBezTo>
                    <a:pt x="409014" y="82655"/>
                    <a:pt x="414453" y="79935"/>
                    <a:pt x="417173" y="79935"/>
                  </a:cubicBezTo>
                  <a:cubicBezTo>
                    <a:pt x="419893" y="79935"/>
                    <a:pt x="422612" y="79935"/>
                    <a:pt x="425332" y="85375"/>
                  </a:cubicBezTo>
                  <a:cubicBezTo>
                    <a:pt x="428052" y="90814"/>
                    <a:pt x="433491" y="98973"/>
                    <a:pt x="433491" y="104412"/>
                  </a:cubicBezTo>
                  <a:cubicBezTo>
                    <a:pt x="436211" y="131609"/>
                    <a:pt x="436211" y="120730"/>
                    <a:pt x="436211" y="137048"/>
                  </a:cubicBezTo>
                  <a:cubicBezTo>
                    <a:pt x="438930" y="158805"/>
                    <a:pt x="438930" y="158805"/>
                    <a:pt x="438930" y="183282"/>
                  </a:cubicBezTo>
                  <a:cubicBezTo>
                    <a:pt x="438930" y="194161"/>
                    <a:pt x="438930" y="218638"/>
                    <a:pt x="422612" y="218638"/>
                  </a:cubicBezTo>
                  <a:cubicBezTo>
                    <a:pt x="414453" y="218638"/>
                    <a:pt x="411734" y="215918"/>
                    <a:pt x="406295" y="213198"/>
                  </a:cubicBezTo>
                  <a:cubicBezTo>
                    <a:pt x="400855" y="210479"/>
                    <a:pt x="398136" y="202320"/>
                    <a:pt x="398136" y="196881"/>
                  </a:cubicBezTo>
                  <a:cubicBezTo>
                    <a:pt x="395416" y="188722"/>
                    <a:pt x="395416" y="183282"/>
                    <a:pt x="395416" y="175123"/>
                  </a:cubicBezTo>
                  <a:cubicBezTo>
                    <a:pt x="395416" y="169684"/>
                    <a:pt x="395416" y="164245"/>
                    <a:pt x="395416" y="153366"/>
                  </a:cubicBezTo>
                  <a:cubicBezTo>
                    <a:pt x="395416" y="145207"/>
                    <a:pt x="395416" y="134328"/>
                    <a:pt x="395416" y="126170"/>
                  </a:cubicBezTo>
                  <a:cubicBezTo>
                    <a:pt x="387257" y="128889"/>
                    <a:pt x="379098" y="128889"/>
                    <a:pt x="370939" y="128889"/>
                  </a:cubicBezTo>
                  <a:cubicBezTo>
                    <a:pt x="360060" y="128889"/>
                    <a:pt x="349182" y="128889"/>
                    <a:pt x="338303" y="131609"/>
                  </a:cubicBezTo>
                  <a:cubicBezTo>
                    <a:pt x="327424" y="131609"/>
                    <a:pt x="319265" y="134328"/>
                    <a:pt x="286629" y="134328"/>
                  </a:cubicBezTo>
                  <a:cubicBezTo>
                    <a:pt x="281190" y="134328"/>
                    <a:pt x="278470" y="134328"/>
                    <a:pt x="273031" y="137048"/>
                  </a:cubicBezTo>
                  <a:cubicBezTo>
                    <a:pt x="270312" y="137048"/>
                    <a:pt x="264872" y="137048"/>
                    <a:pt x="262153" y="142487"/>
                  </a:cubicBezTo>
                  <a:cubicBezTo>
                    <a:pt x="259433" y="145207"/>
                    <a:pt x="259433" y="150647"/>
                    <a:pt x="259433" y="153366"/>
                  </a:cubicBezTo>
                  <a:cubicBezTo>
                    <a:pt x="259433" y="158805"/>
                    <a:pt x="259433" y="164245"/>
                    <a:pt x="262153" y="166964"/>
                  </a:cubicBezTo>
                  <a:cubicBezTo>
                    <a:pt x="262153" y="177843"/>
                    <a:pt x="262153" y="186002"/>
                    <a:pt x="262153" y="196881"/>
                  </a:cubicBezTo>
                  <a:cubicBezTo>
                    <a:pt x="262153" y="202320"/>
                    <a:pt x="262153" y="210479"/>
                    <a:pt x="262153" y="215918"/>
                  </a:cubicBezTo>
                  <a:cubicBezTo>
                    <a:pt x="262153" y="229516"/>
                    <a:pt x="262153" y="240395"/>
                    <a:pt x="262153" y="251274"/>
                  </a:cubicBezTo>
                  <a:cubicBezTo>
                    <a:pt x="262153" y="259433"/>
                    <a:pt x="259433" y="270311"/>
                    <a:pt x="259433" y="278470"/>
                  </a:cubicBezTo>
                  <a:cubicBezTo>
                    <a:pt x="259433" y="289349"/>
                    <a:pt x="259433" y="297508"/>
                    <a:pt x="259433" y="308386"/>
                  </a:cubicBezTo>
                  <a:cubicBezTo>
                    <a:pt x="259433" y="313826"/>
                    <a:pt x="259433" y="319265"/>
                    <a:pt x="259433" y="321985"/>
                  </a:cubicBezTo>
                  <a:cubicBezTo>
                    <a:pt x="259433" y="324704"/>
                    <a:pt x="259433" y="330144"/>
                    <a:pt x="259433" y="332863"/>
                  </a:cubicBezTo>
                  <a:cubicBezTo>
                    <a:pt x="262153" y="335583"/>
                    <a:pt x="264872" y="335583"/>
                    <a:pt x="267592" y="335583"/>
                  </a:cubicBezTo>
                  <a:cubicBezTo>
                    <a:pt x="273031" y="335583"/>
                    <a:pt x="275751" y="335583"/>
                    <a:pt x="281190" y="335583"/>
                  </a:cubicBezTo>
                  <a:cubicBezTo>
                    <a:pt x="311107" y="335583"/>
                    <a:pt x="319265" y="335583"/>
                    <a:pt x="327424" y="338303"/>
                  </a:cubicBezTo>
                  <a:cubicBezTo>
                    <a:pt x="335583" y="341022"/>
                    <a:pt x="343742" y="341022"/>
                    <a:pt x="351901" y="341022"/>
                  </a:cubicBezTo>
                  <a:cubicBezTo>
                    <a:pt x="351901" y="338303"/>
                    <a:pt x="351901" y="338303"/>
                    <a:pt x="351901" y="335583"/>
                  </a:cubicBezTo>
                  <a:cubicBezTo>
                    <a:pt x="351901" y="327424"/>
                    <a:pt x="351901" y="319265"/>
                    <a:pt x="351901" y="313826"/>
                  </a:cubicBezTo>
                  <a:cubicBezTo>
                    <a:pt x="351901" y="305667"/>
                    <a:pt x="351901" y="294788"/>
                    <a:pt x="357341" y="289349"/>
                  </a:cubicBezTo>
                  <a:cubicBezTo>
                    <a:pt x="360060" y="281190"/>
                    <a:pt x="368219" y="273031"/>
                    <a:pt x="373658" y="273031"/>
                  </a:cubicBezTo>
                  <a:cubicBezTo>
                    <a:pt x="376378" y="273031"/>
                    <a:pt x="379098" y="273031"/>
                    <a:pt x="381817" y="278470"/>
                  </a:cubicBezTo>
                  <a:cubicBezTo>
                    <a:pt x="384537" y="283909"/>
                    <a:pt x="387257" y="292068"/>
                    <a:pt x="389977" y="300228"/>
                  </a:cubicBezTo>
                  <a:cubicBezTo>
                    <a:pt x="392696" y="316545"/>
                    <a:pt x="392696" y="335583"/>
                    <a:pt x="395416" y="351901"/>
                  </a:cubicBezTo>
                  <a:cubicBezTo>
                    <a:pt x="398136" y="373658"/>
                    <a:pt x="398136" y="384537"/>
                    <a:pt x="398136" y="409014"/>
                  </a:cubicBezTo>
                  <a:cubicBezTo>
                    <a:pt x="398136" y="422612"/>
                    <a:pt x="398136" y="444369"/>
                    <a:pt x="381817" y="444369"/>
                  </a:cubicBezTo>
                  <a:cubicBezTo>
                    <a:pt x="373658" y="444369"/>
                    <a:pt x="370939" y="441650"/>
                    <a:pt x="365500" y="438930"/>
                  </a:cubicBezTo>
                  <a:cubicBezTo>
                    <a:pt x="360060" y="436210"/>
                    <a:pt x="357341" y="428051"/>
                    <a:pt x="357341" y="422612"/>
                  </a:cubicBezTo>
                  <a:cubicBezTo>
                    <a:pt x="354621" y="414453"/>
                    <a:pt x="354621" y="409014"/>
                    <a:pt x="354621" y="400855"/>
                  </a:cubicBezTo>
                  <a:cubicBezTo>
                    <a:pt x="354621" y="395415"/>
                    <a:pt x="354621" y="389976"/>
                    <a:pt x="354621" y="381817"/>
                  </a:cubicBezTo>
                  <a:cubicBezTo>
                    <a:pt x="335583" y="381817"/>
                    <a:pt x="308387" y="384537"/>
                    <a:pt x="270312" y="381817"/>
                  </a:cubicBezTo>
                  <a:cubicBezTo>
                    <a:pt x="262153" y="381817"/>
                    <a:pt x="256713" y="387256"/>
                    <a:pt x="256713" y="395415"/>
                  </a:cubicBezTo>
                  <a:cubicBezTo>
                    <a:pt x="256713" y="403574"/>
                    <a:pt x="256713" y="414453"/>
                    <a:pt x="253994" y="422612"/>
                  </a:cubicBezTo>
                  <a:cubicBezTo>
                    <a:pt x="253994" y="425332"/>
                    <a:pt x="253994" y="430771"/>
                    <a:pt x="253994" y="433490"/>
                  </a:cubicBezTo>
                  <a:cubicBezTo>
                    <a:pt x="253994" y="438930"/>
                    <a:pt x="253994" y="444369"/>
                    <a:pt x="253994" y="449809"/>
                  </a:cubicBezTo>
                  <a:cubicBezTo>
                    <a:pt x="253994" y="457967"/>
                    <a:pt x="256713" y="466126"/>
                    <a:pt x="256713" y="474285"/>
                  </a:cubicBezTo>
                  <a:cubicBezTo>
                    <a:pt x="256713" y="482444"/>
                    <a:pt x="256713" y="490603"/>
                    <a:pt x="256713" y="496043"/>
                  </a:cubicBezTo>
                  <a:cubicBezTo>
                    <a:pt x="256713" y="509641"/>
                    <a:pt x="259433" y="520520"/>
                    <a:pt x="259433" y="534118"/>
                  </a:cubicBezTo>
                  <a:cubicBezTo>
                    <a:pt x="259433" y="553155"/>
                    <a:pt x="259433" y="572193"/>
                    <a:pt x="259433" y="591231"/>
                  </a:cubicBezTo>
                  <a:cubicBezTo>
                    <a:pt x="259433" y="602109"/>
                    <a:pt x="262153" y="610268"/>
                    <a:pt x="262153" y="618427"/>
                  </a:cubicBezTo>
                  <a:cubicBezTo>
                    <a:pt x="264872" y="626586"/>
                    <a:pt x="262153" y="642904"/>
                    <a:pt x="267592" y="648343"/>
                  </a:cubicBezTo>
                  <a:cubicBezTo>
                    <a:pt x="270312" y="651063"/>
                    <a:pt x="275751" y="651063"/>
                    <a:pt x="292069" y="651063"/>
                  </a:cubicBezTo>
                  <a:cubicBezTo>
                    <a:pt x="305667" y="651063"/>
                    <a:pt x="319265" y="651063"/>
                    <a:pt x="327424" y="651063"/>
                  </a:cubicBezTo>
                  <a:cubicBezTo>
                    <a:pt x="338303" y="651063"/>
                    <a:pt x="351901" y="653783"/>
                    <a:pt x="362780" y="653783"/>
                  </a:cubicBezTo>
                  <a:cubicBezTo>
                    <a:pt x="376378" y="653783"/>
                    <a:pt x="384537" y="651063"/>
                    <a:pt x="395416" y="648343"/>
                  </a:cubicBezTo>
                  <a:cubicBezTo>
                    <a:pt x="395416" y="637465"/>
                    <a:pt x="395416" y="629306"/>
                    <a:pt x="395416" y="618427"/>
                  </a:cubicBezTo>
                  <a:cubicBezTo>
                    <a:pt x="395416" y="610268"/>
                    <a:pt x="395416" y="602109"/>
                    <a:pt x="395416" y="596670"/>
                  </a:cubicBezTo>
                  <a:cubicBezTo>
                    <a:pt x="395416" y="591231"/>
                    <a:pt x="395416" y="585791"/>
                    <a:pt x="398136" y="574913"/>
                  </a:cubicBezTo>
                  <a:cubicBezTo>
                    <a:pt x="400855" y="569473"/>
                    <a:pt x="400855" y="564034"/>
                    <a:pt x="406295" y="558595"/>
                  </a:cubicBezTo>
                  <a:cubicBezTo>
                    <a:pt x="411734" y="553155"/>
                    <a:pt x="414453" y="553155"/>
                    <a:pt x="422612" y="553155"/>
                  </a:cubicBezTo>
                  <a:cubicBezTo>
                    <a:pt x="436211" y="553155"/>
                    <a:pt x="438930" y="577632"/>
                    <a:pt x="438930" y="588511"/>
                  </a:cubicBezTo>
                  <a:cubicBezTo>
                    <a:pt x="438930" y="612988"/>
                    <a:pt x="438930" y="623866"/>
                    <a:pt x="436211" y="645624"/>
                  </a:cubicBezTo>
                  <a:cubicBezTo>
                    <a:pt x="433491" y="648343"/>
                    <a:pt x="433491" y="648343"/>
                    <a:pt x="433491" y="651063"/>
                  </a:cubicBezTo>
                  <a:lnTo>
                    <a:pt x="433491" y="651063"/>
                  </a:ln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/>
            </a:p>
          </p:txBody>
        </p:sp>
        <p:sp>
          <p:nvSpPr>
            <p:cNvPr id="46" name="Freeform: Shape 45">
              <a:extLst>
                <a:ext uri="{FF2B5EF4-FFF2-40B4-BE49-F238E27FC236}">
                  <a16:creationId xmlns:a16="http://schemas.microsoft.com/office/drawing/2014/main" id="{9BA4167D-13BE-4368-9C93-86A0A7BA3944}"/>
                </a:ext>
              </a:extLst>
            </p:cNvPr>
            <p:cNvSpPr/>
            <p:nvPr/>
          </p:nvSpPr>
          <p:spPr>
            <a:xfrm>
              <a:off x="7912732" y="4250336"/>
              <a:ext cx="465062" cy="658157"/>
            </a:xfrm>
            <a:custGeom>
              <a:avLst/>
              <a:gdLst>
                <a:gd name="connsiteX0" fmla="*/ 193096 w 465062"/>
                <a:gd name="connsiteY0" fmla="*/ 59832 h 658157"/>
                <a:gd name="connsiteX1" fmla="*/ 193096 w 465062"/>
                <a:gd name="connsiteY1" fmla="*/ 114226 h 658157"/>
                <a:gd name="connsiteX2" fmla="*/ 198536 w 465062"/>
                <a:gd name="connsiteY2" fmla="*/ 209414 h 658157"/>
                <a:gd name="connsiteX3" fmla="*/ 201255 w 465062"/>
                <a:gd name="connsiteY3" fmla="*/ 282845 h 658157"/>
                <a:gd name="connsiteX4" fmla="*/ 203975 w 465062"/>
                <a:gd name="connsiteY4" fmla="*/ 315481 h 658157"/>
                <a:gd name="connsiteX5" fmla="*/ 203975 w 465062"/>
                <a:gd name="connsiteY5" fmla="*/ 320920 h 658157"/>
                <a:gd name="connsiteX6" fmla="*/ 212134 w 465062"/>
                <a:gd name="connsiteY6" fmla="*/ 329079 h 658157"/>
                <a:gd name="connsiteX7" fmla="*/ 223013 w 465062"/>
                <a:gd name="connsiteY7" fmla="*/ 329079 h 658157"/>
                <a:gd name="connsiteX8" fmla="*/ 239331 w 465062"/>
                <a:gd name="connsiteY8" fmla="*/ 329079 h 658157"/>
                <a:gd name="connsiteX9" fmla="*/ 280126 w 465062"/>
                <a:gd name="connsiteY9" fmla="*/ 312761 h 658157"/>
                <a:gd name="connsiteX10" fmla="*/ 296443 w 465062"/>
                <a:gd name="connsiteY10" fmla="*/ 288284 h 658157"/>
                <a:gd name="connsiteX11" fmla="*/ 304602 w 465062"/>
                <a:gd name="connsiteY11" fmla="*/ 258368 h 658157"/>
                <a:gd name="connsiteX12" fmla="*/ 312761 w 465062"/>
                <a:gd name="connsiteY12" fmla="*/ 225732 h 658157"/>
                <a:gd name="connsiteX13" fmla="*/ 315481 w 465062"/>
                <a:gd name="connsiteY13" fmla="*/ 195816 h 658157"/>
                <a:gd name="connsiteX14" fmla="*/ 318201 w 465062"/>
                <a:gd name="connsiteY14" fmla="*/ 168619 h 658157"/>
                <a:gd name="connsiteX15" fmla="*/ 312761 w 465062"/>
                <a:gd name="connsiteY15" fmla="*/ 135983 h 658157"/>
                <a:gd name="connsiteX16" fmla="*/ 312761 w 465062"/>
                <a:gd name="connsiteY16" fmla="*/ 122385 h 658157"/>
                <a:gd name="connsiteX17" fmla="*/ 293724 w 465062"/>
                <a:gd name="connsiteY17" fmla="*/ 84309 h 658157"/>
                <a:gd name="connsiteX18" fmla="*/ 280126 w 465062"/>
                <a:gd name="connsiteY18" fmla="*/ 73430 h 658157"/>
                <a:gd name="connsiteX19" fmla="*/ 258368 w 465062"/>
                <a:gd name="connsiteY19" fmla="*/ 62552 h 658157"/>
                <a:gd name="connsiteX20" fmla="*/ 217573 w 465062"/>
                <a:gd name="connsiteY20" fmla="*/ 59832 h 658157"/>
                <a:gd name="connsiteX21" fmla="*/ 111506 w 465062"/>
                <a:gd name="connsiteY21" fmla="*/ 0 h 658157"/>
                <a:gd name="connsiteX22" fmla="*/ 127824 w 465062"/>
                <a:gd name="connsiteY22" fmla="*/ 0 h 658157"/>
                <a:gd name="connsiteX23" fmla="*/ 157741 w 465062"/>
                <a:gd name="connsiteY23" fmla="*/ 5440 h 658157"/>
                <a:gd name="connsiteX24" fmla="*/ 179497 w 465062"/>
                <a:gd name="connsiteY24" fmla="*/ 16318 h 658157"/>
                <a:gd name="connsiteX25" fmla="*/ 209414 w 465062"/>
                <a:gd name="connsiteY25" fmla="*/ 16318 h 658157"/>
                <a:gd name="connsiteX26" fmla="*/ 247489 w 465062"/>
                <a:gd name="connsiteY26" fmla="*/ 16318 h 658157"/>
                <a:gd name="connsiteX27" fmla="*/ 266527 w 465062"/>
                <a:gd name="connsiteY27" fmla="*/ 16318 h 658157"/>
                <a:gd name="connsiteX28" fmla="*/ 312761 w 465062"/>
                <a:gd name="connsiteY28" fmla="*/ 27197 h 658157"/>
                <a:gd name="connsiteX29" fmla="*/ 337238 w 465062"/>
                <a:gd name="connsiteY29" fmla="*/ 38075 h 658157"/>
                <a:gd name="connsiteX30" fmla="*/ 364434 w 465062"/>
                <a:gd name="connsiteY30" fmla="*/ 54393 h 658157"/>
                <a:gd name="connsiteX31" fmla="*/ 386192 w 465062"/>
                <a:gd name="connsiteY31" fmla="*/ 73431 h 658157"/>
                <a:gd name="connsiteX32" fmla="*/ 407949 w 465062"/>
                <a:gd name="connsiteY32" fmla="*/ 103347 h 658157"/>
                <a:gd name="connsiteX33" fmla="*/ 416108 w 465062"/>
                <a:gd name="connsiteY33" fmla="*/ 141422 h 658157"/>
                <a:gd name="connsiteX34" fmla="*/ 418828 w 465062"/>
                <a:gd name="connsiteY34" fmla="*/ 163179 h 658157"/>
                <a:gd name="connsiteX35" fmla="*/ 418828 w 465062"/>
                <a:gd name="connsiteY35" fmla="*/ 171339 h 658157"/>
                <a:gd name="connsiteX36" fmla="*/ 421547 w 465062"/>
                <a:gd name="connsiteY36" fmla="*/ 187656 h 658157"/>
                <a:gd name="connsiteX37" fmla="*/ 418828 w 465062"/>
                <a:gd name="connsiteY37" fmla="*/ 206694 h 658157"/>
                <a:gd name="connsiteX38" fmla="*/ 416108 w 465062"/>
                <a:gd name="connsiteY38" fmla="*/ 233891 h 658157"/>
                <a:gd name="connsiteX39" fmla="*/ 405229 w 465062"/>
                <a:gd name="connsiteY39" fmla="*/ 263807 h 658157"/>
                <a:gd name="connsiteX40" fmla="*/ 394351 w 465062"/>
                <a:gd name="connsiteY40" fmla="*/ 274686 h 658157"/>
                <a:gd name="connsiteX41" fmla="*/ 388912 w 465062"/>
                <a:gd name="connsiteY41" fmla="*/ 285564 h 658157"/>
                <a:gd name="connsiteX42" fmla="*/ 369874 w 465062"/>
                <a:gd name="connsiteY42" fmla="*/ 304602 h 658157"/>
                <a:gd name="connsiteX43" fmla="*/ 358995 w 465062"/>
                <a:gd name="connsiteY43" fmla="*/ 310041 h 658157"/>
                <a:gd name="connsiteX44" fmla="*/ 348117 w 465062"/>
                <a:gd name="connsiteY44" fmla="*/ 320920 h 658157"/>
                <a:gd name="connsiteX45" fmla="*/ 326359 w 465062"/>
                <a:gd name="connsiteY45" fmla="*/ 339957 h 658157"/>
                <a:gd name="connsiteX46" fmla="*/ 312761 w 465062"/>
                <a:gd name="connsiteY46" fmla="*/ 353555 h 658157"/>
                <a:gd name="connsiteX47" fmla="*/ 337238 w 465062"/>
                <a:gd name="connsiteY47" fmla="*/ 380752 h 658157"/>
                <a:gd name="connsiteX48" fmla="*/ 358995 w 465062"/>
                <a:gd name="connsiteY48" fmla="*/ 421547 h 658157"/>
                <a:gd name="connsiteX49" fmla="*/ 372593 w 465062"/>
                <a:gd name="connsiteY49" fmla="*/ 459622 h 658157"/>
                <a:gd name="connsiteX50" fmla="*/ 386192 w 465062"/>
                <a:gd name="connsiteY50" fmla="*/ 514015 h 658157"/>
                <a:gd name="connsiteX51" fmla="*/ 407949 w 465062"/>
                <a:gd name="connsiteY51" fmla="*/ 568408 h 658157"/>
                <a:gd name="connsiteX52" fmla="*/ 421547 w 465062"/>
                <a:gd name="connsiteY52" fmla="*/ 598324 h 658157"/>
                <a:gd name="connsiteX53" fmla="*/ 451463 w 465062"/>
                <a:gd name="connsiteY53" fmla="*/ 628241 h 658157"/>
                <a:gd name="connsiteX54" fmla="*/ 465062 w 465062"/>
                <a:gd name="connsiteY54" fmla="*/ 644559 h 658157"/>
                <a:gd name="connsiteX55" fmla="*/ 462342 w 465062"/>
                <a:gd name="connsiteY55" fmla="*/ 649998 h 658157"/>
                <a:gd name="connsiteX56" fmla="*/ 437865 w 465062"/>
                <a:gd name="connsiteY56" fmla="*/ 658157 h 658157"/>
                <a:gd name="connsiteX57" fmla="*/ 361715 w 465062"/>
                <a:gd name="connsiteY57" fmla="*/ 622801 h 658157"/>
                <a:gd name="connsiteX58" fmla="*/ 320920 w 465062"/>
                <a:gd name="connsiteY58" fmla="*/ 565689 h 658157"/>
                <a:gd name="connsiteX59" fmla="*/ 304602 w 465062"/>
                <a:gd name="connsiteY59" fmla="*/ 530333 h 658157"/>
                <a:gd name="connsiteX60" fmla="*/ 293723 w 465062"/>
                <a:gd name="connsiteY60" fmla="*/ 497697 h 658157"/>
                <a:gd name="connsiteX61" fmla="*/ 282845 w 465062"/>
                <a:gd name="connsiteY61" fmla="*/ 462342 h 658157"/>
                <a:gd name="connsiteX62" fmla="*/ 269246 w 465062"/>
                <a:gd name="connsiteY62" fmla="*/ 424267 h 658157"/>
                <a:gd name="connsiteX63" fmla="*/ 255648 w 465062"/>
                <a:gd name="connsiteY63" fmla="*/ 391631 h 658157"/>
                <a:gd name="connsiteX64" fmla="*/ 236610 w 465062"/>
                <a:gd name="connsiteY64" fmla="*/ 367154 h 658157"/>
                <a:gd name="connsiteX65" fmla="*/ 217573 w 465062"/>
                <a:gd name="connsiteY65" fmla="*/ 361714 h 658157"/>
                <a:gd name="connsiteX66" fmla="*/ 201255 w 465062"/>
                <a:gd name="connsiteY66" fmla="*/ 361714 h 658157"/>
                <a:gd name="connsiteX67" fmla="*/ 198535 w 465062"/>
                <a:gd name="connsiteY67" fmla="*/ 367154 h 658157"/>
                <a:gd name="connsiteX68" fmla="*/ 201255 w 465062"/>
                <a:gd name="connsiteY68" fmla="*/ 388911 h 658157"/>
                <a:gd name="connsiteX69" fmla="*/ 198535 w 465062"/>
                <a:gd name="connsiteY69" fmla="*/ 426986 h 658157"/>
                <a:gd name="connsiteX70" fmla="*/ 203975 w 465062"/>
                <a:gd name="connsiteY70" fmla="*/ 478660 h 658157"/>
                <a:gd name="connsiteX71" fmla="*/ 198535 w 465062"/>
                <a:gd name="connsiteY71" fmla="*/ 552090 h 658157"/>
                <a:gd name="connsiteX72" fmla="*/ 195816 w 465062"/>
                <a:gd name="connsiteY72" fmla="*/ 576567 h 658157"/>
                <a:gd name="connsiteX73" fmla="*/ 198535 w 465062"/>
                <a:gd name="connsiteY73" fmla="*/ 592885 h 658157"/>
                <a:gd name="connsiteX74" fmla="*/ 233891 w 465062"/>
                <a:gd name="connsiteY74" fmla="*/ 592885 h 658157"/>
                <a:gd name="connsiteX75" fmla="*/ 271966 w 465062"/>
                <a:gd name="connsiteY75" fmla="*/ 611923 h 658157"/>
                <a:gd name="connsiteX76" fmla="*/ 266527 w 465062"/>
                <a:gd name="connsiteY76" fmla="*/ 628241 h 658157"/>
                <a:gd name="connsiteX77" fmla="*/ 250209 w 465062"/>
                <a:gd name="connsiteY77" fmla="*/ 636400 h 658157"/>
                <a:gd name="connsiteX78" fmla="*/ 228451 w 465062"/>
                <a:gd name="connsiteY78" fmla="*/ 639119 h 658157"/>
                <a:gd name="connsiteX79" fmla="*/ 187657 w 465062"/>
                <a:gd name="connsiteY79" fmla="*/ 639119 h 658157"/>
                <a:gd name="connsiteX80" fmla="*/ 152301 w 465062"/>
                <a:gd name="connsiteY80" fmla="*/ 652717 h 658157"/>
                <a:gd name="connsiteX81" fmla="*/ 133263 w 465062"/>
                <a:gd name="connsiteY81" fmla="*/ 655437 h 658157"/>
                <a:gd name="connsiteX82" fmla="*/ 122385 w 465062"/>
                <a:gd name="connsiteY82" fmla="*/ 652717 h 658157"/>
                <a:gd name="connsiteX83" fmla="*/ 97908 w 465062"/>
                <a:gd name="connsiteY83" fmla="*/ 639119 h 658157"/>
                <a:gd name="connsiteX84" fmla="*/ 70711 w 465062"/>
                <a:gd name="connsiteY84" fmla="*/ 639119 h 658157"/>
                <a:gd name="connsiteX85" fmla="*/ 46234 w 465062"/>
                <a:gd name="connsiteY85" fmla="*/ 639119 h 658157"/>
                <a:gd name="connsiteX86" fmla="*/ 19038 w 465062"/>
                <a:gd name="connsiteY86" fmla="*/ 630960 h 658157"/>
                <a:gd name="connsiteX87" fmla="*/ 2720 w 465062"/>
                <a:gd name="connsiteY87" fmla="*/ 614642 h 658157"/>
                <a:gd name="connsiteX88" fmla="*/ 8159 w 465062"/>
                <a:gd name="connsiteY88" fmla="*/ 606483 h 658157"/>
                <a:gd name="connsiteX89" fmla="*/ 29916 w 465062"/>
                <a:gd name="connsiteY89" fmla="*/ 598324 h 658157"/>
                <a:gd name="connsiteX90" fmla="*/ 76151 w 465062"/>
                <a:gd name="connsiteY90" fmla="*/ 592885 h 658157"/>
                <a:gd name="connsiteX91" fmla="*/ 73431 w 465062"/>
                <a:gd name="connsiteY91" fmla="*/ 573848 h 658157"/>
                <a:gd name="connsiteX92" fmla="*/ 70711 w 465062"/>
                <a:gd name="connsiteY92" fmla="*/ 500417 h 658157"/>
                <a:gd name="connsiteX93" fmla="*/ 73431 w 465062"/>
                <a:gd name="connsiteY93" fmla="*/ 437865 h 658157"/>
                <a:gd name="connsiteX94" fmla="*/ 70711 w 465062"/>
                <a:gd name="connsiteY94" fmla="*/ 369873 h 658157"/>
                <a:gd name="connsiteX95" fmla="*/ 70711 w 465062"/>
                <a:gd name="connsiteY95" fmla="*/ 293723 h 658157"/>
                <a:gd name="connsiteX96" fmla="*/ 73431 w 465062"/>
                <a:gd name="connsiteY96" fmla="*/ 212133 h 658157"/>
                <a:gd name="connsiteX97" fmla="*/ 76151 w 465062"/>
                <a:gd name="connsiteY97" fmla="*/ 155021 h 658157"/>
                <a:gd name="connsiteX98" fmla="*/ 76151 w 465062"/>
                <a:gd name="connsiteY98" fmla="*/ 119665 h 658157"/>
                <a:gd name="connsiteX99" fmla="*/ 78870 w 465062"/>
                <a:gd name="connsiteY99" fmla="*/ 84310 h 658157"/>
                <a:gd name="connsiteX100" fmla="*/ 76151 w 465062"/>
                <a:gd name="connsiteY100" fmla="*/ 62552 h 658157"/>
                <a:gd name="connsiteX101" fmla="*/ 67992 w 465062"/>
                <a:gd name="connsiteY101" fmla="*/ 62552 h 658157"/>
                <a:gd name="connsiteX102" fmla="*/ 43515 w 465062"/>
                <a:gd name="connsiteY102" fmla="*/ 62552 h 658157"/>
                <a:gd name="connsiteX103" fmla="*/ 16318 w 465062"/>
                <a:gd name="connsiteY103" fmla="*/ 57113 h 658157"/>
                <a:gd name="connsiteX104" fmla="*/ 0 w 465062"/>
                <a:gd name="connsiteY104" fmla="*/ 40795 h 658157"/>
                <a:gd name="connsiteX105" fmla="*/ 5439 w 465062"/>
                <a:gd name="connsiteY105" fmla="*/ 32636 h 658157"/>
                <a:gd name="connsiteX106" fmla="*/ 27197 w 465062"/>
                <a:gd name="connsiteY106" fmla="*/ 24477 h 658157"/>
                <a:gd name="connsiteX107" fmla="*/ 76151 w 465062"/>
                <a:gd name="connsiteY107" fmla="*/ 19038 h 658157"/>
                <a:gd name="connsiteX108" fmla="*/ 78870 w 465062"/>
                <a:gd name="connsiteY108" fmla="*/ 13598 h 658157"/>
                <a:gd name="connsiteX109" fmla="*/ 95188 w 465062"/>
                <a:gd name="connsiteY109" fmla="*/ 5440 h 658157"/>
                <a:gd name="connsiteX110" fmla="*/ 111506 w 465062"/>
                <a:gd name="connsiteY110" fmla="*/ 0 h 6581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</a:cxnLst>
              <a:rect l="l" t="t" r="r" b="b"/>
              <a:pathLst>
                <a:path w="465062" h="658157">
                  <a:moveTo>
                    <a:pt x="193096" y="59832"/>
                  </a:moveTo>
                  <a:cubicBezTo>
                    <a:pt x="193096" y="73430"/>
                    <a:pt x="193096" y="89748"/>
                    <a:pt x="193096" y="114226"/>
                  </a:cubicBezTo>
                  <a:cubicBezTo>
                    <a:pt x="193096" y="144142"/>
                    <a:pt x="195816" y="176778"/>
                    <a:pt x="198536" y="209414"/>
                  </a:cubicBezTo>
                  <a:cubicBezTo>
                    <a:pt x="198536" y="247489"/>
                    <a:pt x="201255" y="277406"/>
                    <a:pt x="201255" y="282845"/>
                  </a:cubicBezTo>
                  <a:cubicBezTo>
                    <a:pt x="201255" y="293723"/>
                    <a:pt x="203975" y="304602"/>
                    <a:pt x="203975" y="315481"/>
                  </a:cubicBezTo>
                  <a:cubicBezTo>
                    <a:pt x="203975" y="318200"/>
                    <a:pt x="203975" y="318200"/>
                    <a:pt x="203975" y="320920"/>
                  </a:cubicBezTo>
                  <a:cubicBezTo>
                    <a:pt x="203975" y="326359"/>
                    <a:pt x="206695" y="329079"/>
                    <a:pt x="212134" y="329079"/>
                  </a:cubicBezTo>
                  <a:cubicBezTo>
                    <a:pt x="214854" y="329079"/>
                    <a:pt x="220293" y="329079"/>
                    <a:pt x="223013" y="329079"/>
                  </a:cubicBezTo>
                  <a:cubicBezTo>
                    <a:pt x="228452" y="329079"/>
                    <a:pt x="233891" y="329079"/>
                    <a:pt x="239331" y="329079"/>
                  </a:cubicBezTo>
                  <a:cubicBezTo>
                    <a:pt x="252929" y="329079"/>
                    <a:pt x="271967" y="323640"/>
                    <a:pt x="280126" y="312761"/>
                  </a:cubicBezTo>
                  <a:cubicBezTo>
                    <a:pt x="288284" y="304602"/>
                    <a:pt x="291004" y="299163"/>
                    <a:pt x="296443" y="288284"/>
                  </a:cubicBezTo>
                  <a:cubicBezTo>
                    <a:pt x="299163" y="277406"/>
                    <a:pt x="301883" y="269247"/>
                    <a:pt x="304602" y="258368"/>
                  </a:cubicBezTo>
                  <a:cubicBezTo>
                    <a:pt x="307322" y="244770"/>
                    <a:pt x="310042" y="239330"/>
                    <a:pt x="312761" y="225732"/>
                  </a:cubicBezTo>
                  <a:cubicBezTo>
                    <a:pt x="315481" y="212134"/>
                    <a:pt x="315481" y="209414"/>
                    <a:pt x="315481" y="195816"/>
                  </a:cubicBezTo>
                  <a:cubicBezTo>
                    <a:pt x="315481" y="179498"/>
                    <a:pt x="315481" y="184937"/>
                    <a:pt x="318201" y="168619"/>
                  </a:cubicBezTo>
                  <a:cubicBezTo>
                    <a:pt x="312761" y="152302"/>
                    <a:pt x="312761" y="149582"/>
                    <a:pt x="312761" y="135983"/>
                  </a:cubicBezTo>
                  <a:cubicBezTo>
                    <a:pt x="312761" y="133264"/>
                    <a:pt x="312761" y="127825"/>
                    <a:pt x="312761" y="122385"/>
                  </a:cubicBezTo>
                  <a:cubicBezTo>
                    <a:pt x="312761" y="111507"/>
                    <a:pt x="301883" y="95188"/>
                    <a:pt x="293724" y="84309"/>
                  </a:cubicBezTo>
                  <a:cubicBezTo>
                    <a:pt x="288284" y="78870"/>
                    <a:pt x="285565" y="76150"/>
                    <a:pt x="280126" y="73430"/>
                  </a:cubicBezTo>
                  <a:cubicBezTo>
                    <a:pt x="271967" y="67991"/>
                    <a:pt x="266527" y="65271"/>
                    <a:pt x="258368" y="62552"/>
                  </a:cubicBezTo>
                  <a:cubicBezTo>
                    <a:pt x="244770" y="59832"/>
                    <a:pt x="228452" y="59832"/>
                    <a:pt x="217573" y="59832"/>
                  </a:cubicBezTo>
                  <a:close/>
                  <a:moveTo>
                    <a:pt x="111506" y="0"/>
                  </a:moveTo>
                  <a:cubicBezTo>
                    <a:pt x="114226" y="0"/>
                    <a:pt x="122385" y="0"/>
                    <a:pt x="127824" y="0"/>
                  </a:cubicBezTo>
                  <a:cubicBezTo>
                    <a:pt x="135983" y="0"/>
                    <a:pt x="146862" y="2720"/>
                    <a:pt x="157741" y="5440"/>
                  </a:cubicBezTo>
                  <a:cubicBezTo>
                    <a:pt x="168619" y="8159"/>
                    <a:pt x="176778" y="10879"/>
                    <a:pt x="179497" y="16318"/>
                  </a:cubicBezTo>
                  <a:cubicBezTo>
                    <a:pt x="193096" y="16318"/>
                    <a:pt x="201255" y="16318"/>
                    <a:pt x="209414" y="16318"/>
                  </a:cubicBezTo>
                  <a:cubicBezTo>
                    <a:pt x="220292" y="16318"/>
                    <a:pt x="231171" y="16318"/>
                    <a:pt x="247489" y="16318"/>
                  </a:cubicBezTo>
                  <a:cubicBezTo>
                    <a:pt x="250209" y="16318"/>
                    <a:pt x="258368" y="16318"/>
                    <a:pt x="266527" y="16318"/>
                  </a:cubicBezTo>
                  <a:cubicBezTo>
                    <a:pt x="277405" y="16318"/>
                    <a:pt x="291004" y="21758"/>
                    <a:pt x="312761" y="27197"/>
                  </a:cubicBezTo>
                  <a:cubicBezTo>
                    <a:pt x="320920" y="29917"/>
                    <a:pt x="329079" y="35356"/>
                    <a:pt x="337238" y="38075"/>
                  </a:cubicBezTo>
                  <a:cubicBezTo>
                    <a:pt x="342677" y="40795"/>
                    <a:pt x="353556" y="48954"/>
                    <a:pt x="364434" y="54393"/>
                  </a:cubicBezTo>
                  <a:cubicBezTo>
                    <a:pt x="375313" y="62552"/>
                    <a:pt x="386192" y="67992"/>
                    <a:pt x="386192" y="73431"/>
                  </a:cubicBezTo>
                  <a:cubicBezTo>
                    <a:pt x="391631" y="84310"/>
                    <a:pt x="402510" y="92469"/>
                    <a:pt x="407949" y="103347"/>
                  </a:cubicBezTo>
                  <a:cubicBezTo>
                    <a:pt x="413388" y="116945"/>
                    <a:pt x="416108" y="130544"/>
                    <a:pt x="416108" y="141422"/>
                  </a:cubicBezTo>
                  <a:cubicBezTo>
                    <a:pt x="416108" y="152301"/>
                    <a:pt x="418828" y="157740"/>
                    <a:pt x="418828" y="163179"/>
                  </a:cubicBezTo>
                  <a:cubicBezTo>
                    <a:pt x="418828" y="165899"/>
                    <a:pt x="418828" y="168619"/>
                    <a:pt x="418828" y="171339"/>
                  </a:cubicBezTo>
                  <a:cubicBezTo>
                    <a:pt x="418828" y="174058"/>
                    <a:pt x="421547" y="182217"/>
                    <a:pt x="421547" y="187656"/>
                  </a:cubicBezTo>
                  <a:cubicBezTo>
                    <a:pt x="421547" y="193096"/>
                    <a:pt x="418828" y="201255"/>
                    <a:pt x="418828" y="206694"/>
                  </a:cubicBezTo>
                  <a:cubicBezTo>
                    <a:pt x="418828" y="217573"/>
                    <a:pt x="418828" y="223012"/>
                    <a:pt x="416108" y="233891"/>
                  </a:cubicBezTo>
                  <a:cubicBezTo>
                    <a:pt x="413388" y="244769"/>
                    <a:pt x="410668" y="255648"/>
                    <a:pt x="405229" y="263807"/>
                  </a:cubicBezTo>
                  <a:cubicBezTo>
                    <a:pt x="402510" y="269246"/>
                    <a:pt x="397070" y="269246"/>
                    <a:pt x="394351" y="274686"/>
                  </a:cubicBezTo>
                  <a:cubicBezTo>
                    <a:pt x="391631" y="277405"/>
                    <a:pt x="391631" y="282844"/>
                    <a:pt x="388912" y="285564"/>
                  </a:cubicBezTo>
                  <a:cubicBezTo>
                    <a:pt x="383472" y="291003"/>
                    <a:pt x="375313" y="301882"/>
                    <a:pt x="369874" y="304602"/>
                  </a:cubicBezTo>
                  <a:cubicBezTo>
                    <a:pt x="367154" y="307321"/>
                    <a:pt x="361715" y="307321"/>
                    <a:pt x="358995" y="310041"/>
                  </a:cubicBezTo>
                  <a:cubicBezTo>
                    <a:pt x="356275" y="312761"/>
                    <a:pt x="350836" y="318200"/>
                    <a:pt x="348117" y="320920"/>
                  </a:cubicBezTo>
                  <a:cubicBezTo>
                    <a:pt x="339958" y="326359"/>
                    <a:pt x="334518" y="334518"/>
                    <a:pt x="326359" y="339957"/>
                  </a:cubicBezTo>
                  <a:cubicBezTo>
                    <a:pt x="320920" y="342677"/>
                    <a:pt x="312761" y="342677"/>
                    <a:pt x="312761" y="353555"/>
                  </a:cubicBezTo>
                  <a:cubicBezTo>
                    <a:pt x="312761" y="361714"/>
                    <a:pt x="334518" y="372593"/>
                    <a:pt x="337238" y="380752"/>
                  </a:cubicBezTo>
                  <a:cubicBezTo>
                    <a:pt x="345397" y="394350"/>
                    <a:pt x="353556" y="407948"/>
                    <a:pt x="358995" y="421547"/>
                  </a:cubicBezTo>
                  <a:cubicBezTo>
                    <a:pt x="364434" y="435145"/>
                    <a:pt x="367154" y="446024"/>
                    <a:pt x="372593" y="459622"/>
                  </a:cubicBezTo>
                  <a:cubicBezTo>
                    <a:pt x="378033" y="478660"/>
                    <a:pt x="383472" y="494978"/>
                    <a:pt x="386192" y="514015"/>
                  </a:cubicBezTo>
                  <a:cubicBezTo>
                    <a:pt x="391631" y="533053"/>
                    <a:pt x="402510" y="549371"/>
                    <a:pt x="407949" y="568408"/>
                  </a:cubicBezTo>
                  <a:cubicBezTo>
                    <a:pt x="410668" y="579287"/>
                    <a:pt x="416108" y="590165"/>
                    <a:pt x="421547" y="598324"/>
                  </a:cubicBezTo>
                  <a:cubicBezTo>
                    <a:pt x="435146" y="614642"/>
                    <a:pt x="443305" y="622801"/>
                    <a:pt x="451463" y="628241"/>
                  </a:cubicBezTo>
                  <a:cubicBezTo>
                    <a:pt x="456903" y="630960"/>
                    <a:pt x="465062" y="636400"/>
                    <a:pt x="465062" y="644559"/>
                  </a:cubicBezTo>
                  <a:cubicBezTo>
                    <a:pt x="465062" y="647278"/>
                    <a:pt x="465062" y="647278"/>
                    <a:pt x="462342" y="649998"/>
                  </a:cubicBezTo>
                  <a:cubicBezTo>
                    <a:pt x="456903" y="655437"/>
                    <a:pt x="446024" y="658157"/>
                    <a:pt x="437865" y="658157"/>
                  </a:cubicBezTo>
                  <a:cubicBezTo>
                    <a:pt x="413388" y="658157"/>
                    <a:pt x="378033" y="641839"/>
                    <a:pt x="361715" y="622801"/>
                  </a:cubicBezTo>
                  <a:cubicBezTo>
                    <a:pt x="345397" y="606483"/>
                    <a:pt x="334518" y="584726"/>
                    <a:pt x="320920" y="565689"/>
                  </a:cubicBezTo>
                  <a:cubicBezTo>
                    <a:pt x="315480" y="554810"/>
                    <a:pt x="310041" y="543931"/>
                    <a:pt x="304602" y="530333"/>
                  </a:cubicBezTo>
                  <a:cubicBezTo>
                    <a:pt x="299163" y="519454"/>
                    <a:pt x="296443" y="508576"/>
                    <a:pt x="293723" y="497697"/>
                  </a:cubicBezTo>
                  <a:cubicBezTo>
                    <a:pt x="291004" y="486819"/>
                    <a:pt x="288284" y="473220"/>
                    <a:pt x="282845" y="462342"/>
                  </a:cubicBezTo>
                  <a:cubicBezTo>
                    <a:pt x="280125" y="448743"/>
                    <a:pt x="274686" y="437865"/>
                    <a:pt x="269246" y="424267"/>
                  </a:cubicBezTo>
                  <a:cubicBezTo>
                    <a:pt x="266527" y="416108"/>
                    <a:pt x="261087" y="402509"/>
                    <a:pt x="255648" y="391631"/>
                  </a:cubicBezTo>
                  <a:cubicBezTo>
                    <a:pt x="250209" y="380752"/>
                    <a:pt x="244770" y="375313"/>
                    <a:pt x="236610" y="367154"/>
                  </a:cubicBezTo>
                  <a:cubicBezTo>
                    <a:pt x="231171" y="361714"/>
                    <a:pt x="223012" y="361714"/>
                    <a:pt x="217573" y="361714"/>
                  </a:cubicBezTo>
                  <a:cubicBezTo>
                    <a:pt x="212134" y="361714"/>
                    <a:pt x="206694" y="361714"/>
                    <a:pt x="201255" y="361714"/>
                  </a:cubicBezTo>
                  <a:cubicBezTo>
                    <a:pt x="198535" y="361714"/>
                    <a:pt x="198535" y="364434"/>
                    <a:pt x="198535" y="367154"/>
                  </a:cubicBezTo>
                  <a:cubicBezTo>
                    <a:pt x="198535" y="375313"/>
                    <a:pt x="201255" y="386191"/>
                    <a:pt x="201255" y="388911"/>
                  </a:cubicBezTo>
                  <a:cubicBezTo>
                    <a:pt x="201255" y="402509"/>
                    <a:pt x="198535" y="413388"/>
                    <a:pt x="198535" y="426986"/>
                  </a:cubicBezTo>
                  <a:cubicBezTo>
                    <a:pt x="198535" y="446024"/>
                    <a:pt x="203975" y="456902"/>
                    <a:pt x="203975" y="478660"/>
                  </a:cubicBezTo>
                  <a:cubicBezTo>
                    <a:pt x="203975" y="503136"/>
                    <a:pt x="201255" y="527613"/>
                    <a:pt x="198535" y="552090"/>
                  </a:cubicBezTo>
                  <a:cubicBezTo>
                    <a:pt x="198535" y="560249"/>
                    <a:pt x="195816" y="568408"/>
                    <a:pt x="195816" y="576567"/>
                  </a:cubicBezTo>
                  <a:cubicBezTo>
                    <a:pt x="195816" y="582006"/>
                    <a:pt x="195816" y="587446"/>
                    <a:pt x="198535" y="592885"/>
                  </a:cubicBezTo>
                  <a:cubicBezTo>
                    <a:pt x="212134" y="592885"/>
                    <a:pt x="225732" y="592885"/>
                    <a:pt x="233891" y="592885"/>
                  </a:cubicBezTo>
                  <a:cubicBezTo>
                    <a:pt x="247489" y="592885"/>
                    <a:pt x="271966" y="592885"/>
                    <a:pt x="271966" y="611923"/>
                  </a:cubicBezTo>
                  <a:cubicBezTo>
                    <a:pt x="271966" y="620082"/>
                    <a:pt x="269246" y="622801"/>
                    <a:pt x="266527" y="628241"/>
                  </a:cubicBezTo>
                  <a:cubicBezTo>
                    <a:pt x="261087" y="633680"/>
                    <a:pt x="255648" y="636400"/>
                    <a:pt x="250209" y="636400"/>
                  </a:cubicBezTo>
                  <a:cubicBezTo>
                    <a:pt x="239330" y="639119"/>
                    <a:pt x="233891" y="639119"/>
                    <a:pt x="228451" y="639119"/>
                  </a:cubicBezTo>
                  <a:cubicBezTo>
                    <a:pt x="223012" y="639119"/>
                    <a:pt x="206694" y="639119"/>
                    <a:pt x="187657" y="639119"/>
                  </a:cubicBezTo>
                  <a:cubicBezTo>
                    <a:pt x="176778" y="647278"/>
                    <a:pt x="163180" y="649998"/>
                    <a:pt x="152301" y="652717"/>
                  </a:cubicBezTo>
                  <a:cubicBezTo>
                    <a:pt x="146862" y="652717"/>
                    <a:pt x="138703" y="655437"/>
                    <a:pt x="133263" y="655437"/>
                  </a:cubicBezTo>
                  <a:cubicBezTo>
                    <a:pt x="130544" y="655437"/>
                    <a:pt x="125104" y="655437"/>
                    <a:pt x="122385" y="652717"/>
                  </a:cubicBezTo>
                  <a:cubicBezTo>
                    <a:pt x="114226" y="649998"/>
                    <a:pt x="103347" y="644559"/>
                    <a:pt x="97908" y="639119"/>
                  </a:cubicBezTo>
                  <a:cubicBezTo>
                    <a:pt x="87029" y="639119"/>
                    <a:pt x="78870" y="639119"/>
                    <a:pt x="70711" y="639119"/>
                  </a:cubicBezTo>
                  <a:cubicBezTo>
                    <a:pt x="62552" y="639119"/>
                    <a:pt x="54393" y="639119"/>
                    <a:pt x="46234" y="639119"/>
                  </a:cubicBezTo>
                  <a:cubicBezTo>
                    <a:pt x="38075" y="639119"/>
                    <a:pt x="27197" y="633680"/>
                    <a:pt x="19038" y="630960"/>
                  </a:cubicBezTo>
                  <a:cubicBezTo>
                    <a:pt x="10879" y="628241"/>
                    <a:pt x="2720" y="620082"/>
                    <a:pt x="2720" y="614642"/>
                  </a:cubicBezTo>
                  <a:cubicBezTo>
                    <a:pt x="2720" y="611923"/>
                    <a:pt x="2720" y="609203"/>
                    <a:pt x="8159" y="606483"/>
                  </a:cubicBezTo>
                  <a:cubicBezTo>
                    <a:pt x="13599" y="603764"/>
                    <a:pt x="24477" y="601044"/>
                    <a:pt x="29916" y="598324"/>
                  </a:cubicBezTo>
                  <a:cubicBezTo>
                    <a:pt x="43515" y="595605"/>
                    <a:pt x="62552" y="595605"/>
                    <a:pt x="76151" y="592885"/>
                  </a:cubicBezTo>
                  <a:cubicBezTo>
                    <a:pt x="76151" y="587446"/>
                    <a:pt x="73431" y="582006"/>
                    <a:pt x="73431" y="573848"/>
                  </a:cubicBezTo>
                  <a:cubicBezTo>
                    <a:pt x="73431" y="565689"/>
                    <a:pt x="70711" y="516735"/>
                    <a:pt x="70711" y="500417"/>
                  </a:cubicBezTo>
                  <a:cubicBezTo>
                    <a:pt x="70711" y="481379"/>
                    <a:pt x="73431" y="456902"/>
                    <a:pt x="73431" y="437865"/>
                  </a:cubicBezTo>
                  <a:cubicBezTo>
                    <a:pt x="73431" y="416108"/>
                    <a:pt x="70711" y="391631"/>
                    <a:pt x="70711" y="369873"/>
                  </a:cubicBezTo>
                  <a:cubicBezTo>
                    <a:pt x="70711" y="345397"/>
                    <a:pt x="70711" y="318200"/>
                    <a:pt x="70711" y="293723"/>
                  </a:cubicBezTo>
                  <a:cubicBezTo>
                    <a:pt x="70711" y="266526"/>
                    <a:pt x="73431" y="239330"/>
                    <a:pt x="73431" y="212133"/>
                  </a:cubicBezTo>
                  <a:cubicBezTo>
                    <a:pt x="73431" y="187656"/>
                    <a:pt x="76151" y="179498"/>
                    <a:pt x="76151" y="155021"/>
                  </a:cubicBezTo>
                  <a:cubicBezTo>
                    <a:pt x="76151" y="144142"/>
                    <a:pt x="76151" y="130544"/>
                    <a:pt x="76151" y="119665"/>
                  </a:cubicBezTo>
                  <a:cubicBezTo>
                    <a:pt x="76151" y="106067"/>
                    <a:pt x="78870" y="95188"/>
                    <a:pt x="78870" y="84310"/>
                  </a:cubicBezTo>
                  <a:cubicBezTo>
                    <a:pt x="78870" y="78870"/>
                    <a:pt x="78870" y="70711"/>
                    <a:pt x="76151" y="62552"/>
                  </a:cubicBezTo>
                  <a:cubicBezTo>
                    <a:pt x="76151" y="62552"/>
                    <a:pt x="73431" y="62552"/>
                    <a:pt x="67992" y="62552"/>
                  </a:cubicBezTo>
                  <a:cubicBezTo>
                    <a:pt x="59833" y="62552"/>
                    <a:pt x="51674" y="62552"/>
                    <a:pt x="43515" y="62552"/>
                  </a:cubicBezTo>
                  <a:cubicBezTo>
                    <a:pt x="35356" y="62552"/>
                    <a:pt x="24477" y="59833"/>
                    <a:pt x="16318" y="57113"/>
                  </a:cubicBezTo>
                  <a:cubicBezTo>
                    <a:pt x="8159" y="54393"/>
                    <a:pt x="0" y="43515"/>
                    <a:pt x="0" y="40795"/>
                  </a:cubicBezTo>
                  <a:cubicBezTo>
                    <a:pt x="0" y="38075"/>
                    <a:pt x="0" y="35356"/>
                    <a:pt x="5439" y="32636"/>
                  </a:cubicBezTo>
                  <a:cubicBezTo>
                    <a:pt x="10879" y="29917"/>
                    <a:pt x="21758" y="27197"/>
                    <a:pt x="27197" y="24477"/>
                  </a:cubicBezTo>
                  <a:cubicBezTo>
                    <a:pt x="46234" y="21758"/>
                    <a:pt x="62552" y="19038"/>
                    <a:pt x="76151" y="19038"/>
                  </a:cubicBezTo>
                  <a:cubicBezTo>
                    <a:pt x="76151" y="16318"/>
                    <a:pt x="78870" y="16318"/>
                    <a:pt x="78870" y="13598"/>
                  </a:cubicBezTo>
                  <a:cubicBezTo>
                    <a:pt x="84309" y="10879"/>
                    <a:pt x="89749" y="8159"/>
                    <a:pt x="95188" y="5440"/>
                  </a:cubicBezTo>
                  <a:cubicBezTo>
                    <a:pt x="100628" y="2720"/>
                    <a:pt x="106067" y="0"/>
                    <a:pt x="111506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/>
            </a:p>
          </p:txBody>
        </p:sp>
        <p:sp>
          <p:nvSpPr>
            <p:cNvPr id="47" name="Freeform: Shape 46">
              <a:extLst>
                <a:ext uri="{FF2B5EF4-FFF2-40B4-BE49-F238E27FC236}">
                  <a16:creationId xmlns:a16="http://schemas.microsoft.com/office/drawing/2014/main" id="{4CD57581-16D5-457C-AB8A-C39E91AF7848}"/>
                </a:ext>
              </a:extLst>
            </p:cNvPr>
            <p:cNvSpPr/>
            <p:nvPr/>
          </p:nvSpPr>
          <p:spPr>
            <a:xfrm>
              <a:off x="8346812" y="4186718"/>
              <a:ext cx="353556" cy="761503"/>
            </a:xfrm>
            <a:custGeom>
              <a:avLst/>
              <a:gdLst>
                <a:gd name="connsiteX0" fmla="*/ 283910 w 353555"/>
                <a:gd name="connsiteY0" fmla="*/ 672820 h 761503"/>
                <a:gd name="connsiteX1" fmla="*/ 321985 w 353555"/>
                <a:gd name="connsiteY1" fmla="*/ 689138 h 761503"/>
                <a:gd name="connsiteX2" fmla="*/ 316546 w 353555"/>
                <a:gd name="connsiteY2" fmla="*/ 705456 h 761503"/>
                <a:gd name="connsiteX3" fmla="*/ 300228 w 353555"/>
                <a:gd name="connsiteY3" fmla="*/ 713615 h 761503"/>
                <a:gd name="connsiteX4" fmla="*/ 278471 w 353555"/>
                <a:gd name="connsiteY4" fmla="*/ 716335 h 761503"/>
                <a:gd name="connsiteX5" fmla="*/ 237676 w 353555"/>
                <a:gd name="connsiteY5" fmla="*/ 716335 h 761503"/>
                <a:gd name="connsiteX6" fmla="*/ 180563 w 353555"/>
                <a:gd name="connsiteY6" fmla="*/ 719054 h 761503"/>
                <a:gd name="connsiteX7" fmla="*/ 126170 w 353555"/>
                <a:gd name="connsiteY7" fmla="*/ 719054 h 761503"/>
                <a:gd name="connsiteX8" fmla="*/ 101693 w 353555"/>
                <a:gd name="connsiteY8" fmla="*/ 719054 h 761503"/>
                <a:gd name="connsiteX9" fmla="*/ 74496 w 353555"/>
                <a:gd name="connsiteY9" fmla="*/ 713615 h 761503"/>
                <a:gd name="connsiteX10" fmla="*/ 58178 w 353555"/>
                <a:gd name="connsiteY10" fmla="*/ 697297 h 761503"/>
                <a:gd name="connsiteX11" fmla="*/ 63618 w 353555"/>
                <a:gd name="connsiteY11" fmla="*/ 689138 h 761503"/>
                <a:gd name="connsiteX12" fmla="*/ 85375 w 353555"/>
                <a:gd name="connsiteY12" fmla="*/ 680979 h 761503"/>
                <a:gd name="connsiteX13" fmla="*/ 131609 w 353555"/>
                <a:gd name="connsiteY13" fmla="*/ 675540 h 761503"/>
                <a:gd name="connsiteX14" fmla="*/ 142488 w 353555"/>
                <a:gd name="connsiteY14" fmla="*/ 675540 h 761503"/>
                <a:gd name="connsiteX15" fmla="*/ 131609 w 353555"/>
                <a:gd name="connsiteY15" fmla="*/ 653783 h 761503"/>
                <a:gd name="connsiteX16" fmla="*/ 128890 w 353555"/>
                <a:gd name="connsiteY16" fmla="*/ 640184 h 761503"/>
                <a:gd name="connsiteX17" fmla="*/ 128890 w 353555"/>
                <a:gd name="connsiteY17" fmla="*/ 629306 h 761503"/>
                <a:gd name="connsiteX18" fmla="*/ 128890 w 353555"/>
                <a:gd name="connsiteY18" fmla="*/ 621147 h 761503"/>
                <a:gd name="connsiteX19" fmla="*/ 128890 w 353555"/>
                <a:gd name="connsiteY19" fmla="*/ 593950 h 761503"/>
                <a:gd name="connsiteX20" fmla="*/ 128890 w 353555"/>
                <a:gd name="connsiteY20" fmla="*/ 583072 h 761503"/>
                <a:gd name="connsiteX21" fmla="*/ 128890 w 353555"/>
                <a:gd name="connsiteY21" fmla="*/ 436210 h 761503"/>
                <a:gd name="connsiteX22" fmla="*/ 128890 w 353555"/>
                <a:gd name="connsiteY22" fmla="*/ 357340 h 761503"/>
                <a:gd name="connsiteX23" fmla="*/ 131609 w 353555"/>
                <a:gd name="connsiteY23" fmla="*/ 289349 h 761503"/>
                <a:gd name="connsiteX24" fmla="*/ 131609 w 353555"/>
                <a:gd name="connsiteY24" fmla="*/ 251274 h 761503"/>
                <a:gd name="connsiteX25" fmla="*/ 131609 w 353555"/>
                <a:gd name="connsiteY25" fmla="*/ 205040 h 761503"/>
                <a:gd name="connsiteX26" fmla="*/ 131609 w 353555"/>
                <a:gd name="connsiteY26" fmla="*/ 139768 h 761503"/>
                <a:gd name="connsiteX27" fmla="*/ 131609 w 353555"/>
                <a:gd name="connsiteY27" fmla="*/ 128889 h 761503"/>
                <a:gd name="connsiteX28" fmla="*/ 126170 w 353555"/>
                <a:gd name="connsiteY28" fmla="*/ 128889 h 761503"/>
                <a:gd name="connsiteX29" fmla="*/ 101693 w 353555"/>
                <a:gd name="connsiteY29" fmla="*/ 128889 h 761503"/>
                <a:gd name="connsiteX30" fmla="*/ 74496 w 353555"/>
                <a:gd name="connsiteY30" fmla="*/ 123450 h 761503"/>
                <a:gd name="connsiteX31" fmla="*/ 58178 w 353555"/>
                <a:gd name="connsiteY31" fmla="*/ 107132 h 761503"/>
                <a:gd name="connsiteX32" fmla="*/ 60898 w 353555"/>
                <a:gd name="connsiteY32" fmla="*/ 98973 h 761503"/>
                <a:gd name="connsiteX33" fmla="*/ 82655 w 353555"/>
                <a:gd name="connsiteY33" fmla="*/ 93534 h 761503"/>
                <a:gd name="connsiteX34" fmla="*/ 131609 w 353555"/>
                <a:gd name="connsiteY34" fmla="*/ 88094 h 761503"/>
                <a:gd name="connsiteX35" fmla="*/ 131609 w 353555"/>
                <a:gd name="connsiteY35" fmla="*/ 82655 h 761503"/>
                <a:gd name="connsiteX36" fmla="*/ 134329 w 353555"/>
                <a:gd name="connsiteY36" fmla="*/ 71776 h 761503"/>
                <a:gd name="connsiteX37" fmla="*/ 147927 w 353555"/>
                <a:gd name="connsiteY37" fmla="*/ 63617 h 761503"/>
                <a:gd name="connsiteX38" fmla="*/ 164245 w 353555"/>
                <a:gd name="connsiteY38" fmla="*/ 58178 h 761503"/>
                <a:gd name="connsiteX39" fmla="*/ 177843 w 353555"/>
                <a:gd name="connsiteY39" fmla="*/ 58178 h 761503"/>
                <a:gd name="connsiteX40" fmla="*/ 196881 w 353555"/>
                <a:gd name="connsiteY40" fmla="*/ 60898 h 761503"/>
                <a:gd name="connsiteX41" fmla="*/ 232237 w 353555"/>
                <a:gd name="connsiteY41" fmla="*/ 88094 h 761503"/>
                <a:gd name="connsiteX42" fmla="*/ 278471 w 353555"/>
                <a:gd name="connsiteY42" fmla="*/ 88094 h 761503"/>
                <a:gd name="connsiteX43" fmla="*/ 316546 w 353555"/>
                <a:gd name="connsiteY43" fmla="*/ 104412 h 761503"/>
                <a:gd name="connsiteX44" fmla="*/ 311107 w 353555"/>
                <a:gd name="connsiteY44" fmla="*/ 120730 h 761503"/>
                <a:gd name="connsiteX45" fmla="*/ 294789 w 353555"/>
                <a:gd name="connsiteY45" fmla="*/ 128889 h 761503"/>
                <a:gd name="connsiteX46" fmla="*/ 273032 w 353555"/>
                <a:gd name="connsiteY46" fmla="*/ 131609 h 761503"/>
                <a:gd name="connsiteX47" fmla="*/ 243115 w 353555"/>
                <a:gd name="connsiteY47" fmla="*/ 131609 h 761503"/>
                <a:gd name="connsiteX48" fmla="*/ 243115 w 353555"/>
                <a:gd name="connsiteY48" fmla="*/ 134329 h 761503"/>
                <a:gd name="connsiteX49" fmla="*/ 248554 w 353555"/>
                <a:gd name="connsiteY49" fmla="*/ 169684 h 761503"/>
                <a:gd name="connsiteX50" fmla="*/ 251274 w 353555"/>
                <a:gd name="connsiteY50" fmla="*/ 205040 h 761503"/>
                <a:gd name="connsiteX51" fmla="*/ 251274 w 353555"/>
                <a:gd name="connsiteY51" fmla="*/ 240395 h 761503"/>
                <a:gd name="connsiteX52" fmla="*/ 251274 w 353555"/>
                <a:gd name="connsiteY52" fmla="*/ 256713 h 761503"/>
                <a:gd name="connsiteX53" fmla="*/ 253994 w 353555"/>
                <a:gd name="connsiteY53" fmla="*/ 270311 h 761503"/>
                <a:gd name="connsiteX54" fmla="*/ 259433 w 353555"/>
                <a:gd name="connsiteY54" fmla="*/ 343742 h 761503"/>
                <a:gd name="connsiteX55" fmla="*/ 262153 w 353555"/>
                <a:gd name="connsiteY55" fmla="*/ 425332 h 761503"/>
                <a:gd name="connsiteX56" fmla="*/ 264872 w 353555"/>
                <a:gd name="connsiteY56" fmla="*/ 490603 h 761503"/>
                <a:gd name="connsiteX57" fmla="*/ 270312 w 353555"/>
                <a:gd name="connsiteY57" fmla="*/ 564034 h 761503"/>
                <a:gd name="connsiteX58" fmla="*/ 270312 w 353555"/>
                <a:gd name="connsiteY58" fmla="*/ 599390 h 761503"/>
                <a:gd name="connsiteX59" fmla="*/ 270312 w 353555"/>
                <a:gd name="connsiteY59" fmla="*/ 637465 h 761503"/>
                <a:gd name="connsiteX60" fmla="*/ 264872 w 353555"/>
                <a:gd name="connsiteY60" fmla="*/ 670101 h 761503"/>
                <a:gd name="connsiteX61" fmla="*/ 283910 w 353555"/>
                <a:gd name="connsiteY61" fmla="*/ 672820 h 761503"/>
                <a:gd name="connsiteX62" fmla="*/ 283910 w 353555"/>
                <a:gd name="connsiteY62" fmla="*/ 672820 h 761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</a:cxnLst>
              <a:rect l="l" t="t" r="r" b="b"/>
              <a:pathLst>
                <a:path w="353555" h="761503">
                  <a:moveTo>
                    <a:pt x="283910" y="672820"/>
                  </a:moveTo>
                  <a:cubicBezTo>
                    <a:pt x="297508" y="672820"/>
                    <a:pt x="321985" y="672820"/>
                    <a:pt x="321985" y="689138"/>
                  </a:cubicBezTo>
                  <a:cubicBezTo>
                    <a:pt x="321985" y="697297"/>
                    <a:pt x="319266" y="697297"/>
                    <a:pt x="316546" y="705456"/>
                  </a:cubicBezTo>
                  <a:cubicBezTo>
                    <a:pt x="311107" y="710895"/>
                    <a:pt x="305667" y="713615"/>
                    <a:pt x="300228" y="713615"/>
                  </a:cubicBezTo>
                  <a:cubicBezTo>
                    <a:pt x="292069" y="716335"/>
                    <a:pt x="283910" y="716335"/>
                    <a:pt x="278471" y="716335"/>
                  </a:cubicBezTo>
                  <a:cubicBezTo>
                    <a:pt x="275751" y="716335"/>
                    <a:pt x="256713" y="716335"/>
                    <a:pt x="237676" y="716335"/>
                  </a:cubicBezTo>
                  <a:cubicBezTo>
                    <a:pt x="213199" y="716335"/>
                    <a:pt x="186003" y="719054"/>
                    <a:pt x="180563" y="719054"/>
                  </a:cubicBezTo>
                  <a:cubicBezTo>
                    <a:pt x="166965" y="719054"/>
                    <a:pt x="142488" y="719054"/>
                    <a:pt x="126170" y="719054"/>
                  </a:cubicBezTo>
                  <a:cubicBezTo>
                    <a:pt x="118011" y="719054"/>
                    <a:pt x="109852" y="719054"/>
                    <a:pt x="101693" y="719054"/>
                  </a:cubicBezTo>
                  <a:cubicBezTo>
                    <a:pt x="93534" y="719054"/>
                    <a:pt x="82655" y="719054"/>
                    <a:pt x="74496" y="713615"/>
                  </a:cubicBezTo>
                  <a:cubicBezTo>
                    <a:pt x="66337" y="710895"/>
                    <a:pt x="58178" y="702736"/>
                    <a:pt x="58178" y="697297"/>
                  </a:cubicBezTo>
                  <a:cubicBezTo>
                    <a:pt x="58178" y="694578"/>
                    <a:pt x="58178" y="691858"/>
                    <a:pt x="63618" y="689138"/>
                  </a:cubicBezTo>
                  <a:cubicBezTo>
                    <a:pt x="69057" y="686418"/>
                    <a:pt x="79936" y="683699"/>
                    <a:pt x="85375" y="680979"/>
                  </a:cubicBezTo>
                  <a:cubicBezTo>
                    <a:pt x="104413" y="678260"/>
                    <a:pt x="123450" y="675540"/>
                    <a:pt x="131609" y="675540"/>
                  </a:cubicBezTo>
                  <a:cubicBezTo>
                    <a:pt x="134329" y="675540"/>
                    <a:pt x="137049" y="675540"/>
                    <a:pt x="142488" y="675540"/>
                  </a:cubicBezTo>
                  <a:cubicBezTo>
                    <a:pt x="134329" y="670101"/>
                    <a:pt x="131609" y="661942"/>
                    <a:pt x="131609" y="653783"/>
                  </a:cubicBezTo>
                  <a:cubicBezTo>
                    <a:pt x="131609" y="648343"/>
                    <a:pt x="131609" y="642904"/>
                    <a:pt x="128890" y="640184"/>
                  </a:cubicBezTo>
                  <a:cubicBezTo>
                    <a:pt x="128890" y="637465"/>
                    <a:pt x="128890" y="634745"/>
                    <a:pt x="128890" y="629306"/>
                  </a:cubicBezTo>
                  <a:cubicBezTo>
                    <a:pt x="128890" y="626586"/>
                    <a:pt x="128890" y="623867"/>
                    <a:pt x="128890" y="621147"/>
                  </a:cubicBezTo>
                  <a:cubicBezTo>
                    <a:pt x="128890" y="612988"/>
                    <a:pt x="128890" y="604829"/>
                    <a:pt x="128890" y="593950"/>
                  </a:cubicBezTo>
                  <a:cubicBezTo>
                    <a:pt x="128890" y="591231"/>
                    <a:pt x="128890" y="585791"/>
                    <a:pt x="128890" y="583072"/>
                  </a:cubicBezTo>
                  <a:cubicBezTo>
                    <a:pt x="128890" y="534118"/>
                    <a:pt x="131609" y="485164"/>
                    <a:pt x="128890" y="436210"/>
                  </a:cubicBezTo>
                  <a:cubicBezTo>
                    <a:pt x="128890" y="409014"/>
                    <a:pt x="128890" y="384537"/>
                    <a:pt x="128890" y="357340"/>
                  </a:cubicBezTo>
                  <a:cubicBezTo>
                    <a:pt x="128890" y="335583"/>
                    <a:pt x="131609" y="313826"/>
                    <a:pt x="131609" y="289349"/>
                  </a:cubicBezTo>
                  <a:cubicBezTo>
                    <a:pt x="131609" y="275751"/>
                    <a:pt x="131609" y="264872"/>
                    <a:pt x="131609" y="251274"/>
                  </a:cubicBezTo>
                  <a:cubicBezTo>
                    <a:pt x="131609" y="234956"/>
                    <a:pt x="131609" y="221357"/>
                    <a:pt x="131609" y="205040"/>
                  </a:cubicBezTo>
                  <a:cubicBezTo>
                    <a:pt x="131609" y="183282"/>
                    <a:pt x="131609" y="161525"/>
                    <a:pt x="131609" y="139768"/>
                  </a:cubicBezTo>
                  <a:cubicBezTo>
                    <a:pt x="131609" y="137048"/>
                    <a:pt x="131609" y="134329"/>
                    <a:pt x="131609" y="128889"/>
                  </a:cubicBezTo>
                  <a:cubicBezTo>
                    <a:pt x="128890" y="128889"/>
                    <a:pt x="126170" y="128889"/>
                    <a:pt x="126170" y="128889"/>
                  </a:cubicBezTo>
                  <a:cubicBezTo>
                    <a:pt x="118011" y="128889"/>
                    <a:pt x="109852" y="128889"/>
                    <a:pt x="101693" y="128889"/>
                  </a:cubicBezTo>
                  <a:cubicBezTo>
                    <a:pt x="93534" y="128889"/>
                    <a:pt x="82655" y="128889"/>
                    <a:pt x="74496" y="123450"/>
                  </a:cubicBezTo>
                  <a:cubicBezTo>
                    <a:pt x="66337" y="120730"/>
                    <a:pt x="58178" y="112571"/>
                    <a:pt x="58178" y="107132"/>
                  </a:cubicBezTo>
                  <a:cubicBezTo>
                    <a:pt x="58178" y="104412"/>
                    <a:pt x="58178" y="101693"/>
                    <a:pt x="60898" y="98973"/>
                  </a:cubicBezTo>
                  <a:cubicBezTo>
                    <a:pt x="63618" y="96253"/>
                    <a:pt x="77216" y="93534"/>
                    <a:pt x="82655" y="93534"/>
                  </a:cubicBezTo>
                  <a:cubicBezTo>
                    <a:pt x="98973" y="90814"/>
                    <a:pt x="123450" y="88094"/>
                    <a:pt x="131609" y="88094"/>
                  </a:cubicBezTo>
                  <a:cubicBezTo>
                    <a:pt x="131609" y="85375"/>
                    <a:pt x="131609" y="85375"/>
                    <a:pt x="131609" y="82655"/>
                  </a:cubicBezTo>
                  <a:cubicBezTo>
                    <a:pt x="131609" y="77216"/>
                    <a:pt x="131609" y="74496"/>
                    <a:pt x="134329" y="71776"/>
                  </a:cubicBezTo>
                  <a:cubicBezTo>
                    <a:pt x="137049" y="69057"/>
                    <a:pt x="145208" y="66337"/>
                    <a:pt x="147927" y="63617"/>
                  </a:cubicBezTo>
                  <a:cubicBezTo>
                    <a:pt x="153366" y="60898"/>
                    <a:pt x="158806" y="58178"/>
                    <a:pt x="164245" y="58178"/>
                  </a:cubicBezTo>
                  <a:cubicBezTo>
                    <a:pt x="169684" y="58178"/>
                    <a:pt x="175124" y="58178"/>
                    <a:pt x="177843" y="58178"/>
                  </a:cubicBezTo>
                  <a:cubicBezTo>
                    <a:pt x="183283" y="58178"/>
                    <a:pt x="191442" y="58178"/>
                    <a:pt x="196881" y="60898"/>
                  </a:cubicBezTo>
                  <a:cubicBezTo>
                    <a:pt x="213199" y="63617"/>
                    <a:pt x="224078" y="74496"/>
                    <a:pt x="232237" y="88094"/>
                  </a:cubicBezTo>
                  <a:cubicBezTo>
                    <a:pt x="253994" y="88094"/>
                    <a:pt x="270312" y="88094"/>
                    <a:pt x="278471" y="88094"/>
                  </a:cubicBezTo>
                  <a:cubicBezTo>
                    <a:pt x="292069" y="88094"/>
                    <a:pt x="316546" y="88094"/>
                    <a:pt x="316546" y="104412"/>
                  </a:cubicBezTo>
                  <a:cubicBezTo>
                    <a:pt x="316546" y="112571"/>
                    <a:pt x="313826" y="112571"/>
                    <a:pt x="311107" y="120730"/>
                  </a:cubicBezTo>
                  <a:cubicBezTo>
                    <a:pt x="305667" y="126170"/>
                    <a:pt x="300228" y="128889"/>
                    <a:pt x="294789" y="128889"/>
                  </a:cubicBezTo>
                  <a:cubicBezTo>
                    <a:pt x="286630" y="131609"/>
                    <a:pt x="278471" y="131609"/>
                    <a:pt x="273032" y="131609"/>
                  </a:cubicBezTo>
                  <a:cubicBezTo>
                    <a:pt x="270312" y="131609"/>
                    <a:pt x="259433" y="131609"/>
                    <a:pt x="243115" y="131609"/>
                  </a:cubicBezTo>
                  <a:lnTo>
                    <a:pt x="243115" y="134329"/>
                  </a:lnTo>
                  <a:cubicBezTo>
                    <a:pt x="245835" y="145207"/>
                    <a:pt x="245835" y="158805"/>
                    <a:pt x="248554" y="169684"/>
                  </a:cubicBezTo>
                  <a:cubicBezTo>
                    <a:pt x="251274" y="180563"/>
                    <a:pt x="251274" y="194161"/>
                    <a:pt x="251274" y="205040"/>
                  </a:cubicBezTo>
                  <a:cubicBezTo>
                    <a:pt x="251274" y="215918"/>
                    <a:pt x="251274" y="226797"/>
                    <a:pt x="251274" y="240395"/>
                  </a:cubicBezTo>
                  <a:cubicBezTo>
                    <a:pt x="251274" y="245834"/>
                    <a:pt x="251274" y="251274"/>
                    <a:pt x="251274" y="256713"/>
                  </a:cubicBezTo>
                  <a:cubicBezTo>
                    <a:pt x="251274" y="262152"/>
                    <a:pt x="251274" y="267592"/>
                    <a:pt x="253994" y="270311"/>
                  </a:cubicBezTo>
                  <a:cubicBezTo>
                    <a:pt x="256713" y="294788"/>
                    <a:pt x="256713" y="319265"/>
                    <a:pt x="259433" y="343742"/>
                  </a:cubicBezTo>
                  <a:cubicBezTo>
                    <a:pt x="259433" y="370939"/>
                    <a:pt x="262153" y="398135"/>
                    <a:pt x="262153" y="425332"/>
                  </a:cubicBezTo>
                  <a:cubicBezTo>
                    <a:pt x="262153" y="447089"/>
                    <a:pt x="262153" y="468846"/>
                    <a:pt x="264872" y="490603"/>
                  </a:cubicBezTo>
                  <a:cubicBezTo>
                    <a:pt x="264872" y="515080"/>
                    <a:pt x="270312" y="539557"/>
                    <a:pt x="270312" y="564034"/>
                  </a:cubicBezTo>
                  <a:cubicBezTo>
                    <a:pt x="270312" y="574913"/>
                    <a:pt x="270312" y="588511"/>
                    <a:pt x="270312" y="599390"/>
                  </a:cubicBezTo>
                  <a:cubicBezTo>
                    <a:pt x="270312" y="612988"/>
                    <a:pt x="270312" y="623867"/>
                    <a:pt x="270312" y="637465"/>
                  </a:cubicBezTo>
                  <a:cubicBezTo>
                    <a:pt x="270312" y="648343"/>
                    <a:pt x="270312" y="661942"/>
                    <a:pt x="264872" y="670101"/>
                  </a:cubicBezTo>
                  <a:cubicBezTo>
                    <a:pt x="273032" y="672820"/>
                    <a:pt x="278471" y="672820"/>
                    <a:pt x="283910" y="672820"/>
                  </a:cubicBezTo>
                  <a:lnTo>
                    <a:pt x="283910" y="672820"/>
                  </a:ln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/>
            </a:p>
          </p:txBody>
        </p:sp>
        <p:sp>
          <p:nvSpPr>
            <p:cNvPr id="48" name="Freeform: Shape 47">
              <a:extLst>
                <a:ext uri="{FF2B5EF4-FFF2-40B4-BE49-F238E27FC236}">
                  <a16:creationId xmlns:a16="http://schemas.microsoft.com/office/drawing/2014/main" id="{9A128766-36EC-4898-BC9F-3A0ED7FC0E84}"/>
                </a:ext>
              </a:extLst>
            </p:cNvPr>
            <p:cNvSpPr/>
            <p:nvPr/>
          </p:nvSpPr>
          <p:spPr>
            <a:xfrm>
              <a:off x="8652924" y="4192158"/>
              <a:ext cx="516735" cy="788700"/>
            </a:xfrm>
            <a:custGeom>
              <a:avLst/>
              <a:gdLst>
                <a:gd name="connsiteX0" fmla="*/ 464616 w 516735"/>
                <a:gd name="connsiteY0" fmla="*/ 436210 h 788699"/>
                <a:gd name="connsiteX1" fmla="*/ 445578 w 516735"/>
                <a:gd name="connsiteY1" fmla="*/ 455248 h 788699"/>
                <a:gd name="connsiteX2" fmla="*/ 404783 w 516735"/>
                <a:gd name="connsiteY2" fmla="*/ 466126 h 788699"/>
                <a:gd name="connsiteX3" fmla="*/ 385746 w 516735"/>
                <a:gd name="connsiteY3" fmla="*/ 479725 h 788699"/>
                <a:gd name="connsiteX4" fmla="*/ 388466 w 516735"/>
                <a:gd name="connsiteY4" fmla="*/ 512361 h 788699"/>
                <a:gd name="connsiteX5" fmla="*/ 388466 w 516735"/>
                <a:gd name="connsiteY5" fmla="*/ 544997 h 788699"/>
                <a:gd name="connsiteX6" fmla="*/ 388466 w 516735"/>
                <a:gd name="connsiteY6" fmla="*/ 566754 h 788699"/>
                <a:gd name="connsiteX7" fmla="*/ 391185 w 516735"/>
                <a:gd name="connsiteY7" fmla="*/ 632026 h 788699"/>
                <a:gd name="connsiteX8" fmla="*/ 393905 w 516735"/>
                <a:gd name="connsiteY8" fmla="*/ 683699 h 788699"/>
                <a:gd name="connsiteX9" fmla="*/ 377587 w 516735"/>
                <a:gd name="connsiteY9" fmla="*/ 724494 h 788699"/>
                <a:gd name="connsiteX10" fmla="*/ 361269 w 516735"/>
                <a:gd name="connsiteY10" fmla="*/ 719054 h 788699"/>
                <a:gd name="connsiteX11" fmla="*/ 353110 w 516735"/>
                <a:gd name="connsiteY11" fmla="*/ 702737 h 788699"/>
                <a:gd name="connsiteX12" fmla="*/ 350390 w 516735"/>
                <a:gd name="connsiteY12" fmla="*/ 686419 h 788699"/>
                <a:gd name="connsiteX13" fmla="*/ 353110 w 516735"/>
                <a:gd name="connsiteY13" fmla="*/ 659222 h 788699"/>
                <a:gd name="connsiteX14" fmla="*/ 353110 w 516735"/>
                <a:gd name="connsiteY14" fmla="*/ 656502 h 788699"/>
                <a:gd name="connsiteX15" fmla="*/ 317754 w 516735"/>
                <a:gd name="connsiteY15" fmla="*/ 708176 h 788699"/>
                <a:gd name="connsiteX16" fmla="*/ 241604 w 516735"/>
                <a:gd name="connsiteY16" fmla="*/ 735372 h 788699"/>
                <a:gd name="connsiteX17" fmla="*/ 187211 w 516735"/>
                <a:gd name="connsiteY17" fmla="*/ 727214 h 788699"/>
                <a:gd name="connsiteX18" fmla="*/ 135537 w 516735"/>
                <a:gd name="connsiteY18" fmla="*/ 694578 h 788699"/>
                <a:gd name="connsiteX19" fmla="*/ 86583 w 516735"/>
                <a:gd name="connsiteY19" fmla="*/ 621147 h 788699"/>
                <a:gd name="connsiteX20" fmla="*/ 67546 w 516735"/>
                <a:gd name="connsiteY20" fmla="*/ 555875 h 788699"/>
                <a:gd name="connsiteX21" fmla="*/ 59387 w 516735"/>
                <a:gd name="connsiteY21" fmla="*/ 509641 h 788699"/>
                <a:gd name="connsiteX22" fmla="*/ 59387 w 516735"/>
                <a:gd name="connsiteY22" fmla="*/ 468846 h 788699"/>
                <a:gd name="connsiteX23" fmla="*/ 86583 w 516735"/>
                <a:gd name="connsiteY23" fmla="*/ 302947 h 788699"/>
                <a:gd name="connsiteX24" fmla="*/ 108341 w 516735"/>
                <a:gd name="connsiteY24" fmla="*/ 224077 h 788699"/>
                <a:gd name="connsiteX25" fmla="*/ 146416 w 516735"/>
                <a:gd name="connsiteY25" fmla="*/ 145207 h 788699"/>
                <a:gd name="connsiteX26" fmla="*/ 198090 w 516735"/>
                <a:gd name="connsiteY26" fmla="*/ 85375 h 788699"/>
                <a:gd name="connsiteX27" fmla="*/ 228006 w 516735"/>
                <a:gd name="connsiteY27" fmla="*/ 69057 h 788699"/>
                <a:gd name="connsiteX28" fmla="*/ 268801 w 516735"/>
                <a:gd name="connsiteY28" fmla="*/ 58178 h 788699"/>
                <a:gd name="connsiteX29" fmla="*/ 274240 w 516735"/>
                <a:gd name="connsiteY29" fmla="*/ 58178 h 788699"/>
                <a:gd name="connsiteX30" fmla="*/ 295997 w 516735"/>
                <a:gd name="connsiteY30" fmla="*/ 60898 h 788699"/>
                <a:gd name="connsiteX31" fmla="*/ 331353 w 516735"/>
                <a:gd name="connsiteY31" fmla="*/ 71776 h 788699"/>
                <a:gd name="connsiteX32" fmla="*/ 350390 w 516735"/>
                <a:gd name="connsiteY32" fmla="*/ 93534 h 788699"/>
                <a:gd name="connsiteX33" fmla="*/ 353110 w 516735"/>
                <a:gd name="connsiteY33" fmla="*/ 74496 h 788699"/>
                <a:gd name="connsiteX34" fmla="*/ 358549 w 516735"/>
                <a:gd name="connsiteY34" fmla="*/ 63618 h 788699"/>
                <a:gd name="connsiteX35" fmla="*/ 366708 w 516735"/>
                <a:gd name="connsiteY35" fmla="*/ 58178 h 788699"/>
                <a:gd name="connsiteX36" fmla="*/ 374867 w 516735"/>
                <a:gd name="connsiteY36" fmla="*/ 63618 h 788699"/>
                <a:gd name="connsiteX37" fmla="*/ 383027 w 516735"/>
                <a:gd name="connsiteY37" fmla="*/ 82655 h 788699"/>
                <a:gd name="connsiteX38" fmla="*/ 385746 w 516735"/>
                <a:gd name="connsiteY38" fmla="*/ 126170 h 788699"/>
                <a:gd name="connsiteX39" fmla="*/ 388466 w 516735"/>
                <a:gd name="connsiteY39" fmla="*/ 186002 h 788699"/>
                <a:gd name="connsiteX40" fmla="*/ 391185 w 516735"/>
                <a:gd name="connsiteY40" fmla="*/ 237676 h 788699"/>
                <a:gd name="connsiteX41" fmla="*/ 374867 w 516735"/>
                <a:gd name="connsiteY41" fmla="*/ 278470 h 788699"/>
                <a:gd name="connsiteX42" fmla="*/ 358549 w 516735"/>
                <a:gd name="connsiteY42" fmla="*/ 273031 h 788699"/>
                <a:gd name="connsiteX43" fmla="*/ 350390 w 516735"/>
                <a:gd name="connsiteY43" fmla="*/ 256713 h 788699"/>
                <a:gd name="connsiteX44" fmla="*/ 347671 w 516735"/>
                <a:gd name="connsiteY44" fmla="*/ 240395 h 788699"/>
                <a:gd name="connsiteX45" fmla="*/ 347671 w 516735"/>
                <a:gd name="connsiteY45" fmla="*/ 213199 h 788699"/>
                <a:gd name="connsiteX46" fmla="*/ 344951 w 516735"/>
                <a:gd name="connsiteY46" fmla="*/ 194161 h 788699"/>
                <a:gd name="connsiteX47" fmla="*/ 339512 w 516735"/>
                <a:gd name="connsiteY47" fmla="*/ 150647 h 788699"/>
                <a:gd name="connsiteX48" fmla="*/ 323194 w 516735"/>
                <a:gd name="connsiteY48" fmla="*/ 112571 h 788699"/>
                <a:gd name="connsiteX49" fmla="*/ 293278 w 516735"/>
                <a:gd name="connsiteY49" fmla="*/ 101693 h 788699"/>
                <a:gd name="connsiteX50" fmla="*/ 263361 w 516735"/>
                <a:gd name="connsiteY50" fmla="*/ 120730 h 788699"/>
                <a:gd name="connsiteX51" fmla="*/ 241604 w 516735"/>
                <a:gd name="connsiteY51" fmla="*/ 153366 h 788699"/>
                <a:gd name="connsiteX52" fmla="*/ 233445 w 516735"/>
                <a:gd name="connsiteY52" fmla="*/ 194161 h 788699"/>
                <a:gd name="connsiteX53" fmla="*/ 225286 w 516735"/>
                <a:gd name="connsiteY53" fmla="*/ 232236 h 788699"/>
                <a:gd name="connsiteX54" fmla="*/ 217127 w 516735"/>
                <a:gd name="connsiteY54" fmla="*/ 275751 h 788699"/>
                <a:gd name="connsiteX55" fmla="*/ 211688 w 516735"/>
                <a:gd name="connsiteY55" fmla="*/ 316545 h 788699"/>
                <a:gd name="connsiteX56" fmla="*/ 206249 w 516735"/>
                <a:gd name="connsiteY56" fmla="*/ 354621 h 788699"/>
                <a:gd name="connsiteX57" fmla="*/ 200809 w 516735"/>
                <a:gd name="connsiteY57" fmla="*/ 398135 h 788699"/>
                <a:gd name="connsiteX58" fmla="*/ 195370 w 516735"/>
                <a:gd name="connsiteY58" fmla="*/ 438930 h 788699"/>
                <a:gd name="connsiteX59" fmla="*/ 192650 w 516735"/>
                <a:gd name="connsiteY59" fmla="*/ 474286 h 788699"/>
                <a:gd name="connsiteX60" fmla="*/ 195370 w 516735"/>
                <a:gd name="connsiteY60" fmla="*/ 525959 h 788699"/>
                <a:gd name="connsiteX61" fmla="*/ 208968 w 516735"/>
                <a:gd name="connsiteY61" fmla="*/ 596670 h 788699"/>
                <a:gd name="connsiteX62" fmla="*/ 214407 w 516735"/>
                <a:gd name="connsiteY62" fmla="*/ 623867 h 788699"/>
                <a:gd name="connsiteX63" fmla="*/ 228006 w 516735"/>
                <a:gd name="connsiteY63" fmla="*/ 656502 h 788699"/>
                <a:gd name="connsiteX64" fmla="*/ 271520 w 516735"/>
                <a:gd name="connsiteY64" fmla="*/ 689138 h 788699"/>
                <a:gd name="connsiteX65" fmla="*/ 306876 w 516735"/>
                <a:gd name="connsiteY65" fmla="*/ 664661 h 788699"/>
                <a:gd name="connsiteX66" fmla="*/ 331353 w 516735"/>
                <a:gd name="connsiteY66" fmla="*/ 602109 h 788699"/>
                <a:gd name="connsiteX67" fmla="*/ 336792 w 516735"/>
                <a:gd name="connsiteY67" fmla="*/ 544997 h 788699"/>
                <a:gd name="connsiteX68" fmla="*/ 336792 w 516735"/>
                <a:gd name="connsiteY68" fmla="*/ 498762 h 788699"/>
                <a:gd name="connsiteX69" fmla="*/ 336792 w 516735"/>
                <a:gd name="connsiteY69" fmla="*/ 490603 h 788699"/>
                <a:gd name="connsiteX70" fmla="*/ 320474 w 516735"/>
                <a:gd name="connsiteY70" fmla="*/ 477005 h 788699"/>
                <a:gd name="connsiteX71" fmla="*/ 282399 w 516735"/>
                <a:gd name="connsiteY71" fmla="*/ 479725 h 788699"/>
                <a:gd name="connsiteX72" fmla="*/ 252483 w 516735"/>
                <a:gd name="connsiteY72" fmla="*/ 474286 h 788699"/>
                <a:gd name="connsiteX73" fmla="*/ 247044 w 516735"/>
                <a:gd name="connsiteY73" fmla="*/ 466126 h 788699"/>
                <a:gd name="connsiteX74" fmla="*/ 249763 w 516735"/>
                <a:gd name="connsiteY74" fmla="*/ 457968 h 788699"/>
                <a:gd name="connsiteX75" fmla="*/ 268801 w 516735"/>
                <a:gd name="connsiteY75" fmla="*/ 447089 h 788699"/>
                <a:gd name="connsiteX76" fmla="*/ 312315 w 516735"/>
                <a:gd name="connsiteY76" fmla="*/ 436210 h 788699"/>
                <a:gd name="connsiteX77" fmla="*/ 353110 w 516735"/>
                <a:gd name="connsiteY77" fmla="*/ 430771 h 788699"/>
                <a:gd name="connsiteX78" fmla="*/ 385746 w 516735"/>
                <a:gd name="connsiteY78" fmla="*/ 430771 h 788699"/>
                <a:gd name="connsiteX79" fmla="*/ 437420 w 516735"/>
                <a:gd name="connsiteY79" fmla="*/ 428051 h 788699"/>
                <a:gd name="connsiteX80" fmla="*/ 464616 w 516735"/>
                <a:gd name="connsiteY80" fmla="*/ 436210 h 7886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</a:cxnLst>
              <a:rect l="l" t="t" r="r" b="b"/>
              <a:pathLst>
                <a:path w="516735" h="788699">
                  <a:moveTo>
                    <a:pt x="464616" y="436210"/>
                  </a:moveTo>
                  <a:cubicBezTo>
                    <a:pt x="464616" y="447089"/>
                    <a:pt x="453738" y="452528"/>
                    <a:pt x="445578" y="455248"/>
                  </a:cubicBezTo>
                  <a:cubicBezTo>
                    <a:pt x="434700" y="460687"/>
                    <a:pt x="415662" y="463407"/>
                    <a:pt x="404783" y="466126"/>
                  </a:cubicBezTo>
                  <a:cubicBezTo>
                    <a:pt x="393905" y="466126"/>
                    <a:pt x="385746" y="468846"/>
                    <a:pt x="385746" y="479725"/>
                  </a:cubicBezTo>
                  <a:cubicBezTo>
                    <a:pt x="385746" y="487884"/>
                    <a:pt x="388466" y="506921"/>
                    <a:pt x="388466" y="512361"/>
                  </a:cubicBezTo>
                  <a:cubicBezTo>
                    <a:pt x="388466" y="515080"/>
                    <a:pt x="388466" y="539557"/>
                    <a:pt x="388466" y="544997"/>
                  </a:cubicBezTo>
                  <a:cubicBezTo>
                    <a:pt x="388466" y="550436"/>
                    <a:pt x="388466" y="558595"/>
                    <a:pt x="388466" y="566754"/>
                  </a:cubicBezTo>
                  <a:cubicBezTo>
                    <a:pt x="388466" y="591231"/>
                    <a:pt x="388466" y="621147"/>
                    <a:pt x="391185" y="632026"/>
                  </a:cubicBezTo>
                  <a:cubicBezTo>
                    <a:pt x="393905" y="653783"/>
                    <a:pt x="393905" y="661942"/>
                    <a:pt x="393905" y="683699"/>
                  </a:cubicBezTo>
                  <a:cubicBezTo>
                    <a:pt x="393905" y="694578"/>
                    <a:pt x="393905" y="724494"/>
                    <a:pt x="377587" y="724494"/>
                  </a:cubicBezTo>
                  <a:cubicBezTo>
                    <a:pt x="369428" y="724494"/>
                    <a:pt x="366708" y="721774"/>
                    <a:pt x="361269" y="719054"/>
                  </a:cubicBezTo>
                  <a:cubicBezTo>
                    <a:pt x="355830" y="716335"/>
                    <a:pt x="353110" y="708176"/>
                    <a:pt x="353110" y="702737"/>
                  </a:cubicBezTo>
                  <a:cubicBezTo>
                    <a:pt x="350390" y="694578"/>
                    <a:pt x="350390" y="689138"/>
                    <a:pt x="350390" y="686419"/>
                  </a:cubicBezTo>
                  <a:cubicBezTo>
                    <a:pt x="350390" y="678260"/>
                    <a:pt x="353110" y="672820"/>
                    <a:pt x="353110" y="659222"/>
                  </a:cubicBezTo>
                  <a:lnTo>
                    <a:pt x="353110" y="656502"/>
                  </a:lnTo>
                  <a:cubicBezTo>
                    <a:pt x="347671" y="675540"/>
                    <a:pt x="334073" y="694578"/>
                    <a:pt x="317754" y="708176"/>
                  </a:cubicBezTo>
                  <a:cubicBezTo>
                    <a:pt x="293278" y="727214"/>
                    <a:pt x="274240" y="735372"/>
                    <a:pt x="241604" y="735372"/>
                  </a:cubicBezTo>
                  <a:cubicBezTo>
                    <a:pt x="222566" y="735372"/>
                    <a:pt x="203529" y="732653"/>
                    <a:pt x="187211" y="727214"/>
                  </a:cubicBezTo>
                  <a:cubicBezTo>
                    <a:pt x="165454" y="719054"/>
                    <a:pt x="149136" y="708176"/>
                    <a:pt x="135537" y="694578"/>
                  </a:cubicBezTo>
                  <a:cubicBezTo>
                    <a:pt x="113780" y="672820"/>
                    <a:pt x="100182" y="648343"/>
                    <a:pt x="86583" y="621147"/>
                  </a:cubicBezTo>
                  <a:cubicBezTo>
                    <a:pt x="75705" y="599390"/>
                    <a:pt x="70266" y="580352"/>
                    <a:pt x="67546" y="555875"/>
                  </a:cubicBezTo>
                  <a:cubicBezTo>
                    <a:pt x="64826" y="539557"/>
                    <a:pt x="62107" y="525959"/>
                    <a:pt x="59387" y="509641"/>
                  </a:cubicBezTo>
                  <a:cubicBezTo>
                    <a:pt x="56667" y="493323"/>
                    <a:pt x="59387" y="485164"/>
                    <a:pt x="59387" y="468846"/>
                  </a:cubicBezTo>
                  <a:cubicBezTo>
                    <a:pt x="59387" y="414453"/>
                    <a:pt x="72985" y="362780"/>
                    <a:pt x="86583" y="302947"/>
                  </a:cubicBezTo>
                  <a:cubicBezTo>
                    <a:pt x="92023" y="275751"/>
                    <a:pt x="100182" y="248554"/>
                    <a:pt x="108341" y="224077"/>
                  </a:cubicBezTo>
                  <a:cubicBezTo>
                    <a:pt x="116500" y="196881"/>
                    <a:pt x="130098" y="169684"/>
                    <a:pt x="146416" y="145207"/>
                  </a:cubicBezTo>
                  <a:cubicBezTo>
                    <a:pt x="160014" y="123450"/>
                    <a:pt x="176332" y="101693"/>
                    <a:pt x="198090" y="85375"/>
                  </a:cubicBezTo>
                  <a:cubicBezTo>
                    <a:pt x="206249" y="77216"/>
                    <a:pt x="217127" y="71776"/>
                    <a:pt x="228006" y="69057"/>
                  </a:cubicBezTo>
                  <a:cubicBezTo>
                    <a:pt x="241604" y="63618"/>
                    <a:pt x="255202" y="58178"/>
                    <a:pt x="268801" y="58178"/>
                  </a:cubicBezTo>
                  <a:cubicBezTo>
                    <a:pt x="271520" y="58178"/>
                    <a:pt x="274240" y="58178"/>
                    <a:pt x="274240" y="58178"/>
                  </a:cubicBezTo>
                  <a:cubicBezTo>
                    <a:pt x="279679" y="58178"/>
                    <a:pt x="285119" y="58178"/>
                    <a:pt x="295997" y="60898"/>
                  </a:cubicBezTo>
                  <a:cubicBezTo>
                    <a:pt x="309595" y="63618"/>
                    <a:pt x="320474" y="66337"/>
                    <a:pt x="331353" y="71776"/>
                  </a:cubicBezTo>
                  <a:cubicBezTo>
                    <a:pt x="339512" y="77216"/>
                    <a:pt x="347671" y="85375"/>
                    <a:pt x="350390" y="93534"/>
                  </a:cubicBezTo>
                  <a:cubicBezTo>
                    <a:pt x="350390" y="88095"/>
                    <a:pt x="353110" y="79936"/>
                    <a:pt x="353110" y="74496"/>
                  </a:cubicBezTo>
                  <a:cubicBezTo>
                    <a:pt x="355830" y="71776"/>
                    <a:pt x="355830" y="69057"/>
                    <a:pt x="358549" y="63618"/>
                  </a:cubicBezTo>
                  <a:cubicBezTo>
                    <a:pt x="361269" y="60898"/>
                    <a:pt x="363989" y="58178"/>
                    <a:pt x="366708" y="58178"/>
                  </a:cubicBezTo>
                  <a:cubicBezTo>
                    <a:pt x="369428" y="58178"/>
                    <a:pt x="372148" y="60898"/>
                    <a:pt x="374867" y="63618"/>
                  </a:cubicBezTo>
                  <a:cubicBezTo>
                    <a:pt x="377587" y="69057"/>
                    <a:pt x="380307" y="77216"/>
                    <a:pt x="383027" y="82655"/>
                  </a:cubicBezTo>
                  <a:cubicBezTo>
                    <a:pt x="383027" y="90814"/>
                    <a:pt x="385746" y="107132"/>
                    <a:pt x="385746" y="126170"/>
                  </a:cubicBezTo>
                  <a:cubicBezTo>
                    <a:pt x="385746" y="150647"/>
                    <a:pt x="385746" y="177843"/>
                    <a:pt x="388466" y="186002"/>
                  </a:cubicBezTo>
                  <a:cubicBezTo>
                    <a:pt x="391185" y="207759"/>
                    <a:pt x="391185" y="215918"/>
                    <a:pt x="391185" y="237676"/>
                  </a:cubicBezTo>
                  <a:cubicBezTo>
                    <a:pt x="391185" y="248554"/>
                    <a:pt x="391185" y="278470"/>
                    <a:pt x="374867" y="278470"/>
                  </a:cubicBezTo>
                  <a:cubicBezTo>
                    <a:pt x="366708" y="278470"/>
                    <a:pt x="363989" y="275751"/>
                    <a:pt x="358549" y="273031"/>
                  </a:cubicBezTo>
                  <a:cubicBezTo>
                    <a:pt x="353110" y="270311"/>
                    <a:pt x="350390" y="262152"/>
                    <a:pt x="350390" y="256713"/>
                  </a:cubicBezTo>
                  <a:cubicBezTo>
                    <a:pt x="350390" y="251274"/>
                    <a:pt x="347671" y="245834"/>
                    <a:pt x="347671" y="240395"/>
                  </a:cubicBezTo>
                  <a:cubicBezTo>
                    <a:pt x="347671" y="232236"/>
                    <a:pt x="347671" y="224077"/>
                    <a:pt x="347671" y="213199"/>
                  </a:cubicBezTo>
                  <a:cubicBezTo>
                    <a:pt x="347671" y="207759"/>
                    <a:pt x="347671" y="199600"/>
                    <a:pt x="344951" y="194161"/>
                  </a:cubicBezTo>
                  <a:cubicBezTo>
                    <a:pt x="342232" y="180563"/>
                    <a:pt x="342232" y="164245"/>
                    <a:pt x="339512" y="150647"/>
                  </a:cubicBezTo>
                  <a:cubicBezTo>
                    <a:pt x="336792" y="137048"/>
                    <a:pt x="331353" y="123450"/>
                    <a:pt x="323194" y="112571"/>
                  </a:cubicBezTo>
                  <a:cubicBezTo>
                    <a:pt x="317754" y="104412"/>
                    <a:pt x="304156" y="101693"/>
                    <a:pt x="293278" y="101693"/>
                  </a:cubicBezTo>
                  <a:cubicBezTo>
                    <a:pt x="279679" y="101693"/>
                    <a:pt x="271520" y="109852"/>
                    <a:pt x="263361" y="120730"/>
                  </a:cubicBezTo>
                  <a:cubicBezTo>
                    <a:pt x="257922" y="131609"/>
                    <a:pt x="247044" y="139768"/>
                    <a:pt x="241604" y="153366"/>
                  </a:cubicBezTo>
                  <a:cubicBezTo>
                    <a:pt x="236165" y="166964"/>
                    <a:pt x="233445" y="180563"/>
                    <a:pt x="233445" y="194161"/>
                  </a:cubicBezTo>
                  <a:cubicBezTo>
                    <a:pt x="233445" y="207759"/>
                    <a:pt x="230725" y="218638"/>
                    <a:pt x="225286" y="232236"/>
                  </a:cubicBezTo>
                  <a:cubicBezTo>
                    <a:pt x="219847" y="245834"/>
                    <a:pt x="219847" y="262152"/>
                    <a:pt x="217127" y="275751"/>
                  </a:cubicBezTo>
                  <a:cubicBezTo>
                    <a:pt x="214407" y="289349"/>
                    <a:pt x="214407" y="302947"/>
                    <a:pt x="211688" y="316545"/>
                  </a:cubicBezTo>
                  <a:cubicBezTo>
                    <a:pt x="211688" y="330144"/>
                    <a:pt x="206249" y="341022"/>
                    <a:pt x="206249" y="354621"/>
                  </a:cubicBezTo>
                  <a:cubicBezTo>
                    <a:pt x="203529" y="368219"/>
                    <a:pt x="203529" y="381817"/>
                    <a:pt x="200809" y="398135"/>
                  </a:cubicBezTo>
                  <a:cubicBezTo>
                    <a:pt x="198090" y="411733"/>
                    <a:pt x="198090" y="425332"/>
                    <a:pt x="195370" y="438930"/>
                  </a:cubicBezTo>
                  <a:cubicBezTo>
                    <a:pt x="195370" y="449809"/>
                    <a:pt x="192650" y="463407"/>
                    <a:pt x="192650" y="474286"/>
                  </a:cubicBezTo>
                  <a:cubicBezTo>
                    <a:pt x="192650" y="490603"/>
                    <a:pt x="195370" y="509641"/>
                    <a:pt x="195370" y="525959"/>
                  </a:cubicBezTo>
                  <a:cubicBezTo>
                    <a:pt x="195370" y="550436"/>
                    <a:pt x="203529" y="572193"/>
                    <a:pt x="208968" y="596670"/>
                  </a:cubicBezTo>
                  <a:cubicBezTo>
                    <a:pt x="211688" y="604829"/>
                    <a:pt x="211688" y="615708"/>
                    <a:pt x="214407" y="623867"/>
                  </a:cubicBezTo>
                  <a:cubicBezTo>
                    <a:pt x="217127" y="634745"/>
                    <a:pt x="222566" y="645624"/>
                    <a:pt x="228006" y="656502"/>
                  </a:cubicBezTo>
                  <a:cubicBezTo>
                    <a:pt x="236165" y="670101"/>
                    <a:pt x="252483" y="689138"/>
                    <a:pt x="271520" y="689138"/>
                  </a:cubicBezTo>
                  <a:cubicBezTo>
                    <a:pt x="287838" y="689138"/>
                    <a:pt x="298717" y="675540"/>
                    <a:pt x="306876" y="664661"/>
                  </a:cubicBezTo>
                  <a:cubicBezTo>
                    <a:pt x="320474" y="645624"/>
                    <a:pt x="325914" y="623867"/>
                    <a:pt x="331353" y="602109"/>
                  </a:cubicBezTo>
                  <a:cubicBezTo>
                    <a:pt x="334073" y="583072"/>
                    <a:pt x="336792" y="564034"/>
                    <a:pt x="336792" y="544997"/>
                  </a:cubicBezTo>
                  <a:cubicBezTo>
                    <a:pt x="336792" y="531398"/>
                    <a:pt x="336792" y="512361"/>
                    <a:pt x="336792" y="498762"/>
                  </a:cubicBezTo>
                  <a:cubicBezTo>
                    <a:pt x="336792" y="496043"/>
                    <a:pt x="336792" y="493323"/>
                    <a:pt x="336792" y="490603"/>
                  </a:cubicBezTo>
                  <a:cubicBezTo>
                    <a:pt x="336792" y="479725"/>
                    <a:pt x="336792" y="477005"/>
                    <a:pt x="320474" y="477005"/>
                  </a:cubicBezTo>
                  <a:cubicBezTo>
                    <a:pt x="309595" y="477005"/>
                    <a:pt x="295997" y="479725"/>
                    <a:pt x="282399" y="479725"/>
                  </a:cubicBezTo>
                  <a:cubicBezTo>
                    <a:pt x="271520" y="479725"/>
                    <a:pt x="260642" y="479725"/>
                    <a:pt x="252483" y="474286"/>
                  </a:cubicBezTo>
                  <a:cubicBezTo>
                    <a:pt x="249763" y="471566"/>
                    <a:pt x="247044" y="468846"/>
                    <a:pt x="247044" y="466126"/>
                  </a:cubicBezTo>
                  <a:cubicBezTo>
                    <a:pt x="247044" y="463407"/>
                    <a:pt x="247044" y="460687"/>
                    <a:pt x="249763" y="457968"/>
                  </a:cubicBezTo>
                  <a:cubicBezTo>
                    <a:pt x="255202" y="452528"/>
                    <a:pt x="260642" y="449809"/>
                    <a:pt x="268801" y="447089"/>
                  </a:cubicBezTo>
                  <a:cubicBezTo>
                    <a:pt x="282399" y="441650"/>
                    <a:pt x="295997" y="438930"/>
                    <a:pt x="312315" y="436210"/>
                  </a:cubicBezTo>
                  <a:cubicBezTo>
                    <a:pt x="325914" y="433491"/>
                    <a:pt x="339512" y="433491"/>
                    <a:pt x="353110" y="430771"/>
                  </a:cubicBezTo>
                  <a:cubicBezTo>
                    <a:pt x="363989" y="430771"/>
                    <a:pt x="374867" y="430771"/>
                    <a:pt x="385746" y="430771"/>
                  </a:cubicBezTo>
                  <a:cubicBezTo>
                    <a:pt x="402064" y="430771"/>
                    <a:pt x="426541" y="428051"/>
                    <a:pt x="437420" y="428051"/>
                  </a:cubicBezTo>
                  <a:cubicBezTo>
                    <a:pt x="451018" y="422612"/>
                    <a:pt x="464616" y="425332"/>
                    <a:pt x="464616" y="436210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/>
            </a:p>
          </p:txBody>
        </p:sp>
        <p:sp>
          <p:nvSpPr>
            <p:cNvPr id="49" name="Freeform: Shape 48">
              <a:extLst>
                <a:ext uri="{FF2B5EF4-FFF2-40B4-BE49-F238E27FC236}">
                  <a16:creationId xmlns:a16="http://schemas.microsoft.com/office/drawing/2014/main" id="{3894E878-CEB4-4E65-853B-05717F1F47A5}"/>
                </a:ext>
              </a:extLst>
            </p:cNvPr>
            <p:cNvSpPr/>
            <p:nvPr/>
          </p:nvSpPr>
          <p:spPr>
            <a:xfrm>
              <a:off x="9053923" y="4178559"/>
              <a:ext cx="625521" cy="788700"/>
            </a:xfrm>
            <a:custGeom>
              <a:avLst/>
              <a:gdLst>
                <a:gd name="connsiteX0" fmla="*/ 536838 w 625521"/>
                <a:gd name="connsiteY0" fmla="*/ 680979 h 788699"/>
                <a:gd name="connsiteX1" fmla="*/ 574913 w 625521"/>
                <a:gd name="connsiteY1" fmla="*/ 697297 h 788699"/>
                <a:gd name="connsiteX2" fmla="*/ 566755 w 625521"/>
                <a:gd name="connsiteY2" fmla="*/ 713615 h 788699"/>
                <a:gd name="connsiteX3" fmla="*/ 550437 w 625521"/>
                <a:gd name="connsiteY3" fmla="*/ 721774 h 788699"/>
                <a:gd name="connsiteX4" fmla="*/ 528680 w 625521"/>
                <a:gd name="connsiteY4" fmla="*/ 724494 h 788699"/>
                <a:gd name="connsiteX5" fmla="*/ 417174 w 625521"/>
                <a:gd name="connsiteY5" fmla="*/ 724494 h 788699"/>
                <a:gd name="connsiteX6" fmla="*/ 398136 w 625521"/>
                <a:gd name="connsiteY6" fmla="*/ 724494 h 788699"/>
                <a:gd name="connsiteX7" fmla="*/ 373659 w 625521"/>
                <a:gd name="connsiteY7" fmla="*/ 724494 h 788699"/>
                <a:gd name="connsiteX8" fmla="*/ 346462 w 625521"/>
                <a:gd name="connsiteY8" fmla="*/ 719054 h 788699"/>
                <a:gd name="connsiteX9" fmla="*/ 330144 w 625521"/>
                <a:gd name="connsiteY9" fmla="*/ 702737 h 788699"/>
                <a:gd name="connsiteX10" fmla="*/ 335584 w 625521"/>
                <a:gd name="connsiteY10" fmla="*/ 694578 h 788699"/>
                <a:gd name="connsiteX11" fmla="*/ 357341 w 625521"/>
                <a:gd name="connsiteY11" fmla="*/ 686419 h 788699"/>
                <a:gd name="connsiteX12" fmla="*/ 395416 w 625521"/>
                <a:gd name="connsiteY12" fmla="*/ 680979 h 788699"/>
                <a:gd name="connsiteX13" fmla="*/ 381817 w 625521"/>
                <a:gd name="connsiteY13" fmla="*/ 656502 h 788699"/>
                <a:gd name="connsiteX14" fmla="*/ 379098 w 625521"/>
                <a:gd name="connsiteY14" fmla="*/ 585791 h 788699"/>
                <a:gd name="connsiteX15" fmla="*/ 379098 w 625521"/>
                <a:gd name="connsiteY15" fmla="*/ 517800 h 788699"/>
                <a:gd name="connsiteX16" fmla="*/ 379098 w 625521"/>
                <a:gd name="connsiteY16" fmla="*/ 474286 h 788699"/>
                <a:gd name="connsiteX17" fmla="*/ 379098 w 625521"/>
                <a:gd name="connsiteY17" fmla="*/ 430771 h 788699"/>
                <a:gd name="connsiteX18" fmla="*/ 381817 w 625521"/>
                <a:gd name="connsiteY18" fmla="*/ 411733 h 788699"/>
                <a:gd name="connsiteX19" fmla="*/ 379098 w 625521"/>
                <a:gd name="connsiteY19" fmla="*/ 400855 h 788699"/>
                <a:gd name="connsiteX20" fmla="*/ 370939 w 625521"/>
                <a:gd name="connsiteY20" fmla="*/ 398135 h 788699"/>
                <a:gd name="connsiteX21" fmla="*/ 338304 w 625521"/>
                <a:gd name="connsiteY21" fmla="*/ 400855 h 788699"/>
                <a:gd name="connsiteX22" fmla="*/ 289349 w 625521"/>
                <a:gd name="connsiteY22" fmla="*/ 403575 h 788699"/>
                <a:gd name="connsiteX23" fmla="*/ 264872 w 625521"/>
                <a:gd name="connsiteY23" fmla="*/ 400855 h 788699"/>
                <a:gd name="connsiteX24" fmla="*/ 259433 w 625521"/>
                <a:gd name="connsiteY24" fmla="*/ 406294 h 788699"/>
                <a:gd name="connsiteX25" fmla="*/ 259433 w 625521"/>
                <a:gd name="connsiteY25" fmla="*/ 425332 h 788699"/>
                <a:gd name="connsiteX26" fmla="*/ 259433 w 625521"/>
                <a:gd name="connsiteY26" fmla="*/ 449809 h 788699"/>
                <a:gd name="connsiteX27" fmla="*/ 259433 w 625521"/>
                <a:gd name="connsiteY27" fmla="*/ 471566 h 788699"/>
                <a:gd name="connsiteX28" fmla="*/ 259433 w 625521"/>
                <a:gd name="connsiteY28" fmla="*/ 504202 h 788699"/>
                <a:gd name="connsiteX29" fmla="*/ 259433 w 625521"/>
                <a:gd name="connsiteY29" fmla="*/ 509641 h 788699"/>
                <a:gd name="connsiteX30" fmla="*/ 256714 w 625521"/>
                <a:gd name="connsiteY30" fmla="*/ 542277 h 788699"/>
                <a:gd name="connsiteX31" fmla="*/ 256714 w 625521"/>
                <a:gd name="connsiteY31" fmla="*/ 577632 h 788699"/>
                <a:gd name="connsiteX32" fmla="*/ 256714 w 625521"/>
                <a:gd name="connsiteY32" fmla="*/ 612988 h 788699"/>
                <a:gd name="connsiteX33" fmla="*/ 253994 w 625521"/>
                <a:gd name="connsiteY33" fmla="*/ 656502 h 788699"/>
                <a:gd name="connsiteX34" fmla="*/ 256714 w 625521"/>
                <a:gd name="connsiteY34" fmla="*/ 678260 h 788699"/>
                <a:gd name="connsiteX35" fmla="*/ 286629 w 625521"/>
                <a:gd name="connsiteY35" fmla="*/ 694578 h 788699"/>
                <a:gd name="connsiteX36" fmla="*/ 281191 w 625521"/>
                <a:gd name="connsiteY36" fmla="*/ 710895 h 788699"/>
                <a:gd name="connsiteX37" fmla="*/ 264872 w 625521"/>
                <a:gd name="connsiteY37" fmla="*/ 719054 h 788699"/>
                <a:gd name="connsiteX38" fmla="*/ 243116 w 625521"/>
                <a:gd name="connsiteY38" fmla="*/ 721774 h 788699"/>
                <a:gd name="connsiteX39" fmla="*/ 243116 w 625521"/>
                <a:gd name="connsiteY39" fmla="*/ 721774 h 788699"/>
                <a:gd name="connsiteX40" fmla="*/ 232236 w 625521"/>
                <a:gd name="connsiteY40" fmla="*/ 727214 h 788699"/>
                <a:gd name="connsiteX41" fmla="*/ 224078 w 625521"/>
                <a:gd name="connsiteY41" fmla="*/ 735372 h 788699"/>
                <a:gd name="connsiteX42" fmla="*/ 213199 w 625521"/>
                <a:gd name="connsiteY42" fmla="*/ 738092 h 788699"/>
                <a:gd name="connsiteX43" fmla="*/ 183283 w 625521"/>
                <a:gd name="connsiteY43" fmla="*/ 727214 h 788699"/>
                <a:gd name="connsiteX44" fmla="*/ 175124 w 625521"/>
                <a:gd name="connsiteY44" fmla="*/ 719054 h 788699"/>
                <a:gd name="connsiteX45" fmla="*/ 145208 w 625521"/>
                <a:gd name="connsiteY45" fmla="*/ 719054 h 788699"/>
                <a:gd name="connsiteX46" fmla="*/ 126170 w 625521"/>
                <a:gd name="connsiteY46" fmla="*/ 719054 h 788699"/>
                <a:gd name="connsiteX47" fmla="*/ 101693 w 625521"/>
                <a:gd name="connsiteY47" fmla="*/ 719054 h 788699"/>
                <a:gd name="connsiteX48" fmla="*/ 74496 w 625521"/>
                <a:gd name="connsiteY48" fmla="*/ 713615 h 788699"/>
                <a:gd name="connsiteX49" fmla="*/ 58178 w 625521"/>
                <a:gd name="connsiteY49" fmla="*/ 697297 h 788699"/>
                <a:gd name="connsiteX50" fmla="*/ 63618 w 625521"/>
                <a:gd name="connsiteY50" fmla="*/ 689138 h 788699"/>
                <a:gd name="connsiteX51" fmla="*/ 85375 w 625521"/>
                <a:gd name="connsiteY51" fmla="*/ 680979 h 788699"/>
                <a:gd name="connsiteX52" fmla="*/ 131609 w 625521"/>
                <a:gd name="connsiteY52" fmla="*/ 675540 h 788699"/>
                <a:gd name="connsiteX53" fmla="*/ 131609 w 625521"/>
                <a:gd name="connsiteY53" fmla="*/ 667381 h 788699"/>
                <a:gd name="connsiteX54" fmla="*/ 131609 w 625521"/>
                <a:gd name="connsiteY54" fmla="*/ 651063 h 788699"/>
                <a:gd name="connsiteX55" fmla="*/ 131609 w 625521"/>
                <a:gd name="connsiteY55" fmla="*/ 618427 h 788699"/>
                <a:gd name="connsiteX56" fmla="*/ 131609 w 625521"/>
                <a:gd name="connsiteY56" fmla="*/ 580352 h 788699"/>
                <a:gd name="connsiteX57" fmla="*/ 131609 w 625521"/>
                <a:gd name="connsiteY57" fmla="*/ 531398 h 788699"/>
                <a:gd name="connsiteX58" fmla="*/ 131609 w 625521"/>
                <a:gd name="connsiteY58" fmla="*/ 466126 h 788699"/>
                <a:gd name="connsiteX59" fmla="*/ 131609 w 625521"/>
                <a:gd name="connsiteY59" fmla="*/ 422612 h 788699"/>
                <a:gd name="connsiteX60" fmla="*/ 131609 w 625521"/>
                <a:gd name="connsiteY60" fmla="*/ 411733 h 788699"/>
                <a:gd name="connsiteX61" fmla="*/ 131609 w 625521"/>
                <a:gd name="connsiteY61" fmla="*/ 398135 h 788699"/>
                <a:gd name="connsiteX62" fmla="*/ 126170 w 625521"/>
                <a:gd name="connsiteY62" fmla="*/ 389976 h 788699"/>
                <a:gd name="connsiteX63" fmla="*/ 101693 w 625521"/>
                <a:gd name="connsiteY63" fmla="*/ 387257 h 788699"/>
                <a:gd name="connsiteX64" fmla="*/ 77216 w 625521"/>
                <a:gd name="connsiteY64" fmla="*/ 376378 h 788699"/>
                <a:gd name="connsiteX65" fmla="*/ 82655 w 625521"/>
                <a:gd name="connsiteY65" fmla="*/ 368219 h 788699"/>
                <a:gd name="connsiteX66" fmla="*/ 98973 w 625521"/>
                <a:gd name="connsiteY66" fmla="*/ 360060 h 788699"/>
                <a:gd name="connsiteX67" fmla="*/ 118011 w 625521"/>
                <a:gd name="connsiteY67" fmla="*/ 357340 h 788699"/>
                <a:gd name="connsiteX68" fmla="*/ 131609 w 625521"/>
                <a:gd name="connsiteY68" fmla="*/ 351901 h 788699"/>
                <a:gd name="connsiteX69" fmla="*/ 131609 w 625521"/>
                <a:gd name="connsiteY69" fmla="*/ 343742 h 788699"/>
                <a:gd name="connsiteX70" fmla="*/ 131609 w 625521"/>
                <a:gd name="connsiteY70" fmla="*/ 270311 h 788699"/>
                <a:gd name="connsiteX71" fmla="*/ 137048 w 625521"/>
                <a:gd name="connsiteY71" fmla="*/ 145207 h 788699"/>
                <a:gd name="connsiteX72" fmla="*/ 139768 w 625521"/>
                <a:gd name="connsiteY72" fmla="*/ 123450 h 788699"/>
                <a:gd name="connsiteX73" fmla="*/ 123450 w 625521"/>
                <a:gd name="connsiteY73" fmla="*/ 123450 h 788699"/>
                <a:gd name="connsiteX74" fmla="*/ 118011 w 625521"/>
                <a:gd name="connsiteY74" fmla="*/ 123450 h 788699"/>
                <a:gd name="connsiteX75" fmla="*/ 101693 w 625521"/>
                <a:gd name="connsiteY75" fmla="*/ 123450 h 788699"/>
                <a:gd name="connsiteX76" fmla="*/ 74496 w 625521"/>
                <a:gd name="connsiteY76" fmla="*/ 118011 h 788699"/>
                <a:gd name="connsiteX77" fmla="*/ 58178 w 625521"/>
                <a:gd name="connsiteY77" fmla="*/ 101693 h 788699"/>
                <a:gd name="connsiteX78" fmla="*/ 63618 w 625521"/>
                <a:gd name="connsiteY78" fmla="*/ 93534 h 788699"/>
                <a:gd name="connsiteX79" fmla="*/ 85375 w 625521"/>
                <a:gd name="connsiteY79" fmla="*/ 85375 h 788699"/>
                <a:gd name="connsiteX80" fmla="*/ 137048 w 625521"/>
                <a:gd name="connsiteY80" fmla="*/ 82655 h 788699"/>
                <a:gd name="connsiteX81" fmla="*/ 147927 w 625521"/>
                <a:gd name="connsiteY81" fmla="*/ 82655 h 788699"/>
                <a:gd name="connsiteX82" fmla="*/ 186003 w 625521"/>
                <a:gd name="connsiteY82" fmla="*/ 58178 h 788699"/>
                <a:gd name="connsiteX83" fmla="*/ 226797 w 625521"/>
                <a:gd name="connsiteY83" fmla="*/ 79936 h 788699"/>
                <a:gd name="connsiteX84" fmla="*/ 253994 w 625521"/>
                <a:gd name="connsiteY84" fmla="*/ 79936 h 788699"/>
                <a:gd name="connsiteX85" fmla="*/ 294789 w 625521"/>
                <a:gd name="connsiteY85" fmla="*/ 96253 h 788699"/>
                <a:gd name="connsiteX86" fmla="*/ 283910 w 625521"/>
                <a:gd name="connsiteY86" fmla="*/ 112571 h 788699"/>
                <a:gd name="connsiteX87" fmla="*/ 267592 w 625521"/>
                <a:gd name="connsiteY87" fmla="*/ 120730 h 788699"/>
                <a:gd name="connsiteX88" fmla="*/ 245835 w 625521"/>
                <a:gd name="connsiteY88" fmla="*/ 123450 h 788699"/>
                <a:gd name="connsiteX89" fmla="*/ 237676 w 625521"/>
                <a:gd name="connsiteY89" fmla="*/ 123450 h 788699"/>
                <a:gd name="connsiteX90" fmla="*/ 240396 w 625521"/>
                <a:gd name="connsiteY90" fmla="*/ 128889 h 788699"/>
                <a:gd name="connsiteX91" fmla="*/ 251274 w 625521"/>
                <a:gd name="connsiteY91" fmla="*/ 177843 h 788699"/>
                <a:gd name="connsiteX92" fmla="*/ 256714 w 625521"/>
                <a:gd name="connsiteY92" fmla="*/ 226797 h 788699"/>
                <a:gd name="connsiteX93" fmla="*/ 262153 w 625521"/>
                <a:gd name="connsiteY93" fmla="*/ 273031 h 788699"/>
                <a:gd name="connsiteX94" fmla="*/ 262153 w 625521"/>
                <a:gd name="connsiteY94" fmla="*/ 289349 h 788699"/>
                <a:gd name="connsiteX95" fmla="*/ 262153 w 625521"/>
                <a:gd name="connsiteY95" fmla="*/ 297508 h 788699"/>
                <a:gd name="connsiteX96" fmla="*/ 264872 w 625521"/>
                <a:gd name="connsiteY96" fmla="*/ 321985 h 788699"/>
                <a:gd name="connsiteX97" fmla="*/ 270312 w 625521"/>
                <a:gd name="connsiteY97" fmla="*/ 335583 h 788699"/>
                <a:gd name="connsiteX98" fmla="*/ 270312 w 625521"/>
                <a:gd name="connsiteY98" fmla="*/ 338303 h 788699"/>
                <a:gd name="connsiteX99" fmla="*/ 270312 w 625521"/>
                <a:gd name="connsiteY99" fmla="*/ 346462 h 788699"/>
                <a:gd name="connsiteX100" fmla="*/ 278471 w 625521"/>
                <a:gd name="connsiteY100" fmla="*/ 354621 h 788699"/>
                <a:gd name="connsiteX101" fmla="*/ 338304 w 625521"/>
                <a:gd name="connsiteY101" fmla="*/ 349181 h 788699"/>
                <a:gd name="connsiteX102" fmla="*/ 365500 w 625521"/>
                <a:gd name="connsiteY102" fmla="*/ 349181 h 788699"/>
                <a:gd name="connsiteX103" fmla="*/ 381817 w 625521"/>
                <a:gd name="connsiteY103" fmla="*/ 349181 h 788699"/>
                <a:gd name="connsiteX104" fmla="*/ 392697 w 625521"/>
                <a:gd name="connsiteY104" fmla="*/ 338303 h 788699"/>
                <a:gd name="connsiteX105" fmla="*/ 389977 w 625521"/>
                <a:gd name="connsiteY105" fmla="*/ 313826 h 788699"/>
                <a:gd name="connsiteX106" fmla="*/ 392697 w 625521"/>
                <a:gd name="connsiteY106" fmla="*/ 262152 h 788699"/>
                <a:gd name="connsiteX107" fmla="*/ 395416 w 625521"/>
                <a:gd name="connsiteY107" fmla="*/ 224077 h 788699"/>
                <a:gd name="connsiteX108" fmla="*/ 398136 w 625521"/>
                <a:gd name="connsiteY108" fmla="*/ 177843 h 788699"/>
                <a:gd name="connsiteX109" fmla="*/ 395416 w 625521"/>
                <a:gd name="connsiteY109" fmla="*/ 153366 h 788699"/>
                <a:gd name="connsiteX110" fmla="*/ 395416 w 625521"/>
                <a:gd name="connsiteY110" fmla="*/ 137048 h 788699"/>
                <a:gd name="connsiteX111" fmla="*/ 379098 w 625521"/>
                <a:gd name="connsiteY111" fmla="*/ 137048 h 788699"/>
                <a:gd name="connsiteX112" fmla="*/ 351902 w 625521"/>
                <a:gd name="connsiteY112" fmla="*/ 131609 h 788699"/>
                <a:gd name="connsiteX113" fmla="*/ 338304 w 625521"/>
                <a:gd name="connsiteY113" fmla="*/ 115291 h 788699"/>
                <a:gd name="connsiteX114" fmla="*/ 343742 w 625521"/>
                <a:gd name="connsiteY114" fmla="*/ 107132 h 788699"/>
                <a:gd name="connsiteX115" fmla="*/ 362780 w 625521"/>
                <a:gd name="connsiteY115" fmla="*/ 98973 h 788699"/>
                <a:gd name="connsiteX116" fmla="*/ 395416 w 625521"/>
                <a:gd name="connsiteY116" fmla="*/ 96253 h 788699"/>
                <a:gd name="connsiteX117" fmla="*/ 403575 w 625521"/>
                <a:gd name="connsiteY117" fmla="*/ 90814 h 788699"/>
                <a:gd name="connsiteX118" fmla="*/ 422612 w 625521"/>
                <a:gd name="connsiteY118" fmla="*/ 88095 h 788699"/>
                <a:gd name="connsiteX119" fmla="*/ 428052 w 625521"/>
                <a:gd name="connsiteY119" fmla="*/ 88095 h 788699"/>
                <a:gd name="connsiteX120" fmla="*/ 447090 w 625521"/>
                <a:gd name="connsiteY120" fmla="*/ 90814 h 788699"/>
                <a:gd name="connsiteX121" fmla="*/ 455249 w 625521"/>
                <a:gd name="connsiteY121" fmla="*/ 96253 h 788699"/>
                <a:gd name="connsiteX122" fmla="*/ 525960 w 625521"/>
                <a:gd name="connsiteY122" fmla="*/ 93534 h 788699"/>
                <a:gd name="connsiteX123" fmla="*/ 561315 w 625521"/>
                <a:gd name="connsiteY123" fmla="*/ 109852 h 788699"/>
                <a:gd name="connsiteX124" fmla="*/ 555876 w 625521"/>
                <a:gd name="connsiteY124" fmla="*/ 126170 h 788699"/>
                <a:gd name="connsiteX125" fmla="*/ 539558 w 625521"/>
                <a:gd name="connsiteY125" fmla="*/ 134329 h 788699"/>
                <a:gd name="connsiteX126" fmla="*/ 517800 w 625521"/>
                <a:gd name="connsiteY126" fmla="*/ 137048 h 788699"/>
                <a:gd name="connsiteX127" fmla="*/ 477006 w 625521"/>
                <a:gd name="connsiteY127" fmla="*/ 137048 h 788699"/>
                <a:gd name="connsiteX128" fmla="*/ 485165 w 625521"/>
                <a:gd name="connsiteY128" fmla="*/ 161525 h 788699"/>
                <a:gd name="connsiteX129" fmla="*/ 496043 w 625521"/>
                <a:gd name="connsiteY129" fmla="*/ 210479 h 788699"/>
                <a:gd name="connsiteX130" fmla="*/ 501483 w 625521"/>
                <a:gd name="connsiteY130" fmla="*/ 251274 h 788699"/>
                <a:gd name="connsiteX131" fmla="*/ 506922 w 625521"/>
                <a:gd name="connsiteY131" fmla="*/ 292069 h 788699"/>
                <a:gd name="connsiteX132" fmla="*/ 506922 w 625521"/>
                <a:gd name="connsiteY132" fmla="*/ 321985 h 788699"/>
                <a:gd name="connsiteX133" fmla="*/ 509642 w 625521"/>
                <a:gd name="connsiteY133" fmla="*/ 341022 h 788699"/>
                <a:gd name="connsiteX134" fmla="*/ 509642 w 625521"/>
                <a:gd name="connsiteY134" fmla="*/ 343742 h 788699"/>
                <a:gd name="connsiteX135" fmla="*/ 517800 w 625521"/>
                <a:gd name="connsiteY135" fmla="*/ 349181 h 788699"/>
                <a:gd name="connsiteX136" fmla="*/ 528680 w 625521"/>
                <a:gd name="connsiteY136" fmla="*/ 349181 h 788699"/>
                <a:gd name="connsiteX137" fmla="*/ 550437 w 625521"/>
                <a:gd name="connsiteY137" fmla="*/ 357340 h 788699"/>
                <a:gd name="connsiteX138" fmla="*/ 550437 w 625521"/>
                <a:gd name="connsiteY138" fmla="*/ 362780 h 788699"/>
                <a:gd name="connsiteX139" fmla="*/ 534119 w 625521"/>
                <a:gd name="connsiteY139" fmla="*/ 384537 h 788699"/>
                <a:gd name="connsiteX140" fmla="*/ 520520 w 625521"/>
                <a:gd name="connsiteY140" fmla="*/ 389976 h 788699"/>
                <a:gd name="connsiteX141" fmla="*/ 512362 w 625521"/>
                <a:gd name="connsiteY141" fmla="*/ 395415 h 788699"/>
                <a:gd name="connsiteX142" fmla="*/ 512362 w 625521"/>
                <a:gd name="connsiteY142" fmla="*/ 398135 h 788699"/>
                <a:gd name="connsiteX143" fmla="*/ 512362 w 625521"/>
                <a:gd name="connsiteY143" fmla="*/ 409014 h 788699"/>
                <a:gd name="connsiteX144" fmla="*/ 512362 w 625521"/>
                <a:gd name="connsiteY144" fmla="*/ 414453 h 788699"/>
                <a:gd name="connsiteX145" fmla="*/ 512362 w 625521"/>
                <a:gd name="connsiteY145" fmla="*/ 438930 h 788699"/>
                <a:gd name="connsiteX146" fmla="*/ 515081 w 625521"/>
                <a:gd name="connsiteY146" fmla="*/ 504202 h 788699"/>
                <a:gd name="connsiteX147" fmla="*/ 520520 w 625521"/>
                <a:gd name="connsiteY147" fmla="*/ 572193 h 788699"/>
                <a:gd name="connsiteX148" fmla="*/ 517800 w 625521"/>
                <a:gd name="connsiteY148" fmla="*/ 604829 h 788699"/>
                <a:gd name="connsiteX149" fmla="*/ 512362 w 625521"/>
                <a:gd name="connsiteY149" fmla="*/ 661942 h 788699"/>
                <a:gd name="connsiteX150" fmla="*/ 509642 w 625521"/>
                <a:gd name="connsiteY150" fmla="*/ 670101 h 788699"/>
                <a:gd name="connsiteX151" fmla="*/ 512362 w 625521"/>
                <a:gd name="connsiteY151" fmla="*/ 680979 h 788699"/>
                <a:gd name="connsiteX152" fmla="*/ 512362 w 625521"/>
                <a:gd name="connsiteY152" fmla="*/ 686419 h 788699"/>
                <a:gd name="connsiteX153" fmla="*/ 536838 w 625521"/>
                <a:gd name="connsiteY153" fmla="*/ 680979 h 788699"/>
                <a:gd name="connsiteX154" fmla="*/ 536838 w 625521"/>
                <a:gd name="connsiteY154" fmla="*/ 680979 h 7886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</a:cxnLst>
              <a:rect l="l" t="t" r="r" b="b"/>
              <a:pathLst>
                <a:path w="625521" h="788699">
                  <a:moveTo>
                    <a:pt x="536838" y="680979"/>
                  </a:moveTo>
                  <a:cubicBezTo>
                    <a:pt x="550437" y="680979"/>
                    <a:pt x="574913" y="680979"/>
                    <a:pt x="574913" y="697297"/>
                  </a:cubicBezTo>
                  <a:cubicBezTo>
                    <a:pt x="574913" y="705456"/>
                    <a:pt x="572194" y="708176"/>
                    <a:pt x="566755" y="713615"/>
                  </a:cubicBezTo>
                  <a:cubicBezTo>
                    <a:pt x="561315" y="719054"/>
                    <a:pt x="555876" y="721774"/>
                    <a:pt x="550437" y="721774"/>
                  </a:cubicBezTo>
                  <a:cubicBezTo>
                    <a:pt x="539558" y="724494"/>
                    <a:pt x="534119" y="724494"/>
                    <a:pt x="528680" y="724494"/>
                  </a:cubicBezTo>
                  <a:cubicBezTo>
                    <a:pt x="517800" y="724494"/>
                    <a:pt x="428052" y="724494"/>
                    <a:pt x="417174" y="724494"/>
                  </a:cubicBezTo>
                  <a:cubicBezTo>
                    <a:pt x="403575" y="724494"/>
                    <a:pt x="414454" y="724494"/>
                    <a:pt x="398136" y="724494"/>
                  </a:cubicBezTo>
                  <a:cubicBezTo>
                    <a:pt x="389977" y="724494"/>
                    <a:pt x="381817" y="724494"/>
                    <a:pt x="373659" y="724494"/>
                  </a:cubicBezTo>
                  <a:cubicBezTo>
                    <a:pt x="365500" y="724494"/>
                    <a:pt x="354621" y="721774"/>
                    <a:pt x="346462" y="719054"/>
                  </a:cubicBezTo>
                  <a:cubicBezTo>
                    <a:pt x="338304" y="716335"/>
                    <a:pt x="330144" y="708176"/>
                    <a:pt x="330144" y="702737"/>
                  </a:cubicBezTo>
                  <a:cubicBezTo>
                    <a:pt x="330144" y="700017"/>
                    <a:pt x="330144" y="697297"/>
                    <a:pt x="335584" y="694578"/>
                  </a:cubicBezTo>
                  <a:cubicBezTo>
                    <a:pt x="341023" y="691858"/>
                    <a:pt x="351902" y="689138"/>
                    <a:pt x="357341" y="686419"/>
                  </a:cubicBezTo>
                  <a:cubicBezTo>
                    <a:pt x="373659" y="683699"/>
                    <a:pt x="387257" y="680979"/>
                    <a:pt x="395416" y="680979"/>
                  </a:cubicBezTo>
                  <a:cubicBezTo>
                    <a:pt x="387257" y="675540"/>
                    <a:pt x="384537" y="670101"/>
                    <a:pt x="381817" y="656502"/>
                  </a:cubicBezTo>
                  <a:cubicBezTo>
                    <a:pt x="379098" y="632026"/>
                    <a:pt x="379098" y="610268"/>
                    <a:pt x="379098" y="585791"/>
                  </a:cubicBezTo>
                  <a:cubicBezTo>
                    <a:pt x="379098" y="564034"/>
                    <a:pt x="379098" y="542277"/>
                    <a:pt x="379098" y="517800"/>
                  </a:cubicBezTo>
                  <a:cubicBezTo>
                    <a:pt x="379098" y="504202"/>
                    <a:pt x="379098" y="487884"/>
                    <a:pt x="379098" y="474286"/>
                  </a:cubicBezTo>
                  <a:cubicBezTo>
                    <a:pt x="379098" y="457968"/>
                    <a:pt x="376379" y="444369"/>
                    <a:pt x="379098" y="430771"/>
                  </a:cubicBezTo>
                  <a:cubicBezTo>
                    <a:pt x="379098" y="425332"/>
                    <a:pt x="381817" y="417173"/>
                    <a:pt x="381817" y="411733"/>
                  </a:cubicBezTo>
                  <a:cubicBezTo>
                    <a:pt x="381817" y="406294"/>
                    <a:pt x="381817" y="403575"/>
                    <a:pt x="379098" y="400855"/>
                  </a:cubicBezTo>
                  <a:cubicBezTo>
                    <a:pt x="376379" y="400855"/>
                    <a:pt x="373659" y="398135"/>
                    <a:pt x="370939" y="398135"/>
                  </a:cubicBezTo>
                  <a:cubicBezTo>
                    <a:pt x="360061" y="398135"/>
                    <a:pt x="343742" y="400855"/>
                    <a:pt x="338304" y="400855"/>
                  </a:cubicBezTo>
                  <a:cubicBezTo>
                    <a:pt x="330144" y="400855"/>
                    <a:pt x="319266" y="403575"/>
                    <a:pt x="289349" y="403575"/>
                  </a:cubicBezTo>
                  <a:cubicBezTo>
                    <a:pt x="275751" y="403575"/>
                    <a:pt x="267592" y="400855"/>
                    <a:pt x="264872" y="400855"/>
                  </a:cubicBezTo>
                  <a:cubicBezTo>
                    <a:pt x="262153" y="400855"/>
                    <a:pt x="259433" y="400855"/>
                    <a:pt x="259433" y="406294"/>
                  </a:cubicBezTo>
                  <a:cubicBezTo>
                    <a:pt x="259433" y="414453"/>
                    <a:pt x="259433" y="419892"/>
                    <a:pt x="259433" y="425332"/>
                  </a:cubicBezTo>
                  <a:cubicBezTo>
                    <a:pt x="259433" y="433491"/>
                    <a:pt x="259433" y="441650"/>
                    <a:pt x="259433" y="449809"/>
                  </a:cubicBezTo>
                  <a:cubicBezTo>
                    <a:pt x="259433" y="457968"/>
                    <a:pt x="259433" y="463407"/>
                    <a:pt x="259433" y="471566"/>
                  </a:cubicBezTo>
                  <a:cubicBezTo>
                    <a:pt x="259433" y="482445"/>
                    <a:pt x="259433" y="493323"/>
                    <a:pt x="259433" y="504202"/>
                  </a:cubicBezTo>
                  <a:cubicBezTo>
                    <a:pt x="259433" y="506921"/>
                    <a:pt x="259433" y="506921"/>
                    <a:pt x="259433" y="509641"/>
                  </a:cubicBezTo>
                  <a:cubicBezTo>
                    <a:pt x="259433" y="520520"/>
                    <a:pt x="256714" y="531398"/>
                    <a:pt x="256714" y="542277"/>
                  </a:cubicBezTo>
                  <a:cubicBezTo>
                    <a:pt x="256714" y="553156"/>
                    <a:pt x="256714" y="566754"/>
                    <a:pt x="256714" y="577632"/>
                  </a:cubicBezTo>
                  <a:cubicBezTo>
                    <a:pt x="256714" y="588511"/>
                    <a:pt x="256714" y="599390"/>
                    <a:pt x="256714" y="612988"/>
                  </a:cubicBezTo>
                  <a:cubicBezTo>
                    <a:pt x="256714" y="629306"/>
                    <a:pt x="253994" y="642904"/>
                    <a:pt x="253994" y="656502"/>
                  </a:cubicBezTo>
                  <a:cubicBezTo>
                    <a:pt x="253994" y="664661"/>
                    <a:pt x="256714" y="672820"/>
                    <a:pt x="256714" y="678260"/>
                  </a:cubicBezTo>
                  <a:cubicBezTo>
                    <a:pt x="270312" y="678260"/>
                    <a:pt x="286629" y="680979"/>
                    <a:pt x="286629" y="694578"/>
                  </a:cubicBezTo>
                  <a:cubicBezTo>
                    <a:pt x="286629" y="702737"/>
                    <a:pt x="283910" y="705456"/>
                    <a:pt x="281191" y="710895"/>
                  </a:cubicBezTo>
                  <a:cubicBezTo>
                    <a:pt x="275751" y="716335"/>
                    <a:pt x="270312" y="719054"/>
                    <a:pt x="264872" y="719054"/>
                  </a:cubicBezTo>
                  <a:cubicBezTo>
                    <a:pt x="256714" y="721774"/>
                    <a:pt x="248554" y="721774"/>
                    <a:pt x="243116" y="721774"/>
                  </a:cubicBezTo>
                  <a:cubicBezTo>
                    <a:pt x="243116" y="721774"/>
                    <a:pt x="243116" y="721774"/>
                    <a:pt x="243116" y="721774"/>
                  </a:cubicBezTo>
                  <a:cubicBezTo>
                    <a:pt x="237676" y="724494"/>
                    <a:pt x="237676" y="724494"/>
                    <a:pt x="232236" y="727214"/>
                  </a:cubicBezTo>
                  <a:cubicBezTo>
                    <a:pt x="229517" y="729933"/>
                    <a:pt x="229517" y="732653"/>
                    <a:pt x="224078" y="735372"/>
                  </a:cubicBezTo>
                  <a:cubicBezTo>
                    <a:pt x="221358" y="738092"/>
                    <a:pt x="215919" y="738092"/>
                    <a:pt x="213199" y="738092"/>
                  </a:cubicBezTo>
                  <a:cubicBezTo>
                    <a:pt x="199601" y="738092"/>
                    <a:pt x="188722" y="735372"/>
                    <a:pt x="183283" y="727214"/>
                  </a:cubicBezTo>
                  <a:cubicBezTo>
                    <a:pt x="180563" y="724494"/>
                    <a:pt x="177843" y="721774"/>
                    <a:pt x="175124" y="719054"/>
                  </a:cubicBezTo>
                  <a:cubicBezTo>
                    <a:pt x="161526" y="719054"/>
                    <a:pt x="150646" y="719054"/>
                    <a:pt x="145208" y="719054"/>
                  </a:cubicBezTo>
                  <a:cubicBezTo>
                    <a:pt x="131609" y="719054"/>
                    <a:pt x="142488" y="719054"/>
                    <a:pt x="126170" y="719054"/>
                  </a:cubicBezTo>
                  <a:cubicBezTo>
                    <a:pt x="118011" y="719054"/>
                    <a:pt x="109852" y="719054"/>
                    <a:pt x="101693" y="719054"/>
                  </a:cubicBezTo>
                  <a:cubicBezTo>
                    <a:pt x="93534" y="719054"/>
                    <a:pt x="82655" y="719054"/>
                    <a:pt x="74496" y="713615"/>
                  </a:cubicBezTo>
                  <a:cubicBezTo>
                    <a:pt x="66338" y="710895"/>
                    <a:pt x="58178" y="702737"/>
                    <a:pt x="58178" y="697297"/>
                  </a:cubicBezTo>
                  <a:cubicBezTo>
                    <a:pt x="58178" y="694578"/>
                    <a:pt x="58178" y="691858"/>
                    <a:pt x="63618" y="689138"/>
                  </a:cubicBezTo>
                  <a:cubicBezTo>
                    <a:pt x="69057" y="686419"/>
                    <a:pt x="79936" y="683699"/>
                    <a:pt x="85375" y="680979"/>
                  </a:cubicBezTo>
                  <a:cubicBezTo>
                    <a:pt x="98973" y="678260"/>
                    <a:pt x="118011" y="678260"/>
                    <a:pt x="131609" y="675540"/>
                  </a:cubicBezTo>
                  <a:cubicBezTo>
                    <a:pt x="131609" y="672820"/>
                    <a:pt x="131609" y="670101"/>
                    <a:pt x="131609" y="667381"/>
                  </a:cubicBezTo>
                  <a:cubicBezTo>
                    <a:pt x="131609" y="661942"/>
                    <a:pt x="131609" y="656502"/>
                    <a:pt x="131609" y="651063"/>
                  </a:cubicBezTo>
                  <a:cubicBezTo>
                    <a:pt x="131609" y="640184"/>
                    <a:pt x="131609" y="629306"/>
                    <a:pt x="131609" y="618427"/>
                  </a:cubicBezTo>
                  <a:cubicBezTo>
                    <a:pt x="131609" y="604829"/>
                    <a:pt x="131609" y="593950"/>
                    <a:pt x="131609" y="580352"/>
                  </a:cubicBezTo>
                  <a:cubicBezTo>
                    <a:pt x="131609" y="564034"/>
                    <a:pt x="131609" y="547716"/>
                    <a:pt x="131609" y="531398"/>
                  </a:cubicBezTo>
                  <a:cubicBezTo>
                    <a:pt x="131609" y="509641"/>
                    <a:pt x="131609" y="487884"/>
                    <a:pt x="131609" y="466126"/>
                  </a:cubicBezTo>
                  <a:cubicBezTo>
                    <a:pt x="131609" y="452528"/>
                    <a:pt x="131609" y="436210"/>
                    <a:pt x="131609" y="422612"/>
                  </a:cubicBezTo>
                  <a:cubicBezTo>
                    <a:pt x="131609" y="419892"/>
                    <a:pt x="131609" y="414453"/>
                    <a:pt x="131609" y="411733"/>
                  </a:cubicBezTo>
                  <a:cubicBezTo>
                    <a:pt x="131609" y="409014"/>
                    <a:pt x="131609" y="400855"/>
                    <a:pt x="131609" y="398135"/>
                  </a:cubicBezTo>
                  <a:cubicBezTo>
                    <a:pt x="131609" y="392696"/>
                    <a:pt x="131609" y="392696"/>
                    <a:pt x="126170" y="389976"/>
                  </a:cubicBezTo>
                  <a:cubicBezTo>
                    <a:pt x="123450" y="389976"/>
                    <a:pt x="109852" y="387257"/>
                    <a:pt x="101693" y="387257"/>
                  </a:cubicBezTo>
                  <a:cubicBezTo>
                    <a:pt x="90814" y="384537"/>
                    <a:pt x="77216" y="381817"/>
                    <a:pt x="77216" y="376378"/>
                  </a:cubicBezTo>
                  <a:cubicBezTo>
                    <a:pt x="77216" y="373658"/>
                    <a:pt x="79936" y="370939"/>
                    <a:pt x="82655" y="368219"/>
                  </a:cubicBezTo>
                  <a:cubicBezTo>
                    <a:pt x="88095" y="365499"/>
                    <a:pt x="93534" y="362780"/>
                    <a:pt x="98973" y="360060"/>
                  </a:cubicBezTo>
                  <a:cubicBezTo>
                    <a:pt x="104413" y="360060"/>
                    <a:pt x="112571" y="357340"/>
                    <a:pt x="118011" y="357340"/>
                  </a:cubicBezTo>
                  <a:cubicBezTo>
                    <a:pt x="126170" y="354621"/>
                    <a:pt x="128890" y="357340"/>
                    <a:pt x="131609" y="351901"/>
                  </a:cubicBezTo>
                  <a:cubicBezTo>
                    <a:pt x="131609" y="349181"/>
                    <a:pt x="131609" y="346462"/>
                    <a:pt x="131609" y="343742"/>
                  </a:cubicBezTo>
                  <a:cubicBezTo>
                    <a:pt x="131609" y="319265"/>
                    <a:pt x="131609" y="294788"/>
                    <a:pt x="131609" y="270311"/>
                  </a:cubicBezTo>
                  <a:cubicBezTo>
                    <a:pt x="131609" y="226797"/>
                    <a:pt x="131609" y="186002"/>
                    <a:pt x="137048" y="145207"/>
                  </a:cubicBezTo>
                  <a:cubicBezTo>
                    <a:pt x="137048" y="139768"/>
                    <a:pt x="137048" y="131609"/>
                    <a:pt x="139768" y="123450"/>
                  </a:cubicBezTo>
                  <a:cubicBezTo>
                    <a:pt x="134329" y="123450"/>
                    <a:pt x="137048" y="123450"/>
                    <a:pt x="123450" y="123450"/>
                  </a:cubicBezTo>
                  <a:cubicBezTo>
                    <a:pt x="120731" y="123450"/>
                    <a:pt x="120731" y="123450"/>
                    <a:pt x="118011" y="123450"/>
                  </a:cubicBezTo>
                  <a:cubicBezTo>
                    <a:pt x="112571" y="123450"/>
                    <a:pt x="107133" y="123450"/>
                    <a:pt x="101693" y="123450"/>
                  </a:cubicBezTo>
                  <a:cubicBezTo>
                    <a:pt x="93534" y="123450"/>
                    <a:pt x="82655" y="120730"/>
                    <a:pt x="74496" y="118011"/>
                  </a:cubicBezTo>
                  <a:cubicBezTo>
                    <a:pt x="66338" y="115291"/>
                    <a:pt x="58178" y="107132"/>
                    <a:pt x="58178" y="101693"/>
                  </a:cubicBezTo>
                  <a:cubicBezTo>
                    <a:pt x="58178" y="98973"/>
                    <a:pt x="58178" y="96253"/>
                    <a:pt x="63618" y="93534"/>
                  </a:cubicBezTo>
                  <a:cubicBezTo>
                    <a:pt x="66338" y="90814"/>
                    <a:pt x="77216" y="88095"/>
                    <a:pt x="85375" y="85375"/>
                  </a:cubicBezTo>
                  <a:cubicBezTo>
                    <a:pt x="104413" y="82655"/>
                    <a:pt x="128890" y="82655"/>
                    <a:pt x="137048" y="82655"/>
                  </a:cubicBezTo>
                  <a:cubicBezTo>
                    <a:pt x="139768" y="82655"/>
                    <a:pt x="142488" y="82655"/>
                    <a:pt x="147927" y="82655"/>
                  </a:cubicBezTo>
                  <a:cubicBezTo>
                    <a:pt x="153366" y="69057"/>
                    <a:pt x="164245" y="58178"/>
                    <a:pt x="186003" y="58178"/>
                  </a:cubicBezTo>
                  <a:cubicBezTo>
                    <a:pt x="202321" y="58178"/>
                    <a:pt x="215919" y="66337"/>
                    <a:pt x="226797" y="79936"/>
                  </a:cubicBezTo>
                  <a:cubicBezTo>
                    <a:pt x="237676" y="79936"/>
                    <a:pt x="248554" y="79936"/>
                    <a:pt x="253994" y="79936"/>
                  </a:cubicBezTo>
                  <a:cubicBezTo>
                    <a:pt x="267592" y="79936"/>
                    <a:pt x="294789" y="79936"/>
                    <a:pt x="294789" y="96253"/>
                  </a:cubicBezTo>
                  <a:cubicBezTo>
                    <a:pt x="294789" y="104412"/>
                    <a:pt x="289349" y="107132"/>
                    <a:pt x="283910" y="112571"/>
                  </a:cubicBezTo>
                  <a:cubicBezTo>
                    <a:pt x="278471" y="118011"/>
                    <a:pt x="273031" y="120730"/>
                    <a:pt x="267592" y="120730"/>
                  </a:cubicBezTo>
                  <a:cubicBezTo>
                    <a:pt x="259433" y="123450"/>
                    <a:pt x="251274" y="123450"/>
                    <a:pt x="245835" y="123450"/>
                  </a:cubicBezTo>
                  <a:cubicBezTo>
                    <a:pt x="245835" y="123450"/>
                    <a:pt x="243116" y="123450"/>
                    <a:pt x="237676" y="123450"/>
                  </a:cubicBezTo>
                  <a:cubicBezTo>
                    <a:pt x="237676" y="126170"/>
                    <a:pt x="237676" y="126170"/>
                    <a:pt x="240396" y="128889"/>
                  </a:cubicBezTo>
                  <a:cubicBezTo>
                    <a:pt x="245835" y="145207"/>
                    <a:pt x="248554" y="161525"/>
                    <a:pt x="251274" y="177843"/>
                  </a:cubicBezTo>
                  <a:cubicBezTo>
                    <a:pt x="253994" y="194161"/>
                    <a:pt x="253994" y="210479"/>
                    <a:pt x="256714" y="226797"/>
                  </a:cubicBezTo>
                  <a:cubicBezTo>
                    <a:pt x="259433" y="243115"/>
                    <a:pt x="262153" y="256713"/>
                    <a:pt x="262153" y="273031"/>
                  </a:cubicBezTo>
                  <a:cubicBezTo>
                    <a:pt x="262153" y="278470"/>
                    <a:pt x="262153" y="283910"/>
                    <a:pt x="262153" y="289349"/>
                  </a:cubicBezTo>
                  <a:lnTo>
                    <a:pt x="262153" y="297508"/>
                  </a:lnTo>
                  <a:cubicBezTo>
                    <a:pt x="262153" y="305667"/>
                    <a:pt x="262153" y="313826"/>
                    <a:pt x="264872" y="321985"/>
                  </a:cubicBezTo>
                  <a:cubicBezTo>
                    <a:pt x="264872" y="327424"/>
                    <a:pt x="270312" y="330144"/>
                    <a:pt x="270312" y="335583"/>
                  </a:cubicBezTo>
                  <a:cubicBezTo>
                    <a:pt x="270312" y="335583"/>
                    <a:pt x="270312" y="338303"/>
                    <a:pt x="270312" y="338303"/>
                  </a:cubicBezTo>
                  <a:cubicBezTo>
                    <a:pt x="270312" y="341022"/>
                    <a:pt x="270312" y="343742"/>
                    <a:pt x="270312" y="346462"/>
                  </a:cubicBezTo>
                  <a:cubicBezTo>
                    <a:pt x="270312" y="351901"/>
                    <a:pt x="273031" y="354621"/>
                    <a:pt x="278471" y="354621"/>
                  </a:cubicBezTo>
                  <a:cubicBezTo>
                    <a:pt x="289349" y="354621"/>
                    <a:pt x="335584" y="351901"/>
                    <a:pt x="338304" y="349181"/>
                  </a:cubicBezTo>
                  <a:cubicBezTo>
                    <a:pt x="346462" y="349181"/>
                    <a:pt x="357341" y="349181"/>
                    <a:pt x="365500" y="349181"/>
                  </a:cubicBezTo>
                  <a:cubicBezTo>
                    <a:pt x="370939" y="349181"/>
                    <a:pt x="376379" y="349181"/>
                    <a:pt x="381817" y="349181"/>
                  </a:cubicBezTo>
                  <a:cubicBezTo>
                    <a:pt x="387257" y="349181"/>
                    <a:pt x="392697" y="346462"/>
                    <a:pt x="392697" y="338303"/>
                  </a:cubicBezTo>
                  <a:cubicBezTo>
                    <a:pt x="392697" y="330144"/>
                    <a:pt x="389977" y="316545"/>
                    <a:pt x="389977" y="313826"/>
                  </a:cubicBezTo>
                  <a:cubicBezTo>
                    <a:pt x="389977" y="294788"/>
                    <a:pt x="389977" y="278470"/>
                    <a:pt x="392697" y="262152"/>
                  </a:cubicBezTo>
                  <a:cubicBezTo>
                    <a:pt x="392697" y="259433"/>
                    <a:pt x="395416" y="243115"/>
                    <a:pt x="395416" y="224077"/>
                  </a:cubicBezTo>
                  <a:cubicBezTo>
                    <a:pt x="395416" y="207759"/>
                    <a:pt x="398136" y="188722"/>
                    <a:pt x="398136" y="177843"/>
                  </a:cubicBezTo>
                  <a:cubicBezTo>
                    <a:pt x="398136" y="169684"/>
                    <a:pt x="395416" y="158806"/>
                    <a:pt x="395416" y="153366"/>
                  </a:cubicBezTo>
                  <a:cubicBezTo>
                    <a:pt x="395416" y="145207"/>
                    <a:pt x="395416" y="142488"/>
                    <a:pt x="395416" y="137048"/>
                  </a:cubicBezTo>
                  <a:cubicBezTo>
                    <a:pt x="389977" y="137048"/>
                    <a:pt x="384537" y="137048"/>
                    <a:pt x="379098" y="137048"/>
                  </a:cubicBezTo>
                  <a:cubicBezTo>
                    <a:pt x="370939" y="137048"/>
                    <a:pt x="360061" y="134329"/>
                    <a:pt x="351902" y="131609"/>
                  </a:cubicBezTo>
                  <a:cubicBezTo>
                    <a:pt x="343742" y="128889"/>
                    <a:pt x="338304" y="120730"/>
                    <a:pt x="338304" y="115291"/>
                  </a:cubicBezTo>
                  <a:cubicBezTo>
                    <a:pt x="338304" y="112571"/>
                    <a:pt x="338304" y="109852"/>
                    <a:pt x="343742" y="107132"/>
                  </a:cubicBezTo>
                  <a:cubicBezTo>
                    <a:pt x="349182" y="104412"/>
                    <a:pt x="357341" y="101693"/>
                    <a:pt x="362780" y="98973"/>
                  </a:cubicBezTo>
                  <a:cubicBezTo>
                    <a:pt x="373659" y="96253"/>
                    <a:pt x="387257" y="96253"/>
                    <a:pt x="395416" y="96253"/>
                  </a:cubicBezTo>
                  <a:cubicBezTo>
                    <a:pt x="398136" y="93534"/>
                    <a:pt x="400855" y="90814"/>
                    <a:pt x="403575" y="90814"/>
                  </a:cubicBezTo>
                  <a:cubicBezTo>
                    <a:pt x="411734" y="90814"/>
                    <a:pt x="419893" y="88095"/>
                    <a:pt x="422612" y="88095"/>
                  </a:cubicBezTo>
                  <a:cubicBezTo>
                    <a:pt x="425332" y="88095"/>
                    <a:pt x="425332" y="88095"/>
                    <a:pt x="428052" y="88095"/>
                  </a:cubicBezTo>
                  <a:cubicBezTo>
                    <a:pt x="433492" y="88095"/>
                    <a:pt x="441650" y="88095"/>
                    <a:pt x="447090" y="90814"/>
                  </a:cubicBezTo>
                  <a:cubicBezTo>
                    <a:pt x="449809" y="90814"/>
                    <a:pt x="452529" y="93534"/>
                    <a:pt x="455249" y="96253"/>
                  </a:cubicBezTo>
                  <a:cubicBezTo>
                    <a:pt x="482445" y="96253"/>
                    <a:pt x="509642" y="93534"/>
                    <a:pt x="525960" y="93534"/>
                  </a:cubicBezTo>
                  <a:cubicBezTo>
                    <a:pt x="539558" y="93534"/>
                    <a:pt x="561315" y="93534"/>
                    <a:pt x="561315" y="109852"/>
                  </a:cubicBezTo>
                  <a:cubicBezTo>
                    <a:pt x="561315" y="118011"/>
                    <a:pt x="561315" y="120730"/>
                    <a:pt x="555876" y="126170"/>
                  </a:cubicBezTo>
                  <a:cubicBezTo>
                    <a:pt x="550437" y="131609"/>
                    <a:pt x="544997" y="134329"/>
                    <a:pt x="539558" y="134329"/>
                  </a:cubicBezTo>
                  <a:cubicBezTo>
                    <a:pt x="531399" y="137048"/>
                    <a:pt x="523240" y="137048"/>
                    <a:pt x="517800" y="137048"/>
                  </a:cubicBezTo>
                  <a:cubicBezTo>
                    <a:pt x="515081" y="137048"/>
                    <a:pt x="498763" y="137048"/>
                    <a:pt x="477006" y="137048"/>
                  </a:cubicBezTo>
                  <a:cubicBezTo>
                    <a:pt x="479725" y="145207"/>
                    <a:pt x="485165" y="153366"/>
                    <a:pt x="485165" y="161525"/>
                  </a:cubicBezTo>
                  <a:cubicBezTo>
                    <a:pt x="487885" y="177843"/>
                    <a:pt x="493324" y="194161"/>
                    <a:pt x="496043" y="210479"/>
                  </a:cubicBezTo>
                  <a:cubicBezTo>
                    <a:pt x="498763" y="224077"/>
                    <a:pt x="498763" y="237676"/>
                    <a:pt x="501483" y="251274"/>
                  </a:cubicBezTo>
                  <a:cubicBezTo>
                    <a:pt x="504202" y="264872"/>
                    <a:pt x="506922" y="275751"/>
                    <a:pt x="506922" y="292069"/>
                  </a:cubicBezTo>
                  <a:cubicBezTo>
                    <a:pt x="506922" y="302947"/>
                    <a:pt x="506922" y="311106"/>
                    <a:pt x="506922" y="321985"/>
                  </a:cubicBezTo>
                  <a:cubicBezTo>
                    <a:pt x="506922" y="327424"/>
                    <a:pt x="509642" y="335583"/>
                    <a:pt x="509642" y="341022"/>
                  </a:cubicBezTo>
                  <a:cubicBezTo>
                    <a:pt x="509642" y="343742"/>
                    <a:pt x="509642" y="343742"/>
                    <a:pt x="509642" y="343742"/>
                  </a:cubicBezTo>
                  <a:cubicBezTo>
                    <a:pt x="509642" y="349181"/>
                    <a:pt x="515081" y="349181"/>
                    <a:pt x="517800" y="349181"/>
                  </a:cubicBezTo>
                  <a:cubicBezTo>
                    <a:pt x="520520" y="349181"/>
                    <a:pt x="523240" y="349181"/>
                    <a:pt x="528680" y="349181"/>
                  </a:cubicBezTo>
                  <a:cubicBezTo>
                    <a:pt x="536838" y="349181"/>
                    <a:pt x="547717" y="349181"/>
                    <a:pt x="550437" y="357340"/>
                  </a:cubicBezTo>
                  <a:cubicBezTo>
                    <a:pt x="550437" y="360060"/>
                    <a:pt x="550437" y="360060"/>
                    <a:pt x="550437" y="362780"/>
                  </a:cubicBezTo>
                  <a:cubicBezTo>
                    <a:pt x="550437" y="370939"/>
                    <a:pt x="539558" y="381817"/>
                    <a:pt x="534119" y="384537"/>
                  </a:cubicBezTo>
                  <a:cubicBezTo>
                    <a:pt x="531399" y="387257"/>
                    <a:pt x="523240" y="387257"/>
                    <a:pt x="520520" y="389976"/>
                  </a:cubicBezTo>
                  <a:cubicBezTo>
                    <a:pt x="515081" y="389976"/>
                    <a:pt x="512362" y="392696"/>
                    <a:pt x="512362" y="395415"/>
                  </a:cubicBezTo>
                  <a:cubicBezTo>
                    <a:pt x="512362" y="395415"/>
                    <a:pt x="512362" y="398135"/>
                    <a:pt x="512362" y="398135"/>
                  </a:cubicBezTo>
                  <a:cubicBezTo>
                    <a:pt x="512362" y="400855"/>
                    <a:pt x="512362" y="406294"/>
                    <a:pt x="512362" y="409014"/>
                  </a:cubicBezTo>
                  <a:cubicBezTo>
                    <a:pt x="512362" y="411733"/>
                    <a:pt x="512362" y="411733"/>
                    <a:pt x="512362" y="414453"/>
                  </a:cubicBezTo>
                  <a:cubicBezTo>
                    <a:pt x="512362" y="422612"/>
                    <a:pt x="512362" y="430771"/>
                    <a:pt x="512362" y="438930"/>
                  </a:cubicBezTo>
                  <a:cubicBezTo>
                    <a:pt x="512362" y="460687"/>
                    <a:pt x="512362" y="482445"/>
                    <a:pt x="515081" y="504202"/>
                  </a:cubicBezTo>
                  <a:cubicBezTo>
                    <a:pt x="517800" y="525959"/>
                    <a:pt x="520520" y="550436"/>
                    <a:pt x="520520" y="572193"/>
                  </a:cubicBezTo>
                  <a:cubicBezTo>
                    <a:pt x="520520" y="583072"/>
                    <a:pt x="520520" y="593950"/>
                    <a:pt x="517800" y="604829"/>
                  </a:cubicBezTo>
                  <a:cubicBezTo>
                    <a:pt x="515081" y="623867"/>
                    <a:pt x="515081" y="642904"/>
                    <a:pt x="512362" y="661942"/>
                  </a:cubicBezTo>
                  <a:cubicBezTo>
                    <a:pt x="512362" y="664661"/>
                    <a:pt x="509642" y="667381"/>
                    <a:pt x="509642" y="670101"/>
                  </a:cubicBezTo>
                  <a:cubicBezTo>
                    <a:pt x="509642" y="672820"/>
                    <a:pt x="512362" y="678260"/>
                    <a:pt x="512362" y="680979"/>
                  </a:cubicBezTo>
                  <a:cubicBezTo>
                    <a:pt x="512362" y="683699"/>
                    <a:pt x="512362" y="686419"/>
                    <a:pt x="512362" y="686419"/>
                  </a:cubicBezTo>
                  <a:cubicBezTo>
                    <a:pt x="517800" y="680979"/>
                    <a:pt x="528680" y="680979"/>
                    <a:pt x="536838" y="680979"/>
                  </a:cubicBezTo>
                  <a:lnTo>
                    <a:pt x="536838" y="680979"/>
                  </a:ln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/>
            </a:p>
          </p:txBody>
        </p:sp>
        <p:sp>
          <p:nvSpPr>
            <p:cNvPr id="50" name="Freeform: Shape 49">
              <a:extLst>
                <a:ext uri="{FF2B5EF4-FFF2-40B4-BE49-F238E27FC236}">
                  <a16:creationId xmlns:a16="http://schemas.microsoft.com/office/drawing/2014/main" id="{64463117-BF45-4116-9B90-88E469EA87AD}"/>
                </a:ext>
              </a:extLst>
            </p:cNvPr>
            <p:cNvSpPr/>
            <p:nvPr/>
          </p:nvSpPr>
          <p:spPr>
            <a:xfrm>
              <a:off x="9592416" y="4192158"/>
              <a:ext cx="516735" cy="761503"/>
            </a:xfrm>
            <a:custGeom>
              <a:avLst/>
              <a:gdLst>
                <a:gd name="connsiteX0" fmla="*/ 463407 w 516735"/>
                <a:gd name="connsiteY0" fmla="*/ 194161 h 761503"/>
                <a:gd name="connsiteX1" fmla="*/ 447089 w 516735"/>
                <a:gd name="connsiteY1" fmla="*/ 226797 h 761503"/>
                <a:gd name="connsiteX2" fmla="*/ 430771 w 516735"/>
                <a:gd name="connsiteY2" fmla="*/ 221357 h 761503"/>
                <a:gd name="connsiteX3" fmla="*/ 422612 w 516735"/>
                <a:gd name="connsiteY3" fmla="*/ 207759 h 761503"/>
                <a:gd name="connsiteX4" fmla="*/ 419893 w 516735"/>
                <a:gd name="connsiteY4" fmla="*/ 188722 h 761503"/>
                <a:gd name="connsiteX5" fmla="*/ 419893 w 516735"/>
                <a:gd name="connsiteY5" fmla="*/ 139768 h 761503"/>
                <a:gd name="connsiteX6" fmla="*/ 419893 w 516735"/>
                <a:gd name="connsiteY6" fmla="*/ 120730 h 761503"/>
                <a:gd name="connsiteX7" fmla="*/ 395416 w 516735"/>
                <a:gd name="connsiteY7" fmla="*/ 120730 h 761503"/>
                <a:gd name="connsiteX8" fmla="*/ 370939 w 516735"/>
                <a:gd name="connsiteY8" fmla="*/ 120730 h 761503"/>
                <a:gd name="connsiteX9" fmla="*/ 346461 w 516735"/>
                <a:gd name="connsiteY9" fmla="*/ 123450 h 761503"/>
                <a:gd name="connsiteX10" fmla="*/ 335583 w 516735"/>
                <a:gd name="connsiteY10" fmla="*/ 123450 h 761503"/>
                <a:gd name="connsiteX11" fmla="*/ 335583 w 516735"/>
                <a:gd name="connsiteY11" fmla="*/ 123450 h 761503"/>
                <a:gd name="connsiteX12" fmla="*/ 324704 w 516735"/>
                <a:gd name="connsiteY12" fmla="*/ 128889 h 761503"/>
                <a:gd name="connsiteX13" fmla="*/ 327424 w 516735"/>
                <a:gd name="connsiteY13" fmla="*/ 139768 h 761503"/>
                <a:gd name="connsiteX14" fmla="*/ 330144 w 516735"/>
                <a:gd name="connsiteY14" fmla="*/ 175123 h 761503"/>
                <a:gd name="connsiteX15" fmla="*/ 330144 w 516735"/>
                <a:gd name="connsiteY15" fmla="*/ 199600 h 761503"/>
                <a:gd name="connsiteX16" fmla="*/ 327424 w 516735"/>
                <a:gd name="connsiteY16" fmla="*/ 224077 h 761503"/>
                <a:gd name="connsiteX17" fmla="*/ 330144 w 516735"/>
                <a:gd name="connsiteY17" fmla="*/ 251274 h 761503"/>
                <a:gd name="connsiteX18" fmla="*/ 327424 w 516735"/>
                <a:gd name="connsiteY18" fmla="*/ 278470 h 761503"/>
                <a:gd name="connsiteX19" fmla="*/ 327424 w 516735"/>
                <a:gd name="connsiteY19" fmla="*/ 332864 h 761503"/>
                <a:gd name="connsiteX20" fmla="*/ 330144 w 516735"/>
                <a:gd name="connsiteY20" fmla="*/ 357340 h 761503"/>
                <a:gd name="connsiteX21" fmla="*/ 330144 w 516735"/>
                <a:gd name="connsiteY21" fmla="*/ 368219 h 761503"/>
                <a:gd name="connsiteX22" fmla="*/ 332863 w 516735"/>
                <a:gd name="connsiteY22" fmla="*/ 387257 h 761503"/>
                <a:gd name="connsiteX23" fmla="*/ 332863 w 516735"/>
                <a:gd name="connsiteY23" fmla="*/ 433491 h 761503"/>
                <a:gd name="connsiteX24" fmla="*/ 332863 w 516735"/>
                <a:gd name="connsiteY24" fmla="*/ 487884 h 761503"/>
                <a:gd name="connsiteX25" fmla="*/ 330144 w 516735"/>
                <a:gd name="connsiteY25" fmla="*/ 512361 h 761503"/>
                <a:gd name="connsiteX26" fmla="*/ 330144 w 516735"/>
                <a:gd name="connsiteY26" fmla="*/ 539557 h 761503"/>
                <a:gd name="connsiteX27" fmla="*/ 332863 w 516735"/>
                <a:gd name="connsiteY27" fmla="*/ 593950 h 761503"/>
                <a:gd name="connsiteX28" fmla="*/ 332863 w 516735"/>
                <a:gd name="connsiteY28" fmla="*/ 648343 h 761503"/>
                <a:gd name="connsiteX29" fmla="*/ 332863 w 516735"/>
                <a:gd name="connsiteY29" fmla="*/ 656502 h 761503"/>
                <a:gd name="connsiteX30" fmla="*/ 357341 w 516735"/>
                <a:gd name="connsiteY30" fmla="*/ 656502 h 761503"/>
                <a:gd name="connsiteX31" fmla="*/ 395416 w 516735"/>
                <a:gd name="connsiteY31" fmla="*/ 675540 h 761503"/>
                <a:gd name="connsiteX32" fmla="*/ 389976 w 516735"/>
                <a:gd name="connsiteY32" fmla="*/ 691858 h 761503"/>
                <a:gd name="connsiteX33" fmla="*/ 373658 w 516735"/>
                <a:gd name="connsiteY33" fmla="*/ 700017 h 761503"/>
                <a:gd name="connsiteX34" fmla="*/ 351901 w 516735"/>
                <a:gd name="connsiteY34" fmla="*/ 702737 h 761503"/>
                <a:gd name="connsiteX35" fmla="*/ 319265 w 516735"/>
                <a:gd name="connsiteY35" fmla="*/ 702737 h 761503"/>
                <a:gd name="connsiteX36" fmla="*/ 311106 w 516735"/>
                <a:gd name="connsiteY36" fmla="*/ 708176 h 761503"/>
                <a:gd name="connsiteX37" fmla="*/ 289349 w 516735"/>
                <a:gd name="connsiteY37" fmla="*/ 713615 h 761503"/>
                <a:gd name="connsiteX38" fmla="*/ 270311 w 516735"/>
                <a:gd name="connsiteY38" fmla="*/ 713615 h 761503"/>
                <a:gd name="connsiteX39" fmla="*/ 243115 w 516735"/>
                <a:gd name="connsiteY39" fmla="*/ 705456 h 761503"/>
                <a:gd name="connsiteX40" fmla="*/ 237675 w 516735"/>
                <a:gd name="connsiteY40" fmla="*/ 702737 h 761503"/>
                <a:gd name="connsiteX41" fmla="*/ 199600 w 516735"/>
                <a:gd name="connsiteY41" fmla="*/ 702737 h 761503"/>
                <a:gd name="connsiteX42" fmla="*/ 175123 w 516735"/>
                <a:gd name="connsiteY42" fmla="*/ 702737 h 761503"/>
                <a:gd name="connsiteX43" fmla="*/ 147927 w 516735"/>
                <a:gd name="connsiteY43" fmla="*/ 697297 h 761503"/>
                <a:gd name="connsiteX44" fmla="*/ 131609 w 516735"/>
                <a:gd name="connsiteY44" fmla="*/ 678260 h 761503"/>
                <a:gd name="connsiteX45" fmla="*/ 137048 w 516735"/>
                <a:gd name="connsiteY45" fmla="*/ 670101 h 761503"/>
                <a:gd name="connsiteX46" fmla="*/ 158805 w 516735"/>
                <a:gd name="connsiteY46" fmla="*/ 661942 h 761503"/>
                <a:gd name="connsiteX47" fmla="*/ 199600 w 516735"/>
                <a:gd name="connsiteY47" fmla="*/ 659222 h 761503"/>
                <a:gd name="connsiteX48" fmla="*/ 199600 w 516735"/>
                <a:gd name="connsiteY48" fmla="*/ 659222 h 761503"/>
                <a:gd name="connsiteX49" fmla="*/ 196880 w 516735"/>
                <a:gd name="connsiteY49" fmla="*/ 629306 h 761503"/>
                <a:gd name="connsiteX50" fmla="*/ 199600 w 516735"/>
                <a:gd name="connsiteY50" fmla="*/ 574913 h 761503"/>
                <a:gd name="connsiteX51" fmla="*/ 202320 w 516735"/>
                <a:gd name="connsiteY51" fmla="*/ 523239 h 761503"/>
                <a:gd name="connsiteX52" fmla="*/ 205040 w 516735"/>
                <a:gd name="connsiteY52" fmla="*/ 460687 h 761503"/>
                <a:gd name="connsiteX53" fmla="*/ 205040 w 516735"/>
                <a:gd name="connsiteY53" fmla="*/ 417173 h 761503"/>
                <a:gd name="connsiteX54" fmla="*/ 207759 w 516735"/>
                <a:gd name="connsiteY54" fmla="*/ 392696 h 761503"/>
                <a:gd name="connsiteX55" fmla="*/ 210478 w 516735"/>
                <a:gd name="connsiteY55" fmla="*/ 368219 h 761503"/>
                <a:gd name="connsiteX56" fmla="*/ 210478 w 516735"/>
                <a:gd name="connsiteY56" fmla="*/ 313826 h 761503"/>
                <a:gd name="connsiteX57" fmla="*/ 210478 w 516735"/>
                <a:gd name="connsiteY57" fmla="*/ 259433 h 761503"/>
                <a:gd name="connsiteX58" fmla="*/ 210478 w 516735"/>
                <a:gd name="connsiteY58" fmla="*/ 213199 h 761503"/>
                <a:gd name="connsiteX59" fmla="*/ 210478 w 516735"/>
                <a:gd name="connsiteY59" fmla="*/ 145207 h 761503"/>
                <a:gd name="connsiteX60" fmla="*/ 213198 w 516735"/>
                <a:gd name="connsiteY60" fmla="*/ 131609 h 761503"/>
                <a:gd name="connsiteX61" fmla="*/ 205040 w 516735"/>
                <a:gd name="connsiteY61" fmla="*/ 123450 h 761503"/>
                <a:gd name="connsiteX62" fmla="*/ 161525 w 516735"/>
                <a:gd name="connsiteY62" fmla="*/ 123450 h 761503"/>
                <a:gd name="connsiteX63" fmla="*/ 112571 w 516735"/>
                <a:gd name="connsiteY63" fmla="*/ 120730 h 761503"/>
                <a:gd name="connsiteX64" fmla="*/ 104412 w 516735"/>
                <a:gd name="connsiteY64" fmla="*/ 118011 h 761503"/>
                <a:gd name="connsiteX65" fmla="*/ 107132 w 516735"/>
                <a:gd name="connsiteY65" fmla="*/ 191441 h 761503"/>
                <a:gd name="connsiteX66" fmla="*/ 90814 w 516735"/>
                <a:gd name="connsiteY66" fmla="*/ 224077 h 761503"/>
                <a:gd name="connsiteX67" fmla="*/ 74496 w 516735"/>
                <a:gd name="connsiteY67" fmla="*/ 218638 h 761503"/>
                <a:gd name="connsiteX68" fmla="*/ 66337 w 516735"/>
                <a:gd name="connsiteY68" fmla="*/ 205040 h 761503"/>
                <a:gd name="connsiteX69" fmla="*/ 63617 w 516735"/>
                <a:gd name="connsiteY69" fmla="*/ 186002 h 761503"/>
                <a:gd name="connsiteX70" fmla="*/ 63617 w 516735"/>
                <a:gd name="connsiteY70" fmla="*/ 145207 h 761503"/>
                <a:gd name="connsiteX71" fmla="*/ 63617 w 516735"/>
                <a:gd name="connsiteY71" fmla="*/ 109852 h 761503"/>
                <a:gd name="connsiteX72" fmla="*/ 58178 w 516735"/>
                <a:gd name="connsiteY72" fmla="*/ 96253 h 761503"/>
                <a:gd name="connsiteX73" fmla="*/ 66337 w 516735"/>
                <a:gd name="connsiteY73" fmla="*/ 85375 h 761503"/>
                <a:gd name="connsiteX74" fmla="*/ 93533 w 516735"/>
                <a:gd name="connsiteY74" fmla="*/ 77216 h 761503"/>
                <a:gd name="connsiteX75" fmla="*/ 115290 w 516735"/>
                <a:gd name="connsiteY75" fmla="*/ 77216 h 761503"/>
                <a:gd name="connsiteX76" fmla="*/ 169684 w 516735"/>
                <a:gd name="connsiteY76" fmla="*/ 74496 h 761503"/>
                <a:gd name="connsiteX77" fmla="*/ 194161 w 516735"/>
                <a:gd name="connsiteY77" fmla="*/ 71776 h 761503"/>
                <a:gd name="connsiteX78" fmla="*/ 196880 w 516735"/>
                <a:gd name="connsiteY78" fmla="*/ 71776 h 761503"/>
                <a:gd name="connsiteX79" fmla="*/ 210478 w 516735"/>
                <a:gd name="connsiteY79" fmla="*/ 71776 h 761503"/>
                <a:gd name="connsiteX80" fmla="*/ 218638 w 516735"/>
                <a:gd name="connsiteY80" fmla="*/ 71776 h 761503"/>
                <a:gd name="connsiteX81" fmla="*/ 237675 w 516735"/>
                <a:gd name="connsiteY81" fmla="*/ 60898 h 761503"/>
                <a:gd name="connsiteX82" fmla="*/ 253993 w 516735"/>
                <a:gd name="connsiteY82" fmla="*/ 58178 h 761503"/>
                <a:gd name="connsiteX83" fmla="*/ 283910 w 516735"/>
                <a:gd name="connsiteY83" fmla="*/ 60898 h 761503"/>
                <a:gd name="connsiteX84" fmla="*/ 294788 w 516735"/>
                <a:gd name="connsiteY84" fmla="*/ 66337 h 761503"/>
                <a:gd name="connsiteX85" fmla="*/ 305667 w 516735"/>
                <a:gd name="connsiteY85" fmla="*/ 74496 h 761503"/>
                <a:gd name="connsiteX86" fmla="*/ 313826 w 516735"/>
                <a:gd name="connsiteY86" fmla="*/ 74496 h 761503"/>
                <a:gd name="connsiteX87" fmla="*/ 327424 w 516735"/>
                <a:gd name="connsiteY87" fmla="*/ 74496 h 761503"/>
                <a:gd name="connsiteX88" fmla="*/ 354621 w 516735"/>
                <a:gd name="connsiteY88" fmla="*/ 74496 h 761503"/>
                <a:gd name="connsiteX89" fmla="*/ 422612 w 516735"/>
                <a:gd name="connsiteY89" fmla="*/ 74496 h 761503"/>
                <a:gd name="connsiteX90" fmla="*/ 455248 w 516735"/>
                <a:gd name="connsiteY90" fmla="*/ 79936 h 761503"/>
                <a:gd name="connsiteX91" fmla="*/ 466127 w 516735"/>
                <a:gd name="connsiteY91" fmla="*/ 98973 h 761503"/>
                <a:gd name="connsiteX92" fmla="*/ 463407 w 516735"/>
                <a:gd name="connsiteY92" fmla="*/ 109852 h 761503"/>
                <a:gd name="connsiteX93" fmla="*/ 463407 w 516735"/>
                <a:gd name="connsiteY93" fmla="*/ 120730 h 761503"/>
                <a:gd name="connsiteX94" fmla="*/ 463407 w 516735"/>
                <a:gd name="connsiteY94" fmla="*/ 194161 h 761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</a:cxnLst>
              <a:rect l="l" t="t" r="r" b="b"/>
              <a:pathLst>
                <a:path w="516735" h="761503">
                  <a:moveTo>
                    <a:pt x="463407" y="194161"/>
                  </a:moveTo>
                  <a:cubicBezTo>
                    <a:pt x="463407" y="205040"/>
                    <a:pt x="463407" y="226797"/>
                    <a:pt x="447089" y="226797"/>
                  </a:cubicBezTo>
                  <a:cubicBezTo>
                    <a:pt x="438930" y="226797"/>
                    <a:pt x="436211" y="226797"/>
                    <a:pt x="430771" y="221357"/>
                  </a:cubicBezTo>
                  <a:cubicBezTo>
                    <a:pt x="425332" y="218638"/>
                    <a:pt x="422612" y="210479"/>
                    <a:pt x="422612" y="207759"/>
                  </a:cubicBezTo>
                  <a:cubicBezTo>
                    <a:pt x="419893" y="199600"/>
                    <a:pt x="419893" y="194161"/>
                    <a:pt x="419893" y="188722"/>
                  </a:cubicBezTo>
                  <a:cubicBezTo>
                    <a:pt x="419893" y="183282"/>
                    <a:pt x="419893" y="147927"/>
                    <a:pt x="419893" y="139768"/>
                  </a:cubicBezTo>
                  <a:cubicBezTo>
                    <a:pt x="419893" y="134329"/>
                    <a:pt x="419893" y="128889"/>
                    <a:pt x="419893" y="120730"/>
                  </a:cubicBezTo>
                  <a:cubicBezTo>
                    <a:pt x="411734" y="120730"/>
                    <a:pt x="403574" y="120730"/>
                    <a:pt x="395416" y="120730"/>
                  </a:cubicBezTo>
                  <a:cubicBezTo>
                    <a:pt x="387256" y="120730"/>
                    <a:pt x="379098" y="120730"/>
                    <a:pt x="370939" y="120730"/>
                  </a:cubicBezTo>
                  <a:cubicBezTo>
                    <a:pt x="362780" y="120730"/>
                    <a:pt x="354621" y="123450"/>
                    <a:pt x="346461" y="123450"/>
                  </a:cubicBezTo>
                  <a:cubicBezTo>
                    <a:pt x="343742" y="123450"/>
                    <a:pt x="341023" y="123450"/>
                    <a:pt x="335583" y="123450"/>
                  </a:cubicBezTo>
                  <a:cubicBezTo>
                    <a:pt x="335583" y="123450"/>
                    <a:pt x="335583" y="123450"/>
                    <a:pt x="335583" y="123450"/>
                  </a:cubicBezTo>
                  <a:cubicBezTo>
                    <a:pt x="327424" y="123450"/>
                    <a:pt x="324704" y="126170"/>
                    <a:pt x="324704" y="128889"/>
                  </a:cubicBezTo>
                  <a:cubicBezTo>
                    <a:pt x="324704" y="131609"/>
                    <a:pt x="324704" y="137048"/>
                    <a:pt x="327424" y="139768"/>
                  </a:cubicBezTo>
                  <a:cubicBezTo>
                    <a:pt x="330144" y="147927"/>
                    <a:pt x="330144" y="166964"/>
                    <a:pt x="330144" y="175123"/>
                  </a:cubicBezTo>
                  <a:cubicBezTo>
                    <a:pt x="330144" y="183282"/>
                    <a:pt x="330144" y="191441"/>
                    <a:pt x="330144" y="199600"/>
                  </a:cubicBezTo>
                  <a:cubicBezTo>
                    <a:pt x="330144" y="207759"/>
                    <a:pt x="327424" y="215918"/>
                    <a:pt x="327424" y="224077"/>
                  </a:cubicBezTo>
                  <a:cubicBezTo>
                    <a:pt x="327424" y="232236"/>
                    <a:pt x="330144" y="243115"/>
                    <a:pt x="330144" y="251274"/>
                  </a:cubicBezTo>
                  <a:cubicBezTo>
                    <a:pt x="330144" y="259433"/>
                    <a:pt x="330144" y="267592"/>
                    <a:pt x="327424" y="278470"/>
                  </a:cubicBezTo>
                  <a:cubicBezTo>
                    <a:pt x="327424" y="294788"/>
                    <a:pt x="327424" y="313826"/>
                    <a:pt x="327424" y="332864"/>
                  </a:cubicBezTo>
                  <a:cubicBezTo>
                    <a:pt x="327424" y="341022"/>
                    <a:pt x="327424" y="349181"/>
                    <a:pt x="330144" y="357340"/>
                  </a:cubicBezTo>
                  <a:cubicBezTo>
                    <a:pt x="330144" y="360060"/>
                    <a:pt x="330144" y="365499"/>
                    <a:pt x="330144" y="368219"/>
                  </a:cubicBezTo>
                  <a:cubicBezTo>
                    <a:pt x="330144" y="373658"/>
                    <a:pt x="332863" y="384537"/>
                    <a:pt x="332863" y="387257"/>
                  </a:cubicBezTo>
                  <a:cubicBezTo>
                    <a:pt x="332863" y="406294"/>
                    <a:pt x="332863" y="414453"/>
                    <a:pt x="332863" y="433491"/>
                  </a:cubicBezTo>
                  <a:cubicBezTo>
                    <a:pt x="332863" y="452528"/>
                    <a:pt x="335583" y="468846"/>
                    <a:pt x="332863" y="487884"/>
                  </a:cubicBezTo>
                  <a:cubicBezTo>
                    <a:pt x="332863" y="496043"/>
                    <a:pt x="330144" y="504202"/>
                    <a:pt x="330144" y="512361"/>
                  </a:cubicBezTo>
                  <a:cubicBezTo>
                    <a:pt x="330144" y="520520"/>
                    <a:pt x="330144" y="531398"/>
                    <a:pt x="330144" y="539557"/>
                  </a:cubicBezTo>
                  <a:cubicBezTo>
                    <a:pt x="330144" y="558595"/>
                    <a:pt x="330144" y="574913"/>
                    <a:pt x="332863" y="593950"/>
                  </a:cubicBezTo>
                  <a:cubicBezTo>
                    <a:pt x="332863" y="610268"/>
                    <a:pt x="332863" y="632026"/>
                    <a:pt x="332863" y="648343"/>
                  </a:cubicBezTo>
                  <a:cubicBezTo>
                    <a:pt x="332863" y="651063"/>
                    <a:pt x="332863" y="653783"/>
                    <a:pt x="332863" y="656502"/>
                  </a:cubicBezTo>
                  <a:cubicBezTo>
                    <a:pt x="343742" y="656502"/>
                    <a:pt x="351901" y="656502"/>
                    <a:pt x="357341" y="656502"/>
                  </a:cubicBezTo>
                  <a:cubicBezTo>
                    <a:pt x="370939" y="656502"/>
                    <a:pt x="395416" y="659222"/>
                    <a:pt x="395416" y="675540"/>
                  </a:cubicBezTo>
                  <a:cubicBezTo>
                    <a:pt x="395416" y="683699"/>
                    <a:pt x="392696" y="686419"/>
                    <a:pt x="389976" y="691858"/>
                  </a:cubicBezTo>
                  <a:cubicBezTo>
                    <a:pt x="384537" y="697297"/>
                    <a:pt x="379098" y="700017"/>
                    <a:pt x="373658" y="700017"/>
                  </a:cubicBezTo>
                  <a:cubicBezTo>
                    <a:pt x="365499" y="702737"/>
                    <a:pt x="357341" y="702737"/>
                    <a:pt x="351901" y="702737"/>
                  </a:cubicBezTo>
                  <a:cubicBezTo>
                    <a:pt x="349181" y="702737"/>
                    <a:pt x="335583" y="702737"/>
                    <a:pt x="319265" y="702737"/>
                  </a:cubicBezTo>
                  <a:cubicBezTo>
                    <a:pt x="316546" y="705456"/>
                    <a:pt x="313826" y="705456"/>
                    <a:pt x="311106" y="708176"/>
                  </a:cubicBezTo>
                  <a:cubicBezTo>
                    <a:pt x="302948" y="713615"/>
                    <a:pt x="297508" y="713615"/>
                    <a:pt x="289349" y="713615"/>
                  </a:cubicBezTo>
                  <a:cubicBezTo>
                    <a:pt x="283910" y="713615"/>
                    <a:pt x="278470" y="713615"/>
                    <a:pt x="270311" y="713615"/>
                  </a:cubicBezTo>
                  <a:cubicBezTo>
                    <a:pt x="259433" y="713615"/>
                    <a:pt x="251273" y="710895"/>
                    <a:pt x="243115" y="705456"/>
                  </a:cubicBezTo>
                  <a:cubicBezTo>
                    <a:pt x="240395" y="705456"/>
                    <a:pt x="237675" y="702737"/>
                    <a:pt x="237675" y="702737"/>
                  </a:cubicBezTo>
                  <a:cubicBezTo>
                    <a:pt x="224077" y="702737"/>
                    <a:pt x="213198" y="702737"/>
                    <a:pt x="199600" y="702737"/>
                  </a:cubicBezTo>
                  <a:cubicBezTo>
                    <a:pt x="191441" y="702737"/>
                    <a:pt x="183282" y="702737"/>
                    <a:pt x="175123" y="702737"/>
                  </a:cubicBezTo>
                  <a:cubicBezTo>
                    <a:pt x="166965" y="702737"/>
                    <a:pt x="156085" y="702737"/>
                    <a:pt x="147927" y="697297"/>
                  </a:cubicBezTo>
                  <a:cubicBezTo>
                    <a:pt x="139768" y="694578"/>
                    <a:pt x="131609" y="680979"/>
                    <a:pt x="131609" y="678260"/>
                  </a:cubicBezTo>
                  <a:cubicBezTo>
                    <a:pt x="131609" y="675540"/>
                    <a:pt x="131609" y="672820"/>
                    <a:pt x="137048" y="670101"/>
                  </a:cubicBezTo>
                  <a:cubicBezTo>
                    <a:pt x="142487" y="667381"/>
                    <a:pt x="153366" y="664661"/>
                    <a:pt x="158805" y="661942"/>
                  </a:cubicBezTo>
                  <a:cubicBezTo>
                    <a:pt x="175123" y="659222"/>
                    <a:pt x="191441" y="659222"/>
                    <a:pt x="199600" y="659222"/>
                  </a:cubicBezTo>
                  <a:lnTo>
                    <a:pt x="199600" y="659222"/>
                  </a:lnTo>
                  <a:cubicBezTo>
                    <a:pt x="199600" y="648343"/>
                    <a:pt x="196880" y="640184"/>
                    <a:pt x="196880" y="629306"/>
                  </a:cubicBezTo>
                  <a:cubicBezTo>
                    <a:pt x="196880" y="612988"/>
                    <a:pt x="196880" y="591231"/>
                    <a:pt x="199600" y="574913"/>
                  </a:cubicBezTo>
                  <a:cubicBezTo>
                    <a:pt x="199600" y="558595"/>
                    <a:pt x="199600" y="539557"/>
                    <a:pt x="202320" y="523239"/>
                  </a:cubicBezTo>
                  <a:cubicBezTo>
                    <a:pt x="202320" y="501482"/>
                    <a:pt x="205040" y="482445"/>
                    <a:pt x="205040" y="460687"/>
                  </a:cubicBezTo>
                  <a:cubicBezTo>
                    <a:pt x="205040" y="447089"/>
                    <a:pt x="205040" y="430771"/>
                    <a:pt x="205040" y="417173"/>
                  </a:cubicBezTo>
                  <a:cubicBezTo>
                    <a:pt x="205040" y="409014"/>
                    <a:pt x="207759" y="400855"/>
                    <a:pt x="207759" y="392696"/>
                  </a:cubicBezTo>
                  <a:cubicBezTo>
                    <a:pt x="207759" y="384537"/>
                    <a:pt x="210478" y="376378"/>
                    <a:pt x="210478" y="368219"/>
                  </a:cubicBezTo>
                  <a:cubicBezTo>
                    <a:pt x="210478" y="351901"/>
                    <a:pt x="210478" y="332864"/>
                    <a:pt x="210478" y="313826"/>
                  </a:cubicBezTo>
                  <a:cubicBezTo>
                    <a:pt x="210478" y="294788"/>
                    <a:pt x="210478" y="275751"/>
                    <a:pt x="210478" y="259433"/>
                  </a:cubicBezTo>
                  <a:cubicBezTo>
                    <a:pt x="210478" y="243115"/>
                    <a:pt x="210478" y="226797"/>
                    <a:pt x="210478" y="213199"/>
                  </a:cubicBezTo>
                  <a:cubicBezTo>
                    <a:pt x="210478" y="194161"/>
                    <a:pt x="210478" y="164245"/>
                    <a:pt x="210478" y="145207"/>
                  </a:cubicBezTo>
                  <a:cubicBezTo>
                    <a:pt x="210478" y="139768"/>
                    <a:pt x="213198" y="134329"/>
                    <a:pt x="213198" y="131609"/>
                  </a:cubicBezTo>
                  <a:cubicBezTo>
                    <a:pt x="213198" y="126170"/>
                    <a:pt x="207759" y="123450"/>
                    <a:pt x="205040" y="123450"/>
                  </a:cubicBezTo>
                  <a:cubicBezTo>
                    <a:pt x="199600" y="123450"/>
                    <a:pt x="166965" y="123450"/>
                    <a:pt x="161525" y="123450"/>
                  </a:cubicBezTo>
                  <a:cubicBezTo>
                    <a:pt x="145207" y="123450"/>
                    <a:pt x="128889" y="123450"/>
                    <a:pt x="112571" y="120730"/>
                  </a:cubicBezTo>
                  <a:cubicBezTo>
                    <a:pt x="109852" y="120730"/>
                    <a:pt x="107132" y="120730"/>
                    <a:pt x="104412" y="118011"/>
                  </a:cubicBezTo>
                  <a:cubicBezTo>
                    <a:pt x="107132" y="137048"/>
                    <a:pt x="107132" y="172404"/>
                    <a:pt x="107132" y="191441"/>
                  </a:cubicBezTo>
                  <a:cubicBezTo>
                    <a:pt x="107132" y="202320"/>
                    <a:pt x="107132" y="224077"/>
                    <a:pt x="90814" y="224077"/>
                  </a:cubicBezTo>
                  <a:cubicBezTo>
                    <a:pt x="82655" y="224077"/>
                    <a:pt x="79935" y="221357"/>
                    <a:pt x="74496" y="218638"/>
                  </a:cubicBezTo>
                  <a:cubicBezTo>
                    <a:pt x="69057" y="215918"/>
                    <a:pt x="66337" y="210479"/>
                    <a:pt x="66337" y="205040"/>
                  </a:cubicBezTo>
                  <a:cubicBezTo>
                    <a:pt x="63617" y="196881"/>
                    <a:pt x="63617" y="191441"/>
                    <a:pt x="63617" y="186002"/>
                  </a:cubicBezTo>
                  <a:cubicBezTo>
                    <a:pt x="63617" y="180563"/>
                    <a:pt x="63617" y="153366"/>
                    <a:pt x="63617" y="145207"/>
                  </a:cubicBezTo>
                  <a:cubicBezTo>
                    <a:pt x="63617" y="134329"/>
                    <a:pt x="63617" y="120730"/>
                    <a:pt x="63617" y="109852"/>
                  </a:cubicBezTo>
                  <a:cubicBezTo>
                    <a:pt x="60897" y="104412"/>
                    <a:pt x="58178" y="101693"/>
                    <a:pt x="58178" y="96253"/>
                  </a:cubicBezTo>
                  <a:cubicBezTo>
                    <a:pt x="58178" y="93534"/>
                    <a:pt x="60897" y="88095"/>
                    <a:pt x="66337" y="85375"/>
                  </a:cubicBezTo>
                  <a:cubicBezTo>
                    <a:pt x="74496" y="79936"/>
                    <a:pt x="77215" y="77216"/>
                    <a:pt x="93533" y="77216"/>
                  </a:cubicBezTo>
                  <a:cubicBezTo>
                    <a:pt x="101692" y="77216"/>
                    <a:pt x="109852" y="77216"/>
                    <a:pt x="115290" y="77216"/>
                  </a:cubicBezTo>
                  <a:cubicBezTo>
                    <a:pt x="134328" y="77216"/>
                    <a:pt x="150646" y="77216"/>
                    <a:pt x="169684" y="74496"/>
                  </a:cubicBezTo>
                  <a:cubicBezTo>
                    <a:pt x="177843" y="74496"/>
                    <a:pt x="186002" y="71776"/>
                    <a:pt x="194161" y="71776"/>
                  </a:cubicBezTo>
                  <a:cubicBezTo>
                    <a:pt x="194161" y="71776"/>
                    <a:pt x="196880" y="71776"/>
                    <a:pt x="196880" y="71776"/>
                  </a:cubicBezTo>
                  <a:cubicBezTo>
                    <a:pt x="199600" y="71776"/>
                    <a:pt x="205040" y="71776"/>
                    <a:pt x="210478" y="71776"/>
                  </a:cubicBezTo>
                  <a:cubicBezTo>
                    <a:pt x="213198" y="71776"/>
                    <a:pt x="215918" y="71776"/>
                    <a:pt x="218638" y="71776"/>
                  </a:cubicBezTo>
                  <a:cubicBezTo>
                    <a:pt x="224077" y="69057"/>
                    <a:pt x="229516" y="63618"/>
                    <a:pt x="237675" y="60898"/>
                  </a:cubicBezTo>
                  <a:cubicBezTo>
                    <a:pt x="243115" y="58178"/>
                    <a:pt x="248554" y="58178"/>
                    <a:pt x="253993" y="58178"/>
                  </a:cubicBezTo>
                  <a:cubicBezTo>
                    <a:pt x="264872" y="58178"/>
                    <a:pt x="273031" y="58178"/>
                    <a:pt x="283910" y="60898"/>
                  </a:cubicBezTo>
                  <a:cubicBezTo>
                    <a:pt x="286629" y="60898"/>
                    <a:pt x="292068" y="63618"/>
                    <a:pt x="294788" y="66337"/>
                  </a:cubicBezTo>
                  <a:cubicBezTo>
                    <a:pt x="297508" y="69057"/>
                    <a:pt x="302948" y="71776"/>
                    <a:pt x="305667" y="74496"/>
                  </a:cubicBezTo>
                  <a:cubicBezTo>
                    <a:pt x="308386" y="74496"/>
                    <a:pt x="311106" y="74496"/>
                    <a:pt x="313826" y="74496"/>
                  </a:cubicBezTo>
                  <a:cubicBezTo>
                    <a:pt x="319265" y="74496"/>
                    <a:pt x="321985" y="74496"/>
                    <a:pt x="327424" y="74496"/>
                  </a:cubicBezTo>
                  <a:cubicBezTo>
                    <a:pt x="335583" y="74496"/>
                    <a:pt x="346461" y="74496"/>
                    <a:pt x="354621" y="74496"/>
                  </a:cubicBezTo>
                  <a:cubicBezTo>
                    <a:pt x="376378" y="74496"/>
                    <a:pt x="400855" y="74496"/>
                    <a:pt x="422612" y="74496"/>
                  </a:cubicBezTo>
                  <a:cubicBezTo>
                    <a:pt x="433491" y="74496"/>
                    <a:pt x="447089" y="74496"/>
                    <a:pt x="455248" y="79936"/>
                  </a:cubicBezTo>
                  <a:cubicBezTo>
                    <a:pt x="460687" y="82655"/>
                    <a:pt x="466127" y="90814"/>
                    <a:pt x="466127" y="98973"/>
                  </a:cubicBezTo>
                  <a:cubicBezTo>
                    <a:pt x="466127" y="101693"/>
                    <a:pt x="466127" y="107132"/>
                    <a:pt x="463407" y="109852"/>
                  </a:cubicBezTo>
                  <a:cubicBezTo>
                    <a:pt x="463407" y="112571"/>
                    <a:pt x="463407" y="112571"/>
                    <a:pt x="463407" y="120730"/>
                  </a:cubicBezTo>
                  <a:cubicBezTo>
                    <a:pt x="463407" y="142488"/>
                    <a:pt x="463407" y="172404"/>
                    <a:pt x="463407" y="194161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/>
            </a:p>
          </p:txBody>
        </p:sp>
      </p:grpSp>
    </p:spTree>
    <p:extLst>
      <p:ext uri="{BB962C8B-B14F-4D97-AF65-F5344CB8AC3E}">
        <p14:creationId xmlns:p14="http://schemas.microsoft.com/office/powerpoint/2010/main" val="335359804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ircle Number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: Shape 7">
            <a:extLst>
              <a:ext uri="{FF2B5EF4-FFF2-40B4-BE49-F238E27FC236}">
                <a16:creationId xmlns:a16="http://schemas.microsoft.com/office/drawing/2014/main" id="{5429212D-B00C-4BBB-BB9D-1666236C692B}"/>
              </a:ext>
            </a:extLst>
          </p:cNvPr>
          <p:cNvSpPr/>
          <p:nvPr/>
        </p:nvSpPr>
        <p:spPr bwMode="ltGray"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0 w 12192000"/>
              <a:gd name="connsiteY4" fmla="*/ 5990842 h 6858000"/>
              <a:gd name="connsiteX5" fmla="*/ 150975 w 12192000"/>
              <a:gd name="connsiteY5" fmla="*/ 5998474 h 6858000"/>
              <a:gd name="connsiteX6" fmla="*/ 5193108 w 12192000"/>
              <a:gd name="connsiteY6" fmla="*/ 6001978 h 6858000"/>
              <a:gd name="connsiteX7" fmla="*/ 8558788 w 12192000"/>
              <a:gd name="connsiteY7" fmla="*/ 6014203 h 6858000"/>
              <a:gd name="connsiteX8" fmla="*/ 11288459 w 12192000"/>
              <a:gd name="connsiteY8" fmla="*/ 6050854 h 6858000"/>
              <a:gd name="connsiteX9" fmla="*/ 11871493 w 12192000"/>
              <a:gd name="connsiteY9" fmla="*/ 5281048 h 6858000"/>
              <a:gd name="connsiteX10" fmla="*/ 11897981 w 12192000"/>
              <a:gd name="connsiteY10" fmla="*/ 3643667 h 6858000"/>
              <a:gd name="connsiteX11" fmla="*/ 11924496 w 12192000"/>
              <a:gd name="connsiteY11" fmla="*/ 2409516 h 6858000"/>
              <a:gd name="connsiteX12" fmla="*/ 11924496 w 12192000"/>
              <a:gd name="connsiteY12" fmla="*/ 1554168 h 6858000"/>
              <a:gd name="connsiteX13" fmla="*/ 11844978 w 12192000"/>
              <a:gd name="connsiteY13" fmla="*/ 491099 h 6858000"/>
              <a:gd name="connsiteX14" fmla="*/ 10943926 w 12192000"/>
              <a:gd name="connsiteY14" fmla="*/ 295591 h 6858000"/>
              <a:gd name="connsiteX15" fmla="*/ 10016386 w 12192000"/>
              <a:gd name="connsiteY15" fmla="*/ 283365 h 6858000"/>
              <a:gd name="connsiteX16" fmla="*/ 9062331 w 12192000"/>
              <a:gd name="connsiteY16" fmla="*/ 222275 h 6858000"/>
              <a:gd name="connsiteX17" fmla="*/ 1906918 w 12192000"/>
              <a:gd name="connsiteY17" fmla="*/ 271152 h 6858000"/>
              <a:gd name="connsiteX18" fmla="*/ 581842 w 12192000"/>
              <a:gd name="connsiteY18" fmla="*/ 332242 h 6858000"/>
              <a:gd name="connsiteX19" fmla="*/ 39127 w 12192000"/>
              <a:gd name="connsiteY19" fmla="*/ 367898 h 6858000"/>
              <a:gd name="connsiteX20" fmla="*/ 0 w 12192000"/>
              <a:gd name="connsiteY20" fmla="*/ 372567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lnTo>
                  <a:pt x="0" y="5990842"/>
                </a:lnTo>
                <a:lnTo>
                  <a:pt x="150975" y="5998474"/>
                </a:lnTo>
                <a:cubicBezTo>
                  <a:pt x="1703185" y="6058110"/>
                  <a:pt x="3407556" y="6001978"/>
                  <a:pt x="5193108" y="6001978"/>
                </a:cubicBezTo>
                <a:cubicBezTo>
                  <a:pt x="6226654" y="6001978"/>
                  <a:pt x="7551730" y="6026417"/>
                  <a:pt x="8558788" y="6014203"/>
                </a:cubicBezTo>
                <a:cubicBezTo>
                  <a:pt x="8876806" y="6001978"/>
                  <a:pt x="10970441" y="6050854"/>
                  <a:pt x="11288459" y="6050854"/>
                </a:cubicBezTo>
                <a:cubicBezTo>
                  <a:pt x="11977499" y="6050854"/>
                  <a:pt x="11871493" y="5659839"/>
                  <a:pt x="11871493" y="5281048"/>
                </a:cubicBezTo>
                <a:cubicBezTo>
                  <a:pt x="11844978" y="4731174"/>
                  <a:pt x="11950984" y="4193527"/>
                  <a:pt x="11897981" y="3643667"/>
                </a:cubicBezTo>
                <a:cubicBezTo>
                  <a:pt x="11871493" y="3240426"/>
                  <a:pt x="11950984" y="2812758"/>
                  <a:pt x="11924496" y="2409516"/>
                </a:cubicBezTo>
                <a:cubicBezTo>
                  <a:pt x="11897981" y="2128479"/>
                  <a:pt x="11950984" y="1835217"/>
                  <a:pt x="11924496" y="1554168"/>
                </a:cubicBezTo>
                <a:cubicBezTo>
                  <a:pt x="11897981" y="1273131"/>
                  <a:pt x="11950984" y="857677"/>
                  <a:pt x="11844978" y="491099"/>
                </a:cubicBezTo>
                <a:cubicBezTo>
                  <a:pt x="11791974" y="344467"/>
                  <a:pt x="11314947" y="320030"/>
                  <a:pt x="10943926" y="295591"/>
                </a:cubicBezTo>
                <a:cubicBezTo>
                  <a:pt x="10731913" y="283365"/>
                  <a:pt x="10334404" y="307804"/>
                  <a:pt x="10016386" y="283365"/>
                </a:cubicBezTo>
                <a:cubicBezTo>
                  <a:pt x="9777858" y="258927"/>
                  <a:pt x="9327346" y="222275"/>
                  <a:pt x="9062331" y="222275"/>
                </a:cubicBezTo>
                <a:cubicBezTo>
                  <a:pt x="6359175" y="185611"/>
                  <a:pt x="5034099" y="258927"/>
                  <a:pt x="1906918" y="271152"/>
                </a:cubicBezTo>
                <a:cubicBezTo>
                  <a:pt x="1615388" y="271152"/>
                  <a:pt x="1217879" y="271152"/>
                  <a:pt x="581842" y="332242"/>
                </a:cubicBezTo>
                <a:cubicBezTo>
                  <a:pt x="363204" y="350571"/>
                  <a:pt x="185559" y="355153"/>
                  <a:pt x="39127" y="367898"/>
                </a:cubicBezTo>
                <a:lnTo>
                  <a:pt x="0" y="372567"/>
                </a:lnTo>
                <a:close/>
              </a:path>
            </a:pathLst>
          </a:cu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F4F0FFF-5D36-4549-8268-45CFD818949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2" y="429065"/>
            <a:ext cx="11294180" cy="48533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72CAF28-BA8C-48BC-AC7B-67ED87054BF0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055389" y="6307159"/>
            <a:ext cx="914400" cy="15895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2EB1475D-EF5B-48A6-8CCB-3BD08F726926}" type="datetimeFigureOut">
              <a:rPr lang="en-US"/>
              <a:pPr/>
              <a:t>3/17/2025</a:t>
            </a:fld>
            <a:endParaRPr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FDD4960-69A7-4E3C-9AD4-21496392E01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32534" y="6307159"/>
            <a:ext cx="7104770" cy="15895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endParaRPr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F74DF74-F5E9-4644-AFC4-45DD819ED1D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565A54F4-DB31-4FC5-B748-3F06867349C3}" type="slidenum">
              <a:rPr/>
              <a:pPr/>
              <a:t>‹N›</a:t>
            </a:fld>
            <a:endParaRPr dirty="0"/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BFD305FA-3E8C-4125-9A77-5EC36A2132EA}"/>
              </a:ext>
            </a:extLst>
          </p:cNvPr>
          <p:cNvGrpSpPr>
            <a:grpSpLocks noChangeAspect="1"/>
          </p:cNvGrpSpPr>
          <p:nvPr/>
        </p:nvGrpSpPr>
        <p:grpSpPr>
          <a:xfrm>
            <a:off x="10676779" y="6205751"/>
            <a:ext cx="1143000" cy="440144"/>
            <a:chOff x="2078951" y="1888610"/>
            <a:chExt cx="8030200" cy="3092248"/>
          </a:xfrm>
          <a:solidFill>
            <a:srgbClr val="FFFFFF"/>
          </a:solidFill>
        </p:grpSpPr>
        <p:sp>
          <p:nvSpPr>
            <p:cNvPr id="10" name="Freeform: Shape 9">
              <a:extLst>
                <a:ext uri="{FF2B5EF4-FFF2-40B4-BE49-F238E27FC236}">
                  <a16:creationId xmlns:a16="http://schemas.microsoft.com/office/drawing/2014/main" id="{5155931C-326F-4267-9BC5-89EB4D2E96F6}"/>
                </a:ext>
              </a:extLst>
            </p:cNvPr>
            <p:cNvSpPr/>
            <p:nvPr/>
          </p:nvSpPr>
          <p:spPr>
            <a:xfrm>
              <a:off x="2078951" y="2872694"/>
              <a:ext cx="951880" cy="652717"/>
            </a:xfrm>
            <a:custGeom>
              <a:avLst/>
              <a:gdLst>
                <a:gd name="connsiteX0" fmla="*/ 903041 w 951880"/>
                <a:gd name="connsiteY0" fmla="*/ 330574 h 652717"/>
                <a:gd name="connsiteX1" fmla="*/ 780656 w 951880"/>
                <a:gd name="connsiteY1" fmla="*/ 379528 h 652717"/>
                <a:gd name="connsiteX2" fmla="*/ 598439 w 951880"/>
                <a:gd name="connsiteY2" fmla="*/ 311537 h 652717"/>
                <a:gd name="connsiteX3" fmla="*/ 505970 w 951880"/>
                <a:gd name="connsiteY3" fmla="*/ 164675 h 652717"/>
                <a:gd name="connsiteX4" fmla="*/ 266640 w 951880"/>
                <a:gd name="connsiteY4" fmla="*/ 61329 h 652717"/>
                <a:gd name="connsiteX5" fmla="*/ 103461 w 951880"/>
                <a:gd name="connsiteY5" fmla="*/ 458398 h 652717"/>
                <a:gd name="connsiteX6" fmla="*/ 756179 w 951880"/>
                <a:gd name="connsiteY6" fmla="*/ 485595 h 652717"/>
                <a:gd name="connsiteX7" fmla="*/ 903041 w 951880"/>
                <a:gd name="connsiteY7" fmla="*/ 330574 h 6527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51880" h="652717">
                  <a:moveTo>
                    <a:pt x="903041" y="330574"/>
                  </a:moveTo>
                  <a:cubicBezTo>
                    <a:pt x="867685" y="363210"/>
                    <a:pt x="813292" y="374089"/>
                    <a:pt x="780656" y="379528"/>
                  </a:cubicBezTo>
                  <a:cubicBezTo>
                    <a:pt x="712664" y="387687"/>
                    <a:pt x="641953" y="365930"/>
                    <a:pt x="598439" y="311537"/>
                  </a:cubicBezTo>
                  <a:cubicBezTo>
                    <a:pt x="563083" y="268022"/>
                    <a:pt x="544046" y="210910"/>
                    <a:pt x="505970" y="164675"/>
                  </a:cubicBezTo>
                  <a:cubicBezTo>
                    <a:pt x="448858" y="93964"/>
                    <a:pt x="359109" y="45011"/>
                    <a:pt x="266640" y="61329"/>
                  </a:cubicBezTo>
                  <a:cubicBezTo>
                    <a:pt x="81704" y="93964"/>
                    <a:pt x="114" y="308817"/>
                    <a:pt x="103461" y="458398"/>
                  </a:cubicBezTo>
                  <a:cubicBezTo>
                    <a:pt x="253042" y="670531"/>
                    <a:pt x="584840" y="635176"/>
                    <a:pt x="756179" y="485595"/>
                  </a:cubicBezTo>
                  <a:cubicBezTo>
                    <a:pt x="813292" y="442080"/>
                    <a:pt x="862246" y="390407"/>
                    <a:pt x="903041" y="330574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>
                <a:solidFill>
                  <a:srgbClr val="FFFFFF"/>
                </a:solidFill>
              </a:endParaRPr>
            </a:p>
          </p:txBody>
        </p:sp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172C407B-D3EF-4996-A77D-4376FAEF30F9}"/>
                </a:ext>
              </a:extLst>
            </p:cNvPr>
            <p:cNvSpPr/>
            <p:nvPr/>
          </p:nvSpPr>
          <p:spPr>
            <a:xfrm>
              <a:off x="9151831" y="2872694"/>
              <a:ext cx="951880" cy="652717"/>
            </a:xfrm>
            <a:custGeom>
              <a:avLst/>
              <a:gdLst>
                <a:gd name="connsiteX0" fmla="*/ 58178 w 951880"/>
                <a:gd name="connsiteY0" fmla="*/ 330574 h 652717"/>
                <a:gd name="connsiteX1" fmla="*/ 180563 w 951880"/>
                <a:gd name="connsiteY1" fmla="*/ 379528 h 652717"/>
                <a:gd name="connsiteX2" fmla="*/ 362780 w 951880"/>
                <a:gd name="connsiteY2" fmla="*/ 311537 h 652717"/>
                <a:gd name="connsiteX3" fmla="*/ 455249 w 951880"/>
                <a:gd name="connsiteY3" fmla="*/ 164675 h 652717"/>
                <a:gd name="connsiteX4" fmla="*/ 694578 w 951880"/>
                <a:gd name="connsiteY4" fmla="*/ 61329 h 652717"/>
                <a:gd name="connsiteX5" fmla="*/ 857758 w 951880"/>
                <a:gd name="connsiteY5" fmla="*/ 458398 h 652717"/>
                <a:gd name="connsiteX6" fmla="*/ 205040 w 951880"/>
                <a:gd name="connsiteY6" fmla="*/ 485595 h 652717"/>
                <a:gd name="connsiteX7" fmla="*/ 58178 w 951880"/>
                <a:gd name="connsiteY7" fmla="*/ 330574 h 6527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51880" h="652717">
                  <a:moveTo>
                    <a:pt x="58178" y="330574"/>
                  </a:moveTo>
                  <a:cubicBezTo>
                    <a:pt x="96253" y="363210"/>
                    <a:pt x="147927" y="374089"/>
                    <a:pt x="180563" y="379528"/>
                  </a:cubicBezTo>
                  <a:cubicBezTo>
                    <a:pt x="248554" y="387687"/>
                    <a:pt x="319266" y="365930"/>
                    <a:pt x="362780" y="311537"/>
                  </a:cubicBezTo>
                  <a:cubicBezTo>
                    <a:pt x="398136" y="268022"/>
                    <a:pt x="417174" y="210910"/>
                    <a:pt x="455249" y="164675"/>
                  </a:cubicBezTo>
                  <a:cubicBezTo>
                    <a:pt x="512362" y="93964"/>
                    <a:pt x="602110" y="45011"/>
                    <a:pt x="694578" y="61329"/>
                  </a:cubicBezTo>
                  <a:cubicBezTo>
                    <a:pt x="879515" y="93964"/>
                    <a:pt x="961105" y="308817"/>
                    <a:pt x="857758" y="458398"/>
                  </a:cubicBezTo>
                  <a:cubicBezTo>
                    <a:pt x="708176" y="670531"/>
                    <a:pt x="376379" y="635176"/>
                    <a:pt x="205040" y="485595"/>
                  </a:cubicBezTo>
                  <a:cubicBezTo>
                    <a:pt x="150646" y="442080"/>
                    <a:pt x="101693" y="390407"/>
                    <a:pt x="58178" y="330574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>
                <a:solidFill>
                  <a:srgbClr val="FFFFFF"/>
                </a:solidFill>
              </a:endParaRPr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675D4722-DDE2-4E36-ADA4-6B4FF78954BA}"/>
                </a:ext>
              </a:extLst>
            </p:cNvPr>
            <p:cNvSpPr/>
            <p:nvPr/>
          </p:nvSpPr>
          <p:spPr>
            <a:xfrm>
              <a:off x="8001294" y="2010994"/>
              <a:ext cx="734308" cy="299162"/>
            </a:xfrm>
            <a:custGeom>
              <a:avLst/>
              <a:gdLst>
                <a:gd name="connsiteX0" fmla="*/ 596792 w 734307"/>
                <a:gd name="connsiteY0" fmla="*/ 58178 h 299162"/>
                <a:gd name="connsiteX1" fmla="*/ 148048 w 734307"/>
                <a:gd name="connsiteY1" fmla="*/ 58178 h 299162"/>
                <a:gd name="connsiteX2" fmla="*/ 58299 w 734307"/>
                <a:gd name="connsiteY2" fmla="*/ 150646 h 299162"/>
                <a:gd name="connsiteX3" fmla="*/ 148048 w 734307"/>
                <a:gd name="connsiteY3" fmla="*/ 251274 h 299162"/>
                <a:gd name="connsiteX4" fmla="*/ 596792 w 734307"/>
                <a:gd name="connsiteY4" fmla="*/ 251274 h 299162"/>
                <a:gd name="connsiteX5" fmla="*/ 686541 w 734307"/>
                <a:gd name="connsiteY5" fmla="*/ 158805 h 299162"/>
                <a:gd name="connsiteX6" fmla="*/ 596792 w 734307"/>
                <a:gd name="connsiteY6" fmla="*/ 58178 h 2991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34307" h="299162">
                  <a:moveTo>
                    <a:pt x="596792" y="58178"/>
                  </a:moveTo>
                  <a:cubicBezTo>
                    <a:pt x="591353" y="58178"/>
                    <a:pt x="153487" y="58178"/>
                    <a:pt x="148048" y="58178"/>
                  </a:cubicBezTo>
                  <a:cubicBezTo>
                    <a:pt x="99094" y="60898"/>
                    <a:pt x="61019" y="104412"/>
                    <a:pt x="58299" y="150646"/>
                  </a:cubicBezTo>
                  <a:cubicBezTo>
                    <a:pt x="55580" y="199600"/>
                    <a:pt x="99094" y="248554"/>
                    <a:pt x="148048" y="251274"/>
                  </a:cubicBezTo>
                  <a:cubicBezTo>
                    <a:pt x="153487" y="251274"/>
                    <a:pt x="591353" y="251274"/>
                    <a:pt x="596792" y="251274"/>
                  </a:cubicBezTo>
                  <a:cubicBezTo>
                    <a:pt x="645746" y="248554"/>
                    <a:pt x="683821" y="205040"/>
                    <a:pt x="686541" y="158805"/>
                  </a:cubicBezTo>
                  <a:cubicBezTo>
                    <a:pt x="689260" y="109852"/>
                    <a:pt x="648465" y="60898"/>
                    <a:pt x="596792" y="58178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>
                <a:solidFill>
                  <a:srgbClr val="FFFFFF"/>
                </a:solidFill>
              </a:endParaRPr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CBE1D7AF-956D-4A32-B45C-0B84DA0E4E1A}"/>
                </a:ext>
              </a:extLst>
            </p:cNvPr>
            <p:cNvSpPr/>
            <p:nvPr/>
          </p:nvSpPr>
          <p:spPr>
            <a:xfrm>
              <a:off x="4920042" y="2277520"/>
              <a:ext cx="1006274" cy="951879"/>
            </a:xfrm>
            <a:custGeom>
              <a:avLst/>
              <a:gdLst>
                <a:gd name="connsiteX0" fmla="*/ 884954 w 1006273"/>
                <a:gd name="connsiteY0" fmla="*/ 746251 h 951879"/>
                <a:gd name="connsiteX1" fmla="*/ 874076 w 1006273"/>
                <a:gd name="connsiteY1" fmla="*/ 670101 h 951879"/>
                <a:gd name="connsiteX2" fmla="*/ 874076 w 1006273"/>
                <a:gd name="connsiteY2" fmla="*/ 536837 h 951879"/>
                <a:gd name="connsiteX3" fmla="*/ 689139 w 1006273"/>
                <a:gd name="connsiteY3" fmla="*/ 88094 h 951879"/>
                <a:gd name="connsiteX4" fmla="*/ 428052 w 1006273"/>
                <a:gd name="connsiteY4" fmla="*/ 253993 h 951879"/>
                <a:gd name="connsiteX5" fmla="*/ 196881 w 1006273"/>
                <a:gd name="connsiteY5" fmla="*/ 58178 h 951879"/>
                <a:gd name="connsiteX6" fmla="*/ 58178 w 1006273"/>
                <a:gd name="connsiteY6" fmla="*/ 128889 h 951879"/>
                <a:gd name="connsiteX7" fmla="*/ 142488 w 1006273"/>
                <a:gd name="connsiteY7" fmla="*/ 273031 h 951879"/>
                <a:gd name="connsiteX8" fmla="*/ 142488 w 1006273"/>
                <a:gd name="connsiteY8" fmla="*/ 757130 h 951879"/>
                <a:gd name="connsiteX9" fmla="*/ 283910 w 1006273"/>
                <a:gd name="connsiteY9" fmla="*/ 895832 h 951879"/>
                <a:gd name="connsiteX10" fmla="*/ 428052 w 1006273"/>
                <a:gd name="connsiteY10" fmla="*/ 757130 h 951879"/>
                <a:gd name="connsiteX11" fmla="*/ 428052 w 1006273"/>
                <a:gd name="connsiteY11" fmla="*/ 400855 h 951879"/>
                <a:gd name="connsiteX12" fmla="*/ 523240 w 1006273"/>
                <a:gd name="connsiteY12" fmla="*/ 283910 h 951879"/>
                <a:gd name="connsiteX13" fmla="*/ 591231 w 1006273"/>
                <a:gd name="connsiteY13" fmla="*/ 354621 h 951879"/>
                <a:gd name="connsiteX14" fmla="*/ 591231 w 1006273"/>
                <a:gd name="connsiteY14" fmla="*/ 697297 h 951879"/>
                <a:gd name="connsiteX15" fmla="*/ 593951 w 1006273"/>
                <a:gd name="connsiteY15" fmla="*/ 729933 h 951879"/>
                <a:gd name="connsiteX16" fmla="*/ 610269 w 1006273"/>
                <a:gd name="connsiteY16" fmla="*/ 778887 h 951879"/>
                <a:gd name="connsiteX17" fmla="*/ 822402 w 1006273"/>
                <a:gd name="connsiteY17" fmla="*/ 893112 h 951879"/>
                <a:gd name="connsiteX18" fmla="*/ 961105 w 1006273"/>
                <a:gd name="connsiteY18" fmla="*/ 822401 h 951879"/>
                <a:gd name="connsiteX19" fmla="*/ 884954 w 1006273"/>
                <a:gd name="connsiteY19" fmla="*/ 746251 h 9518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006273" h="951879">
                  <a:moveTo>
                    <a:pt x="884954" y="746251"/>
                  </a:moveTo>
                  <a:cubicBezTo>
                    <a:pt x="879515" y="721774"/>
                    <a:pt x="876795" y="694578"/>
                    <a:pt x="874076" y="670101"/>
                  </a:cubicBezTo>
                  <a:cubicBezTo>
                    <a:pt x="874076" y="634745"/>
                    <a:pt x="874076" y="583072"/>
                    <a:pt x="874076" y="536837"/>
                  </a:cubicBezTo>
                  <a:cubicBezTo>
                    <a:pt x="879515" y="373658"/>
                    <a:pt x="909431" y="88094"/>
                    <a:pt x="689139" y="88094"/>
                  </a:cubicBezTo>
                  <a:cubicBezTo>
                    <a:pt x="539558" y="88094"/>
                    <a:pt x="452529" y="213199"/>
                    <a:pt x="428052" y="253993"/>
                  </a:cubicBezTo>
                  <a:cubicBezTo>
                    <a:pt x="425332" y="139768"/>
                    <a:pt x="335583" y="58178"/>
                    <a:pt x="196881" y="58178"/>
                  </a:cubicBezTo>
                  <a:cubicBezTo>
                    <a:pt x="109852" y="58178"/>
                    <a:pt x="58178" y="128889"/>
                    <a:pt x="58178" y="128889"/>
                  </a:cubicBezTo>
                  <a:cubicBezTo>
                    <a:pt x="58178" y="128889"/>
                    <a:pt x="142488" y="158805"/>
                    <a:pt x="142488" y="273031"/>
                  </a:cubicBezTo>
                  <a:cubicBezTo>
                    <a:pt x="142488" y="354621"/>
                    <a:pt x="142488" y="757130"/>
                    <a:pt x="142488" y="757130"/>
                  </a:cubicBezTo>
                  <a:cubicBezTo>
                    <a:pt x="145207" y="827841"/>
                    <a:pt x="194161" y="895832"/>
                    <a:pt x="283910" y="895832"/>
                  </a:cubicBezTo>
                  <a:cubicBezTo>
                    <a:pt x="373659" y="895832"/>
                    <a:pt x="428052" y="827841"/>
                    <a:pt x="428052" y="757130"/>
                  </a:cubicBezTo>
                  <a:lnTo>
                    <a:pt x="428052" y="400855"/>
                  </a:lnTo>
                  <a:cubicBezTo>
                    <a:pt x="441650" y="343742"/>
                    <a:pt x="474286" y="283910"/>
                    <a:pt x="523240" y="283910"/>
                  </a:cubicBezTo>
                  <a:cubicBezTo>
                    <a:pt x="585792" y="283910"/>
                    <a:pt x="591231" y="354621"/>
                    <a:pt x="591231" y="354621"/>
                  </a:cubicBezTo>
                  <a:lnTo>
                    <a:pt x="591231" y="697297"/>
                  </a:lnTo>
                  <a:cubicBezTo>
                    <a:pt x="591231" y="708176"/>
                    <a:pt x="593951" y="719054"/>
                    <a:pt x="593951" y="729933"/>
                  </a:cubicBezTo>
                  <a:cubicBezTo>
                    <a:pt x="596671" y="748971"/>
                    <a:pt x="602110" y="765289"/>
                    <a:pt x="610269" y="778887"/>
                  </a:cubicBezTo>
                  <a:cubicBezTo>
                    <a:pt x="645624" y="846878"/>
                    <a:pt x="719055" y="893112"/>
                    <a:pt x="822402" y="893112"/>
                  </a:cubicBezTo>
                  <a:cubicBezTo>
                    <a:pt x="909431" y="893112"/>
                    <a:pt x="961105" y="822401"/>
                    <a:pt x="961105" y="822401"/>
                  </a:cubicBezTo>
                  <a:cubicBezTo>
                    <a:pt x="961105" y="822401"/>
                    <a:pt x="909431" y="808803"/>
                    <a:pt x="884954" y="746251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>
                <a:solidFill>
                  <a:srgbClr val="FFFFFF"/>
                </a:solidFill>
              </a:endParaRPr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6E905069-5A9F-4256-9865-26C748322AAC}"/>
                </a:ext>
              </a:extLst>
            </p:cNvPr>
            <p:cNvSpPr/>
            <p:nvPr/>
          </p:nvSpPr>
          <p:spPr>
            <a:xfrm>
              <a:off x="7552331" y="1888610"/>
              <a:ext cx="489539" cy="1332631"/>
            </a:xfrm>
            <a:custGeom>
              <a:avLst/>
              <a:gdLst>
                <a:gd name="connsiteX0" fmla="*/ 368560 w 489538"/>
                <a:gd name="connsiteY0" fmla="*/ 1135162 h 1332630"/>
                <a:gd name="connsiteX1" fmla="*/ 357681 w 489538"/>
                <a:gd name="connsiteY1" fmla="*/ 1059011 h 1332630"/>
                <a:gd name="connsiteX2" fmla="*/ 357681 w 489538"/>
                <a:gd name="connsiteY2" fmla="*/ 207759 h 1332630"/>
                <a:gd name="connsiteX3" fmla="*/ 208099 w 489538"/>
                <a:gd name="connsiteY3" fmla="*/ 58178 h 1332630"/>
                <a:gd name="connsiteX4" fmla="*/ 58518 w 489538"/>
                <a:gd name="connsiteY4" fmla="*/ 207759 h 1332630"/>
                <a:gd name="connsiteX5" fmla="*/ 58518 w 489538"/>
                <a:gd name="connsiteY5" fmla="*/ 961104 h 1332630"/>
                <a:gd name="connsiteX6" fmla="*/ 85715 w 489538"/>
                <a:gd name="connsiteY6" fmla="*/ 1159639 h 1332630"/>
                <a:gd name="connsiteX7" fmla="*/ 306007 w 489538"/>
                <a:gd name="connsiteY7" fmla="*/ 1282023 h 1332630"/>
                <a:gd name="connsiteX8" fmla="*/ 444710 w 489538"/>
                <a:gd name="connsiteY8" fmla="*/ 1211312 h 1332630"/>
                <a:gd name="connsiteX9" fmla="*/ 368560 w 489538"/>
                <a:gd name="connsiteY9" fmla="*/ 1135162 h 13326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89538" h="1332630">
                  <a:moveTo>
                    <a:pt x="368560" y="1135162"/>
                  </a:moveTo>
                  <a:cubicBezTo>
                    <a:pt x="363120" y="1110685"/>
                    <a:pt x="357681" y="1083488"/>
                    <a:pt x="357681" y="1059011"/>
                  </a:cubicBezTo>
                  <a:lnTo>
                    <a:pt x="357681" y="207759"/>
                  </a:lnTo>
                  <a:cubicBezTo>
                    <a:pt x="357681" y="126170"/>
                    <a:pt x="289689" y="58178"/>
                    <a:pt x="208099" y="58178"/>
                  </a:cubicBezTo>
                  <a:cubicBezTo>
                    <a:pt x="126510" y="58178"/>
                    <a:pt x="58518" y="126170"/>
                    <a:pt x="58518" y="207759"/>
                  </a:cubicBezTo>
                  <a:lnTo>
                    <a:pt x="58518" y="961104"/>
                  </a:lnTo>
                  <a:cubicBezTo>
                    <a:pt x="58518" y="1029095"/>
                    <a:pt x="53079" y="1097086"/>
                    <a:pt x="85715" y="1159639"/>
                  </a:cubicBezTo>
                  <a:cubicBezTo>
                    <a:pt x="118351" y="1227630"/>
                    <a:pt x="202660" y="1282023"/>
                    <a:pt x="306007" y="1282023"/>
                  </a:cubicBezTo>
                  <a:cubicBezTo>
                    <a:pt x="393036" y="1282023"/>
                    <a:pt x="444710" y="1211312"/>
                    <a:pt x="444710" y="1211312"/>
                  </a:cubicBezTo>
                  <a:cubicBezTo>
                    <a:pt x="444710" y="1211312"/>
                    <a:pt x="393036" y="1197714"/>
                    <a:pt x="368560" y="1135162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>
                <a:solidFill>
                  <a:srgbClr val="FFFFFF"/>
                </a:solidFill>
              </a:endParaRPr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721AE7A8-58AC-45E5-8868-AE57A64019A6}"/>
                </a:ext>
              </a:extLst>
            </p:cNvPr>
            <p:cNvSpPr/>
            <p:nvPr/>
          </p:nvSpPr>
          <p:spPr>
            <a:xfrm>
              <a:off x="4162324" y="2357456"/>
              <a:ext cx="815899" cy="815898"/>
            </a:xfrm>
            <a:custGeom>
              <a:avLst/>
              <a:gdLst>
                <a:gd name="connsiteX0" fmla="*/ 407949 w 815899"/>
                <a:gd name="connsiteY0" fmla="*/ 174058 h 815898"/>
                <a:gd name="connsiteX1" fmla="*/ 293723 w 815899"/>
                <a:gd name="connsiteY1" fmla="*/ 407950 h 815898"/>
                <a:gd name="connsiteX2" fmla="*/ 410669 w 815899"/>
                <a:gd name="connsiteY2" fmla="*/ 641840 h 815898"/>
                <a:gd name="connsiteX3" fmla="*/ 522175 w 815899"/>
                <a:gd name="connsiteY3" fmla="*/ 407950 h 815898"/>
                <a:gd name="connsiteX4" fmla="*/ 407949 w 815899"/>
                <a:gd name="connsiteY4" fmla="*/ 174058 h 815898"/>
                <a:gd name="connsiteX5" fmla="*/ 407950 w 815899"/>
                <a:gd name="connsiteY5" fmla="*/ 0 h 815898"/>
                <a:gd name="connsiteX6" fmla="*/ 815899 w 815899"/>
                <a:gd name="connsiteY6" fmla="*/ 407949 h 815898"/>
                <a:gd name="connsiteX7" fmla="*/ 407950 w 815899"/>
                <a:gd name="connsiteY7" fmla="*/ 815898 h 815898"/>
                <a:gd name="connsiteX8" fmla="*/ 0 w 815899"/>
                <a:gd name="connsiteY8" fmla="*/ 407949 h 815898"/>
                <a:gd name="connsiteX9" fmla="*/ 407950 w 815899"/>
                <a:gd name="connsiteY9" fmla="*/ 0 h 815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15899" h="815898">
                  <a:moveTo>
                    <a:pt x="407949" y="174058"/>
                  </a:moveTo>
                  <a:cubicBezTo>
                    <a:pt x="342677" y="174058"/>
                    <a:pt x="293723" y="263807"/>
                    <a:pt x="293723" y="407950"/>
                  </a:cubicBezTo>
                  <a:cubicBezTo>
                    <a:pt x="293723" y="552091"/>
                    <a:pt x="331799" y="639120"/>
                    <a:pt x="410669" y="641840"/>
                  </a:cubicBezTo>
                  <a:cubicBezTo>
                    <a:pt x="489539" y="641840"/>
                    <a:pt x="527614" y="552091"/>
                    <a:pt x="522175" y="407950"/>
                  </a:cubicBezTo>
                  <a:cubicBezTo>
                    <a:pt x="522175" y="263807"/>
                    <a:pt x="473221" y="176778"/>
                    <a:pt x="407949" y="174058"/>
                  </a:cubicBezTo>
                  <a:close/>
                  <a:moveTo>
                    <a:pt x="407950" y="0"/>
                  </a:moveTo>
                  <a:cubicBezTo>
                    <a:pt x="633682" y="0"/>
                    <a:pt x="815899" y="182217"/>
                    <a:pt x="815899" y="407949"/>
                  </a:cubicBezTo>
                  <a:cubicBezTo>
                    <a:pt x="815899" y="633681"/>
                    <a:pt x="633682" y="815898"/>
                    <a:pt x="407950" y="815898"/>
                  </a:cubicBezTo>
                  <a:cubicBezTo>
                    <a:pt x="182218" y="815898"/>
                    <a:pt x="0" y="633681"/>
                    <a:pt x="0" y="407949"/>
                  </a:cubicBezTo>
                  <a:cubicBezTo>
                    <a:pt x="0" y="182217"/>
                    <a:pt x="182218" y="0"/>
                    <a:pt x="407950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>
                <a:solidFill>
                  <a:srgbClr val="FFFFFF"/>
                </a:solidFill>
              </a:endParaRPr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34DFD2FB-510C-4156-98D8-02939396C287}"/>
                </a:ext>
              </a:extLst>
            </p:cNvPr>
            <p:cNvSpPr/>
            <p:nvPr/>
          </p:nvSpPr>
          <p:spPr>
            <a:xfrm>
              <a:off x="5884871" y="1946788"/>
              <a:ext cx="912802" cy="1223846"/>
            </a:xfrm>
            <a:custGeom>
              <a:avLst/>
              <a:gdLst>
                <a:gd name="connsiteX0" fmla="*/ 387907 w 912802"/>
                <a:gd name="connsiteY0" fmla="*/ 620081 h 1223846"/>
                <a:gd name="connsiteX1" fmla="*/ 273681 w 912802"/>
                <a:gd name="connsiteY1" fmla="*/ 824055 h 1223846"/>
                <a:gd name="connsiteX2" fmla="*/ 390627 w 912802"/>
                <a:gd name="connsiteY2" fmla="*/ 1028029 h 1223846"/>
                <a:gd name="connsiteX3" fmla="*/ 502132 w 912802"/>
                <a:gd name="connsiteY3" fmla="*/ 824055 h 1223846"/>
                <a:gd name="connsiteX4" fmla="*/ 387907 w 912802"/>
                <a:gd name="connsiteY4" fmla="*/ 620081 h 1223846"/>
                <a:gd name="connsiteX5" fmla="*/ 676192 w 912802"/>
                <a:gd name="connsiteY5" fmla="*/ 0 h 1223846"/>
                <a:gd name="connsiteX6" fmla="*/ 825773 w 912802"/>
                <a:gd name="connsiteY6" fmla="*/ 149581 h 1223846"/>
                <a:gd name="connsiteX7" fmla="*/ 825773 w 912802"/>
                <a:gd name="connsiteY7" fmla="*/ 1000834 h 1223846"/>
                <a:gd name="connsiteX8" fmla="*/ 836651 w 912802"/>
                <a:gd name="connsiteY8" fmla="*/ 1076985 h 1223846"/>
                <a:gd name="connsiteX9" fmla="*/ 912802 w 912802"/>
                <a:gd name="connsiteY9" fmla="*/ 1150415 h 1223846"/>
                <a:gd name="connsiteX10" fmla="*/ 774099 w 912802"/>
                <a:gd name="connsiteY10" fmla="*/ 1221126 h 1223846"/>
                <a:gd name="connsiteX11" fmla="*/ 553807 w 912802"/>
                <a:gd name="connsiteY11" fmla="*/ 1098742 h 1223846"/>
                <a:gd name="connsiteX12" fmla="*/ 548367 w 912802"/>
                <a:gd name="connsiteY12" fmla="*/ 1085144 h 1223846"/>
                <a:gd name="connsiteX13" fmla="*/ 398786 w 912802"/>
                <a:gd name="connsiteY13" fmla="*/ 1212967 h 1223846"/>
                <a:gd name="connsiteX14" fmla="*/ 156736 w 912802"/>
                <a:gd name="connsiteY14" fmla="*/ 1180332 h 1223846"/>
                <a:gd name="connsiteX15" fmla="*/ 287280 w 912802"/>
                <a:gd name="connsiteY15" fmla="*/ 416107 h 1223846"/>
                <a:gd name="connsiteX16" fmla="*/ 526611 w 912802"/>
                <a:gd name="connsiteY16" fmla="*/ 552091 h 1223846"/>
                <a:gd name="connsiteX17" fmla="*/ 526611 w 912802"/>
                <a:gd name="connsiteY17" fmla="*/ 149581 h 1223846"/>
                <a:gd name="connsiteX18" fmla="*/ 676192 w 912802"/>
                <a:gd name="connsiteY18" fmla="*/ 0 h 1223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912802" h="1223846">
                  <a:moveTo>
                    <a:pt x="387907" y="620081"/>
                  </a:moveTo>
                  <a:cubicBezTo>
                    <a:pt x="322635" y="620081"/>
                    <a:pt x="273681" y="698951"/>
                    <a:pt x="273681" y="824055"/>
                  </a:cubicBezTo>
                  <a:cubicBezTo>
                    <a:pt x="273681" y="949160"/>
                    <a:pt x="311756" y="1028029"/>
                    <a:pt x="390627" y="1028029"/>
                  </a:cubicBezTo>
                  <a:cubicBezTo>
                    <a:pt x="466777" y="1025310"/>
                    <a:pt x="504852" y="949160"/>
                    <a:pt x="502132" y="824055"/>
                  </a:cubicBezTo>
                  <a:cubicBezTo>
                    <a:pt x="502132" y="698951"/>
                    <a:pt x="455898" y="622801"/>
                    <a:pt x="387907" y="620081"/>
                  </a:cubicBezTo>
                  <a:close/>
                  <a:moveTo>
                    <a:pt x="676192" y="0"/>
                  </a:moveTo>
                  <a:cubicBezTo>
                    <a:pt x="757781" y="0"/>
                    <a:pt x="825773" y="67992"/>
                    <a:pt x="825773" y="149581"/>
                  </a:cubicBezTo>
                  <a:lnTo>
                    <a:pt x="825773" y="1000834"/>
                  </a:lnTo>
                  <a:cubicBezTo>
                    <a:pt x="828492" y="1025311"/>
                    <a:pt x="831212" y="1052508"/>
                    <a:pt x="836651" y="1076985"/>
                  </a:cubicBezTo>
                  <a:cubicBezTo>
                    <a:pt x="861128" y="1139537"/>
                    <a:pt x="912802" y="1150415"/>
                    <a:pt x="912802" y="1150415"/>
                  </a:cubicBezTo>
                  <a:cubicBezTo>
                    <a:pt x="912802" y="1150415"/>
                    <a:pt x="861128" y="1221126"/>
                    <a:pt x="774099" y="1221126"/>
                  </a:cubicBezTo>
                  <a:cubicBezTo>
                    <a:pt x="670752" y="1221126"/>
                    <a:pt x="589162" y="1166733"/>
                    <a:pt x="553807" y="1098742"/>
                  </a:cubicBezTo>
                  <a:cubicBezTo>
                    <a:pt x="551087" y="1093303"/>
                    <a:pt x="551087" y="1090583"/>
                    <a:pt x="548367" y="1085144"/>
                  </a:cubicBezTo>
                  <a:cubicBezTo>
                    <a:pt x="534769" y="1147696"/>
                    <a:pt x="450460" y="1199369"/>
                    <a:pt x="398786" y="1212967"/>
                  </a:cubicBezTo>
                  <a:cubicBezTo>
                    <a:pt x="322636" y="1234725"/>
                    <a:pt x="222008" y="1223846"/>
                    <a:pt x="156736" y="1180332"/>
                  </a:cubicBezTo>
                  <a:cubicBezTo>
                    <a:pt x="-79874" y="1028031"/>
                    <a:pt x="-58117" y="416107"/>
                    <a:pt x="287280" y="416107"/>
                  </a:cubicBezTo>
                  <a:cubicBezTo>
                    <a:pt x="412385" y="416107"/>
                    <a:pt x="491255" y="503137"/>
                    <a:pt x="526611" y="552091"/>
                  </a:cubicBezTo>
                  <a:lnTo>
                    <a:pt x="526611" y="149581"/>
                  </a:lnTo>
                  <a:cubicBezTo>
                    <a:pt x="526611" y="67992"/>
                    <a:pt x="594602" y="0"/>
                    <a:pt x="676192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>
                <a:solidFill>
                  <a:srgbClr val="FFFFFF"/>
                </a:solidFill>
              </a:endParaRPr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BAA471C0-6209-4B7B-901C-48CCE2BC7D52}"/>
                </a:ext>
              </a:extLst>
            </p:cNvPr>
            <p:cNvSpPr/>
            <p:nvPr/>
          </p:nvSpPr>
          <p:spPr>
            <a:xfrm>
              <a:off x="6789513" y="2362895"/>
              <a:ext cx="747906" cy="810458"/>
            </a:xfrm>
            <a:custGeom>
              <a:avLst/>
              <a:gdLst>
                <a:gd name="connsiteX0" fmla="*/ 394818 w 747906"/>
                <a:gd name="connsiteY0" fmla="*/ 163222 h 810458"/>
                <a:gd name="connsiteX1" fmla="*/ 356275 w 747906"/>
                <a:gd name="connsiteY1" fmla="*/ 174058 h 810458"/>
                <a:gd name="connsiteX2" fmla="*/ 274685 w 747906"/>
                <a:gd name="connsiteY2" fmla="*/ 356275 h 810458"/>
                <a:gd name="connsiteX3" fmla="*/ 375313 w 747906"/>
                <a:gd name="connsiteY3" fmla="*/ 358994 h 810458"/>
                <a:gd name="connsiteX4" fmla="*/ 473220 w 747906"/>
                <a:gd name="connsiteY4" fmla="*/ 239329 h 810458"/>
                <a:gd name="connsiteX5" fmla="*/ 394818 w 747906"/>
                <a:gd name="connsiteY5" fmla="*/ 163222 h 810458"/>
                <a:gd name="connsiteX6" fmla="*/ 386192 w 747906"/>
                <a:gd name="connsiteY6" fmla="*/ 0 h 810458"/>
                <a:gd name="connsiteX7" fmla="*/ 747906 w 747906"/>
                <a:gd name="connsiteY7" fmla="*/ 266526 h 810458"/>
                <a:gd name="connsiteX8" fmla="*/ 291004 w 747906"/>
                <a:gd name="connsiteY8" fmla="*/ 484100 h 810458"/>
                <a:gd name="connsiteX9" fmla="*/ 497698 w 747906"/>
                <a:gd name="connsiteY9" fmla="*/ 617363 h 810458"/>
                <a:gd name="connsiteX10" fmla="*/ 712551 w 747906"/>
                <a:gd name="connsiteY10" fmla="*/ 557530 h 810458"/>
                <a:gd name="connsiteX11" fmla="*/ 388912 w 747906"/>
                <a:gd name="connsiteY11" fmla="*/ 810458 h 810458"/>
                <a:gd name="connsiteX12" fmla="*/ 0 w 747906"/>
                <a:gd name="connsiteY12" fmla="*/ 413389 h 810458"/>
                <a:gd name="connsiteX13" fmla="*/ 386192 w 747906"/>
                <a:gd name="connsiteY13" fmla="*/ 0 h 8104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747906" h="810458">
                  <a:moveTo>
                    <a:pt x="394818" y="163222"/>
                  </a:moveTo>
                  <a:cubicBezTo>
                    <a:pt x="381772" y="163179"/>
                    <a:pt x="368514" y="166579"/>
                    <a:pt x="356275" y="174058"/>
                  </a:cubicBezTo>
                  <a:cubicBezTo>
                    <a:pt x="299162" y="212133"/>
                    <a:pt x="282844" y="291003"/>
                    <a:pt x="274685" y="356275"/>
                  </a:cubicBezTo>
                  <a:cubicBezTo>
                    <a:pt x="274685" y="364434"/>
                    <a:pt x="369873" y="358994"/>
                    <a:pt x="375313" y="358994"/>
                  </a:cubicBezTo>
                  <a:cubicBezTo>
                    <a:pt x="432425" y="345396"/>
                    <a:pt x="473220" y="301881"/>
                    <a:pt x="473220" y="239329"/>
                  </a:cubicBezTo>
                  <a:cubicBezTo>
                    <a:pt x="471181" y="194455"/>
                    <a:pt x="433956" y="163349"/>
                    <a:pt x="394818" y="163222"/>
                  </a:cubicBezTo>
                  <a:close/>
                  <a:moveTo>
                    <a:pt x="386192" y="0"/>
                  </a:moveTo>
                  <a:cubicBezTo>
                    <a:pt x="519455" y="0"/>
                    <a:pt x="747906" y="65272"/>
                    <a:pt x="747906" y="266526"/>
                  </a:cubicBezTo>
                  <a:cubicBezTo>
                    <a:pt x="747906" y="467782"/>
                    <a:pt x="538493" y="484100"/>
                    <a:pt x="291004" y="484100"/>
                  </a:cubicBezTo>
                  <a:cubicBezTo>
                    <a:pt x="291004" y="484100"/>
                    <a:pt x="326359" y="617363"/>
                    <a:pt x="497698" y="617363"/>
                  </a:cubicBezTo>
                  <a:cubicBezTo>
                    <a:pt x="669036" y="617363"/>
                    <a:pt x="712551" y="557530"/>
                    <a:pt x="712551" y="557530"/>
                  </a:cubicBezTo>
                  <a:cubicBezTo>
                    <a:pt x="712551" y="557530"/>
                    <a:pt x="696233" y="810458"/>
                    <a:pt x="388912" y="810458"/>
                  </a:cubicBezTo>
                  <a:cubicBezTo>
                    <a:pt x="212134" y="810458"/>
                    <a:pt x="0" y="677195"/>
                    <a:pt x="0" y="413389"/>
                  </a:cubicBezTo>
                  <a:cubicBezTo>
                    <a:pt x="0" y="176778"/>
                    <a:pt x="163180" y="0"/>
                    <a:pt x="386192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>
                <a:solidFill>
                  <a:srgbClr val="FFFFFF"/>
                </a:solidFill>
              </a:endParaRPr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431BB416-75D8-47BF-9E4E-9027F57E85DD}"/>
                </a:ext>
              </a:extLst>
            </p:cNvPr>
            <p:cNvSpPr/>
            <p:nvPr/>
          </p:nvSpPr>
          <p:spPr>
            <a:xfrm>
              <a:off x="7988882" y="2362895"/>
              <a:ext cx="747906" cy="810458"/>
            </a:xfrm>
            <a:custGeom>
              <a:avLst/>
              <a:gdLst>
                <a:gd name="connsiteX0" fmla="*/ 394818 w 747906"/>
                <a:gd name="connsiteY0" fmla="*/ 163222 h 810458"/>
                <a:gd name="connsiteX1" fmla="*/ 356275 w 747906"/>
                <a:gd name="connsiteY1" fmla="*/ 174058 h 810458"/>
                <a:gd name="connsiteX2" fmla="*/ 274685 w 747906"/>
                <a:gd name="connsiteY2" fmla="*/ 356275 h 810458"/>
                <a:gd name="connsiteX3" fmla="*/ 375313 w 747906"/>
                <a:gd name="connsiteY3" fmla="*/ 358994 h 810458"/>
                <a:gd name="connsiteX4" fmla="*/ 473220 w 747906"/>
                <a:gd name="connsiteY4" fmla="*/ 239329 h 810458"/>
                <a:gd name="connsiteX5" fmla="*/ 394818 w 747906"/>
                <a:gd name="connsiteY5" fmla="*/ 163222 h 810458"/>
                <a:gd name="connsiteX6" fmla="*/ 386192 w 747906"/>
                <a:gd name="connsiteY6" fmla="*/ 0 h 810458"/>
                <a:gd name="connsiteX7" fmla="*/ 747906 w 747906"/>
                <a:gd name="connsiteY7" fmla="*/ 266526 h 810458"/>
                <a:gd name="connsiteX8" fmla="*/ 291004 w 747906"/>
                <a:gd name="connsiteY8" fmla="*/ 484100 h 810458"/>
                <a:gd name="connsiteX9" fmla="*/ 497697 w 747906"/>
                <a:gd name="connsiteY9" fmla="*/ 617363 h 810458"/>
                <a:gd name="connsiteX10" fmla="*/ 712551 w 747906"/>
                <a:gd name="connsiteY10" fmla="*/ 557530 h 810458"/>
                <a:gd name="connsiteX11" fmla="*/ 388911 w 747906"/>
                <a:gd name="connsiteY11" fmla="*/ 810458 h 810458"/>
                <a:gd name="connsiteX12" fmla="*/ 0 w 747906"/>
                <a:gd name="connsiteY12" fmla="*/ 413389 h 810458"/>
                <a:gd name="connsiteX13" fmla="*/ 386192 w 747906"/>
                <a:gd name="connsiteY13" fmla="*/ 0 h 8104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747906" h="810458">
                  <a:moveTo>
                    <a:pt x="394818" y="163222"/>
                  </a:moveTo>
                  <a:cubicBezTo>
                    <a:pt x="381772" y="163179"/>
                    <a:pt x="368514" y="166579"/>
                    <a:pt x="356275" y="174058"/>
                  </a:cubicBezTo>
                  <a:cubicBezTo>
                    <a:pt x="299162" y="212133"/>
                    <a:pt x="282844" y="291003"/>
                    <a:pt x="274685" y="356275"/>
                  </a:cubicBezTo>
                  <a:cubicBezTo>
                    <a:pt x="274685" y="364434"/>
                    <a:pt x="369873" y="358994"/>
                    <a:pt x="375313" y="358994"/>
                  </a:cubicBezTo>
                  <a:cubicBezTo>
                    <a:pt x="432426" y="345396"/>
                    <a:pt x="473220" y="301881"/>
                    <a:pt x="473220" y="239329"/>
                  </a:cubicBezTo>
                  <a:cubicBezTo>
                    <a:pt x="471181" y="194455"/>
                    <a:pt x="433955" y="163349"/>
                    <a:pt x="394818" y="163222"/>
                  </a:cubicBezTo>
                  <a:close/>
                  <a:moveTo>
                    <a:pt x="386192" y="0"/>
                  </a:moveTo>
                  <a:cubicBezTo>
                    <a:pt x="519455" y="0"/>
                    <a:pt x="747906" y="65272"/>
                    <a:pt x="747906" y="266526"/>
                  </a:cubicBezTo>
                  <a:cubicBezTo>
                    <a:pt x="747906" y="467782"/>
                    <a:pt x="538492" y="484100"/>
                    <a:pt x="291004" y="484100"/>
                  </a:cubicBezTo>
                  <a:cubicBezTo>
                    <a:pt x="291004" y="484100"/>
                    <a:pt x="326359" y="617363"/>
                    <a:pt x="497697" y="617363"/>
                  </a:cubicBezTo>
                  <a:cubicBezTo>
                    <a:pt x="669036" y="617363"/>
                    <a:pt x="712551" y="557530"/>
                    <a:pt x="712551" y="557530"/>
                  </a:cubicBezTo>
                  <a:cubicBezTo>
                    <a:pt x="712551" y="557530"/>
                    <a:pt x="696233" y="810458"/>
                    <a:pt x="388911" y="810458"/>
                  </a:cubicBezTo>
                  <a:cubicBezTo>
                    <a:pt x="212133" y="810458"/>
                    <a:pt x="0" y="677195"/>
                    <a:pt x="0" y="413389"/>
                  </a:cubicBezTo>
                  <a:cubicBezTo>
                    <a:pt x="0" y="176778"/>
                    <a:pt x="163180" y="0"/>
                    <a:pt x="386192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>
                <a:solidFill>
                  <a:srgbClr val="FFFFFF"/>
                </a:solidFill>
              </a:endParaRPr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AEB78440-7F62-4D79-9483-861B628F32D2}"/>
                </a:ext>
              </a:extLst>
            </p:cNvPr>
            <p:cNvSpPr/>
            <p:nvPr/>
          </p:nvSpPr>
          <p:spPr>
            <a:xfrm>
              <a:off x="8683414" y="2274801"/>
              <a:ext cx="897487" cy="951879"/>
            </a:xfrm>
            <a:custGeom>
              <a:avLst/>
              <a:gdLst>
                <a:gd name="connsiteX0" fmla="*/ 580988 w 897487"/>
                <a:gd name="connsiteY0" fmla="*/ 667381 h 951879"/>
                <a:gd name="connsiteX1" fmla="*/ 409649 w 897487"/>
                <a:gd name="connsiteY1" fmla="*/ 667381 h 951879"/>
                <a:gd name="connsiteX2" fmla="*/ 591866 w 897487"/>
                <a:gd name="connsiteY2" fmla="*/ 525959 h 951879"/>
                <a:gd name="connsiteX3" fmla="*/ 842075 w 897487"/>
                <a:gd name="connsiteY3" fmla="*/ 123450 h 951879"/>
                <a:gd name="connsiteX4" fmla="*/ 842075 w 897487"/>
                <a:gd name="connsiteY4" fmla="*/ 123450 h 951879"/>
                <a:gd name="connsiteX5" fmla="*/ 798560 w 897487"/>
                <a:gd name="connsiteY5" fmla="*/ 58178 h 951879"/>
                <a:gd name="connsiteX6" fmla="*/ 746887 w 897487"/>
                <a:gd name="connsiteY6" fmla="*/ 107132 h 951879"/>
                <a:gd name="connsiteX7" fmla="*/ 697933 w 897487"/>
                <a:gd name="connsiteY7" fmla="*/ 115291 h 951879"/>
                <a:gd name="connsiteX8" fmla="*/ 219273 w 897487"/>
                <a:gd name="connsiteY8" fmla="*/ 115291 h 951879"/>
                <a:gd name="connsiteX9" fmla="*/ 102328 w 897487"/>
                <a:gd name="connsiteY9" fmla="*/ 224077 h 951879"/>
                <a:gd name="connsiteX10" fmla="*/ 213834 w 897487"/>
                <a:gd name="connsiteY10" fmla="*/ 332863 h 951879"/>
                <a:gd name="connsiteX11" fmla="*/ 485800 w 897487"/>
                <a:gd name="connsiteY11" fmla="*/ 335583 h 951879"/>
                <a:gd name="connsiteX12" fmla="*/ 134964 w 897487"/>
                <a:gd name="connsiteY12" fmla="*/ 615708 h 951879"/>
                <a:gd name="connsiteX13" fmla="*/ 61533 w 897487"/>
                <a:gd name="connsiteY13" fmla="*/ 884953 h 951879"/>
                <a:gd name="connsiteX14" fmla="*/ 398771 w 897487"/>
                <a:gd name="connsiteY14" fmla="*/ 806083 h 951879"/>
                <a:gd name="connsiteX15" fmla="*/ 529314 w 897487"/>
                <a:gd name="connsiteY15" fmla="*/ 863196 h 951879"/>
                <a:gd name="connsiteX16" fmla="*/ 782242 w 897487"/>
                <a:gd name="connsiteY16" fmla="*/ 607549 h 951879"/>
                <a:gd name="connsiteX17" fmla="*/ 580988 w 897487"/>
                <a:gd name="connsiteY17" fmla="*/ 667381 h 9518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897487" h="951879">
                  <a:moveTo>
                    <a:pt x="580988" y="667381"/>
                  </a:moveTo>
                  <a:lnTo>
                    <a:pt x="409649" y="667381"/>
                  </a:lnTo>
                  <a:cubicBezTo>
                    <a:pt x="423248" y="667381"/>
                    <a:pt x="548352" y="561314"/>
                    <a:pt x="591866" y="525959"/>
                  </a:cubicBezTo>
                  <a:cubicBezTo>
                    <a:pt x="700653" y="433491"/>
                    <a:pt x="899188" y="297508"/>
                    <a:pt x="842075" y="123450"/>
                  </a:cubicBezTo>
                  <a:lnTo>
                    <a:pt x="842075" y="123450"/>
                  </a:lnTo>
                  <a:cubicBezTo>
                    <a:pt x="831197" y="82655"/>
                    <a:pt x="798560" y="58178"/>
                    <a:pt x="798560" y="58178"/>
                  </a:cubicBezTo>
                  <a:cubicBezTo>
                    <a:pt x="798560" y="58178"/>
                    <a:pt x="787682" y="90814"/>
                    <a:pt x="746887" y="107132"/>
                  </a:cubicBezTo>
                  <a:cubicBezTo>
                    <a:pt x="730569" y="109852"/>
                    <a:pt x="714251" y="115291"/>
                    <a:pt x="697933" y="115291"/>
                  </a:cubicBezTo>
                  <a:cubicBezTo>
                    <a:pt x="684334" y="115291"/>
                    <a:pt x="219273" y="115291"/>
                    <a:pt x="219273" y="115291"/>
                  </a:cubicBezTo>
                  <a:cubicBezTo>
                    <a:pt x="156721" y="115291"/>
                    <a:pt x="105048" y="166964"/>
                    <a:pt x="102328" y="224077"/>
                  </a:cubicBezTo>
                  <a:cubicBezTo>
                    <a:pt x="102328" y="283910"/>
                    <a:pt x="151282" y="332863"/>
                    <a:pt x="213834" y="332863"/>
                  </a:cubicBezTo>
                  <a:lnTo>
                    <a:pt x="485800" y="335583"/>
                  </a:lnTo>
                  <a:cubicBezTo>
                    <a:pt x="360695" y="406294"/>
                    <a:pt x="211114" y="487884"/>
                    <a:pt x="134964" y="615708"/>
                  </a:cubicBezTo>
                  <a:cubicBezTo>
                    <a:pt x="91449" y="689138"/>
                    <a:pt x="45215" y="800644"/>
                    <a:pt x="61533" y="884953"/>
                  </a:cubicBezTo>
                  <a:cubicBezTo>
                    <a:pt x="121366" y="830560"/>
                    <a:pt x="279106" y="778887"/>
                    <a:pt x="398771" y="806083"/>
                  </a:cubicBezTo>
                  <a:cubicBezTo>
                    <a:pt x="445005" y="814242"/>
                    <a:pt x="491239" y="838719"/>
                    <a:pt x="529314" y="863196"/>
                  </a:cubicBezTo>
                  <a:cubicBezTo>
                    <a:pt x="755046" y="1004618"/>
                    <a:pt x="891029" y="727213"/>
                    <a:pt x="782242" y="607549"/>
                  </a:cubicBezTo>
                  <a:cubicBezTo>
                    <a:pt x="784962" y="607549"/>
                    <a:pt x="722410" y="667381"/>
                    <a:pt x="580988" y="667381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>
                <a:solidFill>
                  <a:srgbClr val="FFFFFF"/>
                </a:solidFill>
              </a:endParaRPr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6C9D7D0A-4F73-4194-9757-8A00A890A672}"/>
                </a:ext>
              </a:extLst>
            </p:cNvPr>
            <p:cNvSpPr/>
            <p:nvPr/>
          </p:nvSpPr>
          <p:spPr>
            <a:xfrm>
              <a:off x="2624650" y="1948442"/>
              <a:ext cx="1903761" cy="1577400"/>
            </a:xfrm>
            <a:custGeom>
              <a:avLst/>
              <a:gdLst>
                <a:gd name="connsiteX0" fmla="*/ 1559430 w 1903760"/>
                <a:gd name="connsiteY0" fmla="*/ 1165078 h 1577399"/>
                <a:gd name="connsiteX1" fmla="*/ 1369054 w 1903760"/>
                <a:gd name="connsiteY1" fmla="*/ 593950 h 1577399"/>
                <a:gd name="connsiteX2" fmla="*/ 1483279 w 1903760"/>
                <a:gd name="connsiteY2" fmla="*/ 126170 h 1577399"/>
                <a:gd name="connsiteX3" fmla="*/ 1311941 w 1903760"/>
                <a:gd name="connsiteY3" fmla="*/ 58178 h 1577399"/>
                <a:gd name="connsiteX4" fmla="*/ 1078050 w 1903760"/>
                <a:gd name="connsiteY4" fmla="*/ 205040 h 1577399"/>
                <a:gd name="connsiteX5" fmla="*/ 846879 w 1903760"/>
                <a:gd name="connsiteY5" fmla="*/ 523239 h 1577399"/>
                <a:gd name="connsiteX6" fmla="*/ 645624 w 1903760"/>
                <a:gd name="connsiteY6" fmla="*/ 210479 h 1577399"/>
                <a:gd name="connsiteX7" fmla="*/ 455248 w 1903760"/>
                <a:gd name="connsiteY7" fmla="*/ 63617 h 1577399"/>
                <a:gd name="connsiteX8" fmla="*/ 234956 w 1903760"/>
                <a:gd name="connsiteY8" fmla="*/ 137048 h 1577399"/>
                <a:gd name="connsiteX9" fmla="*/ 316546 w 1903760"/>
                <a:gd name="connsiteY9" fmla="*/ 588511 h 1577399"/>
                <a:gd name="connsiteX10" fmla="*/ 58178 w 1903760"/>
                <a:gd name="connsiteY10" fmla="*/ 1072610 h 1577399"/>
                <a:gd name="connsiteX11" fmla="*/ 474286 w 1903760"/>
                <a:gd name="connsiteY11" fmla="*/ 1020936 h 1577399"/>
                <a:gd name="connsiteX12" fmla="*/ 555876 w 1903760"/>
                <a:gd name="connsiteY12" fmla="*/ 572193 h 1577399"/>
                <a:gd name="connsiteX13" fmla="*/ 830561 w 1903760"/>
                <a:gd name="connsiteY13" fmla="*/ 993740 h 1577399"/>
                <a:gd name="connsiteX14" fmla="*/ 1140602 w 1903760"/>
                <a:gd name="connsiteY14" fmla="*/ 574913 h 1577399"/>
                <a:gd name="connsiteX15" fmla="*/ 1567589 w 1903760"/>
                <a:gd name="connsiteY15" fmla="*/ 1526792 h 1577399"/>
                <a:gd name="connsiteX16" fmla="*/ 1866751 w 1903760"/>
                <a:gd name="connsiteY16" fmla="*/ 1322818 h 1577399"/>
                <a:gd name="connsiteX17" fmla="*/ 1559430 w 1903760"/>
                <a:gd name="connsiteY17" fmla="*/ 1165078 h 15773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903760" h="1577399">
                  <a:moveTo>
                    <a:pt x="1559430" y="1165078"/>
                  </a:moveTo>
                  <a:cubicBezTo>
                    <a:pt x="1420727" y="1012777"/>
                    <a:pt x="1377213" y="762569"/>
                    <a:pt x="1369054" y="593950"/>
                  </a:cubicBezTo>
                  <a:cubicBezTo>
                    <a:pt x="1360895" y="449809"/>
                    <a:pt x="1369054" y="199600"/>
                    <a:pt x="1483279" y="126170"/>
                  </a:cubicBezTo>
                  <a:cubicBezTo>
                    <a:pt x="1445204" y="77216"/>
                    <a:pt x="1369054" y="58178"/>
                    <a:pt x="1311941" y="58178"/>
                  </a:cubicBezTo>
                  <a:cubicBezTo>
                    <a:pt x="1184117" y="58178"/>
                    <a:pt x="1121565" y="142488"/>
                    <a:pt x="1078050" y="205040"/>
                  </a:cubicBezTo>
                  <a:cubicBezTo>
                    <a:pt x="1064452" y="224077"/>
                    <a:pt x="846879" y="523239"/>
                    <a:pt x="846879" y="523239"/>
                  </a:cubicBezTo>
                  <a:cubicBezTo>
                    <a:pt x="846879" y="523239"/>
                    <a:pt x="667382" y="243115"/>
                    <a:pt x="645624" y="210479"/>
                  </a:cubicBezTo>
                  <a:cubicBezTo>
                    <a:pt x="615708" y="164245"/>
                    <a:pt x="555876" y="77216"/>
                    <a:pt x="455248" y="63617"/>
                  </a:cubicBezTo>
                  <a:cubicBezTo>
                    <a:pt x="411734" y="58178"/>
                    <a:pt x="297508" y="52739"/>
                    <a:pt x="234956" y="137048"/>
                  </a:cubicBezTo>
                  <a:cubicBezTo>
                    <a:pt x="341023" y="221357"/>
                    <a:pt x="338303" y="438930"/>
                    <a:pt x="316546" y="588511"/>
                  </a:cubicBezTo>
                  <a:cubicBezTo>
                    <a:pt x="248554" y="1031815"/>
                    <a:pt x="58178" y="1072610"/>
                    <a:pt x="58178" y="1072610"/>
                  </a:cubicBezTo>
                  <a:cubicBezTo>
                    <a:pt x="156086" y="1333696"/>
                    <a:pt x="403575" y="1230350"/>
                    <a:pt x="474286" y="1020936"/>
                  </a:cubicBezTo>
                  <a:cubicBezTo>
                    <a:pt x="520520" y="884953"/>
                    <a:pt x="550436" y="713615"/>
                    <a:pt x="555876" y="572193"/>
                  </a:cubicBezTo>
                  <a:lnTo>
                    <a:pt x="830561" y="993740"/>
                  </a:lnTo>
                  <a:cubicBezTo>
                    <a:pt x="830561" y="993740"/>
                    <a:pt x="1140602" y="574913"/>
                    <a:pt x="1140602" y="574913"/>
                  </a:cubicBezTo>
                  <a:cubicBezTo>
                    <a:pt x="1088929" y="1314659"/>
                    <a:pt x="1344577" y="1526792"/>
                    <a:pt x="1567589" y="1526792"/>
                  </a:cubicBezTo>
                  <a:cubicBezTo>
                    <a:pt x="1790601" y="1526792"/>
                    <a:pt x="1866751" y="1322818"/>
                    <a:pt x="1866751" y="1322818"/>
                  </a:cubicBezTo>
                  <a:cubicBezTo>
                    <a:pt x="1744367" y="1314659"/>
                    <a:pt x="1641019" y="1252107"/>
                    <a:pt x="1559430" y="1165078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>
                <a:solidFill>
                  <a:srgbClr val="FFFFFF"/>
                </a:solidFill>
              </a:endParaRPr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C5246292-11FA-4726-9072-DDDA78218BFC}"/>
                </a:ext>
              </a:extLst>
            </p:cNvPr>
            <p:cNvSpPr/>
            <p:nvPr/>
          </p:nvSpPr>
          <p:spPr>
            <a:xfrm>
              <a:off x="4792218" y="3234839"/>
              <a:ext cx="271966" cy="652717"/>
            </a:xfrm>
            <a:custGeom>
              <a:avLst/>
              <a:gdLst>
                <a:gd name="connsiteX0" fmla="*/ 88095 w 271965"/>
                <a:gd name="connsiteY0" fmla="*/ 120730 h 652717"/>
                <a:gd name="connsiteX1" fmla="*/ 93534 w 271965"/>
                <a:gd name="connsiteY1" fmla="*/ 153366 h 652717"/>
                <a:gd name="connsiteX2" fmla="*/ 93534 w 271965"/>
                <a:gd name="connsiteY2" fmla="*/ 544997 h 652717"/>
                <a:gd name="connsiteX3" fmla="*/ 156086 w 271965"/>
                <a:gd name="connsiteY3" fmla="*/ 604829 h 652717"/>
                <a:gd name="connsiteX4" fmla="*/ 221358 w 271965"/>
                <a:gd name="connsiteY4" fmla="*/ 544997 h 652717"/>
                <a:gd name="connsiteX5" fmla="*/ 221358 w 271965"/>
                <a:gd name="connsiteY5" fmla="*/ 194161 h 652717"/>
                <a:gd name="connsiteX6" fmla="*/ 210479 w 271965"/>
                <a:gd name="connsiteY6" fmla="*/ 109852 h 652717"/>
                <a:gd name="connsiteX7" fmla="*/ 118011 w 271965"/>
                <a:gd name="connsiteY7" fmla="*/ 58178 h 652717"/>
                <a:gd name="connsiteX8" fmla="*/ 58178 w 271965"/>
                <a:gd name="connsiteY8" fmla="*/ 88094 h 652717"/>
                <a:gd name="connsiteX9" fmla="*/ 88095 w 271965"/>
                <a:gd name="connsiteY9" fmla="*/ 120730 h 6527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71965" h="652717">
                  <a:moveTo>
                    <a:pt x="88095" y="120730"/>
                  </a:moveTo>
                  <a:cubicBezTo>
                    <a:pt x="90814" y="131609"/>
                    <a:pt x="90814" y="142487"/>
                    <a:pt x="93534" y="153366"/>
                  </a:cubicBezTo>
                  <a:cubicBezTo>
                    <a:pt x="93534" y="156086"/>
                    <a:pt x="93534" y="542277"/>
                    <a:pt x="93534" y="544997"/>
                  </a:cubicBezTo>
                  <a:cubicBezTo>
                    <a:pt x="93534" y="577632"/>
                    <a:pt x="123450" y="604829"/>
                    <a:pt x="156086" y="604829"/>
                  </a:cubicBezTo>
                  <a:cubicBezTo>
                    <a:pt x="188722" y="607548"/>
                    <a:pt x="221358" y="577632"/>
                    <a:pt x="221358" y="544997"/>
                  </a:cubicBezTo>
                  <a:cubicBezTo>
                    <a:pt x="221358" y="539557"/>
                    <a:pt x="221358" y="194161"/>
                    <a:pt x="221358" y="194161"/>
                  </a:cubicBezTo>
                  <a:cubicBezTo>
                    <a:pt x="221358" y="164245"/>
                    <a:pt x="224078" y="134329"/>
                    <a:pt x="210479" y="109852"/>
                  </a:cubicBezTo>
                  <a:cubicBezTo>
                    <a:pt x="196881" y="79935"/>
                    <a:pt x="158806" y="58178"/>
                    <a:pt x="118011" y="58178"/>
                  </a:cubicBezTo>
                  <a:cubicBezTo>
                    <a:pt x="79936" y="58178"/>
                    <a:pt x="58178" y="88094"/>
                    <a:pt x="58178" y="88094"/>
                  </a:cubicBezTo>
                  <a:cubicBezTo>
                    <a:pt x="58178" y="88094"/>
                    <a:pt x="77216" y="93534"/>
                    <a:pt x="88095" y="120730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>
                <a:solidFill>
                  <a:srgbClr val="FFFFFF"/>
                </a:solidFill>
              </a:endParaRPr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9ACEC316-BA5C-440C-89BF-6FE143520B34}"/>
                </a:ext>
              </a:extLst>
            </p:cNvPr>
            <p:cNvSpPr/>
            <p:nvPr/>
          </p:nvSpPr>
          <p:spPr>
            <a:xfrm>
              <a:off x="8751819" y="3234667"/>
              <a:ext cx="271966" cy="652717"/>
            </a:xfrm>
            <a:custGeom>
              <a:avLst/>
              <a:gdLst>
                <a:gd name="connsiteX0" fmla="*/ 191663 w 271965"/>
                <a:gd name="connsiteY0" fmla="*/ 542449 h 652717"/>
                <a:gd name="connsiteX1" fmla="*/ 186224 w 271965"/>
                <a:gd name="connsiteY1" fmla="*/ 509813 h 652717"/>
                <a:gd name="connsiteX2" fmla="*/ 186224 w 271965"/>
                <a:gd name="connsiteY2" fmla="*/ 118183 h 652717"/>
                <a:gd name="connsiteX3" fmla="*/ 123672 w 271965"/>
                <a:gd name="connsiteY3" fmla="*/ 58350 h 652717"/>
                <a:gd name="connsiteX4" fmla="*/ 58400 w 271965"/>
                <a:gd name="connsiteY4" fmla="*/ 118183 h 652717"/>
                <a:gd name="connsiteX5" fmla="*/ 58400 w 271965"/>
                <a:gd name="connsiteY5" fmla="*/ 469018 h 652717"/>
                <a:gd name="connsiteX6" fmla="*/ 69279 w 271965"/>
                <a:gd name="connsiteY6" fmla="*/ 553328 h 652717"/>
                <a:gd name="connsiteX7" fmla="*/ 161747 w 271965"/>
                <a:gd name="connsiteY7" fmla="*/ 605001 h 652717"/>
                <a:gd name="connsiteX8" fmla="*/ 221580 w 271965"/>
                <a:gd name="connsiteY8" fmla="*/ 575085 h 652717"/>
                <a:gd name="connsiteX9" fmla="*/ 191663 w 271965"/>
                <a:gd name="connsiteY9" fmla="*/ 542449 h 6527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71965" h="652717">
                  <a:moveTo>
                    <a:pt x="191663" y="542449"/>
                  </a:moveTo>
                  <a:cubicBezTo>
                    <a:pt x="188944" y="531570"/>
                    <a:pt x="186224" y="520692"/>
                    <a:pt x="186224" y="509813"/>
                  </a:cubicBezTo>
                  <a:cubicBezTo>
                    <a:pt x="186224" y="507093"/>
                    <a:pt x="186224" y="120902"/>
                    <a:pt x="186224" y="118183"/>
                  </a:cubicBezTo>
                  <a:cubicBezTo>
                    <a:pt x="186224" y="85547"/>
                    <a:pt x="156308" y="58350"/>
                    <a:pt x="123672" y="58350"/>
                  </a:cubicBezTo>
                  <a:cubicBezTo>
                    <a:pt x="91036" y="55631"/>
                    <a:pt x="58400" y="85547"/>
                    <a:pt x="58400" y="118183"/>
                  </a:cubicBezTo>
                  <a:cubicBezTo>
                    <a:pt x="58400" y="123622"/>
                    <a:pt x="58400" y="469018"/>
                    <a:pt x="58400" y="469018"/>
                  </a:cubicBezTo>
                  <a:cubicBezTo>
                    <a:pt x="58400" y="498934"/>
                    <a:pt x="55680" y="528851"/>
                    <a:pt x="69279" y="553328"/>
                  </a:cubicBezTo>
                  <a:cubicBezTo>
                    <a:pt x="82877" y="583244"/>
                    <a:pt x="120953" y="605001"/>
                    <a:pt x="161747" y="605001"/>
                  </a:cubicBezTo>
                  <a:cubicBezTo>
                    <a:pt x="199822" y="605001"/>
                    <a:pt x="221580" y="575085"/>
                    <a:pt x="221580" y="575085"/>
                  </a:cubicBezTo>
                  <a:cubicBezTo>
                    <a:pt x="221580" y="575085"/>
                    <a:pt x="202542" y="566926"/>
                    <a:pt x="191663" y="542449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>
                <a:solidFill>
                  <a:srgbClr val="FFFFFF"/>
                </a:solidFill>
              </a:endParaRPr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435751A7-0636-4A94-82A5-061081DF9E1F}"/>
                </a:ext>
              </a:extLst>
            </p:cNvPr>
            <p:cNvSpPr/>
            <p:nvPr/>
          </p:nvSpPr>
          <p:spPr>
            <a:xfrm>
              <a:off x="6320666" y="3416868"/>
              <a:ext cx="435145" cy="462341"/>
            </a:xfrm>
            <a:custGeom>
              <a:avLst/>
              <a:gdLst>
                <a:gd name="connsiteX0" fmla="*/ 302948 w 435145"/>
                <a:gd name="connsiteY0" fmla="*/ 74684 h 462341"/>
                <a:gd name="connsiteX1" fmla="*/ 186003 w 435145"/>
                <a:gd name="connsiteY1" fmla="*/ 148115 h 462341"/>
                <a:gd name="connsiteX2" fmla="*/ 186003 w 435145"/>
                <a:gd name="connsiteY2" fmla="*/ 148115 h 462341"/>
                <a:gd name="connsiteX3" fmla="*/ 186003 w 435145"/>
                <a:gd name="connsiteY3" fmla="*/ 115479 h 462341"/>
                <a:gd name="connsiteX4" fmla="*/ 123450 w 435145"/>
                <a:gd name="connsiteY4" fmla="*/ 58366 h 462341"/>
                <a:gd name="connsiteX5" fmla="*/ 58178 w 435145"/>
                <a:gd name="connsiteY5" fmla="*/ 115479 h 462341"/>
                <a:gd name="connsiteX6" fmla="*/ 58178 w 435145"/>
                <a:gd name="connsiteY6" fmla="*/ 362967 h 462341"/>
                <a:gd name="connsiteX7" fmla="*/ 120730 w 435145"/>
                <a:gd name="connsiteY7" fmla="*/ 422800 h 462341"/>
                <a:gd name="connsiteX8" fmla="*/ 186003 w 435145"/>
                <a:gd name="connsiteY8" fmla="*/ 362967 h 462341"/>
                <a:gd name="connsiteX9" fmla="*/ 186003 w 435145"/>
                <a:gd name="connsiteY9" fmla="*/ 213386 h 462341"/>
                <a:gd name="connsiteX10" fmla="*/ 186003 w 435145"/>
                <a:gd name="connsiteY10" fmla="*/ 213386 h 462341"/>
                <a:gd name="connsiteX11" fmla="*/ 229517 w 435145"/>
                <a:gd name="connsiteY11" fmla="*/ 161713 h 462341"/>
                <a:gd name="connsiteX12" fmla="*/ 259433 w 435145"/>
                <a:gd name="connsiteY12" fmla="*/ 194349 h 462341"/>
                <a:gd name="connsiteX13" fmla="*/ 259433 w 435145"/>
                <a:gd name="connsiteY13" fmla="*/ 362967 h 462341"/>
                <a:gd name="connsiteX14" fmla="*/ 321985 w 435145"/>
                <a:gd name="connsiteY14" fmla="*/ 422800 h 462341"/>
                <a:gd name="connsiteX15" fmla="*/ 387257 w 435145"/>
                <a:gd name="connsiteY15" fmla="*/ 362967 h 462341"/>
                <a:gd name="connsiteX16" fmla="*/ 387257 w 435145"/>
                <a:gd name="connsiteY16" fmla="*/ 273219 h 462341"/>
                <a:gd name="connsiteX17" fmla="*/ 302948 w 435145"/>
                <a:gd name="connsiteY17" fmla="*/ 74684 h 4623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435145" h="462341">
                  <a:moveTo>
                    <a:pt x="302948" y="74684"/>
                  </a:moveTo>
                  <a:cubicBezTo>
                    <a:pt x="234956" y="74684"/>
                    <a:pt x="196881" y="131797"/>
                    <a:pt x="186003" y="148115"/>
                  </a:cubicBezTo>
                  <a:lnTo>
                    <a:pt x="186003" y="148115"/>
                  </a:lnTo>
                  <a:cubicBezTo>
                    <a:pt x="186003" y="129077"/>
                    <a:pt x="186003" y="115479"/>
                    <a:pt x="186003" y="115479"/>
                  </a:cubicBezTo>
                  <a:cubicBezTo>
                    <a:pt x="186003" y="82843"/>
                    <a:pt x="156086" y="58366"/>
                    <a:pt x="123450" y="58366"/>
                  </a:cubicBezTo>
                  <a:cubicBezTo>
                    <a:pt x="90814" y="55646"/>
                    <a:pt x="58178" y="82843"/>
                    <a:pt x="58178" y="115479"/>
                  </a:cubicBezTo>
                  <a:cubicBezTo>
                    <a:pt x="58178" y="120918"/>
                    <a:pt x="58178" y="360248"/>
                    <a:pt x="58178" y="362967"/>
                  </a:cubicBezTo>
                  <a:cubicBezTo>
                    <a:pt x="58178" y="395603"/>
                    <a:pt x="88095" y="422800"/>
                    <a:pt x="120730" y="422800"/>
                  </a:cubicBezTo>
                  <a:cubicBezTo>
                    <a:pt x="153366" y="425519"/>
                    <a:pt x="186003" y="395603"/>
                    <a:pt x="186003" y="362967"/>
                  </a:cubicBezTo>
                  <a:cubicBezTo>
                    <a:pt x="186003" y="360248"/>
                    <a:pt x="186003" y="281378"/>
                    <a:pt x="186003" y="213386"/>
                  </a:cubicBezTo>
                  <a:lnTo>
                    <a:pt x="186003" y="213386"/>
                  </a:lnTo>
                  <a:cubicBezTo>
                    <a:pt x="191442" y="186190"/>
                    <a:pt x="205040" y="161713"/>
                    <a:pt x="229517" y="161713"/>
                  </a:cubicBezTo>
                  <a:cubicBezTo>
                    <a:pt x="259433" y="161713"/>
                    <a:pt x="259433" y="194349"/>
                    <a:pt x="259433" y="194349"/>
                  </a:cubicBezTo>
                  <a:lnTo>
                    <a:pt x="259433" y="362967"/>
                  </a:lnTo>
                  <a:cubicBezTo>
                    <a:pt x="259433" y="395603"/>
                    <a:pt x="289349" y="422800"/>
                    <a:pt x="321985" y="422800"/>
                  </a:cubicBezTo>
                  <a:cubicBezTo>
                    <a:pt x="354621" y="425519"/>
                    <a:pt x="387257" y="395603"/>
                    <a:pt x="387257" y="362967"/>
                  </a:cubicBezTo>
                  <a:lnTo>
                    <a:pt x="387257" y="273219"/>
                  </a:lnTo>
                  <a:cubicBezTo>
                    <a:pt x="387257" y="183470"/>
                    <a:pt x="395416" y="71964"/>
                    <a:pt x="302948" y="74684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>
                <a:solidFill>
                  <a:srgbClr val="FFFFFF"/>
                </a:solidFill>
              </a:endParaRPr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8B40D30E-3FD1-4BB4-B9AC-09DA2F2D5CE1}"/>
                </a:ext>
              </a:extLst>
            </p:cNvPr>
            <p:cNvSpPr/>
            <p:nvPr/>
          </p:nvSpPr>
          <p:spPr>
            <a:xfrm>
              <a:off x="7960620" y="3416868"/>
              <a:ext cx="435145" cy="462341"/>
            </a:xfrm>
            <a:custGeom>
              <a:avLst/>
              <a:gdLst>
                <a:gd name="connsiteX0" fmla="*/ 302948 w 435145"/>
                <a:gd name="connsiteY0" fmla="*/ 74684 h 462341"/>
                <a:gd name="connsiteX1" fmla="*/ 186002 w 435145"/>
                <a:gd name="connsiteY1" fmla="*/ 148115 h 462341"/>
                <a:gd name="connsiteX2" fmla="*/ 186002 w 435145"/>
                <a:gd name="connsiteY2" fmla="*/ 148115 h 462341"/>
                <a:gd name="connsiteX3" fmla="*/ 186002 w 435145"/>
                <a:gd name="connsiteY3" fmla="*/ 115479 h 462341"/>
                <a:gd name="connsiteX4" fmla="*/ 123450 w 435145"/>
                <a:gd name="connsiteY4" fmla="*/ 58366 h 462341"/>
                <a:gd name="connsiteX5" fmla="*/ 58178 w 435145"/>
                <a:gd name="connsiteY5" fmla="*/ 115479 h 462341"/>
                <a:gd name="connsiteX6" fmla="*/ 58178 w 435145"/>
                <a:gd name="connsiteY6" fmla="*/ 362967 h 462341"/>
                <a:gd name="connsiteX7" fmla="*/ 120730 w 435145"/>
                <a:gd name="connsiteY7" fmla="*/ 422800 h 462341"/>
                <a:gd name="connsiteX8" fmla="*/ 186002 w 435145"/>
                <a:gd name="connsiteY8" fmla="*/ 362967 h 462341"/>
                <a:gd name="connsiteX9" fmla="*/ 186002 w 435145"/>
                <a:gd name="connsiteY9" fmla="*/ 213386 h 462341"/>
                <a:gd name="connsiteX10" fmla="*/ 186002 w 435145"/>
                <a:gd name="connsiteY10" fmla="*/ 213386 h 462341"/>
                <a:gd name="connsiteX11" fmla="*/ 229517 w 435145"/>
                <a:gd name="connsiteY11" fmla="*/ 161713 h 462341"/>
                <a:gd name="connsiteX12" fmla="*/ 259433 w 435145"/>
                <a:gd name="connsiteY12" fmla="*/ 194349 h 462341"/>
                <a:gd name="connsiteX13" fmla="*/ 259433 w 435145"/>
                <a:gd name="connsiteY13" fmla="*/ 362967 h 462341"/>
                <a:gd name="connsiteX14" fmla="*/ 321985 w 435145"/>
                <a:gd name="connsiteY14" fmla="*/ 422800 h 462341"/>
                <a:gd name="connsiteX15" fmla="*/ 387257 w 435145"/>
                <a:gd name="connsiteY15" fmla="*/ 362967 h 462341"/>
                <a:gd name="connsiteX16" fmla="*/ 387257 w 435145"/>
                <a:gd name="connsiteY16" fmla="*/ 273219 h 462341"/>
                <a:gd name="connsiteX17" fmla="*/ 302948 w 435145"/>
                <a:gd name="connsiteY17" fmla="*/ 74684 h 4623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435145" h="462341">
                  <a:moveTo>
                    <a:pt x="302948" y="74684"/>
                  </a:moveTo>
                  <a:cubicBezTo>
                    <a:pt x="234956" y="74684"/>
                    <a:pt x="196881" y="131797"/>
                    <a:pt x="186002" y="148115"/>
                  </a:cubicBezTo>
                  <a:lnTo>
                    <a:pt x="186002" y="148115"/>
                  </a:lnTo>
                  <a:cubicBezTo>
                    <a:pt x="186002" y="129077"/>
                    <a:pt x="186002" y="115479"/>
                    <a:pt x="186002" y="115479"/>
                  </a:cubicBezTo>
                  <a:cubicBezTo>
                    <a:pt x="186002" y="82843"/>
                    <a:pt x="156086" y="58366"/>
                    <a:pt x="123450" y="58366"/>
                  </a:cubicBezTo>
                  <a:cubicBezTo>
                    <a:pt x="90814" y="55646"/>
                    <a:pt x="58178" y="82843"/>
                    <a:pt x="58178" y="115479"/>
                  </a:cubicBezTo>
                  <a:cubicBezTo>
                    <a:pt x="58178" y="120918"/>
                    <a:pt x="58178" y="360248"/>
                    <a:pt x="58178" y="362967"/>
                  </a:cubicBezTo>
                  <a:cubicBezTo>
                    <a:pt x="58178" y="395603"/>
                    <a:pt x="88095" y="422800"/>
                    <a:pt x="120730" y="422800"/>
                  </a:cubicBezTo>
                  <a:cubicBezTo>
                    <a:pt x="153366" y="425519"/>
                    <a:pt x="186002" y="395603"/>
                    <a:pt x="186002" y="362967"/>
                  </a:cubicBezTo>
                  <a:cubicBezTo>
                    <a:pt x="186002" y="360248"/>
                    <a:pt x="186002" y="281378"/>
                    <a:pt x="186002" y="213386"/>
                  </a:cubicBezTo>
                  <a:lnTo>
                    <a:pt x="186002" y="213386"/>
                  </a:lnTo>
                  <a:cubicBezTo>
                    <a:pt x="191442" y="186190"/>
                    <a:pt x="205040" y="161713"/>
                    <a:pt x="229517" y="161713"/>
                  </a:cubicBezTo>
                  <a:cubicBezTo>
                    <a:pt x="259433" y="161713"/>
                    <a:pt x="259433" y="194349"/>
                    <a:pt x="259433" y="194349"/>
                  </a:cubicBezTo>
                  <a:lnTo>
                    <a:pt x="259433" y="362967"/>
                  </a:lnTo>
                  <a:cubicBezTo>
                    <a:pt x="259433" y="395603"/>
                    <a:pt x="289349" y="422800"/>
                    <a:pt x="321985" y="422800"/>
                  </a:cubicBezTo>
                  <a:cubicBezTo>
                    <a:pt x="354621" y="425519"/>
                    <a:pt x="387257" y="395603"/>
                    <a:pt x="387257" y="362967"/>
                  </a:cubicBezTo>
                  <a:lnTo>
                    <a:pt x="387257" y="273219"/>
                  </a:lnTo>
                  <a:cubicBezTo>
                    <a:pt x="384537" y="183470"/>
                    <a:pt x="395416" y="71964"/>
                    <a:pt x="302948" y="74684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>
                <a:solidFill>
                  <a:srgbClr val="FFFFFF"/>
                </a:solidFill>
              </a:endParaRPr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9B44342E-62F3-4A6E-9AEC-F34D3436B671}"/>
                </a:ext>
              </a:extLst>
            </p:cNvPr>
            <p:cNvSpPr/>
            <p:nvPr/>
          </p:nvSpPr>
          <p:spPr>
            <a:xfrm>
              <a:off x="5020669" y="3416868"/>
              <a:ext cx="435145" cy="462341"/>
            </a:xfrm>
            <a:custGeom>
              <a:avLst/>
              <a:gdLst>
                <a:gd name="connsiteX0" fmla="*/ 302948 w 435145"/>
                <a:gd name="connsiteY0" fmla="*/ 74684 h 462341"/>
                <a:gd name="connsiteX1" fmla="*/ 186002 w 435145"/>
                <a:gd name="connsiteY1" fmla="*/ 148115 h 462341"/>
                <a:gd name="connsiteX2" fmla="*/ 186002 w 435145"/>
                <a:gd name="connsiteY2" fmla="*/ 148115 h 462341"/>
                <a:gd name="connsiteX3" fmla="*/ 186002 w 435145"/>
                <a:gd name="connsiteY3" fmla="*/ 115479 h 462341"/>
                <a:gd name="connsiteX4" fmla="*/ 123450 w 435145"/>
                <a:gd name="connsiteY4" fmla="*/ 58366 h 462341"/>
                <a:gd name="connsiteX5" fmla="*/ 58178 w 435145"/>
                <a:gd name="connsiteY5" fmla="*/ 115479 h 462341"/>
                <a:gd name="connsiteX6" fmla="*/ 58178 w 435145"/>
                <a:gd name="connsiteY6" fmla="*/ 362967 h 462341"/>
                <a:gd name="connsiteX7" fmla="*/ 120730 w 435145"/>
                <a:gd name="connsiteY7" fmla="*/ 422800 h 462341"/>
                <a:gd name="connsiteX8" fmla="*/ 186002 w 435145"/>
                <a:gd name="connsiteY8" fmla="*/ 362967 h 462341"/>
                <a:gd name="connsiteX9" fmla="*/ 186002 w 435145"/>
                <a:gd name="connsiteY9" fmla="*/ 213386 h 462341"/>
                <a:gd name="connsiteX10" fmla="*/ 186002 w 435145"/>
                <a:gd name="connsiteY10" fmla="*/ 213386 h 462341"/>
                <a:gd name="connsiteX11" fmla="*/ 229517 w 435145"/>
                <a:gd name="connsiteY11" fmla="*/ 161713 h 462341"/>
                <a:gd name="connsiteX12" fmla="*/ 259433 w 435145"/>
                <a:gd name="connsiteY12" fmla="*/ 194349 h 462341"/>
                <a:gd name="connsiteX13" fmla="*/ 259433 w 435145"/>
                <a:gd name="connsiteY13" fmla="*/ 362967 h 462341"/>
                <a:gd name="connsiteX14" fmla="*/ 321985 w 435145"/>
                <a:gd name="connsiteY14" fmla="*/ 422800 h 462341"/>
                <a:gd name="connsiteX15" fmla="*/ 387257 w 435145"/>
                <a:gd name="connsiteY15" fmla="*/ 362967 h 462341"/>
                <a:gd name="connsiteX16" fmla="*/ 387257 w 435145"/>
                <a:gd name="connsiteY16" fmla="*/ 273219 h 462341"/>
                <a:gd name="connsiteX17" fmla="*/ 302948 w 435145"/>
                <a:gd name="connsiteY17" fmla="*/ 74684 h 4623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435145" h="462341">
                  <a:moveTo>
                    <a:pt x="302948" y="74684"/>
                  </a:moveTo>
                  <a:cubicBezTo>
                    <a:pt x="234956" y="74684"/>
                    <a:pt x="196881" y="131797"/>
                    <a:pt x="186002" y="148115"/>
                  </a:cubicBezTo>
                  <a:lnTo>
                    <a:pt x="186002" y="148115"/>
                  </a:lnTo>
                  <a:cubicBezTo>
                    <a:pt x="186002" y="129077"/>
                    <a:pt x="186002" y="115479"/>
                    <a:pt x="186002" y="115479"/>
                  </a:cubicBezTo>
                  <a:cubicBezTo>
                    <a:pt x="186002" y="82843"/>
                    <a:pt x="156086" y="58366"/>
                    <a:pt x="123450" y="58366"/>
                  </a:cubicBezTo>
                  <a:cubicBezTo>
                    <a:pt x="90814" y="55646"/>
                    <a:pt x="58178" y="82843"/>
                    <a:pt x="58178" y="115479"/>
                  </a:cubicBezTo>
                  <a:cubicBezTo>
                    <a:pt x="58178" y="120918"/>
                    <a:pt x="58178" y="360248"/>
                    <a:pt x="58178" y="362967"/>
                  </a:cubicBezTo>
                  <a:cubicBezTo>
                    <a:pt x="58178" y="395603"/>
                    <a:pt x="88094" y="422800"/>
                    <a:pt x="120730" y="422800"/>
                  </a:cubicBezTo>
                  <a:cubicBezTo>
                    <a:pt x="153366" y="425519"/>
                    <a:pt x="186002" y="395603"/>
                    <a:pt x="186002" y="362967"/>
                  </a:cubicBezTo>
                  <a:cubicBezTo>
                    <a:pt x="186002" y="360248"/>
                    <a:pt x="186002" y="281378"/>
                    <a:pt x="186002" y="213386"/>
                  </a:cubicBezTo>
                  <a:lnTo>
                    <a:pt x="186002" y="213386"/>
                  </a:lnTo>
                  <a:cubicBezTo>
                    <a:pt x="191442" y="186190"/>
                    <a:pt x="205040" y="161713"/>
                    <a:pt x="229517" y="161713"/>
                  </a:cubicBezTo>
                  <a:cubicBezTo>
                    <a:pt x="259433" y="161713"/>
                    <a:pt x="259433" y="194349"/>
                    <a:pt x="259433" y="194349"/>
                  </a:cubicBezTo>
                  <a:lnTo>
                    <a:pt x="259433" y="362967"/>
                  </a:lnTo>
                  <a:cubicBezTo>
                    <a:pt x="259433" y="395603"/>
                    <a:pt x="289349" y="422800"/>
                    <a:pt x="321985" y="422800"/>
                  </a:cubicBezTo>
                  <a:cubicBezTo>
                    <a:pt x="354621" y="425519"/>
                    <a:pt x="387257" y="395603"/>
                    <a:pt x="387257" y="362967"/>
                  </a:cubicBezTo>
                  <a:lnTo>
                    <a:pt x="387257" y="273219"/>
                  </a:lnTo>
                  <a:cubicBezTo>
                    <a:pt x="384537" y="183470"/>
                    <a:pt x="395416" y="71964"/>
                    <a:pt x="302948" y="74684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>
                <a:solidFill>
                  <a:srgbClr val="FFFFFF"/>
                </a:solidFill>
              </a:endParaRPr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D9857CCB-8FF9-4139-8A9B-3C59A36A0348}"/>
                </a:ext>
              </a:extLst>
            </p:cNvPr>
            <p:cNvSpPr/>
            <p:nvPr/>
          </p:nvSpPr>
          <p:spPr>
            <a:xfrm>
              <a:off x="7616289" y="3475234"/>
              <a:ext cx="364436" cy="364434"/>
            </a:xfrm>
            <a:custGeom>
              <a:avLst/>
              <a:gdLst>
                <a:gd name="connsiteX0" fmla="*/ 182218 w 364436"/>
                <a:gd name="connsiteY0" fmla="*/ 73431 h 364434"/>
                <a:gd name="connsiteX1" fmla="*/ 130544 w 364436"/>
                <a:gd name="connsiteY1" fmla="*/ 179499 h 364434"/>
                <a:gd name="connsiteX2" fmla="*/ 182218 w 364436"/>
                <a:gd name="connsiteY2" fmla="*/ 285565 h 364434"/>
                <a:gd name="connsiteX3" fmla="*/ 233891 w 364436"/>
                <a:gd name="connsiteY3" fmla="*/ 179499 h 364434"/>
                <a:gd name="connsiteX4" fmla="*/ 182218 w 364436"/>
                <a:gd name="connsiteY4" fmla="*/ 73431 h 364434"/>
                <a:gd name="connsiteX5" fmla="*/ 182219 w 364436"/>
                <a:gd name="connsiteY5" fmla="*/ 0 h 364434"/>
                <a:gd name="connsiteX6" fmla="*/ 364436 w 364436"/>
                <a:gd name="connsiteY6" fmla="*/ 182217 h 364434"/>
                <a:gd name="connsiteX7" fmla="*/ 182219 w 364436"/>
                <a:gd name="connsiteY7" fmla="*/ 364434 h 364434"/>
                <a:gd name="connsiteX8" fmla="*/ 0 w 364436"/>
                <a:gd name="connsiteY8" fmla="*/ 182217 h 364434"/>
                <a:gd name="connsiteX9" fmla="*/ 182219 w 364436"/>
                <a:gd name="connsiteY9" fmla="*/ 0 h 3644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64436" h="364434">
                  <a:moveTo>
                    <a:pt x="182218" y="73431"/>
                  </a:moveTo>
                  <a:cubicBezTo>
                    <a:pt x="152302" y="76151"/>
                    <a:pt x="130544" y="114226"/>
                    <a:pt x="130544" y="179499"/>
                  </a:cubicBezTo>
                  <a:cubicBezTo>
                    <a:pt x="130544" y="244770"/>
                    <a:pt x="146862" y="285565"/>
                    <a:pt x="182218" y="285565"/>
                  </a:cubicBezTo>
                  <a:cubicBezTo>
                    <a:pt x="217573" y="285565"/>
                    <a:pt x="233891" y="247490"/>
                    <a:pt x="233891" y="179499"/>
                  </a:cubicBezTo>
                  <a:cubicBezTo>
                    <a:pt x="233891" y="114226"/>
                    <a:pt x="212134" y="73431"/>
                    <a:pt x="182218" y="73431"/>
                  </a:cubicBezTo>
                  <a:close/>
                  <a:moveTo>
                    <a:pt x="182219" y="0"/>
                  </a:moveTo>
                  <a:cubicBezTo>
                    <a:pt x="282846" y="0"/>
                    <a:pt x="364436" y="81590"/>
                    <a:pt x="364436" y="182217"/>
                  </a:cubicBezTo>
                  <a:cubicBezTo>
                    <a:pt x="364436" y="282844"/>
                    <a:pt x="282846" y="364434"/>
                    <a:pt x="182219" y="364434"/>
                  </a:cubicBezTo>
                  <a:cubicBezTo>
                    <a:pt x="81591" y="364434"/>
                    <a:pt x="0" y="282844"/>
                    <a:pt x="0" y="182217"/>
                  </a:cubicBezTo>
                  <a:cubicBezTo>
                    <a:pt x="0" y="81590"/>
                    <a:pt x="81591" y="0"/>
                    <a:pt x="182219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>
                <a:solidFill>
                  <a:srgbClr val="FFFFFF"/>
                </a:solidFill>
              </a:endParaRPr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9FC1A0A4-BD0A-43E3-AA8C-35E9A0DA95ED}"/>
                </a:ext>
              </a:extLst>
            </p:cNvPr>
            <p:cNvSpPr/>
            <p:nvPr/>
          </p:nvSpPr>
          <p:spPr>
            <a:xfrm>
              <a:off x="6743101" y="3464184"/>
              <a:ext cx="372773" cy="375657"/>
            </a:xfrm>
            <a:custGeom>
              <a:avLst/>
              <a:gdLst>
                <a:gd name="connsiteX0" fmla="*/ 176958 w 372773"/>
                <a:gd name="connsiteY0" fmla="*/ 98080 h 375657"/>
                <a:gd name="connsiteX1" fmla="*/ 125284 w 372773"/>
                <a:gd name="connsiteY1" fmla="*/ 190548 h 375657"/>
                <a:gd name="connsiteX2" fmla="*/ 176958 w 372773"/>
                <a:gd name="connsiteY2" fmla="*/ 283017 h 375657"/>
                <a:gd name="connsiteX3" fmla="*/ 228631 w 372773"/>
                <a:gd name="connsiteY3" fmla="*/ 190548 h 375657"/>
                <a:gd name="connsiteX4" fmla="*/ 176958 w 372773"/>
                <a:gd name="connsiteY4" fmla="*/ 98080 h 375657"/>
                <a:gd name="connsiteX5" fmla="*/ 307501 w 372773"/>
                <a:gd name="connsiteY5" fmla="*/ 172 h 375657"/>
                <a:gd name="connsiteX6" fmla="*/ 372773 w 372773"/>
                <a:gd name="connsiteY6" fmla="*/ 62724 h 375657"/>
                <a:gd name="connsiteX7" fmla="*/ 372773 w 372773"/>
                <a:gd name="connsiteY7" fmla="*/ 312934 h 375657"/>
                <a:gd name="connsiteX8" fmla="*/ 302061 w 372773"/>
                <a:gd name="connsiteY8" fmla="*/ 375486 h 375657"/>
                <a:gd name="connsiteX9" fmla="*/ 239509 w 372773"/>
                <a:gd name="connsiteY9" fmla="*/ 326532 h 375657"/>
                <a:gd name="connsiteX10" fmla="*/ 179677 w 372773"/>
                <a:gd name="connsiteY10" fmla="*/ 370046 h 375657"/>
                <a:gd name="connsiteX11" fmla="*/ 70890 w 372773"/>
                <a:gd name="connsiteY11" fmla="*/ 353728 h 375657"/>
                <a:gd name="connsiteX12" fmla="*/ 128003 w 372773"/>
                <a:gd name="connsiteY12" fmla="*/ 11051 h 375657"/>
                <a:gd name="connsiteX13" fmla="*/ 236790 w 372773"/>
                <a:gd name="connsiteY13" fmla="*/ 70883 h 375657"/>
                <a:gd name="connsiteX14" fmla="*/ 236790 w 372773"/>
                <a:gd name="connsiteY14" fmla="*/ 62724 h 375657"/>
                <a:gd name="connsiteX15" fmla="*/ 307501 w 372773"/>
                <a:gd name="connsiteY15" fmla="*/ 172 h 3756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72773" h="375657">
                  <a:moveTo>
                    <a:pt x="176958" y="98080"/>
                  </a:moveTo>
                  <a:cubicBezTo>
                    <a:pt x="147042" y="100800"/>
                    <a:pt x="125284" y="133436"/>
                    <a:pt x="125284" y="190548"/>
                  </a:cubicBezTo>
                  <a:cubicBezTo>
                    <a:pt x="125284" y="247661"/>
                    <a:pt x="141602" y="283017"/>
                    <a:pt x="176958" y="283017"/>
                  </a:cubicBezTo>
                  <a:cubicBezTo>
                    <a:pt x="212314" y="283017"/>
                    <a:pt x="228631" y="247661"/>
                    <a:pt x="228631" y="190548"/>
                  </a:cubicBezTo>
                  <a:cubicBezTo>
                    <a:pt x="228631" y="133436"/>
                    <a:pt x="206874" y="98080"/>
                    <a:pt x="176958" y="98080"/>
                  </a:cubicBezTo>
                  <a:close/>
                  <a:moveTo>
                    <a:pt x="307501" y="172"/>
                  </a:moveTo>
                  <a:cubicBezTo>
                    <a:pt x="340137" y="172"/>
                    <a:pt x="372773" y="30088"/>
                    <a:pt x="372773" y="62724"/>
                  </a:cubicBezTo>
                  <a:cubicBezTo>
                    <a:pt x="372773" y="65444"/>
                    <a:pt x="372773" y="307494"/>
                    <a:pt x="372773" y="312934"/>
                  </a:cubicBezTo>
                  <a:cubicBezTo>
                    <a:pt x="370053" y="348289"/>
                    <a:pt x="337417" y="378205"/>
                    <a:pt x="302061" y="375486"/>
                  </a:cubicBezTo>
                  <a:cubicBezTo>
                    <a:pt x="274865" y="372766"/>
                    <a:pt x="247668" y="353728"/>
                    <a:pt x="239509" y="326532"/>
                  </a:cubicBezTo>
                  <a:cubicBezTo>
                    <a:pt x="225911" y="348289"/>
                    <a:pt x="198715" y="364607"/>
                    <a:pt x="179677" y="370046"/>
                  </a:cubicBezTo>
                  <a:cubicBezTo>
                    <a:pt x="147041" y="378205"/>
                    <a:pt x="100807" y="372766"/>
                    <a:pt x="70890" y="353728"/>
                  </a:cubicBezTo>
                  <a:cubicBezTo>
                    <a:pt x="-35177" y="285737"/>
                    <a:pt x="-27018" y="11051"/>
                    <a:pt x="128003" y="11051"/>
                  </a:cubicBezTo>
                  <a:cubicBezTo>
                    <a:pt x="185116" y="11051"/>
                    <a:pt x="220471" y="49126"/>
                    <a:pt x="236790" y="70883"/>
                  </a:cubicBezTo>
                  <a:cubicBezTo>
                    <a:pt x="236790" y="70883"/>
                    <a:pt x="236790" y="65444"/>
                    <a:pt x="236790" y="62724"/>
                  </a:cubicBezTo>
                  <a:cubicBezTo>
                    <a:pt x="239509" y="27369"/>
                    <a:pt x="272145" y="-2547"/>
                    <a:pt x="307501" y="172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>
                <a:solidFill>
                  <a:srgbClr val="FFFFFF"/>
                </a:solidFill>
              </a:endParaRPr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4DC71C56-C4F6-45F5-9717-6FFB05DFB38A}"/>
                </a:ext>
              </a:extLst>
            </p:cNvPr>
            <p:cNvSpPr/>
            <p:nvPr/>
          </p:nvSpPr>
          <p:spPr>
            <a:xfrm>
              <a:off x="8380335" y="3464184"/>
              <a:ext cx="372772" cy="375657"/>
            </a:xfrm>
            <a:custGeom>
              <a:avLst/>
              <a:gdLst>
                <a:gd name="connsiteX0" fmla="*/ 176957 w 372772"/>
                <a:gd name="connsiteY0" fmla="*/ 98080 h 375657"/>
                <a:gd name="connsiteX1" fmla="*/ 125282 w 372772"/>
                <a:gd name="connsiteY1" fmla="*/ 190548 h 375657"/>
                <a:gd name="connsiteX2" fmla="*/ 176957 w 372772"/>
                <a:gd name="connsiteY2" fmla="*/ 283017 h 375657"/>
                <a:gd name="connsiteX3" fmla="*/ 228630 w 372772"/>
                <a:gd name="connsiteY3" fmla="*/ 190548 h 375657"/>
                <a:gd name="connsiteX4" fmla="*/ 176957 w 372772"/>
                <a:gd name="connsiteY4" fmla="*/ 98080 h 375657"/>
                <a:gd name="connsiteX5" fmla="*/ 307501 w 372772"/>
                <a:gd name="connsiteY5" fmla="*/ 172 h 375657"/>
                <a:gd name="connsiteX6" fmla="*/ 372772 w 372772"/>
                <a:gd name="connsiteY6" fmla="*/ 62724 h 375657"/>
                <a:gd name="connsiteX7" fmla="*/ 372772 w 372772"/>
                <a:gd name="connsiteY7" fmla="*/ 312934 h 375657"/>
                <a:gd name="connsiteX8" fmla="*/ 302062 w 372772"/>
                <a:gd name="connsiteY8" fmla="*/ 375486 h 375657"/>
                <a:gd name="connsiteX9" fmla="*/ 239509 w 372772"/>
                <a:gd name="connsiteY9" fmla="*/ 326532 h 375657"/>
                <a:gd name="connsiteX10" fmla="*/ 179677 w 372772"/>
                <a:gd name="connsiteY10" fmla="*/ 370046 h 375657"/>
                <a:gd name="connsiteX11" fmla="*/ 70890 w 372772"/>
                <a:gd name="connsiteY11" fmla="*/ 353728 h 375657"/>
                <a:gd name="connsiteX12" fmla="*/ 128002 w 372772"/>
                <a:gd name="connsiteY12" fmla="*/ 11051 h 375657"/>
                <a:gd name="connsiteX13" fmla="*/ 236790 w 372772"/>
                <a:gd name="connsiteY13" fmla="*/ 70883 h 375657"/>
                <a:gd name="connsiteX14" fmla="*/ 236790 w 372772"/>
                <a:gd name="connsiteY14" fmla="*/ 62724 h 375657"/>
                <a:gd name="connsiteX15" fmla="*/ 307501 w 372772"/>
                <a:gd name="connsiteY15" fmla="*/ 172 h 3756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72772" h="375657">
                  <a:moveTo>
                    <a:pt x="176957" y="98080"/>
                  </a:moveTo>
                  <a:cubicBezTo>
                    <a:pt x="147039" y="100800"/>
                    <a:pt x="125282" y="133436"/>
                    <a:pt x="125282" y="190548"/>
                  </a:cubicBezTo>
                  <a:cubicBezTo>
                    <a:pt x="125282" y="247661"/>
                    <a:pt x="141600" y="283017"/>
                    <a:pt x="176957" y="283017"/>
                  </a:cubicBezTo>
                  <a:cubicBezTo>
                    <a:pt x="212312" y="283017"/>
                    <a:pt x="228630" y="247661"/>
                    <a:pt x="228630" y="190548"/>
                  </a:cubicBezTo>
                  <a:cubicBezTo>
                    <a:pt x="228630" y="133436"/>
                    <a:pt x="206873" y="98080"/>
                    <a:pt x="176957" y="98080"/>
                  </a:cubicBezTo>
                  <a:close/>
                  <a:moveTo>
                    <a:pt x="307501" y="172"/>
                  </a:moveTo>
                  <a:cubicBezTo>
                    <a:pt x="340137" y="172"/>
                    <a:pt x="372772" y="30088"/>
                    <a:pt x="372772" y="62724"/>
                  </a:cubicBezTo>
                  <a:cubicBezTo>
                    <a:pt x="372772" y="65444"/>
                    <a:pt x="372772" y="307494"/>
                    <a:pt x="372772" y="312934"/>
                  </a:cubicBezTo>
                  <a:cubicBezTo>
                    <a:pt x="370053" y="348289"/>
                    <a:pt x="337417" y="378205"/>
                    <a:pt x="302062" y="375486"/>
                  </a:cubicBezTo>
                  <a:cubicBezTo>
                    <a:pt x="274865" y="372766"/>
                    <a:pt x="247668" y="353728"/>
                    <a:pt x="239509" y="326532"/>
                  </a:cubicBezTo>
                  <a:cubicBezTo>
                    <a:pt x="228630" y="348289"/>
                    <a:pt x="198714" y="364607"/>
                    <a:pt x="179677" y="370046"/>
                  </a:cubicBezTo>
                  <a:cubicBezTo>
                    <a:pt x="147040" y="378205"/>
                    <a:pt x="100806" y="372766"/>
                    <a:pt x="70890" y="353728"/>
                  </a:cubicBezTo>
                  <a:cubicBezTo>
                    <a:pt x="-35177" y="285737"/>
                    <a:pt x="-27018" y="11051"/>
                    <a:pt x="128002" y="11051"/>
                  </a:cubicBezTo>
                  <a:cubicBezTo>
                    <a:pt x="185116" y="11051"/>
                    <a:pt x="220472" y="49126"/>
                    <a:pt x="236790" y="70883"/>
                  </a:cubicBezTo>
                  <a:cubicBezTo>
                    <a:pt x="236790" y="70883"/>
                    <a:pt x="236790" y="65444"/>
                    <a:pt x="236790" y="62724"/>
                  </a:cubicBezTo>
                  <a:cubicBezTo>
                    <a:pt x="239509" y="27369"/>
                    <a:pt x="272145" y="-2547"/>
                    <a:pt x="307501" y="172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>
                <a:solidFill>
                  <a:srgbClr val="FFFFFF"/>
                </a:solidFill>
              </a:endParaRPr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4669EF73-3FE0-4CA9-8956-AE8D9E8EF522}"/>
                </a:ext>
              </a:extLst>
            </p:cNvPr>
            <p:cNvSpPr/>
            <p:nvPr/>
          </p:nvSpPr>
          <p:spPr>
            <a:xfrm>
              <a:off x="7389492" y="3444253"/>
              <a:ext cx="217573" cy="435145"/>
            </a:xfrm>
            <a:custGeom>
              <a:avLst/>
              <a:gdLst>
                <a:gd name="connsiteX0" fmla="*/ 186002 w 217572"/>
                <a:gd name="connsiteY0" fmla="*/ 118011 h 435144"/>
                <a:gd name="connsiteX1" fmla="*/ 128890 w 217572"/>
                <a:gd name="connsiteY1" fmla="*/ 58178 h 435144"/>
                <a:gd name="connsiteX2" fmla="*/ 123450 w 217572"/>
                <a:gd name="connsiteY2" fmla="*/ 58178 h 435144"/>
                <a:gd name="connsiteX3" fmla="*/ 58178 w 217572"/>
                <a:gd name="connsiteY3" fmla="*/ 115291 h 435144"/>
                <a:gd name="connsiteX4" fmla="*/ 58178 w 217572"/>
                <a:gd name="connsiteY4" fmla="*/ 232236 h 435144"/>
                <a:gd name="connsiteX5" fmla="*/ 58178 w 217572"/>
                <a:gd name="connsiteY5" fmla="*/ 232236 h 435144"/>
                <a:gd name="connsiteX6" fmla="*/ 58178 w 217572"/>
                <a:gd name="connsiteY6" fmla="*/ 335583 h 435144"/>
                <a:gd name="connsiteX7" fmla="*/ 115291 w 217572"/>
                <a:gd name="connsiteY7" fmla="*/ 395415 h 435144"/>
                <a:gd name="connsiteX8" fmla="*/ 120730 w 217572"/>
                <a:gd name="connsiteY8" fmla="*/ 395415 h 435144"/>
                <a:gd name="connsiteX9" fmla="*/ 186002 w 217572"/>
                <a:gd name="connsiteY9" fmla="*/ 338303 h 435144"/>
                <a:gd name="connsiteX10" fmla="*/ 186002 w 217572"/>
                <a:gd name="connsiteY10" fmla="*/ 240395 h 435144"/>
                <a:gd name="connsiteX11" fmla="*/ 186002 w 217572"/>
                <a:gd name="connsiteY11" fmla="*/ 240395 h 435144"/>
                <a:gd name="connsiteX12" fmla="*/ 186002 w 217572"/>
                <a:gd name="connsiteY12" fmla="*/ 118011 h 4351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17572" h="435144">
                  <a:moveTo>
                    <a:pt x="186002" y="118011"/>
                  </a:moveTo>
                  <a:cubicBezTo>
                    <a:pt x="183283" y="85375"/>
                    <a:pt x="158806" y="60898"/>
                    <a:pt x="128890" y="58178"/>
                  </a:cubicBezTo>
                  <a:cubicBezTo>
                    <a:pt x="126170" y="58178"/>
                    <a:pt x="126170" y="58178"/>
                    <a:pt x="123450" y="58178"/>
                  </a:cubicBezTo>
                  <a:cubicBezTo>
                    <a:pt x="96254" y="58178"/>
                    <a:pt x="58178" y="82655"/>
                    <a:pt x="58178" y="115291"/>
                  </a:cubicBezTo>
                  <a:lnTo>
                    <a:pt x="58178" y="232236"/>
                  </a:lnTo>
                  <a:lnTo>
                    <a:pt x="58178" y="232236"/>
                  </a:lnTo>
                  <a:cubicBezTo>
                    <a:pt x="58178" y="270311"/>
                    <a:pt x="58178" y="335583"/>
                    <a:pt x="58178" y="335583"/>
                  </a:cubicBezTo>
                  <a:cubicBezTo>
                    <a:pt x="60898" y="368219"/>
                    <a:pt x="85375" y="392696"/>
                    <a:pt x="115291" y="395415"/>
                  </a:cubicBezTo>
                  <a:cubicBezTo>
                    <a:pt x="118011" y="395415"/>
                    <a:pt x="118011" y="395415"/>
                    <a:pt x="120730" y="395415"/>
                  </a:cubicBezTo>
                  <a:cubicBezTo>
                    <a:pt x="147927" y="395415"/>
                    <a:pt x="186002" y="370938"/>
                    <a:pt x="186002" y="338303"/>
                  </a:cubicBezTo>
                  <a:lnTo>
                    <a:pt x="186002" y="240395"/>
                  </a:lnTo>
                  <a:lnTo>
                    <a:pt x="186002" y="240395"/>
                  </a:lnTo>
                  <a:cubicBezTo>
                    <a:pt x="186002" y="202320"/>
                    <a:pt x="186002" y="118011"/>
                    <a:pt x="186002" y="118011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>
                <a:solidFill>
                  <a:srgbClr val="FFFFFF"/>
                </a:solidFill>
              </a:endParaRPr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9566FE17-6DFB-4B41-9F21-2F7F40BFEFCB}"/>
                </a:ext>
              </a:extLst>
            </p:cNvPr>
            <p:cNvSpPr/>
            <p:nvPr/>
          </p:nvSpPr>
          <p:spPr>
            <a:xfrm>
              <a:off x="7392212" y="3280901"/>
              <a:ext cx="217573" cy="217572"/>
            </a:xfrm>
            <a:custGeom>
              <a:avLst/>
              <a:gdLst>
                <a:gd name="connsiteX0" fmla="*/ 183282 w 217572"/>
                <a:gd name="connsiteY0" fmla="*/ 120902 h 217572"/>
                <a:gd name="connsiteX1" fmla="*/ 120730 w 217572"/>
                <a:gd name="connsiteY1" fmla="*/ 183454 h 217572"/>
                <a:gd name="connsiteX2" fmla="*/ 58178 w 217572"/>
                <a:gd name="connsiteY2" fmla="*/ 120902 h 217572"/>
                <a:gd name="connsiteX3" fmla="*/ 120730 w 217572"/>
                <a:gd name="connsiteY3" fmla="*/ 58350 h 217572"/>
                <a:gd name="connsiteX4" fmla="*/ 183282 w 217572"/>
                <a:gd name="connsiteY4" fmla="*/ 120902 h 2175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17572" h="217572">
                  <a:moveTo>
                    <a:pt x="183282" y="120902"/>
                  </a:moveTo>
                  <a:cubicBezTo>
                    <a:pt x="183282" y="156258"/>
                    <a:pt x="156086" y="183454"/>
                    <a:pt x="120730" y="183454"/>
                  </a:cubicBezTo>
                  <a:cubicBezTo>
                    <a:pt x="85375" y="183454"/>
                    <a:pt x="58178" y="156258"/>
                    <a:pt x="58178" y="120902"/>
                  </a:cubicBezTo>
                  <a:cubicBezTo>
                    <a:pt x="58178" y="85547"/>
                    <a:pt x="85375" y="58350"/>
                    <a:pt x="120730" y="58350"/>
                  </a:cubicBezTo>
                  <a:cubicBezTo>
                    <a:pt x="153366" y="55630"/>
                    <a:pt x="183282" y="85547"/>
                    <a:pt x="183282" y="120902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>
                <a:solidFill>
                  <a:srgbClr val="FFFFFF"/>
                </a:solidFill>
              </a:endParaRPr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52296D45-E00F-46CB-8C2E-441F3F4EEBB8}"/>
                </a:ext>
              </a:extLst>
            </p:cNvPr>
            <p:cNvSpPr/>
            <p:nvPr/>
          </p:nvSpPr>
          <p:spPr>
            <a:xfrm>
              <a:off x="6005186" y="3416884"/>
              <a:ext cx="380752" cy="462341"/>
            </a:xfrm>
            <a:custGeom>
              <a:avLst/>
              <a:gdLst>
                <a:gd name="connsiteX0" fmla="*/ 270312 w 380752"/>
                <a:gd name="connsiteY0" fmla="*/ 69229 h 462341"/>
                <a:gd name="connsiteX1" fmla="*/ 188722 w 380752"/>
                <a:gd name="connsiteY1" fmla="*/ 134501 h 462341"/>
                <a:gd name="connsiteX2" fmla="*/ 188722 w 380752"/>
                <a:gd name="connsiteY2" fmla="*/ 118183 h 462341"/>
                <a:gd name="connsiteX3" fmla="*/ 126170 w 380752"/>
                <a:gd name="connsiteY3" fmla="*/ 58350 h 462341"/>
                <a:gd name="connsiteX4" fmla="*/ 58178 w 380752"/>
                <a:gd name="connsiteY4" fmla="*/ 118183 h 462341"/>
                <a:gd name="connsiteX5" fmla="*/ 58178 w 380752"/>
                <a:gd name="connsiteY5" fmla="*/ 210651 h 462341"/>
                <a:gd name="connsiteX6" fmla="*/ 58178 w 380752"/>
                <a:gd name="connsiteY6" fmla="*/ 365671 h 462341"/>
                <a:gd name="connsiteX7" fmla="*/ 58178 w 380752"/>
                <a:gd name="connsiteY7" fmla="*/ 365671 h 462341"/>
                <a:gd name="connsiteX8" fmla="*/ 120730 w 380752"/>
                <a:gd name="connsiteY8" fmla="*/ 425504 h 462341"/>
                <a:gd name="connsiteX9" fmla="*/ 186002 w 380752"/>
                <a:gd name="connsiteY9" fmla="*/ 365671 h 462341"/>
                <a:gd name="connsiteX10" fmla="*/ 186002 w 380752"/>
                <a:gd name="connsiteY10" fmla="*/ 365671 h 462341"/>
                <a:gd name="connsiteX11" fmla="*/ 186002 w 380752"/>
                <a:gd name="connsiteY11" fmla="*/ 210651 h 462341"/>
                <a:gd name="connsiteX12" fmla="*/ 215919 w 380752"/>
                <a:gd name="connsiteY12" fmla="*/ 158978 h 462341"/>
                <a:gd name="connsiteX13" fmla="*/ 275751 w 380752"/>
                <a:gd name="connsiteY13" fmla="*/ 221530 h 462341"/>
                <a:gd name="connsiteX14" fmla="*/ 270312 w 380752"/>
                <a:gd name="connsiteY14" fmla="*/ 69229 h 4623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80752" h="462341">
                  <a:moveTo>
                    <a:pt x="270312" y="69229"/>
                  </a:moveTo>
                  <a:cubicBezTo>
                    <a:pt x="232236" y="71949"/>
                    <a:pt x="213199" y="99145"/>
                    <a:pt x="188722" y="134501"/>
                  </a:cubicBezTo>
                  <a:cubicBezTo>
                    <a:pt x="188722" y="134501"/>
                    <a:pt x="188722" y="118183"/>
                    <a:pt x="188722" y="118183"/>
                  </a:cubicBezTo>
                  <a:cubicBezTo>
                    <a:pt x="188722" y="85547"/>
                    <a:pt x="158806" y="58350"/>
                    <a:pt x="126170" y="58350"/>
                  </a:cubicBezTo>
                  <a:cubicBezTo>
                    <a:pt x="93534" y="55631"/>
                    <a:pt x="60898" y="85547"/>
                    <a:pt x="58178" y="118183"/>
                  </a:cubicBezTo>
                  <a:lnTo>
                    <a:pt x="58178" y="210651"/>
                  </a:lnTo>
                  <a:lnTo>
                    <a:pt x="58178" y="365671"/>
                  </a:lnTo>
                  <a:lnTo>
                    <a:pt x="58178" y="365671"/>
                  </a:lnTo>
                  <a:cubicBezTo>
                    <a:pt x="58178" y="398307"/>
                    <a:pt x="88094" y="425504"/>
                    <a:pt x="120730" y="425504"/>
                  </a:cubicBezTo>
                  <a:cubicBezTo>
                    <a:pt x="153366" y="428224"/>
                    <a:pt x="186002" y="398307"/>
                    <a:pt x="186002" y="365671"/>
                  </a:cubicBezTo>
                  <a:lnTo>
                    <a:pt x="186002" y="365671"/>
                  </a:lnTo>
                  <a:lnTo>
                    <a:pt x="186002" y="210651"/>
                  </a:lnTo>
                  <a:cubicBezTo>
                    <a:pt x="188722" y="188894"/>
                    <a:pt x="196881" y="158978"/>
                    <a:pt x="215919" y="158978"/>
                  </a:cubicBezTo>
                  <a:cubicBezTo>
                    <a:pt x="243115" y="158978"/>
                    <a:pt x="215919" y="221530"/>
                    <a:pt x="275751" y="221530"/>
                  </a:cubicBezTo>
                  <a:cubicBezTo>
                    <a:pt x="362780" y="221530"/>
                    <a:pt x="373658" y="63790"/>
                    <a:pt x="270312" y="69229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>
                <a:solidFill>
                  <a:srgbClr val="FFFFFF"/>
                </a:solidFill>
              </a:endParaRPr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0D99CC68-D3E2-4B92-ADB7-0C09AF4A4A84}"/>
                </a:ext>
              </a:extLst>
            </p:cNvPr>
            <p:cNvSpPr/>
            <p:nvPr/>
          </p:nvSpPr>
          <p:spPr>
            <a:xfrm>
              <a:off x="5693490" y="3475234"/>
              <a:ext cx="337238" cy="364434"/>
            </a:xfrm>
            <a:custGeom>
              <a:avLst/>
              <a:gdLst>
                <a:gd name="connsiteX0" fmla="*/ 180433 w 337238"/>
                <a:gd name="connsiteY0" fmla="*/ 73984 h 364434"/>
                <a:gd name="connsiteX1" fmla="*/ 163180 w 337238"/>
                <a:gd name="connsiteY1" fmla="*/ 78870 h 364434"/>
                <a:gd name="connsiteX2" fmla="*/ 125105 w 337238"/>
                <a:gd name="connsiteY2" fmla="*/ 160461 h 364434"/>
                <a:gd name="connsiteX3" fmla="*/ 171339 w 337238"/>
                <a:gd name="connsiteY3" fmla="*/ 163180 h 364434"/>
                <a:gd name="connsiteX4" fmla="*/ 214854 w 337238"/>
                <a:gd name="connsiteY4" fmla="*/ 108787 h 364434"/>
                <a:gd name="connsiteX5" fmla="*/ 180433 w 337238"/>
                <a:gd name="connsiteY5" fmla="*/ 73984 h 364434"/>
                <a:gd name="connsiteX6" fmla="*/ 174059 w 337238"/>
                <a:gd name="connsiteY6" fmla="*/ 0 h 364434"/>
                <a:gd name="connsiteX7" fmla="*/ 337238 w 337238"/>
                <a:gd name="connsiteY7" fmla="*/ 119665 h 364434"/>
                <a:gd name="connsiteX8" fmla="*/ 133264 w 337238"/>
                <a:gd name="connsiteY8" fmla="*/ 217573 h 364434"/>
                <a:gd name="connsiteX9" fmla="*/ 225732 w 337238"/>
                <a:gd name="connsiteY9" fmla="*/ 277405 h 364434"/>
                <a:gd name="connsiteX10" fmla="*/ 320920 w 337238"/>
                <a:gd name="connsiteY10" fmla="*/ 250208 h 364434"/>
                <a:gd name="connsiteX11" fmla="*/ 174059 w 337238"/>
                <a:gd name="connsiteY11" fmla="*/ 364434 h 364434"/>
                <a:gd name="connsiteX12" fmla="*/ 0 w 337238"/>
                <a:gd name="connsiteY12" fmla="*/ 184937 h 364434"/>
                <a:gd name="connsiteX13" fmla="*/ 174059 w 337238"/>
                <a:gd name="connsiteY13" fmla="*/ 0 h 3644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37238" h="364434">
                  <a:moveTo>
                    <a:pt x="180433" y="73984"/>
                  </a:moveTo>
                  <a:cubicBezTo>
                    <a:pt x="174569" y="73941"/>
                    <a:pt x="168620" y="75471"/>
                    <a:pt x="163180" y="78870"/>
                  </a:cubicBezTo>
                  <a:cubicBezTo>
                    <a:pt x="135984" y="95189"/>
                    <a:pt x="127825" y="130544"/>
                    <a:pt x="125105" y="160461"/>
                  </a:cubicBezTo>
                  <a:cubicBezTo>
                    <a:pt x="125105" y="163180"/>
                    <a:pt x="168620" y="160461"/>
                    <a:pt x="171339" y="163180"/>
                  </a:cubicBezTo>
                  <a:cubicBezTo>
                    <a:pt x="195816" y="157741"/>
                    <a:pt x="214854" y="135984"/>
                    <a:pt x="214854" y="108787"/>
                  </a:cubicBezTo>
                  <a:cubicBezTo>
                    <a:pt x="214854" y="88389"/>
                    <a:pt x="198026" y="74111"/>
                    <a:pt x="180433" y="73984"/>
                  </a:cubicBezTo>
                  <a:close/>
                  <a:moveTo>
                    <a:pt x="174059" y="0"/>
                  </a:moveTo>
                  <a:cubicBezTo>
                    <a:pt x="233891" y="0"/>
                    <a:pt x="337238" y="29916"/>
                    <a:pt x="337238" y="119665"/>
                  </a:cubicBezTo>
                  <a:cubicBezTo>
                    <a:pt x="337238" y="209414"/>
                    <a:pt x="244770" y="217573"/>
                    <a:pt x="133264" y="217573"/>
                  </a:cubicBezTo>
                  <a:cubicBezTo>
                    <a:pt x="133264" y="217573"/>
                    <a:pt x="149581" y="277405"/>
                    <a:pt x="225732" y="277405"/>
                  </a:cubicBezTo>
                  <a:cubicBezTo>
                    <a:pt x="301883" y="277405"/>
                    <a:pt x="320920" y="250208"/>
                    <a:pt x="320920" y="250208"/>
                  </a:cubicBezTo>
                  <a:cubicBezTo>
                    <a:pt x="320920" y="250208"/>
                    <a:pt x="315481" y="364434"/>
                    <a:pt x="174059" y="364434"/>
                  </a:cubicBezTo>
                  <a:cubicBezTo>
                    <a:pt x="95188" y="364434"/>
                    <a:pt x="0" y="304602"/>
                    <a:pt x="0" y="184937"/>
                  </a:cubicBezTo>
                  <a:cubicBezTo>
                    <a:pt x="0" y="78870"/>
                    <a:pt x="73431" y="0"/>
                    <a:pt x="174059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>
                <a:solidFill>
                  <a:srgbClr val="FFFFFF"/>
                </a:solidFill>
              </a:endParaRPr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8D9F3B7D-3D0E-46E7-8821-91592A37E87D}"/>
                </a:ext>
              </a:extLst>
            </p:cNvPr>
            <p:cNvSpPr/>
            <p:nvPr/>
          </p:nvSpPr>
          <p:spPr>
            <a:xfrm>
              <a:off x="5376945" y="3338014"/>
              <a:ext cx="353556" cy="543931"/>
            </a:xfrm>
            <a:custGeom>
              <a:avLst/>
              <a:gdLst>
                <a:gd name="connsiteX0" fmla="*/ 311107 w 353555"/>
                <a:gd name="connsiteY0" fmla="*/ 433663 h 543931"/>
                <a:gd name="connsiteX1" fmla="*/ 215919 w 353555"/>
                <a:gd name="connsiteY1" fmla="*/ 501654 h 543931"/>
                <a:gd name="connsiteX2" fmla="*/ 98973 w 353555"/>
                <a:gd name="connsiteY2" fmla="*/ 392868 h 543931"/>
                <a:gd name="connsiteX3" fmla="*/ 98973 w 353555"/>
                <a:gd name="connsiteY3" fmla="*/ 221530 h 543931"/>
                <a:gd name="connsiteX4" fmla="*/ 82655 w 353555"/>
                <a:gd name="connsiteY4" fmla="*/ 221530 h 543931"/>
                <a:gd name="connsiteX5" fmla="*/ 58178 w 353555"/>
                <a:gd name="connsiteY5" fmla="*/ 191614 h 543931"/>
                <a:gd name="connsiteX6" fmla="*/ 85375 w 353555"/>
                <a:gd name="connsiteY6" fmla="*/ 164417 h 543931"/>
                <a:gd name="connsiteX7" fmla="*/ 101693 w 353555"/>
                <a:gd name="connsiteY7" fmla="*/ 164417 h 543931"/>
                <a:gd name="connsiteX8" fmla="*/ 101693 w 353555"/>
                <a:gd name="connsiteY8" fmla="*/ 118183 h 543931"/>
                <a:gd name="connsiteX9" fmla="*/ 166965 w 353555"/>
                <a:gd name="connsiteY9" fmla="*/ 58350 h 543931"/>
                <a:gd name="connsiteX10" fmla="*/ 229517 w 353555"/>
                <a:gd name="connsiteY10" fmla="*/ 118183 h 543931"/>
                <a:gd name="connsiteX11" fmla="*/ 229517 w 353555"/>
                <a:gd name="connsiteY11" fmla="*/ 118183 h 543931"/>
                <a:gd name="connsiteX12" fmla="*/ 229517 w 353555"/>
                <a:gd name="connsiteY12" fmla="*/ 164417 h 543931"/>
                <a:gd name="connsiteX13" fmla="*/ 283910 w 353555"/>
                <a:gd name="connsiteY13" fmla="*/ 164417 h 543931"/>
                <a:gd name="connsiteX14" fmla="*/ 308387 w 353555"/>
                <a:gd name="connsiteY14" fmla="*/ 194333 h 543931"/>
                <a:gd name="connsiteX15" fmla="*/ 281190 w 353555"/>
                <a:gd name="connsiteY15" fmla="*/ 221530 h 543931"/>
                <a:gd name="connsiteX16" fmla="*/ 229517 w 353555"/>
                <a:gd name="connsiteY16" fmla="*/ 221530 h 543931"/>
                <a:gd name="connsiteX17" fmla="*/ 229517 w 353555"/>
                <a:gd name="connsiteY17" fmla="*/ 365671 h 543931"/>
                <a:gd name="connsiteX18" fmla="*/ 311107 w 353555"/>
                <a:gd name="connsiteY18" fmla="*/ 433663 h 5439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353555" h="543931">
                  <a:moveTo>
                    <a:pt x="311107" y="433663"/>
                  </a:moveTo>
                  <a:cubicBezTo>
                    <a:pt x="311107" y="433663"/>
                    <a:pt x="278471" y="501654"/>
                    <a:pt x="215919" y="501654"/>
                  </a:cubicBezTo>
                  <a:cubicBezTo>
                    <a:pt x="164245" y="501654"/>
                    <a:pt x="101693" y="458140"/>
                    <a:pt x="98973" y="392868"/>
                  </a:cubicBezTo>
                  <a:cubicBezTo>
                    <a:pt x="98973" y="392868"/>
                    <a:pt x="98973" y="297680"/>
                    <a:pt x="98973" y="221530"/>
                  </a:cubicBezTo>
                  <a:lnTo>
                    <a:pt x="82655" y="221530"/>
                  </a:lnTo>
                  <a:cubicBezTo>
                    <a:pt x="74496" y="221530"/>
                    <a:pt x="58178" y="216090"/>
                    <a:pt x="58178" y="191614"/>
                  </a:cubicBezTo>
                  <a:cubicBezTo>
                    <a:pt x="58178" y="167137"/>
                    <a:pt x="77216" y="164417"/>
                    <a:pt x="85375" y="164417"/>
                  </a:cubicBezTo>
                  <a:lnTo>
                    <a:pt x="101693" y="164417"/>
                  </a:lnTo>
                  <a:cubicBezTo>
                    <a:pt x="101693" y="137220"/>
                    <a:pt x="101693" y="118183"/>
                    <a:pt x="101693" y="118183"/>
                  </a:cubicBezTo>
                  <a:cubicBezTo>
                    <a:pt x="104413" y="85547"/>
                    <a:pt x="134329" y="55631"/>
                    <a:pt x="166965" y="58350"/>
                  </a:cubicBezTo>
                  <a:cubicBezTo>
                    <a:pt x="196881" y="61070"/>
                    <a:pt x="229517" y="85547"/>
                    <a:pt x="229517" y="118183"/>
                  </a:cubicBezTo>
                  <a:lnTo>
                    <a:pt x="229517" y="118183"/>
                  </a:lnTo>
                  <a:lnTo>
                    <a:pt x="229517" y="164417"/>
                  </a:lnTo>
                  <a:lnTo>
                    <a:pt x="283910" y="164417"/>
                  </a:lnTo>
                  <a:cubicBezTo>
                    <a:pt x="292069" y="164417"/>
                    <a:pt x="308387" y="169856"/>
                    <a:pt x="308387" y="194333"/>
                  </a:cubicBezTo>
                  <a:cubicBezTo>
                    <a:pt x="308387" y="218810"/>
                    <a:pt x="292069" y="221530"/>
                    <a:pt x="281190" y="221530"/>
                  </a:cubicBezTo>
                  <a:lnTo>
                    <a:pt x="229517" y="221530"/>
                  </a:lnTo>
                  <a:lnTo>
                    <a:pt x="229517" y="365671"/>
                  </a:lnTo>
                  <a:cubicBezTo>
                    <a:pt x="226797" y="409186"/>
                    <a:pt x="267592" y="433663"/>
                    <a:pt x="311107" y="433663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>
                <a:solidFill>
                  <a:srgbClr val="FFFFFF"/>
                </a:solidFill>
              </a:endParaRPr>
            </a:p>
          </p:txBody>
        </p:sp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id="{56789F94-77D1-419E-9CB0-17B670111926}"/>
                </a:ext>
              </a:extLst>
            </p:cNvPr>
            <p:cNvSpPr/>
            <p:nvPr/>
          </p:nvSpPr>
          <p:spPr>
            <a:xfrm>
              <a:off x="7090329" y="3338014"/>
              <a:ext cx="353556" cy="543931"/>
            </a:xfrm>
            <a:custGeom>
              <a:avLst/>
              <a:gdLst>
                <a:gd name="connsiteX0" fmla="*/ 311107 w 353555"/>
                <a:gd name="connsiteY0" fmla="*/ 433663 h 543931"/>
                <a:gd name="connsiteX1" fmla="*/ 215919 w 353555"/>
                <a:gd name="connsiteY1" fmla="*/ 501654 h 543931"/>
                <a:gd name="connsiteX2" fmla="*/ 98973 w 353555"/>
                <a:gd name="connsiteY2" fmla="*/ 392868 h 543931"/>
                <a:gd name="connsiteX3" fmla="*/ 98973 w 353555"/>
                <a:gd name="connsiteY3" fmla="*/ 221530 h 543931"/>
                <a:gd name="connsiteX4" fmla="*/ 82655 w 353555"/>
                <a:gd name="connsiteY4" fmla="*/ 221530 h 543931"/>
                <a:gd name="connsiteX5" fmla="*/ 58178 w 353555"/>
                <a:gd name="connsiteY5" fmla="*/ 191614 h 543931"/>
                <a:gd name="connsiteX6" fmla="*/ 85375 w 353555"/>
                <a:gd name="connsiteY6" fmla="*/ 164417 h 543931"/>
                <a:gd name="connsiteX7" fmla="*/ 101693 w 353555"/>
                <a:gd name="connsiteY7" fmla="*/ 164417 h 543931"/>
                <a:gd name="connsiteX8" fmla="*/ 101693 w 353555"/>
                <a:gd name="connsiteY8" fmla="*/ 118183 h 543931"/>
                <a:gd name="connsiteX9" fmla="*/ 166965 w 353555"/>
                <a:gd name="connsiteY9" fmla="*/ 58350 h 543931"/>
                <a:gd name="connsiteX10" fmla="*/ 229517 w 353555"/>
                <a:gd name="connsiteY10" fmla="*/ 118183 h 543931"/>
                <a:gd name="connsiteX11" fmla="*/ 229517 w 353555"/>
                <a:gd name="connsiteY11" fmla="*/ 118183 h 543931"/>
                <a:gd name="connsiteX12" fmla="*/ 229517 w 353555"/>
                <a:gd name="connsiteY12" fmla="*/ 164417 h 543931"/>
                <a:gd name="connsiteX13" fmla="*/ 283910 w 353555"/>
                <a:gd name="connsiteY13" fmla="*/ 164417 h 543931"/>
                <a:gd name="connsiteX14" fmla="*/ 308387 w 353555"/>
                <a:gd name="connsiteY14" fmla="*/ 194333 h 543931"/>
                <a:gd name="connsiteX15" fmla="*/ 281190 w 353555"/>
                <a:gd name="connsiteY15" fmla="*/ 221530 h 543931"/>
                <a:gd name="connsiteX16" fmla="*/ 229517 w 353555"/>
                <a:gd name="connsiteY16" fmla="*/ 221530 h 543931"/>
                <a:gd name="connsiteX17" fmla="*/ 229517 w 353555"/>
                <a:gd name="connsiteY17" fmla="*/ 365671 h 543931"/>
                <a:gd name="connsiteX18" fmla="*/ 311107 w 353555"/>
                <a:gd name="connsiteY18" fmla="*/ 433663 h 5439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353555" h="543931">
                  <a:moveTo>
                    <a:pt x="311107" y="433663"/>
                  </a:moveTo>
                  <a:cubicBezTo>
                    <a:pt x="311107" y="433663"/>
                    <a:pt x="278471" y="501654"/>
                    <a:pt x="215919" y="501654"/>
                  </a:cubicBezTo>
                  <a:cubicBezTo>
                    <a:pt x="164245" y="501654"/>
                    <a:pt x="101693" y="458140"/>
                    <a:pt x="98973" y="392868"/>
                  </a:cubicBezTo>
                  <a:cubicBezTo>
                    <a:pt x="98973" y="392868"/>
                    <a:pt x="98973" y="297680"/>
                    <a:pt x="98973" y="221530"/>
                  </a:cubicBezTo>
                  <a:lnTo>
                    <a:pt x="82655" y="221530"/>
                  </a:lnTo>
                  <a:cubicBezTo>
                    <a:pt x="74496" y="221530"/>
                    <a:pt x="58178" y="216090"/>
                    <a:pt x="58178" y="191614"/>
                  </a:cubicBezTo>
                  <a:cubicBezTo>
                    <a:pt x="58178" y="167137"/>
                    <a:pt x="77216" y="164417"/>
                    <a:pt x="85375" y="164417"/>
                  </a:cubicBezTo>
                  <a:lnTo>
                    <a:pt x="101693" y="164417"/>
                  </a:lnTo>
                  <a:cubicBezTo>
                    <a:pt x="101693" y="137220"/>
                    <a:pt x="101693" y="118183"/>
                    <a:pt x="101693" y="118183"/>
                  </a:cubicBezTo>
                  <a:cubicBezTo>
                    <a:pt x="104412" y="85547"/>
                    <a:pt x="134329" y="55631"/>
                    <a:pt x="166965" y="58350"/>
                  </a:cubicBezTo>
                  <a:cubicBezTo>
                    <a:pt x="196881" y="61070"/>
                    <a:pt x="229517" y="85547"/>
                    <a:pt x="229517" y="118183"/>
                  </a:cubicBezTo>
                  <a:lnTo>
                    <a:pt x="229517" y="118183"/>
                  </a:lnTo>
                  <a:lnTo>
                    <a:pt x="229517" y="164417"/>
                  </a:lnTo>
                  <a:lnTo>
                    <a:pt x="283910" y="164417"/>
                  </a:lnTo>
                  <a:cubicBezTo>
                    <a:pt x="292069" y="164417"/>
                    <a:pt x="308387" y="169856"/>
                    <a:pt x="308387" y="194333"/>
                  </a:cubicBezTo>
                  <a:cubicBezTo>
                    <a:pt x="308387" y="218810"/>
                    <a:pt x="292069" y="221530"/>
                    <a:pt x="281190" y="221530"/>
                  </a:cubicBezTo>
                  <a:lnTo>
                    <a:pt x="229517" y="221530"/>
                  </a:lnTo>
                  <a:lnTo>
                    <a:pt x="229517" y="365671"/>
                  </a:lnTo>
                  <a:cubicBezTo>
                    <a:pt x="229517" y="409186"/>
                    <a:pt x="270312" y="433663"/>
                    <a:pt x="311107" y="433663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>
                <a:solidFill>
                  <a:srgbClr val="FFFFFF"/>
                </a:solidFill>
              </a:endParaRPr>
            </a:p>
          </p:txBody>
        </p:sp>
        <p:sp>
          <p:nvSpPr>
            <p:cNvPr id="35" name="Freeform: Shape 34">
              <a:extLst>
                <a:ext uri="{FF2B5EF4-FFF2-40B4-BE49-F238E27FC236}">
                  <a16:creationId xmlns:a16="http://schemas.microsoft.com/office/drawing/2014/main" id="{9E33C35F-2A47-43BD-A69C-C7EEB1924394}"/>
                </a:ext>
              </a:extLst>
            </p:cNvPr>
            <p:cNvSpPr/>
            <p:nvPr/>
          </p:nvSpPr>
          <p:spPr>
            <a:xfrm>
              <a:off x="2080719" y="4178559"/>
              <a:ext cx="462342" cy="788700"/>
            </a:xfrm>
            <a:custGeom>
              <a:avLst/>
              <a:gdLst>
                <a:gd name="connsiteX0" fmla="*/ 403575 w 462341"/>
                <a:gd name="connsiteY0" fmla="*/ 583072 h 788699"/>
                <a:gd name="connsiteX1" fmla="*/ 406295 w 462341"/>
                <a:gd name="connsiteY1" fmla="*/ 596670 h 788699"/>
                <a:gd name="connsiteX2" fmla="*/ 400855 w 462341"/>
                <a:gd name="connsiteY2" fmla="*/ 610268 h 788699"/>
                <a:gd name="connsiteX3" fmla="*/ 389977 w 462341"/>
                <a:gd name="connsiteY3" fmla="*/ 626586 h 788699"/>
                <a:gd name="connsiteX4" fmla="*/ 354621 w 462341"/>
                <a:gd name="connsiteY4" fmla="*/ 675540 h 788699"/>
                <a:gd name="connsiteX5" fmla="*/ 327424 w 462341"/>
                <a:gd name="connsiteY5" fmla="*/ 691858 h 788699"/>
                <a:gd name="connsiteX6" fmla="*/ 292069 w 462341"/>
                <a:gd name="connsiteY6" fmla="*/ 713615 h 788699"/>
                <a:gd name="connsiteX7" fmla="*/ 251274 w 462341"/>
                <a:gd name="connsiteY7" fmla="*/ 724494 h 788699"/>
                <a:gd name="connsiteX8" fmla="*/ 221358 w 462341"/>
                <a:gd name="connsiteY8" fmla="*/ 721774 h 788699"/>
                <a:gd name="connsiteX9" fmla="*/ 191442 w 462341"/>
                <a:gd name="connsiteY9" fmla="*/ 721774 h 788699"/>
                <a:gd name="connsiteX10" fmla="*/ 153366 w 462341"/>
                <a:gd name="connsiteY10" fmla="*/ 713615 h 788699"/>
                <a:gd name="connsiteX11" fmla="*/ 104412 w 462341"/>
                <a:gd name="connsiteY11" fmla="*/ 675540 h 788699"/>
                <a:gd name="connsiteX12" fmla="*/ 104412 w 462341"/>
                <a:gd name="connsiteY12" fmla="*/ 689138 h 788699"/>
                <a:gd name="connsiteX13" fmla="*/ 101693 w 462341"/>
                <a:gd name="connsiteY13" fmla="*/ 710895 h 788699"/>
                <a:gd name="connsiteX14" fmla="*/ 85375 w 462341"/>
                <a:gd name="connsiteY14" fmla="*/ 732653 h 788699"/>
                <a:gd name="connsiteX15" fmla="*/ 69057 w 462341"/>
                <a:gd name="connsiteY15" fmla="*/ 727214 h 788699"/>
                <a:gd name="connsiteX16" fmla="*/ 60898 w 462341"/>
                <a:gd name="connsiteY16" fmla="*/ 710895 h 788699"/>
                <a:gd name="connsiteX17" fmla="*/ 58178 w 462341"/>
                <a:gd name="connsiteY17" fmla="*/ 691858 h 788699"/>
                <a:gd name="connsiteX18" fmla="*/ 60898 w 462341"/>
                <a:gd name="connsiteY18" fmla="*/ 664661 h 788699"/>
                <a:gd name="connsiteX19" fmla="*/ 60898 w 462341"/>
                <a:gd name="connsiteY19" fmla="*/ 607549 h 788699"/>
                <a:gd name="connsiteX20" fmla="*/ 63618 w 462341"/>
                <a:gd name="connsiteY20" fmla="*/ 528679 h 788699"/>
                <a:gd name="connsiteX21" fmla="*/ 69057 w 462341"/>
                <a:gd name="connsiteY21" fmla="*/ 504202 h 788699"/>
                <a:gd name="connsiteX22" fmla="*/ 74496 w 462341"/>
                <a:gd name="connsiteY22" fmla="*/ 493323 h 788699"/>
                <a:gd name="connsiteX23" fmla="*/ 82655 w 462341"/>
                <a:gd name="connsiteY23" fmla="*/ 487884 h 788699"/>
                <a:gd name="connsiteX24" fmla="*/ 90814 w 462341"/>
                <a:gd name="connsiteY24" fmla="*/ 493323 h 788699"/>
                <a:gd name="connsiteX25" fmla="*/ 98973 w 462341"/>
                <a:gd name="connsiteY25" fmla="*/ 512361 h 788699"/>
                <a:gd name="connsiteX26" fmla="*/ 101693 w 462341"/>
                <a:gd name="connsiteY26" fmla="*/ 555875 h 788699"/>
                <a:gd name="connsiteX27" fmla="*/ 101693 w 462341"/>
                <a:gd name="connsiteY27" fmla="*/ 596670 h 788699"/>
                <a:gd name="connsiteX28" fmla="*/ 109852 w 462341"/>
                <a:gd name="connsiteY28" fmla="*/ 626586 h 788699"/>
                <a:gd name="connsiteX29" fmla="*/ 128889 w 462341"/>
                <a:gd name="connsiteY29" fmla="*/ 651063 h 788699"/>
                <a:gd name="connsiteX30" fmla="*/ 153366 w 462341"/>
                <a:gd name="connsiteY30" fmla="*/ 670101 h 788699"/>
                <a:gd name="connsiteX31" fmla="*/ 196881 w 462341"/>
                <a:gd name="connsiteY31" fmla="*/ 678260 h 788699"/>
                <a:gd name="connsiteX32" fmla="*/ 221358 w 462341"/>
                <a:gd name="connsiteY32" fmla="*/ 667381 h 788699"/>
                <a:gd name="connsiteX33" fmla="*/ 253994 w 462341"/>
                <a:gd name="connsiteY33" fmla="*/ 659222 h 788699"/>
                <a:gd name="connsiteX34" fmla="*/ 275751 w 462341"/>
                <a:gd name="connsiteY34" fmla="*/ 637465 h 788699"/>
                <a:gd name="connsiteX35" fmla="*/ 281190 w 462341"/>
                <a:gd name="connsiteY35" fmla="*/ 615708 h 788699"/>
                <a:gd name="connsiteX36" fmla="*/ 278471 w 462341"/>
                <a:gd name="connsiteY36" fmla="*/ 602109 h 788699"/>
                <a:gd name="connsiteX37" fmla="*/ 262153 w 462341"/>
                <a:gd name="connsiteY37" fmla="*/ 572193 h 788699"/>
                <a:gd name="connsiteX38" fmla="*/ 245835 w 462341"/>
                <a:gd name="connsiteY38" fmla="*/ 536838 h 788699"/>
                <a:gd name="connsiteX39" fmla="*/ 196881 w 462341"/>
                <a:gd name="connsiteY39" fmla="*/ 477005 h 788699"/>
                <a:gd name="connsiteX40" fmla="*/ 145207 w 462341"/>
                <a:gd name="connsiteY40" fmla="*/ 419892 h 788699"/>
                <a:gd name="connsiteX41" fmla="*/ 93534 w 462341"/>
                <a:gd name="connsiteY41" fmla="*/ 357340 h 788699"/>
                <a:gd name="connsiteX42" fmla="*/ 66337 w 462341"/>
                <a:gd name="connsiteY42" fmla="*/ 283910 h 788699"/>
                <a:gd name="connsiteX43" fmla="*/ 58178 w 462341"/>
                <a:gd name="connsiteY43" fmla="*/ 224077 h 788699"/>
                <a:gd name="connsiteX44" fmla="*/ 82655 w 462341"/>
                <a:gd name="connsiteY44" fmla="*/ 150647 h 788699"/>
                <a:gd name="connsiteX45" fmla="*/ 137048 w 462341"/>
                <a:gd name="connsiteY45" fmla="*/ 96253 h 788699"/>
                <a:gd name="connsiteX46" fmla="*/ 196881 w 462341"/>
                <a:gd name="connsiteY46" fmla="*/ 77216 h 788699"/>
                <a:gd name="connsiteX47" fmla="*/ 232236 w 462341"/>
                <a:gd name="connsiteY47" fmla="*/ 69057 h 788699"/>
                <a:gd name="connsiteX48" fmla="*/ 262153 w 462341"/>
                <a:gd name="connsiteY48" fmla="*/ 74496 h 788699"/>
                <a:gd name="connsiteX49" fmla="*/ 294789 w 462341"/>
                <a:gd name="connsiteY49" fmla="*/ 85375 h 788699"/>
                <a:gd name="connsiteX50" fmla="*/ 327424 w 462341"/>
                <a:gd name="connsiteY50" fmla="*/ 104412 h 788699"/>
                <a:gd name="connsiteX51" fmla="*/ 332864 w 462341"/>
                <a:gd name="connsiteY51" fmla="*/ 74496 h 788699"/>
                <a:gd name="connsiteX52" fmla="*/ 338303 w 462341"/>
                <a:gd name="connsiteY52" fmla="*/ 63618 h 788699"/>
                <a:gd name="connsiteX53" fmla="*/ 349182 w 462341"/>
                <a:gd name="connsiteY53" fmla="*/ 58178 h 788699"/>
                <a:gd name="connsiteX54" fmla="*/ 357341 w 462341"/>
                <a:gd name="connsiteY54" fmla="*/ 63618 h 788699"/>
                <a:gd name="connsiteX55" fmla="*/ 365500 w 462341"/>
                <a:gd name="connsiteY55" fmla="*/ 82655 h 788699"/>
                <a:gd name="connsiteX56" fmla="*/ 368219 w 462341"/>
                <a:gd name="connsiteY56" fmla="*/ 142488 h 788699"/>
                <a:gd name="connsiteX57" fmla="*/ 368219 w 462341"/>
                <a:gd name="connsiteY57" fmla="*/ 188722 h 788699"/>
                <a:gd name="connsiteX58" fmla="*/ 370939 w 462341"/>
                <a:gd name="connsiteY58" fmla="*/ 245834 h 788699"/>
                <a:gd name="connsiteX59" fmla="*/ 354621 w 462341"/>
                <a:gd name="connsiteY59" fmla="*/ 286629 h 788699"/>
                <a:gd name="connsiteX60" fmla="*/ 338303 w 462341"/>
                <a:gd name="connsiteY60" fmla="*/ 281190 h 788699"/>
                <a:gd name="connsiteX61" fmla="*/ 330144 w 462341"/>
                <a:gd name="connsiteY61" fmla="*/ 264872 h 788699"/>
                <a:gd name="connsiteX62" fmla="*/ 327424 w 462341"/>
                <a:gd name="connsiteY62" fmla="*/ 248554 h 788699"/>
                <a:gd name="connsiteX63" fmla="*/ 330144 w 462341"/>
                <a:gd name="connsiteY63" fmla="*/ 221357 h 788699"/>
                <a:gd name="connsiteX64" fmla="*/ 330144 w 462341"/>
                <a:gd name="connsiteY64" fmla="*/ 188722 h 788699"/>
                <a:gd name="connsiteX65" fmla="*/ 327424 w 462341"/>
                <a:gd name="connsiteY65" fmla="*/ 164245 h 788699"/>
                <a:gd name="connsiteX66" fmla="*/ 311107 w 462341"/>
                <a:gd name="connsiteY66" fmla="*/ 134329 h 788699"/>
                <a:gd name="connsiteX67" fmla="*/ 283910 w 462341"/>
                <a:gd name="connsiteY67" fmla="*/ 118011 h 788699"/>
                <a:gd name="connsiteX68" fmla="*/ 251274 w 462341"/>
                <a:gd name="connsiteY68" fmla="*/ 112571 h 788699"/>
                <a:gd name="connsiteX69" fmla="*/ 215918 w 462341"/>
                <a:gd name="connsiteY69" fmla="*/ 123450 h 788699"/>
                <a:gd name="connsiteX70" fmla="*/ 202320 w 462341"/>
                <a:gd name="connsiteY70" fmla="*/ 147927 h 788699"/>
                <a:gd name="connsiteX71" fmla="*/ 188722 w 462341"/>
                <a:gd name="connsiteY71" fmla="*/ 180563 h 788699"/>
                <a:gd name="connsiteX72" fmla="*/ 183283 w 462341"/>
                <a:gd name="connsiteY72" fmla="*/ 210479 h 788699"/>
                <a:gd name="connsiteX73" fmla="*/ 188722 w 462341"/>
                <a:gd name="connsiteY73" fmla="*/ 226797 h 788699"/>
                <a:gd name="connsiteX74" fmla="*/ 188722 w 462341"/>
                <a:gd name="connsiteY74" fmla="*/ 248554 h 788699"/>
                <a:gd name="connsiteX75" fmla="*/ 210479 w 462341"/>
                <a:gd name="connsiteY75" fmla="*/ 273031 h 788699"/>
                <a:gd name="connsiteX76" fmla="*/ 226797 w 462341"/>
                <a:gd name="connsiteY76" fmla="*/ 300228 h 788699"/>
                <a:gd name="connsiteX77" fmla="*/ 256713 w 462341"/>
                <a:gd name="connsiteY77" fmla="*/ 332864 h 788699"/>
                <a:gd name="connsiteX78" fmla="*/ 275751 w 462341"/>
                <a:gd name="connsiteY78" fmla="*/ 351901 h 788699"/>
                <a:gd name="connsiteX79" fmla="*/ 324705 w 462341"/>
                <a:gd name="connsiteY79" fmla="*/ 400855 h 788699"/>
                <a:gd name="connsiteX80" fmla="*/ 343742 w 462341"/>
                <a:gd name="connsiteY80" fmla="*/ 428051 h 788699"/>
                <a:gd name="connsiteX81" fmla="*/ 351901 w 462341"/>
                <a:gd name="connsiteY81" fmla="*/ 433491 h 788699"/>
                <a:gd name="connsiteX82" fmla="*/ 360060 w 462341"/>
                <a:gd name="connsiteY82" fmla="*/ 447089 h 788699"/>
                <a:gd name="connsiteX83" fmla="*/ 384537 w 462341"/>
                <a:gd name="connsiteY83" fmla="*/ 474286 h 788699"/>
                <a:gd name="connsiteX84" fmla="*/ 395416 w 462341"/>
                <a:gd name="connsiteY84" fmla="*/ 506921 h 788699"/>
                <a:gd name="connsiteX85" fmla="*/ 406295 w 462341"/>
                <a:gd name="connsiteY85" fmla="*/ 536838 h 788699"/>
                <a:gd name="connsiteX86" fmla="*/ 409014 w 462341"/>
                <a:gd name="connsiteY86" fmla="*/ 547716 h 788699"/>
                <a:gd name="connsiteX87" fmla="*/ 406295 w 462341"/>
                <a:gd name="connsiteY87" fmla="*/ 569473 h 788699"/>
                <a:gd name="connsiteX88" fmla="*/ 403575 w 462341"/>
                <a:gd name="connsiteY88" fmla="*/ 583072 h 788699"/>
                <a:gd name="connsiteX89" fmla="*/ 403575 w 462341"/>
                <a:gd name="connsiteY89" fmla="*/ 583072 h 7886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</a:cxnLst>
              <a:rect l="l" t="t" r="r" b="b"/>
              <a:pathLst>
                <a:path w="462341" h="788699">
                  <a:moveTo>
                    <a:pt x="403575" y="583072"/>
                  </a:moveTo>
                  <a:cubicBezTo>
                    <a:pt x="403575" y="588511"/>
                    <a:pt x="406295" y="591231"/>
                    <a:pt x="406295" y="596670"/>
                  </a:cubicBezTo>
                  <a:cubicBezTo>
                    <a:pt x="406295" y="602109"/>
                    <a:pt x="403575" y="604829"/>
                    <a:pt x="400855" y="610268"/>
                  </a:cubicBezTo>
                  <a:cubicBezTo>
                    <a:pt x="398136" y="615708"/>
                    <a:pt x="392696" y="621147"/>
                    <a:pt x="389977" y="626586"/>
                  </a:cubicBezTo>
                  <a:cubicBezTo>
                    <a:pt x="381818" y="645624"/>
                    <a:pt x="368219" y="661942"/>
                    <a:pt x="354621" y="675540"/>
                  </a:cubicBezTo>
                  <a:cubicBezTo>
                    <a:pt x="346462" y="683699"/>
                    <a:pt x="338303" y="686419"/>
                    <a:pt x="327424" y="691858"/>
                  </a:cubicBezTo>
                  <a:cubicBezTo>
                    <a:pt x="316546" y="700017"/>
                    <a:pt x="302948" y="708176"/>
                    <a:pt x="292069" y="713615"/>
                  </a:cubicBezTo>
                  <a:cubicBezTo>
                    <a:pt x="281190" y="719054"/>
                    <a:pt x="264872" y="724494"/>
                    <a:pt x="251274" y="724494"/>
                  </a:cubicBezTo>
                  <a:cubicBezTo>
                    <a:pt x="240395" y="724494"/>
                    <a:pt x="229517" y="721774"/>
                    <a:pt x="221358" y="721774"/>
                  </a:cubicBezTo>
                  <a:cubicBezTo>
                    <a:pt x="213199" y="721774"/>
                    <a:pt x="202320" y="721774"/>
                    <a:pt x="191442" y="721774"/>
                  </a:cubicBezTo>
                  <a:cubicBezTo>
                    <a:pt x="172404" y="721774"/>
                    <a:pt x="172404" y="721774"/>
                    <a:pt x="153366" y="713615"/>
                  </a:cubicBezTo>
                  <a:cubicBezTo>
                    <a:pt x="134329" y="708176"/>
                    <a:pt x="118011" y="691858"/>
                    <a:pt x="104412" y="675540"/>
                  </a:cubicBezTo>
                  <a:cubicBezTo>
                    <a:pt x="104412" y="678260"/>
                    <a:pt x="104412" y="680979"/>
                    <a:pt x="104412" y="689138"/>
                  </a:cubicBezTo>
                  <a:cubicBezTo>
                    <a:pt x="104412" y="694578"/>
                    <a:pt x="104412" y="702737"/>
                    <a:pt x="101693" y="710895"/>
                  </a:cubicBezTo>
                  <a:cubicBezTo>
                    <a:pt x="101693" y="721774"/>
                    <a:pt x="96253" y="732653"/>
                    <a:pt x="85375" y="732653"/>
                  </a:cubicBezTo>
                  <a:cubicBezTo>
                    <a:pt x="77216" y="732653"/>
                    <a:pt x="74496" y="729933"/>
                    <a:pt x="69057" y="727214"/>
                  </a:cubicBezTo>
                  <a:cubicBezTo>
                    <a:pt x="63618" y="724494"/>
                    <a:pt x="60898" y="716335"/>
                    <a:pt x="60898" y="710895"/>
                  </a:cubicBezTo>
                  <a:cubicBezTo>
                    <a:pt x="58178" y="702737"/>
                    <a:pt x="58178" y="697297"/>
                    <a:pt x="58178" y="691858"/>
                  </a:cubicBezTo>
                  <a:cubicBezTo>
                    <a:pt x="58178" y="683699"/>
                    <a:pt x="60898" y="678260"/>
                    <a:pt x="60898" y="664661"/>
                  </a:cubicBezTo>
                  <a:cubicBezTo>
                    <a:pt x="60898" y="656502"/>
                    <a:pt x="60898" y="632026"/>
                    <a:pt x="60898" y="607549"/>
                  </a:cubicBezTo>
                  <a:cubicBezTo>
                    <a:pt x="60898" y="574913"/>
                    <a:pt x="60898" y="542277"/>
                    <a:pt x="63618" y="528679"/>
                  </a:cubicBezTo>
                  <a:cubicBezTo>
                    <a:pt x="63618" y="520520"/>
                    <a:pt x="63618" y="509641"/>
                    <a:pt x="69057" y="504202"/>
                  </a:cubicBezTo>
                  <a:cubicBezTo>
                    <a:pt x="71777" y="501482"/>
                    <a:pt x="71777" y="498762"/>
                    <a:pt x="74496" y="493323"/>
                  </a:cubicBezTo>
                  <a:cubicBezTo>
                    <a:pt x="77216" y="490603"/>
                    <a:pt x="79936" y="487884"/>
                    <a:pt x="82655" y="487884"/>
                  </a:cubicBezTo>
                  <a:cubicBezTo>
                    <a:pt x="85375" y="487884"/>
                    <a:pt x="90814" y="490603"/>
                    <a:pt x="90814" y="493323"/>
                  </a:cubicBezTo>
                  <a:cubicBezTo>
                    <a:pt x="93534" y="498762"/>
                    <a:pt x="98973" y="506921"/>
                    <a:pt x="98973" y="512361"/>
                  </a:cubicBezTo>
                  <a:cubicBezTo>
                    <a:pt x="98973" y="520520"/>
                    <a:pt x="101693" y="536838"/>
                    <a:pt x="101693" y="555875"/>
                  </a:cubicBezTo>
                  <a:cubicBezTo>
                    <a:pt x="101693" y="569473"/>
                    <a:pt x="101693" y="583072"/>
                    <a:pt x="101693" y="596670"/>
                  </a:cubicBezTo>
                  <a:cubicBezTo>
                    <a:pt x="101693" y="607549"/>
                    <a:pt x="104412" y="618427"/>
                    <a:pt x="109852" y="626586"/>
                  </a:cubicBezTo>
                  <a:cubicBezTo>
                    <a:pt x="115291" y="637465"/>
                    <a:pt x="123450" y="642904"/>
                    <a:pt x="128889" y="651063"/>
                  </a:cubicBezTo>
                  <a:cubicBezTo>
                    <a:pt x="137048" y="661942"/>
                    <a:pt x="139768" y="667381"/>
                    <a:pt x="153366" y="670101"/>
                  </a:cubicBezTo>
                  <a:cubicBezTo>
                    <a:pt x="161525" y="670101"/>
                    <a:pt x="183283" y="678260"/>
                    <a:pt x="196881" y="678260"/>
                  </a:cubicBezTo>
                  <a:cubicBezTo>
                    <a:pt x="207759" y="678260"/>
                    <a:pt x="210479" y="672820"/>
                    <a:pt x="221358" y="667381"/>
                  </a:cubicBezTo>
                  <a:cubicBezTo>
                    <a:pt x="232236" y="661942"/>
                    <a:pt x="245835" y="664661"/>
                    <a:pt x="253994" y="659222"/>
                  </a:cubicBezTo>
                  <a:cubicBezTo>
                    <a:pt x="262153" y="653783"/>
                    <a:pt x="273031" y="645624"/>
                    <a:pt x="275751" y="637465"/>
                  </a:cubicBezTo>
                  <a:cubicBezTo>
                    <a:pt x="281190" y="629306"/>
                    <a:pt x="281190" y="621147"/>
                    <a:pt x="281190" y="615708"/>
                  </a:cubicBezTo>
                  <a:cubicBezTo>
                    <a:pt x="281190" y="610268"/>
                    <a:pt x="281190" y="607549"/>
                    <a:pt x="278471" y="602109"/>
                  </a:cubicBezTo>
                  <a:cubicBezTo>
                    <a:pt x="275751" y="591231"/>
                    <a:pt x="267592" y="583072"/>
                    <a:pt x="262153" y="572193"/>
                  </a:cubicBezTo>
                  <a:cubicBezTo>
                    <a:pt x="256713" y="561314"/>
                    <a:pt x="253994" y="547716"/>
                    <a:pt x="245835" y="536838"/>
                  </a:cubicBezTo>
                  <a:cubicBezTo>
                    <a:pt x="232236" y="515080"/>
                    <a:pt x="213199" y="498762"/>
                    <a:pt x="196881" y="477005"/>
                  </a:cubicBezTo>
                  <a:cubicBezTo>
                    <a:pt x="180563" y="457968"/>
                    <a:pt x="164245" y="438930"/>
                    <a:pt x="145207" y="419892"/>
                  </a:cubicBezTo>
                  <a:cubicBezTo>
                    <a:pt x="126170" y="400855"/>
                    <a:pt x="109852" y="379098"/>
                    <a:pt x="93534" y="357340"/>
                  </a:cubicBezTo>
                  <a:cubicBezTo>
                    <a:pt x="77216" y="335583"/>
                    <a:pt x="71777" y="308387"/>
                    <a:pt x="66337" y="283910"/>
                  </a:cubicBezTo>
                  <a:cubicBezTo>
                    <a:pt x="63618" y="267592"/>
                    <a:pt x="58178" y="245834"/>
                    <a:pt x="58178" y="224077"/>
                  </a:cubicBezTo>
                  <a:cubicBezTo>
                    <a:pt x="58178" y="194161"/>
                    <a:pt x="69057" y="175123"/>
                    <a:pt x="82655" y="150647"/>
                  </a:cubicBezTo>
                  <a:cubicBezTo>
                    <a:pt x="96253" y="128889"/>
                    <a:pt x="115291" y="109852"/>
                    <a:pt x="137048" y="96253"/>
                  </a:cubicBezTo>
                  <a:cubicBezTo>
                    <a:pt x="158806" y="82655"/>
                    <a:pt x="172404" y="79936"/>
                    <a:pt x="196881" y="77216"/>
                  </a:cubicBezTo>
                  <a:cubicBezTo>
                    <a:pt x="210479" y="77216"/>
                    <a:pt x="215918" y="69057"/>
                    <a:pt x="232236" y="69057"/>
                  </a:cubicBezTo>
                  <a:cubicBezTo>
                    <a:pt x="243115" y="69057"/>
                    <a:pt x="251274" y="71776"/>
                    <a:pt x="262153" y="74496"/>
                  </a:cubicBezTo>
                  <a:cubicBezTo>
                    <a:pt x="273031" y="77216"/>
                    <a:pt x="283910" y="82655"/>
                    <a:pt x="294789" y="85375"/>
                  </a:cubicBezTo>
                  <a:cubicBezTo>
                    <a:pt x="308387" y="90814"/>
                    <a:pt x="319265" y="96253"/>
                    <a:pt x="327424" y="104412"/>
                  </a:cubicBezTo>
                  <a:cubicBezTo>
                    <a:pt x="327424" y="90814"/>
                    <a:pt x="327424" y="79936"/>
                    <a:pt x="332864" y="74496"/>
                  </a:cubicBezTo>
                  <a:cubicBezTo>
                    <a:pt x="335583" y="71776"/>
                    <a:pt x="335583" y="69057"/>
                    <a:pt x="338303" y="63618"/>
                  </a:cubicBezTo>
                  <a:cubicBezTo>
                    <a:pt x="341023" y="60898"/>
                    <a:pt x="346462" y="58178"/>
                    <a:pt x="349182" y="58178"/>
                  </a:cubicBezTo>
                  <a:cubicBezTo>
                    <a:pt x="351901" y="58178"/>
                    <a:pt x="357341" y="60898"/>
                    <a:pt x="357341" y="63618"/>
                  </a:cubicBezTo>
                  <a:cubicBezTo>
                    <a:pt x="360060" y="69057"/>
                    <a:pt x="365500" y="77216"/>
                    <a:pt x="365500" y="82655"/>
                  </a:cubicBezTo>
                  <a:cubicBezTo>
                    <a:pt x="365500" y="90814"/>
                    <a:pt x="368219" y="123450"/>
                    <a:pt x="368219" y="142488"/>
                  </a:cubicBezTo>
                  <a:cubicBezTo>
                    <a:pt x="368219" y="158806"/>
                    <a:pt x="368219" y="177843"/>
                    <a:pt x="368219" y="188722"/>
                  </a:cubicBezTo>
                  <a:cubicBezTo>
                    <a:pt x="368219" y="213199"/>
                    <a:pt x="370939" y="224077"/>
                    <a:pt x="370939" y="245834"/>
                  </a:cubicBezTo>
                  <a:cubicBezTo>
                    <a:pt x="370939" y="256713"/>
                    <a:pt x="370939" y="286629"/>
                    <a:pt x="354621" y="286629"/>
                  </a:cubicBezTo>
                  <a:cubicBezTo>
                    <a:pt x="346462" y="286629"/>
                    <a:pt x="343742" y="283910"/>
                    <a:pt x="338303" y="281190"/>
                  </a:cubicBezTo>
                  <a:cubicBezTo>
                    <a:pt x="332864" y="278470"/>
                    <a:pt x="330144" y="270311"/>
                    <a:pt x="330144" y="264872"/>
                  </a:cubicBezTo>
                  <a:cubicBezTo>
                    <a:pt x="327424" y="256713"/>
                    <a:pt x="327424" y="251274"/>
                    <a:pt x="327424" y="248554"/>
                  </a:cubicBezTo>
                  <a:cubicBezTo>
                    <a:pt x="327424" y="240395"/>
                    <a:pt x="330144" y="234956"/>
                    <a:pt x="330144" y="221357"/>
                  </a:cubicBezTo>
                  <a:cubicBezTo>
                    <a:pt x="330144" y="213199"/>
                    <a:pt x="330144" y="202320"/>
                    <a:pt x="330144" y="188722"/>
                  </a:cubicBezTo>
                  <a:cubicBezTo>
                    <a:pt x="330144" y="180563"/>
                    <a:pt x="327424" y="172404"/>
                    <a:pt x="327424" y="164245"/>
                  </a:cubicBezTo>
                  <a:cubicBezTo>
                    <a:pt x="324705" y="153366"/>
                    <a:pt x="319265" y="142488"/>
                    <a:pt x="311107" y="134329"/>
                  </a:cubicBezTo>
                  <a:cubicBezTo>
                    <a:pt x="302948" y="126170"/>
                    <a:pt x="294789" y="120730"/>
                    <a:pt x="283910" y="118011"/>
                  </a:cubicBezTo>
                  <a:cubicBezTo>
                    <a:pt x="275751" y="115291"/>
                    <a:pt x="262153" y="112571"/>
                    <a:pt x="251274" y="112571"/>
                  </a:cubicBezTo>
                  <a:cubicBezTo>
                    <a:pt x="237676" y="112571"/>
                    <a:pt x="224077" y="115291"/>
                    <a:pt x="215918" y="123450"/>
                  </a:cubicBezTo>
                  <a:cubicBezTo>
                    <a:pt x="207759" y="128889"/>
                    <a:pt x="205040" y="139768"/>
                    <a:pt x="202320" y="147927"/>
                  </a:cubicBezTo>
                  <a:cubicBezTo>
                    <a:pt x="196881" y="158806"/>
                    <a:pt x="191442" y="166964"/>
                    <a:pt x="188722" y="180563"/>
                  </a:cubicBezTo>
                  <a:cubicBezTo>
                    <a:pt x="186002" y="191441"/>
                    <a:pt x="183283" y="199600"/>
                    <a:pt x="183283" y="210479"/>
                  </a:cubicBezTo>
                  <a:cubicBezTo>
                    <a:pt x="183283" y="215918"/>
                    <a:pt x="186002" y="221357"/>
                    <a:pt x="188722" y="226797"/>
                  </a:cubicBezTo>
                  <a:cubicBezTo>
                    <a:pt x="191442" y="234956"/>
                    <a:pt x="188722" y="243115"/>
                    <a:pt x="188722" y="248554"/>
                  </a:cubicBezTo>
                  <a:cubicBezTo>
                    <a:pt x="191442" y="259433"/>
                    <a:pt x="202320" y="264872"/>
                    <a:pt x="210479" y="273031"/>
                  </a:cubicBezTo>
                  <a:cubicBezTo>
                    <a:pt x="218638" y="281190"/>
                    <a:pt x="221358" y="292069"/>
                    <a:pt x="226797" y="300228"/>
                  </a:cubicBezTo>
                  <a:cubicBezTo>
                    <a:pt x="234956" y="311106"/>
                    <a:pt x="245835" y="321985"/>
                    <a:pt x="256713" y="332864"/>
                  </a:cubicBezTo>
                  <a:cubicBezTo>
                    <a:pt x="259433" y="338303"/>
                    <a:pt x="267592" y="343742"/>
                    <a:pt x="275751" y="351901"/>
                  </a:cubicBezTo>
                  <a:cubicBezTo>
                    <a:pt x="292069" y="368219"/>
                    <a:pt x="311107" y="384537"/>
                    <a:pt x="324705" y="400855"/>
                  </a:cubicBezTo>
                  <a:cubicBezTo>
                    <a:pt x="332864" y="409014"/>
                    <a:pt x="335583" y="419892"/>
                    <a:pt x="343742" y="428051"/>
                  </a:cubicBezTo>
                  <a:cubicBezTo>
                    <a:pt x="346462" y="430771"/>
                    <a:pt x="349182" y="430771"/>
                    <a:pt x="351901" y="433491"/>
                  </a:cubicBezTo>
                  <a:cubicBezTo>
                    <a:pt x="354621" y="436210"/>
                    <a:pt x="357341" y="441650"/>
                    <a:pt x="360060" y="447089"/>
                  </a:cubicBezTo>
                  <a:cubicBezTo>
                    <a:pt x="368219" y="455248"/>
                    <a:pt x="376378" y="463407"/>
                    <a:pt x="384537" y="474286"/>
                  </a:cubicBezTo>
                  <a:cubicBezTo>
                    <a:pt x="389977" y="482445"/>
                    <a:pt x="392696" y="496043"/>
                    <a:pt x="395416" y="506921"/>
                  </a:cubicBezTo>
                  <a:cubicBezTo>
                    <a:pt x="400855" y="517800"/>
                    <a:pt x="400855" y="528679"/>
                    <a:pt x="406295" y="536838"/>
                  </a:cubicBezTo>
                  <a:cubicBezTo>
                    <a:pt x="409014" y="539557"/>
                    <a:pt x="409014" y="544997"/>
                    <a:pt x="409014" y="547716"/>
                  </a:cubicBezTo>
                  <a:cubicBezTo>
                    <a:pt x="409014" y="555875"/>
                    <a:pt x="406295" y="561314"/>
                    <a:pt x="406295" y="569473"/>
                  </a:cubicBezTo>
                  <a:cubicBezTo>
                    <a:pt x="406295" y="574913"/>
                    <a:pt x="403575" y="577632"/>
                    <a:pt x="403575" y="583072"/>
                  </a:cubicBezTo>
                  <a:lnTo>
                    <a:pt x="403575" y="583072"/>
                  </a:ln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>
                <a:solidFill>
                  <a:srgbClr val="FFFFFF"/>
                </a:solidFill>
              </a:endParaRPr>
            </a:p>
          </p:txBody>
        </p:sp>
        <p:sp>
          <p:nvSpPr>
            <p:cNvPr id="36" name="Freeform: Shape 35">
              <a:extLst>
                <a:ext uri="{FF2B5EF4-FFF2-40B4-BE49-F238E27FC236}">
                  <a16:creationId xmlns:a16="http://schemas.microsoft.com/office/drawing/2014/main" id="{9F2F4E1C-4B0E-4041-AFAD-37EBA7110ECE}"/>
                </a:ext>
              </a:extLst>
            </p:cNvPr>
            <p:cNvSpPr/>
            <p:nvPr/>
          </p:nvSpPr>
          <p:spPr>
            <a:xfrm>
              <a:off x="2456032" y="4192158"/>
              <a:ext cx="571128" cy="761503"/>
            </a:xfrm>
            <a:custGeom>
              <a:avLst/>
              <a:gdLst>
                <a:gd name="connsiteX0" fmla="*/ 512361 w 571128"/>
                <a:gd name="connsiteY0" fmla="*/ 79936 h 761503"/>
                <a:gd name="connsiteX1" fmla="*/ 539558 w 571128"/>
                <a:gd name="connsiteY1" fmla="*/ 96253 h 761503"/>
                <a:gd name="connsiteX2" fmla="*/ 534118 w 571128"/>
                <a:gd name="connsiteY2" fmla="*/ 112571 h 761503"/>
                <a:gd name="connsiteX3" fmla="*/ 523240 w 571128"/>
                <a:gd name="connsiteY3" fmla="*/ 120730 h 761503"/>
                <a:gd name="connsiteX4" fmla="*/ 506922 w 571128"/>
                <a:gd name="connsiteY4" fmla="*/ 123450 h 761503"/>
                <a:gd name="connsiteX5" fmla="*/ 477006 w 571128"/>
                <a:gd name="connsiteY5" fmla="*/ 123450 h 761503"/>
                <a:gd name="connsiteX6" fmla="*/ 479725 w 571128"/>
                <a:gd name="connsiteY6" fmla="*/ 145207 h 761503"/>
                <a:gd name="connsiteX7" fmla="*/ 477006 w 571128"/>
                <a:gd name="connsiteY7" fmla="*/ 180563 h 761503"/>
                <a:gd name="connsiteX8" fmla="*/ 482445 w 571128"/>
                <a:gd name="connsiteY8" fmla="*/ 232236 h 761503"/>
                <a:gd name="connsiteX9" fmla="*/ 485165 w 571128"/>
                <a:gd name="connsiteY9" fmla="*/ 283910 h 761503"/>
                <a:gd name="connsiteX10" fmla="*/ 485165 w 571128"/>
                <a:gd name="connsiteY10" fmla="*/ 327424 h 761503"/>
                <a:gd name="connsiteX11" fmla="*/ 487884 w 571128"/>
                <a:gd name="connsiteY11" fmla="*/ 373658 h 761503"/>
                <a:gd name="connsiteX12" fmla="*/ 485165 w 571128"/>
                <a:gd name="connsiteY12" fmla="*/ 419892 h 761503"/>
                <a:gd name="connsiteX13" fmla="*/ 485165 w 571128"/>
                <a:gd name="connsiteY13" fmla="*/ 463407 h 761503"/>
                <a:gd name="connsiteX14" fmla="*/ 482445 w 571128"/>
                <a:gd name="connsiteY14" fmla="*/ 515080 h 761503"/>
                <a:gd name="connsiteX15" fmla="*/ 482445 w 571128"/>
                <a:gd name="connsiteY15" fmla="*/ 558595 h 761503"/>
                <a:gd name="connsiteX16" fmla="*/ 479725 w 571128"/>
                <a:gd name="connsiteY16" fmla="*/ 602109 h 761503"/>
                <a:gd name="connsiteX17" fmla="*/ 485165 w 571128"/>
                <a:gd name="connsiteY17" fmla="*/ 648343 h 761503"/>
                <a:gd name="connsiteX18" fmla="*/ 474286 w 571128"/>
                <a:gd name="connsiteY18" fmla="*/ 675540 h 761503"/>
                <a:gd name="connsiteX19" fmla="*/ 428052 w 571128"/>
                <a:gd name="connsiteY19" fmla="*/ 691858 h 761503"/>
                <a:gd name="connsiteX20" fmla="*/ 387257 w 571128"/>
                <a:gd name="connsiteY20" fmla="*/ 683699 h 761503"/>
                <a:gd name="connsiteX21" fmla="*/ 351901 w 571128"/>
                <a:gd name="connsiteY21" fmla="*/ 664661 h 761503"/>
                <a:gd name="connsiteX22" fmla="*/ 305667 w 571128"/>
                <a:gd name="connsiteY22" fmla="*/ 596670 h 761503"/>
                <a:gd name="connsiteX23" fmla="*/ 270312 w 571128"/>
                <a:gd name="connsiteY23" fmla="*/ 509641 h 761503"/>
                <a:gd name="connsiteX24" fmla="*/ 251274 w 571128"/>
                <a:gd name="connsiteY24" fmla="*/ 460687 h 761503"/>
                <a:gd name="connsiteX25" fmla="*/ 224077 w 571128"/>
                <a:gd name="connsiteY25" fmla="*/ 381817 h 761503"/>
                <a:gd name="connsiteX26" fmla="*/ 207759 w 571128"/>
                <a:gd name="connsiteY26" fmla="*/ 330144 h 761503"/>
                <a:gd name="connsiteX27" fmla="*/ 191442 w 571128"/>
                <a:gd name="connsiteY27" fmla="*/ 286629 h 761503"/>
                <a:gd name="connsiteX28" fmla="*/ 183283 w 571128"/>
                <a:gd name="connsiteY28" fmla="*/ 278470 h 761503"/>
                <a:gd name="connsiteX29" fmla="*/ 180563 w 571128"/>
                <a:gd name="connsiteY29" fmla="*/ 292069 h 761503"/>
                <a:gd name="connsiteX30" fmla="*/ 180563 w 571128"/>
                <a:gd name="connsiteY30" fmla="*/ 305667 h 761503"/>
                <a:gd name="connsiteX31" fmla="*/ 183283 w 571128"/>
                <a:gd name="connsiteY31" fmla="*/ 354621 h 761503"/>
                <a:gd name="connsiteX32" fmla="*/ 188722 w 571128"/>
                <a:gd name="connsiteY32" fmla="*/ 449809 h 761503"/>
                <a:gd name="connsiteX33" fmla="*/ 188722 w 571128"/>
                <a:gd name="connsiteY33" fmla="*/ 479725 h 761503"/>
                <a:gd name="connsiteX34" fmla="*/ 188722 w 571128"/>
                <a:gd name="connsiteY34" fmla="*/ 542277 h 761503"/>
                <a:gd name="connsiteX35" fmla="*/ 186002 w 571128"/>
                <a:gd name="connsiteY35" fmla="*/ 615708 h 761503"/>
                <a:gd name="connsiteX36" fmla="*/ 186002 w 571128"/>
                <a:gd name="connsiteY36" fmla="*/ 637465 h 761503"/>
                <a:gd name="connsiteX37" fmla="*/ 183283 w 571128"/>
                <a:gd name="connsiteY37" fmla="*/ 664661 h 761503"/>
                <a:gd name="connsiteX38" fmla="*/ 226797 w 571128"/>
                <a:gd name="connsiteY38" fmla="*/ 664661 h 761503"/>
                <a:gd name="connsiteX39" fmla="*/ 253994 w 571128"/>
                <a:gd name="connsiteY39" fmla="*/ 680979 h 761503"/>
                <a:gd name="connsiteX40" fmla="*/ 248554 w 571128"/>
                <a:gd name="connsiteY40" fmla="*/ 697297 h 761503"/>
                <a:gd name="connsiteX41" fmla="*/ 234956 w 571128"/>
                <a:gd name="connsiteY41" fmla="*/ 705456 h 761503"/>
                <a:gd name="connsiteX42" fmla="*/ 218638 w 571128"/>
                <a:gd name="connsiteY42" fmla="*/ 708176 h 761503"/>
                <a:gd name="connsiteX43" fmla="*/ 183283 w 571128"/>
                <a:gd name="connsiteY43" fmla="*/ 708176 h 761503"/>
                <a:gd name="connsiteX44" fmla="*/ 150647 w 571128"/>
                <a:gd name="connsiteY44" fmla="*/ 708176 h 761503"/>
                <a:gd name="connsiteX45" fmla="*/ 107132 w 571128"/>
                <a:gd name="connsiteY45" fmla="*/ 708176 h 761503"/>
                <a:gd name="connsiteX46" fmla="*/ 88094 w 571128"/>
                <a:gd name="connsiteY46" fmla="*/ 708176 h 761503"/>
                <a:gd name="connsiteX47" fmla="*/ 69057 w 571128"/>
                <a:gd name="connsiteY47" fmla="*/ 702737 h 761503"/>
                <a:gd name="connsiteX48" fmla="*/ 58178 w 571128"/>
                <a:gd name="connsiteY48" fmla="*/ 686419 h 761503"/>
                <a:gd name="connsiteX49" fmla="*/ 60898 w 571128"/>
                <a:gd name="connsiteY49" fmla="*/ 678260 h 761503"/>
                <a:gd name="connsiteX50" fmla="*/ 77216 w 571128"/>
                <a:gd name="connsiteY50" fmla="*/ 670101 h 761503"/>
                <a:gd name="connsiteX51" fmla="*/ 120730 w 571128"/>
                <a:gd name="connsiteY51" fmla="*/ 664661 h 761503"/>
                <a:gd name="connsiteX52" fmla="*/ 131609 w 571128"/>
                <a:gd name="connsiteY52" fmla="*/ 664661 h 761503"/>
                <a:gd name="connsiteX53" fmla="*/ 134329 w 571128"/>
                <a:gd name="connsiteY53" fmla="*/ 539557 h 761503"/>
                <a:gd name="connsiteX54" fmla="*/ 134329 w 571128"/>
                <a:gd name="connsiteY54" fmla="*/ 504202 h 761503"/>
                <a:gd name="connsiteX55" fmla="*/ 131609 w 571128"/>
                <a:gd name="connsiteY55" fmla="*/ 376378 h 761503"/>
                <a:gd name="connsiteX56" fmla="*/ 131609 w 571128"/>
                <a:gd name="connsiteY56" fmla="*/ 302947 h 761503"/>
                <a:gd name="connsiteX57" fmla="*/ 134329 w 571128"/>
                <a:gd name="connsiteY57" fmla="*/ 221357 h 761503"/>
                <a:gd name="connsiteX58" fmla="*/ 137048 w 571128"/>
                <a:gd name="connsiteY58" fmla="*/ 123450 h 761503"/>
                <a:gd name="connsiteX59" fmla="*/ 107132 w 571128"/>
                <a:gd name="connsiteY59" fmla="*/ 123450 h 761503"/>
                <a:gd name="connsiteX60" fmla="*/ 88094 w 571128"/>
                <a:gd name="connsiteY60" fmla="*/ 123450 h 761503"/>
                <a:gd name="connsiteX61" fmla="*/ 69057 w 571128"/>
                <a:gd name="connsiteY61" fmla="*/ 118011 h 761503"/>
                <a:gd name="connsiteX62" fmla="*/ 58178 w 571128"/>
                <a:gd name="connsiteY62" fmla="*/ 101693 h 761503"/>
                <a:gd name="connsiteX63" fmla="*/ 60898 w 571128"/>
                <a:gd name="connsiteY63" fmla="*/ 93534 h 761503"/>
                <a:gd name="connsiteX64" fmla="*/ 77216 w 571128"/>
                <a:gd name="connsiteY64" fmla="*/ 85375 h 761503"/>
                <a:gd name="connsiteX65" fmla="*/ 131609 w 571128"/>
                <a:gd name="connsiteY65" fmla="*/ 79936 h 761503"/>
                <a:gd name="connsiteX66" fmla="*/ 161525 w 571128"/>
                <a:gd name="connsiteY66" fmla="*/ 79936 h 761503"/>
                <a:gd name="connsiteX67" fmla="*/ 177843 w 571128"/>
                <a:gd name="connsiteY67" fmla="*/ 66337 h 761503"/>
                <a:gd name="connsiteX68" fmla="*/ 202320 w 571128"/>
                <a:gd name="connsiteY68" fmla="*/ 58178 h 761503"/>
                <a:gd name="connsiteX69" fmla="*/ 234956 w 571128"/>
                <a:gd name="connsiteY69" fmla="*/ 77216 h 761503"/>
                <a:gd name="connsiteX70" fmla="*/ 251274 w 571128"/>
                <a:gd name="connsiteY70" fmla="*/ 107132 h 761503"/>
                <a:gd name="connsiteX71" fmla="*/ 267592 w 571128"/>
                <a:gd name="connsiteY71" fmla="*/ 147927 h 761503"/>
                <a:gd name="connsiteX72" fmla="*/ 281190 w 571128"/>
                <a:gd name="connsiteY72" fmla="*/ 183282 h 761503"/>
                <a:gd name="connsiteX73" fmla="*/ 297508 w 571128"/>
                <a:gd name="connsiteY73" fmla="*/ 224077 h 761503"/>
                <a:gd name="connsiteX74" fmla="*/ 308387 w 571128"/>
                <a:gd name="connsiteY74" fmla="*/ 264872 h 761503"/>
                <a:gd name="connsiteX75" fmla="*/ 319265 w 571128"/>
                <a:gd name="connsiteY75" fmla="*/ 300228 h 761503"/>
                <a:gd name="connsiteX76" fmla="*/ 351901 w 571128"/>
                <a:gd name="connsiteY76" fmla="*/ 379098 h 761503"/>
                <a:gd name="connsiteX77" fmla="*/ 365500 w 571128"/>
                <a:gd name="connsiteY77" fmla="*/ 417173 h 761503"/>
                <a:gd name="connsiteX78" fmla="*/ 379098 w 571128"/>
                <a:gd name="connsiteY78" fmla="*/ 457968 h 761503"/>
                <a:gd name="connsiteX79" fmla="*/ 395416 w 571128"/>
                <a:gd name="connsiteY79" fmla="*/ 496043 h 761503"/>
                <a:gd name="connsiteX80" fmla="*/ 406295 w 571128"/>
                <a:gd name="connsiteY80" fmla="*/ 512361 h 761503"/>
                <a:gd name="connsiteX81" fmla="*/ 411734 w 571128"/>
                <a:gd name="connsiteY81" fmla="*/ 531398 h 761503"/>
                <a:gd name="connsiteX82" fmla="*/ 419893 w 571128"/>
                <a:gd name="connsiteY82" fmla="*/ 558595 h 761503"/>
                <a:gd name="connsiteX83" fmla="*/ 425332 w 571128"/>
                <a:gd name="connsiteY83" fmla="*/ 564034 h 761503"/>
                <a:gd name="connsiteX84" fmla="*/ 430771 w 571128"/>
                <a:gd name="connsiteY84" fmla="*/ 558595 h 761503"/>
                <a:gd name="connsiteX85" fmla="*/ 430771 w 571128"/>
                <a:gd name="connsiteY85" fmla="*/ 550436 h 761503"/>
                <a:gd name="connsiteX86" fmla="*/ 430771 w 571128"/>
                <a:gd name="connsiteY86" fmla="*/ 501482 h 761503"/>
                <a:gd name="connsiteX87" fmla="*/ 430771 w 571128"/>
                <a:gd name="connsiteY87" fmla="*/ 403575 h 761503"/>
                <a:gd name="connsiteX88" fmla="*/ 425332 w 571128"/>
                <a:gd name="connsiteY88" fmla="*/ 313826 h 761503"/>
                <a:gd name="connsiteX89" fmla="*/ 425332 w 571128"/>
                <a:gd name="connsiteY89" fmla="*/ 248554 h 761503"/>
                <a:gd name="connsiteX90" fmla="*/ 425332 w 571128"/>
                <a:gd name="connsiteY90" fmla="*/ 210479 h 761503"/>
                <a:gd name="connsiteX91" fmla="*/ 422613 w 571128"/>
                <a:gd name="connsiteY91" fmla="*/ 153366 h 761503"/>
                <a:gd name="connsiteX92" fmla="*/ 425332 w 571128"/>
                <a:gd name="connsiteY92" fmla="*/ 123450 h 761503"/>
                <a:gd name="connsiteX93" fmla="*/ 398136 w 571128"/>
                <a:gd name="connsiteY93" fmla="*/ 123450 h 761503"/>
                <a:gd name="connsiteX94" fmla="*/ 379098 w 571128"/>
                <a:gd name="connsiteY94" fmla="*/ 123450 h 761503"/>
                <a:gd name="connsiteX95" fmla="*/ 360060 w 571128"/>
                <a:gd name="connsiteY95" fmla="*/ 118011 h 761503"/>
                <a:gd name="connsiteX96" fmla="*/ 349182 w 571128"/>
                <a:gd name="connsiteY96" fmla="*/ 101693 h 761503"/>
                <a:gd name="connsiteX97" fmla="*/ 351901 w 571128"/>
                <a:gd name="connsiteY97" fmla="*/ 93534 h 761503"/>
                <a:gd name="connsiteX98" fmla="*/ 368219 w 571128"/>
                <a:gd name="connsiteY98" fmla="*/ 85375 h 761503"/>
                <a:gd name="connsiteX99" fmla="*/ 422613 w 571128"/>
                <a:gd name="connsiteY99" fmla="*/ 79936 h 761503"/>
                <a:gd name="connsiteX100" fmla="*/ 444370 w 571128"/>
                <a:gd name="connsiteY100" fmla="*/ 79936 h 761503"/>
                <a:gd name="connsiteX101" fmla="*/ 463407 w 571128"/>
                <a:gd name="connsiteY101" fmla="*/ 71776 h 761503"/>
                <a:gd name="connsiteX102" fmla="*/ 477006 w 571128"/>
                <a:gd name="connsiteY102" fmla="*/ 79936 h 761503"/>
                <a:gd name="connsiteX103" fmla="*/ 512361 w 571128"/>
                <a:gd name="connsiteY103" fmla="*/ 79936 h 761503"/>
                <a:gd name="connsiteX104" fmla="*/ 512361 w 571128"/>
                <a:gd name="connsiteY104" fmla="*/ 79936 h 761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</a:cxnLst>
              <a:rect l="l" t="t" r="r" b="b"/>
              <a:pathLst>
                <a:path w="571128" h="761503">
                  <a:moveTo>
                    <a:pt x="512361" y="79936"/>
                  </a:moveTo>
                  <a:cubicBezTo>
                    <a:pt x="520520" y="79936"/>
                    <a:pt x="539558" y="79936"/>
                    <a:pt x="539558" y="96253"/>
                  </a:cubicBezTo>
                  <a:cubicBezTo>
                    <a:pt x="539558" y="104412"/>
                    <a:pt x="539558" y="107132"/>
                    <a:pt x="534118" y="112571"/>
                  </a:cubicBezTo>
                  <a:cubicBezTo>
                    <a:pt x="531399" y="118011"/>
                    <a:pt x="525960" y="120730"/>
                    <a:pt x="523240" y="120730"/>
                  </a:cubicBezTo>
                  <a:cubicBezTo>
                    <a:pt x="515081" y="123450"/>
                    <a:pt x="512361" y="123450"/>
                    <a:pt x="506922" y="123450"/>
                  </a:cubicBezTo>
                  <a:cubicBezTo>
                    <a:pt x="504202" y="123450"/>
                    <a:pt x="490604" y="123450"/>
                    <a:pt x="477006" y="123450"/>
                  </a:cubicBezTo>
                  <a:cubicBezTo>
                    <a:pt x="477006" y="131609"/>
                    <a:pt x="479725" y="137048"/>
                    <a:pt x="479725" y="145207"/>
                  </a:cubicBezTo>
                  <a:cubicBezTo>
                    <a:pt x="479725" y="156086"/>
                    <a:pt x="477006" y="166964"/>
                    <a:pt x="477006" y="180563"/>
                  </a:cubicBezTo>
                  <a:cubicBezTo>
                    <a:pt x="477006" y="196881"/>
                    <a:pt x="479725" y="215918"/>
                    <a:pt x="482445" y="232236"/>
                  </a:cubicBezTo>
                  <a:cubicBezTo>
                    <a:pt x="485165" y="248554"/>
                    <a:pt x="485165" y="267592"/>
                    <a:pt x="485165" y="283910"/>
                  </a:cubicBezTo>
                  <a:cubicBezTo>
                    <a:pt x="485165" y="297508"/>
                    <a:pt x="485165" y="313826"/>
                    <a:pt x="485165" y="327424"/>
                  </a:cubicBezTo>
                  <a:cubicBezTo>
                    <a:pt x="485165" y="343742"/>
                    <a:pt x="487884" y="357340"/>
                    <a:pt x="487884" y="373658"/>
                  </a:cubicBezTo>
                  <a:cubicBezTo>
                    <a:pt x="487884" y="389976"/>
                    <a:pt x="485165" y="403575"/>
                    <a:pt x="485165" y="419892"/>
                  </a:cubicBezTo>
                  <a:cubicBezTo>
                    <a:pt x="485165" y="436210"/>
                    <a:pt x="485165" y="449809"/>
                    <a:pt x="485165" y="463407"/>
                  </a:cubicBezTo>
                  <a:cubicBezTo>
                    <a:pt x="485165" y="479725"/>
                    <a:pt x="485165" y="498762"/>
                    <a:pt x="482445" y="515080"/>
                  </a:cubicBezTo>
                  <a:cubicBezTo>
                    <a:pt x="482445" y="528679"/>
                    <a:pt x="482445" y="542277"/>
                    <a:pt x="482445" y="558595"/>
                  </a:cubicBezTo>
                  <a:cubicBezTo>
                    <a:pt x="482445" y="572193"/>
                    <a:pt x="479725" y="588511"/>
                    <a:pt x="479725" y="602109"/>
                  </a:cubicBezTo>
                  <a:cubicBezTo>
                    <a:pt x="479725" y="615708"/>
                    <a:pt x="485165" y="632026"/>
                    <a:pt x="485165" y="648343"/>
                  </a:cubicBezTo>
                  <a:cubicBezTo>
                    <a:pt x="485165" y="659222"/>
                    <a:pt x="482445" y="670101"/>
                    <a:pt x="474286" y="675540"/>
                  </a:cubicBezTo>
                  <a:cubicBezTo>
                    <a:pt x="460688" y="686419"/>
                    <a:pt x="444370" y="691858"/>
                    <a:pt x="428052" y="691858"/>
                  </a:cubicBezTo>
                  <a:cubicBezTo>
                    <a:pt x="414454" y="691858"/>
                    <a:pt x="400855" y="689138"/>
                    <a:pt x="387257" y="683699"/>
                  </a:cubicBezTo>
                  <a:cubicBezTo>
                    <a:pt x="373659" y="678260"/>
                    <a:pt x="360060" y="672820"/>
                    <a:pt x="351901" y="664661"/>
                  </a:cubicBezTo>
                  <a:cubicBezTo>
                    <a:pt x="330144" y="645624"/>
                    <a:pt x="316546" y="621147"/>
                    <a:pt x="305667" y="596670"/>
                  </a:cubicBezTo>
                  <a:cubicBezTo>
                    <a:pt x="292069" y="569473"/>
                    <a:pt x="281190" y="539557"/>
                    <a:pt x="270312" y="509641"/>
                  </a:cubicBezTo>
                  <a:cubicBezTo>
                    <a:pt x="264872" y="493323"/>
                    <a:pt x="256713" y="477005"/>
                    <a:pt x="251274" y="460687"/>
                  </a:cubicBezTo>
                  <a:cubicBezTo>
                    <a:pt x="240395" y="433491"/>
                    <a:pt x="232236" y="409014"/>
                    <a:pt x="224077" y="381817"/>
                  </a:cubicBezTo>
                  <a:cubicBezTo>
                    <a:pt x="218638" y="365499"/>
                    <a:pt x="213199" y="346462"/>
                    <a:pt x="207759" y="330144"/>
                  </a:cubicBezTo>
                  <a:cubicBezTo>
                    <a:pt x="202320" y="316545"/>
                    <a:pt x="196881" y="300228"/>
                    <a:pt x="191442" y="286629"/>
                  </a:cubicBezTo>
                  <a:cubicBezTo>
                    <a:pt x="188722" y="281190"/>
                    <a:pt x="186002" y="278470"/>
                    <a:pt x="183283" y="278470"/>
                  </a:cubicBezTo>
                  <a:cubicBezTo>
                    <a:pt x="180563" y="278470"/>
                    <a:pt x="180563" y="286629"/>
                    <a:pt x="180563" y="292069"/>
                  </a:cubicBezTo>
                  <a:cubicBezTo>
                    <a:pt x="180563" y="297508"/>
                    <a:pt x="180563" y="302947"/>
                    <a:pt x="180563" y="305667"/>
                  </a:cubicBezTo>
                  <a:cubicBezTo>
                    <a:pt x="180563" y="321985"/>
                    <a:pt x="183283" y="338303"/>
                    <a:pt x="183283" y="354621"/>
                  </a:cubicBezTo>
                  <a:cubicBezTo>
                    <a:pt x="183283" y="387257"/>
                    <a:pt x="186002" y="417173"/>
                    <a:pt x="188722" y="449809"/>
                  </a:cubicBezTo>
                  <a:cubicBezTo>
                    <a:pt x="188722" y="460687"/>
                    <a:pt x="188722" y="468846"/>
                    <a:pt x="188722" y="479725"/>
                  </a:cubicBezTo>
                  <a:cubicBezTo>
                    <a:pt x="188722" y="501482"/>
                    <a:pt x="188722" y="523239"/>
                    <a:pt x="188722" y="542277"/>
                  </a:cubicBezTo>
                  <a:cubicBezTo>
                    <a:pt x="188722" y="566754"/>
                    <a:pt x="186002" y="591231"/>
                    <a:pt x="186002" y="615708"/>
                  </a:cubicBezTo>
                  <a:cubicBezTo>
                    <a:pt x="186002" y="623867"/>
                    <a:pt x="186002" y="632026"/>
                    <a:pt x="186002" y="637465"/>
                  </a:cubicBezTo>
                  <a:cubicBezTo>
                    <a:pt x="186002" y="645624"/>
                    <a:pt x="183283" y="656502"/>
                    <a:pt x="183283" y="664661"/>
                  </a:cubicBezTo>
                  <a:cubicBezTo>
                    <a:pt x="202320" y="664661"/>
                    <a:pt x="218638" y="664661"/>
                    <a:pt x="226797" y="664661"/>
                  </a:cubicBezTo>
                  <a:cubicBezTo>
                    <a:pt x="234956" y="664661"/>
                    <a:pt x="253994" y="664661"/>
                    <a:pt x="253994" y="680979"/>
                  </a:cubicBezTo>
                  <a:cubicBezTo>
                    <a:pt x="253994" y="689138"/>
                    <a:pt x="253994" y="691858"/>
                    <a:pt x="248554" y="697297"/>
                  </a:cubicBezTo>
                  <a:cubicBezTo>
                    <a:pt x="245835" y="702737"/>
                    <a:pt x="240395" y="705456"/>
                    <a:pt x="234956" y="705456"/>
                  </a:cubicBezTo>
                  <a:cubicBezTo>
                    <a:pt x="226797" y="708176"/>
                    <a:pt x="224077" y="708176"/>
                    <a:pt x="218638" y="708176"/>
                  </a:cubicBezTo>
                  <a:cubicBezTo>
                    <a:pt x="215918" y="708176"/>
                    <a:pt x="199600" y="708176"/>
                    <a:pt x="183283" y="708176"/>
                  </a:cubicBezTo>
                  <a:cubicBezTo>
                    <a:pt x="166965" y="708176"/>
                    <a:pt x="153366" y="708176"/>
                    <a:pt x="150647" y="708176"/>
                  </a:cubicBezTo>
                  <a:cubicBezTo>
                    <a:pt x="139768" y="708176"/>
                    <a:pt x="120730" y="708176"/>
                    <a:pt x="107132" y="708176"/>
                  </a:cubicBezTo>
                  <a:cubicBezTo>
                    <a:pt x="101693" y="708176"/>
                    <a:pt x="96253" y="708176"/>
                    <a:pt x="88094" y="708176"/>
                  </a:cubicBezTo>
                  <a:cubicBezTo>
                    <a:pt x="82655" y="708176"/>
                    <a:pt x="74496" y="708176"/>
                    <a:pt x="69057" y="702737"/>
                  </a:cubicBezTo>
                  <a:cubicBezTo>
                    <a:pt x="63618" y="700017"/>
                    <a:pt x="58178" y="691858"/>
                    <a:pt x="58178" y="686419"/>
                  </a:cubicBezTo>
                  <a:cubicBezTo>
                    <a:pt x="58178" y="683699"/>
                    <a:pt x="58178" y="680979"/>
                    <a:pt x="60898" y="678260"/>
                  </a:cubicBezTo>
                  <a:cubicBezTo>
                    <a:pt x="63618" y="675540"/>
                    <a:pt x="71777" y="672820"/>
                    <a:pt x="77216" y="670101"/>
                  </a:cubicBezTo>
                  <a:cubicBezTo>
                    <a:pt x="90814" y="667381"/>
                    <a:pt x="115291" y="664661"/>
                    <a:pt x="120730" y="664661"/>
                  </a:cubicBezTo>
                  <a:cubicBezTo>
                    <a:pt x="123450" y="664661"/>
                    <a:pt x="126170" y="664661"/>
                    <a:pt x="131609" y="664661"/>
                  </a:cubicBezTo>
                  <a:cubicBezTo>
                    <a:pt x="131609" y="623867"/>
                    <a:pt x="134329" y="583072"/>
                    <a:pt x="134329" y="539557"/>
                  </a:cubicBezTo>
                  <a:cubicBezTo>
                    <a:pt x="134329" y="528679"/>
                    <a:pt x="134329" y="515080"/>
                    <a:pt x="134329" y="504202"/>
                  </a:cubicBezTo>
                  <a:cubicBezTo>
                    <a:pt x="131609" y="460687"/>
                    <a:pt x="131609" y="417173"/>
                    <a:pt x="131609" y="376378"/>
                  </a:cubicBezTo>
                  <a:cubicBezTo>
                    <a:pt x="131609" y="351901"/>
                    <a:pt x="131609" y="327424"/>
                    <a:pt x="131609" y="302947"/>
                  </a:cubicBezTo>
                  <a:cubicBezTo>
                    <a:pt x="131609" y="275751"/>
                    <a:pt x="131609" y="248554"/>
                    <a:pt x="134329" y="221357"/>
                  </a:cubicBezTo>
                  <a:cubicBezTo>
                    <a:pt x="134329" y="188722"/>
                    <a:pt x="137048" y="156086"/>
                    <a:pt x="137048" y="123450"/>
                  </a:cubicBezTo>
                  <a:cubicBezTo>
                    <a:pt x="126170" y="123450"/>
                    <a:pt x="115291" y="123450"/>
                    <a:pt x="107132" y="123450"/>
                  </a:cubicBezTo>
                  <a:cubicBezTo>
                    <a:pt x="101693" y="123450"/>
                    <a:pt x="96253" y="123450"/>
                    <a:pt x="88094" y="123450"/>
                  </a:cubicBezTo>
                  <a:cubicBezTo>
                    <a:pt x="82655" y="123450"/>
                    <a:pt x="74496" y="120730"/>
                    <a:pt x="69057" y="118011"/>
                  </a:cubicBezTo>
                  <a:cubicBezTo>
                    <a:pt x="63618" y="115291"/>
                    <a:pt x="58178" y="107132"/>
                    <a:pt x="58178" y="101693"/>
                  </a:cubicBezTo>
                  <a:cubicBezTo>
                    <a:pt x="58178" y="98973"/>
                    <a:pt x="58178" y="96253"/>
                    <a:pt x="60898" y="93534"/>
                  </a:cubicBezTo>
                  <a:cubicBezTo>
                    <a:pt x="63618" y="90814"/>
                    <a:pt x="71777" y="88095"/>
                    <a:pt x="77216" y="85375"/>
                  </a:cubicBezTo>
                  <a:cubicBezTo>
                    <a:pt x="90814" y="82655"/>
                    <a:pt x="126170" y="79936"/>
                    <a:pt x="131609" y="79936"/>
                  </a:cubicBezTo>
                  <a:cubicBezTo>
                    <a:pt x="137048" y="79936"/>
                    <a:pt x="147927" y="79936"/>
                    <a:pt x="161525" y="79936"/>
                  </a:cubicBezTo>
                  <a:cubicBezTo>
                    <a:pt x="166965" y="74496"/>
                    <a:pt x="172404" y="71776"/>
                    <a:pt x="177843" y="66337"/>
                  </a:cubicBezTo>
                  <a:cubicBezTo>
                    <a:pt x="186002" y="60898"/>
                    <a:pt x="194161" y="58178"/>
                    <a:pt x="202320" y="58178"/>
                  </a:cubicBezTo>
                  <a:cubicBezTo>
                    <a:pt x="215918" y="58178"/>
                    <a:pt x="226797" y="63618"/>
                    <a:pt x="234956" y="77216"/>
                  </a:cubicBezTo>
                  <a:cubicBezTo>
                    <a:pt x="240395" y="88095"/>
                    <a:pt x="248554" y="96253"/>
                    <a:pt x="251274" y="107132"/>
                  </a:cubicBezTo>
                  <a:cubicBezTo>
                    <a:pt x="256713" y="120730"/>
                    <a:pt x="259433" y="134329"/>
                    <a:pt x="267592" y="147927"/>
                  </a:cubicBezTo>
                  <a:cubicBezTo>
                    <a:pt x="273031" y="158806"/>
                    <a:pt x="275751" y="172404"/>
                    <a:pt x="281190" y="183282"/>
                  </a:cubicBezTo>
                  <a:cubicBezTo>
                    <a:pt x="286630" y="196881"/>
                    <a:pt x="292069" y="210479"/>
                    <a:pt x="297508" y="224077"/>
                  </a:cubicBezTo>
                  <a:cubicBezTo>
                    <a:pt x="300228" y="237676"/>
                    <a:pt x="305667" y="251274"/>
                    <a:pt x="308387" y="264872"/>
                  </a:cubicBezTo>
                  <a:cubicBezTo>
                    <a:pt x="311107" y="278470"/>
                    <a:pt x="311107" y="289349"/>
                    <a:pt x="319265" y="300228"/>
                  </a:cubicBezTo>
                  <a:cubicBezTo>
                    <a:pt x="332864" y="324704"/>
                    <a:pt x="346462" y="351901"/>
                    <a:pt x="351901" y="379098"/>
                  </a:cubicBezTo>
                  <a:cubicBezTo>
                    <a:pt x="354621" y="392696"/>
                    <a:pt x="360060" y="403575"/>
                    <a:pt x="365500" y="417173"/>
                  </a:cubicBezTo>
                  <a:cubicBezTo>
                    <a:pt x="373659" y="430771"/>
                    <a:pt x="373659" y="444369"/>
                    <a:pt x="379098" y="457968"/>
                  </a:cubicBezTo>
                  <a:cubicBezTo>
                    <a:pt x="381818" y="471566"/>
                    <a:pt x="387257" y="482445"/>
                    <a:pt x="395416" y="496043"/>
                  </a:cubicBezTo>
                  <a:cubicBezTo>
                    <a:pt x="398136" y="501482"/>
                    <a:pt x="403575" y="506921"/>
                    <a:pt x="406295" y="512361"/>
                  </a:cubicBezTo>
                  <a:cubicBezTo>
                    <a:pt x="409014" y="517800"/>
                    <a:pt x="409014" y="525959"/>
                    <a:pt x="411734" y="531398"/>
                  </a:cubicBezTo>
                  <a:cubicBezTo>
                    <a:pt x="414454" y="539557"/>
                    <a:pt x="417173" y="550436"/>
                    <a:pt x="419893" y="558595"/>
                  </a:cubicBezTo>
                  <a:cubicBezTo>
                    <a:pt x="422613" y="561314"/>
                    <a:pt x="422613" y="564034"/>
                    <a:pt x="425332" y="564034"/>
                  </a:cubicBezTo>
                  <a:cubicBezTo>
                    <a:pt x="428052" y="564034"/>
                    <a:pt x="428052" y="561314"/>
                    <a:pt x="430771" y="558595"/>
                  </a:cubicBezTo>
                  <a:cubicBezTo>
                    <a:pt x="430771" y="555875"/>
                    <a:pt x="430771" y="553156"/>
                    <a:pt x="430771" y="550436"/>
                  </a:cubicBezTo>
                  <a:cubicBezTo>
                    <a:pt x="430771" y="534118"/>
                    <a:pt x="430771" y="517800"/>
                    <a:pt x="430771" y="501482"/>
                  </a:cubicBezTo>
                  <a:cubicBezTo>
                    <a:pt x="430771" y="468846"/>
                    <a:pt x="433491" y="436210"/>
                    <a:pt x="430771" y="403575"/>
                  </a:cubicBezTo>
                  <a:cubicBezTo>
                    <a:pt x="430771" y="373658"/>
                    <a:pt x="425332" y="343742"/>
                    <a:pt x="425332" y="313826"/>
                  </a:cubicBezTo>
                  <a:cubicBezTo>
                    <a:pt x="425332" y="292069"/>
                    <a:pt x="425332" y="270311"/>
                    <a:pt x="425332" y="248554"/>
                  </a:cubicBezTo>
                  <a:cubicBezTo>
                    <a:pt x="425332" y="234956"/>
                    <a:pt x="425332" y="224077"/>
                    <a:pt x="425332" y="210479"/>
                  </a:cubicBezTo>
                  <a:cubicBezTo>
                    <a:pt x="425332" y="191441"/>
                    <a:pt x="422613" y="172404"/>
                    <a:pt x="422613" y="153366"/>
                  </a:cubicBezTo>
                  <a:cubicBezTo>
                    <a:pt x="422613" y="142488"/>
                    <a:pt x="422613" y="134329"/>
                    <a:pt x="425332" y="123450"/>
                  </a:cubicBezTo>
                  <a:cubicBezTo>
                    <a:pt x="417173" y="123450"/>
                    <a:pt x="406295" y="123450"/>
                    <a:pt x="398136" y="123450"/>
                  </a:cubicBezTo>
                  <a:cubicBezTo>
                    <a:pt x="392696" y="123450"/>
                    <a:pt x="387257" y="123450"/>
                    <a:pt x="379098" y="123450"/>
                  </a:cubicBezTo>
                  <a:cubicBezTo>
                    <a:pt x="373659" y="123450"/>
                    <a:pt x="365500" y="120730"/>
                    <a:pt x="360060" y="118011"/>
                  </a:cubicBezTo>
                  <a:cubicBezTo>
                    <a:pt x="354621" y="115291"/>
                    <a:pt x="349182" y="107132"/>
                    <a:pt x="349182" y="101693"/>
                  </a:cubicBezTo>
                  <a:cubicBezTo>
                    <a:pt x="349182" y="98973"/>
                    <a:pt x="349182" y="96253"/>
                    <a:pt x="351901" y="93534"/>
                  </a:cubicBezTo>
                  <a:cubicBezTo>
                    <a:pt x="354621" y="90814"/>
                    <a:pt x="362780" y="88095"/>
                    <a:pt x="368219" y="85375"/>
                  </a:cubicBezTo>
                  <a:cubicBezTo>
                    <a:pt x="381818" y="82655"/>
                    <a:pt x="417173" y="79936"/>
                    <a:pt x="422613" y="79936"/>
                  </a:cubicBezTo>
                  <a:cubicBezTo>
                    <a:pt x="428052" y="79936"/>
                    <a:pt x="433491" y="79936"/>
                    <a:pt x="444370" y="79936"/>
                  </a:cubicBezTo>
                  <a:cubicBezTo>
                    <a:pt x="449809" y="74496"/>
                    <a:pt x="455248" y="71776"/>
                    <a:pt x="463407" y="71776"/>
                  </a:cubicBezTo>
                  <a:cubicBezTo>
                    <a:pt x="471566" y="71776"/>
                    <a:pt x="477006" y="74496"/>
                    <a:pt x="477006" y="79936"/>
                  </a:cubicBezTo>
                  <a:cubicBezTo>
                    <a:pt x="490604" y="82655"/>
                    <a:pt x="504202" y="79936"/>
                    <a:pt x="512361" y="79936"/>
                  </a:cubicBezTo>
                  <a:lnTo>
                    <a:pt x="512361" y="79936"/>
                  </a:ln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>
                <a:solidFill>
                  <a:srgbClr val="FFFFFF"/>
                </a:solidFill>
              </a:endParaRPr>
            </a:p>
          </p:txBody>
        </p:sp>
        <p:sp>
          <p:nvSpPr>
            <p:cNvPr id="37" name="Freeform: Shape 36">
              <a:extLst>
                <a:ext uri="{FF2B5EF4-FFF2-40B4-BE49-F238E27FC236}">
                  <a16:creationId xmlns:a16="http://schemas.microsoft.com/office/drawing/2014/main" id="{3BD4128C-C42F-4336-BDBD-E914A28EFC6F}"/>
                </a:ext>
              </a:extLst>
            </p:cNvPr>
            <p:cNvSpPr/>
            <p:nvPr/>
          </p:nvSpPr>
          <p:spPr>
            <a:xfrm>
              <a:off x="2987430" y="4242177"/>
              <a:ext cx="494979" cy="674476"/>
            </a:xfrm>
            <a:custGeom>
              <a:avLst/>
              <a:gdLst>
                <a:gd name="connsiteX0" fmla="*/ 228453 w 494979"/>
                <a:gd name="connsiteY0" fmla="*/ 97907 h 674476"/>
                <a:gd name="connsiteX1" fmla="*/ 212135 w 494979"/>
                <a:gd name="connsiteY1" fmla="*/ 119665 h 674476"/>
                <a:gd name="connsiteX2" fmla="*/ 203976 w 494979"/>
                <a:gd name="connsiteY2" fmla="*/ 152300 h 674476"/>
                <a:gd name="connsiteX3" fmla="*/ 201256 w 494979"/>
                <a:gd name="connsiteY3" fmla="*/ 168618 h 674476"/>
                <a:gd name="connsiteX4" fmla="*/ 198537 w 494979"/>
                <a:gd name="connsiteY4" fmla="*/ 184936 h 674476"/>
                <a:gd name="connsiteX5" fmla="*/ 190378 w 494979"/>
                <a:gd name="connsiteY5" fmla="*/ 220292 h 674476"/>
                <a:gd name="connsiteX6" fmla="*/ 171340 w 494979"/>
                <a:gd name="connsiteY6" fmla="*/ 291003 h 674476"/>
                <a:gd name="connsiteX7" fmla="*/ 163180 w 494979"/>
                <a:gd name="connsiteY7" fmla="*/ 323639 h 674476"/>
                <a:gd name="connsiteX8" fmla="*/ 152302 w 494979"/>
                <a:gd name="connsiteY8" fmla="*/ 361714 h 674476"/>
                <a:gd name="connsiteX9" fmla="*/ 146862 w 494979"/>
                <a:gd name="connsiteY9" fmla="*/ 388910 h 674476"/>
                <a:gd name="connsiteX10" fmla="*/ 152302 w 494979"/>
                <a:gd name="connsiteY10" fmla="*/ 391630 h 674476"/>
                <a:gd name="connsiteX11" fmla="*/ 174060 w 494979"/>
                <a:gd name="connsiteY11" fmla="*/ 391630 h 674476"/>
                <a:gd name="connsiteX12" fmla="*/ 195817 w 494979"/>
                <a:gd name="connsiteY12" fmla="*/ 388910 h 674476"/>
                <a:gd name="connsiteX13" fmla="*/ 214855 w 494979"/>
                <a:gd name="connsiteY13" fmla="*/ 388910 h 674476"/>
                <a:gd name="connsiteX14" fmla="*/ 239332 w 494979"/>
                <a:gd name="connsiteY14" fmla="*/ 388910 h 674476"/>
                <a:gd name="connsiteX15" fmla="*/ 252930 w 494979"/>
                <a:gd name="connsiteY15" fmla="*/ 386191 h 674476"/>
                <a:gd name="connsiteX16" fmla="*/ 261089 w 494979"/>
                <a:gd name="connsiteY16" fmla="*/ 386191 h 674476"/>
                <a:gd name="connsiteX17" fmla="*/ 258369 w 494979"/>
                <a:gd name="connsiteY17" fmla="*/ 367153 h 674476"/>
                <a:gd name="connsiteX18" fmla="*/ 252930 w 494979"/>
                <a:gd name="connsiteY18" fmla="*/ 331797 h 674476"/>
                <a:gd name="connsiteX19" fmla="*/ 250210 w 494979"/>
                <a:gd name="connsiteY19" fmla="*/ 244769 h 674476"/>
                <a:gd name="connsiteX20" fmla="*/ 244771 w 494979"/>
                <a:gd name="connsiteY20" fmla="*/ 203974 h 674476"/>
                <a:gd name="connsiteX21" fmla="*/ 239332 w 494979"/>
                <a:gd name="connsiteY21" fmla="*/ 157740 h 674476"/>
                <a:gd name="connsiteX22" fmla="*/ 236612 w 494979"/>
                <a:gd name="connsiteY22" fmla="*/ 119665 h 674476"/>
                <a:gd name="connsiteX23" fmla="*/ 228453 w 494979"/>
                <a:gd name="connsiteY23" fmla="*/ 97907 h 674476"/>
                <a:gd name="connsiteX24" fmla="*/ 274687 w 494979"/>
                <a:gd name="connsiteY24" fmla="*/ 0 h 674476"/>
                <a:gd name="connsiteX25" fmla="*/ 304603 w 494979"/>
                <a:gd name="connsiteY25" fmla="*/ 5439 h 674476"/>
                <a:gd name="connsiteX26" fmla="*/ 320921 w 494979"/>
                <a:gd name="connsiteY26" fmla="*/ 24477 h 674476"/>
                <a:gd name="connsiteX27" fmla="*/ 334519 w 494979"/>
                <a:gd name="connsiteY27" fmla="*/ 43515 h 674476"/>
                <a:gd name="connsiteX28" fmla="*/ 339959 w 494979"/>
                <a:gd name="connsiteY28" fmla="*/ 65272 h 674476"/>
                <a:gd name="connsiteX29" fmla="*/ 348118 w 494979"/>
                <a:gd name="connsiteY29" fmla="*/ 114226 h 674476"/>
                <a:gd name="connsiteX30" fmla="*/ 361716 w 494979"/>
                <a:gd name="connsiteY30" fmla="*/ 163180 h 674476"/>
                <a:gd name="connsiteX31" fmla="*/ 369875 w 494979"/>
                <a:gd name="connsiteY31" fmla="*/ 220293 h 674476"/>
                <a:gd name="connsiteX32" fmla="*/ 378034 w 494979"/>
                <a:gd name="connsiteY32" fmla="*/ 274686 h 674476"/>
                <a:gd name="connsiteX33" fmla="*/ 383473 w 494979"/>
                <a:gd name="connsiteY33" fmla="*/ 301883 h 674476"/>
                <a:gd name="connsiteX34" fmla="*/ 391632 w 494979"/>
                <a:gd name="connsiteY34" fmla="*/ 337238 h 674476"/>
                <a:gd name="connsiteX35" fmla="*/ 397071 w 494979"/>
                <a:gd name="connsiteY35" fmla="*/ 364435 h 674476"/>
                <a:gd name="connsiteX36" fmla="*/ 405230 w 494979"/>
                <a:gd name="connsiteY36" fmla="*/ 383473 h 674476"/>
                <a:gd name="connsiteX37" fmla="*/ 416109 w 494979"/>
                <a:gd name="connsiteY37" fmla="*/ 386192 h 674476"/>
                <a:gd name="connsiteX38" fmla="*/ 426988 w 494979"/>
                <a:gd name="connsiteY38" fmla="*/ 386192 h 674476"/>
                <a:gd name="connsiteX39" fmla="*/ 454184 w 494979"/>
                <a:gd name="connsiteY39" fmla="*/ 397071 h 674476"/>
                <a:gd name="connsiteX40" fmla="*/ 456904 w 494979"/>
                <a:gd name="connsiteY40" fmla="*/ 405230 h 674476"/>
                <a:gd name="connsiteX41" fmla="*/ 451465 w 494979"/>
                <a:gd name="connsiteY41" fmla="*/ 416108 h 674476"/>
                <a:gd name="connsiteX42" fmla="*/ 432427 w 494979"/>
                <a:gd name="connsiteY42" fmla="*/ 429707 h 674476"/>
                <a:gd name="connsiteX43" fmla="*/ 421548 w 494979"/>
                <a:gd name="connsiteY43" fmla="*/ 432426 h 674476"/>
                <a:gd name="connsiteX44" fmla="*/ 413389 w 494979"/>
                <a:gd name="connsiteY44" fmla="*/ 435146 h 674476"/>
                <a:gd name="connsiteX45" fmla="*/ 413389 w 494979"/>
                <a:gd name="connsiteY45" fmla="*/ 440585 h 674476"/>
                <a:gd name="connsiteX46" fmla="*/ 416109 w 494979"/>
                <a:gd name="connsiteY46" fmla="*/ 451464 h 674476"/>
                <a:gd name="connsiteX47" fmla="*/ 418829 w 494979"/>
                <a:gd name="connsiteY47" fmla="*/ 465062 h 674476"/>
                <a:gd name="connsiteX48" fmla="*/ 418829 w 494979"/>
                <a:gd name="connsiteY48" fmla="*/ 475941 h 674476"/>
                <a:gd name="connsiteX49" fmla="*/ 418829 w 494979"/>
                <a:gd name="connsiteY49" fmla="*/ 486820 h 674476"/>
                <a:gd name="connsiteX50" fmla="*/ 426988 w 494979"/>
                <a:gd name="connsiteY50" fmla="*/ 516736 h 674476"/>
                <a:gd name="connsiteX51" fmla="*/ 432427 w 494979"/>
                <a:gd name="connsiteY51" fmla="*/ 543932 h 674476"/>
                <a:gd name="connsiteX52" fmla="*/ 437866 w 494979"/>
                <a:gd name="connsiteY52" fmla="*/ 573848 h 674476"/>
                <a:gd name="connsiteX53" fmla="*/ 443306 w 494979"/>
                <a:gd name="connsiteY53" fmla="*/ 606484 h 674476"/>
                <a:gd name="connsiteX54" fmla="*/ 446025 w 494979"/>
                <a:gd name="connsiteY54" fmla="*/ 617363 h 674476"/>
                <a:gd name="connsiteX55" fmla="*/ 470502 w 494979"/>
                <a:gd name="connsiteY55" fmla="*/ 617363 h 674476"/>
                <a:gd name="connsiteX56" fmla="*/ 494979 w 494979"/>
                <a:gd name="connsiteY56" fmla="*/ 641840 h 674476"/>
                <a:gd name="connsiteX57" fmla="*/ 486820 w 494979"/>
                <a:gd name="connsiteY57" fmla="*/ 655438 h 674476"/>
                <a:gd name="connsiteX58" fmla="*/ 470502 w 494979"/>
                <a:gd name="connsiteY58" fmla="*/ 663597 h 674476"/>
                <a:gd name="connsiteX59" fmla="*/ 446025 w 494979"/>
                <a:gd name="connsiteY59" fmla="*/ 666317 h 674476"/>
                <a:gd name="connsiteX60" fmla="*/ 424268 w 494979"/>
                <a:gd name="connsiteY60" fmla="*/ 666317 h 674476"/>
                <a:gd name="connsiteX61" fmla="*/ 416109 w 494979"/>
                <a:gd name="connsiteY61" fmla="*/ 666317 h 674476"/>
                <a:gd name="connsiteX62" fmla="*/ 402511 w 494979"/>
                <a:gd name="connsiteY62" fmla="*/ 671756 h 674476"/>
                <a:gd name="connsiteX63" fmla="*/ 386193 w 494979"/>
                <a:gd name="connsiteY63" fmla="*/ 674476 h 674476"/>
                <a:gd name="connsiteX64" fmla="*/ 350837 w 494979"/>
                <a:gd name="connsiteY64" fmla="*/ 669036 h 674476"/>
                <a:gd name="connsiteX65" fmla="*/ 329080 w 494979"/>
                <a:gd name="connsiteY65" fmla="*/ 669036 h 674476"/>
                <a:gd name="connsiteX66" fmla="*/ 280126 w 494979"/>
                <a:gd name="connsiteY66" fmla="*/ 669036 h 674476"/>
                <a:gd name="connsiteX67" fmla="*/ 255649 w 494979"/>
                <a:gd name="connsiteY67" fmla="*/ 663597 h 674476"/>
                <a:gd name="connsiteX68" fmla="*/ 239331 w 494979"/>
                <a:gd name="connsiteY68" fmla="*/ 647279 h 674476"/>
                <a:gd name="connsiteX69" fmla="*/ 263808 w 494979"/>
                <a:gd name="connsiteY69" fmla="*/ 630961 h 674476"/>
                <a:gd name="connsiteX70" fmla="*/ 291005 w 494979"/>
                <a:gd name="connsiteY70" fmla="*/ 628241 h 674476"/>
                <a:gd name="connsiteX71" fmla="*/ 288285 w 494979"/>
                <a:gd name="connsiteY71" fmla="*/ 609204 h 674476"/>
                <a:gd name="connsiteX72" fmla="*/ 285565 w 494979"/>
                <a:gd name="connsiteY72" fmla="*/ 582007 h 674476"/>
                <a:gd name="connsiteX73" fmla="*/ 282846 w 494979"/>
                <a:gd name="connsiteY73" fmla="*/ 568409 h 674476"/>
                <a:gd name="connsiteX74" fmla="*/ 285565 w 494979"/>
                <a:gd name="connsiteY74" fmla="*/ 554811 h 674476"/>
                <a:gd name="connsiteX75" fmla="*/ 280126 w 494979"/>
                <a:gd name="connsiteY75" fmla="*/ 538493 h 674476"/>
                <a:gd name="connsiteX76" fmla="*/ 274687 w 494979"/>
                <a:gd name="connsiteY76" fmla="*/ 505857 h 674476"/>
                <a:gd name="connsiteX77" fmla="*/ 271967 w 494979"/>
                <a:gd name="connsiteY77" fmla="*/ 478660 h 674476"/>
                <a:gd name="connsiteX78" fmla="*/ 269247 w 494979"/>
                <a:gd name="connsiteY78" fmla="*/ 446025 h 674476"/>
                <a:gd name="connsiteX79" fmla="*/ 263808 w 494979"/>
                <a:gd name="connsiteY79" fmla="*/ 437866 h 674476"/>
                <a:gd name="connsiteX80" fmla="*/ 252929 w 494979"/>
                <a:gd name="connsiteY80" fmla="*/ 437866 h 674476"/>
                <a:gd name="connsiteX81" fmla="*/ 223013 w 494979"/>
                <a:gd name="connsiteY81" fmla="*/ 440585 h 674476"/>
                <a:gd name="connsiteX82" fmla="*/ 193097 w 494979"/>
                <a:gd name="connsiteY82" fmla="*/ 443305 h 674476"/>
                <a:gd name="connsiteX83" fmla="*/ 168620 w 494979"/>
                <a:gd name="connsiteY83" fmla="*/ 443305 h 674476"/>
                <a:gd name="connsiteX84" fmla="*/ 146862 w 494979"/>
                <a:gd name="connsiteY84" fmla="*/ 440585 h 674476"/>
                <a:gd name="connsiteX85" fmla="*/ 138703 w 494979"/>
                <a:gd name="connsiteY85" fmla="*/ 454184 h 674476"/>
                <a:gd name="connsiteX86" fmla="*/ 133263 w 494979"/>
                <a:gd name="connsiteY86" fmla="*/ 486820 h 674476"/>
                <a:gd name="connsiteX87" fmla="*/ 122385 w 494979"/>
                <a:gd name="connsiteY87" fmla="*/ 541213 h 674476"/>
                <a:gd name="connsiteX88" fmla="*/ 106067 w 494979"/>
                <a:gd name="connsiteY88" fmla="*/ 614643 h 674476"/>
                <a:gd name="connsiteX89" fmla="*/ 135983 w 494979"/>
                <a:gd name="connsiteY89" fmla="*/ 614643 h 674476"/>
                <a:gd name="connsiteX90" fmla="*/ 171340 w 494979"/>
                <a:gd name="connsiteY90" fmla="*/ 630961 h 674476"/>
                <a:gd name="connsiteX91" fmla="*/ 165900 w 494979"/>
                <a:gd name="connsiteY91" fmla="*/ 647279 h 674476"/>
                <a:gd name="connsiteX92" fmla="*/ 149581 w 494979"/>
                <a:gd name="connsiteY92" fmla="*/ 655438 h 674476"/>
                <a:gd name="connsiteX93" fmla="*/ 127824 w 494979"/>
                <a:gd name="connsiteY93" fmla="*/ 658158 h 674476"/>
                <a:gd name="connsiteX94" fmla="*/ 106067 w 494979"/>
                <a:gd name="connsiteY94" fmla="*/ 658158 h 674476"/>
                <a:gd name="connsiteX95" fmla="*/ 62552 w 494979"/>
                <a:gd name="connsiteY95" fmla="*/ 658158 h 674476"/>
                <a:gd name="connsiteX96" fmla="*/ 40795 w 494979"/>
                <a:gd name="connsiteY96" fmla="*/ 658158 h 674476"/>
                <a:gd name="connsiteX97" fmla="*/ 16318 w 494979"/>
                <a:gd name="connsiteY97" fmla="*/ 652718 h 674476"/>
                <a:gd name="connsiteX98" fmla="*/ 0 w 494979"/>
                <a:gd name="connsiteY98" fmla="*/ 636401 h 674476"/>
                <a:gd name="connsiteX99" fmla="*/ 2720 w 494979"/>
                <a:gd name="connsiteY99" fmla="*/ 628241 h 674476"/>
                <a:gd name="connsiteX100" fmla="*/ 24477 w 494979"/>
                <a:gd name="connsiteY100" fmla="*/ 620082 h 674476"/>
                <a:gd name="connsiteX101" fmla="*/ 62552 w 494979"/>
                <a:gd name="connsiteY101" fmla="*/ 617363 h 674476"/>
                <a:gd name="connsiteX102" fmla="*/ 62552 w 494979"/>
                <a:gd name="connsiteY102" fmla="*/ 614643 h 674476"/>
                <a:gd name="connsiteX103" fmla="*/ 65272 w 494979"/>
                <a:gd name="connsiteY103" fmla="*/ 587447 h 674476"/>
                <a:gd name="connsiteX104" fmla="*/ 76151 w 494979"/>
                <a:gd name="connsiteY104" fmla="*/ 522175 h 674476"/>
                <a:gd name="connsiteX105" fmla="*/ 87029 w 494979"/>
                <a:gd name="connsiteY105" fmla="*/ 470501 h 674476"/>
                <a:gd name="connsiteX106" fmla="*/ 92469 w 494979"/>
                <a:gd name="connsiteY106" fmla="*/ 446025 h 674476"/>
                <a:gd name="connsiteX107" fmla="*/ 65272 w 494979"/>
                <a:gd name="connsiteY107" fmla="*/ 432426 h 674476"/>
                <a:gd name="connsiteX108" fmla="*/ 54393 w 494979"/>
                <a:gd name="connsiteY108" fmla="*/ 421548 h 674476"/>
                <a:gd name="connsiteX109" fmla="*/ 73431 w 494979"/>
                <a:gd name="connsiteY109" fmla="*/ 407949 h 674476"/>
                <a:gd name="connsiteX110" fmla="*/ 100628 w 494979"/>
                <a:gd name="connsiteY110" fmla="*/ 399790 h 674476"/>
                <a:gd name="connsiteX111" fmla="*/ 108787 w 494979"/>
                <a:gd name="connsiteY111" fmla="*/ 369874 h 674476"/>
                <a:gd name="connsiteX112" fmla="*/ 125105 w 494979"/>
                <a:gd name="connsiteY112" fmla="*/ 307322 h 674476"/>
                <a:gd name="connsiteX113" fmla="*/ 141423 w 494979"/>
                <a:gd name="connsiteY113" fmla="*/ 242051 h 674476"/>
                <a:gd name="connsiteX114" fmla="*/ 155021 w 494979"/>
                <a:gd name="connsiteY114" fmla="*/ 179498 h 674476"/>
                <a:gd name="connsiteX115" fmla="*/ 168620 w 494979"/>
                <a:gd name="connsiteY115" fmla="*/ 119665 h 674476"/>
                <a:gd name="connsiteX116" fmla="*/ 193097 w 494979"/>
                <a:gd name="connsiteY116" fmla="*/ 57113 h 674476"/>
                <a:gd name="connsiteX117" fmla="*/ 201256 w 494979"/>
                <a:gd name="connsiteY117" fmla="*/ 38075 h 674476"/>
                <a:gd name="connsiteX118" fmla="*/ 217574 w 494979"/>
                <a:gd name="connsiteY118" fmla="*/ 13598 h 674476"/>
                <a:gd name="connsiteX119" fmla="*/ 274687 w 494979"/>
                <a:gd name="connsiteY119" fmla="*/ 0 h 6744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</a:cxnLst>
              <a:rect l="l" t="t" r="r" b="b"/>
              <a:pathLst>
                <a:path w="494979" h="674476">
                  <a:moveTo>
                    <a:pt x="228453" y="97907"/>
                  </a:moveTo>
                  <a:cubicBezTo>
                    <a:pt x="220294" y="97907"/>
                    <a:pt x="212135" y="114225"/>
                    <a:pt x="212135" y="119665"/>
                  </a:cubicBezTo>
                  <a:cubicBezTo>
                    <a:pt x="209415" y="130543"/>
                    <a:pt x="206696" y="144141"/>
                    <a:pt x="203976" y="152300"/>
                  </a:cubicBezTo>
                  <a:cubicBezTo>
                    <a:pt x="201256" y="157740"/>
                    <a:pt x="201256" y="163179"/>
                    <a:pt x="201256" y="168618"/>
                  </a:cubicBezTo>
                  <a:cubicBezTo>
                    <a:pt x="201256" y="174058"/>
                    <a:pt x="198537" y="179497"/>
                    <a:pt x="198537" y="184936"/>
                  </a:cubicBezTo>
                  <a:cubicBezTo>
                    <a:pt x="195817" y="195815"/>
                    <a:pt x="193097" y="209413"/>
                    <a:pt x="190378" y="220292"/>
                  </a:cubicBezTo>
                  <a:cubicBezTo>
                    <a:pt x="187658" y="244769"/>
                    <a:pt x="179499" y="269246"/>
                    <a:pt x="171340" y="291003"/>
                  </a:cubicBezTo>
                  <a:cubicBezTo>
                    <a:pt x="168620" y="301881"/>
                    <a:pt x="165900" y="312760"/>
                    <a:pt x="163180" y="323639"/>
                  </a:cubicBezTo>
                  <a:cubicBezTo>
                    <a:pt x="160461" y="337237"/>
                    <a:pt x="157741" y="348115"/>
                    <a:pt x="152302" y="361714"/>
                  </a:cubicBezTo>
                  <a:cubicBezTo>
                    <a:pt x="149582" y="367153"/>
                    <a:pt x="146862" y="383471"/>
                    <a:pt x="146862" y="388910"/>
                  </a:cubicBezTo>
                  <a:cubicBezTo>
                    <a:pt x="146862" y="391630"/>
                    <a:pt x="149582" y="391630"/>
                    <a:pt x="152302" y="391630"/>
                  </a:cubicBezTo>
                  <a:cubicBezTo>
                    <a:pt x="157741" y="391630"/>
                    <a:pt x="171340" y="391630"/>
                    <a:pt x="174060" y="391630"/>
                  </a:cubicBezTo>
                  <a:cubicBezTo>
                    <a:pt x="182219" y="391630"/>
                    <a:pt x="190378" y="391630"/>
                    <a:pt x="195817" y="388910"/>
                  </a:cubicBezTo>
                  <a:cubicBezTo>
                    <a:pt x="201256" y="388910"/>
                    <a:pt x="206696" y="388910"/>
                    <a:pt x="214855" y="388910"/>
                  </a:cubicBezTo>
                  <a:cubicBezTo>
                    <a:pt x="220294" y="388910"/>
                    <a:pt x="228453" y="388910"/>
                    <a:pt x="239332" y="388910"/>
                  </a:cubicBezTo>
                  <a:cubicBezTo>
                    <a:pt x="244771" y="388910"/>
                    <a:pt x="250210" y="388910"/>
                    <a:pt x="252930" y="386191"/>
                  </a:cubicBezTo>
                  <a:cubicBezTo>
                    <a:pt x="258369" y="391630"/>
                    <a:pt x="261089" y="388910"/>
                    <a:pt x="261089" y="386191"/>
                  </a:cubicBezTo>
                  <a:cubicBezTo>
                    <a:pt x="261089" y="380751"/>
                    <a:pt x="258369" y="372592"/>
                    <a:pt x="258369" y="367153"/>
                  </a:cubicBezTo>
                  <a:cubicBezTo>
                    <a:pt x="255650" y="353555"/>
                    <a:pt x="252930" y="342676"/>
                    <a:pt x="252930" y="331797"/>
                  </a:cubicBezTo>
                  <a:cubicBezTo>
                    <a:pt x="252930" y="301881"/>
                    <a:pt x="252930" y="274685"/>
                    <a:pt x="250210" y="244769"/>
                  </a:cubicBezTo>
                  <a:cubicBezTo>
                    <a:pt x="250210" y="231170"/>
                    <a:pt x="247491" y="217572"/>
                    <a:pt x="244771" y="203974"/>
                  </a:cubicBezTo>
                  <a:cubicBezTo>
                    <a:pt x="242051" y="187656"/>
                    <a:pt x="239332" y="174058"/>
                    <a:pt x="239332" y="157740"/>
                  </a:cubicBezTo>
                  <a:cubicBezTo>
                    <a:pt x="239332" y="152300"/>
                    <a:pt x="239332" y="133263"/>
                    <a:pt x="236612" y="119665"/>
                  </a:cubicBezTo>
                  <a:cubicBezTo>
                    <a:pt x="236612" y="106066"/>
                    <a:pt x="233892" y="97907"/>
                    <a:pt x="228453" y="97907"/>
                  </a:cubicBezTo>
                  <a:close/>
                  <a:moveTo>
                    <a:pt x="274687" y="0"/>
                  </a:moveTo>
                  <a:cubicBezTo>
                    <a:pt x="288285" y="0"/>
                    <a:pt x="293724" y="2720"/>
                    <a:pt x="304603" y="5439"/>
                  </a:cubicBezTo>
                  <a:cubicBezTo>
                    <a:pt x="315482" y="10879"/>
                    <a:pt x="315482" y="16318"/>
                    <a:pt x="320921" y="24477"/>
                  </a:cubicBezTo>
                  <a:cubicBezTo>
                    <a:pt x="326360" y="29916"/>
                    <a:pt x="331800" y="35356"/>
                    <a:pt x="334519" y="43515"/>
                  </a:cubicBezTo>
                  <a:cubicBezTo>
                    <a:pt x="337239" y="51674"/>
                    <a:pt x="337239" y="57113"/>
                    <a:pt x="339959" y="65272"/>
                  </a:cubicBezTo>
                  <a:cubicBezTo>
                    <a:pt x="345398" y="78870"/>
                    <a:pt x="342678" y="97908"/>
                    <a:pt x="348118" y="114226"/>
                  </a:cubicBezTo>
                  <a:cubicBezTo>
                    <a:pt x="350837" y="130544"/>
                    <a:pt x="358996" y="146863"/>
                    <a:pt x="361716" y="163180"/>
                  </a:cubicBezTo>
                  <a:cubicBezTo>
                    <a:pt x="364435" y="182218"/>
                    <a:pt x="364435" y="201256"/>
                    <a:pt x="369875" y="220293"/>
                  </a:cubicBezTo>
                  <a:cubicBezTo>
                    <a:pt x="375314" y="239331"/>
                    <a:pt x="378034" y="255649"/>
                    <a:pt x="378034" y="274686"/>
                  </a:cubicBezTo>
                  <a:cubicBezTo>
                    <a:pt x="378034" y="282845"/>
                    <a:pt x="380753" y="293724"/>
                    <a:pt x="383473" y="301883"/>
                  </a:cubicBezTo>
                  <a:cubicBezTo>
                    <a:pt x="386193" y="312762"/>
                    <a:pt x="388912" y="326360"/>
                    <a:pt x="391632" y="337238"/>
                  </a:cubicBezTo>
                  <a:cubicBezTo>
                    <a:pt x="391632" y="342678"/>
                    <a:pt x="394352" y="353556"/>
                    <a:pt x="397071" y="364435"/>
                  </a:cubicBezTo>
                  <a:cubicBezTo>
                    <a:pt x="399791" y="372594"/>
                    <a:pt x="402511" y="380753"/>
                    <a:pt x="405230" y="383473"/>
                  </a:cubicBezTo>
                  <a:cubicBezTo>
                    <a:pt x="407950" y="386192"/>
                    <a:pt x="413389" y="386192"/>
                    <a:pt x="416109" y="386192"/>
                  </a:cubicBezTo>
                  <a:cubicBezTo>
                    <a:pt x="418829" y="386192"/>
                    <a:pt x="424268" y="386192"/>
                    <a:pt x="426988" y="386192"/>
                  </a:cubicBezTo>
                  <a:cubicBezTo>
                    <a:pt x="437866" y="386192"/>
                    <a:pt x="448745" y="388912"/>
                    <a:pt x="454184" y="397071"/>
                  </a:cubicBezTo>
                  <a:cubicBezTo>
                    <a:pt x="456904" y="399790"/>
                    <a:pt x="456904" y="402510"/>
                    <a:pt x="456904" y="405230"/>
                  </a:cubicBezTo>
                  <a:cubicBezTo>
                    <a:pt x="456904" y="407949"/>
                    <a:pt x="454184" y="410669"/>
                    <a:pt x="451465" y="416108"/>
                  </a:cubicBezTo>
                  <a:cubicBezTo>
                    <a:pt x="446025" y="421548"/>
                    <a:pt x="440586" y="426987"/>
                    <a:pt x="432427" y="429707"/>
                  </a:cubicBezTo>
                  <a:cubicBezTo>
                    <a:pt x="429707" y="429707"/>
                    <a:pt x="426988" y="432426"/>
                    <a:pt x="421548" y="432426"/>
                  </a:cubicBezTo>
                  <a:cubicBezTo>
                    <a:pt x="418829" y="432426"/>
                    <a:pt x="416109" y="432426"/>
                    <a:pt x="413389" y="435146"/>
                  </a:cubicBezTo>
                  <a:cubicBezTo>
                    <a:pt x="413389" y="435146"/>
                    <a:pt x="413389" y="437866"/>
                    <a:pt x="413389" y="440585"/>
                  </a:cubicBezTo>
                  <a:cubicBezTo>
                    <a:pt x="413389" y="443305"/>
                    <a:pt x="413389" y="448744"/>
                    <a:pt x="416109" y="451464"/>
                  </a:cubicBezTo>
                  <a:cubicBezTo>
                    <a:pt x="416109" y="456903"/>
                    <a:pt x="418829" y="462343"/>
                    <a:pt x="418829" y="465062"/>
                  </a:cubicBezTo>
                  <a:lnTo>
                    <a:pt x="418829" y="475941"/>
                  </a:lnTo>
                  <a:cubicBezTo>
                    <a:pt x="418829" y="481380"/>
                    <a:pt x="418829" y="484100"/>
                    <a:pt x="418829" y="486820"/>
                  </a:cubicBezTo>
                  <a:cubicBezTo>
                    <a:pt x="421548" y="497698"/>
                    <a:pt x="424268" y="505857"/>
                    <a:pt x="426988" y="516736"/>
                  </a:cubicBezTo>
                  <a:cubicBezTo>
                    <a:pt x="426988" y="524895"/>
                    <a:pt x="429707" y="535773"/>
                    <a:pt x="432427" y="543932"/>
                  </a:cubicBezTo>
                  <a:cubicBezTo>
                    <a:pt x="435147" y="554811"/>
                    <a:pt x="437866" y="562970"/>
                    <a:pt x="437866" y="573848"/>
                  </a:cubicBezTo>
                  <a:cubicBezTo>
                    <a:pt x="437866" y="587447"/>
                    <a:pt x="440586" y="595606"/>
                    <a:pt x="443306" y="606484"/>
                  </a:cubicBezTo>
                  <a:cubicBezTo>
                    <a:pt x="443306" y="609204"/>
                    <a:pt x="446025" y="614643"/>
                    <a:pt x="446025" y="617363"/>
                  </a:cubicBezTo>
                  <a:cubicBezTo>
                    <a:pt x="454184" y="617363"/>
                    <a:pt x="462343" y="617363"/>
                    <a:pt x="470502" y="617363"/>
                  </a:cubicBezTo>
                  <a:cubicBezTo>
                    <a:pt x="478661" y="625522"/>
                    <a:pt x="492259" y="630961"/>
                    <a:pt x="494979" y="641840"/>
                  </a:cubicBezTo>
                  <a:cubicBezTo>
                    <a:pt x="494979" y="647279"/>
                    <a:pt x="489540" y="649999"/>
                    <a:pt x="486820" y="655438"/>
                  </a:cubicBezTo>
                  <a:cubicBezTo>
                    <a:pt x="484100" y="660877"/>
                    <a:pt x="475942" y="663597"/>
                    <a:pt x="470502" y="663597"/>
                  </a:cubicBezTo>
                  <a:cubicBezTo>
                    <a:pt x="459623" y="666317"/>
                    <a:pt x="454184" y="666317"/>
                    <a:pt x="446025" y="666317"/>
                  </a:cubicBezTo>
                  <a:cubicBezTo>
                    <a:pt x="440586" y="666317"/>
                    <a:pt x="432427" y="666317"/>
                    <a:pt x="424268" y="666317"/>
                  </a:cubicBezTo>
                  <a:cubicBezTo>
                    <a:pt x="421548" y="666317"/>
                    <a:pt x="418829" y="666317"/>
                    <a:pt x="416109" y="666317"/>
                  </a:cubicBezTo>
                  <a:cubicBezTo>
                    <a:pt x="410670" y="669036"/>
                    <a:pt x="407950" y="669036"/>
                    <a:pt x="402511" y="671756"/>
                  </a:cubicBezTo>
                  <a:cubicBezTo>
                    <a:pt x="397071" y="671756"/>
                    <a:pt x="391632" y="674476"/>
                    <a:pt x="386193" y="674476"/>
                  </a:cubicBezTo>
                  <a:cubicBezTo>
                    <a:pt x="375314" y="674476"/>
                    <a:pt x="361716" y="671756"/>
                    <a:pt x="350837" y="669036"/>
                  </a:cubicBezTo>
                  <a:cubicBezTo>
                    <a:pt x="342678" y="669036"/>
                    <a:pt x="334519" y="669036"/>
                    <a:pt x="329080" y="669036"/>
                  </a:cubicBezTo>
                  <a:cubicBezTo>
                    <a:pt x="307323" y="669036"/>
                    <a:pt x="288285" y="669036"/>
                    <a:pt x="280126" y="669036"/>
                  </a:cubicBezTo>
                  <a:cubicBezTo>
                    <a:pt x="271967" y="669036"/>
                    <a:pt x="261088" y="669036"/>
                    <a:pt x="255649" y="663597"/>
                  </a:cubicBezTo>
                  <a:cubicBezTo>
                    <a:pt x="250210" y="660877"/>
                    <a:pt x="239331" y="655438"/>
                    <a:pt x="239331" y="647279"/>
                  </a:cubicBezTo>
                  <a:cubicBezTo>
                    <a:pt x="239331" y="636401"/>
                    <a:pt x="255649" y="633681"/>
                    <a:pt x="263808" y="630961"/>
                  </a:cubicBezTo>
                  <a:cubicBezTo>
                    <a:pt x="269247" y="630961"/>
                    <a:pt x="277406" y="630961"/>
                    <a:pt x="291005" y="628241"/>
                  </a:cubicBezTo>
                  <a:cubicBezTo>
                    <a:pt x="291005" y="620082"/>
                    <a:pt x="291005" y="614643"/>
                    <a:pt x="288285" y="609204"/>
                  </a:cubicBezTo>
                  <a:cubicBezTo>
                    <a:pt x="288285" y="601045"/>
                    <a:pt x="285565" y="590166"/>
                    <a:pt x="285565" y="582007"/>
                  </a:cubicBezTo>
                  <a:cubicBezTo>
                    <a:pt x="285565" y="576568"/>
                    <a:pt x="282846" y="573848"/>
                    <a:pt x="282846" y="568409"/>
                  </a:cubicBezTo>
                  <a:cubicBezTo>
                    <a:pt x="282846" y="562970"/>
                    <a:pt x="285565" y="557531"/>
                    <a:pt x="285565" y="554811"/>
                  </a:cubicBezTo>
                  <a:cubicBezTo>
                    <a:pt x="285565" y="549371"/>
                    <a:pt x="282846" y="546652"/>
                    <a:pt x="280126" y="538493"/>
                  </a:cubicBezTo>
                  <a:cubicBezTo>
                    <a:pt x="280126" y="527614"/>
                    <a:pt x="274687" y="516736"/>
                    <a:pt x="274687" y="505857"/>
                  </a:cubicBezTo>
                  <a:cubicBezTo>
                    <a:pt x="274687" y="494978"/>
                    <a:pt x="274687" y="486820"/>
                    <a:pt x="271967" y="478660"/>
                  </a:cubicBezTo>
                  <a:cubicBezTo>
                    <a:pt x="269247" y="467782"/>
                    <a:pt x="269247" y="456903"/>
                    <a:pt x="269247" y="446025"/>
                  </a:cubicBezTo>
                  <a:cubicBezTo>
                    <a:pt x="269247" y="440585"/>
                    <a:pt x="266528" y="437866"/>
                    <a:pt x="263808" y="437866"/>
                  </a:cubicBezTo>
                  <a:cubicBezTo>
                    <a:pt x="261088" y="437866"/>
                    <a:pt x="258369" y="437866"/>
                    <a:pt x="252929" y="437866"/>
                  </a:cubicBezTo>
                  <a:cubicBezTo>
                    <a:pt x="242051" y="437866"/>
                    <a:pt x="231172" y="437866"/>
                    <a:pt x="223013" y="440585"/>
                  </a:cubicBezTo>
                  <a:cubicBezTo>
                    <a:pt x="212135" y="440585"/>
                    <a:pt x="203976" y="443305"/>
                    <a:pt x="193097" y="443305"/>
                  </a:cubicBezTo>
                  <a:cubicBezTo>
                    <a:pt x="184938" y="443305"/>
                    <a:pt x="176779" y="443305"/>
                    <a:pt x="168620" y="443305"/>
                  </a:cubicBezTo>
                  <a:cubicBezTo>
                    <a:pt x="165900" y="443305"/>
                    <a:pt x="155021" y="440585"/>
                    <a:pt x="146862" y="440585"/>
                  </a:cubicBezTo>
                  <a:cubicBezTo>
                    <a:pt x="138703" y="440585"/>
                    <a:pt x="138703" y="448744"/>
                    <a:pt x="138703" y="454184"/>
                  </a:cubicBezTo>
                  <a:cubicBezTo>
                    <a:pt x="138703" y="465062"/>
                    <a:pt x="135983" y="475941"/>
                    <a:pt x="133263" y="486820"/>
                  </a:cubicBezTo>
                  <a:cubicBezTo>
                    <a:pt x="130544" y="505857"/>
                    <a:pt x="125105" y="522175"/>
                    <a:pt x="122385" y="541213"/>
                  </a:cubicBezTo>
                  <a:cubicBezTo>
                    <a:pt x="119665" y="560250"/>
                    <a:pt x="111506" y="595606"/>
                    <a:pt x="106067" y="614643"/>
                  </a:cubicBezTo>
                  <a:cubicBezTo>
                    <a:pt x="114226" y="614643"/>
                    <a:pt x="125105" y="614643"/>
                    <a:pt x="135983" y="614643"/>
                  </a:cubicBezTo>
                  <a:cubicBezTo>
                    <a:pt x="149581" y="614643"/>
                    <a:pt x="171340" y="614643"/>
                    <a:pt x="171340" y="630961"/>
                  </a:cubicBezTo>
                  <a:cubicBezTo>
                    <a:pt x="171340" y="639120"/>
                    <a:pt x="168620" y="639120"/>
                    <a:pt x="165900" y="647279"/>
                  </a:cubicBezTo>
                  <a:cubicBezTo>
                    <a:pt x="163181" y="652718"/>
                    <a:pt x="155021" y="655438"/>
                    <a:pt x="149581" y="655438"/>
                  </a:cubicBezTo>
                  <a:cubicBezTo>
                    <a:pt x="141423" y="658158"/>
                    <a:pt x="135983" y="658158"/>
                    <a:pt x="127824" y="658158"/>
                  </a:cubicBezTo>
                  <a:cubicBezTo>
                    <a:pt x="122385" y="658158"/>
                    <a:pt x="116946" y="658158"/>
                    <a:pt x="106067" y="658158"/>
                  </a:cubicBezTo>
                  <a:cubicBezTo>
                    <a:pt x="92469" y="658158"/>
                    <a:pt x="78870" y="658158"/>
                    <a:pt x="62552" y="658158"/>
                  </a:cubicBezTo>
                  <a:cubicBezTo>
                    <a:pt x="54393" y="658158"/>
                    <a:pt x="46234" y="658158"/>
                    <a:pt x="40795" y="658158"/>
                  </a:cubicBezTo>
                  <a:cubicBezTo>
                    <a:pt x="32636" y="658158"/>
                    <a:pt x="21758" y="658158"/>
                    <a:pt x="16318" y="652718"/>
                  </a:cubicBezTo>
                  <a:cubicBezTo>
                    <a:pt x="8159" y="649999"/>
                    <a:pt x="0" y="641840"/>
                    <a:pt x="0" y="636401"/>
                  </a:cubicBezTo>
                  <a:cubicBezTo>
                    <a:pt x="0" y="633681"/>
                    <a:pt x="0" y="630961"/>
                    <a:pt x="2720" y="628241"/>
                  </a:cubicBezTo>
                  <a:cubicBezTo>
                    <a:pt x="8159" y="625522"/>
                    <a:pt x="16318" y="622802"/>
                    <a:pt x="24477" y="620082"/>
                  </a:cubicBezTo>
                  <a:cubicBezTo>
                    <a:pt x="38075" y="617363"/>
                    <a:pt x="48954" y="617363"/>
                    <a:pt x="62552" y="617363"/>
                  </a:cubicBezTo>
                  <a:cubicBezTo>
                    <a:pt x="62552" y="617363"/>
                    <a:pt x="62552" y="614643"/>
                    <a:pt x="62552" y="614643"/>
                  </a:cubicBezTo>
                  <a:cubicBezTo>
                    <a:pt x="62552" y="603765"/>
                    <a:pt x="65272" y="590166"/>
                    <a:pt x="65272" y="587447"/>
                  </a:cubicBezTo>
                  <a:cubicBezTo>
                    <a:pt x="67992" y="565689"/>
                    <a:pt x="73431" y="543932"/>
                    <a:pt x="76151" y="522175"/>
                  </a:cubicBezTo>
                  <a:cubicBezTo>
                    <a:pt x="78870" y="505857"/>
                    <a:pt x="81590" y="486820"/>
                    <a:pt x="87029" y="470501"/>
                  </a:cubicBezTo>
                  <a:cubicBezTo>
                    <a:pt x="87029" y="465062"/>
                    <a:pt x="92469" y="451464"/>
                    <a:pt x="92469" y="446025"/>
                  </a:cubicBezTo>
                  <a:cubicBezTo>
                    <a:pt x="92469" y="437866"/>
                    <a:pt x="73431" y="437866"/>
                    <a:pt x="65272" y="432426"/>
                  </a:cubicBezTo>
                  <a:cubicBezTo>
                    <a:pt x="59833" y="429707"/>
                    <a:pt x="54393" y="426987"/>
                    <a:pt x="54393" y="421548"/>
                  </a:cubicBezTo>
                  <a:cubicBezTo>
                    <a:pt x="54393" y="413389"/>
                    <a:pt x="62552" y="410669"/>
                    <a:pt x="73431" y="407949"/>
                  </a:cubicBezTo>
                  <a:cubicBezTo>
                    <a:pt x="78870" y="407949"/>
                    <a:pt x="92469" y="405230"/>
                    <a:pt x="100628" y="399790"/>
                  </a:cubicBezTo>
                  <a:cubicBezTo>
                    <a:pt x="106067" y="394351"/>
                    <a:pt x="106067" y="378033"/>
                    <a:pt x="108787" y="369874"/>
                  </a:cubicBezTo>
                  <a:cubicBezTo>
                    <a:pt x="114226" y="348117"/>
                    <a:pt x="119665" y="326360"/>
                    <a:pt x="125105" y="307322"/>
                  </a:cubicBezTo>
                  <a:cubicBezTo>
                    <a:pt x="130544" y="285565"/>
                    <a:pt x="135983" y="263808"/>
                    <a:pt x="141423" y="242051"/>
                  </a:cubicBezTo>
                  <a:cubicBezTo>
                    <a:pt x="146862" y="220293"/>
                    <a:pt x="152301" y="198536"/>
                    <a:pt x="155021" y="179498"/>
                  </a:cubicBezTo>
                  <a:cubicBezTo>
                    <a:pt x="157740" y="160461"/>
                    <a:pt x="163181" y="138703"/>
                    <a:pt x="168620" y="119665"/>
                  </a:cubicBezTo>
                  <a:cubicBezTo>
                    <a:pt x="176779" y="100627"/>
                    <a:pt x="182218" y="76150"/>
                    <a:pt x="193097" y="57113"/>
                  </a:cubicBezTo>
                  <a:lnTo>
                    <a:pt x="201256" y="38075"/>
                  </a:lnTo>
                  <a:cubicBezTo>
                    <a:pt x="206695" y="29916"/>
                    <a:pt x="209415" y="19038"/>
                    <a:pt x="217574" y="13598"/>
                  </a:cubicBezTo>
                  <a:cubicBezTo>
                    <a:pt x="231172" y="2720"/>
                    <a:pt x="255649" y="0"/>
                    <a:pt x="274687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>
                <a:solidFill>
                  <a:srgbClr val="FFFFFF"/>
                </a:solidFill>
              </a:endParaRPr>
            </a:p>
          </p:txBody>
        </p:sp>
        <p:sp>
          <p:nvSpPr>
            <p:cNvPr id="38" name="Freeform: Shape 37">
              <a:extLst>
                <a:ext uri="{FF2B5EF4-FFF2-40B4-BE49-F238E27FC236}">
                  <a16:creationId xmlns:a16="http://schemas.microsoft.com/office/drawing/2014/main" id="{C6CA1296-E56E-4964-A66F-3EB3E89A1239}"/>
                </a:ext>
              </a:extLst>
            </p:cNvPr>
            <p:cNvSpPr/>
            <p:nvPr/>
          </p:nvSpPr>
          <p:spPr>
            <a:xfrm>
              <a:off x="3443268" y="4186718"/>
              <a:ext cx="435145" cy="761503"/>
            </a:xfrm>
            <a:custGeom>
              <a:avLst/>
              <a:gdLst>
                <a:gd name="connsiteX0" fmla="*/ 400855 w 435145"/>
                <a:gd name="connsiteY0" fmla="*/ 678260 h 761503"/>
                <a:gd name="connsiteX1" fmla="*/ 384537 w 435145"/>
                <a:gd name="connsiteY1" fmla="*/ 719054 h 761503"/>
                <a:gd name="connsiteX2" fmla="*/ 368219 w 435145"/>
                <a:gd name="connsiteY2" fmla="*/ 713615 h 761503"/>
                <a:gd name="connsiteX3" fmla="*/ 360060 w 435145"/>
                <a:gd name="connsiteY3" fmla="*/ 697297 h 761503"/>
                <a:gd name="connsiteX4" fmla="*/ 360060 w 435145"/>
                <a:gd name="connsiteY4" fmla="*/ 651063 h 761503"/>
                <a:gd name="connsiteX5" fmla="*/ 332864 w 435145"/>
                <a:gd name="connsiteY5" fmla="*/ 686418 h 761503"/>
                <a:gd name="connsiteX6" fmla="*/ 251274 w 435145"/>
                <a:gd name="connsiteY6" fmla="*/ 721774 h 761503"/>
                <a:gd name="connsiteX7" fmla="*/ 229517 w 435145"/>
                <a:gd name="connsiteY7" fmla="*/ 719054 h 761503"/>
                <a:gd name="connsiteX8" fmla="*/ 158806 w 435145"/>
                <a:gd name="connsiteY8" fmla="*/ 694578 h 761503"/>
                <a:gd name="connsiteX9" fmla="*/ 112571 w 435145"/>
                <a:gd name="connsiteY9" fmla="*/ 659222 h 761503"/>
                <a:gd name="connsiteX10" fmla="*/ 79936 w 435145"/>
                <a:gd name="connsiteY10" fmla="*/ 607548 h 761503"/>
                <a:gd name="connsiteX11" fmla="*/ 63618 w 435145"/>
                <a:gd name="connsiteY11" fmla="*/ 542277 h 761503"/>
                <a:gd name="connsiteX12" fmla="*/ 58178 w 435145"/>
                <a:gd name="connsiteY12" fmla="*/ 471566 h 761503"/>
                <a:gd name="connsiteX13" fmla="*/ 60898 w 435145"/>
                <a:gd name="connsiteY13" fmla="*/ 400855 h 761503"/>
                <a:gd name="connsiteX14" fmla="*/ 66337 w 435145"/>
                <a:gd name="connsiteY14" fmla="*/ 335583 h 761503"/>
                <a:gd name="connsiteX15" fmla="*/ 85375 w 435145"/>
                <a:gd name="connsiteY15" fmla="*/ 267592 h 761503"/>
                <a:gd name="connsiteX16" fmla="*/ 109852 w 435145"/>
                <a:gd name="connsiteY16" fmla="*/ 199600 h 761503"/>
                <a:gd name="connsiteX17" fmla="*/ 145207 w 435145"/>
                <a:gd name="connsiteY17" fmla="*/ 145207 h 761503"/>
                <a:gd name="connsiteX18" fmla="*/ 188722 w 435145"/>
                <a:gd name="connsiteY18" fmla="*/ 96253 h 761503"/>
                <a:gd name="connsiteX19" fmla="*/ 243115 w 435145"/>
                <a:gd name="connsiteY19" fmla="*/ 71776 h 761503"/>
                <a:gd name="connsiteX20" fmla="*/ 286630 w 435145"/>
                <a:gd name="connsiteY20" fmla="*/ 63617 h 761503"/>
                <a:gd name="connsiteX21" fmla="*/ 305667 w 435145"/>
                <a:gd name="connsiteY21" fmla="*/ 66337 h 761503"/>
                <a:gd name="connsiteX22" fmla="*/ 324705 w 435145"/>
                <a:gd name="connsiteY22" fmla="*/ 79936 h 761503"/>
                <a:gd name="connsiteX23" fmla="*/ 341023 w 435145"/>
                <a:gd name="connsiteY23" fmla="*/ 101693 h 761503"/>
                <a:gd name="connsiteX24" fmla="*/ 354621 w 435145"/>
                <a:gd name="connsiteY24" fmla="*/ 123450 h 761503"/>
                <a:gd name="connsiteX25" fmla="*/ 354621 w 435145"/>
                <a:gd name="connsiteY25" fmla="*/ 98973 h 761503"/>
                <a:gd name="connsiteX26" fmla="*/ 360060 w 435145"/>
                <a:gd name="connsiteY26" fmla="*/ 74496 h 761503"/>
                <a:gd name="connsiteX27" fmla="*/ 365500 w 435145"/>
                <a:gd name="connsiteY27" fmla="*/ 63617 h 761503"/>
                <a:gd name="connsiteX28" fmla="*/ 373659 w 435145"/>
                <a:gd name="connsiteY28" fmla="*/ 58178 h 761503"/>
                <a:gd name="connsiteX29" fmla="*/ 381818 w 435145"/>
                <a:gd name="connsiteY29" fmla="*/ 63617 h 761503"/>
                <a:gd name="connsiteX30" fmla="*/ 389977 w 435145"/>
                <a:gd name="connsiteY30" fmla="*/ 82655 h 761503"/>
                <a:gd name="connsiteX31" fmla="*/ 392696 w 435145"/>
                <a:gd name="connsiteY31" fmla="*/ 126170 h 761503"/>
                <a:gd name="connsiteX32" fmla="*/ 395416 w 435145"/>
                <a:gd name="connsiteY32" fmla="*/ 186002 h 761503"/>
                <a:gd name="connsiteX33" fmla="*/ 398136 w 435145"/>
                <a:gd name="connsiteY33" fmla="*/ 237675 h 761503"/>
                <a:gd name="connsiteX34" fmla="*/ 398136 w 435145"/>
                <a:gd name="connsiteY34" fmla="*/ 243115 h 761503"/>
                <a:gd name="connsiteX35" fmla="*/ 395416 w 435145"/>
                <a:gd name="connsiteY35" fmla="*/ 256713 h 761503"/>
                <a:gd name="connsiteX36" fmla="*/ 379098 w 435145"/>
                <a:gd name="connsiteY36" fmla="*/ 278470 h 761503"/>
                <a:gd name="connsiteX37" fmla="*/ 362780 w 435145"/>
                <a:gd name="connsiteY37" fmla="*/ 273031 h 761503"/>
                <a:gd name="connsiteX38" fmla="*/ 354621 w 435145"/>
                <a:gd name="connsiteY38" fmla="*/ 256713 h 761503"/>
                <a:gd name="connsiteX39" fmla="*/ 354621 w 435145"/>
                <a:gd name="connsiteY39" fmla="*/ 213198 h 761503"/>
                <a:gd name="connsiteX40" fmla="*/ 354621 w 435145"/>
                <a:gd name="connsiteY40" fmla="*/ 205040 h 761503"/>
                <a:gd name="connsiteX41" fmla="*/ 338303 w 435145"/>
                <a:gd name="connsiteY41" fmla="*/ 147927 h 761503"/>
                <a:gd name="connsiteX42" fmla="*/ 292069 w 435145"/>
                <a:gd name="connsiteY42" fmla="*/ 107132 h 761503"/>
                <a:gd name="connsiteX43" fmla="*/ 262153 w 435145"/>
                <a:gd name="connsiteY43" fmla="*/ 120730 h 761503"/>
                <a:gd name="connsiteX44" fmla="*/ 251274 w 435145"/>
                <a:gd name="connsiteY44" fmla="*/ 131609 h 761503"/>
                <a:gd name="connsiteX45" fmla="*/ 240395 w 435145"/>
                <a:gd name="connsiteY45" fmla="*/ 139768 h 761503"/>
                <a:gd name="connsiteX46" fmla="*/ 237676 w 435145"/>
                <a:gd name="connsiteY46" fmla="*/ 164245 h 761503"/>
                <a:gd name="connsiteX47" fmla="*/ 226797 w 435145"/>
                <a:gd name="connsiteY47" fmla="*/ 196881 h 761503"/>
                <a:gd name="connsiteX48" fmla="*/ 213199 w 435145"/>
                <a:gd name="connsiteY48" fmla="*/ 259433 h 761503"/>
                <a:gd name="connsiteX49" fmla="*/ 207759 w 435145"/>
                <a:gd name="connsiteY49" fmla="*/ 324704 h 761503"/>
                <a:gd name="connsiteX50" fmla="*/ 207759 w 435145"/>
                <a:gd name="connsiteY50" fmla="*/ 335583 h 761503"/>
                <a:gd name="connsiteX51" fmla="*/ 205040 w 435145"/>
                <a:gd name="connsiteY51" fmla="*/ 349181 h 761503"/>
                <a:gd name="connsiteX52" fmla="*/ 207759 w 435145"/>
                <a:gd name="connsiteY52" fmla="*/ 368219 h 761503"/>
                <a:gd name="connsiteX53" fmla="*/ 207759 w 435145"/>
                <a:gd name="connsiteY53" fmla="*/ 376378 h 761503"/>
                <a:gd name="connsiteX54" fmla="*/ 205040 w 435145"/>
                <a:gd name="connsiteY54" fmla="*/ 387256 h 761503"/>
                <a:gd name="connsiteX55" fmla="*/ 205040 w 435145"/>
                <a:gd name="connsiteY55" fmla="*/ 395415 h 761503"/>
                <a:gd name="connsiteX56" fmla="*/ 205040 w 435145"/>
                <a:gd name="connsiteY56" fmla="*/ 406294 h 761503"/>
                <a:gd name="connsiteX57" fmla="*/ 205040 w 435145"/>
                <a:gd name="connsiteY57" fmla="*/ 425332 h 761503"/>
                <a:gd name="connsiteX58" fmla="*/ 213199 w 435145"/>
                <a:gd name="connsiteY58" fmla="*/ 493323 h 761503"/>
                <a:gd name="connsiteX59" fmla="*/ 221358 w 435145"/>
                <a:gd name="connsiteY59" fmla="*/ 561314 h 761503"/>
                <a:gd name="connsiteX60" fmla="*/ 226797 w 435145"/>
                <a:gd name="connsiteY60" fmla="*/ 591231 h 761503"/>
                <a:gd name="connsiteX61" fmla="*/ 240395 w 435145"/>
                <a:gd name="connsiteY61" fmla="*/ 618427 h 761503"/>
                <a:gd name="connsiteX62" fmla="*/ 283910 w 435145"/>
                <a:gd name="connsiteY62" fmla="*/ 651063 h 761503"/>
                <a:gd name="connsiteX63" fmla="*/ 338303 w 435145"/>
                <a:gd name="connsiteY63" fmla="*/ 612988 h 761503"/>
                <a:gd name="connsiteX64" fmla="*/ 354621 w 435145"/>
                <a:gd name="connsiteY64" fmla="*/ 577632 h 761503"/>
                <a:gd name="connsiteX65" fmla="*/ 357341 w 435145"/>
                <a:gd name="connsiteY65" fmla="*/ 509641 h 761503"/>
                <a:gd name="connsiteX66" fmla="*/ 362780 w 435145"/>
                <a:gd name="connsiteY66" fmla="*/ 485164 h 761503"/>
                <a:gd name="connsiteX67" fmla="*/ 368219 w 435145"/>
                <a:gd name="connsiteY67" fmla="*/ 474286 h 761503"/>
                <a:gd name="connsiteX68" fmla="*/ 376378 w 435145"/>
                <a:gd name="connsiteY68" fmla="*/ 468846 h 761503"/>
                <a:gd name="connsiteX69" fmla="*/ 384537 w 435145"/>
                <a:gd name="connsiteY69" fmla="*/ 474286 h 761503"/>
                <a:gd name="connsiteX70" fmla="*/ 392696 w 435145"/>
                <a:gd name="connsiteY70" fmla="*/ 493323 h 761503"/>
                <a:gd name="connsiteX71" fmla="*/ 395416 w 435145"/>
                <a:gd name="connsiteY71" fmla="*/ 558595 h 761503"/>
                <a:gd name="connsiteX72" fmla="*/ 398136 w 435145"/>
                <a:gd name="connsiteY72" fmla="*/ 618427 h 761503"/>
                <a:gd name="connsiteX73" fmla="*/ 400855 w 435145"/>
                <a:gd name="connsiteY73" fmla="*/ 678260 h 761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</a:cxnLst>
              <a:rect l="l" t="t" r="r" b="b"/>
              <a:pathLst>
                <a:path w="435145" h="761503">
                  <a:moveTo>
                    <a:pt x="400855" y="678260"/>
                  </a:moveTo>
                  <a:cubicBezTo>
                    <a:pt x="400855" y="689138"/>
                    <a:pt x="400855" y="719054"/>
                    <a:pt x="384537" y="719054"/>
                  </a:cubicBezTo>
                  <a:cubicBezTo>
                    <a:pt x="376378" y="719054"/>
                    <a:pt x="373659" y="716335"/>
                    <a:pt x="368219" y="713615"/>
                  </a:cubicBezTo>
                  <a:cubicBezTo>
                    <a:pt x="362780" y="710895"/>
                    <a:pt x="360060" y="702736"/>
                    <a:pt x="360060" y="697297"/>
                  </a:cubicBezTo>
                  <a:cubicBezTo>
                    <a:pt x="357341" y="680979"/>
                    <a:pt x="357341" y="664661"/>
                    <a:pt x="360060" y="651063"/>
                  </a:cubicBezTo>
                  <a:cubicBezTo>
                    <a:pt x="354621" y="659222"/>
                    <a:pt x="341023" y="678260"/>
                    <a:pt x="332864" y="686418"/>
                  </a:cubicBezTo>
                  <a:cubicBezTo>
                    <a:pt x="311107" y="708176"/>
                    <a:pt x="283910" y="721774"/>
                    <a:pt x="251274" y="721774"/>
                  </a:cubicBezTo>
                  <a:cubicBezTo>
                    <a:pt x="243115" y="721774"/>
                    <a:pt x="237676" y="721774"/>
                    <a:pt x="229517" y="719054"/>
                  </a:cubicBezTo>
                  <a:cubicBezTo>
                    <a:pt x="207759" y="716335"/>
                    <a:pt x="183283" y="708176"/>
                    <a:pt x="158806" y="694578"/>
                  </a:cubicBezTo>
                  <a:cubicBezTo>
                    <a:pt x="142488" y="686418"/>
                    <a:pt x="126170" y="672820"/>
                    <a:pt x="112571" y="659222"/>
                  </a:cubicBezTo>
                  <a:cubicBezTo>
                    <a:pt x="98973" y="642904"/>
                    <a:pt x="88095" y="626586"/>
                    <a:pt x="79936" y="607548"/>
                  </a:cubicBezTo>
                  <a:cubicBezTo>
                    <a:pt x="71777" y="585791"/>
                    <a:pt x="66337" y="566754"/>
                    <a:pt x="63618" y="542277"/>
                  </a:cubicBezTo>
                  <a:cubicBezTo>
                    <a:pt x="60898" y="517800"/>
                    <a:pt x="58178" y="493323"/>
                    <a:pt x="58178" y="471566"/>
                  </a:cubicBezTo>
                  <a:cubicBezTo>
                    <a:pt x="58178" y="447089"/>
                    <a:pt x="58178" y="425332"/>
                    <a:pt x="60898" y="400855"/>
                  </a:cubicBezTo>
                  <a:cubicBezTo>
                    <a:pt x="63618" y="379098"/>
                    <a:pt x="60898" y="357340"/>
                    <a:pt x="66337" y="335583"/>
                  </a:cubicBezTo>
                  <a:cubicBezTo>
                    <a:pt x="69057" y="313826"/>
                    <a:pt x="77216" y="289349"/>
                    <a:pt x="85375" y="267592"/>
                  </a:cubicBezTo>
                  <a:cubicBezTo>
                    <a:pt x="93534" y="243115"/>
                    <a:pt x="98973" y="221357"/>
                    <a:pt x="109852" y="199600"/>
                  </a:cubicBezTo>
                  <a:cubicBezTo>
                    <a:pt x="118011" y="177843"/>
                    <a:pt x="131609" y="161525"/>
                    <a:pt x="145207" y="145207"/>
                  </a:cubicBezTo>
                  <a:cubicBezTo>
                    <a:pt x="158806" y="128889"/>
                    <a:pt x="172404" y="109852"/>
                    <a:pt x="188722" y="96253"/>
                  </a:cubicBezTo>
                  <a:cubicBezTo>
                    <a:pt x="205040" y="82655"/>
                    <a:pt x="224077" y="77216"/>
                    <a:pt x="243115" y="71776"/>
                  </a:cubicBezTo>
                  <a:cubicBezTo>
                    <a:pt x="256713" y="69057"/>
                    <a:pt x="273031" y="63617"/>
                    <a:pt x="286630" y="63617"/>
                  </a:cubicBezTo>
                  <a:cubicBezTo>
                    <a:pt x="292069" y="63617"/>
                    <a:pt x="297508" y="63617"/>
                    <a:pt x="305667" y="66337"/>
                  </a:cubicBezTo>
                  <a:cubicBezTo>
                    <a:pt x="313826" y="69057"/>
                    <a:pt x="319266" y="74496"/>
                    <a:pt x="324705" y="79936"/>
                  </a:cubicBezTo>
                  <a:cubicBezTo>
                    <a:pt x="332864" y="85375"/>
                    <a:pt x="332864" y="93534"/>
                    <a:pt x="341023" y="101693"/>
                  </a:cubicBezTo>
                  <a:cubicBezTo>
                    <a:pt x="346462" y="107132"/>
                    <a:pt x="349182" y="118011"/>
                    <a:pt x="354621" y="123450"/>
                  </a:cubicBezTo>
                  <a:cubicBezTo>
                    <a:pt x="354621" y="115291"/>
                    <a:pt x="354621" y="101693"/>
                    <a:pt x="354621" y="98973"/>
                  </a:cubicBezTo>
                  <a:cubicBezTo>
                    <a:pt x="354621" y="90814"/>
                    <a:pt x="354621" y="79936"/>
                    <a:pt x="360060" y="74496"/>
                  </a:cubicBezTo>
                  <a:cubicBezTo>
                    <a:pt x="362780" y="71776"/>
                    <a:pt x="362780" y="69057"/>
                    <a:pt x="365500" y="63617"/>
                  </a:cubicBezTo>
                  <a:cubicBezTo>
                    <a:pt x="368219" y="60898"/>
                    <a:pt x="370939" y="58178"/>
                    <a:pt x="373659" y="58178"/>
                  </a:cubicBezTo>
                  <a:cubicBezTo>
                    <a:pt x="376378" y="58178"/>
                    <a:pt x="379098" y="60898"/>
                    <a:pt x="381818" y="63617"/>
                  </a:cubicBezTo>
                  <a:cubicBezTo>
                    <a:pt x="384537" y="69057"/>
                    <a:pt x="387257" y="77216"/>
                    <a:pt x="389977" y="82655"/>
                  </a:cubicBezTo>
                  <a:cubicBezTo>
                    <a:pt x="389977" y="90814"/>
                    <a:pt x="392696" y="107132"/>
                    <a:pt x="392696" y="126170"/>
                  </a:cubicBezTo>
                  <a:cubicBezTo>
                    <a:pt x="392696" y="150647"/>
                    <a:pt x="392696" y="177843"/>
                    <a:pt x="395416" y="186002"/>
                  </a:cubicBezTo>
                  <a:cubicBezTo>
                    <a:pt x="398136" y="205040"/>
                    <a:pt x="398136" y="215918"/>
                    <a:pt x="398136" y="237675"/>
                  </a:cubicBezTo>
                  <a:cubicBezTo>
                    <a:pt x="398136" y="240395"/>
                    <a:pt x="398136" y="243115"/>
                    <a:pt x="398136" y="243115"/>
                  </a:cubicBezTo>
                  <a:cubicBezTo>
                    <a:pt x="398136" y="248554"/>
                    <a:pt x="398136" y="251274"/>
                    <a:pt x="395416" y="256713"/>
                  </a:cubicBezTo>
                  <a:cubicBezTo>
                    <a:pt x="392696" y="267592"/>
                    <a:pt x="389977" y="278470"/>
                    <a:pt x="379098" y="278470"/>
                  </a:cubicBezTo>
                  <a:cubicBezTo>
                    <a:pt x="370939" y="278470"/>
                    <a:pt x="368219" y="275751"/>
                    <a:pt x="362780" y="273031"/>
                  </a:cubicBezTo>
                  <a:cubicBezTo>
                    <a:pt x="357341" y="270311"/>
                    <a:pt x="354621" y="262152"/>
                    <a:pt x="354621" y="256713"/>
                  </a:cubicBezTo>
                  <a:cubicBezTo>
                    <a:pt x="349182" y="237675"/>
                    <a:pt x="354621" y="232236"/>
                    <a:pt x="354621" y="213198"/>
                  </a:cubicBezTo>
                  <a:cubicBezTo>
                    <a:pt x="354621" y="210479"/>
                    <a:pt x="354621" y="207759"/>
                    <a:pt x="354621" y="205040"/>
                  </a:cubicBezTo>
                  <a:cubicBezTo>
                    <a:pt x="349182" y="186002"/>
                    <a:pt x="343742" y="169684"/>
                    <a:pt x="338303" y="147927"/>
                  </a:cubicBezTo>
                  <a:cubicBezTo>
                    <a:pt x="332864" y="131609"/>
                    <a:pt x="311107" y="107132"/>
                    <a:pt x="292069" y="107132"/>
                  </a:cubicBezTo>
                  <a:cubicBezTo>
                    <a:pt x="281190" y="107132"/>
                    <a:pt x="270312" y="115291"/>
                    <a:pt x="262153" y="120730"/>
                  </a:cubicBezTo>
                  <a:cubicBezTo>
                    <a:pt x="259433" y="123450"/>
                    <a:pt x="256713" y="126170"/>
                    <a:pt x="251274" y="131609"/>
                  </a:cubicBezTo>
                  <a:cubicBezTo>
                    <a:pt x="248554" y="134329"/>
                    <a:pt x="243115" y="137048"/>
                    <a:pt x="240395" y="139768"/>
                  </a:cubicBezTo>
                  <a:cubicBezTo>
                    <a:pt x="237676" y="145207"/>
                    <a:pt x="240395" y="156086"/>
                    <a:pt x="237676" y="164245"/>
                  </a:cubicBezTo>
                  <a:cubicBezTo>
                    <a:pt x="232236" y="175123"/>
                    <a:pt x="229517" y="186002"/>
                    <a:pt x="226797" y="196881"/>
                  </a:cubicBezTo>
                  <a:cubicBezTo>
                    <a:pt x="221358" y="218638"/>
                    <a:pt x="218638" y="237675"/>
                    <a:pt x="213199" y="259433"/>
                  </a:cubicBezTo>
                  <a:cubicBezTo>
                    <a:pt x="210479" y="281190"/>
                    <a:pt x="207759" y="302947"/>
                    <a:pt x="207759" y="324704"/>
                  </a:cubicBezTo>
                  <a:cubicBezTo>
                    <a:pt x="207759" y="327424"/>
                    <a:pt x="207759" y="332863"/>
                    <a:pt x="207759" y="335583"/>
                  </a:cubicBezTo>
                  <a:cubicBezTo>
                    <a:pt x="207759" y="341022"/>
                    <a:pt x="205040" y="343742"/>
                    <a:pt x="205040" y="349181"/>
                  </a:cubicBezTo>
                  <a:cubicBezTo>
                    <a:pt x="205040" y="354621"/>
                    <a:pt x="207759" y="362779"/>
                    <a:pt x="207759" y="368219"/>
                  </a:cubicBezTo>
                  <a:cubicBezTo>
                    <a:pt x="207759" y="370939"/>
                    <a:pt x="207759" y="373658"/>
                    <a:pt x="207759" y="376378"/>
                  </a:cubicBezTo>
                  <a:cubicBezTo>
                    <a:pt x="205040" y="381817"/>
                    <a:pt x="205040" y="384537"/>
                    <a:pt x="205040" y="387256"/>
                  </a:cubicBezTo>
                  <a:cubicBezTo>
                    <a:pt x="205040" y="389976"/>
                    <a:pt x="205040" y="392696"/>
                    <a:pt x="205040" y="395415"/>
                  </a:cubicBezTo>
                  <a:cubicBezTo>
                    <a:pt x="205040" y="398135"/>
                    <a:pt x="205040" y="403574"/>
                    <a:pt x="205040" y="406294"/>
                  </a:cubicBezTo>
                  <a:cubicBezTo>
                    <a:pt x="205040" y="411733"/>
                    <a:pt x="205040" y="417173"/>
                    <a:pt x="205040" y="425332"/>
                  </a:cubicBezTo>
                  <a:cubicBezTo>
                    <a:pt x="205040" y="449809"/>
                    <a:pt x="213199" y="471566"/>
                    <a:pt x="213199" y="493323"/>
                  </a:cubicBezTo>
                  <a:cubicBezTo>
                    <a:pt x="213199" y="517800"/>
                    <a:pt x="215919" y="539557"/>
                    <a:pt x="221358" y="561314"/>
                  </a:cubicBezTo>
                  <a:cubicBezTo>
                    <a:pt x="224077" y="572193"/>
                    <a:pt x="224077" y="580352"/>
                    <a:pt x="226797" y="591231"/>
                  </a:cubicBezTo>
                  <a:cubicBezTo>
                    <a:pt x="229517" y="599390"/>
                    <a:pt x="237676" y="607548"/>
                    <a:pt x="240395" y="618427"/>
                  </a:cubicBezTo>
                  <a:cubicBezTo>
                    <a:pt x="248554" y="637465"/>
                    <a:pt x="262153" y="651063"/>
                    <a:pt x="283910" y="651063"/>
                  </a:cubicBezTo>
                  <a:cubicBezTo>
                    <a:pt x="302948" y="651063"/>
                    <a:pt x="330144" y="629306"/>
                    <a:pt x="338303" y="612988"/>
                  </a:cubicBezTo>
                  <a:cubicBezTo>
                    <a:pt x="346462" y="599390"/>
                    <a:pt x="351901" y="591231"/>
                    <a:pt x="354621" y="577632"/>
                  </a:cubicBezTo>
                  <a:cubicBezTo>
                    <a:pt x="354621" y="550436"/>
                    <a:pt x="354621" y="517800"/>
                    <a:pt x="357341" y="509641"/>
                  </a:cubicBezTo>
                  <a:cubicBezTo>
                    <a:pt x="357341" y="501482"/>
                    <a:pt x="357341" y="490603"/>
                    <a:pt x="362780" y="485164"/>
                  </a:cubicBezTo>
                  <a:cubicBezTo>
                    <a:pt x="365500" y="482444"/>
                    <a:pt x="365500" y="479725"/>
                    <a:pt x="368219" y="474286"/>
                  </a:cubicBezTo>
                  <a:cubicBezTo>
                    <a:pt x="370939" y="471566"/>
                    <a:pt x="373659" y="468846"/>
                    <a:pt x="376378" y="468846"/>
                  </a:cubicBezTo>
                  <a:cubicBezTo>
                    <a:pt x="379098" y="468846"/>
                    <a:pt x="381818" y="471566"/>
                    <a:pt x="384537" y="474286"/>
                  </a:cubicBezTo>
                  <a:cubicBezTo>
                    <a:pt x="387257" y="479725"/>
                    <a:pt x="389977" y="487884"/>
                    <a:pt x="392696" y="493323"/>
                  </a:cubicBezTo>
                  <a:cubicBezTo>
                    <a:pt x="392696" y="501482"/>
                    <a:pt x="395416" y="539557"/>
                    <a:pt x="395416" y="558595"/>
                  </a:cubicBezTo>
                  <a:cubicBezTo>
                    <a:pt x="395416" y="583072"/>
                    <a:pt x="395416" y="610268"/>
                    <a:pt x="398136" y="618427"/>
                  </a:cubicBezTo>
                  <a:cubicBezTo>
                    <a:pt x="398136" y="648343"/>
                    <a:pt x="400855" y="659222"/>
                    <a:pt x="400855" y="678260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>
                <a:solidFill>
                  <a:srgbClr val="FFFFFF"/>
                </a:solidFill>
              </a:endParaRPr>
            </a:p>
          </p:txBody>
        </p:sp>
        <p:sp>
          <p:nvSpPr>
            <p:cNvPr id="39" name="Freeform: Shape 38">
              <a:extLst>
                <a:ext uri="{FF2B5EF4-FFF2-40B4-BE49-F238E27FC236}">
                  <a16:creationId xmlns:a16="http://schemas.microsoft.com/office/drawing/2014/main" id="{C92FBFDE-3137-468A-8F8D-05A481D5D8C8}"/>
                </a:ext>
              </a:extLst>
            </p:cNvPr>
            <p:cNvSpPr/>
            <p:nvPr/>
          </p:nvSpPr>
          <p:spPr>
            <a:xfrm>
              <a:off x="3829459" y="4200317"/>
              <a:ext cx="598325" cy="761503"/>
            </a:xfrm>
            <a:custGeom>
              <a:avLst/>
              <a:gdLst>
                <a:gd name="connsiteX0" fmla="*/ 360060 w 598324"/>
                <a:gd name="connsiteY0" fmla="*/ 332863 h 761503"/>
                <a:gd name="connsiteX1" fmla="*/ 341023 w 598324"/>
                <a:gd name="connsiteY1" fmla="*/ 370939 h 761503"/>
                <a:gd name="connsiteX2" fmla="*/ 376378 w 598324"/>
                <a:gd name="connsiteY2" fmla="*/ 389976 h 761503"/>
                <a:gd name="connsiteX3" fmla="*/ 425332 w 598324"/>
                <a:gd name="connsiteY3" fmla="*/ 433491 h 761503"/>
                <a:gd name="connsiteX4" fmla="*/ 438930 w 598324"/>
                <a:gd name="connsiteY4" fmla="*/ 463407 h 761503"/>
                <a:gd name="connsiteX5" fmla="*/ 449809 w 598324"/>
                <a:gd name="connsiteY5" fmla="*/ 498762 h 761503"/>
                <a:gd name="connsiteX6" fmla="*/ 457968 w 598324"/>
                <a:gd name="connsiteY6" fmla="*/ 528679 h 761503"/>
                <a:gd name="connsiteX7" fmla="*/ 466127 w 598324"/>
                <a:gd name="connsiteY7" fmla="*/ 564034 h 761503"/>
                <a:gd name="connsiteX8" fmla="*/ 471566 w 598324"/>
                <a:gd name="connsiteY8" fmla="*/ 593950 h 761503"/>
                <a:gd name="connsiteX9" fmla="*/ 479725 w 598324"/>
                <a:gd name="connsiteY9" fmla="*/ 607548 h 761503"/>
                <a:gd name="connsiteX10" fmla="*/ 487884 w 598324"/>
                <a:gd name="connsiteY10" fmla="*/ 623867 h 761503"/>
                <a:gd name="connsiteX11" fmla="*/ 501482 w 598324"/>
                <a:gd name="connsiteY11" fmla="*/ 651063 h 761503"/>
                <a:gd name="connsiteX12" fmla="*/ 523240 w 598324"/>
                <a:gd name="connsiteY12" fmla="*/ 670101 h 761503"/>
                <a:gd name="connsiteX13" fmla="*/ 534119 w 598324"/>
                <a:gd name="connsiteY13" fmla="*/ 686418 h 761503"/>
                <a:gd name="connsiteX14" fmla="*/ 531399 w 598324"/>
                <a:gd name="connsiteY14" fmla="*/ 694578 h 761503"/>
                <a:gd name="connsiteX15" fmla="*/ 498763 w 598324"/>
                <a:gd name="connsiteY15" fmla="*/ 708176 h 761503"/>
                <a:gd name="connsiteX16" fmla="*/ 449809 w 598324"/>
                <a:gd name="connsiteY16" fmla="*/ 700017 h 761503"/>
                <a:gd name="connsiteX17" fmla="*/ 400855 w 598324"/>
                <a:gd name="connsiteY17" fmla="*/ 667381 h 761503"/>
                <a:gd name="connsiteX18" fmla="*/ 381817 w 598324"/>
                <a:gd name="connsiteY18" fmla="*/ 642904 h 761503"/>
                <a:gd name="connsiteX19" fmla="*/ 368219 w 598324"/>
                <a:gd name="connsiteY19" fmla="*/ 610268 h 761503"/>
                <a:gd name="connsiteX20" fmla="*/ 349182 w 598324"/>
                <a:gd name="connsiteY20" fmla="*/ 550436 h 761503"/>
                <a:gd name="connsiteX21" fmla="*/ 338303 w 598324"/>
                <a:gd name="connsiteY21" fmla="*/ 504202 h 761503"/>
                <a:gd name="connsiteX22" fmla="*/ 330144 w 598324"/>
                <a:gd name="connsiteY22" fmla="*/ 477005 h 761503"/>
                <a:gd name="connsiteX23" fmla="*/ 321985 w 598324"/>
                <a:gd name="connsiteY23" fmla="*/ 455248 h 761503"/>
                <a:gd name="connsiteX24" fmla="*/ 305667 w 598324"/>
                <a:gd name="connsiteY24" fmla="*/ 436210 h 761503"/>
                <a:gd name="connsiteX25" fmla="*/ 294788 w 598324"/>
                <a:gd name="connsiteY25" fmla="*/ 441650 h 761503"/>
                <a:gd name="connsiteX26" fmla="*/ 278471 w 598324"/>
                <a:gd name="connsiteY26" fmla="*/ 463407 h 761503"/>
                <a:gd name="connsiteX27" fmla="*/ 264872 w 598324"/>
                <a:gd name="connsiteY27" fmla="*/ 496043 h 761503"/>
                <a:gd name="connsiteX28" fmla="*/ 262153 w 598324"/>
                <a:gd name="connsiteY28" fmla="*/ 517800 h 761503"/>
                <a:gd name="connsiteX29" fmla="*/ 262153 w 598324"/>
                <a:gd name="connsiteY29" fmla="*/ 523239 h 761503"/>
                <a:gd name="connsiteX30" fmla="*/ 262153 w 598324"/>
                <a:gd name="connsiteY30" fmla="*/ 553155 h 761503"/>
                <a:gd name="connsiteX31" fmla="*/ 262153 w 598324"/>
                <a:gd name="connsiteY31" fmla="*/ 629306 h 761503"/>
                <a:gd name="connsiteX32" fmla="*/ 259433 w 598324"/>
                <a:gd name="connsiteY32" fmla="*/ 659222 h 761503"/>
                <a:gd name="connsiteX33" fmla="*/ 283910 w 598324"/>
                <a:gd name="connsiteY33" fmla="*/ 659222 h 761503"/>
                <a:gd name="connsiteX34" fmla="*/ 321985 w 598324"/>
                <a:gd name="connsiteY34" fmla="*/ 675540 h 761503"/>
                <a:gd name="connsiteX35" fmla="*/ 316546 w 598324"/>
                <a:gd name="connsiteY35" fmla="*/ 691858 h 761503"/>
                <a:gd name="connsiteX36" fmla="*/ 300228 w 598324"/>
                <a:gd name="connsiteY36" fmla="*/ 700017 h 761503"/>
                <a:gd name="connsiteX37" fmla="*/ 278471 w 598324"/>
                <a:gd name="connsiteY37" fmla="*/ 702736 h 761503"/>
                <a:gd name="connsiteX38" fmla="*/ 243115 w 598324"/>
                <a:gd name="connsiteY38" fmla="*/ 702736 h 761503"/>
                <a:gd name="connsiteX39" fmla="*/ 221358 w 598324"/>
                <a:gd name="connsiteY39" fmla="*/ 710895 h 761503"/>
                <a:gd name="connsiteX40" fmla="*/ 194161 w 598324"/>
                <a:gd name="connsiteY40" fmla="*/ 702736 h 761503"/>
                <a:gd name="connsiteX41" fmla="*/ 177843 w 598324"/>
                <a:gd name="connsiteY41" fmla="*/ 702736 h 761503"/>
                <a:gd name="connsiteX42" fmla="*/ 126170 w 598324"/>
                <a:gd name="connsiteY42" fmla="*/ 702736 h 761503"/>
                <a:gd name="connsiteX43" fmla="*/ 101693 w 598324"/>
                <a:gd name="connsiteY43" fmla="*/ 702736 h 761503"/>
                <a:gd name="connsiteX44" fmla="*/ 74496 w 598324"/>
                <a:gd name="connsiteY44" fmla="*/ 697297 h 761503"/>
                <a:gd name="connsiteX45" fmla="*/ 58178 w 598324"/>
                <a:gd name="connsiteY45" fmla="*/ 680979 h 761503"/>
                <a:gd name="connsiteX46" fmla="*/ 63617 w 598324"/>
                <a:gd name="connsiteY46" fmla="*/ 672820 h 761503"/>
                <a:gd name="connsiteX47" fmla="*/ 85375 w 598324"/>
                <a:gd name="connsiteY47" fmla="*/ 664661 h 761503"/>
                <a:gd name="connsiteX48" fmla="*/ 128889 w 598324"/>
                <a:gd name="connsiteY48" fmla="*/ 659222 h 761503"/>
                <a:gd name="connsiteX49" fmla="*/ 147927 w 598324"/>
                <a:gd name="connsiteY49" fmla="*/ 659222 h 761503"/>
                <a:gd name="connsiteX50" fmla="*/ 145207 w 598324"/>
                <a:gd name="connsiteY50" fmla="*/ 653783 h 761503"/>
                <a:gd name="connsiteX51" fmla="*/ 131609 w 598324"/>
                <a:gd name="connsiteY51" fmla="*/ 585791 h 761503"/>
                <a:gd name="connsiteX52" fmla="*/ 134329 w 598324"/>
                <a:gd name="connsiteY52" fmla="*/ 498762 h 761503"/>
                <a:gd name="connsiteX53" fmla="*/ 137048 w 598324"/>
                <a:gd name="connsiteY53" fmla="*/ 406294 h 761503"/>
                <a:gd name="connsiteX54" fmla="*/ 134329 w 598324"/>
                <a:gd name="connsiteY54" fmla="*/ 327424 h 761503"/>
                <a:gd name="connsiteX55" fmla="*/ 137048 w 598324"/>
                <a:gd name="connsiteY55" fmla="*/ 253993 h 761503"/>
                <a:gd name="connsiteX56" fmla="*/ 139768 w 598324"/>
                <a:gd name="connsiteY56" fmla="*/ 207759 h 761503"/>
                <a:gd name="connsiteX57" fmla="*/ 137048 w 598324"/>
                <a:gd name="connsiteY57" fmla="*/ 172404 h 761503"/>
                <a:gd name="connsiteX58" fmla="*/ 137048 w 598324"/>
                <a:gd name="connsiteY58" fmla="*/ 112571 h 761503"/>
                <a:gd name="connsiteX59" fmla="*/ 126170 w 598324"/>
                <a:gd name="connsiteY59" fmla="*/ 112571 h 761503"/>
                <a:gd name="connsiteX60" fmla="*/ 101693 w 598324"/>
                <a:gd name="connsiteY60" fmla="*/ 112571 h 761503"/>
                <a:gd name="connsiteX61" fmla="*/ 74496 w 598324"/>
                <a:gd name="connsiteY61" fmla="*/ 107132 h 761503"/>
                <a:gd name="connsiteX62" fmla="*/ 58178 w 598324"/>
                <a:gd name="connsiteY62" fmla="*/ 90814 h 761503"/>
                <a:gd name="connsiteX63" fmla="*/ 63617 w 598324"/>
                <a:gd name="connsiteY63" fmla="*/ 82655 h 761503"/>
                <a:gd name="connsiteX64" fmla="*/ 85375 w 598324"/>
                <a:gd name="connsiteY64" fmla="*/ 74496 h 761503"/>
                <a:gd name="connsiteX65" fmla="*/ 137048 w 598324"/>
                <a:gd name="connsiteY65" fmla="*/ 69057 h 761503"/>
                <a:gd name="connsiteX66" fmla="*/ 145207 w 598324"/>
                <a:gd name="connsiteY66" fmla="*/ 69057 h 761503"/>
                <a:gd name="connsiteX67" fmla="*/ 169684 w 598324"/>
                <a:gd name="connsiteY67" fmla="*/ 58178 h 761503"/>
                <a:gd name="connsiteX68" fmla="*/ 177843 w 598324"/>
                <a:gd name="connsiteY68" fmla="*/ 58178 h 761503"/>
                <a:gd name="connsiteX69" fmla="*/ 205040 w 598324"/>
                <a:gd name="connsiteY69" fmla="*/ 66337 h 761503"/>
                <a:gd name="connsiteX70" fmla="*/ 286629 w 598324"/>
                <a:gd name="connsiteY70" fmla="*/ 63617 h 761503"/>
                <a:gd name="connsiteX71" fmla="*/ 324705 w 598324"/>
                <a:gd name="connsiteY71" fmla="*/ 79936 h 761503"/>
                <a:gd name="connsiteX72" fmla="*/ 319265 w 598324"/>
                <a:gd name="connsiteY72" fmla="*/ 96253 h 761503"/>
                <a:gd name="connsiteX73" fmla="*/ 302948 w 598324"/>
                <a:gd name="connsiteY73" fmla="*/ 104412 h 761503"/>
                <a:gd name="connsiteX74" fmla="*/ 278471 w 598324"/>
                <a:gd name="connsiteY74" fmla="*/ 112571 h 761503"/>
                <a:gd name="connsiteX75" fmla="*/ 232236 w 598324"/>
                <a:gd name="connsiteY75" fmla="*/ 112571 h 761503"/>
                <a:gd name="connsiteX76" fmla="*/ 240395 w 598324"/>
                <a:gd name="connsiteY76" fmla="*/ 137048 h 761503"/>
                <a:gd name="connsiteX77" fmla="*/ 240395 w 598324"/>
                <a:gd name="connsiteY77" fmla="*/ 150647 h 761503"/>
                <a:gd name="connsiteX78" fmla="*/ 243115 w 598324"/>
                <a:gd name="connsiteY78" fmla="*/ 158805 h 761503"/>
                <a:gd name="connsiteX79" fmla="*/ 248554 w 598324"/>
                <a:gd name="connsiteY79" fmla="*/ 188722 h 761503"/>
                <a:gd name="connsiteX80" fmla="*/ 248554 w 598324"/>
                <a:gd name="connsiteY80" fmla="*/ 199600 h 761503"/>
                <a:gd name="connsiteX81" fmla="*/ 248554 w 598324"/>
                <a:gd name="connsiteY81" fmla="*/ 221357 h 761503"/>
                <a:gd name="connsiteX82" fmla="*/ 253994 w 598324"/>
                <a:gd name="connsiteY82" fmla="*/ 264872 h 761503"/>
                <a:gd name="connsiteX83" fmla="*/ 262153 w 598324"/>
                <a:gd name="connsiteY83" fmla="*/ 297508 h 761503"/>
                <a:gd name="connsiteX84" fmla="*/ 264872 w 598324"/>
                <a:gd name="connsiteY84" fmla="*/ 324704 h 761503"/>
                <a:gd name="connsiteX85" fmla="*/ 264872 w 598324"/>
                <a:gd name="connsiteY85" fmla="*/ 332863 h 761503"/>
                <a:gd name="connsiteX86" fmla="*/ 264872 w 598324"/>
                <a:gd name="connsiteY86" fmla="*/ 351901 h 761503"/>
                <a:gd name="connsiteX87" fmla="*/ 262153 w 598324"/>
                <a:gd name="connsiteY87" fmla="*/ 370939 h 761503"/>
                <a:gd name="connsiteX88" fmla="*/ 267592 w 598324"/>
                <a:gd name="connsiteY88" fmla="*/ 384537 h 761503"/>
                <a:gd name="connsiteX89" fmla="*/ 278471 w 598324"/>
                <a:gd name="connsiteY89" fmla="*/ 370939 h 761503"/>
                <a:gd name="connsiteX90" fmla="*/ 297508 w 598324"/>
                <a:gd name="connsiteY90" fmla="*/ 332863 h 761503"/>
                <a:gd name="connsiteX91" fmla="*/ 311106 w 598324"/>
                <a:gd name="connsiteY91" fmla="*/ 305667 h 761503"/>
                <a:gd name="connsiteX92" fmla="*/ 335583 w 598324"/>
                <a:gd name="connsiteY92" fmla="*/ 259433 h 761503"/>
                <a:gd name="connsiteX93" fmla="*/ 354621 w 598324"/>
                <a:gd name="connsiteY93" fmla="*/ 224077 h 761503"/>
                <a:gd name="connsiteX94" fmla="*/ 381817 w 598324"/>
                <a:gd name="connsiteY94" fmla="*/ 172404 h 761503"/>
                <a:gd name="connsiteX95" fmla="*/ 409014 w 598324"/>
                <a:gd name="connsiteY95" fmla="*/ 118011 h 761503"/>
                <a:gd name="connsiteX96" fmla="*/ 411734 w 598324"/>
                <a:gd name="connsiteY96" fmla="*/ 115291 h 761503"/>
                <a:gd name="connsiteX97" fmla="*/ 398136 w 598324"/>
                <a:gd name="connsiteY97" fmla="*/ 115291 h 761503"/>
                <a:gd name="connsiteX98" fmla="*/ 379098 w 598324"/>
                <a:gd name="connsiteY98" fmla="*/ 109852 h 761503"/>
                <a:gd name="connsiteX99" fmla="*/ 368219 w 598324"/>
                <a:gd name="connsiteY99" fmla="*/ 93534 h 761503"/>
                <a:gd name="connsiteX100" fmla="*/ 370939 w 598324"/>
                <a:gd name="connsiteY100" fmla="*/ 85375 h 761503"/>
                <a:gd name="connsiteX101" fmla="*/ 387257 w 598324"/>
                <a:gd name="connsiteY101" fmla="*/ 77216 h 761503"/>
                <a:gd name="connsiteX102" fmla="*/ 422612 w 598324"/>
                <a:gd name="connsiteY102" fmla="*/ 71776 h 761503"/>
                <a:gd name="connsiteX103" fmla="*/ 436211 w 598324"/>
                <a:gd name="connsiteY103" fmla="*/ 71776 h 761503"/>
                <a:gd name="connsiteX104" fmla="*/ 438930 w 598324"/>
                <a:gd name="connsiteY104" fmla="*/ 69057 h 761503"/>
                <a:gd name="connsiteX105" fmla="*/ 452529 w 598324"/>
                <a:gd name="connsiteY105" fmla="*/ 66337 h 761503"/>
                <a:gd name="connsiteX106" fmla="*/ 466127 w 598324"/>
                <a:gd name="connsiteY106" fmla="*/ 69057 h 761503"/>
                <a:gd name="connsiteX107" fmla="*/ 471566 w 598324"/>
                <a:gd name="connsiteY107" fmla="*/ 71776 h 761503"/>
                <a:gd name="connsiteX108" fmla="*/ 515081 w 598324"/>
                <a:gd name="connsiteY108" fmla="*/ 71776 h 761503"/>
                <a:gd name="connsiteX109" fmla="*/ 542277 w 598324"/>
                <a:gd name="connsiteY109" fmla="*/ 88094 h 761503"/>
                <a:gd name="connsiteX110" fmla="*/ 536838 w 598324"/>
                <a:gd name="connsiteY110" fmla="*/ 104412 h 761503"/>
                <a:gd name="connsiteX111" fmla="*/ 525959 w 598324"/>
                <a:gd name="connsiteY111" fmla="*/ 112571 h 761503"/>
                <a:gd name="connsiteX112" fmla="*/ 509642 w 598324"/>
                <a:gd name="connsiteY112" fmla="*/ 115291 h 761503"/>
                <a:gd name="connsiteX113" fmla="*/ 468847 w 598324"/>
                <a:gd name="connsiteY113" fmla="*/ 115291 h 761503"/>
                <a:gd name="connsiteX114" fmla="*/ 457968 w 598324"/>
                <a:gd name="connsiteY114" fmla="*/ 137048 h 761503"/>
                <a:gd name="connsiteX115" fmla="*/ 430771 w 598324"/>
                <a:gd name="connsiteY115" fmla="*/ 194161 h 761503"/>
                <a:gd name="connsiteX116" fmla="*/ 400855 w 598324"/>
                <a:gd name="connsiteY116" fmla="*/ 262152 h 761503"/>
                <a:gd name="connsiteX117" fmla="*/ 360060 w 598324"/>
                <a:gd name="connsiteY117" fmla="*/ 332863 h 761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</a:cxnLst>
              <a:rect l="l" t="t" r="r" b="b"/>
              <a:pathLst>
                <a:path w="598324" h="761503">
                  <a:moveTo>
                    <a:pt x="360060" y="332863"/>
                  </a:moveTo>
                  <a:cubicBezTo>
                    <a:pt x="351901" y="343742"/>
                    <a:pt x="341023" y="357340"/>
                    <a:pt x="341023" y="370939"/>
                  </a:cubicBezTo>
                  <a:cubicBezTo>
                    <a:pt x="341023" y="379098"/>
                    <a:pt x="357341" y="381817"/>
                    <a:pt x="376378" y="389976"/>
                  </a:cubicBezTo>
                  <a:cubicBezTo>
                    <a:pt x="395416" y="398135"/>
                    <a:pt x="417173" y="417173"/>
                    <a:pt x="425332" y="433491"/>
                  </a:cubicBezTo>
                  <a:cubicBezTo>
                    <a:pt x="430771" y="444369"/>
                    <a:pt x="436211" y="452528"/>
                    <a:pt x="438930" y="463407"/>
                  </a:cubicBezTo>
                  <a:cubicBezTo>
                    <a:pt x="444370" y="474286"/>
                    <a:pt x="447089" y="487884"/>
                    <a:pt x="449809" y="498762"/>
                  </a:cubicBezTo>
                  <a:cubicBezTo>
                    <a:pt x="452529" y="512361"/>
                    <a:pt x="452529" y="517800"/>
                    <a:pt x="457968" y="528679"/>
                  </a:cubicBezTo>
                  <a:cubicBezTo>
                    <a:pt x="463407" y="539557"/>
                    <a:pt x="463407" y="553155"/>
                    <a:pt x="466127" y="564034"/>
                  </a:cubicBezTo>
                  <a:cubicBezTo>
                    <a:pt x="468847" y="572193"/>
                    <a:pt x="468847" y="585791"/>
                    <a:pt x="471566" y="593950"/>
                  </a:cubicBezTo>
                  <a:cubicBezTo>
                    <a:pt x="474286" y="599390"/>
                    <a:pt x="477006" y="602109"/>
                    <a:pt x="479725" y="607548"/>
                  </a:cubicBezTo>
                  <a:cubicBezTo>
                    <a:pt x="482445" y="612988"/>
                    <a:pt x="487884" y="618427"/>
                    <a:pt x="487884" y="623867"/>
                  </a:cubicBezTo>
                  <a:cubicBezTo>
                    <a:pt x="490604" y="634745"/>
                    <a:pt x="496043" y="642904"/>
                    <a:pt x="501482" y="651063"/>
                  </a:cubicBezTo>
                  <a:cubicBezTo>
                    <a:pt x="506922" y="661942"/>
                    <a:pt x="512361" y="664661"/>
                    <a:pt x="523240" y="670101"/>
                  </a:cubicBezTo>
                  <a:cubicBezTo>
                    <a:pt x="528679" y="672820"/>
                    <a:pt x="534119" y="680979"/>
                    <a:pt x="534119" y="686418"/>
                  </a:cubicBezTo>
                  <a:cubicBezTo>
                    <a:pt x="534119" y="689138"/>
                    <a:pt x="534119" y="691858"/>
                    <a:pt x="531399" y="694578"/>
                  </a:cubicBezTo>
                  <a:cubicBezTo>
                    <a:pt x="525959" y="702736"/>
                    <a:pt x="512361" y="708176"/>
                    <a:pt x="498763" y="708176"/>
                  </a:cubicBezTo>
                  <a:cubicBezTo>
                    <a:pt x="485165" y="708176"/>
                    <a:pt x="466127" y="705456"/>
                    <a:pt x="449809" y="700017"/>
                  </a:cubicBezTo>
                  <a:cubicBezTo>
                    <a:pt x="430771" y="694578"/>
                    <a:pt x="409014" y="675540"/>
                    <a:pt x="400855" y="667381"/>
                  </a:cubicBezTo>
                  <a:cubicBezTo>
                    <a:pt x="392696" y="659222"/>
                    <a:pt x="387257" y="651063"/>
                    <a:pt x="381817" y="642904"/>
                  </a:cubicBezTo>
                  <a:cubicBezTo>
                    <a:pt x="376378" y="632025"/>
                    <a:pt x="370939" y="623867"/>
                    <a:pt x="368219" y="610268"/>
                  </a:cubicBezTo>
                  <a:cubicBezTo>
                    <a:pt x="360060" y="588511"/>
                    <a:pt x="357341" y="574913"/>
                    <a:pt x="349182" y="550436"/>
                  </a:cubicBezTo>
                  <a:cubicBezTo>
                    <a:pt x="343742" y="534118"/>
                    <a:pt x="341023" y="520520"/>
                    <a:pt x="338303" y="504202"/>
                  </a:cubicBezTo>
                  <a:cubicBezTo>
                    <a:pt x="335583" y="493323"/>
                    <a:pt x="332864" y="485164"/>
                    <a:pt x="330144" y="477005"/>
                  </a:cubicBezTo>
                  <a:cubicBezTo>
                    <a:pt x="327424" y="471566"/>
                    <a:pt x="324705" y="463407"/>
                    <a:pt x="321985" y="455248"/>
                  </a:cubicBezTo>
                  <a:cubicBezTo>
                    <a:pt x="316546" y="444369"/>
                    <a:pt x="311106" y="436210"/>
                    <a:pt x="305667" y="436210"/>
                  </a:cubicBezTo>
                  <a:cubicBezTo>
                    <a:pt x="302948" y="436210"/>
                    <a:pt x="300228" y="438930"/>
                    <a:pt x="294788" y="441650"/>
                  </a:cubicBezTo>
                  <a:cubicBezTo>
                    <a:pt x="289349" y="447089"/>
                    <a:pt x="283910" y="455248"/>
                    <a:pt x="278471" y="463407"/>
                  </a:cubicBezTo>
                  <a:cubicBezTo>
                    <a:pt x="270312" y="474286"/>
                    <a:pt x="267592" y="485164"/>
                    <a:pt x="264872" y="496043"/>
                  </a:cubicBezTo>
                  <a:cubicBezTo>
                    <a:pt x="264872" y="504202"/>
                    <a:pt x="262153" y="512361"/>
                    <a:pt x="262153" y="517800"/>
                  </a:cubicBezTo>
                  <a:cubicBezTo>
                    <a:pt x="262153" y="520520"/>
                    <a:pt x="262153" y="520520"/>
                    <a:pt x="262153" y="523239"/>
                  </a:cubicBezTo>
                  <a:cubicBezTo>
                    <a:pt x="262153" y="528679"/>
                    <a:pt x="262153" y="544997"/>
                    <a:pt x="262153" y="553155"/>
                  </a:cubicBezTo>
                  <a:cubicBezTo>
                    <a:pt x="262153" y="583072"/>
                    <a:pt x="264872" y="599390"/>
                    <a:pt x="262153" y="629306"/>
                  </a:cubicBezTo>
                  <a:cubicBezTo>
                    <a:pt x="262153" y="640184"/>
                    <a:pt x="262153" y="648343"/>
                    <a:pt x="259433" y="659222"/>
                  </a:cubicBezTo>
                  <a:cubicBezTo>
                    <a:pt x="270312" y="659222"/>
                    <a:pt x="278471" y="659222"/>
                    <a:pt x="283910" y="659222"/>
                  </a:cubicBezTo>
                  <a:cubicBezTo>
                    <a:pt x="297508" y="659222"/>
                    <a:pt x="321985" y="659222"/>
                    <a:pt x="321985" y="675540"/>
                  </a:cubicBezTo>
                  <a:cubicBezTo>
                    <a:pt x="321985" y="683699"/>
                    <a:pt x="319265" y="686418"/>
                    <a:pt x="316546" y="691858"/>
                  </a:cubicBezTo>
                  <a:cubicBezTo>
                    <a:pt x="311106" y="697297"/>
                    <a:pt x="305667" y="700017"/>
                    <a:pt x="300228" y="700017"/>
                  </a:cubicBezTo>
                  <a:cubicBezTo>
                    <a:pt x="292069" y="702736"/>
                    <a:pt x="283910" y="702736"/>
                    <a:pt x="278471" y="702736"/>
                  </a:cubicBezTo>
                  <a:cubicBezTo>
                    <a:pt x="275751" y="702736"/>
                    <a:pt x="259433" y="702736"/>
                    <a:pt x="243115" y="702736"/>
                  </a:cubicBezTo>
                  <a:cubicBezTo>
                    <a:pt x="237676" y="708176"/>
                    <a:pt x="229517" y="710895"/>
                    <a:pt x="221358" y="710895"/>
                  </a:cubicBezTo>
                  <a:cubicBezTo>
                    <a:pt x="213199" y="710895"/>
                    <a:pt x="202320" y="708176"/>
                    <a:pt x="194161" y="702736"/>
                  </a:cubicBezTo>
                  <a:cubicBezTo>
                    <a:pt x="186002" y="702736"/>
                    <a:pt x="180563" y="702736"/>
                    <a:pt x="177843" y="702736"/>
                  </a:cubicBezTo>
                  <a:cubicBezTo>
                    <a:pt x="164245" y="702736"/>
                    <a:pt x="139768" y="702736"/>
                    <a:pt x="126170" y="702736"/>
                  </a:cubicBezTo>
                  <a:cubicBezTo>
                    <a:pt x="118011" y="702736"/>
                    <a:pt x="109852" y="702736"/>
                    <a:pt x="101693" y="702736"/>
                  </a:cubicBezTo>
                  <a:cubicBezTo>
                    <a:pt x="93534" y="702736"/>
                    <a:pt x="82655" y="702736"/>
                    <a:pt x="74496" y="697297"/>
                  </a:cubicBezTo>
                  <a:cubicBezTo>
                    <a:pt x="66337" y="694578"/>
                    <a:pt x="58178" y="686418"/>
                    <a:pt x="58178" y="680979"/>
                  </a:cubicBezTo>
                  <a:cubicBezTo>
                    <a:pt x="58178" y="678260"/>
                    <a:pt x="58178" y="675540"/>
                    <a:pt x="63617" y="672820"/>
                  </a:cubicBezTo>
                  <a:cubicBezTo>
                    <a:pt x="69057" y="670101"/>
                    <a:pt x="79935" y="667381"/>
                    <a:pt x="85375" y="664661"/>
                  </a:cubicBezTo>
                  <a:cubicBezTo>
                    <a:pt x="104412" y="661942"/>
                    <a:pt x="123450" y="659222"/>
                    <a:pt x="128889" y="659222"/>
                  </a:cubicBezTo>
                  <a:cubicBezTo>
                    <a:pt x="134329" y="659222"/>
                    <a:pt x="139768" y="659222"/>
                    <a:pt x="147927" y="659222"/>
                  </a:cubicBezTo>
                  <a:cubicBezTo>
                    <a:pt x="147927" y="656502"/>
                    <a:pt x="145207" y="653783"/>
                    <a:pt x="145207" y="653783"/>
                  </a:cubicBezTo>
                  <a:cubicBezTo>
                    <a:pt x="131609" y="632025"/>
                    <a:pt x="131609" y="610268"/>
                    <a:pt x="131609" y="585791"/>
                  </a:cubicBezTo>
                  <a:cubicBezTo>
                    <a:pt x="131609" y="555875"/>
                    <a:pt x="131609" y="528679"/>
                    <a:pt x="134329" y="498762"/>
                  </a:cubicBezTo>
                  <a:cubicBezTo>
                    <a:pt x="134329" y="468846"/>
                    <a:pt x="137048" y="436210"/>
                    <a:pt x="137048" y="406294"/>
                  </a:cubicBezTo>
                  <a:cubicBezTo>
                    <a:pt x="137048" y="379098"/>
                    <a:pt x="134329" y="354621"/>
                    <a:pt x="134329" y="327424"/>
                  </a:cubicBezTo>
                  <a:cubicBezTo>
                    <a:pt x="134329" y="302947"/>
                    <a:pt x="137048" y="278470"/>
                    <a:pt x="137048" y="253993"/>
                  </a:cubicBezTo>
                  <a:cubicBezTo>
                    <a:pt x="137048" y="237675"/>
                    <a:pt x="139768" y="224077"/>
                    <a:pt x="139768" y="207759"/>
                  </a:cubicBezTo>
                  <a:cubicBezTo>
                    <a:pt x="139768" y="196881"/>
                    <a:pt x="137048" y="183282"/>
                    <a:pt x="137048" y="172404"/>
                  </a:cubicBezTo>
                  <a:cubicBezTo>
                    <a:pt x="137048" y="150647"/>
                    <a:pt x="137048" y="131609"/>
                    <a:pt x="137048" y="112571"/>
                  </a:cubicBezTo>
                  <a:cubicBezTo>
                    <a:pt x="134329" y="112571"/>
                    <a:pt x="137048" y="112571"/>
                    <a:pt x="126170" y="112571"/>
                  </a:cubicBezTo>
                  <a:cubicBezTo>
                    <a:pt x="118011" y="112571"/>
                    <a:pt x="109852" y="112571"/>
                    <a:pt x="101693" y="112571"/>
                  </a:cubicBezTo>
                  <a:cubicBezTo>
                    <a:pt x="93534" y="112571"/>
                    <a:pt x="82655" y="109852"/>
                    <a:pt x="74496" y="107132"/>
                  </a:cubicBezTo>
                  <a:cubicBezTo>
                    <a:pt x="66337" y="104412"/>
                    <a:pt x="58178" y="96253"/>
                    <a:pt x="58178" y="90814"/>
                  </a:cubicBezTo>
                  <a:cubicBezTo>
                    <a:pt x="58178" y="88094"/>
                    <a:pt x="58178" y="85375"/>
                    <a:pt x="63617" y="82655"/>
                  </a:cubicBezTo>
                  <a:cubicBezTo>
                    <a:pt x="69057" y="79936"/>
                    <a:pt x="79935" y="77216"/>
                    <a:pt x="85375" y="74496"/>
                  </a:cubicBezTo>
                  <a:cubicBezTo>
                    <a:pt x="104412" y="71776"/>
                    <a:pt x="128889" y="69057"/>
                    <a:pt x="137048" y="69057"/>
                  </a:cubicBezTo>
                  <a:cubicBezTo>
                    <a:pt x="137048" y="69057"/>
                    <a:pt x="139768" y="69057"/>
                    <a:pt x="145207" y="69057"/>
                  </a:cubicBezTo>
                  <a:cubicBezTo>
                    <a:pt x="150646" y="60898"/>
                    <a:pt x="158806" y="58178"/>
                    <a:pt x="169684" y="58178"/>
                  </a:cubicBezTo>
                  <a:cubicBezTo>
                    <a:pt x="172404" y="58178"/>
                    <a:pt x="175123" y="58178"/>
                    <a:pt x="177843" y="58178"/>
                  </a:cubicBezTo>
                  <a:cubicBezTo>
                    <a:pt x="186002" y="58178"/>
                    <a:pt x="196881" y="63617"/>
                    <a:pt x="205040" y="66337"/>
                  </a:cubicBezTo>
                  <a:cubicBezTo>
                    <a:pt x="237676" y="66337"/>
                    <a:pt x="273031" y="63617"/>
                    <a:pt x="286629" y="63617"/>
                  </a:cubicBezTo>
                  <a:cubicBezTo>
                    <a:pt x="300228" y="63617"/>
                    <a:pt x="324705" y="63617"/>
                    <a:pt x="324705" y="79936"/>
                  </a:cubicBezTo>
                  <a:cubicBezTo>
                    <a:pt x="324705" y="88094"/>
                    <a:pt x="321985" y="90814"/>
                    <a:pt x="319265" y="96253"/>
                  </a:cubicBezTo>
                  <a:cubicBezTo>
                    <a:pt x="313826" y="101693"/>
                    <a:pt x="308387" y="104412"/>
                    <a:pt x="302948" y="104412"/>
                  </a:cubicBezTo>
                  <a:cubicBezTo>
                    <a:pt x="289349" y="112571"/>
                    <a:pt x="283910" y="112571"/>
                    <a:pt x="278471" y="112571"/>
                  </a:cubicBezTo>
                  <a:cubicBezTo>
                    <a:pt x="273031" y="112571"/>
                    <a:pt x="253994" y="112571"/>
                    <a:pt x="232236" y="112571"/>
                  </a:cubicBezTo>
                  <a:cubicBezTo>
                    <a:pt x="237676" y="120730"/>
                    <a:pt x="240395" y="128889"/>
                    <a:pt x="240395" y="137048"/>
                  </a:cubicBezTo>
                  <a:cubicBezTo>
                    <a:pt x="240395" y="142487"/>
                    <a:pt x="240395" y="145207"/>
                    <a:pt x="240395" y="150647"/>
                  </a:cubicBezTo>
                  <a:cubicBezTo>
                    <a:pt x="240395" y="153366"/>
                    <a:pt x="240395" y="156086"/>
                    <a:pt x="243115" y="158805"/>
                  </a:cubicBezTo>
                  <a:cubicBezTo>
                    <a:pt x="245835" y="169684"/>
                    <a:pt x="245835" y="180563"/>
                    <a:pt x="248554" y="188722"/>
                  </a:cubicBezTo>
                  <a:cubicBezTo>
                    <a:pt x="248554" y="191441"/>
                    <a:pt x="248554" y="194161"/>
                    <a:pt x="248554" y="199600"/>
                  </a:cubicBezTo>
                  <a:cubicBezTo>
                    <a:pt x="248554" y="207759"/>
                    <a:pt x="248554" y="213198"/>
                    <a:pt x="248554" y="221357"/>
                  </a:cubicBezTo>
                  <a:cubicBezTo>
                    <a:pt x="248554" y="234956"/>
                    <a:pt x="251274" y="248554"/>
                    <a:pt x="253994" y="264872"/>
                  </a:cubicBezTo>
                  <a:cubicBezTo>
                    <a:pt x="256713" y="275751"/>
                    <a:pt x="259433" y="286629"/>
                    <a:pt x="262153" y="297508"/>
                  </a:cubicBezTo>
                  <a:cubicBezTo>
                    <a:pt x="264872" y="305667"/>
                    <a:pt x="264872" y="313826"/>
                    <a:pt x="264872" y="324704"/>
                  </a:cubicBezTo>
                  <a:cubicBezTo>
                    <a:pt x="264872" y="327424"/>
                    <a:pt x="264872" y="330144"/>
                    <a:pt x="264872" y="332863"/>
                  </a:cubicBezTo>
                  <a:cubicBezTo>
                    <a:pt x="264872" y="338303"/>
                    <a:pt x="264872" y="346462"/>
                    <a:pt x="264872" y="351901"/>
                  </a:cubicBezTo>
                  <a:cubicBezTo>
                    <a:pt x="264872" y="357340"/>
                    <a:pt x="262153" y="365499"/>
                    <a:pt x="262153" y="370939"/>
                  </a:cubicBezTo>
                  <a:cubicBezTo>
                    <a:pt x="262153" y="376378"/>
                    <a:pt x="264872" y="384537"/>
                    <a:pt x="267592" y="384537"/>
                  </a:cubicBezTo>
                  <a:cubicBezTo>
                    <a:pt x="273031" y="384537"/>
                    <a:pt x="275751" y="376378"/>
                    <a:pt x="278471" y="370939"/>
                  </a:cubicBezTo>
                  <a:cubicBezTo>
                    <a:pt x="283910" y="360060"/>
                    <a:pt x="289349" y="346462"/>
                    <a:pt x="297508" y="332863"/>
                  </a:cubicBezTo>
                  <a:cubicBezTo>
                    <a:pt x="302948" y="324704"/>
                    <a:pt x="305667" y="313826"/>
                    <a:pt x="311106" y="305667"/>
                  </a:cubicBezTo>
                  <a:cubicBezTo>
                    <a:pt x="319265" y="289349"/>
                    <a:pt x="327424" y="275751"/>
                    <a:pt x="335583" y="259433"/>
                  </a:cubicBezTo>
                  <a:cubicBezTo>
                    <a:pt x="341023" y="248554"/>
                    <a:pt x="349182" y="234956"/>
                    <a:pt x="354621" y="224077"/>
                  </a:cubicBezTo>
                  <a:cubicBezTo>
                    <a:pt x="362780" y="207759"/>
                    <a:pt x="370939" y="191441"/>
                    <a:pt x="381817" y="172404"/>
                  </a:cubicBezTo>
                  <a:cubicBezTo>
                    <a:pt x="389977" y="153366"/>
                    <a:pt x="400855" y="134329"/>
                    <a:pt x="409014" y="118011"/>
                  </a:cubicBezTo>
                  <a:cubicBezTo>
                    <a:pt x="409014" y="115291"/>
                    <a:pt x="409014" y="115291"/>
                    <a:pt x="411734" y="115291"/>
                  </a:cubicBezTo>
                  <a:cubicBezTo>
                    <a:pt x="406294" y="115291"/>
                    <a:pt x="400855" y="115291"/>
                    <a:pt x="398136" y="115291"/>
                  </a:cubicBezTo>
                  <a:cubicBezTo>
                    <a:pt x="392696" y="115291"/>
                    <a:pt x="384537" y="115291"/>
                    <a:pt x="379098" y="109852"/>
                  </a:cubicBezTo>
                  <a:cubicBezTo>
                    <a:pt x="373659" y="107132"/>
                    <a:pt x="368219" y="98973"/>
                    <a:pt x="368219" y="93534"/>
                  </a:cubicBezTo>
                  <a:cubicBezTo>
                    <a:pt x="368219" y="90814"/>
                    <a:pt x="368219" y="88094"/>
                    <a:pt x="370939" y="85375"/>
                  </a:cubicBezTo>
                  <a:cubicBezTo>
                    <a:pt x="373659" y="82655"/>
                    <a:pt x="381817" y="79936"/>
                    <a:pt x="387257" y="77216"/>
                  </a:cubicBezTo>
                  <a:cubicBezTo>
                    <a:pt x="400855" y="74496"/>
                    <a:pt x="414453" y="71776"/>
                    <a:pt x="422612" y="71776"/>
                  </a:cubicBezTo>
                  <a:cubicBezTo>
                    <a:pt x="425332" y="71776"/>
                    <a:pt x="430771" y="71776"/>
                    <a:pt x="436211" y="71776"/>
                  </a:cubicBezTo>
                  <a:cubicBezTo>
                    <a:pt x="436211" y="71776"/>
                    <a:pt x="438930" y="69057"/>
                    <a:pt x="438930" y="69057"/>
                  </a:cubicBezTo>
                  <a:cubicBezTo>
                    <a:pt x="444370" y="66337"/>
                    <a:pt x="447089" y="66337"/>
                    <a:pt x="452529" y="66337"/>
                  </a:cubicBezTo>
                  <a:cubicBezTo>
                    <a:pt x="457968" y="66337"/>
                    <a:pt x="460688" y="66337"/>
                    <a:pt x="466127" y="69057"/>
                  </a:cubicBezTo>
                  <a:cubicBezTo>
                    <a:pt x="468847" y="69057"/>
                    <a:pt x="471566" y="71776"/>
                    <a:pt x="471566" y="71776"/>
                  </a:cubicBezTo>
                  <a:cubicBezTo>
                    <a:pt x="490604" y="71776"/>
                    <a:pt x="506922" y="71776"/>
                    <a:pt x="515081" y="71776"/>
                  </a:cubicBezTo>
                  <a:cubicBezTo>
                    <a:pt x="523240" y="71776"/>
                    <a:pt x="542277" y="71776"/>
                    <a:pt x="542277" y="88094"/>
                  </a:cubicBezTo>
                  <a:cubicBezTo>
                    <a:pt x="542277" y="96253"/>
                    <a:pt x="542277" y="98973"/>
                    <a:pt x="536838" y="104412"/>
                  </a:cubicBezTo>
                  <a:cubicBezTo>
                    <a:pt x="534119" y="109852"/>
                    <a:pt x="528679" y="112571"/>
                    <a:pt x="525959" y="112571"/>
                  </a:cubicBezTo>
                  <a:cubicBezTo>
                    <a:pt x="520520" y="115291"/>
                    <a:pt x="515081" y="115291"/>
                    <a:pt x="509642" y="115291"/>
                  </a:cubicBezTo>
                  <a:cubicBezTo>
                    <a:pt x="506922" y="115291"/>
                    <a:pt x="487884" y="115291"/>
                    <a:pt x="468847" y="115291"/>
                  </a:cubicBezTo>
                  <a:cubicBezTo>
                    <a:pt x="466127" y="123450"/>
                    <a:pt x="460688" y="128889"/>
                    <a:pt x="457968" y="137048"/>
                  </a:cubicBezTo>
                  <a:cubicBezTo>
                    <a:pt x="447089" y="156086"/>
                    <a:pt x="438930" y="175123"/>
                    <a:pt x="430771" y="194161"/>
                  </a:cubicBezTo>
                  <a:cubicBezTo>
                    <a:pt x="419893" y="215918"/>
                    <a:pt x="411734" y="240395"/>
                    <a:pt x="400855" y="262152"/>
                  </a:cubicBezTo>
                  <a:cubicBezTo>
                    <a:pt x="387257" y="289349"/>
                    <a:pt x="373659" y="311106"/>
                    <a:pt x="360060" y="332863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>
                <a:solidFill>
                  <a:srgbClr val="FFFFFF"/>
                </a:solidFill>
              </a:endParaRPr>
            </a:p>
          </p:txBody>
        </p:sp>
        <p:sp>
          <p:nvSpPr>
            <p:cNvPr id="40" name="Freeform: Shape 39">
              <a:extLst>
                <a:ext uri="{FF2B5EF4-FFF2-40B4-BE49-F238E27FC236}">
                  <a16:creationId xmlns:a16="http://schemas.microsoft.com/office/drawing/2014/main" id="{5C916629-4CAD-4AF4-9647-09F37B1F9C13}"/>
                </a:ext>
              </a:extLst>
            </p:cNvPr>
            <p:cNvSpPr/>
            <p:nvPr/>
          </p:nvSpPr>
          <p:spPr>
            <a:xfrm>
              <a:off x="4335316" y="4186718"/>
              <a:ext cx="353556" cy="761503"/>
            </a:xfrm>
            <a:custGeom>
              <a:avLst/>
              <a:gdLst>
                <a:gd name="connsiteX0" fmla="*/ 283910 w 353555"/>
                <a:gd name="connsiteY0" fmla="*/ 672820 h 761503"/>
                <a:gd name="connsiteX1" fmla="*/ 321985 w 353555"/>
                <a:gd name="connsiteY1" fmla="*/ 689138 h 761503"/>
                <a:gd name="connsiteX2" fmla="*/ 316546 w 353555"/>
                <a:gd name="connsiteY2" fmla="*/ 705456 h 761503"/>
                <a:gd name="connsiteX3" fmla="*/ 300228 w 353555"/>
                <a:gd name="connsiteY3" fmla="*/ 713615 h 761503"/>
                <a:gd name="connsiteX4" fmla="*/ 278471 w 353555"/>
                <a:gd name="connsiteY4" fmla="*/ 716335 h 761503"/>
                <a:gd name="connsiteX5" fmla="*/ 237676 w 353555"/>
                <a:gd name="connsiteY5" fmla="*/ 716335 h 761503"/>
                <a:gd name="connsiteX6" fmla="*/ 180563 w 353555"/>
                <a:gd name="connsiteY6" fmla="*/ 719054 h 761503"/>
                <a:gd name="connsiteX7" fmla="*/ 126170 w 353555"/>
                <a:gd name="connsiteY7" fmla="*/ 719054 h 761503"/>
                <a:gd name="connsiteX8" fmla="*/ 101693 w 353555"/>
                <a:gd name="connsiteY8" fmla="*/ 719054 h 761503"/>
                <a:gd name="connsiteX9" fmla="*/ 74496 w 353555"/>
                <a:gd name="connsiteY9" fmla="*/ 713615 h 761503"/>
                <a:gd name="connsiteX10" fmla="*/ 58178 w 353555"/>
                <a:gd name="connsiteY10" fmla="*/ 697297 h 761503"/>
                <a:gd name="connsiteX11" fmla="*/ 63617 w 353555"/>
                <a:gd name="connsiteY11" fmla="*/ 689138 h 761503"/>
                <a:gd name="connsiteX12" fmla="*/ 85375 w 353555"/>
                <a:gd name="connsiteY12" fmla="*/ 680979 h 761503"/>
                <a:gd name="connsiteX13" fmla="*/ 131609 w 353555"/>
                <a:gd name="connsiteY13" fmla="*/ 675540 h 761503"/>
                <a:gd name="connsiteX14" fmla="*/ 142488 w 353555"/>
                <a:gd name="connsiteY14" fmla="*/ 675540 h 761503"/>
                <a:gd name="connsiteX15" fmla="*/ 131609 w 353555"/>
                <a:gd name="connsiteY15" fmla="*/ 653783 h 761503"/>
                <a:gd name="connsiteX16" fmla="*/ 128889 w 353555"/>
                <a:gd name="connsiteY16" fmla="*/ 640184 h 761503"/>
                <a:gd name="connsiteX17" fmla="*/ 128889 w 353555"/>
                <a:gd name="connsiteY17" fmla="*/ 629306 h 761503"/>
                <a:gd name="connsiteX18" fmla="*/ 128889 w 353555"/>
                <a:gd name="connsiteY18" fmla="*/ 621147 h 761503"/>
                <a:gd name="connsiteX19" fmla="*/ 128889 w 353555"/>
                <a:gd name="connsiteY19" fmla="*/ 593950 h 761503"/>
                <a:gd name="connsiteX20" fmla="*/ 128889 w 353555"/>
                <a:gd name="connsiteY20" fmla="*/ 583072 h 761503"/>
                <a:gd name="connsiteX21" fmla="*/ 128889 w 353555"/>
                <a:gd name="connsiteY21" fmla="*/ 436210 h 761503"/>
                <a:gd name="connsiteX22" fmla="*/ 128889 w 353555"/>
                <a:gd name="connsiteY22" fmla="*/ 357340 h 761503"/>
                <a:gd name="connsiteX23" fmla="*/ 131609 w 353555"/>
                <a:gd name="connsiteY23" fmla="*/ 289349 h 761503"/>
                <a:gd name="connsiteX24" fmla="*/ 131609 w 353555"/>
                <a:gd name="connsiteY24" fmla="*/ 251274 h 761503"/>
                <a:gd name="connsiteX25" fmla="*/ 131609 w 353555"/>
                <a:gd name="connsiteY25" fmla="*/ 205040 h 761503"/>
                <a:gd name="connsiteX26" fmla="*/ 131609 w 353555"/>
                <a:gd name="connsiteY26" fmla="*/ 139768 h 761503"/>
                <a:gd name="connsiteX27" fmla="*/ 131609 w 353555"/>
                <a:gd name="connsiteY27" fmla="*/ 128889 h 761503"/>
                <a:gd name="connsiteX28" fmla="*/ 126170 w 353555"/>
                <a:gd name="connsiteY28" fmla="*/ 128889 h 761503"/>
                <a:gd name="connsiteX29" fmla="*/ 101693 w 353555"/>
                <a:gd name="connsiteY29" fmla="*/ 128889 h 761503"/>
                <a:gd name="connsiteX30" fmla="*/ 74496 w 353555"/>
                <a:gd name="connsiteY30" fmla="*/ 123450 h 761503"/>
                <a:gd name="connsiteX31" fmla="*/ 58178 w 353555"/>
                <a:gd name="connsiteY31" fmla="*/ 107132 h 761503"/>
                <a:gd name="connsiteX32" fmla="*/ 60898 w 353555"/>
                <a:gd name="connsiteY32" fmla="*/ 98973 h 761503"/>
                <a:gd name="connsiteX33" fmla="*/ 82655 w 353555"/>
                <a:gd name="connsiteY33" fmla="*/ 93534 h 761503"/>
                <a:gd name="connsiteX34" fmla="*/ 131609 w 353555"/>
                <a:gd name="connsiteY34" fmla="*/ 88094 h 761503"/>
                <a:gd name="connsiteX35" fmla="*/ 131609 w 353555"/>
                <a:gd name="connsiteY35" fmla="*/ 82655 h 761503"/>
                <a:gd name="connsiteX36" fmla="*/ 134329 w 353555"/>
                <a:gd name="connsiteY36" fmla="*/ 71776 h 761503"/>
                <a:gd name="connsiteX37" fmla="*/ 147927 w 353555"/>
                <a:gd name="connsiteY37" fmla="*/ 63617 h 761503"/>
                <a:gd name="connsiteX38" fmla="*/ 164245 w 353555"/>
                <a:gd name="connsiteY38" fmla="*/ 58178 h 761503"/>
                <a:gd name="connsiteX39" fmla="*/ 177843 w 353555"/>
                <a:gd name="connsiteY39" fmla="*/ 58178 h 761503"/>
                <a:gd name="connsiteX40" fmla="*/ 196881 w 353555"/>
                <a:gd name="connsiteY40" fmla="*/ 60898 h 761503"/>
                <a:gd name="connsiteX41" fmla="*/ 232236 w 353555"/>
                <a:gd name="connsiteY41" fmla="*/ 88094 h 761503"/>
                <a:gd name="connsiteX42" fmla="*/ 278471 w 353555"/>
                <a:gd name="connsiteY42" fmla="*/ 88094 h 761503"/>
                <a:gd name="connsiteX43" fmla="*/ 316546 w 353555"/>
                <a:gd name="connsiteY43" fmla="*/ 104412 h 761503"/>
                <a:gd name="connsiteX44" fmla="*/ 311106 w 353555"/>
                <a:gd name="connsiteY44" fmla="*/ 120730 h 761503"/>
                <a:gd name="connsiteX45" fmla="*/ 294788 w 353555"/>
                <a:gd name="connsiteY45" fmla="*/ 128889 h 761503"/>
                <a:gd name="connsiteX46" fmla="*/ 273031 w 353555"/>
                <a:gd name="connsiteY46" fmla="*/ 131609 h 761503"/>
                <a:gd name="connsiteX47" fmla="*/ 243115 w 353555"/>
                <a:gd name="connsiteY47" fmla="*/ 131609 h 761503"/>
                <a:gd name="connsiteX48" fmla="*/ 243115 w 353555"/>
                <a:gd name="connsiteY48" fmla="*/ 134329 h 761503"/>
                <a:gd name="connsiteX49" fmla="*/ 248554 w 353555"/>
                <a:gd name="connsiteY49" fmla="*/ 169684 h 761503"/>
                <a:gd name="connsiteX50" fmla="*/ 251274 w 353555"/>
                <a:gd name="connsiteY50" fmla="*/ 205040 h 761503"/>
                <a:gd name="connsiteX51" fmla="*/ 251274 w 353555"/>
                <a:gd name="connsiteY51" fmla="*/ 240395 h 761503"/>
                <a:gd name="connsiteX52" fmla="*/ 251274 w 353555"/>
                <a:gd name="connsiteY52" fmla="*/ 256713 h 761503"/>
                <a:gd name="connsiteX53" fmla="*/ 253994 w 353555"/>
                <a:gd name="connsiteY53" fmla="*/ 270311 h 761503"/>
                <a:gd name="connsiteX54" fmla="*/ 259433 w 353555"/>
                <a:gd name="connsiteY54" fmla="*/ 343742 h 761503"/>
                <a:gd name="connsiteX55" fmla="*/ 262153 w 353555"/>
                <a:gd name="connsiteY55" fmla="*/ 425332 h 761503"/>
                <a:gd name="connsiteX56" fmla="*/ 264872 w 353555"/>
                <a:gd name="connsiteY56" fmla="*/ 490603 h 761503"/>
                <a:gd name="connsiteX57" fmla="*/ 270312 w 353555"/>
                <a:gd name="connsiteY57" fmla="*/ 564034 h 761503"/>
                <a:gd name="connsiteX58" fmla="*/ 270312 w 353555"/>
                <a:gd name="connsiteY58" fmla="*/ 599390 h 761503"/>
                <a:gd name="connsiteX59" fmla="*/ 270312 w 353555"/>
                <a:gd name="connsiteY59" fmla="*/ 637465 h 761503"/>
                <a:gd name="connsiteX60" fmla="*/ 264872 w 353555"/>
                <a:gd name="connsiteY60" fmla="*/ 670101 h 761503"/>
                <a:gd name="connsiteX61" fmla="*/ 283910 w 353555"/>
                <a:gd name="connsiteY61" fmla="*/ 672820 h 761503"/>
                <a:gd name="connsiteX62" fmla="*/ 283910 w 353555"/>
                <a:gd name="connsiteY62" fmla="*/ 672820 h 761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</a:cxnLst>
              <a:rect l="l" t="t" r="r" b="b"/>
              <a:pathLst>
                <a:path w="353555" h="761503">
                  <a:moveTo>
                    <a:pt x="283910" y="672820"/>
                  </a:moveTo>
                  <a:cubicBezTo>
                    <a:pt x="297508" y="672820"/>
                    <a:pt x="321985" y="672820"/>
                    <a:pt x="321985" y="689138"/>
                  </a:cubicBezTo>
                  <a:cubicBezTo>
                    <a:pt x="321985" y="697297"/>
                    <a:pt x="319265" y="697297"/>
                    <a:pt x="316546" y="705456"/>
                  </a:cubicBezTo>
                  <a:cubicBezTo>
                    <a:pt x="311106" y="710895"/>
                    <a:pt x="305667" y="713615"/>
                    <a:pt x="300228" y="713615"/>
                  </a:cubicBezTo>
                  <a:cubicBezTo>
                    <a:pt x="292069" y="716335"/>
                    <a:pt x="283910" y="716335"/>
                    <a:pt x="278471" y="716335"/>
                  </a:cubicBezTo>
                  <a:cubicBezTo>
                    <a:pt x="275751" y="716335"/>
                    <a:pt x="256713" y="716335"/>
                    <a:pt x="237676" y="716335"/>
                  </a:cubicBezTo>
                  <a:cubicBezTo>
                    <a:pt x="213199" y="716335"/>
                    <a:pt x="186002" y="719054"/>
                    <a:pt x="180563" y="719054"/>
                  </a:cubicBezTo>
                  <a:cubicBezTo>
                    <a:pt x="166965" y="719054"/>
                    <a:pt x="142488" y="719054"/>
                    <a:pt x="126170" y="719054"/>
                  </a:cubicBezTo>
                  <a:cubicBezTo>
                    <a:pt x="118011" y="719054"/>
                    <a:pt x="109852" y="719054"/>
                    <a:pt x="101693" y="719054"/>
                  </a:cubicBezTo>
                  <a:cubicBezTo>
                    <a:pt x="93534" y="719054"/>
                    <a:pt x="82655" y="719054"/>
                    <a:pt x="74496" y="713615"/>
                  </a:cubicBezTo>
                  <a:cubicBezTo>
                    <a:pt x="66337" y="710895"/>
                    <a:pt x="58178" y="702736"/>
                    <a:pt x="58178" y="697297"/>
                  </a:cubicBezTo>
                  <a:cubicBezTo>
                    <a:pt x="58178" y="694578"/>
                    <a:pt x="58178" y="691858"/>
                    <a:pt x="63617" y="689138"/>
                  </a:cubicBezTo>
                  <a:cubicBezTo>
                    <a:pt x="69057" y="686418"/>
                    <a:pt x="79935" y="683699"/>
                    <a:pt x="85375" y="680979"/>
                  </a:cubicBezTo>
                  <a:cubicBezTo>
                    <a:pt x="104412" y="678260"/>
                    <a:pt x="123450" y="675540"/>
                    <a:pt x="131609" y="675540"/>
                  </a:cubicBezTo>
                  <a:cubicBezTo>
                    <a:pt x="134329" y="675540"/>
                    <a:pt x="137048" y="675540"/>
                    <a:pt x="142488" y="675540"/>
                  </a:cubicBezTo>
                  <a:cubicBezTo>
                    <a:pt x="134329" y="670101"/>
                    <a:pt x="131609" y="661942"/>
                    <a:pt x="131609" y="653783"/>
                  </a:cubicBezTo>
                  <a:cubicBezTo>
                    <a:pt x="131609" y="648343"/>
                    <a:pt x="131609" y="642904"/>
                    <a:pt x="128889" y="640184"/>
                  </a:cubicBezTo>
                  <a:cubicBezTo>
                    <a:pt x="128889" y="637465"/>
                    <a:pt x="128889" y="634745"/>
                    <a:pt x="128889" y="629306"/>
                  </a:cubicBezTo>
                  <a:cubicBezTo>
                    <a:pt x="128889" y="626586"/>
                    <a:pt x="128889" y="623867"/>
                    <a:pt x="128889" y="621147"/>
                  </a:cubicBezTo>
                  <a:cubicBezTo>
                    <a:pt x="128889" y="612988"/>
                    <a:pt x="128889" y="604829"/>
                    <a:pt x="128889" y="593950"/>
                  </a:cubicBezTo>
                  <a:cubicBezTo>
                    <a:pt x="128889" y="591231"/>
                    <a:pt x="128889" y="585791"/>
                    <a:pt x="128889" y="583072"/>
                  </a:cubicBezTo>
                  <a:cubicBezTo>
                    <a:pt x="128889" y="534118"/>
                    <a:pt x="131609" y="485164"/>
                    <a:pt x="128889" y="436210"/>
                  </a:cubicBezTo>
                  <a:cubicBezTo>
                    <a:pt x="128889" y="409014"/>
                    <a:pt x="128889" y="384537"/>
                    <a:pt x="128889" y="357340"/>
                  </a:cubicBezTo>
                  <a:cubicBezTo>
                    <a:pt x="128889" y="335583"/>
                    <a:pt x="131609" y="313826"/>
                    <a:pt x="131609" y="289349"/>
                  </a:cubicBezTo>
                  <a:cubicBezTo>
                    <a:pt x="131609" y="275751"/>
                    <a:pt x="131609" y="264872"/>
                    <a:pt x="131609" y="251274"/>
                  </a:cubicBezTo>
                  <a:cubicBezTo>
                    <a:pt x="131609" y="234956"/>
                    <a:pt x="131609" y="221357"/>
                    <a:pt x="131609" y="205040"/>
                  </a:cubicBezTo>
                  <a:cubicBezTo>
                    <a:pt x="131609" y="183282"/>
                    <a:pt x="131609" y="161525"/>
                    <a:pt x="131609" y="139768"/>
                  </a:cubicBezTo>
                  <a:cubicBezTo>
                    <a:pt x="131609" y="137048"/>
                    <a:pt x="131609" y="134329"/>
                    <a:pt x="131609" y="128889"/>
                  </a:cubicBezTo>
                  <a:cubicBezTo>
                    <a:pt x="128889" y="128889"/>
                    <a:pt x="126170" y="128889"/>
                    <a:pt x="126170" y="128889"/>
                  </a:cubicBezTo>
                  <a:cubicBezTo>
                    <a:pt x="118011" y="128889"/>
                    <a:pt x="109852" y="128889"/>
                    <a:pt x="101693" y="128889"/>
                  </a:cubicBezTo>
                  <a:cubicBezTo>
                    <a:pt x="93534" y="128889"/>
                    <a:pt x="82655" y="128889"/>
                    <a:pt x="74496" y="123450"/>
                  </a:cubicBezTo>
                  <a:cubicBezTo>
                    <a:pt x="66337" y="120730"/>
                    <a:pt x="58178" y="112571"/>
                    <a:pt x="58178" y="107132"/>
                  </a:cubicBezTo>
                  <a:cubicBezTo>
                    <a:pt x="58178" y="104412"/>
                    <a:pt x="58178" y="101693"/>
                    <a:pt x="60898" y="98973"/>
                  </a:cubicBezTo>
                  <a:cubicBezTo>
                    <a:pt x="63617" y="96253"/>
                    <a:pt x="77216" y="93534"/>
                    <a:pt x="82655" y="93534"/>
                  </a:cubicBezTo>
                  <a:cubicBezTo>
                    <a:pt x="98973" y="90814"/>
                    <a:pt x="123450" y="88094"/>
                    <a:pt x="131609" y="88094"/>
                  </a:cubicBezTo>
                  <a:cubicBezTo>
                    <a:pt x="131609" y="85375"/>
                    <a:pt x="131609" y="85375"/>
                    <a:pt x="131609" y="82655"/>
                  </a:cubicBezTo>
                  <a:cubicBezTo>
                    <a:pt x="131609" y="77216"/>
                    <a:pt x="131609" y="74496"/>
                    <a:pt x="134329" y="71776"/>
                  </a:cubicBezTo>
                  <a:cubicBezTo>
                    <a:pt x="137048" y="69057"/>
                    <a:pt x="145207" y="66337"/>
                    <a:pt x="147927" y="63617"/>
                  </a:cubicBezTo>
                  <a:cubicBezTo>
                    <a:pt x="153366" y="60898"/>
                    <a:pt x="158806" y="58178"/>
                    <a:pt x="164245" y="58178"/>
                  </a:cubicBezTo>
                  <a:cubicBezTo>
                    <a:pt x="169684" y="58178"/>
                    <a:pt x="175123" y="58178"/>
                    <a:pt x="177843" y="58178"/>
                  </a:cubicBezTo>
                  <a:cubicBezTo>
                    <a:pt x="183283" y="58178"/>
                    <a:pt x="191442" y="58178"/>
                    <a:pt x="196881" y="60898"/>
                  </a:cubicBezTo>
                  <a:cubicBezTo>
                    <a:pt x="213199" y="63617"/>
                    <a:pt x="224077" y="74496"/>
                    <a:pt x="232236" y="88094"/>
                  </a:cubicBezTo>
                  <a:cubicBezTo>
                    <a:pt x="253994" y="88094"/>
                    <a:pt x="270312" y="88094"/>
                    <a:pt x="278471" y="88094"/>
                  </a:cubicBezTo>
                  <a:cubicBezTo>
                    <a:pt x="292069" y="88094"/>
                    <a:pt x="316546" y="88094"/>
                    <a:pt x="316546" y="104412"/>
                  </a:cubicBezTo>
                  <a:cubicBezTo>
                    <a:pt x="316546" y="112571"/>
                    <a:pt x="313826" y="112571"/>
                    <a:pt x="311106" y="120730"/>
                  </a:cubicBezTo>
                  <a:cubicBezTo>
                    <a:pt x="305667" y="126170"/>
                    <a:pt x="300228" y="128889"/>
                    <a:pt x="294788" y="128889"/>
                  </a:cubicBezTo>
                  <a:cubicBezTo>
                    <a:pt x="286630" y="131609"/>
                    <a:pt x="278471" y="131609"/>
                    <a:pt x="273031" y="131609"/>
                  </a:cubicBezTo>
                  <a:cubicBezTo>
                    <a:pt x="270312" y="131609"/>
                    <a:pt x="259433" y="131609"/>
                    <a:pt x="243115" y="131609"/>
                  </a:cubicBezTo>
                  <a:lnTo>
                    <a:pt x="243115" y="134329"/>
                  </a:lnTo>
                  <a:cubicBezTo>
                    <a:pt x="245835" y="145207"/>
                    <a:pt x="245835" y="158805"/>
                    <a:pt x="248554" y="169684"/>
                  </a:cubicBezTo>
                  <a:cubicBezTo>
                    <a:pt x="251274" y="180563"/>
                    <a:pt x="251274" y="194161"/>
                    <a:pt x="251274" y="205040"/>
                  </a:cubicBezTo>
                  <a:cubicBezTo>
                    <a:pt x="251274" y="215918"/>
                    <a:pt x="251274" y="226797"/>
                    <a:pt x="251274" y="240395"/>
                  </a:cubicBezTo>
                  <a:cubicBezTo>
                    <a:pt x="251274" y="245834"/>
                    <a:pt x="251274" y="251274"/>
                    <a:pt x="251274" y="256713"/>
                  </a:cubicBezTo>
                  <a:cubicBezTo>
                    <a:pt x="251274" y="262152"/>
                    <a:pt x="251274" y="267592"/>
                    <a:pt x="253994" y="270311"/>
                  </a:cubicBezTo>
                  <a:cubicBezTo>
                    <a:pt x="256713" y="294788"/>
                    <a:pt x="256713" y="319265"/>
                    <a:pt x="259433" y="343742"/>
                  </a:cubicBezTo>
                  <a:cubicBezTo>
                    <a:pt x="259433" y="370939"/>
                    <a:pt x="262153" y="398135"/>
                    <a:pt x="262153" y="425332"/>
                  </a:cubicBezTo>
                  <a:cubicBezTo>
                    <a:pt x="262153" y="447089"/>
                    <a:pt x="262153" y="468846"/>
                    <a:pt x="264872" y="490603"/>
                  </a:cubicBezTo>
                  <a:cubicBezTo>
                    <a:pt x="264872" y="515080"/>
                    <a:pt x="270312" y="539557"/>
                    <a:pt x="270312" y="564034"/>
                  </a:cubicBezTo>
                  <a:cubicBezTo>
                    <a:pt x="270312" y="574913"/>
                    <a:pt x="270312" y="588511"/>
                    <a:pt x="270312" y="599390"/>
                  </a:cubicBezTo>
                  <a:cubicBezTo>
                    <a:pt x="270312" y="612988"/>
                    <a:pt x="270312" y="623867"/>
                    <a:pt x="270312" y="637465"/>
                  </a:cubicBezTo>
                  <a:cubicBezTo>
                    <a:pt x="270312" y="648343"/>
                    <a:pt x="270312" y="661942"/>
                    <a:pt x="264872" y="670101"/>
                  </a:cubicBezTo>
                  <a:cubicBezTo>
                    <a:pt x="273031" y="672820"/>
                    <a:pt x="278471" y="672820"/>
                    <a:pt x="283910" y="672820"/>
                  </a:cubicBezTo>
                  <a:lnTo>
                    <a:pt x="283910" y="672820"/>
                  </a:ln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>
                <a:solidFill>
                  <a:srgbClr val="FFFFFF"/>
                </a:solidFill>
              </a:endParaRPr>
            </a:p>
          </p:txBody>
        </p:sp>
        <p:sp>
          <p:nvSpPr>
            <p:cNvPr id="41" name="Freeform: Shape 40">
              <a:extLst>
                <a:ext uri="{FF2B5EF4-FFF2-40B4-BE49-F238E27FC236}">
                  <a16:creationId xmlns:a16="http://schemas.microsoft.com/office/drawing/2014/main" id="{A634B62B-26FD-4099-9C72-DED3E7F20DC3}"/>
                </a:ext>
              </a:extLst>
            </p:cNvPr>
            <p:cNvSpPr/>
            <p:nvPr/>
          </p:nvSpPr>
          <p:spPr>
            <a:xfrm>
              <a:off x="4620880" y="4194877"/>
              <a:ext cx="598325" cy="761503"/>
            </a:xfrm>
            <a:custGeom>
              <a:avLst/>
              <a:gdLst>
                <a:gd name="connsiteX0" fmla="*/ 515081 w 598324"/>
                <a:gd name="connsiteY0" fmla="*/ 79935 h 761503"/>
                <a:gd name="connsiteX1" fmla="*/ 542277 w 598324"/>
                <a:gd name="connsiteY1" fmla="*/ 96253 h 761503"/>
                <a:gd name="connsiteX2" fmla="*/ 536838 w 598324"/>
                <a:gd name="connsiteY2" fmla="*/ 112571 h 761503"/>
                <a:gd name="connsiteX3" fmla="*/ 523240 w 598324"/>
                <a:gd name="connsiteY3" fmla="*/ 120730 h 761503"/>
                <a:gd name="connsiteX4" fmla="*/ 506922 w 598324"/>
                <a:gd name="connsiteY4" fmla="*/ 123450 h 761503"/>
                <a:gd name="connsiteX5" fmla="*/ 477006 w 598324"/>
                <a:gd name="connsiteY5" fmla="*/ 123450 h 761503"/>
                <a:gd name="connsiteX6" fmla="*/ 479725 w 598324"/>
                <a:gd name="connsiteY6" fmla="*/ 145207 h 761503"/>
                <a:gd name="connsiteX7" fmla="*/ 477006 w 598324"/>
                <a:gd name="connsiteY7" fmla="*/ 180563 h 761503"/>
                <a:gd name="connsiteX8" fmla="*/ 482445 w 598324"/>
                <a:gd name="connsiteY8" fmla="*/ 232236 h 761503"/>
                <a:gd name="connsiteX9" fmla="*/ 485165 w 598324"/>
                <a:gd name="connsiteY9" fmla="*/ 283909 h 761503"/>
                <a:gd name="connsiteX10" fmla="*/ 485165 w 598324"/>
                <a:gd name="connsiteY10" fmla="*/ 327424 h 761503"/>
                <a:gd name="connsiteX11" fmla="*/ 487884 w 598324"/>
                <a:gd name="connsiteY11" fmla="*/ 373658 h 761503"/>
                <a:gd name="connsiteX12" fmla="*/ 485165 w 598324"/>
                <a:gd name="connsiteY12" fmla="*/ 419892 h 761503"/>
                <a:gd name="connsiteX13" fmla="*/ 485165 w 598324"/>
                <a:gd name="connsiteY13" fmla="*/ 463407 h 761503"/>
                <a:gd name="connsiteX14" fmla="*/ 482445 w 598324"/>
                <a:gd name="connsiteY14" fmla="*/ 515080 h 761503"/>
                <a:gd name="connsiteX15" fmla="*/ 482445 w 598324"/>
                <a:gd name="connsiteY15" fmla="*/ 558595 h 761503"/>
                <a:gd name="connsiteX16" fmla="*/ 479725 w 598324"/>
                <a:gd name="connsiteY16" fmla="*/ 602109 h 761503"/>
                <a:gd name="connsiteX17" fmla="*/ 485165 w 598324"/>
                <a:gd name="connsiteY17" fmla="*/ 648343 h 761503"/>
                <a:gd name="connsiteX18" fmla="*/ 474286 w 598324"/>
                <a:gd name="connsiteY18" fmla="*/ 675540 h 761503"/>
                <a:gd name="connsiteX19" fmla="*/ 428052 w 598324"/>
                <a:gd name="connsiteY19" fmla="*/ 691858 h 761503"/>
                <a:gd name="connsiteX20" fmla="*/ 387257 w 598324"/>
                <a:gd name="connsiteY20" fmla="*/ 683699 h 761503"/>
                <a:gd name="connsiteX21" fmla="*/ 351901 w 598324"/>
                <a:gd name="connsiteY21" fmla="*/ 664661 h 761503"/>
                <a:gd name="connsiteX22" fmla="*/ 305667 w 598324"/>
                <a:gd name="connsiteY22" fmla="*/ 596670 h 761503"/>
                <a:gd name="connsiteX23" fmla="*/ 270312 w 598324"/>
                <a:gd name="connsiteY23" fmla="*/ 509641 h 761503"/>
                <a:gd name="connsiteX24" fmla="*/ 251274 w 598324"/>
                <a:gd name="connsiteY24" fmla="*/ 460687 h 761503"/>
                <a:gd name="connsiteX25" fmla="*/ 224077 w 598324"/>
                <a:gd name="connsiteY25" fmla="*/ 381817 h 761503"/>
                <a:gd name="connsiteX26" fmla="*/ 207759 w 598324"/>
                <a:gd name="connsiteY26" fmla="*/ 330144 h 761503"/>
                <a:gd name="connsiteX27" fmla="*/ 191442 w 598324"/>
                <a:gd name="connsiteY27" fmla="*/ 286629 h 761503"/>
                <a:gd name="connsiteX28" fmla="*/ 183283 w 598324"/>
                <a:gd name="connsiteY28" fmla="*/ 278470 h 761503"/>
                <a:gd name="connsiteX29" fmla="*/ 180563 w 598324"/>
                <a:gd name="connsiteY29" fmla="*/ 292068 h 761503"/>
                <a:gd name="connsiteX30" fmla="*/ 180563 w 598324"/>
                <a:gd name="connsiteY30" fmla="*/ 305667 h 761503"/>
                <a:gd name="connsiteX31" fmla="*/ 183283 w 598324"/>
                <a:gd name="connsiteY31" fmla="*/ 354620 h 761503"/>
                <a:gd name="connsiteX32" fmla="*/ 188722 w 598324"/>
                <a:gd name="connsiteY32" fmla="*/ 449808 h 761503"/>
                <a:gd name="connsiteX33" fmla="*/ 188722 w 598324"/>
                <a:gd name="connsiteY33" fmla="*/ 479725 h 761503"/>
                <a:gd name="connsiteX34" fmla="*/ 188722 w 598324"/>
                <a:gd name="connsiteY34" fmla="*/ 542277 h 761503"/>
                <a:gd name="connsiteX35" fmla="*/ 186002 w 598324"/>
                <a:gd name="connsiteY35" fmla="*/ 615708 h 761503"/>
                <a:gd name="connsiteX36" fmla="*/ 186002 w 598324"/>
                <a:gd name="connsiteY36" fmla="*/ 637465 h 761503"/>
                <a:gd name="connsiteX37" fmla="*/ 183283 w 598324"/>
                <a:gd name="connsiteY37" fmla="*/ 664661 h 761503"/>
                <a:gd name="connsiteX38" fmla="*/ 226797 w 598324"/>
                <a:gd name="connsiteY38" fmla="*/ 664661 h 761503"/>
                <a:gd name="connsiteX39" fmla="*/ 253994 w 598324"/>
                <a:gd name="connsiteY39" fmla="*/ 680979 h 761503"/>
                <a:gd name="connsiteX40" fmla="*/ 248554 w 598324"/>
                <a:gd name="connsiteY40" fmla="*/ 697297 h 761503"/>
                <a:gd name="connsiteX41" fmla="*/ 234956 w 598324"/>
                <a:gd name="connsiteY41" fmla="*/ 705456 h 761503"/>
                <a:gd name="connsiteX42" fmla="*/ 218638 w 598324"/>
                <a:gd name="connsiteY42" fmla="*/ 708176 h 761503"/>
                <a:gd name="connsiteX43" fmla="*/ 183283 w 598324"/>
                <a:gd name="connsiteY43" fmla="*/ 708176 h 761503"/>
                <a:gd name="connsiteX44" fmla="*/ 150647 w 598324"/>
                <a:gd name="connsiteY44" fmla="*/ 708176 h 761503"/>
                <a:gd name="connsiteX45" fmla="*/ 107132 w 598324"/>
                <a:gd name="connsiteY45" fmla="*/ 708176 h 761503"/>
                <a:gd name="connsiteX46" fmla="*/ 88094 w 598324"/>
                <a:gd name="connsiteY46" fmla="*/ 708176 h 761503"/>
                <a:gd name="connsiteX47" fmla="*/ 69057 w 598324"/>
                <a:gd name="connsiteY47" fmla="*/ 702736 h 761503"/>
                <a:gd name="connsiteX48" fmla="*/ 58178 w 598324"/>
                <a:gd name="connsiteY48" fmla="*/ 686418 h 761503"/>
                <a:gd name="connsiteX49" fmla="*/ 60898 w 598324"/>
                <a:gd name="connsiteY49" fmla="*/ 678259 h 761503"/>
                <a:gd name="connsiteX50" fmla="*/ 77216 w 598324"/>
                <a:gd name="connsiteY50" fmla="*/ 670101 h 761503"/>
                <a:gd name="connsiteX51" fmla="*/ 120730 w 598324"/>
                <a:gd name="connsiteY51" fmla="*/ 664661 h 761503"/>
                <a:gd name="connsiteX52" fmla="*/ 131609 w 598324"/>
                <a:gd name="connsiteY52" fmla="*/ 664661 h 761503"/>
                <a:gd name="connsiteX53" fmla="*/ 134329 w 598324"/>
                <a:gd name="connsiteY53" fmla="*/ 539557 h 761503"/>
                <a:gd name="connsiteX54" fmla="*/ 134329 w 598324"/>
                <a:gd name="connsiteY54" fmla="*/ 504201 h 761503"/>
                <a:gd name="connsiteX55" fmla="*/ 131609 w 598324"/>
                <a:gd name="connsiteY55" fmla="*/ 376378 h 761503"/>
                <a:gd name="connsiteX56" fmla="*/ 131609 w 598324"/>
                <a:gd name="connsiteY56" fmla="*/ 302947 h 761503"/>
                <a:gd name="connsiteX57" fmla="*/ 134329 w 598324"/>
                <a:gd name="connsiteY57" fmla="*/ 221357 h 761503"/>
                <a:gd name="connsiteX58" fmla="*/ 137048 w 598324"/>
                <a:gd name="connsiteY58" fmla="*/ 123450 h 761503"/>
                <a:gd name="connsiteX59" fmla="*/ 107132 w 598324"/>
                <a:gd name="connsiteY59" fmla="*/ 123450 h 761503"/>
                <a:gd name="connsiteX60" fmla="*/ 88094 w 598324"/>
                <a:gd name="connsiteY60" fmla="*/ 123450 h 761503"/>
                <a:gd name="connsiteX61" fmla="*/ 69057 w 598324"/>
                <a:gd name="connsiteY61" fmla="*/ 118011 h 761503"/>
                <a:gd name="connsiteX62" fmla="*/ 58178 w 598324"/>
                <a:gd name="connsiteY62" fmla="*/ 101693 h 761503"/>
                <a:gd name="connsiteX63" fmla="*/ 60898 w 598324"/>
                <a:gd name="connsiteY63" fmla="*/ 93534 h 761503"/>
                <a:gd name="connsiteX64" fmla="*/ 77216 w 598324"/>
                <a:gd name="connsiteY64" fmla="*/ 85375 h 761503"/>
                <a:gd name="connsiteX65" fmla="*/ 131609 w 598324"/>
                <a:gd name="connsiteY65" fmla="*/ 79935 h 761503"/>
                <a:gd name="connsiteX66" fmla="*/ 161525 w 598324"/>
                <a:gd name="connsiteY66" fmla="*/ 79935 h 761503"/>
                <a:gd name="connsiteX67" fmla="*/ 177843 w 598324"/>
                <a:gd name="connsiteY67" fmla="*/ 66337 h 761503"/>
                <a:gd name="connsiteX68" fmla="*/ 202320 w 598324"/>
                <a:gd name="connsiteY68" fmla="*/ 58178 h 761503"/>
                <a:gd name="connsiteX69" fmla="*/ 234956 w 598324"/>
                <a:gd name="connsiteY69" fmla="*/ 77216 h 761503"/>
                <a:gd name="connsiteX70" fmla="*/ 251274 w 598324"/>
                <a:gd name="connsiteY70" fmla="*/ 107132 h 761503"/>
                <a:gd name="connsiteX71" fmla="*/ 267592 w 598324"/>
                <a:gd name="connsiteY71" fmla="*/ 147927 h 761503"/>
                <a:gd name="connsiteX72" fmla="*/ 281190 w 598324"/>
                <a:gd name="connsiteY72" fmla="*/ 183282 h 761503"/>
                <a:gd name="connsiteX73" fmla="*/ 297508 w 598324"/>
                <a:gd name="connsiteY73" fmla="*/ 224077 h 761503"/>
                <a:gd name="connsiteX74" fmla="*/ 308387 w 598324"/>
                <a:gd name="connsiteY74" fmla="*/ 264872 h 761503"/>
                <a:gd name="connsiteX75" fmla="*/ 319265 w 598324"/>
                <a:gd name="connsiteY75" fmla="*/ 300227 h 761503"/>
                <a:gd name="connsiteX76" fmla="*/ 351901 w 598324"/>
                <a:gd name="connsiteY76" fmla="*/ 379097 h 761503"/>
                <a:gd name="connsiteX77" fmla="*/ 365500 w 598324"/>
                <a:gd name="connsiteY77" fmla="*/ 417173 h 761503"/>
                <a:gd name="connsiteX78" fmla="*/ 379098 w 598324"/>
                <a:gd name="connsiteY78" fmla="*/ 457967 h 761503"/>
                <a:gd name="connsiteX79" fmla="*/ 395416 w 598324"/>
                <a:gd name="connsiteY79" fmla="*/ 496043 h 761503"/>
                <a:gd name="connsiteX80" fmla="*/ 406294 w 598324"/>
                <a:gd name="connsiteY80" fmla="*/ 512361 h 761503"/>
                <a:gd name="connsiteX81" fmla="*/ 411734 w 598324"/>
                <a:gd name="connsiteY81" fmla="*/ 531398 h 761503"/>
                <a:gd name="connsiteX82" fmla="*/ 419893 w 598324"/>
                <a:gd name="connsiteY82" fmla="*/ 558595 h 761503"/>
                <a:gd name="connsiteX83" fmla="*/ 425332 w 598324"/>
                <a:gd name="connsiteY83" fmla="*/ 564034 h 761503"/>
                <a:gd name="connsiteX84" fmla="*/ 430771 w 598324"/>
                <a:gd name="connsiteY84" fmla="*/ 558595 h 761503"/>
                <a:gd name="connsiteX85" fmla="*/ 430771 w 598324"/>
                <a:gd name="connsiteY85" fmla="*/ 550436 h 761503"/>
                <a:gd name="connsiteX86" fmla="*/ 430771 w 598324"/>
                <a:gd name="connsiteY86" fmla="*/ 501482 h 761503"/>
                <a:gd name="connsiteX87" fmla="*/ 430771 w 598324"/>
                <a:gd name="connsiteY87" fmla="*/ 403574 h 761503"/>
                <a:gd name="connsiteX88" fmla="*/ 425332 w 598324"/>
                <a:gd name="connsiteY88" fmla="*/ 313826 h 761503"/>
                <a:gd name="connsiteX89" fmla="*/ 425332 w 598324"/>
                <a:gd name="connsiteY89" fmla="*/ 248554 h 761503"/>
                <a:gd name="connsiteX90" fmla="*/ 425332 w 598324"/>
                <a:gd name="connsiteY90" fmla="*/ 210479 h 761503"/>
                <a:gd name="connsiteX91" fmla="*/ 422613 w 598324"/>
                <a:gd name="connsiteY91" fmla="*/ 153366 h 761503"/>
                <a:gd name="connsiteX92" fmla="*/ 425332 w 598324"/>
                <a:gd name="connsiteY92" fmla="*/ 123450 h 761503"/>
                <a:gd name="connsiteX93" fmla="*/ 398136 w 598324"/>
                <a:gd name="connsiteY93" fmla="*/ 123450 h 761503"/>
                <a:gd name="connsiteX94" fmla="*/ 379098 w 598324"/>
                <a:gd name="connsiteY94" fmla="*/ 123450 h 761503"/>
                <a:gd name="connsiteX95" fmla="*/ 360060 w 598324"/>
                <a:gd name="connsiteY95" fmla="*/ 118011 h 761503"/>
                <a:gd name="connsiteX96" fmla="*/ 349182 w 598324"/>
                <a:gd name="connsiteY96" fmla="*/ 101693 h 761503"/>
                <a:gd name="connsiteX97" fmla="*/ 351901 w 598324"/>
                <a:gd name="connsiteY97" fmla="*/ 93534 h 761503"/>
                <a:gd name="connsiteX98" fmla="*/ 368219 w 598324"/>
                <a:gd name="connsiteY98" fmla="*/ 85375 h 761503"/>
                <a:gd name="connsiteX99" fmla="*/ 422613 w 598324"/>
                <a:gd name="connsiteY99" fmla="*/ 79935 h 761503"/>
                <a:gd name="connsiteX100" fmla="*/ 444370 w 598324"/>
                <a:gd name="connsiteY100" fmla="*/ 79935 h 761503"/>
                <a:gd name="connsiteX101" fmla="*/ 463407 w 598324"/>
                <a:gd name="connsiteY101" fmla="*/ 71776 h 761503"/>
                <a:gd name="connsiteX102" fmla="*/ 477006 w 598324"/>
                <a:gd name="connsiteY102" fmla="*/ 79935 h 761503"/>
                <a:gd name="connsiteX103" fmla="*/ 515081 w 598324"/>
                <a:gd name="connsiteY103" fmla="*/ 79935 h 761503"/>
                <a:gd name="connsiteX104" fmla="*/ 515081 w 598324"/>
                <a:gd name="connsiteY104" fmla="*/ 79935 h 761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</a:cxnLst>
              <a:rect l="l" t="t" r="r" b="b"/>
              <a:pathLst>
                <a:path w="598324" h="761503">
                  <a:moveTo>
                    <a:pt x="515081" y="79935"/>
                  </a:moveTo>
                  <a:cubicBezTo>
                    <a:pt x="523240" y="79935"/>
                    <a:pt x="542277" y="79935"/>
                    <a:pt x="542277" y="96253"/>
                  </a:cubicBezTo>
                  <a:cubicBezTo>
                    <a:pt x="542277" y="104412"/>
                    <a:pt x="542277" y="107132"/>
                    <a:pt x="536838" y="112571"/>
                  </a:cubicBezTo>
                  <a:cubicBezTo>
                    <a:pt x="534119" y="118011"/>
                    <a:pt x="528679" y="120730"/>
                    <a:pt x="523240" y="120730"/>
                  </a:cubicBezTo>
                  <a:cubicBezTo>
                    <a:pt x="515081" y="123450"/>
                    <a:pt x="512361" y="123450"/>
                    <a:pt x="506922" y="123450"/>
                  </a:cubicBezTo>
                  <a:cubicBezTo>
                    <a:pt x="504202" y="123450"/>
                    <a:pt x="490604" y="123450"/>
                    <a:pt x="477006" y="123450"/>
                  </a:cubicBezTo>
                  <a:cubicBezTo>
                    <a:pt x="477006" y="131609"/>
                    <a:pt x="479725" y="137048"/>
                    <a:pt x="479725" y="145207"/>
                  </a:cubicBezTo>
                  <a:cubicBezTo>
                    <a:pt x="479725" y="156086"/>
                    <a:pt x="477006" y="166964"/>
                    <a:pt x="477006" y="180563"/>
                  </a:cubicBezTo>
                  <a:cubicBezTo>
                    <a:pt x="477006" y="196881"/>
                    <a:pt x="479725" y="215918"/>
                    <a:pt x="482445" y="232236"/>
                  </a:cubicBezTo>
                  <a:cubicBezTo>
                    <a:pt x="485165" y="248554"/>
                    <a:pt x="485165" y="267592"/>
                    <a:pt x="485165" y="283909"/>
                  </a:cubicBezTo>
                  <a:cubicBezTo>
                    <a:pt x="485165" y="297508"/>
                    <a:pt x="485165" y="313826"/>
                    <a:pt x="485165" y="327424"/>
                  </a:cubicBezTo>
                  <a:cubicBezTo>
                    <a:pt x="485165" y="343742"/>
                    <a:pt x="487884" y="357340"/>
                    <a:pt x="487884" y="373658"/>
                  </a:cubicBezTo>
                  <a:cubicBezTo>
                    <a:pt x="487884" y="389976"/>
                    <a:pt x="485165" y="403574"/>
                    <a:pt x="485165" y="419892"/>
                  </a:cubicBezTo>
                  <a:cubicBezTo>
                    <a:pt x="485165" y="436210"/>
                    <a:pt x="485165" y="449808"/>
                    <a:pt x="485165" y="463407"/>
                  </a:cubicBezTo>
                  <a:cubicBezTo>
                    <a:pt x="485165" y="479725"/>
                    <a:pt x="485165" y="498762"/>
                    <a:pt x="482445" y="515080"/>
                  </a:cubicBezTo>
                  <a:cubicBezTo>
                    <a:pt x="482445" y="528678"/>
                    <a:pt x="482445" y="542277"/>
                    <a:pt x="482445" y="558595"/>
                  </a:cubicBezTo>
                  <a:cubicBezTo>
                    <a:pt x="482445" y="572193"/>
                    <a:pt x="479725" y="588511"/>
                    <a:pt x="479725" y="602109"/>
                  </a:cubicBezTo>
                  <a:cubicBezTo>
                    <a:pt x="479725" y="615708"/>
                    <a:pt x="485165" y="632025"/>
                    <a:pt x="485165" y="648343"/>
                  </a:cubicBezTo>
                  <a:cubicBezTo>
                    <a:pt x="485165" y="659222"/>
                    <a:pt x="482445" y="670101"/>
                    <a:pt x="474286" y="675540"/>
                  </a:cubicBezTo>
                  <a:cubicBezTo>
                    <a:pt x="460688" y="686418"/>
                    <a:pt x="444370" y="691858"/>
                    <a:pt x="428052" y="691858"/>
                  </a:cubicBezTo>
                  <a:cubicBezTo>
                    <a:pt x="414453" y="691858"/>
                    <a:pt x="400855" y="689138"/>
                    <a:pt x="387257" y="683699"/>
                  </a:cubicBezTo>
                  <a:cubicBezTo>
                    <a:pt x="373659" y="678259"/>
                    <a:pt x="360060" y="672820"/>
                    <a:pt x="351901" y="664661"/>
                  </a:cubicBezTo>
                  <a:cubicBezTo>
                    <a:pt x="330144" y="645624"/>
                    <a:pt x="316546" y="621147"/>
                    <a:pt x="305667" y="596670"/>
                  </a:cubicBezTo>
                  <a:cubicBezTo>
                    <a:pt x="292069" y="569473"/>
                    <a:pt x="281190" y="539557"/>
                    <a:pt x="270312" y="509641"/>
                  </a:cubicBezTo>
                  <a:cubicBezTo>
                    <a:pt x="264872" y="493323"/>
                    <a:pt x="256713" y="477005"/>
                    <a:pt x="251274" y="460687"/>
                  </a:cubicBezTo>
                  <a:cubicBezTo>
                    <a:pt x="240395" y="433490"/>
                    <a:pt x="232236" y="409014"/>
                    <a:pt x="224077" y="381817"/>
                  </a:cubicBezTo>
                  <a:cubicBezTo>
                    <a:pt x="218638" y="365499"/>
                    <a:pt x="213199" y="346462"/>
                    <a:pt x="207759" y="330144"/>
                  </a:cubicBezTo>
                  <a:cubicBezTo>
                    <a:pt x="202320" y="316545"/>
                    <a:pt x="196881" y="300227"/>
                    <a:pt x="191442" y="286629"/>
                  </a:cubicBezTo>
                  <a:cubicBezTo>
                    <a:pt x="188722" y="281190"/>
                    <a:pt x="186002" y="278470"/>
                    <a:pt x="183283" y="278470"/>
                  </a:cubicBezTo>
                  <a:cubicBezTo>
                    <a:pt x="180563" y="278470"/>
                    <a:pt x="180563" y="286629"/>
                    <a:pt x="180563" y="292068"/>
                  </a:cubicBezTo>
                  <a:cubicBezTo>
                    <a:pt x="180563" y="297508"/>
                    <a:pt x="180563" y="302947"/>
                    <a:pt x="180563" y="305667"/>
                  </a:cubicBezTo>
                  <a:cubicBezTo>
                    <a:pt x="180563" y="321985"/>
                    <a:pt x="183283" y="338303"/>
                    <a:pt x="183283" y="354620"/>
                  </a:cubicBezTo>
                  <a:cubicBezTo>
                    <a:pt x="183283" y="387256"/>
                    <a:pt x="186002" y="417173"/>
                    <a:pt x="188722" y="449808"/>
                  </a:cubicBezTo>
                  <a:cubicBezTo>
                    <a:pt x="188722" y="460687"/>
                    <a:pt x="188722" y="468846"/>
                    <a:pt x="188722" y="479725"/>
                  </a:cubicBezTo>
                  <a:cubicBezTo>
                    <a:pt x="188722" y="501482"/>
                    <a:pt x="188722" y="523239"/>
                    <a:pt x="188722" y="542277"/>
                  </a:cubicBezTo>
                  <a:cubicBezTo>
                    <a:pt x="188722" y="566754"/>
                    <a:pt x="186002" y="591231"/>
                    <a:pt x="186002" y="615708"/>
                  </a:cubicBezTo>
                  <a:cubicBezTo>
                    <a:pt x="186002" y="623866"/>
                    <a:pt x="186002" y="632025"/>
                    <a:pt x="186002" y="637465"/>
                  </a:cubicBezTo>
                  <a:cubicBezTo>
                    <a:pt x="186002" y="645624"/>
                    <a:pt x="183283" y="656502"/>
                    <a:pt x="183283" y="664661"/>
                  </a:cubicBezTo>
                  <a:cubicBezTo>
                    <a:pt x="202320" y="664661"/>
                    <a:pt x="218638" y="664661"/>
                    <a:pt x="226797" y="664661"/>
                  </a:cubicBezTo>
                  <a:cubicBezTo>
                    <a:pt x="234956" y="664661"/>
                    <a:pt x="253994" y="664661"/>
                    <a:pt x="253994" y="680979"/>
                  </a:cubicBezTo>
                  <a:cubicBezTo>
                    <a:pt x="253994" y="689138"/>
                    <a:pt x="253994" y="691858"/>
                    <a:pt x="248554" y="697297"/>
                  </a:cubicBezTo>
                  <a:cubicBezTo>
                    <a:pt x="245835" y="702736"/>
                    <a:pt x="240395" y="705456"/>
                    <a:pt x="234956" y="705456"/>
                  </a:cubicBezTo>
                  <a:cubicBezTo>
                    <a:pt x="226797" y="708176"/>
                    <a:pt x="224077" y="708176"/>
                    <a:pt x="218638" y="708176"/>
                  </a:cubicBezTo>
                  <a:cubicBezTo>
                    <a:pt x="215918" y="708176"/>
                    <a:pt x="199600" y="708176"/>
                    <a:pt x="183283" y="708176"/>
                  </a:cubicBezTo>
                  <a:cubicBezTo>
                    <a:pt x="166965" y="708176"/>
                    <a:pt x="153366" y="708176"/>
                    <a:pt x="150647" y="708176"/>
                  </a:cubicBezTo>
                  <a:cubicBezTo>
                    <a:pt x="139768" y="708176"/>
                    <a:pt x="120730" y="708176"/>
                    <a:pt x="107132" y="708176"/>
                  </a:cubicBezTo>
                  <a:cubicBezTo>
                    <a:pt x="101693" y="708176"/>
                    <a:pt x="96254" y="708176"/>
                    <a:pt x="88094" y="708176"/>
                  </a:cubicBezTo>
                  <a:cubicBezTo>
                    <a:pt x="82655" y="708176"/>
                    <a:pt x="74496" y="708176"/>
                    <a:pt x="69057" y="702736"/>
                  </a:cubicBezTo>
                  <a:cubicBezTo>
                    <a:pt x="63617" y="700017"/>
                    <a:pt x="58178" y="691858"/>
                    <a:pt x="58178" y="686418"/>
                  </a:cubicBezTo>
                  <a:cubicBezTo>
                    <a:pt x="58178" y="683699"/>
                    <a:pt x="58178" y="680979"/>
                    <a:pt x="60898" y="678259"/>
                  </a:cubicBezTo>
                  <a:cubicBezTo>
                    <a:pt x="63617" y="675540"/>
                    <a:pt x="71777" y="672820"/>
                    <a:pt x="77216" y="670101"/>
                  </a:cubicBezTo>
                  <a:cubicBezTo>
                    <a:pt x="90814" y="667381"/>
                    <a:pt x="115291" y="664661"/>
                    <a:pt x="120730" y="664661"/>
                  </a:cubicBezTo>
                  <a:cubicBezTo>
                    <a:pt x="123450" y="664661"/>
                    <a:pt x="126170" y="664661"/>
                    <a:pt x="131609" y="664661"/>
                  </a:cubicBezTo>
                  <a:cubicBezTo>
                    <a:pt x="131609" y="623866"/>
                    <a:pt x="134329" y="583072"/>
                    <a:pt x="134329" y="539557"/>
                  </a:cubicBezTo>
                  <a:cubicBezTo>
                    <a:pt x="134329" y="528678"/>
                    <a:pt x="134329" y="515080"/>
                    <a:pt x="134329" y="504201"/>
                  </a:cubicBezTo>
                  <a:cubicBezTo>
                    <a:pt x="131609" y="460687"/>
                    <a:pt x="131609" y="417173"/>
                    <a:pt x="131609" y="376378"/>
                  </a:cubicBezTo>
                  <a:cubicBezTo>
                    <a:pt x="131609" y="351901"/>
                    <a:pt x="131609" y="327424"/>
                    <a:pt x="131609" y="302947"/>
                  </a:cubicBezTo>
                  <a:cubicBezTo>
                    <a:pt x="131609" y="275751"/>
                    <a:pt x="131609" y="248554"/>
                    <a:pt x="134329" y="221357"/>
                  </a:cubicBezTo>
                  <a:cubicBezTo>
                    <a:pt x="134329" y="188722"/>
                    <a:pt x="137048" y="156086"/>
                    <a:pt x="137048" y="123450"/>
                  </a:cubicBezTo>
                  <a:cubicBezTo>
                    <a:pt x="126170" y="123450"/>
                    <a:pt x="115291" y="123450"/>
                    <a:pt x="107132" y="123450"/>
                  </a:cubicBezTo>
                  <a:cubicBezTo>
                    <a:pt x="101693" y="123450"/>
                    <a:pt x="96254" y="123450"/>
                    <a:pt x="88094" y="123450"/>
                  </a:cubicBezTo>
                  <a:cubicBezTo>
                    <a:pt x="82655" y="123450"/>
                    <a:pt x="74496" y="120730"/>
                    <a:pt x="69057" y="118011"/>
                  </a:cubicBezTo>
                  <a:cubicBezTo>
                    <a:pt x="63617" y="115291"/>
                    <a:pt x="58178" y="107132"/>
                    <a:pt x="58178" y="101693"/>
                  </a:cubicBezTo>
                  <a:cubicBezTo>
                    <a:pt x="58178" y="98973"/>
                    <a:pt x="58178" y="96253"/>
                    <a:pt x="60898" y="93534"/>
                  </a:cubicBezTo>
                  <a:cubicBezTo>
                    <a:pt x="63617" y="90814"/>
                    <a:pt x="71777" y="88094"/>
                    <a:pt x="77216" y="85375"/>
                  </a:cubicBezTo>
                  <a:cubicBezTo>
                    <a:pt x="90814" y="82655"/>
                    <a:pt x="126170" y="79935"/>
                    <a:pt x="131609" y="79935"/>
                  </a:cubicBezTo>
                  <a:cubicBezTo>
                    <a:pt x="137048" y="79935"/>
                    <a:pt x="147927" y="79935"/>
                    <a:pt x="161525" y="79935"/>
                  </a:cubicBezTo>
                  <a:cubicBezTo>
                    <a:pt x="166965" y="74496"/>
                    <a:pt x="172404" y="71776"/>
                    <a:pt x="177843" y="66337"/>
                  </a:cubicBezTo>
                  <a:cubicBezTo>
                    <a:pt x="186002" y="60898"/>
                    <a:pt x="194161" y="58178"/>
                    <a:pt x="202320" y="58178"/>
                  </a:cubicBezTo>
                  <a:cubicBezTo>
                    <a:pt x="215918" y="58178"/>
                    <a:pt x="226797" y="63617"/>
                    <a:pt x="234956" y="77216"/>
                  </a:cubicBezTo>
                  <a:cubicBezTo>
                    <a:pt x="240395" y="88094"/>
                    <a:pt x="248554" y="96253"/>
                    <a:pt x="251274" y="107132"/>
                  </a:cubicBezTo>
                  <a:cubicBezTo>
                    <a:pt x="256713" y="120730"/>
                    <a:pt x="259433" y="134328"/>
                    <a:pt x="267592" y="147927"/>
                  </a:cubicBezTo>
                  <a:cubicBezTo>
                    <a:pt x="273031" y="158805"/>
                    <a:pt x="275751" y="172404"/>
                    <a:pt x="281190" y="183282"/>
                  </a:cubicBezTo>
                  <a:cubicBezTo>
                    <a:pt x="286630" y="196881"/>
                    <a:pt x="292069" y="210479"/>
                    <a:pt x="297508" y="224077"/>
                  </a:cubicBezTo>
                  <a:cubicBezTo>
                    <a:pt x="300228" y="237675"/>
                    <a:pt x="305667" y="251274"/>
                    <a:pt x="308387" y="264872"/>
                  </a:cubicBezTo>
                  <a:cubicBezTo>
                    <a:pt x="311106" y="278470"/>
                    <a:pt x="311106" y="289349"/>
                    <a:pt x="319265" y="300227"/>
                  </a:cubicBezTo>
                  <a:cubicBezTo>
                    <a:pt x="332864" y="324704"/>
                    <a:pt x="346462" y="351901"/>
                    <a:pt x="351901" y="379097"/>
                  </a:cubicBezTo>
                  <a:cubicBezTo>
                    <a:pt x="354621" y="392696"/>
                    <a:pt x="360060" y="403574"/>
                    <a:pt x="365500" y="417173"/>
                  </a:cubicBezTo>
                  <a:cubicBezTo>
                    <a:pt x="373659" y="430771"/>
                    <a:pt x="373659" y="444369"/>
                    <a:pt x="379098" y="457967"/>
                  </a:cubicBezTo>
                  <a:cubicBezTo>
                    <a:pt x="381818" y="471566"/>
                    <a:pt x="387257" y="482444"/>
                    <a:pt x="395416" y="496043"/>
                  </a:cubicBezTo>
                  <a:cubicBezTo>
                    <a:pt x="398136" y="501482"/>
                    <a:pt x="403575" y="506921"/>
                    <a:pt x="406294" y="512361"/>
                  </a:cubicBezTo>
                  <a:cubicBezTo>
                    <a:pt x="409014" y="517800"/>
                    <a:pt x="409014" y="525959"/>
                    <a:pt x="411734" y="531398"/>
                  </a:cubicBezTo>
                  <a:cubicBezTo>
                    <a:pt x="414453" y="539557"/>
                    <a:pt x="417173" y="550436"/>
                    <a:pt x="419893" y="558595"/>
                  </a:cubicBezTo>
                  <a:cubicBezTo>
                    <a:pt x="422613" y="561314"/>
                    <a:pt x="422613" y="564034"/>
                    <a:pt x="425332" y="564034"/>
                  </a:cubicBezTo>
                  <a:cubicBezTo>
                    <a:pt x="428052" y="564034"/>
                    <a:pt x="428052" y="561314"/>
                    <a:pt x="430771" y="558595"/>
                  </a:cubicBezTo>
                  <a:cubicBezTo>
                    <a:pt x="430771" y="555875"/>
                    <a:pt x="430771" y="553155"/>
                    <a:pt x="430771" y="550436"/>
                  </a:cubicBezTo>
                  <a:cubicBezTo>
                    <a:pt x="430771" y="534118"/>
                    <a:pt x="430771" y="517800"/>
                    <a:pt x="430771" y="501482"/>
                  </a:cubicBezTo>
                  <a:cubicBezTo>
                    <a:pt x="430771" y="468846"/>
                    <a:pt x="433491" y="436210"/>
                    <a:pt x="430771" y="403574"/>
                  </a:cubicBezTo>
                  <a:cubicBezTo>
                    <a:pt x="430771" y="373658"/>
                    <a:pt x="425332" y="343742"/>
                    <a:pt x="425332" y="313826"/>
                  </a:cubicBezTo>
                  <a:cubicBezTo>
                    <a:pt x="425332" y="292068"/>
                    <a:pt x="425332" y="270311"/>
                    <a:pt x="425332" y="248554"/>
                  </a:cubicBezTo>
                  <a:cubicBezTo>
                    <a:pt x="425332" y="234956"/>
                    <a:pt x="425332" y="224077"/>
                    <a:pt x="425332" y="210479"/>
                  </a:cubicBezTo>
                  <a:cubicBezTo>
                    <a:pt x="425332" y="191441"/>
                    <a:pt x="422613" y="172404"/>
                    <a:pt x="422613" y="153366"/>
                  </a:cubicBezTo>
                  <a:cubicBezTo>
                    <a:pt x="422613" y="142487"/>
                    <a:pt x="422613" y="134328"/>
                    <a:pt x="425332" y="123450"/>
                  </a:cubicBezTo>
                  <a:cubicBezTo>
                    <a:pt x="417173" y="123450"/>
                    <a:pt x="406294" y="123450"/>
                    <a:pt x="398136" y="123450"/>
                  </a:cubicBezTo>
                  <a:cubicBezTo>
                    <a:pt x="392696" y="123450"/>
                    <a:pt x="387257" y="123450"/>
                    <a:pt x="379098" y="123450"/>
                  </a:cubicBezTo>
                  <a:cubicBezTo>
                    <a:pt x="373659" y="123450"/>
                    <a:pt x="365500" y="120730"/>
                    <a:pt x="360060" y="118011"/>
                  </a:cubicBezTo>
                  <a:cubicBezTo>
                    <a:pt x="354621" y="115291"/>
                    <a:pt x="349182" y="107132"/>
                    <a:pt x="349182" y="101693"/>
                  </a:cubicBezTo>
                  <a:cubicBezTo>
                    <a:pt x="349182" y="98973"/>
                    <a:pt x="349182" y="96253"/>
                    <a:pt x="351901" y="93534"/>
                  </a:cubicBezTo>
                  <a:cubicBezTo>
                    <a:pt x="354621" y="90814"/>
                    <a:pt x="362780" y="88094"/>
                    <a:pt x="368219" y="85375"/>
                  </a:cubicBezTo>
                  <a:cubicBezTo>
                    <a:pt x="381818" y="82655"/>
                    <a:pt x="417173" y="79935"/>
                    <a:pt x="422613" y="79935"/>
                  </a:cubicBezTo>
                  <a:cubicBezTo>
                    <a:pt x="428052" y="79935"/>
                    <a:pt x="433491" y="79935"/>
                    <a:pt x="444370" y="79935"/>
                  </a:cubicBezTo>
                  <a:cubicBezTo>
                    <a:pt x="449809" y="74496"/>
                    <a:pt x="455248" y="71776"/>
                    <a:pt x="463407" y="71776"/>
                  </a:cubicBezTo>
                  <a:cubicBezTo>
                    <a:pt x="471566" y="71776"/>
                    <a:pt x="477006" y="74496"/>
                    <a:pt x="477006" y="79935"/>
                  </a:cubicBezTo>
                  <a:cubicBezTo>
                    <a:pt x="493324" y="79935"/>
                    <a:pt x="506922" y="79935"/>
                    <a:pt x="515081" y="79935"/>
                  </a:cubicBezTo>
                  <a:lnTo>
                    <a:pt x="515081" y="79935"/>
                  </a:ln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>
                <a:solidFill>
                  <a:srgbClr val="FFFFFF"/>
                </a:solidFill>
              </a:endParaRPr>
            </a:p>
          </p:txBody>
        </p:sp>
        <p:sp>
          <p:nvSpPr>
            <p:cNvPr id="42" name="Freeform: Shape 41">
              <a:extLst>
                <a:ext uri="{FF2B5EF4-FFF2-40B4-BE49-F238E27FC236}">
                  <a16:creationId xmlns:a16="http://schemas.microsoft.com/office/drawing/2014/main" id="{25DE5C31-EDDF-4BF1-8681-14E1D78A16D0}"/>
                </a:ext>
              </a:extLst>
            </p:cNvPr>
            <p:cNvSpPr/>
            <p:nvPr/>
          </p:nvSpPr>
          <p:spPr>
            <a:xfrm>
              <a:off x="5139126" y="4192158"/>
              <a:ext cx="516735" cy="788700"/>
            </a:xfrm>
            <a:custGeom>
              <a:avLst/>
              <a:gdLst>
                <a:gd name="connsiteX0" fmla="*/ 464616 w 516735"/>
                <a:gd name="connsiteY0" fmla="*/ 436210 h 788699"/>
                <a:gd name="connsiteX1" fmla="*/ 445578 w 516735"/>
                <a:gd name="connsiteY1" fmla="*/ 455248 h 788699"/>
                <a:gd name="connsiteX2" fmla="*/ 404784 w 516735"/>
                <a:gd name="connsiteY2" fmla="*/ 466126 h 788699"/>
                <a:gd name="connsiteX3" fmla="*/ 385746 w 516735"/>
                <a:gd name="connsiteY3" fmla="*/ 479725 h 788699"/>
                <a:gd name="connsiteX4" fmla="*/ 388466 w 516735"/>
                <a:gd name="connsiteY4" fmla="*/ 512361 h 788699"/>
                <a:gd name="connsiteX5" fmla="*/ 388466 w 516735"/>
                <a:gd name="connsiteY5" fmla="*/ 544997 h 788699"/>
                <a:gd name="connsiteX6" fmla="*/ 388466 w 516735"/>
                <a:gd name="connsiteY6" fmla="*/ 566754 h 788699"/>
                <a:gd name="connsiteX7" fmla="*/ 391185 w 516735"/>
                <a:gd name="connsiteY7" fmla="*/ 632026 h 788699"/>
                <a:gd name="connsiteX8" fmla="*/ 393905 w 516735"/>
                <a:gd name="connsiteY8" fmla="*/ 683699 h 788699"/>
                <a:gd name="connsiteX9" fmla="*/ 377587 w 516735"/>
                <a:gd name="connsiteY9" fmla="*/ 724494 h 788699"/>
                <a:gd name="connsiteX10" fmla="*/ 361269 w 516735"/>
                <a:gd name="connsiteY10" fmla="*/ 719054 h 788699"/>
                <a:gd name="connsiteX11" fmla="*/ 353110 w 516735"/>
                <a:gd name="connsiteY11" fmla="*/ 702737 h 788699"/>
                <a:gd name="connsiteX12" fmla="*/ 350390 w 516735"/>
                <a:gd name="connsiteY12" fmla="*/ 686419 h 788699"/>
                <a:gd name="connsiteX13" fmla="*/ 353110 w 516735"/>
                <a:gd name="connsiteY13" fmla="*/ 659222 h 788699"/>
                <a:gd name="connsiteX14" fmla="*/ 353110 w 516735"/>
                <a:gd name="connsiteY14" fmla="*/ 656502 h 788699"/>
                <a:gd name="connsiteX15" fmla="*/ 317755 w 516735"/>
                <a:gd name="connsiteY15" fmla="*/ 708176 h 788699"/>
                <a:gd name="connsiteX16" fmla="*/ 241604 w 516735"/>
                <a:gd name="connsiteY16" fmla="*/ 735372 h 788699"/>
                <a:gd name="connsiteX17" fmla="*/ 187211 w 516735"/>
                <a:gd name="connsiteY17" fmla="*/ 727214 h 788699"/>
                <a:gd name="connsiteX18" fmla="*/ 135538 w 516735"/>
                <a:gd name="connsiteY18" fmla="*/ 694578 h 788699"/>
                <a:gd name="connsiteX19" fmla="*/ 86584 w 516735"/>
                <a:gd name="connsiteY19" fmla="*/ 621147 h 788699"/>
                <a:gd name="connsiteX20" fmla="*/ 67546 w 516735"/>
                <a:gd name="connsiteY20" fmla="*/ 555875 h 788699"/>
                <a:gd name="connsiteX21" fmla="*/ 59387 w 516735"/>
                <a:gd name="connsiteY21" fmla="*/ 509641 h 788699"/>
                <a:gd name="connsiteX22" fmla="*/ 59387 w 516735"/>
                <a:gd name="connsiteY22" fmla="*/ 468846 h 788699"/>
                <a:gd name="connsiteX23" fmla="*/ 86584 w 516735"/>
                <a:gd name="connsiteY23" fmla="*/ 302947 h 788699"/>
                <a:gd name="connsiteX24" fmla="*/ 108341 w 516735"/>
                <a:gd name="connsiteY24" fmla="*/ 224077 h 788699"/>
                <a:gd name="connsiteX25" fmla="*/ 146416 w 516735"/>
                <a:gd name="connsiteY25" fmla="*/ 145207 h 788699"/>
                <a:gd name="connsiteX26" fmla="*/ 198090 w 516735"/>
                <a:gd name="connsiteY26" fmla="*/ 85375 h 788699"/>
                <a:gd name="connsiteX27" fmla="*/ 228006 w 516735"/>
                <a:gd name="connsiteY27" fmla="*/ 69057 h 788699"/>
                <a:gd name="connsiteX28" fmla="*/ 268801 w 516735"/>
                <a:gd name="connsiteY28" fmla="*/ 58178 h 788699"/>
                <a:gd name="connsiteX29" fmla="*/ 274240 w 516735"/>
                <a:gd name="connsiteY29" fmla="*/ 58178 h 788699"/>
                <a:gd name="connsiteX30" fmla="*/ 295997 w 516735"/>
                <a:gd name="connsiteY30" fmla="*/ 60898 h 788699"/>
                <a:gd name="connsiteX31" fmla="*/ 331353 w 516735"/>
                <a:gd name="connsiteY31" fmla="*/ 71776 h 788699"/>
                <a:gd name="connsiteX32" fmla="*/ 350390 w 516735"/>
                <a:gd name="connsiteY32" fmla="*/ 93534 h 788699"/>
                <a:gd name="connsiteX33" fmla="*/ 353110 w 516735"/>
                <a:gd name="connsiteY33" fmla="*/ 74496 h 788699"/>
                <a:gd name="connsiteX34" fmla="*/ 358549 w 516735"/>
                <a:gd name="connsiteY34" fmla="*/ 63618 h 788699"/>
                <a:gd name="connsiteX35" fmla="*/ 366708 w 516735"/>
                <a:gd name="connsiteY35" fmla="*/ 58178 h 788699"/>
                <a:gd name="connsiteX36" fmla="*/ 374867 w 516735"/>
                <a:gd name="connsiteY36" fmla="*/ 63618 h 788699"/>
                <a:gd name="connsiteX37" fmla="*/ 383026 w 516735"/>
                <a:gd name="connsiteY37" fmla="*/ 82655 h 788699"/>
                <a:gd name="connsiteX38" fmla="*/ 385746 w 516735"/>
                <a:gd name="connsiteY38" fmla="*/ 126170 h 788699"/>
                <a:gd name="connsiteX39" fmla="*/ 388466 w 516735"/>
                <a:gd name="connsiteY39" fmla="*/ 186002 h 788699"/>
                <a:gd name="connsiteX40" fmla="*/ 391185 w 516735"/>
                <a:gd name="connsiteY40" fmla="*/ 237676 h 788699"/>
                <a:gd name="connsiteX41" fmla="*/ 374867 w 516735"/>
                <a:gd name="connsiteY41" fmla="*/ 278470 h 788699"/>
                <a:gd name="connsiteX42" fmla="*/ 358549 w 516735"/>
                <a:gd name="connsiteY42" fmla="*/ 273031 h 788699"/>
                <a:gd name="connsiteX43" fmla="*/ 350390 w 516735"/>
                <a:gd name="connsiteY43" fmla="*/ 256713 h 788699"/>
                <a:gd name="connsiteX44" fmla="*/ 347671 w 516735"/>
                <a:gd name="connsiteY44" fmla="*/ 240395 h 788699"/>
                <a:gd name="connsiteX45" fmla="*/ 347671 w 516735"/>
                <a:gd name="connsiteY45" fmla="*/ 213199 h 788699"/>
                <a:gd name="connsiteX46" fmla="*/ 344951 w 516735"/>
                <a:gd name="connsiteY46" fmla="*/ 194161 h 788699"/>
                <a:gd name="connsiteX47" fmla="*/ 339512 w 516735"/>
                <a:gd name="connsiteY47" fmla="*/ 150647 h 788699"/>
                <a:gd name="connsiteX48" fmla="*/ 323194 w 516735"/>
                <a:gd name="connsiteY48" fmla="*/ 112571 h 788699"/>
                <a:gd name="connsiteX49" fmla="*/ 293278 w 516735"/>
                <a:gd name="connsiteY49" fmla="*/ 101693 h 788699"/>
                <a:gd name="connsiteX50" fmla="*/ 263361 w 516735"/>
                <a:gd name="connsiteY50" fmla="*/ 120730 h 788699"/>
                <a:gd name="connsiteX51" fmla="*/ 241604 w 516735"/>
                <a:gd name="connsiteY51" fmla="*/ 153366 h 788699"/>
                <a:gd name="connsiteX52" fmla="*/ 233445 w 516735"/>
                <a:gd name="connsiteY52" fmla="*/ 194161 h 788699"/>
                <a:gd name="connsiteX53" fmla="*/ 225286 w 516735"/>
                <a:gd name="connsiteY53" fmla="*/ 232236 h 788699"/>
                <a:gd name="connsiteX54" fmla="*/ 217127 w 516735"/>
                <a:gd name="connsiteY54" fmla="*/ 275751 h 788699"/>
                <a:gd name="connsiteX55" fmla="*/ 211688 w 516735"/>
                <a:gd name="connsiteY55" fmla="*/ 316545 h 788699"/>
                <a:gd name="connsiteX56" fmla="*/ 206249 w 516735"/>
                <a:gd name="connsiteY56" fmla="*/ 354621 h 788699"/>
                <a:gd name="connsiteX57" fmla="*/ 200809 w 516735"/>
                <a:gd name="connsiteY57" fmla="*/ 398135 h 788699"/>
                <a:gd name="connsiteX58" fmla="*/ 195370 w 516735"/>
                <a:gd name="connsiteY58" fmla="*/ 438930 h 788699"/>
                <a:gd name="connsiteX59" fmla="*/ 192650 w 516735"/>
                <a:gd name="connsiteY59" fmla="*/ 474286 h 788699"/>
                <a:gd name="connsiteX60" fmla="*/ 195370 w 516735"/>
                <a:gd name="connsiteY60" fmla="*/ 525959 h 788699"/>
                <a:gd name="connsiteX61" fmla="*/ 208968 w 516735"/>
                <a:gd name="connsiteY61" fmla="*/ 596670 h 788699"/>
                <a:gd name="connsiteX62" fmla="*/ 214407 w 516735"/>
                <a:gd name="connsiteY62" fmla="*/ 623867 h 788699"/>
                <a:gd name="connsiteX63" fmla="*/ 228006 w 516735"/>
                <a:gd name="connsiteY63" fmla="*/ 656502 h 788699"/>
                <a:gd name="connsiteX64" fmla="*/ 271520 w 516735"/>
                <a:gd name="connsiteY64" fmla="*/ 689138 h 788699"/>
                <a:gd name="connsiteX65" fmla="*/ 306876 w 516735"/>
                <a:gd name="connsiteY65" fmla="*/ 664661 h 788699"/>
                <a:gd name="connsiteX66" fmla="*/ 331353 w 516735"/>
                <a:gd name="connsiteY66" fmla="*/ 602109 h 788699"/>
                <a:gd name="connsiteX67" fmla="*/ 336792 w 516735"/>
                <a:gd name="connsiteY67" fmla="*/ 544997 h 788699"/>
                <a:gd name="connsiteX68" fmla="*/ 336792 w 516735"/>
                <a:gd name="connsiteY68" fmla="*/ 498762 h 788699"/>
                <a:gd name="connsiteX69" fmla="*/ 336792 w 516735"/>
                <a:gd name="connsiteY69" fmla="*/ 490603 h 788699"/>
                <a:gd name="connsiteX70" fmla="*/ 320474 w 516735"/>
                <a:gd name="connsiteY70" fmla="*/ 477005 h 788699"/>
                <a:gd name="connsiteX71" fmla="*/ 282399 w 516735"/>
                <a:gd name="connsiteY71" fmla="*/ 479725 h 788699"/>
                <a:gd name="connsiteX72" fmla="*/ 252483 w 516735"/>
                <a:gd name="connsiteY72" fmla="*/ 474286 h 788699"/>
                <a:gd name="connsiteX73" fmla="*/ 247043 w 516735"/>
                <a:gd name="connsiteY73" fmla="*/ 466126 h 788699"/>
                <a:gd name="connsiteX74" fmla="*/ 249763 w 516735"/>
                <a:gd name="connsiteY74" fmla="*/ 457968 h 788699"/>
                <a:gd name="connsiteX75" fmla="*/ 268801 w 516735"/>
                <a:gd name="connsiteY75" fmla="*/ 447089 h 788699"/>
                <a:gd name="connsiteX76" fmla="*/ 312315 w 516735"/>
                <a:gd name="connsiteY76" fmla="*/ 436210 h 788699"/>
                <a:gd name="connsiteX77" fmla="*/ 353110 w 516735"/>
                <a:gd name="connsiteY77" fmla="*/ 430771 h 788699"/>
                <a:gd name="connsiteX78" fmla="*/ 385746 w 516735"/>
                <a:gd name="connsiteY78" fmla="*/ 430771 h 788699"/>
                <a:gd name="connsiteX79" fmla="*/ 437420 w 516735"/>
                <a:gd name="connsiteY79" fmla="*/ 428051 h 788699"/>
                <a:gd name="connsiteX80" fmla="*/ 464616 w 516735"/>
                <a:gd name="connsiteY80" fmla="*/ 436210 h 7886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</a:cxnLst>
              <a:rect l="l" t="t" r="r" b="b"/>
              <a:pathLst>
                <a:path w="516735" h="788699">
                  <a:moveTo>
                    <a:pt x="464616" y="436210"/>
                  </a:moveTo>
                  <a:cubicBezTo>
                    <a:pt x="464616" y="447089"/>
                    <a:pt x="453737" y="452528"/>
                    <a:pt x="445578" y="455248"/>
                  </a:cubicBezTo>
                  <a:cubicBezTo>
                    <a:pt x="434700" y="460687"/>
                    <a:pt x="415662" y="463407"/>
                    <a:pt x="404784" y="466126"/>
                  </a:cubicBezTo>
                  <a:cubicBezTo>
                    <a:pt x="393905" y="466126"/>
                    <a:pt x="385746" y="468846"/>
                    <a:pt x="385746" y="479725"/>
                  </a:cubicBezTo>
                  <a:cubicBezTo>
                    <a:pt x="385746" y="487884"/>
                    <a:pt x="388466" y="506921"/>
                    <a:pt x="388466" y="512361"/>
                  </a:cubicBezTo>
                  <a:cubicBezTo>
                    <a:pt x="388466" y="515080"/>
                    <a:pt x="388466" y="539557"/>
                    <a:pt x="388466" y="544997"/>
                  </a:cubicBezTo>
                  <a:cubicBezTo>
                    <a:pt x="388466" y="550436"/>
                    <a:pt x="388466" y="558595"/>
                    <a:pt x="388466" y="566754"/>
                  </a:cubicBezTo>
                  <a:cubicBezTo>
                    <a:pt x="388466" y="591231"/>
                    <a:pt x="388466" y="621147"/>
                    <a:pt x="391185" y="632026"/>
                  </a:cubicBezTo>
                  <a:cubicBezTo>
                    <a:pt x="393905" y="653783"/>
                    <a:pt x="393905" y="661942"/>
                    <a:pt x="393905" y="683699"/>
                  </a:cubicBezTo>
                  <a:cubicBezTo>
                    <a:pt x="393905" y="694578"/>
                    <a:pt x="393905" y="724494"/>
                    <a:pt x="377587" y="724494"/>
                  </a:cubicBezTo>
                  <a:cubicBezTo>
                    <a:pt x="369428" y="724494"/>
                    <a:pt x="366708" y="721774"/>
                    <a:pt x="361269" y="719054"/>
                  </a:cubicBezTo>
                  <a:cubicBezTo>
                    <a:pt x="355830" y="716335"/>
                    <a:pt x="353110" y="708176"/>
                    <a:pt x="353110" y="702737"/>
                  </a:cubicBezTo>
                  <a:cubicBezTo>
                    <a:pt x="350390" y="694578"/>
                    <a:pt x="350390" y="689138"/>
                    <a:pt x="350390" y="686419"/>
                  </a:cubicBezTo>
                  <a:cubicBezTo>
                    <a:pt x="350390" y="678260"/>
                    <a:pt x="353110" y="672820"/>
                    <a:pt x="353110" y="659222"/>
                  </a:cubicBezTo>
                  <a:lnTo>
                    <a:pt x="353110" y="656502"/>
                  </a:lnTo>
                  <a:cubicBezTo>
                    <a:pt x="347671" y="675540"/>
                    <a:pt x="334072" y="694578"/>
                    <a:pt x="317755" y="708176"/>
                  </a:cubicBezTo>
                  <a:cubicBezTo>
                    <a:pt x="293278" y="727214"/>
                    <a:pt x="274240" y="735372"/>
                    <a:pt x="241604" y="735372"/>
                  </a:cubicBezTo>
                  <a:cubicBezTo>
                    <a:pt x="222566" y="735372"/>
                    <a:pt x="203529" y="732653"/>
                    <a:pt x="187211" y="727214"/>
                  </a:cubicBezTo>
                  <a:cubicBezTo>
                    <a:pt x="165454" y="719054"/>
                    <a:pt x="149136" y="708176"/>
                    <a:pt x="135538" y="694578"/>
                  </a:cubicBezTo>
                  <a:cubicBezTo>
                    <a:pt x="113780" y="672820"/>
                    <a:pt x="100182" y="648343"/>
                    <a:pt x="86584" y="621147"/>
                  </a:cubicBezTo>
                  <a:cubicBezTo>
                    <a:pt x="75705" y="599390"/>
                    <a:pt x="70266" y="580352"/>
                    <a:pt x="67546" y="555875"/>
                  </a:cubicBezTo>
                  <a:cubicBezTo>
                    <a:pt x="64826" y="539557"/>
                    <a:pt x="62107" y="525959"/>
                    <a:pt x="59387" y="509641"/>
                  </a:cubicBezTo>
                  <a:cubicBezTo>
                    <a:pt x="56667" y="493323"/>
                    <a:pt x="59387" y="485164"/>
                    <a:pt x="59387" y="468846"/>
                  </a:cubicBezTo>
                  <a:cubicBezTo>
                    <a:pt x="59387" y="414453"/>
                    <a:pt x="72985" y="362780"/>
                    <a:pt x="86584" y="302947"/>
                  </a:cubicBezTo>
                  <a:cubicBezTo>
                    <a:pt x="92023" y="275751"/>
                    <a:pt x="100182" y="248554"/>
                    <a:pt x="108341" y="224077"/>
                  </a:cubicBezTo>
                  <a:cubicBezTo>
                    <a:pt x="116500" y="196881"/>
                    <a:pt x="130098" y="169684"/>
                    <a:pt x="146416" y="145207"/>
                  </a:cubicBezTo>
                  <a:cubicBezTo>
                    <a:pt x="160014" y="123450"/>
                    <a:pt x="176332" y="101693"/>
                    <a:pt x="198090" y="85375"/>
                  </a:cubicBezTo>
                  <a:cubicBezTo>
                    <a:pt x="206249" y="77216"/>
                    <a:pt x="217127" y="71776"/>
                    <a:pt x="228006" y="69057"/>
                  </a:cubicBezTo>
                  <a:cubicBezTo>
                    <a:pt x="241604" y="63618"/>
                    <a:pt x="255202" y="58178"/>
                    <a:pt x="268801" y="58178"/>
                  </a:cubicBezTo>
                  <a:cubicBezTo>
                    <a:pt x="271520" y="58178"/>
                    <a:pt x="274240" y="58178"/>
                    <a:pt x="274240" y="58178"/>
                  </a:cubicBezTo>
                  <a:cubicBezTo>
                    <a:pt x="279679" y="58178"/>
                    <a:pt x="285119" y="58178"/>
                    <a:pt x="295997" y="60898"/>
                  </a:cubicBezTo>
                  <a:cubicBezTo>
                    <a:pt x="309595" y="63618"/>
                    <a:pt x="320474" y="66337"/>
                    <a:pt x="331353" y="71776"/>
                  </a:cubicBezTo>
                  <a:cubicBezTo>
                    <a:pt x="339512" y="77216"/>
                    <a:pt x="347671" y="85375"/>
                    <a:pt x="350390" y="93534"/>
                  </a:cubicBezTo>
                  <a:cubicBezTo>
                    <a:pt x="350390" y="88095"/>
                    <a:pt x="353110" y="79936"/>
                    <a:pt x="353110" y="74496"/>
                  </a:cubicBezTo>
                  <a:cubicBezTo>
                    <a:pt x="355830" y="71776"/>
                    <a:pt x="355830" y="69057"/>
                    <a:pt x="358549" y="63618"/>
                  </a:cubicBezTo>
                  <a:cubicBezTo>
                    <a:pt x="361269" y="60898"/>
                    <a:pt x="363989" y="58178"/>
                    <a:pt x="366708" y="58178"/>
                  </a:cubicBezTo>
                  <a:cubicBezTo>
                    <a:pt x="369428" y="58178"/>
                    <a:pt x="372148" y="60898"/>
                    <a:pt x="374867" y="63618"/>
                  </a:cubicBezTo>
                  <a:cubicBezTo>
                    <a:pt x="377587" y="69057"/>
                    <a:pt x="380307" y="77216"/>
                    <a:pt x="383026" y="82655"/>
                  </a:cubicBezTo>
                  <a:cubicBezTo>
                    <a:pt x="383026" y="90814"/>
                    <a:pt x="385746" y="107132"/>
                    <a:pt x="385746" y="126170"/>
                  </a:cubicBezTo>
                  <a:cubicBezTo>
                    <a:pt x="385746" y="150647"/>
                    <a:pt x="385746" y="177843"/>
                    <a:pt x="388466" y="186002"/>
                  </a:cubicBezTo>
                  <a:cubicBezTo>
                    <a:pt x="391185" y="207759"/>
                    <a:pt x="391185" y="215918"/>
                    <a:pt x="391185" y="237676"/>
                  </a:cubicBezTo>
                  <a:cubicBezTo>
                    <a:pt x="391185" y="248554"/>
                    <a:pt x="391185" y="278470"/>
                    <a:pt x="374867" y="278470"/>
                  </a:cubicBezTo>
                  <a:cubicBezTo>
                    <a:pt x="366708" y="278470"/>
                    <a:pt x="363989" y="275751"/>
                    <a:pt x="358549" y="273031"/>
                  </a:cubicBezTo>
                  <a:cubicBezTo>
                    <a:pt x="353110" y="270311"/>
                    <a:pt x="350390" y="262152"/>
                    <a:pt x="350390" y="256713"/>
                  </a:cubicBezTo>
                  <a:cubicBezTo>
                    <a:pt x="350390" y="251274"/>
                    <a:pt x="347671" y="245834"/>
                    <a:pt x="347671" y="240395"/>
                  </a:cubicBezTo>
                  <a:cubicBezTo>
                    <a:pt x="347671" y="232236"/>
                    <a:pt x="347671" y="224077"/>
                    <a:pt x="347671" y="213199"/>
                  </a:cubicBezTo>
                  <a:cubicBezTo>
                    <a:pt x="347671" y="207759"/>
                    <a:pt x="347671" y="199600"/>
                    <a:pt x="344951" y="194161"/>
                  </a:cubicBezTo>
                  <a:cubicBezTo>
                    <a:pt x="342232" y="180563"/>
                    <a:pt x="342232" y="164245"/>
                    <a:pt x="339512" y="150647"/>
                  </a:cubicBezTo>
                  <a:cubicBezTo>
                    <a:pt x="336792" y="137048"/>
                    <a:pt x="331353" y="123450"/>
                    <a:pt x="323194" y="112571"/>
                  </a:cubicBezTo>
                  <a:cubicBezTo>
                    <a:pt x="317755" y="104412"/>
                    <a:pt x="304156" y="101693"/>
                    <a:pt x="293278" y="101693"/>
                  </a:cubicBezTo>
                  <a:cubicBezTo>
                    <a:pt x="279679" y="101693"/>
                    <a:pt x="271520" y="109852"/>
                    <a:pt x="263361" y="120730"/>
                  </a:cubicBezTo>
                  <a:cubicBezTo>
                    <a:pt x="257922" y="131609"/>
                    <a:pt x="247043" y="139768"/>
                    <a:pt x="241604" y="153366"/>
                  </a:cubicBezTo>
                  <a:cubicBezTo>
                    <a:pt x="236165" y="166964"/>
                    <a:pt x="233445" y="180563"/>
                    <a:pt x="233445" y="194161"/>
                  </a:cubicBezTo>
                  <a:cubicBezTo>
                    <a:pt x="233445" y="207759"/>
                    <a:pt x="230726" y="218638"/>
                    <a:pt x="225286" y="232236"/>
                  </a:cubicBezTo>
                  <a:cubicBezTo>
                    <a:pt x="219847" y="245834"/>
                    <a:pt x="219847" y="262152"/>
                    <a:pt x="217127" y="275751"/>
                  </a:cubicBezTo>
                  <a:cubicBezTo>
                    <a:pt x="214407" y="289349"/>
                    <a:pt x="214407" y="302947"/>
                    <a:pt x="211688" y="316545"/>
                  </a:cubicBezTo>
                  <a:cubicBezTo>
                    <a:pt x="211688" y="330144"/>
                    <a:pt x="206249" y="341022"/>
                    <a:pt x="206249" y="354621"/>
                  </a:cubicBezTo>
                  <a:cubicBezTo>
                    <a:pt x="203529" y="368219"/>
                    <a:pt x="203529" y="381817"/>
                    <a:pt x="200809" y="398135"/>
                  </a:cubicBezTo>
                  <a:cubicBezTo>
                    <a:pt x="198090" y="411733"/>
                    <a:pt x="198090" y="425332"/>
                    <a:pt x="195370" y="438930"/>
                  </a:cubicBezTo>
                  <a:cubicBezTo>
                    <a:pt x="195370" y="449809"/>
                    <a:pt x="192650" y="463407"/>
                    <a:pt x="192650" y="474286"/>
                  </a:cubicBezTo>
                  <a:cubicBezTo>
                    <a:pt x="192650" y="490603"/>
                    <a:pt x="195370" y="509641"/>
                    <a:pt x="195370" y="525959"/>
                  </a:cubicBezTo>
                  <a:cubicBezTo>
                    <a:pt x="195370" y="550436"/>
                    <a:pt x="203529" y="572193"/>
                    <a:pt x="208968" y="596670"/>
                  </a:cubicBezTo>
                  <a:cubicBezTo>
                    <a:pt x="211688" y="604829"/>
                    <a:pt x="211688" y="615708"/>
                    <a:pt x="214407" y="623867"/>
                  </a:cubicBezTo>
                  <a:cubicBezTo>
                    <a:pt x="217127" y="634745"/>
                    <a:pt x="222566" y="645624"/>
                    <a:pt x="228006" y="656502"/>
                  </a:cubicBezTo>
                  <a:cubicBezTo>
                    <a:pt x="236165" y="670101"/>
                    <a:pt x="252483" y="689138"/>
                    <a:pt x="271520" y="689138"/>
                  </a:cubicBezTo>
                  <a:cubicBezTo>
                    <a:pt x="287838" y="689138"/>
                    <a:pt x="298717" y="675540"/>
                    <a:pt x="306876" y="664661"/>
                  </a:cubicBezTo>
                  <a:cubicBezTo>
                    <a:pt x="320474" y="645624"/>
                    <a:pt x="325914" y="623867"/>
                    <a:pt x="331353" y="602109"/>
                  </a:cubicBezTo>
                  <a:cubicBezTo>
                    <a:pt x="334072" y="583072"/>
                    <a:pt x="336792" y="564034"/>
                    <a:pt x="336792" y="544997"/>
                  </a:cubicBezTo>
                  <a:cubicBezTo>
                    <a:pt x="336792" y="531398"/>
                    <a:pt x="336792" y="512361"/>
                    <a:pt x="336792" y="498762"/>
                  </a:cubicBezTo>
                  <a:cubicBezTo>
                    <a:pt x="336792" y="496043"/>
                    <a:pt x="336792" y="493323"/>
                    <a:pt x="336792" y="490603"/>
                  </a:cubicBezTo>
                  <a:cubicBezTo>
                    <a:pt x="336792" y="479725"/>
                    <a:pt x="336792" y="477005"/>
                    <a:pt x="320474" y="477005"/>
                  </a:cubicBezTo>
                  <a:cubicBezTo>
                    <a:pt x="309595" y="477005"/>
                    <a:pt x="295997" y="479725"/>
                    <a:pt x="282399" y="479725"/>
                  </a:cubicBezTo>
                  <a:cubicBezTo>
                    <a:pt x="271520" y="479725"/>
                    <a:pt x="260642" y="479725"/>
                    <a:pt x="252483" y="474286"/>
                  </a:cubicBezTo>
                  <a:cubicBezTo>
                    <a:pt x="249763" y="471566"/>
                    <a:pt x="247043" y="468846"/>
                    <a:pt x="247043" y="466126"/>
                  </a:cubicBezTo>
                  <a:cubicBezTo>
                    <a:pt x="247043" y="463407"/>
                    <a:pt x="247043" y="460687"/>
                    <a:pt x="249763" y="457968"/>
                  </a:cubicBezTo>
                  <a:cubicBezTo>
                    <a:pt x="255202" y="452528"/>
                    <a:pt x="260642" y="449809"/>
                    <a:pt x="268801" y="447089"/>
                  </a:cubicBezTo>
                  <a:cubicBezTo>
                    <a:pt x="282399" y="441650"/>
                    <a:pt x="295997" y="438930"/>
                    <a:pt x="312315" y="436210"/>
                  </a:cubicBezTo>
                  <a:cubicBezTo>
                    <a:pt x="325914" y="433491"/>
                    <a:pt x="339512" y="433491"/>
                    <a:pt x="353110" y="430771"/>
                  </a:cubicBezTo>
                  <a:cubicBezTo>
                    <a:pt x="363989" y="430771"/>
                    <a:pt x="374867" y="430771"/>
                    <a:pt x="385746" y="430771"/>
                  </a:cubicBezTo>
                  <a:cubicBezTo>
                    <a:pt x="402064" y="430771"/>
                    <a:pt x="426541" y="428051"/>
                    <a:pt x="437420" y="428051"/>
                  </a:cubicBezTo>
                  <a:cubicBezTo>
                    <a:pt x="451018" y="419892"/>
                    <a:pt x="464616" y="425332"/>
                    <a:pt x="464616" y="436210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>
                <a:solidFill>
                  <a:srgbClr val="FFFFFF"/>
                </a:solidFill>
              </a:endParaRPr>
            </a:p>
          </p:txBody>
        </p:sp>
        <p:sp>
          <p:nvSpPr>
            <p:cNvPr id="43" name="Freeform: Shape 42">
              <a:extLst>
                <a:ext uri="{FF2B5EF4-FFF2-40B4-BE49-F238E27FC236}">
                  <a16:creationId xmlns:a16="http://schemas.microsoft.com/office/drawing/2014/main" id="{AA123048-4C12-46AC-9243-BF2263C43BE6}"/>
                </a:ext>
              </a:extLst>
            </p:cNvPr>
            <p:cNvSpPr/>
            <p:nvPr/>
          </p:nvSpPr>
          <p:spPr>
            <a:xfrm>
              <a:off x="5651630" y="4181279"/>
              <a:ext cx="734308" cy="788700"/>
            </a:xfrm>
            <a:custGeom>
              <a:avLst/>
              <a:gdLst>
                <a:gd name="connsiteX0" fmla="*/ 653783 w 734307"/>
                <a:gd name="connsiteY0" fmla="*/ 678259 h 788699"/>
                <a:gd name="connsiteX1" fmla="*/ 691859 w 734307"/>
                <a:gd name="connsiteY1" fmla="*/ 694577 h 788699"/>
                <a:gd name="connsiteX2" fmla="*/ 686419 w 734307"/>
                <a:gd name="connsiteY2" fmla="*/ 710895 h 788699"/>
                <a:gd name="connsiteX3" fmla="*/ 670101 w 734307"/>
                <a:gd name="connsiteY3" fmla="*/ 719054 h 788699"/>
                <a:gd name="connsiteX4" fmla="*/ 648344 w 734307"/>
                <a:gd name="connsiteY4" fmla="*/ 721774 h 788699"/>
                <a:gd name="connsiteX5" fmla="*/ 618428 w 734307"/>
                <a:gd name="connsiteY5" fmla="*/ 721774 h 788699"/>
                <a:gd name="connsiteX6" fmla="*/ 572194 w 734307"/>
                <a:gd name="connsiteY6" fmla="*/ 735372 h 788699"/>
                <a:gd name="connsiteX7" fmla="*/ 544997 w 734307"/>
                <a:gd name="connsiteY7" fmla="*/ 729933 h 788699"/>
                <a:gd name="connsiteX8" fmla="*/ 534119 w 734307"/>
                <a:gd name="connsiteY8" fmla="*/ 721774 h 788699"/>
                <a:gd name="connsiteX9" fmla="*/ 496043 w 734307"/>
                <a:gd name="connsiteY9" fmla="*/ 721774 h 788699"/>
                <a:gd name="connsiteX10" fmla="*/ 471566 w 734307"/>
                <a:gd name="connsiteY10" fmla="*/ 721774 h 788699"/>
                <a:gd name="connsiteX11" fmla="*/ 444370 w 734307"/>
                <a:gd name="connsiteY11" fmla="*/ 716335 h 788699"/>
                <a:gd name="connsiteX12" fmla="*/ 428052 w 734307"/>
                <a:gd name="connsiteY12" fmla="*/ 700017 h 788699"/>
                <a:gd name="connsiteX13" fmla="*/ 433491 w 734307"/>
                <a:gd name="connsiteY13" fmla="*/ 691858 h 788699"/>
                <a:gd name="connsiteX14" fmla="*/ 455248 w 734307"/>
                <a:gd name="connsiteY14" fmla="*/ 683699 h 788699"/>
                <a:gd name="connsiteX15" fmla="*/ 506922 w 734307"/>
                <a:gd name="connsiteY15" fmla="*/ 678259 h 788699"/>
                <a:gd name="connsiteX16" fmla="*/ 509641 w 734307"/>
                <a:gd name="connsiteY16" fmla="*/ 678259 h 788699"/>
                <a:gd name="connsiteX17" fmla="*/ 506922 w 734307"/>
                <a:gd name="connsiteY17" fmla="*/ 664661 h 788699"/>
                <a:gd name="connsiteX18" fmla="*/ 498763 w 734307"/>
                <a:gd name="connsiteY18" fmla="*/ 580352 h 788699"/>
                <a:gd name="connsiteX19" fmla="*/ 496043 w 734307"/>
                <a:gd name="connsiteY19" fmla="*/ 479725 h 788699"/>
                <a:gd name="connsiteX20" fmla="*/ 493324 w 734307"/>
                <a:gd name="connsiteY20" fmla="*/ 389976 h 788699"/>
                <a:gd name="connsiteX21" fmla="*/ 490604 w 734307"/>
                <a:gd name="connsiteY21" fmla="*/ 302947 h 788699"/>
                <a:gd name="connsiteX22" fmla="*/ 487884 w 734307"/>
                <a:gd name="connsiteY22" fmla="*/ 229516 h 788699"/>
                <a:gd name="connsiteX23" fmla="*/ 485165 w 734307"/>
                <a:gd name="connsiteY23" fmla="*/ 221357 h 788699"/>
                <a:gd name="connsiteX24" fmla="*/ 482445 w 734307"/>
                <a:gd name="connsiteY24" fmla="*/ 226797 h 788699"/>
                <a:gd name="connsiteX25" fmla="*/ 477006 w 734307"/>
                <a:gd name="connsiteY25" fmla="*/ 262152 h 788699"/>
                <a:gd name="connsiteX26" fmla="*/ 460688 w 734307"/>
                <a:gd name="connsiteY26" fmla="*/ 341022 h 788699"/>
                <a:gd name="connsiteX27" fmla="*/ 444370 w 734307"/>
                <a:gd name="connsiteY27" fmla="*/ 417173 h 788699"/>
                <a:gd name="connsiteX28" fmla="*/ 436211 w 734307"/>
                <a:gd name="connsiteY28" fmla="*/ 455248 h 788699"/>
                <a:gd name="connsiteX29" fmla="*/ 425332 w 734307"/>
                <a:gd name="connsiteY29" fmla="*/ 493323 h 788699"/>
                <a:gd name="connsiteX30" fmla="*/ 411734 w 734307"/>
                <a:gd name="connsiteY30" fmla="*/ 531398 h 788699"/>
                <a:gd name="connsiteX31" fmla="*/ 376378 w 734307"/>
                <a:gd name="connsiteY31" fmla="*/ 547716 h 788699"/>
                <a:gd name="connsiteX32" fmla="*/ 319265 w 734307"/>
                <a:gd name="connsiteY32" fmla="*/ 525959 h 788699"/>
                <a:gd name="connsiteX33" fmla="*/ 289349 w 734307"/>
                <a:gd name="connsiteY33" fmla="*/ 455248 h 788699"/>
                <a:gd name="connsiteX34" fmla="*/ 273031 w 734307"/>
                <a:gd name="connsiteY34" fmla="*/ 373658 h 788699"/>
                <a:gd name="connsiteX35" fmla="*/ 262153 w 734307"/>
                <a:gd name="connsiteY35" fmla="*/ 316545 h 788699"/>
                <a:gd name="connsiteX36" fmla="*/ 245835 w 734307"/>
                <a:gd name="connsiteY36" fmla="*/ 237675 h 788699"/>
                <a:gd name="connsiteX37" fmla="*/ 234956 w 734307"/>
                <a:gd name="connsiteY37" fmla="*/ 196881 h 788699"/>
                <a:gd name="connsiteX38" fmla="*/ 232236 w 734307"/>
                <a:gd name="connsiteY38" fmla="*/ 191441 h 788699"/>
                <a:gd name="connsiteX39" fmla="*/ 226797 w 734307"/>
                <a:gd name="connsiteY39" fmla="*/ 207759 h 788699"/>
                <a:gd name="connsiteX40" fmla="*/ 226797 w 734307"/>
                <a:gd name="connsiteY40" fmla="*/ 232236 h 788699"/>
                <a:gd name="connsiteX41" fmla="*/ 224077 w 734307"/>
                <a:gd name="connsiteY41" fmla="*/ 267592 h 788699"/>
                <a:gd name="connsiteX42" fmla="*/ 221358 w 734307"/>
                <a:gd name="connsiteY42" fmla="*/ 311106 h 788699"/>
                <a:gd name="connsiteX43" fmla="*/ 218638 w 734307"/>
                <a:gd name="connsiteY43" fmla="*/ 360060 h 788699"/>
                <a:gd name="connsiteX44" fmla="*/ 215919 w 734307"/>
                <a:gd name="connsiteY44" fmla="*/ 398135 h 788699"/>
                <a:gd name="connsiteX45" fmla="*/ 213199 w 734307"/>
                <a:gd name="connsiteY45" fmla="*/ 430771 h 788699"/>
                <a:gd name="connsiteX46" fmla="*/ 213199 w 734307"/>
                <a:gd name="connsiteY46" fmla="*/ 455248 h 788699"/>
                <a:gd name="connsiteX47" fmla="*/ 213199 w 734307"/>
                <a:gd name="connsiteY47" fmla="*/ 477005 h 788699"/>
                <a:gd name="connsiteX48" fmla="*/ 207759 w 734307"/>
                <a:gd name="connsiteY48" fmla="*/ 520520 h 788699"/>
                <a:gd name="connsiteX49" fmla="*/ 196881 w 734307"/>
                <a:gd name="connsiteY49" fmla="*/ 610268 h 788699"/>
                <a:gd name="connsiteX50" fmla="*/ 194161 w 734307"/>
                <a:gd name="connsiteY50" fmla="*/ 653783 h 788699"/>
                <a:gd name="connsiteX51" fmla="*/ 191441 w 734307"/>
                <a:gd name="connsiteY51" fmla="*/ 667381 h 788699"/>
                <a:gd name="connsiteX52" fmla="*/ 243115 w 734307"/>
                <a:gd name="connsiteY52" fmla="*/ 667381 h 788699"/>
                <a:gd name="connsiteX53" fmla="*/ 273031 w 734307"/>
                <a:gd name="connsiteY53" fmla="*/ 683699 h 788699"/>
                <a:gd name="connsiteX54" fmla="*/ 262153 w 734307"/>
                <a:gd name="connsiteY54" fmla="*/ 697297 h 788699"/>
                <a:gd name="connsiteX55" fmla="*/ 248554 w 734307"/>
                <a:gd name="connsiteY55" fmla="*/ 705456 h 788699"/>
                <a:gd name="connsiteX56" fmla="*/ 232236 w 734307"/>
                <a:gd name="connsiteY56" fmla="*/ 708176 h 788699"/>
                <a:gd name="connsiteX57" fmla="*/ 166965 w 734307"/>
                <a:gd name="connsiteY57" fmla="*/ 708176 h 788699"/>
                <a:gd name="connsiteX58" fmla="*/ 109852 w 734307"/>
                <a:gd name="connsiteY58" fmla="*/ 708176 h 788699"/>
                <a:gd name="connsiteX59" fmla="*/ 90814 w 734307"/>
                <a:gd name="connsiteY59" fmla="*/ 708176 h 788699"/>
                <a:gd name="connsiteX60" fmla="*/ 69057 w 734307"/>
                <a:gd name="connsiteY60" fmla="*/ 702736 h 788699"/>
                <a:gd name="connsiteX61" fmla="*/ 58178 w 734307"/>
                <a:gd name="connsiteY61" fmla="*/ 686418 h 788699"/>
                <a:gd name="connsiteX62" fmla="*/ 60898 w 734307"/>
                <a:gd name="connsiteY62" fmla="*/ 678259 h 788699"/>
                <a:gd name="connsiteX63" fmla="*/ 77216 w 734307"/>
                <a:gd name="connsiteY63" fmla="*/ 670101 h 788699"/>
                <a:gd name="connsiteX64" fmla="*/ 126170 w 734307"/>
                <a:gd name="connsiteY64" fmla="*/ 664661 h 788699"/>
                <a:gd name="connsiteX65" fmla="*/ 142487 w 734307"/>
                <a:gd name="connsiteY65" fmla="*/ 664661 h 788699"/>
                <a:gd name="connsiteX66" fmla="*/ 147927 w 734307"/>
                <a:gd name="connsiteY66" fmla="*/ 588511 h 788699"/>
                <a:gd name="connsiteX67" fmla="*/ 153366 w 734307"/>
                <a:gd name="connsiteY67" fmla="*/ 493323 h 788699"/>
                <a:gd name="connsiteX68" fmla="*/ 156086 w 734307"/>
                <a:gd name="connsiteY68" fmla="*/ 411733 h 788699"/>
                <a:gd name="connsiteX69" fmla="*/ 161525 w 734307"/>
                <a:gd name="connsiteY69" fmla="*/ 297508 h 788699"/>
                <a:gd name="connsiteX70" fmla="*/ 166965 w 734307"/>
                <a:gd name="connsiteY70" fmla="*/ 240395 h 788699"/>
                <a:gd name="connsiteX71" fmla="*/ 177843 w 734307"/>
                <a:gd name="connsiteY71" fmla="*/ 161525 h 788699"/>
                <a:gd name="connsiteX72" fmla="*/ 183282 w 734307"/>
                <a:gd name="connsiteY72" fmla="*/ 118011 h 788699"/>
                <a:gd name="connsiteX73" fmla="*/ 183282 w 734307"/>
                <a:gd name="connsiteY73" fmla="*/ 115291 h 788699"/>
                <a:gd name="connsiteX74" fmla="*/ 161525 w 734307"/>
                <a:gd name="connsiteY74" fmla="*/ 115291 h 788699"/>
                <a:gd name="connsiteX75" fmla="*/ 137048 w 734307"/>
                <a:gd name="connsiteY75" fmla="*/ 115291 h 788699"/>
                <a:gd name="connsiteX76" fmla="*/ 109852 w 734307"/>
                <a:gd name="connsiteY76" fmla="*/ 109851 h 788699"/>
                <a:gd name="connsiteX77" fmla="*/ 93534 w 734307"/>
                <a:gd name="connsiteY77" fmla="*/ 93534 h 788699"/>
                <a:gd name="connsiteX78" fmla="*/ 98973 w 734307"/>
                <a:gd name="connsiteY78" fmla="*/ 85375 h 788699"/>
                <a:gd name="connsiteX79" fmla="*/ 120730 w 734307"/>
                <a:gd name="connsiteY79" fmla="*/ 77216 h 788699"/>
                <a:gd name="connsiteX80" fmla="*/ 172404 w 734307"/>
                <a:gd name="connsiteY80" fmla="*/ 71776 h 788699"/>
                <a:gd name="connsiteX81" fmla="*/ 234956 w 734307"/>
                <a:gd name="connsiteY81" fmla="*/ 69057 h 788699"/>
                <a:gd name="connsiteX82" fmla="*/ 243115 w 734307"/>
                <a:gd name="connsiteY82" fmla="*/ 69057 h 788699"/>
                <a:gd name="connsiteX83" fmla="*/ 270312 w 734307"/>
                <a:gd name="connsiteY83" fmla="*/ 74496 h 788699"/>
                <a:gd name="connsiteX84" fmla="*/ 308387 w 734307"/>
                <a:gd name="connsiteY84" fmla="*/ 123450 h 788699"/>
                <a:gd name="connsiteX85" fmla="*/ 332864 w 734307"/>
                <a:gd name="connsiteY85" fmla="*/ 202320 h 788699"/>
                <a:gd name="connsiteX86" fmla="*/ 338303 w 734307"/>
                <a:gd name="connsiteY86" fmla="*/ 237675 h 788699"/>
                <a:gd name="connsiteX87" fmla="*/ 349182 w 734307"/>
                <a:gd name="connsiteY87" fmla="*/ 281190 h 788699"/>
                <a:gd name="connsiteX88" fmla="*/ 357341 w 734307"/>
                <a:gd name="connsiteY88" fmla="*/ 316545 h 788699"/>
                <a:gd name="connsiteX89" fmla="*/ 365500 w 734307"/>
                <a:gd name="connsiteY89" fmla="*/ 351901 h 788699"/>
                <a:gd name="connsiteX90" fmla="*/ 376378 w 734307"/>
                <a:gd name="connsiteY90" fmla="*/ 389976 h 788699"/>
                <a:gd name="connsiteX91" fmla="*/ 387257 w 734307"/>
                <a:gd name="connsiteY91" fmla="*/ 414453 h 788699"/>
                <a:gd name="connsiteX92" fmla="*/ 398136 w 734307"/>
                <a:gd name="connsiteY92" fmla="*/ 376378 h 788699"/>
                <a:gd name="connsiteX93" fmla="*/ 406295 w 734307"/>
                <a:gd name="connsiteY93" fmla="*/ 332863 h 788699"/>
                <a:gd name="connsiteX94" fmla="*/ 425332 w 734307"/>
                <a:gd name="connsiteY94" fmla="*/ 243115 h 788699"/>
                <a:gd name="connsiteX95" fmla="*/ 444370 w 734307"/>
                <a:gd name="connsiteY95" fmla="*/ 150646 h 788699"/>
                <a:gd name="connsiteX96" fmla="*/ 477006 w 734307"/>
                <a:gd name="connsiteY96" fmla="*/ 79935 h 788699"/>
                <a:gd name="connsiteX97" fmla="*/ 523240 w 734307"/>
                <a:gd name="connsiteY97" fmla="*/ 58178 h 788699"/>
                <a:gd name="connsiteX98" fmla="*/ 544997 w 734307"/>
                <a:gd name="connsiteY98" fmla="*/ 63617 h 788699"/>
                <a:gd name="connsiteX99" fmla="*/ 612988 w 734307"/>
                <a:gd name="connsiteY99" fmla="*/ 63617 h 788699"/>
                <a:gd name="connsiteX100" fmla="*/ 651064 w 734307"/>
                <a:gd name="connsiteY100" fmla="*/ 79935 h 788699"/>
                <a:gd name="connsiteX101" fmla="*/ 645624 w 734307"/>
                <a:gd name="connsiteY101" fmla="*/ 96253 h 788699"/>
                <a:gd name="connsiteX102" fmla="*/ 629307 w 734307"/>
                <a:gd name="connsiteY102" fmla="*/ 104412 h 788699"/>
                <a:gd name="connsiteX103" fmla="*/ 607549 w 734307"/>
                <a:gd name="connsiteY103" fmla="*/ 107132 h 788699"/>
                <a:gd name="connsiteX104" fmla="*/ 580353 w 734307"/>
                <a:gd name="connsiteY104" fmla="*/ 107132 h 788699"/>
                <a:gd name="connsiteX105" fmla="*/ 583072 w 734307"/>
                <a:gd name="connsiteY105" fmla="*/ 115291 h 788699"/>
                <a:gd name="connsiteX106" fmla="*/ 588512 w 734307"/>
                <a:gd name="connsiteY106" fmla="*/ 156086 h 788699"/>
                <a:gd name="connsiteX107" fmla="*/ 593951 w 734307"/>
                <a:gd name="connsiteY107" fmla="*/ 196881 h 788699"/>
                <a:gd name="connsiteX108" fmla="*/ 599390 w 734307"/>
                <a:gd name="connsiteY108" fmla="*/ 226797 h 788699"/>
                <a:gd name="connsiteX109" fmla="*/ 599390 w 734307"/>
                <a:gd name="connsiteY109" fmla="*/ 232236 h 788699"/>
                <a:gd name="connsiteX110" fmla="*/ 599390 w 734307"/>
                <a:gd name="connsiteY110" fmla="*/ 240395 h 788699"/>
                <a:gd name="connsiteX111" fmla="*/ 602110 w 734307"/>
                <a:gd name="connsiteY111" fmla="*/ 270311 h 788699"/>
                <a:gd name="connsiteX112" fmla="*/ 607549 w 734307"/>
                <a:gd name="connsiteY112" fmla="*/ 308386 h 788699"/>
                <a:gd name="connsiteX113" fmla="*/ 607549 w 734307"/>
                <a:gd name="connsiteY113" fmla="*/ 319265 h 788699"/>
                <a:gd name="connsiteX114" fmla="*/ 612988 w 734307"/>
                <a:gd name="connsiteY114" fmla="*/ 335583 h 788699"/>
                <a:gd name="connsiteX115" fmla="*/ 612988 w 734307"/>
                <a:gd name="connsiteY115" fmla="*/ 346462 h 788699"/>
                <a:gd name="connsiteX116" fmla="*/ 612988 w 734307"/>
                <a:gd name="connsiteY116" fmla="*/ 370939 h 788699"/>
                <a:gd name="connsiteX117" fmla="*/ 612988 w 734307"/>
                <a:gd name="connsiteY117" fmla="*/ 395415 h 788699"/>
                <a:gd name="connsiteX118" fmla="*/ 615708 w 734307"/>
                <a:gd name="connsiteY118" fmla="*/ 422612 h 788699"/>
                <a:gd name="connsiteX119" fmla="*/ 618428 w 734307"/>
                <a:gd name="connsiteY119" fmla="*/ 441650 h 788699"/>
                <a:gd name="connsiteX120" fmla="*/ 618428 w 734307"/>
                <a:gd name="connsiteY120" fmla="*/ 455248 h 788699"/>
                <a:gd name="connsiteX121" fmla="*/ 621147 w 734307"/>
                <a:gd name="connsiteY121" fmla="*/ 463407 h 788699"/>
                <a:gd name="connsiteX122" fmla="*/ 626587 w 734307"/>
                <a:gd name="connsiteY122" fmla="*/ 482444 h 788699"/>
                <a:gd name="connsiteX123" fmla="*/ 629307 w 734307"/>
                <a:gd name="connsiteY123" fmla="*/ 517800 h 788699"/>
                <a:gd name="connsiteX124" fmla="*/ 634746 w 734307"/>
                <a:gd name="connsiteY124" fmla="*/ 561314 h 788699"/>
                <a:gd name="connsiteX125" fmla="*/ 634746 w 734307"/>
                <a:gd name="connsiteY125" fmla="*/ 566754 h 788699"/>
                <a:gd name="connsiteX126" fmla="*/ 634746 w 734307"/>
                <a:gd name="connsiteY126" fmla="*/ 583072 h 788699"/>
                <a:gd name="connsiteX127" fmla="*/ 637466 w 734307"/>
                <a:gd name="connsiteY127" fmla="*/ 607548 h 788699"/>
                <a:gd name="connsiteX128" fmla="*/ 640185 w 734307"/>
                <a:gd name="connsiteY128" fmla="*/ 618427 h 788699"/>
                <a:gd name="connsiteX129" fmla="*/ 640185 w 734307"/>
                <a:gd name="connsiteY129" fmla="*/ 632025 h 788699"/>
                <a:gd name="connsiteX130" fmla="*/ 640185 w 734307"/>
                <a:gd name="connsiteY130" fmla="*/ 640184 h 788699"/>
                <a:gd name="connsiteX131" fmla="*/ 642905 w 734307"/>
                <a:gd name="connsiteY131" fmla="*/ 659222 h 788699"/>
                <a:gd name="connsiteX132" fmla="*/ 642905 w 734307"/>
                <a:gd name="connsiteY132" fmla="*/ 664661 h 788699"/>
                <a:gd name="connsiteX133" fmla="*/ 653783 w 734307"/>
                <a:gd name="connsiteY133" fmla="*/ 678259 h 788699"/>
                <a:gd name="connsiteX134" fmla="*/ 653783 w 734307"/>
                <a:gd name="connsiteY134" fmla="*/ 678259 h 7886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</a:cxnLst>
              <a:rect l="l" t="t" r="r" b="b"/>
              <a:pathLst>
                <a:path w="734307" h="788699">
                  <a:moveTo>
                    <a:pt x="653783" y="678259"/>
                  </a:moveTo>
                  <a:cubicBezTo>
                    <a:pt x="667382" y="678259"/>
                    <a:pt x="691859" y="678259"/>
                    <a:pt x="691859" y="694577"/>
                  </a:cubicBezTo>
                  <a:cubicBezTo>
                    <a:pt x="691859" y="702736"/>
                    <a:pt x="689139" y="705456"/>
                    <a:pt x="686419" y="710895"/>
                  </a:cubicBezTo>
                  <a:cubicBezTo>
                    <a:pt x="683700" y="716335"/>
                    <a:pt x="675541" y="719054"/>
                    <a:pt x="670101" y="719054"/>
                  </a:cubicBezTo>
                  <a:cubicBezTo>
                    <a:pt x="661942" y="721774"/>
                    <a:pt x="653783" y="721774"/>
                    <a:pt x="648344" y="721774"/>
                  </a:cubicBezTo>
                  <a:cubicBezTo>
                    <a:pt x="645624" y="721774"/>
                    <a:pt x="634746" y="721774"/>
                    <a:pt x="618428" y="721774"/>
                  </a:cubicBezTo>
                  <a:cubicBezTo>
                    <a:pt x="604829" y="729933"/>
                    <a:pt x="588512" y="735372"/>
                    <a:pt x="572194" y="735372"/>
                  </a:cubicBezTo>
                  <a:cubicBezTo>
                    <a:pt x="564035" y="735372"/>
                    <a:pt x="553156" y="732653"/>
                    <a:pt x="544997" y="729933"/>
                  </a:cubicBezTo>
                  <a:cubicBezTo>
                    <a:pt x="539558" y="727213"/>
                    <a:pt x="536838" y="724494"/>
                    <a:pt x="534119" y="721774"/>
                  </a:cubicBezTo>
                  <a:cubicBezTo>
                    <a:pt x="520520" y="721774"/>
                    <a:pt x="509641" y="721774"/>
                    <a:pt x="496043" y="721774"/>
                  </a:cubicBezTo>
                  <a:cubicBezTo>
                    <a:pt x="487884" y="721774"/>
                    <a:pt x="479725" y="721774"/>
                    <a:pt x="471566" y="721774"/>
                  </a:cubicBezTo>
                  <a:cubicBezTo>
                    <a:pt x="463407" y="721774"/>
                    <a:pt x="452529" y="721774"/>
                    <a:pt x="444370" y="716335"/>
                  </a:cubicBezTo>
                  <a:cubicBezTo>
                    <a:pt x="436211" y="713615"/>
                    <a:pt x="428052" y="705456"/>
                    <a:pt x="428052" y="700017"/>
                  </a:cubicBezTo>
                  <a:cubicBezTo>
                    <a:pt x="428052" y="697297"/>
                    <a:pt x="428052" y="694577"/>
                    <a:pt x="433491" y="691858"/>
                  </a:cubicBezTo>
                  <a:cubicBezTo>
                    <a:pt x="438930" y="689138"/>
                    <a:pt x="449809" y="686418"/>
                    <a:pt x="455248" y="683699"/>
                  </a:cubicBezTo>
                  <a:cubicBezTo>
                    <a:pt x="474286" y="680979"/>
                    <a:pt x="498763" y="678259"/>
                    <a:pt x="506922" y="678259"/>
                  </a:cubicBezTo>
                  <a:cubicBezTo>
                    <a:pt x="506922" y="678259"/>
                    <a:pt x="509641" y="678259"/>
                    <a:pt x="509641" y="678259"/>
                  </a:cubicBezTo>
                  <a:cubicBezTo>
                    <a:pt x="509641" y="672820"/>
                    <a:pt x="506922" y="670101"/>
                    <a:pt x="506922" y="664661"/>
                  </a:cubicBezTo>
                  <a:cubicBezTo>
                    <a:pt x="501483" y="640184"/>
                    <a:pt x="501483" y="612988"/>
                    <a:pt x="498763" y="580352"/>
                  </a:cubicBezTo>
                  <a:cubicBezTo>
                    <a:pt x="496043" y="547716"/>
                    <a:pt x="498763" y="512361"/>
                    <a:pt x="496043" y="479725"/>
                  </a:cubicBezTo>
                  <a:cubicBezTo>
                    <a:pt x="493324" y="449808"/>
                    <a:pt x="493324" y="419892"/>
                    <a:pt x="493324" y="389976"/>
                  </a:cubicBezTo>
                  <a:cubicBezTo>
                    <a:pt x="493324" y="360060"/>
                    <a:pt x="490604" y="332863"/>
                    <a:pt x="490604" y="302947"/>
                  </a:cubicBezTo>
                  <a:cubicBezTo>
                    <a:pt x="487884" y="275751"/>
                    <a:pt x="487884" y="240395"/>
                    <a:pt x="487884" y="229516"/>
                  </a:cubicBezTo>
                  <a:cubicBezTo>
                    <a:pt x="487884" y="224077"/>
                    <a:pt x="487884" y="221357"/>
                    <a:pt x="485165" y="221357"/>
                  </a:cubicBezTo>
                  <a:cubicBezTo>
                    <a:pt x="485165" y="221357"/>
                    <a:pt x="482445" y="224077"/>
                    <a:pt x="482445" y="226797"/>
                  </a:cubicBezTo>
                  <a:cubicBezTo>
                    <a:pt x="479725" y="237675"/>
                    <a:pt x="479725" y="251274"/>
                    <a:pt x="477006" y="262152"/>
                  </a:cubicBezTo>
                  <a:cubicBezTo>
                    <a:pt x="471566" y="289349"/>
                    <a:pt x="466127" y="316545"/>
                    <a:pt x="460688" y="341022"/>
                  </a:cubicBezTo>
                  <a:cubicBezTo>
                    <a:pt x="455248" y="365499"/>
                    <a:pt x="447090" y="392696"/>
                    <a:pt x="444370" y="417173"/>
                  </a:cubicBezTo>
                  <a:cubicBezTo>
                    <a:pt x="441650" y="430771"/>
                    <a:pt x="438930" y="441650"/>
                    <a:pt x="436211" y="455248"/>
                  </a:cubicBezTo>
                  <a:cubicBezTo>
                    <a:pt x="433491" y="468846"/>
                    <a:pt x="428052" y="479725"/>
                    <a:pt x="425332" y="493323"/>
                  </a:cubicBezTo>
                  <a:cubicBezTo>
                    <a:pt x="422612" y="506921"/>
                    <a:pt x="419893" y="520520"/>
                    <a:pt x="411734" y="531398"/>
                  </a:cubicBezTo>
                  <a:cubicBezTo>
                    <a:pt x="406295" y="539557"/>
                    <a:pt x="395416" y="547716"/>
                    <a:pt x="376378" y="547716"/>
                  </a:cubicBezTo>
                  <a:cubicBezTo>
                    <a:pt x="357341" y="547716"/>
                    <a:pt x="335583" y="539557"/>
                    <a:pt x="319265" y="525959"/>
                  </a:cubicBezTo>
                  <a:cubicBezTo>
                    <a:pt x="300228" y="506921"/>
                    <a:pt x="294788" y="479725"/>
                    <a:pt x="289349" y="455248"/>
                  </a:cubicBezTo>
                  <a:cubicBezTo>
                    <a:pt x="283910" y="428051"/>
                    <a:pt x="278470" y="400855"/>
                    <a:pt x="273031" y="373658"/>
                  </a:cubicBezTo>
                  <a:cubicBezTo>
                    <a:pt x="273031" y="368219"/>
                    <a:pt x="267592" y="346462"/>
                    <a:pt x="262153" y="316545"/>
                  </a:cubicBezTo>
                  <a:cubicBezTo>
                    <a:pt x="256713" y="292068"/>
                    <a:pt x="251274" y="262152"/>
                    <a:pt x="245835" y="237675"/>
                  </a:cubicBezTo>
                  <a:cubicBezTo>
                    <a:pt x="240395" y="218638"/>
                    <a:pt x="237675" y="205039"/>
                    <a:pt x="234956" y="196881"/>
                  </a:cubicBezTo>
                  <a:cubicBezTo>
                    <a:pt x="232236" y="191441"/>
                    <a:pt x="232236" y="191441"/>
                    <a:pt x="232236" y="191441"/>
                  </a:cubicBezTo>
                  <a:cubicBezTo>
                    <a:pt x="229517" y="191441"/>
                    <a:pt x="229517" y="196881"/>
                    <a:pt x="226797" y="207759"/>
                  </a:cubicBezTo>
                  <a:cubicBezTo>
                    <a:pt x="226797" y="215918"/>
                    <a:pt x="226797" y="229516"/>
                    <a:pt x="226797" y="232236"/>
                  </a:cubicBezTo>
                  <a:cubicBezTo>
                    <a:pt x="226797" y="243115"/>
                    <a:pt x="224077" y="256713"/>
                    <a:pt x="224077" y="267592"/>
                  </a:cubicBezTo>
                  <a:cubicBezTo>
                    <a:pt x="224077" y="278470"/>
                    <a:pt x="224077" y="294788"/>
                    <a:pt x="221358" y="311106"/>
                  </a:cubicBezTo>
                  <a:cubicBezTo>
                    <a:pt x="221358" y="327424"/>
                    <a:pt x="218638" y="343742"/>
                    <a:pt x="218638" y="360060"/>
                  </a:cubicBezTo>
                  <a:cubicBezTo>
                    <a:pt x="218638" y="373658"/>
                    <a:pt x="215919" y="384537"/>
                    <a:pt x="215919" y="398135"/>
                  </a:cubicBezTo>
                  <a:cubicBezTo>
                    <a:pt x="215919" y="409014"/>
                    <a:pt x="213199" y="419892"/>
                    <a:pt x="213199" y="430771"/>
                  </a:cubicBezTo>
                  <a:cubicBezTo>
                    <a:pt x="213199" y="438930"/>
                    <a:pt x="213199" y="447089"/>
                    <a:pt x="213199" y="455248"/>
                  </a:cubicBezTo>
                  <a:cubicBezTo>
                    <a:pt x="213199" y="463407"/>
                    <a:pt x="213199" y="471566"/>
                    <a:pt x="213199" y="477005"/>
                  </a:cubicBezTo>
                  <a:cubicBezTo>
                    <a:pt x="210479" y="490603"/>
                    <a:pt x="207759" y="506921"/>
                    <a:pt x="207759" y="520520"/>
                  </a:cubicBezTo>
                  <a:cubicBezTo>
                    <a:pt x="202320" y="550436"/>
                    <a:pt x="199600" y="580352"/>
                    <a:pt x="196881" y="610268"/>
                  </a:cubicBezTo>
                  <a:cubicBezTo>
                    <a:pt x="196881" y="623866"/>
                    <a:pt x="196881" y="640184"/>
                    <a:pt x="194161" y="653783"/>
                  </a:cubicBezTo>
                  <a:cubicBezTo>
                    <a:pt x="194161" y="659222"/>
                    <a:pt x="194161" y="661942"/>
                    <a:pt x="191441" y="667381"/>
                  </a:cubicBezTo>
                  <a:cubicBezTo>
                    <a:pt x="213199" y="667381"/>
                    <a:pt x="232236" y="667381"/>
                    <a:pt x="243115" y="667381"/>
                  </a:cubicBezTo>
                  <a:cubicBezTo>
                    <a:pt x="253994" y="667381"/>
                    <a:pt x="273031" y="670101"/>
                    <a:pt x="273031" y="683699"/>
                  </a:cubicBezTo>
                  <a:cubicBezTo>
                    <a:pt x="273031" y="691858"/>
                    <a:pt x="267592" y="691858"/>
                    <a:pt x="262153" y="697297"/>
                  </a:cubicBezTo>
                  <a:cubicBezTo>
                    <a:pt x="259433" y="702736"/>
                    <a:pt x="253994" y="705456"/>
                    <a:pt x="248554" y="705456"/>
                  </a:cubicBezTo>
                  <a:cubicBezTo>
                    <a:pt x="240395" y="708176"/>
                    <a:pt x="234956" y="708176"/>
                    <a:pt x="232236" y="708176"/>
                  </a:cubicBezTo>
                  <a:cubicBezTo>
                    <a:pt x="226797" y="708176"/>
                    <a:pt x="175124" y="708176"/>
                    <a:pt x="166965" y="708176"/>
                  </a:cubicBezTo>
                  <a:cubicBezTo>
                    <a:pt x="156086" y="708176"/>
                    <a:pt x="120730" y="708176"/>
                    <a:pt x="109852" y="708176"/>
                  </a:cubicBezTo>
                  <a:cubicBezTo>
                    <a:pt x="104412" y="708176"/>
                    <a:pt x="96253" y="708176"/>
                    <a:pt x="90814" y="708176"/>
                  </a:cubicBezTo>
                  <a:cubicBezTo>
                    <a:pt x="85375" y="708176"/>
                    <a:pt x="77216" y="705456"/>
                    <a:pt x="69057" y="702736"/>
                  </a:cubicBezTo>
                  <a:cubicBezTo>
                    <a:pt x="63617" y="700017"/>
                    <a:pt x="58178" y="691858"/>
                    <a:pt x="58178" y="686418"/>
                  </a:cubicBezTo>
                  <a:cubicBezTo>
                    <a:pt x="58178" y="683699"/>
                    <a:pt x="58178" y="680979"/>
                    <a:pt x="60898" y="678259"/>
                  </a:cubicBezTo>
                  <a:cubicBezTo>
                    <a:pt x="63617" y="675540"/>
                    <a:pt x="71777" y="672820"/>
                    <a:pt x="77216" y="670101"/>
                  </a:cubicBezTo>
                  <a:cubicBezTo>
                    <a:pt x="90814" y="667381"/>
                    <a:pt x="120730" y="664661"/>
                    <a:pt x="126170" y="664661"/>
                  </a:cubicBezTo>
                  <a:cubicBezTo>
                    <a:pt x="128889" y="664661"/>
                    <a:pt x="134329" y="664661"/>
                    <a:pt x="142487" y="664661"/>
                  </a:cubicBezTo>
                  <a:cubicBezTo>
                    <a:pt x="142487" y="640184"/>
                    <a:pt x="147927" y="612988"/>
                    <a:pt x="147927" y="588511"/>
                  </a:cubicBezTo>
                  <a:cubicBezTo>
                    <a:pt x="150646" y="555875"/>
                    <a:pt x="153366" y="523239"/>
                    <a:pt x="153366" y="493323"/>
                  </a:cubicBezTo>
                  <a:cubicBezTo>
                    <a:pt x="153366" y="466126"/>
                    <a:pt x="156086" y="438930"/>
                    <a:pt x="156086" y="411733"/>
                  </a:cubicBezTo>
                  <a:cubicBezTo>
                    <a:pt x="158806" y="373658"/>
                    <a:pt x="158806" y="335583"/>
                    <a:pt x="161525" y="297508"/>
                  </a:cubicBezTo>
                  <a:cubicBezTo>
                    <a:pt x="161525" y="278470"/>
                    <a:pt x="164245" y="259433"/>
                    <a:pt x="166965" y="240395"/>
                  </a:cubicBezTo>
                  <a:cubicBezTo>
                    <a:pt x="169684" y="210479"/>
                    <a:pt x="172404" y="191441"/>
                    <a:pt x="177843" y="161525"/>
                  </a:cubicBezTo>
                  <a:cubicBezTo>
                    <a:pt x="180563" y="147927"/>
                    <a:pt x="180563" y="131609"/>
                    <a:pt x="183282" y="118011"/>
                  </a:cubicBezTo>
                  <a:cubicBezTo>
                    <a:pt x="183282" y="118011"/>
                    <a:pt x="183282" y="115291"/>
                    <a:pt x="183282" y="115291"/>
                  </a:cubicBezTo>
                  <a:cubicBezTo>
                    <a:pt x="177843" y="115291"/>
                    <a:pt x="172404" y="115291"/>
                    <a:pt x="161525" y="115291"/>
                  </a:cubicBezTo>
                  <a:cubicBezTo>
                    <a:pt x="153366" y="115291"/>
                    <a:pt x="145207" y="115291"/>
                    <a:pt x="137048" y="115291"/>
                  </a:cubicBezTo>
                  <a:cubicBezTo>
                    <a:pt x="128889" y="115291"/>
                    <a:pt x="118011" y="115291"/>
                    <a:pt x="109852" y="109851"/>
                  </a:cubicBezTo>
                  <a:cubicBezTo>
                    <a:pt x="101693" y="107132"/>
                    <a:pt x="93534" y="98973"/>
                    <a:pt x="93534" y="93534"/>
                  </a:cubicBezTo>
                  <a:cubicBezTo>
                    <a:pt x="93534" y="90814"/>
                    <a:pt x="93534" y="88094"/>
                    <a:pt x="98973" y="85375"/>
                  </a:cubicBezTo>
                  <a:cubicBezTo>
                    <a:pt x="104412" y="82655"/>
                    <a:pt x="115291" y="79935"/>
                    <a:pt x="120730" y="77216"/>
                  </a:cubicBezTo>
                  <a:cubicBezTo>
                    <a:pt x="139768" y="74496"/>
                    <a:pt x="164245" y="71776"/>
                    <a:pt x="172404" y="71776"/>
                  </a:cubicBezTo>
                  <a:cubicBezTo>
                    <a:pt x="194161" y="71776"/>
                    <a:pt x="210479" y="69057"/>
                    <a:pt x="234956" y="69057"/>
                  </a:cubicBezTo>
                  <a:cubicBezTo>
                    <a:pt x="237675" y="69057"/>
                    <a:pt x="240395" y="69057"/>
                    <a:pt x="243115" y="69057"/>
                  </a:cubicBezTo>
                  <a:cubicBezTo>
                    <a:pt x="251274" y="69057"/>
                    <a:pt x="262153" y="69057"/>
                    <a:pt x="270312" y="74496"/>
                  </a:cubicBezTo>
                  <a:cubicBezTo>
                    <a:pt x="283910" y="82655"/>
                    <a:pt x="300228" y="96253"/>
                    <a:pt x="308387" y="123450"/>
                  </a:cubicBezTo>
                  <a:cubicBezTo>
                    <a:pt x="316546" y="147927"/>
                    <a:pt x="327424" y="175123"/>
                    <a:pt x="332864" y="202320"/>
                  </a:cubicBezTo>
                  <a:cubicBezTo>
                    <a:pt x="335583" y="213198"/>
                    <a:pt x="335583" y="226797"/>
                    <a:pt x="338303" y="237675"/>
                  </a:cubicBezTo>
                  <a:cubicBezTo>
                    <a:pt x="343742" y="251274"/>
                    <a:pt x="346462" y="264872"/>
                    <a:pt x="349182" y="281190"/>
                  </a:cubicBezTo>
                  <a:cubicBezTo>
                    <a:pt x="351901" y="292068"/>
                    <a:pt x="351901" y="305667"/>
                    <a:pt x="357341" y="316545"/>
                  </a:cubicBezTo>
                  <a:cubicBezTo>
                    <a:pt x="362780" y="327424"/>
                    <a:pt x="362780" y="338303"/>
                    <a:pt x="365500" y="351901"/>
                  </a:cubicBezTo>
                  <a:cubicBezTo>
                    <a:pt x="365500" y="357340"/>
                    <a:pt x="373658" y="373658"/>
                    <a:pt x="376378" y="389976"/>
                  </a:cubicBezTo>
                  <a:cubicBezTo>
                    <a:pt x="381817" y="403574"/>
                    <a:pt x="384537" y="414453"/>
                    <a:pt x="387257" y="414453"/>
                  </a:cubicBezTo>
                  <a:cubicBezTo>
                    <a:pt x="392696" y="414453"/>
                    <a:pt x="395416" y="381817"/>
                    <a:pt x="398136" y="376378"/>
                  </a:cubicBezTo>
                  <a:cubicBezTo>
                    <a:pt x="400855" y="362779"/>
                    <a:pt x="403575" y="346462"/>
                    <a:pt x="406295" y="332863"/>
                  </a:cubicBezTo>
                  <a:cubicBezTo>
                    <a:pt x="411734" y="302947"/>
                    <a:pt x="417173" y="273031"/>
                    <a:pt x="425332" y="243115"/>
                  </a:cubicBezTo>
                  <a:cubicBezTo>
                    <a:pt x="430771" y="213198"/>
                    <a:pt x="436211" y="180563"/>
                    <a:pt x="444370" y="150646"/>
                  </a:cubicBezTo>
                  <a:cubicBezTo>
                    <a:pt x="449809" y="126170"/>
                    <a:pt x="460688" y="98973"/>
                    <a:pt x="477006" y="79935"/>
                  </a:cubicBezTo>
                  <a:cubicBezTo>
                    <a:pt x="487884" y="66337"/>
                    <a:pt x="506922" y="58178"/>
                    <a:pt x="523240" y="58178"/>
                  </a:cubicBezTo>
                  <a:cubicBezTo>
                    <a:pt x="528679" y="58178"/>
                    <a:pt x="539558" y="58178"/>
                    <a:pt x="544997" y="63617"/>
                  </a:cubicBezTo>
                  <a:lnTo>
                    <a:pt x="612988" y="63617"/>
                  </a:lnTo>
                  <a:cubicBezTo>
                    <a:pt x="626587" y="63617"/>
                    <a:pt x="651064" y="63617"/>
                    <a:pt x="651064" y="79935"/>
                  </a:cubicBezTo>
                  <a:cubicBezTo>
                    <a:pt x="651064" y="88094"/>
                    <a:pt x="648344" y="88094"/>
                    <a:pt x="645624" y="96253"/>
                  </a:cubicBezTo>
                  <a:cubicBezTo>
                    <a:pt x="640185" y="101693"/>
                    <a:pt x="634746" y="104412"/>
                    <a:pt x="629307" y="104412"/>
                  </a:cubicBezTo>
                  <a:cubicBezTo>
                    <a:pt x="621147" y="107132"/>
                    <a:pt x="612988" y="107132"/>
                    <a:pt x="607549" y="107132"/>
                  </a:cubicBezTo>
                  <a:cubicBezTo>
                    <a:pt x="604829" y="107132"/>
                    <a:pt x="591231" y="107132"/>
                    <a:pt x="580353" y="107132"/>
                  </a:cubicBezTo>
                  <a:cubicBezTo>
                    <a:pt x="580353" y="109851"/>
                    <a:pt x="583072" y="112571"/>
                    <a:pt x="583072" y="115291"/>
                  </a:cubicBezTo>
                  <a:cubicBezTo>
                    <a:pt x="585792" y="128889"/>
                    <a:pt x="585792" y="142487"/>
                    <a:pt x="588512" y="156086"/>
                  </a:cubicBezTo>
                  <a:cubicBezTo>
                    <a:pt x="591231" y="169684"/>
                    <a:pt x="591231" y="183282"/>
                    <a:pt x="593951" y="196881"/>
                  </a:cubicBezTo>
                  <a:cubicBezTo>
                    <a:pt x="593951" y="207759"/>
                    <a:pt x="599390" y="215918"/>
                    <a:pt x="599390" y="226797"/>
                  </a:cubicBezTo>
                  <a:cubicBezTo>
                    <a:pt x="599390" y="229516"/>
                    <a:pt x="599390" y="229516"/>
                    <a:pt x="599390" y="232236"/>
                  </a:cubicBezTo>
                  <a:cubicBezTo>
                    <a:pt x="599390" y="234956"/>
                    <a:pt x="599390" y="237675"/>
                    <a:pt x="599390" y="240395"/>
                  </a:cubicBezTo>
                  <a:cubicBezTo>
                    <a:pt x="599390" y="251274"/>
                    <a:pt x="599390" y="259433"/>
                    <a:pt x="602110" y="270311"/>
                  </a:cubicBezTo>
                  <a:cubicBezTo>
                    <a:pt x="604829" y="283909"/>
                    <a:pt x="607549" y="294788"/>
                    <a:pt x="607549" y="308386"/>
                  </a:cubicBezTo>
                  <a:cubicBezTo>
                    <a:pt x="607549" y="311106"/>
                    <a:pt x="607549" y="316545"/>
                    <a:pt x="607549" y="319265"/>
                  </a:cubicBezTo>
                  <a:cubicBezTo>
                    <a:pt x="607549" y="324704"/>
                    <a:pt x="610269" y="330144"/>
                    <a:pt x="612988" y="335583"/>
                  </a:cubicBezTo>
                  <a:cubicBezTo>
                    <a:pt x="612988" y="338303"/>
                    <a:pt x="612988" y="343742"/>
                    <a:pt x="612988" y="346462"/>
                  </a:cubicBezTo>
                  <a:cubicBezTo>
                    <a:pt x="612988" y="354620"/>
                    <a:pt x="612988" y="362779"/>
                    <a:pt x="612988" y="370939"/>
                  </a:cubicBezTo>
                  <a:cubicBezTo>
                    <a:pt x="612988" y="379097"/>
                    <a:pt x="612988" y="387256"/>
                    <a:pt x="612988" y="395415"/>
                  </a:cubicBezTo>
                  <a:cubicBezTo>
                    <a:pt x="612988" y="403574"/>
                    <a:pt x="615708" y="414453"/>
                    <a:pt x="615708" y="422612"/>
                  </a:cubicBezTo>
                  <a:cubicBezTo>
                    <a:pt x="618428" y="430771"/>
                    <a:pt x="618428" y="436210"/>
                    <a:pt x="618428" y="441650"/>
                  </a:cubicBezTo>
                  <a:cubicBezTo>
                    <a:pt x="618428" y="444369"/>
                    <a:pt x="618428" y="449808"/>
                    <a:pt x="618428" y="455248"/>
                  </a:cubicBezTo>
                  <a:cubicBezTo>
                    <a:pt x="618428" y="460687"/>
                    <a:pt x="618428" y="460687"/>
                    <a:pt x="621147" y="463407"/>
                  </a:cubicBezTo>
                  <a:cubicBezTo>
                    <a:pt x="623867" y="471566"/>
                    <a:pt x="623867" y="477005"/>
                    <a:pt x="626587" y="482444"/>
                  </a:cubicBezTo>
                  <a:cubicBezTo>
                    <a:pt x="629307" y="493323"/>
                    <a:pt x="629307" y="506921"/>
                    <a:pt x="629307" y="517800"/>
                  </a:cubicBezTo>
                  <a:cubicBezTo>
                    <a:pt x="632026" y="534118"/>
                    <a:pt x="632026" y="547716"/>
                    <a:pt x="634746" y="561314"/>
                  </a:cubicBezTo>
                  <a:cubicBezTo>
                    <a:pt x="634746" y="564034"/>
                    <a:pt x="634746" y="564034"/>
                    <a:pt x="634746" y="566754"/>
                  </a:cubicBezTo>
                  <a:cubicBezTo>
                    <a:pt x="634746" y="572193"/>
                    <a:pt x="634746" y="577632"/>
                    <a:pt x="634746" y="583072"/>
                  </a:cubicBezTo>
                  <a:cubicBezTo>
                    <a:pt x="634746" y="596670"/>
                    <a:pt x="637466" y="602109"/>
                    <a:pt x="637466" y="607548"/>
                  </a:cubicBezTo>
                  <a:cubicBezTo>
                    <a:pt x="637466" y="610268"/>
                    <a:pt x="640185" y="615708"/>
                    <a:pt x="640185" y="618427"/>
                  </a:cubicBezTo>
                  <a:cubicBezTo>
                    <a:pt x="640185" y="623866"/>
                    <a:pt x="640185" y="629306"/>
                    <a:pt x="640185" y="632025"/>
                  </a:cubicBezTo>
                  <a:cubicBezTo>
                    <a:pt x="640185" y="634745"/>
                    <a:pt x="640185" y="637465"/>
                    <a:pt x="640185" y="640184"/>
                  </a:cubicBezTo>
                  <a:cubicBezTo>
                    <a:pt x="640185" y="645624"/>
                    <a:pt x="642905" y="653783"/>
                    <a:pt x="642905" y="659222"/>
                  </a:cubicBezTo>
                  <a:cubicBezTo>
                    <a:pt x="642905" y="661942"/>
                    <a:pt x="642905" y="661942"/>
                    <a:pt x="642905" y="664661"/>
                  </a:cubicBezTo>
                  <a:cubicBezTo>
                    <a:pt x="645624" y="678259"/>
                    <a:pt x="651064" y="678259"/>
                    <a:pt x="653783" y="678259"/>
                  </a:cubicBezTo>
                  <a:lnTo>
                    <a:pt x="653783" y="678259"/>
                  </a:ln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>
                <a:solidFill>
                  <a:srgbClr val="FFFFFF"/>
                </a:solidFill>
              </a:endParaRPr>
            </a:p>
          </p:txBody>
        </p:sp>
        <p:sp>
          <p:nvSpPr>
            <p:cNvPr id="44" name="Freeform: Shape 43">
              <a:extLst>
                <a:ext uri="{FF2B5EF4-FFF2-40B4-BE49-F238E27FC236}">
                  <a16:creationId xmlns:a16="http://schemas.microsoft.com/office/drawing/2014/main" id="{FD2174A2-CA7D-446C-AD8A-8C4DE990DD26}"/>
                </a:ext>
              </a:extLst>
            </p:cNvPr>
            <p:cNvSpPr/>
            <p:nvPr/>
          </p:nvSpPr>
          <p:spPr>
            <a:xfrm>
              <a:off x="6362526" y="4242177"/>
              <a:ext cx="492259" cy="674476"/>
            </a:xfrm>
            <a:custGeom>
              <a:avLst/>
              <a:gdLst>
                <a:gd name="connsiteX0" fmla="*/ 225733 w 492259"/>
                <a:gd name="connsiteY0" fmla="*/ 97907 h 674476"/>
                <a:gd name="connsiteX1" fmla="*/ 209415 w 492259"/>
                <a:gd name="connsiteY1" fmla="*/ 119665 h 674476"/>
                <a:gd name="connsiteX2" fmla="*/ 201256 w 492259"/>
                <a:gd name="connsiteY2" fmla="*/ 152300 h 674476"/>
                <a:gd name="connsiteX3" fmla="*/ 198536 w 492259"/>
                <a:gd name="connsiteY3" fmla="*/ 168618 h 674476"/>
                <a:gd name="connsiteX4" fmla="*/ 195817 w 492259"/>
                <a:gd name="connsiteY4" fmla="*/ 184936 h 674476"/>
                <a:gd name="connsiteX5" fmla="*/ 187658 w 492259"/>
                <a:gd name="connsiteY5" fmla="*/ 220292 h 674476"/>
                <a:gd name="connsiteX6" fmla="*/ 168620 w 492259"/>
                <a:gd name="connsiteY6" fmla="*/ 291003 h 674476"/>
                <a:gd name="connsiteX7" fmla="*/ 160461 w 492259"/>
                <a:gd name="connsiteY7" fmla="*/ 323639 h 674476"/>
                <a:gd name="connsiteX8" fmla="*/ 149582 w 492259"/>
                <a:gd name="connsiteY8" fmla="*/ 361714 h 674476"/>
                <a:gd name="connsiteX9" fmla="*/ 144143 w 492259"/>
                <a:gd name="connsiteY9" fmla="*/ 388910 h 674476"/>
                <a:gd name="connsiteX10" fmla="*/ 149582 w 492259"/>
                <a:gd name="connsiteY10" fmla="*/ 391630 h 674476"/>
                <a:gd name="connsiteX11" fmla="*/ 171340 w 492259"/>
                <a:gd name="connsiteY11" fmla="*/ 391630 h 674476"/>
                <a:gd name="connsiteX12" fmla="*/ 193097 w 492259"/>
                <a:gd name="connsiteY12" fmla="*/ 388910 h 674476"/>
                <a:gd name="connsiteX13" fmla="*/ 212135 w 492259"/>
                <a:gd name="connsiteY13" fmla="*/ 388910 h 674476"/>
                <a:gd name="connsiteX14" fmla="*/ 236611 w 492259"/>
                <a:gd name="connsiteY14" fmla="*/ 388910 h 674476"/>
                <a:gd name="connsiteX15" fmla="*/ 250210 w 492259"/>
                <a:gd name="connsiteY15" fmla="*/ 386191 h 674476"/>
                <a:gd name="connsiteX16" fmla="*/ 258369 w 492259"/>
                <a:gd name="connsiteY16" fmla="*/ 386191 h 674476"/>
                <a:gd name="connsiteX17" fmla="*/ 255649 w 492259"/>
                <a:gd name="connsiteY17" fmla="*/ 367153 h 674476"/>
                <a:gd name="connsiteX18" fmla="*/ 250210 w 492259"/>
                <a:gd name="connsiteY18" fmla="*/ 331797 h 674476"/>
                <a:gd name="connsiteX19" fmla="*/ 247490 w 492259"/>
                <a:gd name="connsiteY19" fmla="*/ 244769 h 674476"/>
                <a:gd name="connsiteX20" fmla="*/ 242051 w 492259"/>
                <a:gd name="connsiteY20" fmla="*/ 203974 h 674476"/>
                <a:gd name="connsiteX21" fmla="*/ 236611 w 492259"/>
                <a:gd name="connsiteY21" fmla="*/ 157740 h 674476"/>
                <a:gd name="connsiteX22" fmla="*/ 233892 w 492259"/>
                <a:gd name="connsiteY22" fmla="*/ 119665 h 674476"/>
                <a:gd name="connsiteX23" fmla="*/ 225733 w 492259"/>
                <a:gd name="connsiteY23" fmla="*/ 97907 h 674476"/>
                <a:gd name="connsiteX24" fmla="*/ 274687 w 492259"/>
                <a:gd name="connsiteY24" fmla="*/ 0 h 674476"/>
                <a:gd name="connsiteX25" fmla="*/ 304603 w 492259"/>
                <a:gd name="connsiteY25" fmla="*/ 5439 h 674476"/>
                <a:gd name="connsiteX26" fmla="*/ 320921 w 492259"/>
                <a:gd name="connsiteY26" fmla="*/ 24477 h 674476"/>
                <a:gd name="connsiteX27" fmla="*/ 334519 w 492259"/>
                <a:gd name="connsiteY27" fmla="*/ 43515 h 674476"/>
                <a:gd name="connsiteX28" fmla="*/ 339959 w 492259"/>
                <a:gd name="connsiteY28" fmla="*/ 65272 h 674476"/>
                <a:gd name="connsiteX29" fmla="*/ 348118 w 492259"/>
                <a:gd name="connsiteY29" fmla="*/ 114226 h 674476"/>
                <a:gd name="connsiteX30" fmla="*/ 361716 w 492259"/>
                <a:gd name="connsiteY30" fmla="*/ 163180 h 674476"/>
                <a:gd name="connsiteX31" fmla="*/ 369875 w 492259"/>
                <a:gd name="connsiteY31" fmla="*/ 220293 h 674476"/>
                <a:gd name="connsiteX32" fmla="*/ 378034 w 492259"/>
                <a:gd name="connsiteY32" fmla="*/ 274686 h 674476"/>
                <a:gd name="connsiteX33" fmla="*/ 383473 w 492259"/>
                <a:gd name="connsiteY33" fmla="*/ 301883 h 674476"/>
                <a:gd name="connsiteX34" fmla="*/ 391632 w 492259"/>
                <a:gd name="connsiteY34" fmla="*/ 337238 h 674476"/>
                <a:gd name="connsiteX35" fmla="*/ 397071 w 492259"/>
                <a:gd name="connsiteY35" fmla="*/ 364435 h 674476"/>
                <a:gd name="connsiteX36" fmla="*/ 405230 w 492259"/>
                <a:gd name="connsiteY36" fmla="*/ 383473 h 674476"/>
                <a:gd name="connsiteX37" fmla="*/ 416109 w 492259"/>
                <a:gd name="connsiteY37" fmla="*/ 386192 h 674476"/>
                <a:gd name="connsiteX38" fmla="*/ 426988 w 492259"/>
                <a:gd name="connsiteY38" fmla="*/ 386192 h 674476"/>
                <a:gd name="connsiteX39" fmla="*/ 454184 w 492259"/>
                <a:gd name="connsiteY39" fmla="*/ 397071 h 674476"/>
                <a:gd name="connsiteX40" fmla="*/ 456904 w 492259"/>
                <a:gd name="connsiteY40" fmla="*/ 405230 h 674476"/>
                <a:gd name="connsiteX41" fmla="*/ 451464 w 492259"/>
                <a:gd name="connsiteY41" fmla="*/ 416108 h 674476"/>
                <a:gd name="connsiteX42" fmla="*/ 432427 w 492259"/>
                <a:gd name="connsiteY42" fmla="*/ 429707 h 674476"/>
                <a:gd name="connsiteX43" fmla="*/ 421548 w 492259"/>
                <a:gd name="connsiteY43" fmla="*/ 432426 h 674476"/>
                <a:gd name="connsiteX44" fmla="*/ 413389 w 492259"/>
                <a:gd name="connsiteY44" fmla="*/ 435146 h 674476"/>
                <a:gd name="connsiteX45" fmla="*/ 413389 w 492259"/>
                <a:gd name="connsiteY45" fmla="*/ 440585 h 674476"/>
                <a:gd name="connsiteX46" fmla="*/ 416109 w 492259"/>
                <a:gd name="connsiteY46" fmla="*/ 451464 h 674476"/>
                <a:gd name="connsiteX47" fmla="*/ 418829 w 492259"/>
                <a:gd name="connsiteY47" fmla="*/ 465062 h 674476"/>
                <a:gd name="connsiteX48" fmla="*/ 418829 w 492259"/>
                <a:gd name="connsiteY48" fmla="*/ 475941 h 674476"/>
                <a:gd name="connsiteX49" fmla="*/ 418829 w 492259"/>
                <a:gd name="connsiteY49" fmla="*/ 486820 h 674476"/>
                <a:gd name="connsiteX50" fmla="*/ 426988 w 492259"/>
                <a:gd name="connsiteY50" fmla="*/ 516736 h 674476"/>
                <a:gd name="connsiteX51" fmla="*/ 432427 w 492259"/>
                <a:gd name="connsiteY51" fmla="*/ 543932 h 674476"/>
                <a:gd name="connsiteX52" fmla="*/ 437866 w 492259"/>
                <a:gd name="connsiteY52" fmla="*/ 573848 h 674476"/>
                <a:gd name="connsiteX53" fmla="*/ 443306 w 492259"/>
                <a:gd name="connsiteY53" fmla="*/ 606484 h 674476"/>
                <a:gd name="connsiteX54" fmla="*/ 446025 w 492259"/>
                <a:gd name="connsiteY54" fmla="*/ 617363 h 674476"/>
                <a:gd name="connsiteX55" fmla="*/ 470502 w 492259"/>
                <a:gd name="connsiteY55" fmla="*/ 617363 h 674476"/>
                <a:gd name="connsiteX56" fmla="*/ 492259 w 492259"/>
                <a:gd name="connsiteY56" fmla="*/ 641840 h 674476"/>
                <a:gd name="connsiteX57" fmla="*/ 484101 w 492259"/>
                <a:gd name="connsiteY57" fmla="*/ 655438 h 674476"/>
                <a:gd name="connsiteX58" fmla="*/ 467782 w 492259"/>
                <a:gd name="connsiteY58" fmla="*/ 663597 h 674476"/>
                <a:gd name="connsiteX59" fmla="*/ 443306 w 492259"/>
                <a:gd name="connsiteY59" fmla="*/ 666317 h 674476"/>
                <a:gd name="connsiteX60" fmla="*/ 421548 w 492259"/>
                <a:gd name="connsiteY60" fmla="*/ 666317 h 674476"/>
                <a:gd name="connsiteX61" fmla="*/ 413389 w 492259"/>
                <a:gd name="connsiteY61" fmla="*/ 666317 h 674476"/>
                <a:gd name="connsiteX62" fmla="*/ 399791 w 492259"/>
                <a:gd name="connsiteY62" fmla="*/ 671756 h 674476"/>
                <a:gd name="connsiteX63" fmla="*/ 383473 w 492259"/>
                <a:gd name="connsiteY63" fmla="*/ 674476 h 674476"/>
                <a:gd name="connsiteX64" fmla="*/ 348118 w 492259"/>
                <a:gd name="connsiteY64" fmla="*/ 669036 h 674476"/>
                <a:gd name="connsiteX65" fmla="*/ 326360 w 492259"/>
                <a:gd name="connsiteY65" fmla="*/ 669036 h 674476"/>
                <a:gd name="connsiteX66" fmla="*/ 277406 w 492259"/>
                <a:gd name="connsiteY66" fmla="*/ 669036 h 674476"/>
                <a:gd name="connsiteX67" fmla="*/ 252930 w 492259"/>
                <a:gd name="connsiteY67" fmla="*/ 663597 h 674476"/>
                <a:gd name="connsiteX68" fmla="*/ 236611 w 492259"/>
                <a:gd name="connsiteY68" fmla="*/ 647279 h 674476"/>
                <a:gd name="connsiteX69" fmla="*/ 261088 w 492259"/>
                <a:gd name="connsiteY69" fmla="*/ 630961 h 674476"/>
                <a:gd name="connsiteX70" fmla="*/ 288285 w 492259"/>
                <a:gd name="connsiteY70" fmla="*/ 628241 h 674476"/>
                <a:gd name="connsiteX71" fmla="*/ 285565 w 492259"/>
                <a:gd name="connsiteY71" fmla="*/ 609204 h 674476"/>
                <a:gd name="connsiteX72" fmla="*/ 282846 w 492259"/>
                <a:gd name="connsiteY72" fmla="*/ 582007 h 674476"/>
                <a:gd name="connsiteX73" fmla="*/ 280126 w 492259"/>
                <a:gd name="connsiteY73" fmla="*/ 568409 h 674476"/>
                <a:gd name="connsiteX74" fmla="*/ 282846 w 492259"/>
                <a:gd name="connsiteY74" fmla="*/ 554811 h 674476"/>
                <a:gd name="connsiteX75" fmla="*/ 277406 w 492259"/>
                <a:gd name="connsiteY75" fmla="*/ 538493 h 674476"/>
                <a:gd name="connsiteX76" fmla="*/ 271967 w 492259"/>
                <a:gd name="connsiteY76" fmla="*/ 505857 h 674476"/>
                <a:gd name="connsiteX77" fmla="*/ 269247 w 492259"/>
                <a:gd name="connsiteY77" fmla="*/ 478660 h 674476"/>
                <a:gd name="connsiteX78" fmla="*/ 266528 w 492259"/>
                <a:gd name="connsiteY78" fmla="*/ 446025 h 674476"/>
                <a:gd name="connsiteX79" fmla="*/ 261088 w 492259"/>
                <a:gd name="connsiteY79" fmla="*/ 437866 h 674476"/>
                <a:gd name="connsiteX80" fmla="*/ 250210 w 492259"/>
                <a:gd name="connsiteY80" fmla="*/ 437866 h 674476"/>
                <a:gd name="connsiteX81" fmla="*/ 220293 w 492259"/>
                <a:gd name="connsiteY81" fmla="*/ 440585 h 674476"/>
                <a:gd name="connsiteX82" fmla="*/ 190377 w 492259"/>
                <a:gd name="connsiteY82" fmla="*/ 443305 h 674476"/>
                <a:gd name="connsiteX83" fmla="*/ 165900 w 492259"/>
                <a:gd name="connsiteY83" fmla="*/ 443305 h 674476"/>
                <a:gd name="connsiteX84" fmla="*/ 144143 w 492259"/>
                <a:gd name="connsiteY84" fmla="*/ 440585 h 674476"/>
                <a:gd name="connsiteX85" fmla="*/ 135984 w 492259"/>
                <a:gd name="connsiteY85" fmla="*/ 454184 h 674476"/>
                <a:gd name="connsiteX86" fmla="*/ 130545 w 492259"/>
                <a:gd name="connsiteY86" fmla="*/ 486820 h 674476"/>
                <a:gd name="connsiteX87" fmla="*/ 119666 w 492259"/>
                <a:gd name="connsiteY87" fmla="*/ 541213 h 674476"/>
                <a:gd name="connsiteX88" fmla="*/ 103348 w 492259"/>
                <a:gd name="connsiteY88" fmla="*/ 614643 h 674476"/>
                <a:gd name="connsiteX89" fmla="*/ 133264 w 492259"/>
                <a:gd name="connsiteY89" fmla="*/ 614643 h 674476"/>
                <a:gd name="connsiteX90" fmla="*/ 168620 w 492259"/>
                <a:gd name="connsiteY90" fmla="*/ 630961 h 674476"/>
                <a:gd name="connsiteX91" fmla="*/ 163181 w 492259"/>
                <a:gd name="connsiteY91" fmla="*/ 647279 h 674476"/>
                <a:gd name="connsiteX92" fmla="*/ 146863 w 492259"/>
                <a:gd name="connsiteY92" fmla="*/ 655438 h 674476"/>
                <a:gd name="connsiteX93" fmla="*/ 127825 w 492259"/>
                <a:gd name="connsiteY93" fmla="*/ 658158 h 674476"/>
                <a:gd name="connsiteX94" fmla="*/ 106068 w 492259"/>
                <a:gd name="connsiteY94" fmla="*/ 658158 h 674476"/>
                <a:gd name="connsiteX95" fmla="*/ 62552 w 492259"/>
                <a:gd name="connsiteY95" fmla="*/ 658158 h 674476"/>
                <a:gd name="connsiteX96" fmla="*/ 40795 w 492259"/>
                <a:gd name="connsiteY96" fmla="*/ 658158 h 674476"/>
                <a:gd name="connsiteX97" fmla="*/ 16318 w 492259"/>
                <a:gd name="connsiteY97" fmla="*/ 652718 h 674476"/>
                <a:gd name="connsiteX98" fmla="*/ 0 w 492259"/>
                <a:gd name="connsiteY98" fmla="*/ 636401 h 674476"/>
                <a:gd name="connsiteX99" fmla="*/ 2720 w 492259"/>
                <a:gd name="connsiteY99" fmla="*/ 628241 h 674476"/>
                <a:gd name="connsiteX100" fmla="*/ 24477 w 492259"/>
                <a:gd name="connsiteY100" fmla="*/ 620082 h 674476"/>
                <a:gd name="connsiteX101" fmla="*/ 62552 w 492259"/>
                <a:gd name="connsiteY101" fmla="*/ 617363 h 674476"/>
                <a:gd name="connsiteX102" fmla="*/ 62552 w 492259"/>
                <a:gd name="connsiteY102" fmla="*/ 614643 h 674476"/>
                <a:gd name="connsiteX103" fmla="*/ 65272 w 492259"/>
                <a:gd name="connsiteY103" fmla="*/ 587447 h 674476"/>
                <a:gd name="connsiteX104" fmla="*/ 76151 w 492259"/>
                <a:gd name="connsiteY104" fmla="*/ 522175 h 674476"/>
                <a:gd name="connsiteX105" fmla="*/ 87029 w 492259"/>
                <a:gd name="connsiteY105" fmla="*/ 470501 h 674476"/>
                <a:gd name="connsiteX106" fmla="*/ 92468 w 492259"/>
                <a:gd name="connsiteY106" fmla="*/ 446025 h 674476"/>
                <a:gd name="connsiteX107" fmla="*/ 65272 w 492259"/>
                <a:gd name="connsiteY107" fmla="*/ 432426 h 674476"/>
                <a:gd name="connsiteX108" fmla="*/ 54393 w 492259"/>
                <a:gd name="connsiteY108" fmla="*/ 421548 h 674476"/>
                <a:gd name="connsiteX109" fmla="*/ 73431 w 492259"/>
                <a:gd name="connsiteY109" fmla="*/ 407949 h 674476"/>
                <a:gd name="connsiteX110" fmla="*/ 100629 w 492259"/>
                <a:gd name="connsiteY110" fmla="*/ 399790 h 674476"/>
                <a:gd name="connsiteX111" fmla="*/ 108788 w 492259"/>
                <a:gd name="connsiteY111" fmla="*/ 369874 h 674476"/>
                <a:gd name="connsiteX112" fmla="*/ 125105 w 492259"/>
                <a:gd name="connsiteY112" fmla="*/ 307322 h 674476"/>
                <a:gd name="connsiteX113" fmla="*/ 141423 w 492259"/>
                <a:gd name="connsiteY113" fmla="*/ 242051 h 674476"/>
                <a:gd name="connsiteX114" fmla="*/ 155022 w 492259"/>
                <a:gd name="connsiteY114" fmla="*/ 179498 h 674476"/>
                <a:gd name="connsiteX115" fmla="*/ 168620 w 492259"/>
                <a:gd name="connsiteY115" fmla="*/ 119665 h 674476"/>
                <a:gd name="connsiteX116" fmla="*/ 193097 w 492259"/>
                <a:gd name="connsiteY116" fmla="*/ 57113 h 674476"/>
                <a:gd name="connsiteX117" fmla="*/ 201256 w 492259"/>
                <a:gd name="connsiteY117" fmla="*/ 38075 h 674476"/>
                <a:gd name="connsiteX118" fmla="*/ 217574 w 492259"/>
                <a:gd name="connsiteY118" fmla="*/ 13598 h 674476"/>
                <a:gd name="connsiteX119" fmla="*/ 274687 w 492259"/>
                <a:gd name="connsiteY119" fmla="*/ 0 h 6744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</a:cxnLst>
              <a:rect l="l" t="t" r="r" b="b"/>
              <a:pathLst>
                <a:path w="492259" h="674476">
                  <a:moveTo>
                    <a:pt x="225733" y="97907"/>
                  </a:moveTo>
                  <a:cubicBezTo>
                    <a:pt x="217574" y="97907"/>
                    <a:pt x="209415" y="114225"/>
                    <a:pt x="209415" y="119665"/>
                  </a:cubicBezTo>
                  <a:cubicBezTo>
                    <a:pt x="206695" y="130543"/>
                    <a:pt x="203976" y="144141"/>
                    <a:pt x="201256" y="152300"/>
                  </a:cubicBezTo>
                  <a:cubicBezTo>
                    <a:pt x="198536" y="157740"/>
                    <a:pt x="198536" y="163179"/>
                    <a:pt x="198536" y="168618"/>
                  </a:cubicBezTo>
                  <a:cubicBezTo>
                    <a:pt x="198536" y="174058"/>
                    <a:pt x="195817" y="179497"/>
                    <a:pt x="195817" y="184936"/>
                  </a:cubicBezTo>
                  <a:cubicBezTo>
                    <a:pt x="193097" y="195815"/>
                    <a:pt x="190377" y="209413"/>
                    <a:pt x="187658" y="220292"/>
                  </a:cubicBezTo>
                  <a:cubicBezTo>
                    <a:pt x="184938" y="244769"/>
                    <a:pt x="176779" y="269246"/>
                    <a:pt x="168620" y="291003"/>
                  </a:cubicBezTo>
                  <a:cubicBezTo>
                    <a:pt x="165900" y="301881"/>
                    <a:pt x="163181" y="312760"/>
                    <a:pt x="160461" y="323639"/>
                  </a:cubicBezTo>
                  <a:cubicBezTo>
                    <a:pt x="157742" y="337237"/>
                    <a:pt x="155022" y="348115"/>
                    <a:pt x="149582" y="361714"/>
                  </a:cubicBezTo>
                  <a:cubicBezTo>
                    <a:pt x="146863" y="367153"/>
                    <a:pt x="144143" y="383471"/>
                    <a:pt x="144143" y="388910"/>
                  </a:cubicBezTo>
                  <a:cubicBezTo>
                    <a:pt x="144143" y="391630"/>
                    <a:pt x="146863" y="391630"/>
                    <a:pt x="149582" y="391630"/>
                  </a:cubicBezTo>
                  <a:cubicBezTo>
                    <a:pt x="155022" y="391630"/>
                    <a:pt x="168620" y="391630"/>
                    <a:pt x="171340" y="391630"/>
                  </a:cubicBezTo>
                  <a:cubicBezTo>
                    <a:pt x="179498" y="391630"/>
                    <a:pt x="187658" y="391630"/>
                    <a:pt x="193097" y="388910"/>
                  </a:cubicBezTo>
                  <a:cubicBezTo>
                    <a:pt x="198536" y="388910"/>
                    <a:pt x="203976" y="388910"/>
                    <a:pt x="212135" y="388910"/>
                  </a:cubicBezTo>
                  <a:cubicBezTo>
                    <a:pt x="217574" y="388910"/>
                    <a:pt x="225733" y="388910"/>
                    <a:pt x="236611" y="388910"/>
                  </a:cubicBezTo>
                  <a:cubicBezTo>
                    <a:pt x="242051" y="388910"/>
                    <a:pt x="247490" y="388910"/>
                    <a:pt x="250210" y="386191"/>
                  </a:cubicBezTo>
                  <a:cubicBezTo>
                    <a:pt x="255649" y="391630"/>
                    <a:pt x="258369" y="388910"/>
                    <a:pt x="258369" y="386191"/>
                  </a:cubicBezTo>
                  <a:cubicBezTo>
                    <a:pt x="258369" y="380751"/>
                    <a:pt x="255649" y="372592"/>
                    <a:pt x="255649" y="367153"/>
                  </a:cubicBezTo>
                  <a:cubicBezTo>
                    <a:pt x="252930" y="353555"/>
                    <a:pt x="250210" y="342676"/>
                    <a:pt x="250210" y="331797"/>
                  </a:cubicBezTo>
                  <a:cubicBezTo>
                    <a:pt x="250210" y="301881"/>
                    <a:pt x="250210" y="274685"/>
                    <a:pt x="247490" y="244769"/>
                  </a:cubicBezTo>
                  <a:cubicBezTo>
                    <a:pt x="247490" y="231170"/>
                    <a:pt x="244771" y="217572"/>
                    <a:pt x="242051" y="203974"/>
                  </a:cubicBezTo>
                  <a:cubicBezTo>
                    <a:pt x="239331" y="187656"/>
                    <a:pt x="236611" y="174058"/>
                    <a:pt x="236611" y="157740"/>
                  </a:cubicBezTo>
                  <a:cubicBezTo>
                    <a:pt x="236611" y="152300"/>
                    <a:pt x="236611" y="133263"/>
                    <a:pt x="233892" y="119665"/>
                  </a:cubicBezTo>
                  <a:cubicBezTo>
                    <a:pt x="233892" y="106066"/>
                    <a:pt x="231172" y="97907"/>
                    <a:pt x="225733" y="97907"/>
                  </a:cubicBezTo>
                  <a:close/>
                  <a:moveTo>
                    <a:pt x="274687" y="0"/>
                  </a:moveTo>
                  <a:cubicBezTo>
                    <a:pt x="288285" y="0"/>
                    <a:pt x="293724" y="2720"/>
                    <a:pt x="304603" y="5439"/>
                  </a:cubicBezTo>
                  <a:cubicBezTo>
                    <a:pt x="315481" y="10879"/>
                    <a:pt x="315481" y="16318"/>
                    <a:pt x="320921" y="24477"/>
                  </a:cubicBezTo>
                  <a:cubicBezTo>
                    <a:pt x="326360" y="29916"/>
                    <a:pt x="331800" y="35356"/>
                    <a:pt x="334519" y="43515"/>
                  </a:cubicBezTo>
                  <a:cubicBezTo>
                    <a:pt x="337239" y="51674"/>
                    <a:pt x="337239" y="57113"/>
                    <a:pt x="339959" y="65272"/>
                  </a:cubicBezTo>
                  <a:cubicBezTo>
                    <a:pt x="345398" y="78870"/>
                    <a:pt x="342678" y="97908"/>
                    <a:pt x="348118" y="114226"/>
                  </a:cubicBezTo>
                  <a:cubicBezTo>
                    <a:pt x="350837" y="130544"/>
                    <a:pt x="358996" y="146863"/>
                    <a:pt x="361716" y="163180"/>
                  </a:cubicBezTo>
                  <a:cubicBezTo>
                    <a:pt x="364435" y="182218"/>
                    <a:pt x="364435" y="201256"/>
                    <a:pt x="369875" y="220293"/>
                  </a:cubicBezTo>
                  <a:cubicBezTo>
                    <a:pt x="375314" y="239331"/>
                    <a:pt x="378034" y="255649"/>
                    <a:pt x="378034" y="274686"/>
                  </a:cubicBezTo>
                  <a:cubicBezTo>
                    <a:pt x="378034" y="282845"/>
                    <a:pt x="380753" y="293724"/>
                    <a:pt x="383473" y="301883"/>
                  </a:cubicBezTo>
                  <a:cubicBezTo>
                    <a:pt x="386193" y="312762"/>
                    <a:pt x="388913" y="326360"/>
                    <a:pt x="391632" y="337238"/>
                  </a:cubicBezTo>
                  <a:cubicBezTo>
                    <a:pt x="391632" y="342678"/>
                    <a:pt x="394352" y="353556"/>
                    <a:pt x="397071" y="364435"/>
                  </a:cubicBezTo>
                  <a:cubicBezTo>
                    <a:pt x="399791" y="372594"/>
                    <a:pt x="402511" y="380753"/>
                    <a:pt x="405230" y="383473"/>
                  </a:cubicBezTo>
                  <a:cubicBezTo>
                    <a:pt x="407950" y="386192"/>
                    <a:pt x="413389" y="386192"/>
                    <a:pt x="416109" y="386192"/>
                  </a:cubicBezTo>
                  <a:cubicBezTo>
                    <a:pt x="418829" y="386192"/>
                    <a:pt x="424268" y="386192"/>
                    <a:pt x="426988" y="386192"/>
                  </a:cubicBezTo>
                  <a:cubicBezTo>
                    <a:pt x="437866" y="386192"/>
                    <a:pt x="448745" y="388912"/>
                    <a:pt x="454184" y="397071"/>
                  </a:cubicBezTo>
                  <a:cubicBezTo>
                    <a:pt x="456904" y="399790"/>
                    <a:pt x="456904" y="402510"/>
                    <a:pt x="456904" y="405230"/>
                  </a:cubicBezTo>
                  <a:cubicBezTo>
                    <a:pt x="456904" y="407949"/>
                    <a:pt x="454184" y="410669"/>
                    <a:pt x="451464" y="416108"/>
                  </a:cubicBezTo>
                  <a:cubicBezTo>
                    <a:pt x="446025" y="421548"/>
                    <a:pt x="440586" y="426987"/>
                    <a:pt x="432427" y="429707"/>
                  </a:cubicBezTo>
                  <a:cubicBezTo>
                    <a:pt x="429707" y="429707"/>
                    <a:pt x="426988" y="432426"/>
                    <a:pt x="421548" y="432426"/>
                  </a:cubicBezTo>
                  <a:cubicBezTo>
                    <a:pt x="418829" y="432426"/>
                    <a:pt x="416109" y="432426"/>
                    <a:pt x="413389" y="435146"/>
                  </a:cubicBezTo>
                  <a:cubicBezTo>
                    <a:pt x="413389" y="435146"/>
                    <a:pt x="413389" y="437866"/>
                    <a:pt x="413389" y="440585"/>
                  </a:cubicBezTo>
                  <a:cubicBezTo>
                    <a:pt x="413389" y="443305"/>
                    <a:pt x="413389" y="448744"/>
                    <a:pt x="416109" y="451464"/>
                  </a:cubicBezTo>
                  <a:cubicBezTo>
                    <a:pt x="416109" y="456903"/>
                    <a:pt x="418829" y="462343"/>
                    <a:pt x="418829" y="465062"/>
                  </a:cubicBezTo>
                  <a:lnTo>
                    <a:pt x="418829" y="475941"/>
                  </a:lnTo>
                  <a:cubicBezTo>
                    <a:pt x="418829" y="481380"/>
                    <a:pt x="418829" y="484100"/>
                    <a:pt x="418829" y="486820"/>
                  </a:cubicBezTo>
                  <a:cubicBezTo>
                    <a:pt x="421548" y="497698"/>
                    <a:pt x="424268" y="505857"/>
                    <a:pt x="426988" y="516736"/>
                  </a:cubicBezTo>
                  <a:cubicBezTo>
                    <a:pt x="426988" y="524895"/>
                    <a:pt x="429707" y="535773"/>
                    <a:pt x="432427" y="543932"/>
                  </a:cubicBezTo>
                  <a:cubicBezTo>
                    <a:pt x="435147" y="554811"/>
                    <a:pt x="437866" y="562970"/>
                    <a:pt x="437866" y="573848"/>
                  </a:cubicBezTo>
                  <a:cubicBezTo>
                    <a:pt x="437866" y="587447"/>
                    <a:pt x="440586" y="595606"/>
                    <a:pt x="443306" y="606484"/>
                  </a:cubicBezTo>
                  <a:cubicBezTo>
                    <a:pt x="443306" y="609204"/>
                    <a:pt x="446025" y="614643"/>
                    <a:pt x="446025" y="617363"/>
                  </a:cubicBezTo>
                  <a:cubicBezTo>
                    <a:pt x="454184" y="617363"/>
                    <a:pt x="462343" y="617363"/>
                    <a:pt x="470502" y="617363"/>
                  </a:cubicBezTo>
                  <a:cubicBezTo>
                    <a:pt x="475942" y="625522"/>
                    <a:pt x="492259" y="630961"/>
                    <a:pt x="492259" y="641840"/>
                  </a:cubicBezTo>
                  <a:cubicBezTo>
                    <a:pt x="492259" y="647279"/>
                    <a:pt x="486820" y="649999"/>
                    <a:pt x="484101" y="655438"/>
                  </a:cubicBezTo>
                  <a:cubicBezTo>
                    <a:pt x="481381" y="660877"/>
                    <a:pt x="473222" y="663597"/>
                    <a:pt x="467782" y="663597"/>
                  </a:cubicBezTo>
                  <a:cubicBezTo>
                    <a:pt x="456904" y="666317"/>
                    <a:pt x="451464" y="666317"/>
                    <a:pt x="443306" y="666317"/>
                  </a:cubicBezTo>
                  <a:cubicBezTo>
                    <a:pt x="437866" y="666317"/>
                    <a:pt x="429707" y="666317"/>
                    <a:pt x="421548" y="666317"/>
                  </a:cubicBezTo>
                  <a:cubicBezTo>
                    <a:pt x="418829" y="666317"/>
                    <a:pt x="416109" y="666317"/>
                    <a:pt x="413389" y="666317"/>
                  </a:cubicBezTo>
                  <a:cubicBezTo>
                    <a:pt x="407950" y="669036"/>
                    <a:pt x="405230" y="669036"/>
                    <a:pt x="399791" y="671756"/>
                  </a:cubicBezTo>
                  <a:cubicBezTo>
                    <a:pt x="394352" y="671756"/>
                    <a:pt x="388913" y="674476"/>
                    <a:pt x="383473" y="674476"/>
                  </a:cubicBezTo>
                  <a:cubicBezTo>
                    <a:pt x="372594" y="674476"/>
                    <a:pt x="358996" y="671756"/>
                    <a:pt x="348118" y="669036"/>
                  </a:cubicBezTo>
                  <a:cubicBezTo>
                    <a:pt x="339959" y="669036"/>
                    <a:pt x="331800" y="669036"/>
                    <a:pt x="326360" y="669036"/>
                  </a:cubicBezTo>
                  <a:cubicBezTo>
                    <a:pt x="304603" y="669036"/>
                    <a:pt x="285565" y="669036"/>
                    <a:pt x="277406" y="669036"/>
                  </a:cubicBezTo>
                  <a:cubicBezTo>
                    <a:pt x="269247" y="669036"/>
                    <a:pt x="258369" y="669036"/>
                    <a:pt x="252930" y="663597"/>
                  </a:cubicBezTo>
                  <a:cubicBezTo>
                    <a:pt x="247490" y="660877"/>
                    <a:pt x="236611" y="655438"/>
                    <a:pt x="236611" y="647279"/>
                  </a:cubicBezTo>
                  <a:cubicBezTo>
                    <a:pt x="236611" y="636401"/>
                    <a:pt x="252930" y="633681"/>
                    <a:pt x="261088" y="630961"/>
                  </a:cubicBezTo>
                  <a:cubicBezTo>
                    <a:pt x="266528" y="630961"/>
                    <a:pt x="274687" y="630961"/>
                    <a:pt x="288285" y="628241"/>
                  </a:cubicBezTo>
                  <a:cubicBezTo>
                    <a:pt x="288285" y="620082"/>
                    <a:pt x="288285" y="614643"/>
                    <a:pt x="285565" y="609204"/>
                  </a:cubicBezTo>
                  <a:cubicBezTo>
                    <a:pt x="285565" y="601045"/>
                    <a:pt x="282846" y="590166"/>
                    <a:pt x="282846" y="582007"/>
                  </a:cubicBezTo>
                  <a:cubicBezTo>
                    <a:pt x="282846" y="576568"/>
                    <a:pt x="280126" y="573848"/>
                    <a:pt x="280126" y="568409"/>
                  </a:cubicBezTo>
                  <a:cubicBezTo>
                    <a:pt x="280126" y="562970"/>
                    <a:pt x="282846" y="557531"/>
                    <a:pt x="282846" y="554811"/>
                  </a:cubicBezTo>
                  <a:cubicBezTo>
                    <a:pt x="282846" y="549371"/>
                    <a:pt x="280126" y="546652"/>
                    <a:pt x="277406" y="538493"/>
                  </a:cubicBezTo>
                  <a:cubicBezTo>
                    <a:pt x="277406" y="527614"/>
                    <a:pt x="271967" y="516736"/>
                    <a:pt x="271967" y="505857"/>
                  </a:cubicBezTo>
                  <a:cubicBezTo>
                    <a:pt x="271967" y="494978"/>
                    <a:pt x="271967" y="486820"/>
                    <a:pt x="269247" y="478660"/>
                  </a:cubicBezTo>
                  <a:cubicBezTo>
                    <a:pt x="266528" y="467782"/>
                    <a:pt x="266528" y="456903"/>
                    <a:pt x="266528" y="446025"/>
                  </a:cubicBezTo>
                  <a:cubicBezTo>
                    <a:pt x="266528" y="440585"/>
                    <a:pt x="263808" y="437866"/>
                    <a:pt x="261088" y="437866"/>
                  </a:cubicBezTo>
                  <a:cubicBezTo>
                    <a:pt x="258369" y="437866"/>
                    <a:pt x="255649" y="437866"/>
                    <a:pt x="250210" y="437866"/>
                  </a:cubicBezTo>
                  <a:cubicBezTo>
                    <a:pt x="239331" y="437866"/>
                    <a:pt x="228452" y="437866"/>
                    <a:pt x="220293" y="440585"/>
                  </a:cubicBezTo>
                  <a:cubicBezTo>
                    <a:pt x="209415" y="440585"/>
                    <a:pt x="201256" y="443305"/>
                    <a:pt x="190377" y="443305"/>
                  </a:cubicBezTo>
                  <a:cubicBezTo>
                    <a:pt x="182218" y="443305"/>
                    <a:pt x="174059" y="443305"/>
                    <a:pt x="165900" y="443305"/>
                  </a:cubicBezTo>
                  <a:cubicBezTo>
                    <a:pt x="163181" y="443305"/>
                    <a:pt x="152302" y="440585"/>
                    <a:pt x="144143" y="440585"/>
                  </a:cubicBezTo>
                  <a:cubicBezTo>
                    <a:pt x="135984" y="440585"/>
                    <a:pt x="135984" y="448744"/>
                    <a:pt x="135984" y="454184"/>
                  </a:cubicBezTo>
                  <a:cubicBezTo>
                    <a:pt x="135984" y="465062"/>
                    <a:pt x="133264" y="475941"/>
                    <a:pt x="130545" y="486820"/>
                  </a:cubicBezTo>
                  <a:cubicBezTo>
                    <a:pt x="127825" y="505857"/>
                    <a:pt x="122386" y="522175"/>
                    <a:pt x="119666" y="541213"/>
                  </a:cubicBezTo>
                  <a:cubicBezTo>
                    <a:pt x="116947" y="560250"/>
                    <a:pt x="108788" y="595606"/>
                    <a:pt x="103348" y="614643"/>
                  </a:cubicBezTo>
                  <a:cubicBezTo>
                    <a:pt x="111507" y="614643"/>
                    <a:pt x="122386" y="614643"/>
                    <a:pt x="133264" y="614643"/>
                  </a:cubicBezTo>
                  <a:cubicBezTo>
                    <a:pt x="146863" y="614643"/>
                    <a:pt x="168620" y="614643"/>
                    <a:pt x="168620" y="630961"/>
                  </a:cubicBezTo>
                  <a:cubicBezTo>
                    <a:pt x="168620" y="639120"/>
                    <a:pt x="165900" y="639120"/>
                    <a:pt x="163181" y="647279"/>
                  </a:cubicBezTo>
                  <a:cubicBezTo>
                    <a:pt x="160461" y="652718"/>
                    <a:pt x="152302" y="655438"/>
                    <a:pt x="146863" y="655438"/>
                  </a:cubicBezTo>
                  <a:cubicBezTo>
                    <a:pt x="138704" y="658158"/>
                    <a:pt x="133264" y="658158"/>
                    <a:pt x="127825" y="658158"/>
                  </a:cubicBezTo>
                  <a:cubicBezTo>
                    <a:pt x="122386" y="658158"/>
                    <a:pt x="116947" y="658158"/>
                    <a:pt x="106068" y="658158"/>
                  </a:cubicBezTo>
                  <a:cubicBezTo>
                    <a:pt x="92468" y="658158"/>
                    <a:pt x="78870" y="658158"/>
                    <a:pt x="62552" y="658158"/>
                  </a:cubicBezTo>
                  <a:cubicBezTo>
                    <a:pt x="54393" y="658158"/>
                    <a:pt x="46234" y="658158"/>
                    <a:pt x="40795" y="658158"/>
                  </a:cubicBezTo>
                  <a:cubicBezTo>
                    <a:pt x="32636" y="658158"/>
                    <a:pt x="21758" y="658158"/>
                    <a:pt x="16318" y="652718"/>
                  </a:cubicBezTo>
                  <a:cubicBezTo>
                    <a:pt x="8159" y="649999"/>
                    <a:pt x="0" y="641840"/>
                    <a:pt x="0" y="636401"/>
                  </a:cubicBezTo>
                  <a:cubicBezTo>
                    <a:pt x="0" y="633681"/>
                    <a:pt x="0" y="630961"/>
                    <a:pt x="2720" y="628241"/>
                  </a:cubicBezTo>
                  <a:cubicBezTo>
                    <a:pt x="8159" y="625522"/>
                    <a:pt x="16318" y="622802"/>
                    <a:pt x="24477" y="620082"/>
                  </a:cubicBezTo>
                  <a:cubicBezTo>
                    <a:pt x="38075" y="617363"/>
                    <a:pt x="48954" y="617363"/>
                    <a:pt x="62552" y="617363"/>
                  </a:cubicBezTo>
                  <a:cubicBezTo>
                    <a:pt x="62552" y="617363"/>
                    <a:pt x="62552" y="614643"/>
                    <a:pt x="62552" y="614643"/>
                  </a:cubicBezTo>
                  <a:cubicBezTo>
                    <a:pt x="62552" y="603765"/>
                    <a:pt x="65272" y="590166"/>
                    <a:pt x="65272" y="587447"/>
                  </a:cubicBezTo>
                  <a:cubicBezTo>
                    <a:pt x="67992" y="565689"/>
                    <a:pt x="73431" y="543932"/>
                    <a:pt x="76151" y="522175"/>
                  </a:cubicBezTo>
                  <a:cubicBezTo>
                    <a:pt x="78870" y="505857"/>
                    <a:pt x="81590" y="486820"/>
                    <a:pt x="87029" y="470501"/>
                  </a:cubicBezTo>
                  <a:cubicBezTo>
                    <a:pt x="87029" y="465062"/>
                    <a:pt x="92468" y="451464"/>
                    <a:pt x="92468" y="446025"/>
                  </a:cubicBezTo>
                  <a:cubicBezTo>
                    <a:pt x="92468" y="437866"/>
                    <a:pt x="73431" y="437866"/>
                    <a:pt x="65272" y="432426"/>
                  </a:cubicBezTo>
                  <a:cubicBezTo>
                    <a:pt x="59833" y="429707"/>
                    <a:pt x="54393" y="426987"/>
                    <a:pt x="54393" y="421548"/>
                  </a:cubicBezTo>
                  <a:cubicBezTo>
                    <a:pt x="54393" y="413389"/>
                    <a:pt x="62552" y="410669"/>
                    <a:pt x="73431" y="407949"/>
                  </a:cubicBezTo>
                  <a:cubicBezTo>
                    <a:pt x="78870" y="407949"/>
                    <a:pt x="92468" y="405230"/>
                    <a:pt x="100629" y="399790"/>
                  </a:cubicBezTo>
                  <a:cubicBezTo>
                    <a:pt x="106068" y="394351"/>
                    <a:pt x="106068" y="378033"/>
                    <a:pt x="108788" y="369874"/>
                  </a:cubicBezTo>
                  <a:cubicBezTo>
                    <a:pt x="114227" y="348117"/>
                    <a:pt x="119666" y="326360"/>
                    <a:pt x="125105" y="307322"/>
                  </a:cubicBezTo>
                  <a:cubicBezTo>
                    <a:pt x="130545" y="285565"/>
                    <a:pt x="135984" y="263808"/>
                    <a:pt x="141423" y="242051"/>
                  </a:cubicBezTo>
                  <a:cubicBezTo>
                    <a:pt x="146863" y="220293"/>
                    <a:pt x="152302" y="198536"/>
                    <a:pt x="155022" y="179498"/>
                  </a:cubicBezTo>
                  <a:cubicBezTo>
                    <a:pt x="157742" y="160461"/>
                    <a:pt x="163181" y="138703"/>
                    <a:pt x="168620" y="119665"/>
                  </a:cubicBezTo>
                  <a:cubicBezTo>
                    <a:pt x="176779" y="100627"/>
                    <a:pt x="182218" y="76150"/>
                    <a:pt x="193097" y="57113"/>
                  </a:cubicBezTo>
                  <a:lnTo>
                    <a:pt x="201256" y="38075"/>
                  </a:lnTo>
                  <a:cubicBezTo>
                    <a:pt x="206695" y="29916"/>
                    <a:pt x="209415" y="19038"/>
                    <a:pt x="217574" y="13598"/>
                  </a:cubicBezTo>
                  <a:cubicBezTo>
                    <a:pt x="231172" y="2720"/>
                    <a:pt x="255649" y="0"/>
                    <a:pt x="274687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>
                <a:solidFill>
                  <a:srgbClr val="FFFFFF"/>
                </a:solidFill>
              </a:endParaRPr>
            </a:p>
          </p:txBody>
        </p:sp>
        <p:sp>
          <p:nvSpPr>
            <p:cNvPr id="45" name="Freeform: Shape 44">
              <a:extLst>
                <a:ext uri="{FF2B5EF4-FFF2-40B4-BE49-F238E27FC236}">
                  <a16:creationId xmlns:a16="http://schemas.microsoft.com/office/drawing/2014/main" id="{6A074F1E-F61E-4BB1-A6F8-4B878375C02B}"/>
                </a:ext>
              </a:extLst>
            </p:cNvPr>
            <p:cNvSpPr/>
            <p:nvPr/>
          </p:nvSpPr>
          <p:spPr>
            <a:xfrm>
              <a:off x="6876542" y="4244897"/>
              <a:ext cx="462342" cy="677195"/>
            </a:xfrm>
            <a:custGeom>
              <a:avLst/>
              <a:gdLst>
                <a:gd name="connsiteX0" fmla="*/ 214853 w 462342"/>
                <a:gd name="connsiteY0" fmla="*/ 65272 h 677195"/>
                <a:gd name="connsiteX1" fmla="*/ 195815 w 462342"/>
                <a:gd name="connsiteY1" fmla="*/ 73431 h 677195"/>
                <a:gd name="connsiteX2" fmla="*/ 193096 w 462342"/>
                <a:gd name="connsiteY2" fmla="*/ 125105 h 677195"/>
                <a:gd name="connsiteX3" fmla="*/ 190376 w 462342"/>
                <a:gd name="connsiteY3" fmla="*/ 280125 h 677195"/>
                <a:gd name="connsiteX4" fmla="*/ 190376 w 462342"/>
                <a:gd name="connsiteY4" fmla="*/ 301882 h 677195"/>
                <a:gd name="connsiteX5" fmla="*/ 193096 w 462342"/>
                <a:gd name="connsiteY5" fmla="*/ 342677 h 677195"/>
                <a:gd name="connsiteX6" fmla="*/ 195815 w 462342"/>
                <a:gd name="connsiteY6" fmla="*/ 397070 h 677195"/>
                <a:gd name="connsiteX7" fmla="*/ 195815 w 462342"/>
                <a:gd name="connsiteY7" fmla="*/ 443304 h 677195"/>
                <a:gd name="connsiteX8" fmla="*/ 195815 w 462342"/>
                <a:gd name="connsiteY8" fmla="*/ 530333 h 677195"/>
                <a:gd name="connsiteX9" fmla="*/ 193096 w 462342"/>
                <a:gd name="connsiteY9" fmla="*/ 554810 h 677195"/>
                <a:gd name="connsiteX10" fmla="*/ 190376 w 462342"/>
                <a:gd name="connsiteY10" fmla="*/ 603764 h 677195"/>
                <a:gd name="connsiteX11" fmla="*/ 198535 w 462342"/>
                <a:gd name="connsiteY11" fmla="*/ 611923 h 677195"/>
                <a:gd name="connsiteX12" fmla="*/ 214853 w 462342"/>
                <a:gd name="connsiteY12" fmla="*/ 611923 h 677195"/>
                <a:gd name="connsiteX13" fmla="*/ 236610 w 462342"/>
                <a:gd name="connsiteY13" fmla="*/ 611923 h 677195"/>
                <a:gd name="connsiteX14" fmla="*/ 263807 w 462342"/>
                <a:gd name="connsiteY14" fmla="*/ 598325 h 677195"/>
                <a:gd name="connsiteX15" fmla="*/ 277405 w 462342"/>
                <a:gd name="connsiteY15" fmla="*/ 592885 h 677195"/>
                <a:gd name="connsiteX16" fmla="*/ 291004 w 462342"/>
                <a:gd name="connsiteY16" fmla="*/ 573848 h 677195"/>
                <a:gd name="connsiteX17" fmla="*/ 307322 w 462342"/>
                <a:gd name="connsiteY17" fmla="*/ 543931 h 677195"/>
                <a:gd name="connsiteX18" fmla="*/ 326359 w 462342"/>
                <a:gd name="connsiteY18" fmla="*/ 481379 h 677195"/>
                <a:gd name="connsiteX19" fmla="*/ 337238 w 462342"/>
                <a:gd name="connsiteY19" fmla="*/ 413388 h 677195"/>
                <a:gd name="connsiteX20" fmla="*/ 337238 w 462342"/>
                <a:gd name="connsiteY20" fmla="*/ 350836 h 677195"/>
                <a:gd name="connsiteX21" fmla="*/ 334518 w 462342"/>
                <a:gd name="connsiteY21" fmla="*/ 296443 h 677195"/>
                <a:gd name="connsiteX22" fmla="*/ 329079 w 462342"/>
                <a:gd name="connsiteY22" fmla="*/ 244769 h 677195"/>
                <a:gd name="connsiteX23" fmla="*/ 307322 w 462342"/>
                <a:gd name="connsiteY23" fmla="*/ 135983 h 677195"/>
                <a:gd name="connsiteX24" fmla="*/ 271966 w 462342"/>
                <a:gd name="connsiteY24" fmla="*/ 78870 h 677195"/>
                <a:gd name="connsiteX25" fmla="*/ 214853 w 462342"/>
                <a:gd name="connsiteY25" fmla="*/ 65272 h 677195"/>
                <a:gd name="connsiteX26" fmla="*/ 114226 w 462342"/>
                <a:gd name="connsiteY26" fmla="*/ 0 h 677195"/>
                <a:gd name="connsiteX27" fmla="*/ 127824 w 462342"/>
                <a:gd name="connsiteY27" fmla="*/ 0 h 677195"/>
                <a:gd name="connsiteX28" fmla="*/ 146862 w 462342"/>
                <a:gd name="connsiteY28" fmla="*/ 2720 h 677195"/>
                <a:gd name="connsiteX29" fmla="*/ 174059 w 462342"/>
                <a:gd name="connsiteY29" fmla="*/ 21758 h 677195"/>
                <a:gd name="connsiteX30" fmla="*/ 193096 w 462342"/>
                <a:gd name="connsiteY30" fmla="*/ 21758 h 677195"/>
                <a:gd name="connsiteX31" fmla="*/ 261088 w 462342"/>
                <a:gd name="connsiteY31" fmla="*/ 27197 h 677195"/>
                <a:gd name="connsiteX32" fmla="*/ 310042 w 462342"/>
                <a:gd name="connsiteY32" fmla="*/ 35356 h 677195"/>
                <a:gd name="connsiteX33" fmla="*/ 334518 w 462342"/>
                <a:gd name="connsiteY33" fmla="*/ 40795 h 677195"/>
                <a:gd name="connsiteX34" fmla="*/ 356276 w 462342"/>
                <a:gd name="connsiteY34" fmla="*/ 59833 h 677195"/>
                <a:gd name="connsiteX35" fmla="*/ 372593 w 462342"/>
                <a:gd name="connsiteY35" fmla="*/ 76151 h 677195"/>
                <a:gd name="connsiteX36" fmla="*/ 380752 w 462342"/>
                <a:gd name="connsiteY36" fmla="*/ 95188 h 677195"/>
                <a:gd name="connsiteX37" fmla="*/ 405230 w 462342"/>
                <a:gd name="connsiteY37" fmla="*/ 114226 h 677195"/>
                <a:gd name="connsiteX38" fmla="*/ 416108 w 462342"/>
                <a:gd name="connsiteY38" fmla="*/ 141422 h 677195"/>
                <a:gd name="connsiteX39" fmla="*/ 451464 w 462342"/>
                <a:gd name="connsiteY39" fmla="*/ 201256 h 677195"/>
                <a:gd name="connsiteX40" fmla="*/ 456903 w 462342"/>
                <a:gd name="connsiteY40" fmla="*/ 252929 h 677195"/>
                <a:gd name="connsiteX41" fmla="*/ 456903 w 462342"/>
                <a:gd name="connsiteY41" fmla="*/ 291004 h 677195"/>
                <a:gd name="connsiteX42" fmla="*/ 459623 w 462342"/>
                <a:gd name="connsiteY42" fmla="*/ 318201 h 677195"/>
                <a:gd name="connsiteX43" fmla="*/ 459623 w 462342"/>
                <a:gd name="connsiteY43" fmla="*/ 326360 h 677195"/>
                <a:gd name="connsiteX44" fmla="*/ 459623 w 462342"/>
                <a:gd name="connsiteY44" fmla="*/ 348117 h 677195"/>
                <a:gd name="connsiteX45" fmla="*/ 462342 w 462342"/>
                <a:gd name="connsiteY45" fmla="*/ 367155 h 677195"/>
                <a:gd name="connsiteX46" fmla="*/ 456903 w 462342"/>
                <a:gd name="connsiteY46" fmla="*/ 391632 h 677195"/>
                <a:gd name="connsiteX47" fmla="*/ 456903 w 462342"/>
                <a:gd name="connsiteY47" fmla="*/ 418828 h 677195"/>
                <a:gd name="connsiteX48" fmla="*/ 451464 w 462342"/>
                <a:gd name="connsiteY48" fmla="*/ 437866 h 677195"/>
                <a:gd name="connsiteX49" fmla="*/ 446025 w 462342"/>
                <a:gd name="connsiteY49" fmla="*/ 454184 h 677195"/>
                <a:gd name="connsiteX50" fmla="*/ 440585 w 462342"/>
                <a:gd name="connsiteY50" fmla="*/ 481380 h 677195"/>
                <a:gd name="connsiteX51" fmla="*/ 432426 w 462342"/>
                <a:gd name="connsiteY51" fmla="*/ 508577 h 677195"/>
                <a:gd name="connsiteX52" fmla="*/ 418828 w 462342"/>
                <a:gd name="connsiteY52" fmla="*/ 530334 h 677195"/>
                <a:gd name="connsiteX53" fmla="*/ 410669 w 462342"/>
                <a:gd name="connsiteY53" fmla="*/ 549371 h 677195"/>
                <a:gd name="connsiteX54" fmla="*/ 391631 w 462342"/>
                <a:gd name="connsiteY54" fmla="*/ 579288 h 677195"/>
                <a:gd name="connsiteX55" fmla="*/ 337238 w 462342"/>
                <a:gd name="connsiteY55" fmla="*/ 630961 h 677195"/>
                <a:gd name="connsiteX56" fmla="*/ 301883 w 462342"/>
                <a:gd name="connsiteY56" fmla="*/ 647279 h 677195"/>
                <a:gd name="connsiteX57" fmla="*/ 263807 w 462342"/>
                <a:gd name="connsiteY57" fmla="*/ 652718 h 677195"/>
                <a:gd name="connsiteX58" fmla="*/ 233891 w 462342"/>
                <a:gd name="connsiteY58" fmla="*/ 649999 h 677195"/>
                <a:gd name="connsiteX59" fmla="*/ 187657 w 462342"/>
                <a:gd name="connsiteY59" fmla="*/ 652718 h 677195"/>
                <a:gd name="connsiteX60" fmla="*/ 171339 w 462342"/>
                <a:gd name="connsiteY60" fmla="*/ 669036 h 677195"/>
                <a:gd name="connsiteX61" fmla="*/ 155021 w 462342"/>
                <a:gd name="connsiteY61" fmla="*/ 671756 h 677195"/>
                <a:gd name="connsiteX62" fmla="*/ 138703 w 462342"/>
                <a:gd name="connsiteY62" fmla="*/ 674476 h 677195"/>
                <a:gd name="connsiteX63" fmla="*/ 125105 w 462342"/>
                <a:gd name="connsiteY63" fmla="*/ 677195 h 677195"/>
                <a:gd name="connsiteX64" fmla="*/ 106067 w 462342"/>
                <a:gd name="connsiteY64" fmla="*/ 671756 h 677195"/>
                <a:gd name="connsiteX65" fmla="*/ 87029 w 462342"/>
                <a:gd name="connsiteY65" fmla="*/ 658158 h 677195"/>
                <a:gd name="connsiteX66" fmla="*/ 81590 w 462342"/>
                <a:gd name="connsiteY66" fmla="*/ 652718 h 677195"/>
                <a:gd name="connsiteX67" fmla="*/ 67992 w 462342"/>
                <a:gd name="connsiteY67" fmla="*/ 652718 h 677195"/>
                <a:gd name="connsiteX68" fmla="*/ 43515 w 462342"/>
                <a:gd name="connsiteY68" fmla="*/ 652718 h 677195"/>
                <a:gd name="connsiteX69" fmla="*/ 16318 w 462342"/>
                <a:gd name="connsiteY69" fmla="*/ 647279 h 677195"/>
                <a:gd name="connsiteX70" fmla="*/ 0 w 462342"/>
                <a:gd name="connsiteY70" fmla="*/ 630961 h 677195"/>
                <a:gd name="connsiteX71" fmla="*/ 5439 w 462342"/>
                <a:gd name="connsiteY71" fmla="*/ 620083 h 677195"/>
                <a:gd name="connsiteX72" fmla="*/ 27197 w 462342"/>
                <a:gd name="connsiteY72" fmla="*/ 611924 h 677195"/>
                <a:gd name="connsiteX73" fmla="*/ 65272 w 462342"/>
                <a:gd name="connsiteY73" fmla="*/ 609204 h 677195"/>
                <a:gd name="connsiteX74" fmla="*/ 65272 w 462342"/>
                <a:gd name="connsiteY74" fmla="*/ 584727 h 677195"/>
                <a:gd name="connsiteX75" fmla="*/ 62552 w 462342"/>
                <a:gd name="connsiteY75" fmla="*/ 456903 h 677195"/>
                <a:gd name="connsiteX76" fmla="*/ 65272 w 462342"/>
                <a:gd name="connsiteY76" fmla="*/ 337238 h 677195"/>
                <a:gd name="connsiteX77" fmla="*/ 67992 w 462342"/>
                <a:gd name="connsiteY77" fmla="*/ 203975 h 677195"/>
                <a:gd name="connsiteX78" fmla="*/ 70712 w 462342"/>
                <a:gd name="connsiteY78" fmla="*/ 119665 h 677195"/>
                <a:gd name="connsiteX79" fmla="*/ 73431 w 462342"/>
                <a:gd name="connsiteY79" fmla="*/ 67992 h 677195"/>
                <a:gd name="connsiteX80" fmla="*/ 67992 w 462342"/>
                <a:gd name="connsiteY80" fmla="*/ 67992 h 677195"/>
                <a:gd name="connsiteX81" fmla="*/ 43515 w 462342"/>
                <a:gd name="connsiteY81" fmla="*/ 67992 h 677195"/>
                <a:gd name="connsiteX82" fmla="*/ 16318 w 462342"/>
                <a:gd name="connsiteY82" fmla="*/ 62552 h 677195"/>
                <a:gd name="connsiteX83" fmla="*/ 0 w 462342"/>
                <a:gd name="connsiteY83" fmla="*/ 46234 h 677195"/>
                <a:gd name="connsiteX84" fmla="*/ 5439 w 462342"/>
                <a:gd name="connsiteY84" fmla="*/ 35356 h 677195"/>
                <a:gd name="connsiteX85" fmla="*/ 27197 w 462342"/>
                <a:gd name="connsiteY85" fmla="*/ 27197 h 677195"/>
                <a:gd name="connsiteX86" fmla="*/ 76151 w 462342"/>
                <a:gd name="connsiteY86" fmla="*/ 21758 h 677195"/>
                <a:gd name="connsiteX87" fmla="*/ 81590 w 462342"/>
                <a:gd name="connsiteY87" fmla="*/ 13598 h 677195"/>
                <a:gd name="connsiteX88" fmla="*/ 97908 w 462342"/>
                <a:gd name="connsiteY88" fmla="*/ 5439 h 677195"/>
                <a:gd name="connsiteX89" fmla="*/ 114226 w 462342"/>
                <a:gd name="connsiteY89" fmla="*/ 0 h 6771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</a:cxnLst>
              <a:rect l="l" t="t" r="r" b="b"/>
              <a:pathLst>
                <a:path w="462342" h="677195">
                  <a:moveTo>
                    <a:pt x="214853" y="65272"/>
                  </a:moveTo>
                  <a:cubicBezTo>
                    <a:pt x="203975" y="65272"/>
                    <a:pt x="195815" y="67992"/>
                    <a:pt x="195815" y="73431"/>
                  </a:cubicBezTo>
                  <a:cubicBezTo>
                    <a:pt x="193096" y="78870"/>
                    <a:pt x="193096" y="100628"/>
                    <a:pt x="193096" y="125105"/>
                  </a:cubicBezTo>
                  <a:cubicBezTo>
                    <a:pt x="193096" y="182217"/>
                    <a:pt x="193096" y="266527"/>
                    <a:pt x="190376" y="280125"/>
                  </a:cubicBezTo>
                  <a:cubicBezTo>
                    <a:pt x="190376" y="288284"/>
                    <a:pt x="190376" y="293723"/>
                    <a:pt x="190376" y="301882"/>
                  </a:cubicBezTo>
                  <a:cubicBezTo>
                    <a:pt x="190376" y="315480"/>
                    <a:pt x="190376" y="329079"/>
                    <a:pt x="193096" y="342677"/>
                  </a:cubicBezTo>
                  <a:cubicBezTo>
                    <a:pt x="193096" y="361715"/>
                    <a:pt x="193096" y="378033"/>
                    <a:pt x="195815" y="397070"/>
                  </a:cubicBezTo>
                  <a:cubicBezTo>
                    <a:pt x="195815" y="413388"/>
                    <a:pt x="195815" y="426986"/>
                    <a:pt x="195815" y="443304"/>
                  </a:cubicBezTo>
                  <a:cubicBezTo>
                    <a:pt x="195815" y="465061"/>
                    <a:pt x="198535" y="508576"/>
                    <a:pt x="195815" y="530333"/>
                  </a:cubicBezTo>
                  <a:cubicBezTo>
                    <a:pt x="195815" y="538492"/>
                    <a:pt x="193096" y="546651"/>
                    <a:pt x="193096" y="554810"/>
                  </a:cubicBezTo>
                  <a:cubicBezTo>
                    <a:pt x="193096" y="560249"/>
                    <a:pt x="190376" y="590166"/>
                    <a:pt x="190376" y="603764"/>
                  </a:cubicBezTo>
                  <a:cubicBezTo>
                    <a:pt x="190376" y="609203"/>
                    <a:pt x="190376" y="611923"/>
                    <a:pt x="198535" y="611923"/>
                  </a:cubicBezTo>
                  <a:cubicBezTo>
                    <a:pt x="206694" y="611923"/>
                    <a:pt x="209414" y="611923"/>
                    <a:pt x="214853" y="611923"/>
                  </a:cubicBezTo>
                  <a:cubicBezTo>
                    <a:pt x="223012" y="611923"/>
                    <a:pt x="220293" y="611923"/>
                    <a:pt x="236610" y="611923"/>
                  </a:cubicBezTo>
                  <a:cubicBezTo>
                    <a:pt x="242050" y="611923"/>
                    <a:pt x="258368" y="601044"/>
                    <a:pt x="263807" y="598325"/>
                  </a:cubicBezTo>
                  <a:cubicBezTo>
                    <a:pt x="266527" y="598325"/>
                    <a:pt x="274686" y="592885"/>
                    <a:pt x="277405" y="592885"/>
                  </a:cubicBezTo>
                  <a:cubicBezTo>
                    <a:pt x="285564" y="587446"/>
                    <a:pt x="288284" y="579287"/>
                    <a:pt x="291004" y="573848"/>
                  </a:cubicBezTo>
                  <a:cubicBezTo>
                    <a:pt x="296443" y="562969"/>
                    <a:pt x="301882" y="554810"/>
                    <a:pt x="307322" y="543931"/>
                  </a:cubicBezTo>
                  <a:cubicBezTo>
                    <a:pt x="315481" y="524894"/>
                    <a:pt x="320920" y="524894"/>
                    <a:pt x="326359" y="481379"/>
                  </a:cubicBezTo>
                  <a:cubicBezTo>
                    <a:pt x="329079" y="456903"/>
                    <a:pt x="334518" y="435145"/>
                    <a:pt x="337238" y="413388"/>
                  </a:cubicBezTo>
                  <a:cubicBezTo>
                    <a:pt x="337238" y="391631"/>
                    <a:pt x="337238" y="369873"/>
                    <a:pt x="337238" y="350836"/>
                  </a:cubicBezTo>
                  <a:cubicBezTo>
                    <a:pt x="337238" y="339957"/>
                    <a:pt x="337238" y="320920"/>
                    <a:pt x="334518" y="296443"/>
                  </a:cubicBezTo>
                  <a:cubicBezTo>
                    <a:pt x="331798" y="269246"/>
                    <a:pt x="329079" y="250209"/>
                    <a:pt x="329079" y="244769"/>
                  </a:cubicBezTo>
                  <a:cubicBezTo>
                    <a:pt x="323640" y="206694"/>
                    <a:pt x="318200" y="174058"/>
                    <a:pt x="307322" y="135983"/>
                  </a:cubicBezTo>
                  <a:cubicBezTo>
                    <a:pt x="304602" y="125105"/>
                    <a:pt x="304602" y="108787"/>
                    <a:pt x="271966" y="78870"/>
                  </a:cubicBezTo>
                  <a:cubicBezTo>
                    <a:pt x="263807" y="73431"/>
                    <a:pt x="233891" y="65272"/>
                    <a:pt x="214853" y="65272"/>
                  </a:cubicBezTo>
                  <a:close/>
                  <a:moveTo>
                    <a:pt x="114226" y="0"/>
                  </a:moveTo>
                  <a:cubicBezTo>
                    <a:pt x="119665" y="0"/>
                    <a:pt x="125105" y="0"/>
                    <a:pt x="127824" y="0"/>
                  </a:cubicBezTo>
                  <a:cubicBezTo>
                    <a:pt x="133264" y="0"/>
                    <a:pt x="141422" y="0"/>
                    <a:pt x="146862" y="2720"/>
                  </a:cubicBezTo>
                  <a:cubicBezTo>
                    <a:pt x="157741" y="5439"/>
                    <a:pt x="165900" y="13598"/>
                    <a:pt x="174059" y="21758"/>
                  </a:cubicBezTo>
                  <a:cubicBezTo>
                    <a:pt x="179498" y="21758"/>
                    <a:pt x="187657" y="21758"/>
                    <a:pt x="193096" y="21758"/>
                  </a:cubicBezTo>
                  <a:cubicBezTo>
                    <a:pt x="212134" y="21758"/>
                    <a:pt x="228452" y="27197"/>
                    <a:pt x="261088" y="27197"/>
                  </a:cubicBezTo>
                  <a:cubicBezTo>
                    <a:pt x="277405" y="27197"/>
                    <a:pt x="293723" y="35356"/>
                    <a:pt x="310042" y="35356"/>
                  </a:cubicBezTo>
                  <a:cubicBezTo>
                    <a:pt x="318200" y="35356"/>
                    <a:pt x="329079" y="35356"/>
                    <a:pt x="334518" y="40795"/>
                  </a:cubicBezTo>
                  <a:cubicBezTo>
                    <a:pt x="342677" y="46234"/>
                    <a:pt x="348117" y="54393"/>
                    <a:pt x="356276" y="59833"/>
                  </a:cubicBezTo>
                  <a:cubicBezTo>
                    <a:pt x="361715" y="65272"/>
                    <a:pt x="369874" y="67992"/>
                    <a:pt x="372593" y="76151"/>
                  </a:cubicBezTo>
                  <a:cubicBezTo>
                    <a:pt x="375313" y="81590"/>
                    <a:pt x="378033" y="89749"/>
                    <a:pt x="380752" y="95188"/>
                  </a:cubicBezTo>
                  <a:cubicBezTo>
                    <a:pt x="386192" y="103347"/>
                    <a:pt x="391631" y="106067"/>
                    <a:pt x="405230" y="114226"/>
                  </a:cubicBezTo>
                  <a:cubicBezTo>
                    <a:pt x="413388" y="119665"/>
                    <a:pt x="410669" y="133263"/>
                    <a:pt x="416108" y="141422"/>
                  </a:cubicBezTo>
                  <a:cubicBezTo>
                    <a:pt x="426987" y="160461"/>
                    <a:pt x="446025" y="182218"/>
                    <a:pt x="451464" y="201256"/>
                  </a:cubicBezTo>
                  <a:cubicBezTo>
                    <a:pt x="456903" y="220293"/>
                    <a:pt x="456903" y="236611"/>
                    <a:pt x="456903" y="252929"/>
                  </a:cubicBezTo>
                  <a:cubicBezTo>
                    <a:pt x="456903" y="266527"/>
                    <a:pt x="456903" y="277406"/>
                    <a:pt x="456903" y="291004"/>
                  </a:cubicBezTo>
                  <a:cubicBezTo>
                    <a:pt x="456903" y="299163"/>
                    <a:pt x="456903" y="307322"/>
                    <a:pt x="459623" y="318201"/>
                  </a:cubicBezTo>
                  <a:cubicBezTo>
                    <a:pt x="459623" y="320921"/>
                    <a:pt x="459623" y="323640"/>
                    <a:pt x="459623" y="326360"/>
                  </a:cubicBezTo>
                  <a:cubicBezTo>
                    <a:pt x="462342" y="331799"/>
                    <a:pt x="459623" y="337238"/>
                    <a:pt x="459623" y="348117"/>
                  </a:cubicBezTo>
                  <a:cubicBezTo>
                    <a:pt x="459623" y="350837"/>
                    <a:pt x="462342" y="361715"/>
                    <a:pt x="462342" y="367155"/>
                  </a:cubicBezTo>
                  <a:cubicBezTo>
                    <a:pt x="462342" y="375314"/>
                    <a:pt x="456903" y="383473"/>
                    <a:pt x="456903" y="391632"/>
                  </a:cubicBezTo>
                  <a:cubicBezTo>
                    <a:pt x="456903" y="399790"/>
                    <a:pt x="456903" y="410669"/>
                    <a:pt x="456903" y="418828"/>
                  </a:cubicBezTo>
                  <a:cubicBezTo>
                    <a:pt x="456903" y="421548"/>
                    <a:pt x="454183" y="429707"/>
                    <a:pt x="451464" y="437866"/>
                  </a:cubicBezTo>
                  <a:cubicBezTo>
                    <a:pt x="448744" y="443305"/>
                    <a:pt x="448744" y="451464"/>
                    <a:pt x="446025" y="454184"/>
                  </a:cubicBezTo>
                  <a:cubicBezTo>
                    <a:pt x="443305" y="462343"/>
                    <a:pt x="440585" y="473221"/>
                    <a:pt x="440585" y="481380"/>
                  </a:cubicBezTo>
                  <a:cubicBezTo>
                    <a:pt x="437865" y="489539"/>
                    <a:pt x="437865" y="500418"/>
                    <a:pt x="432426" y="508577"/>
                  </a:cubicBezTo>
                  <a:cubicBezTo>
                    <a:pt x="429706" y="516736"/>
                    <a:pt x="424267" y="522175"/>
                    <a:pt x="418828" y="530334"/>
                  </a:cubicBezTo>
                  <a:cubicBezTo>
                    <a:pt x="416108" y="535773"/>
                    <a:pt x="413388" y="543932"/>
                    <a:pt x="410669" y="549371"/>
                  </a:cubicBezTo>
                  <a:cubicBezTo>
                    <a:pt x="405230" y="557531"/>
                    <a:pt x="397071" y="573848"/>
                    <a:pt x="391631" y="579288"/>
                  </a:cubicBezTo>
                  <a:cubicBezTo>
                    <a:pt x="369874" y="609204"/>
                    <a:pt x="350836" y="620083"/>
                    <a:pt x="337238" y="630961"/>
                  </a:cubicBezTo>
                  <a:cubicBezTo>
                    <a:pt x="326359" y="639120"/>
                    <a:pt x="315481" y="641840"/>
                    <a:pt x="301883" y="647279"/>
                  </a:cubicBezTo>
                  <a:cubicBezTo>
                    <a:pt x="291004" y="649999"/>
                    <a:pt x="277405" y="652718"/>
                    <a:pt x="263807" y="652718"/>
                  </a:cubicBezTo>
                  <a:cubicBezTo>
                    <a:pt x="252929" y="652718"/>
                    <a:pt x="244770" y="649999"/>
                    <a:pt x="233891" y="649999"/>
                  </a:cubicBezTo>
                  <a:cubicBezTo>
                    <a:pt x="206694" y="649999"/>
                    <a:pt x="217573" y="652718"/>
                    <a:pt x="187657" y="652718"/>
                  </a:cubicBezTo>
                  <a:cubicBezTo>
                    <a:pt x="184937" y="660877"/>
                    <a:pt x="179498" y="666317"/>
                    <a:pt x="171339" y="669036"/>
                  </a:cubicBezTo>
                  <a:cubicBezTo>
                    <a:pt x="165900" y="671756"/>
                    <a:pt x="160460" y="671756"/>
                    <a:pt x="155021" y="671756"/>
                  </a:cubicBezTo>
                  <a:cubicBezTo>
                    <a:pt x="149581" y="671756"/>
                    <a:pt x="144142" y="674476"/>
                    <a:pt x="138703" y="674476"/>
                  </a:cubicBezTo>
                  <a:cubicBezTo>
                    <a:pt x="135983" y="674476"/>
                    <a:pt x="127824" y="677195"/>
                    <a:pt x="125105" y="677195"/>
                  </a:cubicBezTo>
                  <a:cubicBezTo>
                    <a:pt x="116946" y="677195"/>
                    <a:pt x="108787" y="671756"/>
                    <a:pt x="106067" y="671756"/>
                  </a:cubicBezTo>
                  <a:cubicBezTo>
                    <a:pt x="100628" y="669036"/>
                    <a:pt x="95188" y="663597"/>
                    <a:pt x="87029" y="658158"/>
                  </a:cubicBezTo>
                  <a:cubicBezTo>
                    <a:pt x="84310" y="655438"/>
                    <a:pt x="81590" y="655438"/>
                    <a:pt x="81590" y="652718"/>
                  </a:cubicBezTo>
                  <a:cubicBezTo>
                    <a:pt x="73431" y="652718"/>
                    <a:pt x="81590" y="652718"/>
                    <a:pt x="67992" y="652718"/>
                  </a:cubicBezTo>
                  <a:cubicBezTo>
                    <a:pt x="59833" y="652718"/>
                    <a:pt x="51674" y="652718"/>
                    <a:pt x="43515" y="652718"/>
                  </a:cubicBezTo>
                  <a:cubicBezTo>
                    <a:pt x="35356" y="652718"/>
                    <a:pt x="24477" y="652718"/>
                    <a:pt x="16318" y="647279"/>
                  </a:cubicBezTo>
                  <a:cubicBezTo>
                    <a:pt x="8159" y="644559"/>
                    <a:pt x="0" y="636401"/>
                    <a:pt x="0" y="630961"/>
                  </a:cubicBezTo>
                  <a:cubicBezTo>
                    <a:pt x="0" y="625522"/>
                    <a:pt x="0" y="622802"/>
                    <a:pt x="5439" y="620083"/>
                  </a:cubicBezTo>
                  <a:cubicBezTo>
                    <a:pt x="10879" y="617363"/>
                    <a:pt x="21758" y="614643"/>
                    <a:pt x="27197" y="611924"/>
                  </a:cubicBezTo>
                  <a:cubicBezTo>
                    <a:pt x="38076" y="609204"/>
                    <a:pt x="54393" y="609204"/>
                    <a:pt x="65272" y="609204"/>
                  </a:cubicBezTo>
                  <a:cubicBezTo>
                    <a:pt x="65272" y="601045"/>
                    <a:pt x="65272" y="592886"/>
                    <a:pt x="65272" y="584727"/>
                  </a:cubicBezTo>
                  <a:cubicBezTo>
                    <a:pt x="65272" y="541213"/>
                    <a:pt x="62552" y="500418"/>
                    <a:pt x="62552" y="456903"/>
                  </a:cubicBezTo>
                  <a:cubicBezTo>
                    <a:pt x="62552" y="440585"/>
                    <a:pt x="65272" y="397071"/>
                    <a:pt x="65272" y="337238"/>
                  </a:cubicBezTo>
                  <a:cubicBezTo>
                    <a:pt x="65272" y="293724"/>
                    <a:pt x="67992" y="247490"/>
                    <a:pt x="67992" y="203975"/>
                  </a:cubicBezTo>
                  <a:cubicBezTo>
                    <a:pt x="67992" y="179498"/>
                    <a:pt x="67992" y="149582"/>
                    <a:pt x="70712" y="119665"/>
                  </a:cubicBezTo>
                  <a:cubicBezTo>
                    <a:pt x="70712" y="103347"/>
                    <a:pt x="73431" y="84309"/>
                    <a:pt x="73431" y="67992"/>
                  </a:cubicBezTo>
                  <a:cubicBezTo>
                    <a:pt x="73431" y="67992"/>
                    <a:pt x="70712" y="67992"/>
                    <a:pt x="67992" y="67992"/>
                  </a:cubicBezTo>
                  <a:cubicBezTo>
                    <a:pt x="59833" y="67992"/>
                    <a:pt x="51674" y="67992"/>
                    <a:pt x="43515" y="67992"/>
                  </a:cubicBezTo>
                  <a:cubicBezTo>
                    <a:pt x="35356" y="67992"/>
                    <a:pt x="24477" y="67992"/>
                    <a:pt x="16318" y="62552"/>
                  </a:cubicBezTo>
                  <a:cubicBezTo>
                    <a:pt x="8159" y="59833"/>
                    <a:pt x="0" y="51674"/>
                    <a:pt x="0" y="46234"/>
                  </a:cubicBezTo>
                  <a:cubicBezTo>
                    <a:pt x="0" y="43515"/>
                    <a:pt x="0" y="38075"/>
                    <a:pt x="5439" y="35356"/>
                  </a:cubicBezTo>
                  <a:cubicBezTo>
                    <a:pt x="10879" y="32636"/>
                    <a:pt x="21758" y="29916"/>
                    <a:pt x="27197" y="27197"/>
                  </a:cubicBezTo>
                  <a:cubicBezTo>
                    <a:pt x="46234" y="24477"/>
                    <a:pt x="65272" y="21758"/>
                    <a:pt x="76151" y="21758"/>
                  </a:cubicBezTo>
                  <a:cubicBezTo>
                    <a:pt x="76151" y="19038"/>
                    <a:pt x="78871" y="16318"/>
                    <a:pt x="81590" y="13598"/>
                  </a:cubicBezTo>
                  <a:cubicBezTo>
                    <a:pt x="84310" y="10879"/>
                    <a:pt x="92469" y="5439"/>
                    <a:pt x="97908" y="5439"/>
                  </a:cubicBezTo>
                  <a:cubicBezTo>
                    <a:pt x="103347" y="2720"/>
                    <a:pt x="108787" y="0"/>
                    <a:pt x="114226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>
                <a:solidFill>
                  <a:srgbClr val="FFFFFF"/>
                </a:solidFill>
              </a:endParaRPr>
            </a:p>
          </p:txBody>
        </p:sp>
        <p:sp>
          <p:nvSpPr>
            <p:cNvPr id="46" name="Freeform: Shape 45">
              <a:extLst>
                <a:ext uri="{FF2B5EF4-FFF2-40B4-BE49-F238E27FC236}">
                  <a16:creationId xmlns:a16="http://schemas.microsoft.com/office/drawing/2014/main" id="{A7E978CE-B7FC-4134-A0E0-BB1C5A9FD982}"/>
                </a:ext>
              </a:extLst>
            </p:cNvPr>
            <p:cNvSpPr/>
            <p:nvPr/>
          </p:nvSpPr>
          <p:spPr>
            <a:xfrm>
              <a:off x="7310622" y="4197597"/>
              <a:ext cx="489539" cy="761503"/>
            </a:xfrm>
            <a:custGeom>
              <a:avLst/>
              <a:gdLst>
                <a:gd name="connsiteX0" fmla="*/ 433491 w 489538"/>
                <a:gd name="connsiteY0" fmla="*/ 651063 h 761503"/>
                <a:gd name="connsiteX1" fmla="*/ 438930 w 489538"/>
                <a:gd name="connsiteY1" fmla="*/ 661942 h 761503"/>
                <a:gd name="connsiteX2" fmla="*/ 425332 w 489538"/>
                <a:gd name="connsiteY2" fmla="*/ 683699 h 761503"/>
                <a:gd name="connsiteX3" fmla="*/ 400855 w 489538"/>
                <a:gd name="connsiteY3" fmla="*/ 691858 h 761503"/>
                <a:gd name="connsiteX4" fmla="*/ 343742 w 489538"/>
                <a:gd name="connsiteY4" fmla="*/ 700017 h 761503"/>
                <a:gd name="connsiteX5" fmla="*/ 316546 w 489538"/>
                <a:gd name="connsiteY5" fmla="*/ 705456 h 761503"/>
                <a:gd name="connsiteX6" fmla="*/ 275751 w 489538"/>
                <a:gd name="connsiteY6" fmla="*/ 705456 h 761503"/>
                <a:gd name="connsiteX7" fmla="*/ 264872 w 489538"/>
                <a:gd name="connsiteY7" fmla="*/ 708176 h 761503"/>
                <a:gd name="connsiteX8" fmla="*/ 253994 w 489538"/>
                <a:gd name="connsiteY8" fmla="*/ 708176 h 761503"/>
                <a:gd name="connsiteX9" fmla="*/ 240395 w 489538"/>
                <a:gd name="connsiteY9" fmla="*/ 719054 h 761503"/>
                <a:gd name="connsiteX10" fmla="*/ 224077 w 489538"/>
                <a:gd name="connsiteY10" fmla="*/ 721774 h 761503"/>
                <a:gd name="connsiteX11" fmla="*/ 205040 w 489538"/>
                <a:gd name="connsiteY11" fmla="*/ 724494 h 761503"/>
                <a:gd name="connsiteX12" fmla="*/ 191441 w 489538"/>
                <a:gd name="connsiteY12" fmla="*/ 727213 h 761503"/>
                <a:gd name="connsiteX13" fmla="*/ 169684 w 489538"/>
                <a:gd name="connsiteY13" fmla="*/ 721774 h 761503"/>
                <a:gd name="connsiteX14" fmla="*/ 150646 w 489538"/>
                <a:gd name="connsiteY14" fmla="*/ 708176 h 761503"/>
                <a:gd name="connsiteX15" fmla="*/ 139768 w 489538"/>
                <a:gd name="connsiteY15" fmla="*/ 708176 h 761503"/>
                <a:gd name="connsiteX16" fmla="*/ 120730 w 489538"/>
                <a:gd name="connsiteY16" fmla="*/ 708176 h 761503"/>
                <a:gd name="connsiteX17" fmla="*/ 98973 w 489538"/>
                <a:gd name="connsiteY17" fmla="*/ 708176 h 761503"/>
                <a:gd name="connsiteX18" fmla="*/ 74496 w 489538"/>
                <a:gd name="connsiteY18" fmla="*/ 702736 h 761503"/>
                <a:gd name="connsiteX19" fmla="*/ 58178 w 489538"/>
                <a:gd name="connsiteY19" fmla="*/ 683699 h 761503"/>
                <a:gd name="connsiteX20" fmla="*/ 63617 w 489538"/>
                <a:gd name="connsiteY20" fmla="*/ 675540 h 761503"/>
                <a:gd name="connsiteX21" fmla="*/ 85375 w 489538"/>
                <a:gd name="connsiteY21" fmla="*/ 667381 h 761503"/>
                <a:gd name="connsiteX22" fmla="*/ 128889 w 489538"/>
                <a:gd name="connsiteY22" fmla="*/ 661942 h 761503"/>
                <a:gd name="connsiteX23" fmla="*/ 128889 w 489538"/>
                <a:gd name="connsiteY23" fmla="*/ 602109 h 761503"/>
                <a:gd name="connsiteX24" fmla="*/ 126170 w 489538"/>
                <a:gd name="connsiteY24" fmla="*/ 523239 h 761503"/>
                <a:gd name="connsiteX25" fmla="*/ 126170 w 489538"/>
                <a:gd name="connsiteY25" fmla="*/ 468846 h 761503"/>
                <a:gd name="connsiteX26" fmla="*/ 123450 w 489538"/>
                <a:gd name="connsiteY26" fmla="*/ 409014 h 761503"/>
                <a:gd name="connsiteX27" fmla="*/ 123450 w 489538"/>
                <a:gd name="connsiteY27" fmla="*/ 384537 h 761503"/>
                <a:gd name="connsiteX28" fmla="*/ 126170 w 489538"/>
                <a:gd name="connsiteY28" fmla="*/ 349181 h 761503"/>
                <a:gd name="connsiteX29" fmla="*/ 126170 w 489538"/>
                <a:gd name="connsiteY29" fmla="*/ 324704 h 761503"/>
                <a:gd name="connsiteX30" fmla="*/ 128889 w 489538"/>
                <a:gd name="connsiteY30" fmla="*/ 292068 h 761503"/>
                <a:gd name="connsiteX31" fmla="*/ 134329 w 489538"/>
                <a:gd name="connsiteY31" fmla="*/ 234956 h 761503"/>
                <a:gd name="connsiteX32" fmla="*/ 134329 w 489538"/>
                <a:gd name="connsiteY32" fmla="*/ 172404 h 761503"/>
                <a:gd name="connsiteX33" fmla="*/ 137048 w 489538"/>
                <a:gd name="connsiteY33" fmla="*/ 123450 h 761503"/>
                <a:gd name="connsiteX34" fmla="*/ 123450 w 489538"/>
                <a:gd name="connsiteY34" fmla="*/ 123450 h 761503"/>
                <a:gd name="connsiteX35" fmla="*/ 101693 w 489538"/>
                <a:gd name="connsiteY35" fmla="*/ 123450 h 761503"/>
                <a:gd name="connsiteX36" fmla="*/ 77216 w 489538"/>
                <a:gd name="connsiteY36" fmla="*/ 118011 h 761503"/>
                <a:gd name="connsiteX37" fmla="*/ 60898 w 489538"/>
                <a:gd name="connsiteY37" fmla="*/ 98973 h 761503"/>
                <a:gd name="connsiteX38" fmla="*/ 66337 w 489538"/>
                <a:gd name="connsiteY38" fmla="*/ 90814 h 761503"/>
                <a:gd name="connsiteX39" fmla="*/ 88094 w 489538"/>
                <a:gd name="connsiteY39" fmla="*/ 82655 h 761503"/>
                <a:gd name="connsiteX40" fmla="*/ 145207 w 489538"/>
                <a:gd name="connsiteY40" fmla="*/ 77216 h 761503"/>
                <a:gd name="connsiteX41" fmla="*/ 145207 w 489538"/>
                <a:gd name="connsiteY41" fmla="*/ 77216 h 761503"/>
                <a:gd name="connsiteX42" fmla="*/ 153366 w 489538"/>
                <a:gd name="connsiteY42" fmla="*/ 69057 h 761503"/>
                <a:gd name="connsiteX43" fmla="*/ 177843 w 489538"/>
                <a:gd name="connsiteY43" fmla="*/ 60898 h 761503"/>
                <a:gd name="connsiteX44" fmla="*/ 196881 w 489538"/>
                <a:gd name="connsiteY44" fmla="*/ 58178 h 761503"/>
                <a:gd name="connsiteX45" fmla="*/ 205040 w 489538"/>
                <a:gd name="connsiteY45" fmla="*/ 58178 h 761503"/>
                <a:gd name="connsiteX46" fmla="*/ 215919 w 489538"/>
                <a:gd name="connsiteY46" fmla="*/ 63617 h 761503"/>
                <a:gd name="connsiteX47" fmla="*/ 229517 w 489538"/>
                <a:gd name="connsiteY47" fmla="*/ 69057 h 761503"/>
                <a:gd name="connsiteX48" fmla="*/ 256713 w 489538"/>
                <a:gd name="connsiteY48" fmla="*/ 77216 h 761503"/>
                <a:gd name="connsiteX49" fmla="*/ 264872 w 489538"/>
                <a:gd name="connsiteY49" fmla="*/ 77216 h 761503"/>
                <a:gd name="connsiteX50" fmla="*/ 281190 w 489538"/>
                <a:gd name="connsiteY50" fmla="*/ 77216 h 761503"/>
                <a:gd name="connsiteX51" fmla="*/ 330144 w 489538"/>
                <a:gd name="connsiteY51" fmla="*/ 77216 h 761503"/>
                <a:gd name="connsiteX52" fmla="*/ 357341 w 489538"/>
                <a:gd name="connsiteY52" fmla="*/ 79935 h 761503"/>
                <a:gd name="connsiteX53" fmla="*/ 387257 w 489538"/>
                <a:gd name="connsiteY53" fmla="*/ 82655 h 761503"/>
                <a:gd name="connsiteX54" fmla="*/ 406295 w 489538"/>
                <a:gd name="connsiteY54" fmla="*/ 85375 h 761503"/>
                <a:gd name="connsiteX55" fmla="*/ 417173 w 489538"/>
                <a:gd name="connsiteY55" fmla="*/ 79935 h 761503"/>
                <a:gd name="connsiteX56" fmla="*/ 425332 w 489538"/>
                <a:gd name="connsiteY56" fmla="*/ 85375 h 761503"/>
                <a:gd name="connsiteX57" fmla="*/ 433491 w 489538"/>
                <a:gd name="connsiteY57" fmla="*/ 104412 h 761503"/>
                <a:gd name="connsiteX58" fmla="*/ 436211 w 489538"/>
                <a:gd name="connsiteY58" fmla="*/ 137048 h 761503"/>
                <a:gd name="connsiteX59" fmla="*/ 438930 w 489538"/>
                <a:gd name="connsiteY59" fmla="*/ 183282 h 761503"/>
                <a:gd name="connsiteX60" fmla="*/ 422612 w 489538"/>
                <a:gd name="connsiteY60" fmla="*/ 218638 h 761503"/>
                <a:gd name="connsiteX61" fmla="*/ 406295 w 489538"/>
                <a:gd name="connsiteY61" fmla="*/ 213198 h 761503"/>
                <a:gd name="connsiteX62" fmla="*/ 398136 w 489538"/>
                <a:gd name="connsiteY62" fmla="*/ 196881 h 761503"/>
                <a:gd name="connsiteX63" fmla="*/ 395416 w 489538"/>
                <a:gd name="connsiteY63" fmla="*/ 175123 h 761503"/>
                <a:gd name="connsiteX64" fmla="*/ 395416 w 489538"/>
                <a:gd name="connsiteY64" fmla="*/ 153366 h 761503"/>
                <a:gd name="connsiteX65" fmla="*/ 395416 w 489538"/>
                <a:gd name="connsiteY65" fmla="*/ 126170 h 761503"/>
                <a:gd name="connsiteX66" fmla="*/ 370939 w 489538"/>
                <a:gd name="connsiteY66" fmla="*/ 128889 h 761503"/>
                <a:gd name="connsiteX67" fmla="*/ 338303 w 489538"/>
                <a:gd name="connsiteY67" fmla="*/ 131609 h 761503"/>
                <a:gd name="connsiteX68" fmla="*/ 286629 w 489538"/>
                <a:gd name="connsiteY68" fmla="*/ 134328 h 761503"/>
                <a:gd name="connsiteX69" fmla="*/ 273031 w 489538"/>
                <a:gd name="connsiteY69" fmla="*/ 137048 h 761503"/>
                <a:gd name="connsiteX70" fmla="*/ 262153 w 489538"/>
                <a:gd name="connsiteY70" fmla="*/ 142487 h 761503"/>
                <a:gd name="connsiteX71" fmla="*/ 259433 w 489538"/>
                <a:gd name="connsiteY71" fmla="*/ 153366 h 761503"/>
                <a:gd name="connsiteX72" fmla="*/ 262153 w 489538"/>
                <a:gd name="connsiteY72" fmla="*/ 166964 h 761503"/>
                <a:gd name="connsiteX73" fmla="*/ 262153 w 489538"/>
                <a:gd name="connsiteY73" fmla="*/ 196881 h 761503"/>
                <a:gd name="connsiteX74" fmla="*/ 262153 w 489538"/>
                <a:gd name="connsiteY74" fmla="*/ 215918 h 761503"/>
                <a:gd name="connsiteX75" fmla="*/ 262153 w 489538"/>
                <a:gd name="connsiteY75" fmla="*/ 251274 h 761503"/>
                <a:gd name="connsiteX76" fmla="*/ 259433 w 489538"/>
                <a:gd name="connsiteY76" fmla="*/ 278470 h 761503"/>
                <a:gd name="connsiteX77" fmla="*/ 259433 w 489538"/>
                <a:gd name="connsiteY77" fmla="*/ 308386 h 761503"/>
                <a:gd name="connsiteX78" fmla="*/ 259433 w 489538"/>
                <a:gd name="connsiteY78" fmla="*/ 321985 h 761503"/>
                <a:gd name="connsiteX79" fmla="*/ 259433 w 489538"/>
                <a:gd name="connsiteY79" fmla="*/ 332863 h 761503"/>
                <a:gd name="connsiteX80" fmla="*/ 267592 w 489538"/>
                <a:gd name="connsiteY80" fmla="*/ 335583 h 761503"/>
                <a:gd name="connsiteX81" fmla="*/ 281190 w 489538"/>
                <a:gd name="connsiteY81" fmla="*/ 335583 h 761503"/>
                <a:gd name="connsiteX82" fmla="*/ 327424 w 489538"/>
                <a:gd name="connsiteY82" fmla="*/ 338303 h 761503"/>
                <a:gd name="connsiteX83" fmla="*/ 351901 w 489538"/>
                <a:gd name="connsiteY83" fmla="*/ 341022 h 761503"/>
                <a:gd name="connsiteX84" fmla="*/ 351901 w 489538"/>
                <a:gd name="connsiteY84" fmla="*/ 335583 h 761503"/>
                <a:gd name="connsiteX85" fmla="*/ 351901 w 489538"/>
                <a:gd name="connsiteY85" fmla="*/ 313826 h 761503"/>
                <a:gd name="connsiteX86" fmla="*/ 357341 w 489538"/>
                <a:gd name="connsiteY86" fmla="*/ 289349 h 761503"/>
                <a:gd name="connsiteX87" fmla="*/ 373658 w 489538"/>
                <a:gd name="connsiteY87" fmla="*/ 273031 h 761503"/>
                <a:gd name="connsiteX88" fmla="*/ 381817 w 489538"/>
                <a:gd name="connsiteY88" fmla="*/ 278470 h 761503"/>
                <a:gd name="connsiteX89" fmla="*/ 389977 w 489538"/>
                <a:gd name="connsiteY89" fmla="*/ 300228 h 761503"/>
                <a:gd name="connsiteX90" fmla="*/ 395416 w 489538"/>
                <a:gd name="connsiteY90" fmla="*/ 351901 h 761503"/>
                <a:gd name="connsiteX91" fmla="*/ 398136 w 489538"/>
                <a:gd name="connsiteY91" fmla="*/ 409014 h 761503"/>
                <a:gd name="connsiteX92" fmla="*/ 381817 w 489538"/>
                <a:gd name="connsiteY92" fmla="*/ 444369 h 761503"/>
                <a:gd name="connsiteX93" fmla="*/ 365500 w 489538"/>
                <a:gd name="connsiteY93" fmla="*/ 438930 h 761503"/>
                <a:gd name="connsiteX94" fmla="*/ 357341 w 489538"/>
                <a:gd name="connsiteY94" fmla="*/ 422612 h 761503"/>
                <a:gd name="connsiteX95" fmla="*/ 354621 w 489538"/>
                <a:gd name="connsiteY95" fmla="*/ 400855 h 761503"/>
                <a:gd name="connsiteX96" fmla="*/ 354621 w 489538"/>
                <a:gd name="connsiteY96" fmla="*/ 381817 h 761503"/>
                <a:gd name="connsiteX97" fmla="*/ 270312 w 489538"/>
                <a:gd name="connsiteY97" fmla="*/ 381817 h 761503"/>
                <a:gd name="connsiteX98" fmla="*/ 256713 w 489538"/>
                <a:gd name="connsiteY98" fmla="*/ 395415 h 761503"/>
                <a:gd name="connsiteX99" fmla="*/ 253994 w 489538"/>
                <a:gd name="connsiteY99" fmla="*/ 422612 h 761503"/>
                <a:gd name="connsiteX100" fmla="*/ 253994 w 489538"/>
                <a:gd name="connsiteY100" fmla="*/ 433490 h 761503"/>
                <a:gd name="connsiteX101" fmla="*/ 253994 w 489538"/>
                <a:gd name="connsiteY101" fmla="*/ 449809 h 761503"/>
                <a:gd name="connsiteX102" fmla="*/ 256713 w 489538"/>
                <a:gd name="connsiteY102" fmla="*/ 474285 h 761503"/>
                <a:gd name="connsiteX103" fmla="*/ 256713 w 489538"/>
                <a:gd name="connsiteY103" fmla="*/ 496043 h 761503"/>
                <a:gd name="connsiteX104" fmla="*/ 259433 w 489538"/>
                <a:gd name="connsiteY104" fmla="*/ 534118 h 761503"/>
                <a:gd name="connsiteX105" fmla="*/ 259433 w 489538"/>
                <a:gd name="connsiteY105" fmla="*/ 591231 h 761503"/>
                <a:gd name="connsiteX106" fmla="*/ 262153 w 489538"/>
                <a:gd name="connsiteY106" fmla="*/ 618427 h 761503"/>
                <a:gd name="connsiteX107" fmla="*/ 267592 w 489538"/>
                <a:gd name="connsiteY107" fmla="*/ 648343 h 761503"/>
                <a:gd name="connsiteX108" fmla="*/ 292069 w 489538"/>
                <a:gd name="connsiteY108" fmla="*/ 651063 h 761503"/>
                <a:gd name="connsiteX109" fmla="*/ 327424 w 489538"/>
                <a:gd name="connsiteY109" fmla="*/ 651063 h 761503"/>
                <a:gd name="connsiteX110" fmla="*/ 362780 w 489538"/>
                <a:gd name="connsiteY110" fmla="*/ 653783 h 761503"/>
                <a:gd name="connsiteX111" fmla="*/ 395416 w 489538"/>
                <a:gd name="connsiteY111" fmla="*/ 648343 h 761503"/>
                <a:gd name="connsiteX112" fmla="*/ 395416 w 489538"/>
                <a:gd name="connsiteY112" fmla="*/ 618427 h 761503"/>
                <a:gd name="connsiteX113" fmla="*/ 395416 w 489538"/>
                <a:gd name="connsiteY113" fmla="*/ 596670 h 761503"/>
                <a:gd name="connsiteX114" fmla="*/ 398136 w 489538"/>
                <a:gd name="connsiteY114" fmla="*/ 574913 h 761503"/>
                <a:gd name="connsiteX115" fmla="*/ 406295 w 489538"/>
                <a:gd name="connsiteY115" fmla="*/ 558595 h 761503"/>
                <a:gd name="connsiteX116" fmla="*/ 422612 w 489538"/>
                <a:gd name="connsiteY116" fmla="*/ 553155 h 761503"/>
                <a:gd name="connsiteX117" fmla="*/ 438930 w 489538"/>
                <a:gd name="connsiteY117" fmla="*/ 588511 h 761503"/>
                <a:gd name="connsiteX118" fmla="*/ 436211 w 489538"/>
                <a:gd name="connsiteY118" fmla="*/ 645624 h 761503"/>
                <a:gd name="connsiteX119" fmla="*/ 433491 w 489538"/>
                <a:gd name="connsiteY119" fmla="*/ 651063 h 761503"/>
                <a:gd name="connsiteX120" fmla="*/ 433491 w 489538"/>
                <a:gd name="connsiteY120" fmla="*/ 651063 h 761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</a:cxnLst>
              <a:rect l="l" t="t" r="r" b="b"/>
              <a:pathLst>
                <a:path w="489538" h="761503">
                  <a:moveTo>
                    <a:pt x="433491" y="651063"/>
                  </a:moveTo>
                  <a:cubicBezTo>
                    <a:pt x="436211" y="653783"/>
                    <a:pt x="438930" y="656502"/>
                    <a:pt x="438930" y="661942"/>
                  </a:cubicBezTo>
                  <a:cubicBezTo>
                    <a:pt x="438930" y="670101"/>
                    <a:pt x="433491" y="678259"/>
                    <a:pt x="425332" y="683699"/>
                  </a:cubicBezTo>
                  <a:cubicBezTo>
                    <a:pt x="417173" y="689138"/>
                    <a:pt x="409014" y="689138"/>
                    <a:pt x="400855" y="691858"/>
                  </a:cubicBezTo>
                  <a:cubicBezTo>
                    <a:pt x="381817" y="694578"/>
                    <a:pt x="362780" y="694578"/>
                    <a:pt x="343742" y="700017"/>
                  </a:cubicBezTo>
                  <a:cubicBezTo>
                    <a:pt x="335583" y="702736"/>
                    <a:pt x="324705" y="702736"/>
                    <a:pt x="316546" y="705456"/>
                  </a:cubicBezTo>
                  <a:cubicBezTo>
                    <a:pt x="308387" y="705456"/>
                    <a:pt x="289349" y="705456"/>
                    <a:pt x="275751" y="705456"/>
                  </a:cubicBezTo>
                  <a:cubicBezTo>
                    <a:pt x="270312" y="705456"/>
                    <a:pt x="267592" y="708176"/>
                    <a:pt x="264872" y="708176"/>
                  </a:cubicBezTo>
                  <a:cubicBezTo>
                    <a:pt x="264872" y="708176"/>
                    <a:pt x="259433" y="708176"/>
                    <a:pt x="253994" y="708176"/>
                  </a:cubicBezTo>
                  <a:cubicBezTo>
                    <a:pt x="251274" y="713615"/>
                    <a:pt x="245835" y="716335"/>
                    <a:pt x="240395" y="719054"/>
                  </a:cubicBezTo>
                  <a:cubicBezTo>
                    <a:pt x="234956" y="721774"/>
                    <a:pt x="229517" y="721774"/>
                    <a:pt x="224077" y="721774"/>
                  </a:cubicBezTo>
                  <a:cubicBezTo>
                    <a:pt x="218638" y="721774"/>
                    <a:pt x="213199" y="724494"/>
                    <a:pt x="205040" y="724494"/>
                  </a:cubicBezTo>
                  <a:cubicBezTo>
                    <a:pt x="202320" y="724494"/>
                    <a:pt x="194161" y="727213"/>
                    <a:pt x="191441" y="727213"/>
                  </a:cubicBezTo>
                  <a:cubicBezTo>
                    <a:pt x="183282" y="727213"/>
                    <a:pt x="172404" y="721774"/>
                    <a:pt x="169684" y="721774"/>
                  </a:cubicBezTo>
                  <a:cubicBezTo>
                    <a:pt x="164245" y="719054"/>
                    <a:pt x="156086" y="713615"/>
                    <a:pt x="150646" y="708176"/>
                  </a:cubicBezTo>
                  <a:cubicBezTo>
                    <a:pt x="145207" y="708176"/>
                    <a:pt x="139768" y="708176"/>
                    <a:pt x="139768" y="708176"/>
                  </a:cubicBezTo>
                  <a:cubicBezTo>
                    <a:pt x="126170" y="708176"/>
                    <a:pt x="137048" y="708176"/>
                    <a:pt x="120730" y="708176"/>
                  </a:cubicBezTo>
                  <a:cubicBezTo>
                    <a:pt x="112571" y="708176"/>
                    <a:pt x="104412" y="708176"/>
                    <a:pt x="98973" y="708176"/>
                  </a:cubicBezTo>
                  <a:cubicBezTo>
                    <a:pt x="90814" y="708176"/>
                    <a:pt x="79936" y="708176"/>
                    <a:pt x="74496" y="702736"/>
                  </a:cubicBezTo>
                  <a:cubicBezTo>
                    <a:pt x="66337" y="700017"/>
                    <a:pt x="58178" y="689138"/>
                    <a:pt x="58178" y="683699"/>
                  </a:cubicBezTo>
                  <a:cubicBezTo>
                    <a:pt x="58178" y="680979"/>
                    <a:pt x="58178" y="678259"/>
                    <a:pt x="63617" y="675540"/>
                  </a:cubicBezTo>
                  <a:cubicBezTo>
                    <a:pt x="69057" y="672820"/>
                    <a:pt x="77216" y="670101"/>
                    <a:pt x="85375" y="667381"/>
                  </a:cubicBezTo>
                  <a:cubicBezTo>
                    <a:pt x="98973" y="664661"/>
                    <a:pt x="115291" y="664661"/>
                    <a:pt x="128889" y="661942"/>
                  </a:cubicBezTo>
                  <a:cubicBezTo>
                    <a:pt x="128889" y="645624"/>
                    <a:pt x="128889" y="623866"/>
                    <a:pt x="128889" y="602109"/>
                  </a:cubicBezTo>
                  <a:cubicBezTo>
                    <a:pt x="128889" y="566754"/>
                    <a:pt x="128889" y="531398"/>
                    <a:pt x="126170" y="523239"/>
                  </a:cubicBezTo>
                  <a:cubicBezTo>
                    <a:pt x="126170" y="517800"/>
                    <a:pt x="126170" y="487884"/>
                    <a:pt x="126170" y="468846"/>
                  </a:cubicBezTo>
                  <a:cubicBezTo>
                    <a:pt x="126170" y="449809"/>
                    <a:pt x="123450" y="430771"/>
                    <a:pt x="123450" y="409014"/>
                  </a:cubicBezTo>
                  <a:cubicBezTo>
                    <a:pt x="123450" y="400855"/>
                    <a:pt x="123450" y="392696"/>
                    <a:pt x="123450" y="384537"/>
                  </a:cubicBezTo>
                  <a:cubicBezTo>
                    <a:pt x="123450" y="373658"/>
                    <a:pt x="126170" y="360060"/>
                    <a:pt x="126170" y="349181"/>
                  </a:cubicBezTo>
                  <a:cubicBezTo>
                    <a:pt x="126170" y="341022"/>
                    <a:pt x="126170" y="332863"/>
                    <a:pt x="126170" y="324704"/>
                  </a:cubicBezTo>
                  <a:cubicBezTo>
                    <a:pt x="126170" y="313826"/>
                    <a:pt x="126170" y="302947"/>
                    <a:pt x="128889" y="292068"/>
                  </a:cubicBezTo>
                  <a:cubicBezTo>
                    <a:pt x="131609" y="273031"/>
                    <a:pt x="134329" y="253993"/>
                    <a:pt x="134329" y="234956"/>
                  </a:cubicBezTo>
                  <a:cubicBezTo>
                    <a:pt x="134329" y="213198"/>
                    <a:pt x="134329" y="191441"/>
                    <a:pt x="134329" y="172404"/>
                  </a:cubicBezTo>
                  <a:cubicBezTo>
                    <a:pt x="134329" y="156086"/>
                    <a:pt x="134329" y="139768"/>
                    <a:pt x="137048" y="123450"/>
                  </a:cubicBezTo>
                  <a:cubicBezTo>
                    <a:pt x="131609" y="123450"/>
                    <a:pt x="134329" y="123450"/>
                    <a:pt x="123450" y="123450"/>
                  </a:cubicBezTo>
                  <a:cubicBezTo>
                    <a:pt x="115291" y="123450"/>
                    <a:pt x="107132" y="123450"/>
                    <a:pt x="101693" y="123450"/>
                  </a:cubicBezTo>
                  <a:cubicBezTo>
                    <a:pt x="93534" y="123450"/>
                    <a:pt x="82655" y="123450"/>
                    <a:pt x="77216" y="118011"/>
                  </a:cubicBezTo>
                  <a:cubicBezTo>
                    <a:pt x="69057" y="115291"/>
                    <a:pt x="60898" y="101693"/>
                    <a:pt x="60898" y="98973"/>
                  </a:cubicBezTo>
                  <a:cubicBezTo>
                    <a:pt x="60898" y="96253"/>
                    <a:pt x="60898" y="93534"/>
                    <a:pt x="66337" y="90814"/>
                  </a:cubicBezTo>
                  <a:cubicBezTo>
                    <a:pt x="71777" y="88094"/>
                    <a:pt x="79936" y="85375"/>
                    <a:pt x="88094" y="82655"/>
                  </a:cubicBezTo>
                  <a:cubicBezTo>
                    <a:pt x="104412" y="79935"/>
                    <a:pt x="131609" y="77216"/>
                    <a:pt x="145207" y="77216"/>
                  </a:cubicBezTo>
                  <a:cubicBezTo>
                    <a:pt x="145207" y="77216"/>
                    <a:pt x="145207" y="77216"/>
                    <a:pt x="145207" y="77216"/>
                  </a:cubicBezTo>
                  <a:cubicBezTo>
                    <a:pt x="145207" y="74496"/>
                    <a:pt x="150646" y="71776"/>
                    <a:pt x="153366" y="69057"/>
                  </a:cubicBezTo>
                  <a:cubicBezTo>
                    <a:pt x="161525" y="63617"/>
                    <a:pt x="169684" y="63617"/>
                    <a:pt x="177843" y="60898"/>
                  </a:cubicBezTo>
                  <a:cubicBezTo>
                    <a:pt x="183282" y="58178"/>
                    <a:pt x="191441" y="58178"/>
                    <a:pt x="196881" y="58178"/>
                  </a:cubicBezTo>
                  <a:cubicBezTo>
                    <a:pt x="199600" y="58178"/>
                    <a:pt x="202320" y="58178"/>
                    <a:pt x="205040" y="58178"/>
                  </a:cubicBezTo>
                  <a:cubicBezTo>
                    <a:pt x="207759" y="58178"/>
                    <a:pt x="213199" y="60898"/>
                    <a:pt x="215919" y="63617"/>
                  </a:cubicBezTo>
                  <a:cubicBezTo>
                    <a:pt x="221358" y="66337"/>
                    <a:pt x="224077" y="66337"/>
                    <a:pt x="229517" y="69057"/>
                  </a:cubicBezTo>
                  <a:cubicBezTo>
                    <a:pt x="237675" y="71776"/>
                    <a:pt x="245835" y="77216"/>
                    <a:pt x="256713" y="77216"/>
                  </a:cubicBezTo>
                  <a:cubicBezTo>
                    <a:pt x="259433" y="77216"/>
                    <a:pt x="262153" y="77216"/>
                    <a:pt x="264872" y="77216"/>
                  </a:cubicBezTo>
                  <a:cubicBezTo>
                    <a:pt x="270312" y="77216"/>
                    <a:pt x="275751" y="77216"/>
                    <a:pt x="281190" y="77216"/>
                  </a:cubicBezTo>
                  <a:cubicBezTo>
                    <a:pt x="292069" y="77216"/>
                    <a:pt x="321985" y="77216"/>
                    <a:pt x="330144" y="77216"/>
                  </a:cubicBezTo>
                  <a:cubicBezTo>
                    <a:pt x="338303" y="77216"/>
                    <a:pt x="349182" y="77216"/>
                    <a:pt x="357341" y="79935"/>
                  </a:cubicBezTo>
                  <a:cubicBezTo>
                    <a:pt x="368219" y="79935"/>
                    <a:pt x="379098" y="82655"/>
                    <a:pt x="387257" y="82655"/>
                  </a:cubicBezTo>
                  <a:cubicBezTo>
                    <a:pt x="392696" y="82655"/>
                    <a:pt x="400855" y="85375"/>
                    <a:pt x="406295" y="85375"/>
                  </a:cubicBezTo>
                  <a:cubicBezTo>
                    <a:pt x="409014" y="82655"/>
                    <a:pt x="414453" y="79935"/>
                    <a:pt x="417173" y="79935"/>
                  </a:cubicBezTo>
                  <a:cubicBezTo>
                    <a:pt x="419893" y="79935"/>
                    <a:pt x="422612" y="79935"/>
                    <a:pt x="425332" y="85375"/>
                  </a:cubicBezTo>
                  <a:cubicBezTo>
                    <a:pt x="428052" y="90814"/>
                    <a:pt x="433491" y="98973"/>
                    <a:pt x="433491" y="104412"/>
                  </a:cubicBezTo>
                  <a:cubicBezTo>
                    <a:pt x="436211" y="131609"/>
                    <a:pt x="436211" y="120730"/>
                    <a:pt x="436211" y="137048"/>
                  </a:cubicBezTo>
                  <a:cubicBezTo>
                    <a:pt x="438930" y="158805"/>
                    <a:pt x="438930" y="158805"/>
                    <a:pt x="438930" y="183282"/>
                  </a:cubicBezTo>
                  <a:cubicBezTo>
                    <a:pt x="438930" y="194161"/>
                    <a:pt x="438930" y="218638"/>
                    <a:pt x="422612" y="218638"/>
                  </a:cubicBezTo>
                  <a:cubicBezTo>
                    <a:pt x="414453" y="218638"/>
                    <a:pt x="411734" y="215918"/>
                    <a:pt x="406295" y="213198"/>
                  </a:cubicBezTo>
                  <a:cubicBezTo>
                    <a:pt x="400855" y="210479"/>
                    <a:pt x="398136" y="202320"/>
                    <a:pt x="398136" y="196881"/>
                  </a:cubicBezTo>
                  <a:cubicBezTo>
                    <a:pt x="395416" y="188722"/>
                    <a:pt x="395416" y="183282"/>
                    <a:pt x="395416" y="175123"/>
                  </a:cubicBezTo>
                  <a:cubicBezTo>
                    <a:pt x="395416" y="169684"/>
                    <a:pt x="395416" y="164245"/>
                    <a:pt x="395416" y="153366"/>
                  </a:cubicBezTo>
                  <a:cubicBezTo>
                    <a:pt x="395416" y="145207"/>
                    <a:pt x="395416" y="134328"/>
                    <a:pt x="395416" y="126170"/>
                  </a:cubicBezTo>
                  <a:cubicBezTo>
                    <a:pt x="387257" y="128889"/>
                    <a:pt x="379098" y="128889"/>
                    <a:pt x="370939" y="128889"/>
                  </a:cubicBezTo>
                  <a:cubicBezTo>
                    <a:pt x="360060" y="128889"/>
                    <a:pt x="349182" y="128889"/>
                    <a:pt x="338303" y="131609"/>
                  </a:cubicBezTo>
                  <a:cubicBezTo>
                    <a:pt x="327424" y="131609"/>
                    <a:pt x="319265" y="134328"/>
                    <a:pt x="286629" y="134328"/>
                  </a:cubicBezTo>
                  <a:cubicBezTo>
                    <a:pt x="281190" y="134328"/>
                    <a:pt x="278470" y="134328"/>
                    <a:pt x="273031" y="137048"/>
                  </a:cubicBezTo>
                  <a:cubicBezTo>
                    <a:pt x="270312" y="137048"/>
                    <a:pt x="264872" y="137048"/>
                    <a:pt x="262153" y="142487"/>
                  </a:cubicBezTo>
                  <a:cubicBezTo>
                    <a:pt x="259433" y="145207"/>
                    <a:pt x="259433" y="150647"/>
                    <a:pt x="259433" y="153366"/>
                  </a:cubicBezTo>
                  <a:cubicBezTo>
                    <a:pt x="259433" y="158805"/>
                    <a:pt x="259433" y="164245"/>
                    <a:pt x="262153" y="166964"/>
                  </a:cubicBezTo>
                  <a:cubicBezTo>
                    <a:pt x="262153" y="177843"/>
                    <a:pt x="262153" y="186002"/>
                    <a:pt x="262153" y="196881"/>
                  </a:cubicBezTo>
                  <a:cubicBezTo>
                    <a:pt x="262153" y="202320"/>
                    <a:pt x="262153" y="210479"/>
                    <a:pt x="262153" y="215918"/>
                  </a:cubicBezTo>
                  <a:cubicBezTo>
                    <a:pt x="262153" y="229516"/>
                    <a:pt x="262153" y="240395"/>
                    <a:pt x="262153" y="251274"/>
                  </a:cubicBezTo>
                  <a:cubicBezTo>
                    <a:pt x="262153" y="259433"/>
                    <a:pt x="259433" y="270311"/>
                    <a:pt x="259433" y="278470"/>
                  </a:cubicBezTo>
                  <a:cubicBezTo>
                    <a:pt x="259433" y="289349"/>
                    <a:pt x="259433" y="297508"/>
                    <a:pt x="259433" y="308386"/>
                  </a:cubicBezTo>
                  <a:cubicBezTo>
                    <a:pt x="259433" y="313826"/>
                    <a:pt x="259433" y="319265"/>
                    <a:pt x="259433" y="321985"/>
                  </a:cubicBezTo>
                  <a:cubicBezTo>
                    <a:pt x="259433" y="324704"/>
                    <a:pt x="259433" y="330144"/>
                    <a:pt x="259433" y="332863"/>
                  </a:cubicBezTo>
                  <a:cubicBezTo>
                    <a:pt x="262153" y="335583"/>
                    <a:pt x="264872" y="335583"/>
                    <a:pt x="267592" y="335583"/>
                  </a:cubicBezTo>
                  <a:cubicBezTo>
                    <a:pt x="273031" y="335583"/>
                    <a:pt x="275751" y="335583"/>
                    <a:pt x="281190" y="335583"/>
                  </a:cubicBezTo>
                  <a:cubicBezTo>
                    <a:pt x="311107" y="335583"/>
                    <a:pt x="319265" y="335583"/>
                    <a:pt x="327424" y="338303"/>
                  </a:cubicBezTo>
                  <a:cubicBezTo>
                    <a:pt x="335583" y="341022"/>
                    <a:pt x="343742" y="341022"/>
                    <a:pt x="351901" y="341022"/>
                  </a:cubicBezTo>
                  <a:cubicBezTo>
                    <a:pt x="351901" y="338303"/>
                    <a:pt x="351901" y="338303"/>
                    <a:pt x="351901" y="335583"/>
                  </a:cubicBezTo>
                  <a:cubicBezTo>
                    <a:pt x="351901" y="327424"/>
                    <a:pt x="351901" y="319265"/>
                    <a:pt x="351901" y="313826"/>
                  </a:cubicBezTo>
                  <a:cubicBezTo>
                    <a:pt x="351901" y="305667"/>
                    <a:pt x="351901" y="294788"/>
                    <a:pt x="357341" y="289349"/>
                  </a:cubicBezTo>
                  <a:cubicBezTo>
                    <a:pt x="360060" y="281190"/>
                    <a:pt x="368219" y="273031"/>
                    <a:pt x="373658" y="273031"/>
                  </a:cubicBezTo>
                  <a:cubicBezTo>
                    <a:pt x="376378" y="273031"/>
                    <a:pt x="379098" y="273031"/>
                    <a:pt x="381817" y="278470"/>
                  </a:cubicBezTo>
                  <a:cubicBezTo>
                    <a:pt x="384537" y="283909"/>
                    <a:pt x="387257" y="292068"/>
                    <a:pt x="389977" y="300228"/>
                  </a:cubicBezTo>
                  <a:cubicBezTo>
                    <a:pt x="392696" y="316545"/>
                    <a:pt x="392696" y="335583"/>
                    <a:pt x="395416" y="351901"/>
                  </a:cubicBezTo>
                  <a:cubicBezTo>
                    <a:pt x="398136" y="373658"/>
                    <a:pt x="398136" y="384537"/>
                    <a:pt x="398136" y="409014"/>
                  </a:cubicBezTo>
                  <a:cubicBezTo>
                    <a:pt x="398136" y="422612"/>
                    <a:pt x="398136" y="444369"/>
                    <a:pt x="381817" y="444369"/>
                  </a:cubicBezTo>
                  <a:cubicBezTo>
                    <a:pt x="373658" y="444369"/>
                    <a:pt x="370939" y="441650"/>
                    <a:pt x="365500" y="438930"/>
                  </a:cubicBezTo>
                  <a:cubicBezTo>
                    <a:pt x="360060" y="436210"/>
                    <a:pt x="357341" y="428051"/>
                    <a:pt x="357341" y="422612"/>
                  </a:cubicBezTo>
                  <a:cubicBezTo>
                    <a:pt x="354621" y="414453"/>
                    <a:pt x="354621" y="409014"/>
                    <a:pt x="354621" y="400855"/>
                  </a:cubicBezTo>
                  <a:cubicBezTo>
                    <a:pt x="354621" y="395415"/>
                    <a:pt x="354621" y="389976"/>
                    <a:pt x="354621" y="381817"/>
                  </a:cubicBezTo>
                  <a:cubicBezTo>
                    <a:pt x="335583" y="381817"/>
                    <a:pt x="308387" y="384537"/>
                    <a:pt x="270312" y="381817"/>
                  </a:cubicBezTo>
                  <a:cubicBezTo>
                    <a:pt x="262153" y="381817"/>
                    <a:pt x="256713" y="387256"/>
                    <a:pt x="256713" y="395415"/>
                  </a:cubicBezTo>
                  <a:cubicBezTo>
                    <a:pt x="256713" y="403574"/>
                    <a:pt x="256713" y="414453"/>
                    <a:pt x="253994" y="422612"/>
                  </a:cubicBezTo>
                  <a:cubicBezTo>
                    <a:pt x="253994" y="425332"/>
                    <a:pt x="253994" y="430771"/>
                    <a:pt x="253994" y="433490"/>
                  </a:cubicBezTo>
                  <a:cubicBezTo>
                    <a:pt x="253994" y="438930"/>
                    <a:pt x="253994" y="444369"/>
                    <a:pt x="253994" y="449809"/>
                  </a:cubicBezTo>
                  <a:cubicBezTo>
                    <a:pt x="253994" y="457967"/>
                    <a:pt x="256713" y="466126"/>
                    <a:pt x="256713" y="474285"/>
                  </a:cubicBezTo>
                  <a:cubicBezTo>
                    <a:pt x="256713" y="482444"/>
                    <a:pt x="256713" y="490603"/>
                    <a:pt x="256713" y="496043"/>
                  </a:cubicBezTo>
                  <a:cubicBezTo>
                    <a:pt x="256713" y="509641"/>
                    <a:pt x="259433" y="520520"/>
                    <a:pt x="259433" y="534118"/>
                  </a:cubicBezTo>
                  <a:cubicBezTo>
                    <a:pt x="259433" y="553155"/>
                    <a:pt x="259433" y="572193"/>
                    <a:pt x="259433" y="591231"/>
                  </a:cubicBezTo>
                  <a:cubicBezTo>
                    <a:pt x="259433" y="602109"/>
                    <a:pt x="262153" y="610268"/>
                    <a:pt x="262153" y="618427"/>
                  </a:cubicBezTo>
                  <a:cubicBezTo>
                    <a:pt x="264872" y="626586"/>
                    <a:pt x="262153" y="642904"/>
                    <a:pt x="267592" y="648343"/>
                  </a:cubicBezTo>
                  <a:cubicBezTo>
                    <a:pt x="270312" y="651063"/>
                    <a:pt x="275751" y="651063"/>
                    <a:pt x="292069" y="651063"/>
                  </a:cubicBezTo>
                  <a:cubicBezTo>
                    <a:pt x="305667" y="651063"/>
                    <a:pt x="319265" y="651063"/>
                    <a:pt x="327424" y="651063"/>
                  </a:cubicBezTo>
                  <a:cubicBezTo>
                    <a:pt x="338303" y="651063"/>
                    <a:pt x="351901" y="653783"/>
                    <a:pt x="362780" y="653783"/>
                  </a:cubicBezTo>
                  <a:cubicBezTo>
                    <a:pt x="376378" y="653783"/>
                    <a:pt x="384537" y="651063"/>
                    <a:pt x="395416" y="648343"/>
                  </a:cubicBezTo>
                  <a:cubicBezTo>
                    <a:pt x="395416" y="637465"/>
                    <a:pt x="395416" y="629306"/>
                    <a:pt x="395416" y="618427"/>
                  </a:cubicBezTo>
                  <a:cubicBezTo>
                    <a:pt x="395416" y="610268"/>
                    <a:pt x="395416" y="602109"/>
                    <a:pt x="395416" y="596670"/>
                  </a:cubicBezTo>
                  <a:cubicBezTo>
                    <a:pt x="395416" y="591231"/>
                    <a:pt x="395416" y="585791"/>
                    <a:pt x="398136" y="574913"/>
                  </a:cubicBezTo>
                  <a:cubicBezTo>
                    <a:pt x="400855" y="569473"/>
                    <a:pt x="400855" y="564034"/>
                    <a:pt x="406295" y="558595"/>
                  </a:cubicBezTo>
                  <a:cubicBezTo>
                    <a:pt x="411734" y="553155"/>
                    <a:pt x="414453" y="553155"/>
                    <a:pt x="422612" y="553155"/>
                  </a:cubicBezTo>
                  <a:cubicBezTo>
                    <a:pt x="436211" y="553155"/>
                    <a:pt x="438930" y="577632"/>
                    <a:pt x="438930" y="588511"/>
                  </a:cubicBezTo>
                  <a:cubicBezTo>
                    <a:pt x="438930" y="612988"/>
                    <a:pt x="438930" y="623866"/>
                    <a:pt x="436211" y="645624"/>
                  </a:cubicBezTo>
                  <a:cubicBezTo>
                    <a:pt x="433491" y="648343"/>
                    <a:pt x="433491" y="648343"/>
                    <a:pt x="433491" y="651063"/>
                  </a:cubicBezTo>
                  <a:lnTo>
                    <a:pt x="433491" y="651063"/>
                  </a:ln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>
                <a:solidFill>
                  <a:srgbClr val="FFFFFF"/>
                </a:solidFill>
              </a:endParaRPr>
            </a:p>
          </p:txBody>
        </p:sp>
        <p:sp>
          <p:nvSpPr>
            <p:cNvPr id="47" name="Freeform: Shape 46">
              <a:extLst>
                <a:ext uri="{FF2B5EF4-FFF2-40B4-BE49-F238E27FC236}">
                  <a16:creationId xmlns:a16="http://schemas.microsoft.com/office/drawing/2014/main" id="{8D2DE57F-1699-43AB-8646-668F794713B2}"/>
                </a:ext>
              </a:extLst>
            </p:cNvPr>
            <p:cNvSpPr/>
            <p:nvPr/>
          </p:nvSpPr>
          <p:spPr>
            <a:xfrm>
              <a:off x="7912732" y="4250336"/>
              <a:ext cx="465062" cy="658157"/>
            </a:xfrm>
            <a:custGeom>
              <a:avLst/>
              <a:gdLst>
                <a:gd name="connsiteX0" fmla="*/ 193096 w 465062"/>
                <a:gd name="connsiteY0" fmla="*/ 59832 h 658157"/>
                <a:gd name="connsiteX1" fmla="*/ 193096 w 465062"/>
                <a:gd name="connsiteY1" fmla="*/ 114226 h 658157"/>
                <a:gd name="connsiteX2" fmla="*/ 198536 w 465062"/>
                <a:gd name="connsiteY2" fmla="*/ 209414 h 658157"/>
                <a:gd name="connsiteX3" fmla="*/ 201255 w 465062"/>
                <a:gd name="connsiteY3" fmla="*/ 282845 h 658157"/>
                <a:gd name="connsiteX4" fmla="*/ 203975 w 465062"/>
                <a:gd name="connsiteY4" fmla="*/ 315481 h 658157"/>
                <a:gd name="connsiteX5" fmla="*/ 203975 w 465062"/>
                <a:gd name="connsiteY5" fmla="*/ 320920 h 658157"/>
                <a:gd name="connsiteX6" fmla="*/ 212134 w 465062"/>
                <a:gd name="connsiteY6" fmla="*/ 329079 h 658157"/>
                <a:gd name="connsiteX7" fmla="*/ 223013 w 465062"/>
                <a:gd name="connsiteY7" fmla="*/ 329079 h 658157"/>
                <a:gd name="connsiteX8" fmla="*/ 239331 w 465062"/>
                <a:gd name="connsiteY8" fmla="*/ 329079 h 658157"/>
                <a:gd name="connsiteX9" fmla="*/ 280126 w 465062"/>
                <a:gd name="connsiteY9" fmla="*/ 312761 h 658157"/>
                <a:gd name="connsiteX10" fmla="*/ 296443 w 465062"/>
                <a:gd name="connsiteY10" fmla="*/ 288284 h 658157"/>
                <a:gd name="connsiteX11" fmla="*/ 304602 w 465062"/>
                <a:gd name="connsiteY11" fmla="*/ 258368 h 658157"/>
                <a:gd name="connsiteX12" fmla="*/ 312761 w 465062"/>
                <a:gd name="connsiteY12" fmla="*/ 225732 h 658157"/>
                <a:gd name="connsiteX13" fmla="*/ 315481 w 465062"/>
                <a:gd name="connsiteY13" fmla="*/ 195816 h 658157"/>
                <a:gd name="connsiteX14" fmla="*/ 318201 w 465062"/>
                <a:gd name="connsiteY14" fmla="*/ 168619 h 658157"/>
                <a:gd name="connsiteX15" fmla="*/ 312761 w 465062"/>
                <a:gd name="connsiteY15" fmla="*/ 135983 h 658157"/>
                <a:gd name="connsiteX16" fmla="*/ 312761 w 465062"/>
                <a:gd name="connsiteY16" fmla="*/ 122385 h 658157"/>
                <a:gd name="connsiteX17" fmla="*/ 293724 w 465062"/>
                <a:gd name="connsiteY17" fmla="*/ 84309 h 658157"/>
                <a:gd name="connsiteX18" fmla="*/ 280126 w 465062"/>
                <a:gd name="connsiteY18" fmla="*/ 73430 h 658157"/>
                <a:gd name="connsiteX19" fmla="*/ 258368 w 465062"/>
                <a:gd name="connsiteY19" fmla="*/ 62552 h 658157"/>
                <a:gd name="connsiteX20" fmla="*/ 217573 w 465062"/>
                <a:gd name="connsiteY20" fmla="*/ 59832 h 658157"/>
                <a:gd name="connsiteX21" fmla="*/ 111506 w 465062"/>
                <a:gd name="connsiteY21" fmla="*/ 0 h 658157"/>
                <a:gd name="connsiteX22" fmla="*/ 127824 w 465062"/>
                <a:gd name="connsiteY22" fmla="*/ 0 h 658157"/>
                <a:gd name="connsiteX23" fmla="*/ 157741 w 465062"/>
                <a:gd name="connsiteY23" fmla="*/ 5440 h 658157"/>
                <a:gd name="connsiteX24" fmla="*/ 179497 w 465062"/>
                <a:gd name="connsiteY24" fmla="*/ 16318 h 658157"/>
                <a:gd name="connsiteX25" fmla="*/ 209414 w 465062"/>
                <a:gd name="connsiteY25" fmla="*/ 16318 h 658157"/>
                <a:gd name="connsiteX26" fmla="*/ 247489 w 465062"/>
                <a:gd name="connsiteY26" fmla="*/ 16318 h 658157"/>
                <a:gd name="connsiteX27" fmla="*/ 266527 w 465062"/>
                <a:gd name="connsiteY27" fmla="*/ 16318 h 658157"/>
                <a:gd name="connsiteX28" fmla="*/ 312761 w 465062"/>
                <a:gd name="connsiteY28" fmla="*/ 27197 h 658157"/>
                <a:gd name="connsiteX29" fmla="*/ 337238 w 465062"/>
                <a:gd name="connsiteY29" fmla="*/ 38075 h 658157"/>
                <a:gd name="connsiteX30" fmla="*/ 364434 w 465062"/>
                <a:gd name="connsiteY30" fmla="*/ 54393 h 658157"/>
                <a:gd name="connsiteX31" fmla="*/ 386192 w 465062"/>
                <a:gd name="connsiteY31" fmla="*/ 73431 h 658157"/>
                <a:gd name="connsiteX32" fmla="*/ 407949 w 465062"/>
                <a:gd name="connsiteY32" fmla="*/ 103347 h 658157"/>
                <a:gd name="connsiteX33" fmla="*/ 416108 w 465062"/>
                <a:gd name="connsiteY33" fmla="*/ 141422 h 658157"/>
                <a:gd name="connsiteX34" fmla="*/ 418828 w 465062"/>
                <a:gd name="connsiteY34" fmla="*/ 163179 h 658157"/>
                <a:gd name="connsiteX35" fmla="*/ 418828 w 465062"/>
                <a:gd name="connsiteY35" fmla="*/ 171339 h 658157"/>
                <a:gd name="connsiteX36" fmla="*/ 421547 w 465062"/>
                <a:gd name="connsiteY36" fmla="*/ 187656 h 658157"/>
                <a:gd name="connsiteX37" fmla="*/ 418828 w 465062"/>
                <a:gd name="connsiteY37" fmla="*/ 206694 h 658157"/>
                <a:gd name="connsiteX38" fmla="*/ 416108 w 465062"/>
                <a:gd name="connsiteY38" fmla="*/ 233891 h 658157"/>
                <a:gd name="connsiteX39" fmla="*/ 405229 w 465062"/>
                <a:gd name="connsiteY39" fmla="*/ 263807 h 658157"/>
                <a:gd name="connsiteX40" fmla="*/ 394351 w 465062"/>
                <a:gd name="connsiteY40" fmla="*/ 274686 h 658157"/>
                <a:gd name="connsiteX41" fmla="*/ 388912 w 465062"/>
                <a:gd name="connsiteY41" fmla="*/ 285564 h 658157"/>
                <a:gd name="connsiteX42" fmla="*/ 369874 w 465062"/>
                <a:gd name="connsiteY42" fmla="*/ 304602 h 658157"/>
                <a:gd name="connsiteX43" fmla="*/ 358995 w 465062"/>
                <a:gd name="connsiteY43" fmla="*/ 310041 h 658157"/>
                <a:gd name="connsiteX44" fmla="*/ 348117 w 465062"/>
                <a:gd name="connsiteY44" fmla="*/ 320920 h 658157"/>
                <a:gd name="connsiteX45" fmla="*/ 326359 w 465062"/>
                <a:gd name="connsiteY45" fmla="*/ 339957 h 658157"/>
                <a:gd name="connsiteX46" fmla="*/ 312761 w 465062"/>
                <a:gd name="connsiteY46" fmla="*/ 353555 h 658157"/>
                <a:gd name="connsiteX47" fmla="*/ 337238 w 465062"/>
                <a:gd name="connsiteY47" fmla="*/ 380752 h 658157"/>
                <a:gd name="connsiteX48" fmla="*/ 358995 w 465062"/>
                <a:gd name="connsiteY48" fmla="*/ 421547 h 658157"/>
                <a:gd name="connsiteX49" fmla="*/ 372593 w 465062"/>
                <a:gd name="connsiteY49" fmla="*/ 459622 h 658157"/>
                <a:gd name="connsiteX50" fmla="*/ 386192 w 465062"/>
                <a:gd name="connsiteY50" fmla="*/ 514015 h 658157"/>
                <a:gd name="connsiteX51" fmla="*/ 407949 w 465062"/>
                <a:gd name="connsiteY51" fmla="*/ 568408 h 658157"/>
                <a:gd name="connsiteX52" fmla="*/ 421547 w 465062"/>
                <a:gd name="connsiteY52" fmla="*/ 598324 h 658157"/>
                <a:gd name="connsiteX53" fmla="*/ 451463 w 465062"/>
                <a:gd name="connsiteY53" fmla="*/ 628241 h 658157"/>
                <a:gd name="connsiteX54" fmla="*/ 465062 w 465062"/>
                <a:gd name="connsiteY54" fmla="*/ 644559 h 658157"/>
                <a:gd name="connsiteX55" fmla="*/ 462342 w 465062"/>
                <a:gd name="connsiteY55" fmla="*/ 649998 h 658157"/>
                <a:gd name="connsiteX56" fmla="*/ 437865 w 465062"/>
                <a:gd name="connsiteY56" fmla="*/ 658157 h 658157"/>
                <a:gd name="connsiteX57" fmla="*/ 361715 w 465062"/>
                <a:gd name="connsiteY57" fmla="*/ 622801 h 658157"/>
                <a:gd name="connsiteX58" fmla="*/ 320920 w 465062"/>
                <a:gd name="connsiteY58" fmla="*/ 565689 h 658157"/>
                <a:gd name="connsiteX59" fmla="*/ 304602 w 465062"/>
                <a:gd name="connsiteY59" fmla="*/ 530333 h 658157"/>
                <a:gd name="connsiteX60" fmla="*/ 293723 w 465062"/>
                <a:gd name="connsiteY60" fmla="*/ 497697 h 658157"/>
                <a:gd name="connsiteX61" fmla="*/ 282845 w 465062"/>
                <a:gd name="connsiteY61" fmla="*/ 462342 h 658157"/>
                <a:gd name="connsiteX62" fmla="*/ 269246 w 465062"/>
                <a:gd name="connsiteY62" fmla="*/ 424267 h 658157"/>
                <a:gd name="connsiteX63" fmla="*/ 255648 w 465062"/>
                <a:gd name="connsiteY63" fmla="*/ 391631 h 658157"/>
                <a:gd name="connsiteX64" fmla="*/ 236610 w 465062"/>
                <a:gd name="connsiteY64" fmla="*/ 367154 h 658157"/>
                <a:gd name="connsiteX65" fmla="*/ 217573 w 465062"/>
                <a:gd name="connsiteY65" fmla="*/ 361714 h 658157"/>
                <a:gd name="connsiteX66" fmla="*/ 201255 w 465062"/>
                <a:gd name="connsiteY66" fmla="*/ 361714 h 658157"/>
                <a:gd name="connsiteX67" fmla="*/ 198535 w 465062"/>
                <a:gd name="connsiteY67" fmla="*/ 367154 h 658157"/>
                <a:gd name="connsiteX68" fmla="*/ 201255 w 465062"/>
                <a:gd name="connsiteY68" fmla="*/ 388911 h 658157"/>
                <a:gd name="connsiteX69" fmla="*/ 198535 w 465062"/>
                <a:gd name="connsiteY69" fmla="*/ 426986 h 658157"/>
                <a:gd name="connsiteX70" fmla="*/ 203975 w 465062"/>
                <a:gd name="connsiteY70" fmla="*/ 478660 h 658157"/>
                <a:gd name="connsiteX71" fmla="*/ 198535 w 465062"/>
                <a:gd name="connsiteY71" fmla="*/ 552090 h 658157"/>
                <a:gd name="connsiteX72" fmla="*/ 195816 w 465062"/>
                <a:gd name="connsiteY72" fmla="*/ 576567 h 658157"/>
                <a:gd name="connsiteX73" fmla="*/ 198535 w 465062"/>
                <a:gd name="connsiteY73" fmla="*/ 592885 h 658157"/>
                <a:gd name="connsiteX74" fmla="*/ 233891 w 465062"/>
                <a:gd name="connsiteY74" fmla="*/ 592885 h 658157"/>
                <a:gd name="connsiteX75" fmla="*/ 271966 w 465062"/>
                <a:gd name="connsiteY75" fmla="*/ 611923 h 658157"/>
                <a:gd name="connsiteX76" fmla="*/ 266527 w 465062"/>
                <a:gd name="connsiteY76" fmla="*/ 628241 h 658157"/>
                <a:gd name="connsiteX77" fmla="*/ 250209 w 465062"/>
                <a:gd name="connsiteY77" fmla="*/ 636400 h 658157"/>
                <a:gd name="connsiteX78" fmla="*/ 228451 w 465062"/>
                <a:gd name="connsiteY78" fmla="*/ 639119 h 658157"/>
                <a:gd name="connsiteX79" fmla="*/ 187657 w 465062"/>
                <a:gd name="connsiteY79" fmla="*/ 639119 h 658157"/>
                <a:gd name="connsiteX80" fmla="*/ 152301 w 465062"/>
                <a:gd name="connsiteY80" fmla="*/ 652717 h 658157"/>
                <a:gd name="connsiteX81" fmla="*/ 133263 w 465062"/>
                <a:gd name="connsiteY81" fmla="*/ 655437 h 658157"/>
                <a:gd name="connsiteX82" fmla="*/ 122385 w 465062"/>
                <a:gd name="connsiteY82" fmla="*/ 652717 h 658157"/>
                <a:gd name="connsiteX83" fmla="*/ 97908 w 465062"/>
                <a:gd name="connsiteY83" fmla="*/ 639119 h 658157"/>
                <a:gd name="connsiteX84" fmla="*/ 70711 w 465062"/>
                <a:gd name="connsiteY84" fmla="*/ 639119 h 658157"/>
                <a:gd name="connsiteX85" fmla="*/ 46234 w 465062"/>
                <a:gd name="connsiteY85" fmla="*/ 639119 h 658157"/>
                <a:gd name="connsiteX86" fmla="*/ 19038 w 465062"/>
                <a:gd name="connsiteY86" fmla="*/ 630960 h 658157"/>
                <a:gd name="connsiteX87" fmla="*/ 2720 w 465062"/>
                <a:gd name="connsiteY87" fmla="*/ 614642 h 658157"/>
                <a:gd name="connsiteX88" fmla="*/ 8159 w 465062"/>
                <a:gd name="connsiteY88" fmla="*/ 606483 h 658157"/>
                <a:gd name="connsiteX89" fmla="*/ 29916 w 465062"/>
                <a:gd name="connsiteY89" fmla="*/ 598324 h 658157"/>
                <a:gd name="connsiteX90" fmla="*/ 76151 w 465062"/>
                <a:gd name="connsiteY90" fmla="*/ 592885 h 658157"/>
                <a:gd name="connsiteX91" fmla="*/ 73431 w 465062"/>
                <a:gd name="connsiteY91" fmla="*/ 573848 h 658157"/>
                <a:gd name="connsiteX92" fmla="*/ 70711 w 465062"/>
                <a:gd name="connsiteY92" fmla="*/ 500417 h 658157"/>
                <a:gd name="connsiteX93" fmla="*/ 73431 w 465062"/>
                <a:gd name="connsiteY93" fmla="*/ 437865 h 658157"/>
                <a:gd name="connsiteX94" fmla="*/ 70711 w 465062"/>
                <a:gd name="connsiteY94" fmla="*/ 369873 h 658157"/>
                <a:gd name="connsiteX95" fmla="*/ 70711 w 465062"/>
                <a:gd name="connsiteY95" fmla="*/ 293723 h 658157"/>
                <a:gd name="connsiteX96" fmla="*/ 73431 w 465062"/>
                <a:gd name="connsiteY96" fmla="*/ 212133 h 658157"/>
                <a:gd name="connsiteX97" fmla="*/ 76151 w 465062"/>
                <a:gd name="connsiteY97" fmla="*/ 155021 h 658157"/>
                <a:gd name="connsiteX98" fmla="*/ 76151 w 465062"/>
                <a:gd name="connsiteY98" fmla="*/ 119665 h 658157"/>
                <a:gd name="connsiteX99" fmla="*/ 78870 w 465062"/>
                <a:gd name="connsiteY99" fmla="*/ 84310 h 658157"/>
                <a:gd name="connsiteX100" fmla="*/ 76151 w 465062"/>
                <a:gd name="connsiteY100" fmla="*/ 62552 h 658157"/>
                <a:gd name="connsiteX101" fmla="*/ 67992 w 465062"/>
                <a:gd name="connsiteY101" fmla="*/ 62552 h 658157"/>
                <a:gd name="connsiteX102" fmla="*/ 43515 w 465062"/>
                <a:gd name="connsiteY102" fmla="*/ 62552 h 658157"/>
                <a:gd name="connsiteX103" fmla="*/ 16318 w 465062"/>
                <a:gd name="connsiteY103" fmla="*/ 57113 h 658157"/>
                <a:gd name="connsiteX104" fmla="*/ 0 w 465062"/>
                <a:gd name="connsiteY104" fmla="*/ 40795 h 658157"/>
                <a:gd name="connsiteX105" fmla="*/ 5439 w 465062"/>
                <a:gd name="connsiteY105" fmla="*/ 32636 h 658157"/>
                <a:gd name="connsiteX106" fmla="*/ 27197 w 465062"/>
                <a:gd name="connsiteY106" fmla="*/ 24477 h 658157"/>
                <a:gd name="connsiteX107" fmla="*/ 76151 w 465062"/>
                <a:gd name="connsiteY107" fmla="*/ 19038 h 658157"/>
                <a:gd name="connsiteX108" fmla="*/ 78870 w 465062"/>
                <a:gd name="connsiteY108" fmla="*/ 13598 h 658157"/>
                <a:gd name="connsiteX109" fmla="*/ 95188 w 465062"/>
                <a:gd name="connsiteY109" fmla="*/ 5440 h 658157"/>
                <a:gd name="connsiteX110" fmla="*/ 111506 w 465062"/>
                <a:gd name="connsiteY110" fmla="*/ 0 h 6581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</a:cxnLst>
              <a:rect l="l" t="t" r="r" b="b"/>
              <a:pathLst>
                <a:path w="465062" h="658157">
                  <a:moveTo>
                    <a:pt x="193096" y="59832"/>
                  </a:moveTo>
                  <a:cubicBezTo>
                    <a:pt x="193096" y="73430"/>
                    <a:pt x="193096" y="89748"/>
                    <a:pt x="193096" y="114226"/>
                  </a:cubicBezTo>
                  <a:cubicBezTo>
                    <a:pt x="193096" y="144142"/>
                    <a:pt x="195816" y="176778"/>
                    <a:pt x="198536" y="209414"/>
                  </a:cubicBezTo>
                  <a:cubicBezTo>
                    <a:pt x="198536" y="247489"/>
                    <a:pt x="201255" y="277406"/>
                    <a:pt x="201255" y="282845"/>
                  </a:cubicBezTo>
                  <a:cubicBezTo>
                    <a:pt x="201255" y="293723"/>
                    <a:pt x="203975" y="304602"/>
                    <a:pt x="203975" y="315481"/>
                  </a:cubicBezTo>
                  <a:cubicBezTo>
                    <a:pt x="203975" y="318200"/>
                    <a:pt x="203975" y="318200"/>
                    <a:pt x="203975" y="320920"/>
                  </a:cubicBezTo>
                  <a:cubicBezTo>
                    <a:pt x="203975" y="326359"/>
                    <a:pt x="206695" y="329079"/>
                    <a:pt x="212134" y="329079"/>
                  </a:cubicBezTo>
                  <a:cubicBezTo>
                    <a:pt x="214854" y="329079"/>
                    <a:pt x="220293" y="329079"/>
                    <a:pt x="223013" y="329079"/>
                  </a:cubicBezTo>
                  <a:cubicBezTo>
                    <a:pt x="228452" y="329079"/>
                    <a:pt x="233891" y="329079"/>
                    <a:pt x="239331" y="329079"/>
                  </a:cubicBezTo>
                  <a:cubicBezTo>
                    <a:pt x="252929" y="329079"/>
                    <a:pt x="271967" y="323640"/>
                    <a:pt x="280126" y="312761"/>
                  </a:cubicBezTo>
                  <a:cubicBezTo>
                    <a:pt x="288284" y="304602"/>
                    <a:pt x="291004" y="299163"/>
                    <a:pt x="296443" y="288284"/>
                  </a:cubicBezTo>
                  <a:cubicBezTo>
                    <a:pt x="299163" y="277406"/>
                    <a:pt x="301883" y="269247"/>
                    <a:pt x="304602" y="258368"/>
                  </a:cubicBezTo>
                  <a:cubicBezTo>
                    <a:pt x="307322" y="244770"/>
                    <a:pt x="310042" y="239330"/>
                    <a:pt x="312761" y="225732"/>
                  </a:cubicBezTo>
                  <a:cubicBezTo>
                    <a:pt x="315481" y="212134"/>
                    <a:pt x="315481" y="209414"/>
                    <a:pt x="315481" y="195816"/>
                  </a:cubicBezTo>
                  <a:cubicBezTo>
                    <a:pt x="315481" y="179498"/>
                    <a:pt x="315481" y="184937"/>
                    <a:pt x="318201" y="168619"/>
                  </a:cubicBezTo>
                  <a:cubicBezTo>
                    <a:pt x="312761" y="152302"/>
                    <a:pt x="312761" y="149582"/>
                    <a:pt x="312761" y="135983"/>
                  </a:cubicBezTo>
                  <a:cubicBezTo>
                    <a:pt x="312761" y="133264"/>
                    <a:pt x="312761" y="127825"/>
                    <a:pt x="312761" y="122385"/>
                  </a:cubicBezTo>
                  <a:cubicBezTo>
                    <a:pt x="312761" y="111507"/>
                    <a:pt x="301883" y="95188"/>
                    <a:pt x="293724" y="84309"/>
                  </a:cubicBezTo>
                  <a:cubicBezTo>
                    <a:pt x="288284" y="78870"/>
                    <a:pt x="285565" y="76150"/>
                    <a:pt x="280126" y="73430"/>
                  </a:cubicBezTo>
                  <a:cubicBezTo>
                    <a:pt x="271967" y="67991"/>
                    <a:pt x="266527" y="65271"/>
                    <a:pt x="258368" y="62552"/>
                  </a:cubicBezTo>
                  <a:cubicBezTo>
                    <a:pt x="244770" y="59832"/>
                    <a:pt x="228452" y="59832"/>
                    <a:pt x="217573" y="59832"/>
                  </a:cubicBezTo>
                  <a:close/>
                  <a:moveTo>
                    <a:pt x="111506" y="0"/>
                  </a:moveTo>
                  <a:cubicBezTo>
                    <a:pt x="114226" y="0"/>
                    <a:pt x="122385" y="0"/>
                    <a:pt x="127824" y="0"/>
                  </a:cubicBezTo>
                  <a:cubicBezTo>
                    <a:pt x="135983" y="0"/>
                    <a:pt x="146862" y="2720"/>
                    <a:pt x="157741" y="5440"/>
                  </a:cubicBezTo>
                  <a:cubicBezTo>
                    <a:pt x="168619" y="8159"/>
                    <a:pt x="176778" y="10879"/>
                    <a:pt x="179497" y="16318"/>
                  </a:cubicBezTo>
                  <a:cubicBezTo>
                    <a:pt x="193096" y="16318"/>
                    <a:pt x="201255" y="16318"/>
                    <a:pt x="209414" y="16318"/>
                  </a:cubicBezTo>
                  <a:cubicBezTo>
                    <a:pt x="220292" y="16318"/>
                    <a:pt x="231171" y="16318"/>
                    <a:pt x="247489" y="16318"/>
                  </a:cubicBezTo>
                  <a:cubicBezTo>
                    <a:pt x="250209" y="16318"/>
                    <a:pt x="258368" y="16318"/>
                    <a:pt x="266527" y="16318"/>
                  </a:cubicBezTo>
                  <a:cubicBezTo>
                    <a:pt x="277405" y="16318"/>
                    <a:pt x="291004" y="21758"/>
                    <a:pt x="312761" y="27197"/>
                  </a:cubicBezTo>
                  <a:cubicBezTo>
                    <a:pt x="320920" y="29917"/>
                    <a:pt x="329079" y="35356"/>
                    <a:pt x="337238" y="38075"/>
                  </a:cubicBezTo>
                  <a:cubicBezTo>
                    <a:pt x="342677" y="40795"/>
                    <a:pt x="353556" y="48954"/>
                    <a:pt x="364434" y="54393"/>
                  </a:cubicBezTo>
                  <a:cubicBezTo>
                    <a:pt x="375313" y="62552"/>
                    <a:pt x="386192" y="67992"/>
                    <a:pt x="386192" y="73431"/>
                  </a:cubicBezTo>
                  <a:cubicBezTo>
                    <a:pt x="391631" y="84310"/>
                    <a:pt x="402510" y="92469"/>
                    <a:pt x="407949" y="103347"/>
                  </a:cubicBezTo>
                  <a:cubicBezTo>
                    <a:pt x="413388" y="116945"/>
                    <a:pt x="416108" y="130544"/>
                    <a:pt x="416108" y="141422"/>
                  </a:cubicBezTo>
                  <a:cubicBezTo>
                    <a:pt x="416108" y="152301"/>
                    <a:pt x="418828" y="157740"/>
                    <a:pt x="418828" y="163179"/>
                  </a:cubicBezTo>
                  <a:cubicBezTo>
                    <a:pt x="418828" y="165899"/>
                    <a:pt x="418828" y="168619"/>
                    <a:pt x="418828" y="171339"/>
                  </a:cubicBezTo>
                  <a:cubicBezTo>
                    <a:pt x="418828" y="174058"/>
                    <a:pt x="421547" y="182217"/>
                    <a:pt x="421547" y="187656"/>
                  </a:cubicBezTo>
                  <a:cubicBezTo>
                    <a:pt x="421547" y="193096"/>
                    <a:pt x="418828" y="201255"/>
                    <a:pt x="418828" y="206694"/>
                  </a:cubicBezTo>
                  <a:cubicBezTo>
                    <a:pt x="418828" y="217573"/>
                    <a:pt x="418828" y="223012"/>
                    <a:pt x="416108" y="233891"/>
                  </a:cubicBezTo>
                  <a:cubicBezTo>
                    <a:pt x="413388" y="244769"/>
                    <a:pt x="410668" y="255648"/>
                    <a:pt x="405229" y="263807"/>
                  </a:cubicBezTo>
                  <a:cubicBezTo>
                    <a:pt x="402510" y="269246"/>
                    <a:pt x="397070" y="269246"/>
                    <a:pt x="394351" y="274686"/>
                  </a:cubicBezTo>
                  <a:cubicBezTo>
                    <a:pt x="391631" y="277405"/>
                    <a:pt x="391631" y="282844"/>
                    <a:pt x="388912" y="285564"/>
                  </a:cubicBezTo>
                  <a:cubicBezTo>
                    <a:pt x="383472" y="291003"/>
                    <a:pt x="375313" y="301882"/>
                    <a:pt x="369874" y="304602"/>
                  </a:cubicBezTo>
                  <a:cubicBezTo>
                    <a:pt x="367154" y="307321"/>
                    <a:pt x="361715" y="307321"/>
                    <a:pt x="358995" y="310041"/>
                  </a:cubicBezTo>
                  <a:cubicBezTo>
                    <a:pt x="356275" y="312761"/>
                    <a:pt x="350836" y="318200"/>
                    <a:pt x="348117" y="320920"/>
                  </a:cubicBezTo>
                  <a:cubicBezTo>
                    <a:pt x="339958" y="326359"/>
                    <a:pt x="334518" y="334518"/>
                    <a:pt x="326359" y="339957"/>
                  </a:cubicBezTo>
                  <a:cubicBezTo>
                    <a:pt x="320920" y="342677"/>
                    <a:pt x="312761" y="342677"/>
                    <a:pt x="312761" y="353555"/>
                  </a:cubicBezTo>
                  <a:cubicBezTo>
                    <a:pt x="312761" y="361714"/>
                    <a:pt x="334518" y="372593"/>
                    <a:pt x="337238" y="380752"/>
                  </a:cubicBezTo>
                  <a:cubicBezTo>
                    <a:pt x="345397" y="394350"/>
                    <a:pt x="353556" y="407948"/>
                    <a:pt x="358995" y="421547"/>
                  </a:cubicBezTo>
                  <a:cubicBezTo>
                    <a:pt x="364434" y="435145"/>
                    <a:pt x="367154" y="446024"/>
                    <a:pt x="372593" y="459622"/>
                  </a:cubicBezTo>
                  <a:cubicBezTo>
                    <a:pt x="378033" y="478660"/>
                    <a:pt x="383472" y="494978"/>
                    <a:pt x="386192" y="514015"/>
                  </a:cubicBezTo>
                  <a:cubicBezTo>
                    <a:pt x="391631" y="533053"/>
                    <a:pt x="402510" y="549371"/>
                    <a:pt x="407949" y="568408"/>
                  </a:cubicBezTo>
                  <a:cubicBezTo>
                    <a:pt x="410668" y="579287"/>
                    <a:pt x="416108" y="590165"/>
                    <a:pt x="421547" y="598324"/>
                  </a:cubicBezTo>
                  <a:cubicBezTo>
                    <a:pt x="435146" y="614642"/>
                    <a:pt x="443305" y="622801"/>
                    <a:pt x="451463" y="628241"/>
                  </a:cubicBezTo>
                  <a:cubicBezTo>
                    <a:pt x="456903" y="630960"/>
                    <a:pt x="465062" y="636400"/>
                    <a:pt x="465062" y="644559"/>
                  </a:cubicBezTo>
                  <a:cubicBezTo>
                    <a:pt x="465062" y="647278"/>
                    <a:pt x="465062" y="647278"/>
                    <a:pt x="462342" y="649998"/>
                  </a:cubicBezTo>
                  <a:cubicBezTo>
                    <a:pt x="456903" y="655437"/>
                    <a:pt x="446024" y="658157"/>
                    <a:pt x="437865" y="658157"/>
                  </a:cubicBezTo>
                  <a:cubicBezTo>
                    <a:pt x="413388" y="658157"/>
                    <a:pt x="378033" y="641839"/>
                    <a:pt x="361715" y="622801"/>
                  </a:cubicBezTo>
                  <a:cubicBezTo>
                    <a:pt x="345397" y="606483"/>
                    <a:pt x="334518" y="584726"/>
                    <a:pt x="320920" y="565689"/>
                  </a:cubicBezTo>
                  <a:cubicBezTo>
                    <a:pt x="315480" y="554810"/>
                    <a:pt x="310041" y="543931"/>
                    <a:pt x="304602" y="530333"/>
                  </a:cubicBezTo>
                  <a:cubicBezTo>
                    <a:pt x="299163" y="519454"/>
                    <a:pt x="296443" y="508576"/>
                    <a:pt x="293723" y="497697"/>
                  </a:cubicBezTo>
                  <a:cubicBezTo>
                    <a:pt x="291004" y="486819"/>
                    <a:pt x="288284" y="473220"/>
                    <a:pt x="282845" y="462342"/>
                  </a:cubicBezTo>
                  <a:cubicBezTo>
                    <a:pt x="280125" y="448743"/>
                    <a:pt x="274686" y="437865"/>
                    <a:pt x="269246" y="424267"/>
                  </a:cubicBezTo>
                  <a:cubicBezTo>
                    <a:pt x="266527" y="416108"/>
                    <a:pt x="261087" y="402509"/>
                    <a:pt x="255648" y="391631"/>
                  </a:cubicBezTo>
                  <a:cubicBezTo>
                    <a:pt x="250209" y="380752"/>
                    <a:pt x="244770" y="375313"/>
                    <a:pt x="236610" y="367154"/>
                  </a:cubicBezTo>
                  <a:cubicBezTo>
                    <a:pt x="231171" y="361714"/>
                    <a:pt x="223012" y="361714"/>
                    <a:pt x="217573" y="361714"/>
                  </a:cubicBezTo>
                  <a:cubicBezTo>
                    <a:pt x="212134" y="361714"/>
                    <a:pt x="206694" y="361714"/>
                    <a:pt x="201255" y="361714"/>
                  </a:cubicBezTo>
                  <a:cubicBezTo>
                    <a:pt x="198535" y="361714"/>
                    <a:pt x="198535" y="364434"/>
                    <a:pt x="198535" y="367154"/>
                  </a:cubicBezTo>
                  <a:cubicBezTo>
                    <a:pt x="198535" y="375313"/>
                    <a:pt x="201255" y="386191"/>
                    <a:pt x="201255" y="388911"/>
                  </a:cubicBezTo>
                  <a:cubicBezTo>
                    <a:pt x="201255" y="402509"/>
                    <a:pt x="198535" y="413388"/>
                    <a:pt x="198535" y="426986"/>
                  </a:cubicBezTo>
                  <a:cubicBezTo>
                    <a:pt x="198535" y="446024"/>
                    <a:pt x="203975" y="456902"/>
                    <a:pt x="203975" y="478660"/>
                  </a:cubicBezTo>
                  <a:cubicBezTo>
                    <a:pt x="203975" y="503136"/>
                    <a:pt x="201255" y="527613"/>
                    <a:pt x="198535" y="552090"/>
                  </a:cubicBezTo>
                  <a:cubicBezTo>
                    <a:pt x="198535" y="560249"/>
                    <a:pt x="195816" y="568408"/>
                    <a:pt x="195816" y="576567"/>
                  </a:cubicBezTo>
                  <a:cubicBezTo>
                    <a:pt x="195816" y="582006"/>
                    <a:pt x="195816" y="587446"/>
                    <a:pt x="198535" y="592885"/>
                  </a:cubicBezTo>
                  <a:cubicBezTo>
                    <a:pt x="212134" y="592885"/>
                    <a:pt x="225732" y="592885"/>
                    <a:pt x="233891" y="592885"/>
                  </a:cubicBezTo>
                  <a:cubicBezTo>
                    <a:pt x="247489" y="592885"/>
                    <a:pt x="271966" y="592885"/>
                    <a:pt x="271966" y="611923"/>
                  </a:cubicBezTo>
                  <a:cubicBezTo>
                    <a:pt x="271966" y="620082"/>
                    <a:pt x="269246" y="622801"/>
                    <a:pt x="266527" y="628241"/>
                  </a:cubicBezTo>
                  <a:cubicBezTo>
                    <a:pt x="261087" y="633680"/>
                    <a:pt x="255648" y="636400"/>
                    <a:pt x="250209" y="636400"/>
                  </a:cubicBezTo>
                  <a:cubicBezTo>
                    <a:pt x="239330" y="639119"/>
                    <a:pt x="233891" y="639119"/>
                    <a:pt x="228451" y="639119"/>
                  </a:cubicBezTo>
                  <a:cubicBezTo>
                    <a:pt x="223012" y="639119"/>
                    <a:pt x="206694" y="639119"/>
                    <a:pt x="187657" y="639119"/>
                  </a:cubicBezTo>
                  <a:cubicBezTo>
                    <a:pt x="176778" y="647278"/>
                    <a:pt x="163180" y="649998"/>
                    <a:pt x="152301" y="652717"/>
                  </a:cubicBezTo>
                  <a:cubicBezTo>
                    <a:pt x="146862" y="652717"/>
                    <a:pt x="138703" y="655437"/>
                    <a:pt x="133263" y="655437"/>
                  </a:cubicBezTo>
                  <a:cubicBezTo>
                    <a:pt x="130544" y="655437"/>
                    <a:pt x="125104" y="655437"/>
                    <a:pt x="122385" y="652717"/>
                  </a:cubicBezTo>
                  <a:cubicBezTo>
                    <a:pt x="114226" y="649998"/>
                    <a:pt x="103347" y="644559"/>
                    <a:pt x="97908" y="639119"/>
                  </a:cubicBezTo>
                  <a:cubicBezTo>
                    <a:pt x="87029" y="639119"/>
                    <a:pt x="78870" y="639119"/>
                    <a:pt x="70711" y="639119"/>
                  </a:cubicBezTo>
                  <a:cubicBezTo>
                    <a:pt x="62552" y="639119"/>
                    <a:pt x="54393" y="639119"/>
                    <a:pt x="46234" y="639119"/>
                  </a:cubicBezTo>
                  <a:cubicBezTo>
                    <a:pt x="38075" y="639119"/>
                    <a:pt x="27197" y="633680"/>
                    <a:pt x="19038" y="630960"/>
                  </a:cubicBezTo>
                  <a:cubicBezTo>
                    <a:pt x="10879" y="628241"/>
                    <a:pt x="2720" y="620082"/>
                    <a:pt x="2720" y="614642"/>
                  </a:cubicBezTo>
                  <a:cubicBezTo>
                    <a:pt x="2720" y="611923"/>
                    <a:pt x="2720" y="609203"/>
                    <a:pt x="8159" y="606483"/>
                  </a:cubicBezTo>
                  <a:cubicBezTo>
                    <a:pt x="13599" y="603764"/>
                    <a:pt x="24477" y="601044"/>
                    <a:pt x="29916" y="598324"/>
                  </a:cubicBezTo>
                  <a:cubicBezTo>
                    <a:pt x="43515" y="595605"/>
                    <a:pt x="62552" y="595605"/>
                    <a:pt x="76151" y="592885"/>
                  </a:cubicBezTo>
                  <a:cubicBezTo>
                    <a:pt x="76151" y="587446"/>
                    <a:pt x="73431" y="582006"/>
                    <a:pt x="73431" y="573848"/>
                  </a:cubicBezTo>
                  <a:cubicBezTo>
                    <a:pt x="73431" y="565689"/>
                    <a:pt x="70711" y="516735"/>
                    <a:pt x="70711" y="500417"/>
                  </a:cubicBezTo>
                  <a:cubicBezTo>
                    <a:pt x="70711" y="481379"/>
                    <a:pt x="73431" y="456902"/>
                    <a:pt x="73431" y="437865"/>
                  </a:cubicBezTo>
                  <a:cubicBezTo>
                    <a:pt x="73431" y="416108"/>
                    <a:pt x="70711" y="391631"/>
                    <a:pt x="70711" y="369873"/>
                  </a:cubicBezTo>
                  <a:cubicBezTo>
                    <a:pt x="70711" y="345397"/>
                    <a:pt x="70711" y="318200"/>
                    <a:pt x="70711" y="293723"/>
                  </a:cubicBezTo>
                  <a:cubicBezTo>
                    <a:pt x="70711" y="266526"/>
                    <a:pt x="73431" y="239330"/>
                    <a:pt x="73431" y="212133"/>
                  </a:cubicBezTo>
                  <a:cubicBezTo>
                    <a:pt x="73431" y="187656"/>
                    <a:pt x="76151" y="179498"/>
                    <a:pt x="76151" y="155021"/>
                  </a:cubicBezTo>
                  <a:cubicBezTo>
                    <a:pt x="76151" y="144142"/>
                    <a:pt x="76151" y="130544"/>
                    <a:pt x="76151" y="119665"/>
                  </a:cubicBezTo>
                  <a:cubicBezTo>
                    <a:pt x="76151" y="106067"/>
                    <a:pt x="78870" y="95188"/>
                    <a:pt x="78870" y="84310"/>
                  </a:cubicBezTo>
                  <a:cubicBezTo>
                    <a:pt x="78870" y="78870"/>
                    <a:pt x="78870" y="70711"/>
                    <a:pt x="76151" y="62552"/>
                  </a:cubicBezTo>
                  <a:cubicBezTo>
                    <a:pt x="76151" y="62552"/>
                    <a:pt x="73431" y="62552"/>
                    <a:pt x="67992" y="62552"/>
                  </a:cubicBezTo>
                  <a:cubicBezTo>
                    <a:pt x="59833" y="62552"/>
                    <a:pt x="51674" y="62552"/>
                    <a:pt x="43515" y="62552"/>
                  </a:cubicBezTo>
                  <a:cubicBezTo>
                    <a:pt x="35356" y="62552"/>
                    <a:pt x="24477" y="59833"/>
                    <a:pt x="16318" y="57113"/>
                  </a:cubicBezTo>
                  <a:cubicBezTo>
                    <a:pt x="8159" y="54393"/>
                    <a:pt x="0" y="43515"/>
                    <a:pt x="0" y="40795"/>
                  </a:cubicBezTo>
                  <a:cubicBezTo>
                    <a:pt x="0" y="38075"/>
                    <a:pt x="0" y="35356"/>
                    <a:pt x="5439" y="32636"/>
                  </a:cubicBezTo>
                  <a:cubicBezTo>
                    <a:pt x="10879" y="29917"/>
                    <a:pt x="21758" y="27197"/>
                    <a:pt x="27197" y="24477"/>
                  </a:cubicBezTo>
                  <a:cubicBezTo>
                    <a:pt x="46234" y="21758"/>
                    <a:pt x="62552" y="19038"/>
                    <a:pt x="76151" y="19038"/>
                  </a:cubicBezTo>
                  <a:cubicBezTo>
                    <a:pt x="76151" y="16318"/>
                    <a:pt x="78870" y="16318"/>
                    <a:pt x="78870" y="13598"/>
                  </a:cubicBezTo>
                  <a:cubicBezTo>
                    <a:pt x="84309" y="10879"/>
                    <a:pt x="89749" y="8159"/>
                    <a:pt x="95188" y="5440"/>
                  </a:cubicBezTo>
                  <a:cubicBezTo>
                    <a:pt x="100628" y="2720"/>
                    <a:pt x="106067" y="0"/>
                    <a:pt x="111506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>
                <a:solidFill>
                  <a:srgbClr val="FFFFFF"/>
                </a:solidFill>
              </a:endParaRPr>
            </a:p>
          </p:txBody>
        </p:sp>
        <p:sp>
          <p:nvSpPr>
            <p:cNvPr id="48" name="Freeform: Shape 47">
              <a:extLst>
                <a:ext uri="{FF2B5EF4-FFF2-40B4-BE49-F238E27FC236}">
                  <a16:creationId xmlns:a16="http://schemas.microsoft.com/office/drawing/2014/main" id="{F8E0DB68-7257-4198-9DF3-32DE34D75DCC}"/>
                </a:ext>
              </a:extLst>
            </p:cNvPr>
            <p:cNvSpPr/>
            <p:nvPr/>
          </p:nvSpPr>
          <p:spPr>
            <a:xfrm>
              <a:off x="8346812" y="4186718"/>
              <a:ext cx="353556" cy="761503"/>
            </a:xfrm>
            <a:custGeom>
              <a:avLst/>
              <a:gdLst>
                <a:gd name="connsiteX0" fmla="*/ 283910 w 353555"/>
                <a:gd name="connsiteY0" fmla="*/ 672820 h 761503"/>
                <a:gd name="connsiteX1" fmla="*/ 321985 w 353555"/>
                <a:gd name="connsiteY1" fmla="*/ 689138 h 761503"/>
                <a:gd name="connsiteX2" fmla="*/ 316546 w 353555"/>
                <a:gd name="connsiteY2" fmla="*/ 705456 h 761503"/>
                <a:gd name="connsiteX3" fmla="*/ 300228 w 353555"/>
                <a:gd name="connsiteY3" fmla="*/ 713615 h 761503"/>
                <a:gd name="connsiteX4" fmla="*/ 278471 w 353555"/>
                <a:gd name="connsiteY4" fmla="*/ 716335 h 761503"/>
                <a:gd name="connsiteX5" fmla="*/ 237676 w 353555"/>
                <a:gd name="connsiteY5" fmla="*/ 716335 h 761503"/>
                <a:gd name="connsiteX6" fmla="*/ 180563 w 353555"/>
                <a:gd name="connsiteY6" fmla="*/ 719054 h 761503"/>
                <a:gd name="connsiteX7" fmla="*/ 126170 w 353555"/>
                <a:gd name="connsiteY7" fmla="*/ 719054 h 761503"/>
                <a:gd name="connsiteX8" fmla="*/ 101693 w 353555"/>
                <a:gd name="connsiteY8" fmla="*/ 719054 h 761503"/>
                <a:gd name="connsiteX9" fmla="*/ 74496 w 353555"/>
                <a:gd name="connsiteY9" fmla="*/ 713615 h 761503"/>
                <a:gd name="connsiteX10" fmla="*/ 58178 w 353555"/>
                <a:gd name="connsiteY10" fmla="*/ 697297 h 761503"/>
                <a:gd name="connsiteX11" fmla="*/ 63618 w 353555"/>
                <a:gd name="connsiteY11" fmla="*/ 689138 h 761503"/>
                <a:gd name="connsiteX12" fmla="*/ 85375 w 353555"/>
                <a:gd name="connsiteY12" fmla="*/ 680979 h 761503"/>
                <a:gd name="connsiteX13" fmla="*/ 131609 w 353555"/>
                <a:gd name="connsiteY13" fmla="*/ 675540 h 761503"/>
                <a:gd name="connsiteX14" fmla="*/ 142488 w 353555"/>
                <a:gd name="connsiteY14" fmla="*/ 675540 h 761503"/>
                <a:gd name="connsiteX15" fmla="*/ 131609 w 353555"/>
                <a:gd name="connsiteY15" fmla="*/ 653783 h 761503"/>
                <a:gd name="connsiteX16" fmla="*/ 128890 w 353555"/>
                <a:gd name="connsiteY16" fmla="*/ 640184 h 761503"/>
                <a:gd name="connsiteX17" fmla="*/ 128890 w 353555"/>
                <a:gd name="connsiteY17" fmla="*/ 629306 h 761503"/>
                <a:gd name="connsiteX18" fmla="*/ 128890 w 353555"/>
                <a:gd name="connsiteY18" fmla="*/ 621147 h 761503"/>
                <a:gd name="connsiteX19" fmla="*/ 128890 w 353555"/>
                <a:gd name="connsiteY19" fmla="*/ 593950 h 761503"/>
                <a:gd name="connsiteX20" fmla="*/ 128890 w 353555"/>
                <a:gd name="connsiteY20" fmla="*/ 583072 h 761503"/>
                <a:gd name="connsiteX21" fmla="*/ 128890 w 353555"/>
                <a:gd name="connsiteY21" fmla="*/ 436210 h 761503"/>
                <a:gd name="connsiteX22" fmla="*/ 128890 w 353555"/>
                <a:gd name="connsiteY22" fmla="*/ 357340 h 761503"/>
                <a:gd name="connsiteX23" fmla="*/ 131609 w 353555"/>
                <a:gd name="connsiteY23" fmla="*/ 289349 h 761503"/>
                <a:gd name="connsiteX24" fmla="*/ 131609 w 353555"/>
                <a:gd name="connsiteY24" fmla="*/ 251274 h 761503"/>
                <a:gd name="connsiteX25" fmla="*/ 131609 w 353555"/>
                <a:gd name="connsiteY25" fmla="*/ 205040 h 761503"/>
                <a:gd name="connsiteX26" fmla="*/ 131609 w 353555"/>
                <a:gd name="connsiteY26" fmla="*/ 139768 h 761503"/>
                <a:gd name="connsiteX27" fmla="*/ 131609 w 353555"/>
                <a:gd name="connsiteY27" fmla="*/ 128889 h 761503"/>
                <a:gd name="connsiteX28" fmla="*/ 126170 w 353555"/>
                <a:gd name="connsiteY28" fmla="*/ 128889 h 761503"/>
                <a:gd name="connsiteX29" fmla="*/ 101693 w 353555"/>
                <a:gd name="connsiteY29" fmla="*/ 128889 h 761503"/>
                <a:gd name="connsiteX30" fmla="*/ 74496 w 353555"/>
                <a:gd name="connsiteY30" fmla="*/ 123450 h 761503"/>
                <a:gd name="connsiteX31" fmla="*/ 58178 w 353555"/>
                <a:gd name="connsiteY31" fmla="*/ 107132 h 761503"/>
                <a:gd name="connsiteX32" fmla="*/ 60898 w 353555"/>
                <a:gd name="connsiteY32" fmla="*/ 98973 h 761503"/>
                <a:gd name="connsiteX33" fmla="*/ 82655 w 353555"/>
                <a:gd name="connsiteY33" fmla="*/ 93534 h 761503"/>
                <a:gd name="connsiteX34" fmla="*/ 131609 w 353555"/>
                <a:gd name="connsiteY34" fmla="*/ 88094 h 761503"/>
                <a:gd name="connsiteX35" fmla="*/ 131609 w 353555"/>
                <a:gd name="connsiteY35" fmla="*/ 82655 h 761503"/>
                <a:gd name="connsiteX36" fmla="*/ 134329 w 353555"/>
                <a:gd name="connsiteY36" fmla="*/ 71776 h 761503"/>
                <a:gd name="connsiteX37" fmla="*/ 147927 w 353555"/>
                <a:gd name="connsiteY37" fmla="*/ 63617 h 761503"/>
                <a:gd name="connsiteX38" fmla="*/ 164245 w 353555"/>
                <a:gd name="connsiteY38" fmla="*/ 58178 h 761503"/>
                <a:gd name="connsiteX39" fmla="*/ 177843 w 353555"/>
                <a:gd name="connsiteY39" fmla="*/ 58178 h 761503"/>
                <a:gd name="connsiteX40" fmla="*/ 196881 w 353555"/>
                <a:gd name="connsiteY40" fmla="*/ 60898 h 761503"/>
                <a:gd name="connsiteX41" fmla="*/ 232237 w 353555"/>
                <a:gd name="connsiteY41" fmla="*/ 88094 h 761503"/>
                <a:gd name="connsiteX42" fmla="*/ 278471 w 353555"/>
                <a:gd name="connsiteY42" fmla="*/ 88094 h 761503"/>
                <a:gd name="connsiteX43" fmla="*/ 316546 w 353555"/>
                <a:gd name="connsiteY43" fmla="*/ 104412 h 761503"/>
                <a:gd name="connsiteX44" fmla="*/ 311107 w 353555"/>
                <a:gd name="connsiteY44" fmla="*/ 120730 h 761503"/>
                <a:gd name="connsiteX45" fmla="*/ 294789 w 353555"/>
                <a:gd name="connsiteY45" fmla="*/ 128889 h 761503"/>
                <a:gd name="connsiteX46" fmla="*/ 273032 w 353555"/>
                <a:gd name="connsiteY46" fmla="*/ 131609 h 761503"/>
                <a:gd name="connsiteX47" fmla="*/ 243115 w 353555"/>
                <a:gd name="connsiteY47" fmla="*/ 131609 h 761503"/>
                <a:gd name="connsiteX48" fmla="*/ 243115 w 353555"/>
                <a:gd name="connsiteY48" fmla="*/ 134329 h 761503"/>
                <a:gd name="connsiteX49" fmla="*/ 248554 w 353555"/>
                <a:gd name="connsiteY49" fmla="*/ 169684 h 761503"/>
                <a:gd name="connsiteX50" fmla="*/ 251274 w 353555"/>
                <a:gd name="connsiteY50" fmla="*/ 205040 h 761503"/>
                <a:gd name="connsiteX51" fmla="*/ 251274 w 353555"/>
                <a:gd name="connsiteY51" fmla="*/ 240395 h 761503"/>
                <a:gd name="connsiteX52" fmla="*/ 251274 w 353555"/>
                <a:gd name="connsiteY52" fmla="*/ 256713 h 761503"/>
                <a:gd name="connsiteX53" fmla="*/ 253994 w 353555"/>
                <a:gd name="connsiteY53" fmla="*/ 270311 h 761503"/>
                <a:gd name="connsiteX54" fmla="*/ 259433 w 353555"/>
                <a:gd name="connsiteY54" fmla="*/ 343742 h 761503"/>
                <a:gd name="connsiteX55" fmla="*/ 262153 w 353555"/>
                <a:gd name="connsiteY55" fmla="*/ 425332 h 761503"/>
                <a:gd name="connsiteX56" fmla="*/ 264872 w 353555"/>
                <a:gd name="connsiteY56" fmla="*/ 490603 h 761503"/>
                <a:gd name="connsiteX57" fmla="*/ 270312 w 353555"/>
                <a:gd name="connsiteY57" fmla="*/ 564034 h 761503"/>
                <a:gd name="connsiteX58" fmla="*/ 270312 w 353555"/>
                <a:gd name="connsiteY58" fmla="*/ 599390 h 761503"/>
                <a:gd name="connsiteX59" fmla="*/ 270312 w 353555"/>
                <a:gd name="connsiteY59" fmla="*/ 637465 h 761503"/>
                <a:gd name="connsiteX60" fmla="*/ 264872 w 353555"/>
                <a:gd name="connsiteY60" fmla="*/ 670101 h 761503"/>
                <a:gd name="connsiteX61" fmla="*/ 283910 w 353555"/>
                <a:gd name="connsiteY61" fmla="*/ 672820 h 761503"/>
                <a:gd name="connsiteX62" fmla="*/ 283910 w 353555"/>
                <a:gd name="connsiteY62" fmla="*/ 672820 h 761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</a:cxnLst>
              <a:rect l="l" t="t" r="r" b="b"/>
              <a:pathLst>
                <a:path w="353555" h="761503">
                  <a:moveTo>
                    <a:pt x="283910" y="672820"/>
                  </a:moveTo>
                  <a:cubicBezTo>
                    <a:pt x="297508" y="672820"/>
                    <a:pt x="321985" y="672820"/>
                    <a:pt x="321985" y="689138"/>
                  </a:cubicBezTo>
                  <a:cubicBezTo>
                    <a:pt x="321985" y="697297"/>
                    <a:pt x="319266" y="697297"/>
                    <a:pt x="316546" y="705456"/>
                  </a:cubicBezTo>
                  <a:cubicBezTo>
                    <a:pt x="311107" y="710895"/>
                    <a:pt x="305667" y="713615"/>
                    <a:pt x="300228" y="713615"/>
                  </a:cubicBezTo>
                  <a:cubicBezTo>
                    <a:pt x="292069" y="716335"/>
                    <a:pt x="283910" y="716335"/>
                    <a:pt x="278471" y="716335"/>
                  </a:cubicBezTo>
                  <a:cubicBezTo>
                    <a:pt x="275751" y="716335"/>
                    <a:pt x="256713" y="716335"/>
                    <a:pt x="237676" y="716335"/>
                  </a:cubicBezTo>
                  <a:cubicBezTo>
                    <a:pt x="213199" y="716335"/>
                    <a:pt x="186003" y="719054"/>
                    <a:pt x="180563" y="719054"/>
                  </a:cubicBezTo>
                  <a:cubicBezTo>
                    <a:pt x="166965" y="719054"/>
                    <a:pt x="142488" y="719054"/>
                    <a:pt x="126170" y="719054"/>
                  </a:cubicBezTo>
                  <a:cubicBezTo>
                    <a:pt x="118011" y="719054"/>
                    <a:pt x="109852" y="719054"/>
                    <a:pt x="101693" y="719054"/>
                  </a:cubicBezTo>
                  <a:cubicBezTo>
                    <a:pt x="93534" y="719054"/>
                    <a:pt x="82655" y="719054"/>
                    <a:pt x="74496" y="713615"/>
                  </a:cubicBezTo>
                  <a:cubicBezTo>
                    <a:pt x="66337" y="710895"/>
                    <a:pt x="58178" y="702736"/>
                    <a:pt x="58178" y="697297"/>
                  </a:cubicBezTo>
                  <a:cubicBezTo>
                    <a:pt x="58178" y="694578"/>
                    <a:pt x="58178" y="691858"/>
                    <a:pt x="63618" y="689138"/>
                  </a:cubicBezTo>
                  <a:cubicBezTo>
                    <a:pt x="69057" y="686418"/>
                    <a:pt x="79936" y="683699"/>
                    <a:pt x="85375" y="680979"/>
                  </a:cubicBezTo>
                  <a:cubicBezTo>
                    <a:pt x="104413" y="678260"/>
                    <a:pt x="123450" y="675540"/>
                    <a:pt x="131609" y="675540"/>
                  </a:cubicBezTo>
                  <a:cubicBezTo>
                    <a:pt x="134329" y="675540"/>
                    <a:pt x="137049" y="675540"/>
                    <a:pt x="142488" y="675540"/>
                  </a:cubicBezTo>
                  <a:cubicBezTo>
                    <a:pt x="134329" y="670101"/>
                    <a:pt x="131609" y="661942"/>
                    <a:pt x="131609" y="653783"/>
                  </a:cubicBezTo>
                  <a:cubicBezTo>
                    <a:pt x="131609" y="648343"/>
                    <a:pt x="131609" y="642904"/>
                    <a:pt x="128890" y="640184"/>
                  </a:cubicBezTo>
                  <a:cubicBezTo>
                    <a:pt x="128890" y="637465"/>
                    <a:pt x="128890" y="634745"/>
                    <a:pt x="128890" y="629306"/>
                  </a:cubicBezTo>
                  <a:cubicBezTo>
                    <a:pt x="128890" y="626586"/>
                    <a:pt x="128890" y="623867"/>
                    <a:pt x="128890" y="621147"/>
                  </a:cubicBezTo>
                  <a:cubicBezTo>
                    <a:pt x="128890" y="612988"/>
                    <a:pt x="128890" y="604829"/>
                    <a:pt x="128890" y="593950"/>
                  </a:cubicBezTo>
                  <a:cubicBezTo>
                    <a:pt x="128890" y="591231"/>
                    <a:pt x="128890" y="585791"/>
                    <a:pt x="128890" y="583072"/>
                  </a:cubicBezTo>
                  <a:cubicBezTo>
                    <a:pt x="128890" y="534118"/>
                    <a:pt x="131609" y="485164"/>
                    <a:pt x="128890" y="436210"/>
                  </a:cubicBezTo>
                  <a:cubicBezTo>
                    <a:pt x="128890" y="409014"/>
                    <a:pt x="128890" y="384537"/>
                    <a:pt x="128890" y="357340"/>
                  </a:cubicBezTo>
                  <a:cubicBezTo>
                    <a:pt x="128890" y="335583"/>
                    <a:pt x="131609" y="313826"/>
                    <a:pt x="131609" y="289349"/>
                  </a:cubicBezTo>
                  <a:cubicBezTo>
                    <a:pt x="131609" y="275751"/>
                    <a:pt x="131609" y="264872"/>
                    <a:pt x="131609" y="251274"/>
                  </a:cubicBezTo>
                  <a:cubicBezTo>
                    <a:pt x="131609" y="234956"/>
                    <a:pt x="131609" y="221357"/>
                    <a:pt x="131609" y="205040"/>
                  </a:cubicBezTo>
                  <a:cubicBezTo>
                    <a:pt x="131609" y="183282"/>
                    <a:pt x="131609" y="161525"/>
                    <a:pt x="131609" y="139768"/>
                  </a:cubicBezTo>
                  <a:cubicBezTo>
                    <a:pt x="131609" y="137048"/>
                    <a:pt x="131609" y="134329"/>
                    <a:pt x="131609" y="128889"/>
                  </a:cubicBezTo>
                  <a:cubicBezTo>
                    <a:pt x="128890" y="128889"/>
                    <a:pt x="126170" y="128889"/>
                    <a:pt x="126170" y="128889"/>
                  </a:cubicBezTo>
                  <a:cubicBezTo>
                    <a:pt x="118011" y="128889"/>
                    <a:pt x="109852" y="128889"/>
                    <a:pt x="101693" y="128889"/>
                  </a:cubicBezTo>
                  <a:cubicBezTo>
                    <a:pt x="93534" y="128889"/>
                    <a:pt x="82655" y="128889"/>
                    <a:pt x="74496" y="123450"/>
                  </a:cubicBezTo>
                  <a:cubicBezTo>
                    <a:pt x="66337" y="120730"/>
                    <a:pt x="58178" y="112571"/>
                    <a:pt x="58178" y="107132"/>
                  </a:cubicBezTo>
                  <a:cubicBezTo>
                    <a:pt x="58178" y="104412"/>
                    <a:pt x="58178" y="101693"/>
                    <a:pt x="60898" y="98973"/>
                  </a:cubicBezTo>
                  <a:cubicBezTo>
                    <a:pt x="63618" y="96253"/>
                    <a:pt x="77216" y="93534"/>
                    <a:pt x="82655" y="93534"/>
                  </a:cubicBezTo>
                  <a:cubicBezTo>
                    <a:pt x="98973" y="90814"/>
                    <a:pt x="123450" y="88094"/>
                    <a:pt x="131609" y="88094"/>
                  </a:cubicBezTo>
                  <a:cubicBezTo>
                    <a:pt x="131609" y="85375"/>
                    <a:pt x="131609" y="85375"/>
                    <a:pt x="131609" y="82655"/>
                  </a:cubicBezTo>
                  <a:cubicBezTo>
                    <a:pt x="131609" y="77216"/>
                    <a:pt x="131609" y="74496"/>
                    <a:pt x="134329" y="71776"/>
                  </a:cubicBezTo>
                  <a:cubicBezTo>
                    <a:pt x="137049" y="69057"/>
                    <a:pt x="145208" y="66337"/>
                    <a:pt x="147927" y="63617"/>
                  </a:cubicBezTo>
                  <a:cubicBezTo>
                    <a:pt x="153366" y="60898"/>
                    <a:pt x="158806" y="58178"/>
                    <a:pt x="164245" y="58178"/>
                  </a:cubicBezTo>
                  <a:cubicBezTo>
                    <a:pt x="169684" y="58178"/>
                    <a:pt x="175124" y="58178"/>
                    <a:pt x="177843" y="58178"/>
                  </a:cubicBezTo>
                  <a:cubicBezTo>
                    <a:pt x="183283" y="58178"/>
                    <a:pt x="191442" y="58178"/>
                    <a:pt x="196881" y="60898"/>
                  </a:cubicBezTo>
                  <a:cubicBezTo>
                    <a:pt x="213199" y="63617"/>
                    <a:pt x="224078" y="74496"/>
                    <a:pt x="232237" y="88094"/>
                  </a:cubicBezTo>
                  <a:cubicBezTo>
                    <a:pt x="253994" y="88094"/>
                    <a:pt x="270312" y="88094"/>
                    <a:pt x="278471" y="88094"/>
                  </a:cubicBezTo>
                  <a:cubicBezTo>
                    <a:pt x="292069" y="88094"/>
                    <a:pt x="316546" y="88094"/>
                    <a:pt x="316546" y="104412"/>
                  </a:cubicBezTo>
                  <a:cubicBezTo>
                    <a:pt x="316546" y="112571"/>
                    <a:pt x="313826" y="112571"/>
                    <a:pt x="311107" y="120730"/>
                  </a:cubicBezTo>
                  <a:cubicBezTo>
                    <a:pt x="305667" y="126170"/>
                    <a:pt x="300228" y="128889"/>
                    <a:pt x="294789" y="128889"/>
                  </a:cubicBezTo>
                  <a:cubicBezTo>
                    <a:pt x="286630" y="131609"/>
                    <a:pt x="278471" y="131609"/>
                    <a:pt x="273032" y="131609"/>
                  </a:cubicBezTo>
                  <a:cubicBezTo>
                    <a:pt x="270312" y="131609"/>
                    <a:pt x="259433" y="131609"/>
                    <a:pt x="243115" y="131609"/>
                  </a:cubicBezTo>
                  <a:lnTo>
                    <a:pt x="243115" y="134329"/>
                  </a:lnTo>
                  <a:cubicBezTo>
                    <a:pt x="245835" y="145207"/>
                    <a:pt x="245835" y="158805"/>
                    <a:pt x="248554" y="169684"/>
                  </a:cubicBezTo>
                  <a:cubicBezTo>
                    <a:pt x="251274" y="180563"/>
                    <a:pt x="251274" y="194161"/>
                    <a:pt x="251274" y="205040"/>
                  </a:cubicBezTo>
                  <a:cubicBezTo>
                    <a:pt x="251274" y="215918"/>
                    <a:pt x="251274" y="226797"/>
                    <a:pt x="251274" y="240395"/>
                  </a:cubicBezTo>
                  <a:cubicBezTo>
                    <a:pt x="251274" y="245834"/>
                    <a:pt x="251274" y="251274"/>
                    <a:pt x="251274" y="256713"/>
                  </a:cubicBezTo>
                  <a:cubicBezTo>
                    <a:pt x="251274" y="262152"/>
                    <a:pt x="251274" y="267592"/>
                    <a:pt x="253994" y="270311"/>
                  </a:cubicBezTo>
                  <a:cubicBezTo>
                    <a:pt x="256713" y="294788"/>
                    <a:pt x="256713" y="319265"/>
                    <a:pt x="259433" y="343742"/>
                  </a:cubicBezTo>
                  <a:cubicBezTo>
                    <a:pt x="259433" y="370939"/>
                    <a:pt x="262153" y="398135"/>
                    <a:pt x="262153" y="425332"/>
                  </a:cubicBezTo>
                  <a:cubicBezTo>
                    <a:pt x="262153" y="447089"/>
                    <a:pt x="262153" y="468846"/>
                    <a:pt x="264872" y="490603"/>
                  </a:cubicBezTo>
                  <a:cubicBezTo>
                    <a:pt x="264872" y="515080"/>
                    <a:pt x="270312" y="539557"/>
                    <a:pt x="270312" y="564034"/>
                  </a:cubicBezTo>
                  <a:cubicBezTo>
                    <a:pt x="270312" y="574913"/>
                    <a:pt x="270312" y="588511"/>
                    <a:pt x="270312" y="599390"/>
                  </a:cubicBezTo>
                  <a:cubicBezTo>
                    <a:pt x="270312" y="612988"/>
                    <a:pt x="270312" y="623867"/>
                    <a:pt x="270312" y="637465"/>
                  </a:cubicBezTo>
                  <a:cubicBezTo>
                    <a:pt x="270312" y="648343"/>
                    <a:pt x="270312" y="661942"/>
                    <a:pt x="264872" y="670101"/>
                  </a:cubicBezTo>
                  <a:cubicBezTo>
                    <a:pt x="273032" y="672820"/>
                    <a:pt x="278471" y="672820"/>
                    <a:pt x="283910" y="672820"/>
                  </a:cubicBezTo>
                  <a:lnTo>
                    <a:pt x="283910" y="672820"/>
                  </a:ln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>
                <a:solidFill>
                  <a:srgbClr val="FFFFFF"/>
                </a:solidFill>
              </a:endParaRPr>
            </a:p>
          </p:txBody>
        </p:sp>
        <p:sp>
          <p:nvSpPr>
            <p:cNvPr id="49" name="Freeform: Shape 48">
              <a:extLst>
                <a:ext uri="{FF2B5EF4-FFF2-40B4-BE49-F238E27FC236}">
                  <a16:creationId xmlns:a16="http://schemas.microsoft.com/office/drawing/2014/main" id="{57C41A0D-C2E3-4D53-84BE-98D0A1FDB835}"/>
                </a:ext>
              </a:extLst>
            </p:cNvPr>
            <p:cNvSpPr/>
            <p:nvPr/>
          </p:nvSpPr>
          <p:spPr>
            <a:xfrm>
              <a:off x="8652924" y="4192158"/>
              <a:ext cx="516735" cy="788700"/>
            </a:xfrm>
            <a:custGeom>
              <a:avLst/>
              <a:gdLst>
                <a:gd name="connsiteX0" fmla="*/ 464616 w 516735"/>
                <a:gd name="connsiteY0" fmla="*/ 436210 h 788699"/>
                <a:gd name="connsiteX1" fmla="*/ 445578 w 516735"/>
                <a:gd name="connsiteY1" fmla="*/ 455248 h 788699"/>
                <a:gd name="connsiteX2" fmla="*/ 404783 w 516735"/>
                <a:gd name="connsiteY2" fmla="*/ 466126 h 788699"/>
                <a:gd name="connsiteX3" fmla="*/ 385746 w 516735"/>
                <a:gd name="connsiteY3" fmla="*/ 479725 h 788699"/>
                <a:gd name="connsiteX4" fmla="*/ 388466 w 516735"/>
                <a:gd name="connsiteY4" fmla="*/ 512361 h 788699"/>
                <a:gd name="connsiteX5" fmla="*/ 388466 w 516735"/>
                <a:gd name="connsiteY5" fmla="*/ 544997 h 788699"/>
                <a:gd name="connsiteX6" fmla="*/ 388466 w 516735"/>
                <a:gd name="connsiteY6" fmla="*/ 566754 h 788699"/>
                <a:gd name="connsiteX7" fmla="*/ 391185 w 516735"/>
                <a:gd name="connsiteY7" fmla="*/ 632026 h 788699"/>
                <a:gd name="connsiteX8" fmla="*/ 393905 w 516735"/>
                <a:gd name="connsiteY8" fmla="*/ 683699 h 788699"/>
                <a:gd name="connsiteX9" fmla="*/ 377587 w 516735"/>
                <a:gd name="connsiteY9" fmla="*/ 724494 h 788699"/>
                <a:gd name="connsiteX10" fmla="*/ 361269 w 516735"/>
                <a:gd name="connsiteY10" fmla="*/ 719054 h 788699"/>
                <a:gd name="connsiteX11" fmla="*/ 353110 w 516735"/>
                <a:gd name="connsiteY11" fmla="*/ 702737 h 788699"/>
                <a:gd name="connsiteX12" fmla="*/ 350390 w 516735"/>
                <a:gd name="connsiteY12" fmla="*/ 686419 h 788699"/>
                <a:gd name="connsiteX13" fmla="*/ 353110 w 516735"/>
                <a:gd name="connsiteY13" fmla="*/ 659222 h 788699"/>
                <a:gd name="connsiteX14" fmla="*/ 353110 w 516735"/>
                <a:gd name="connsiteY14" fmla="*/ 656502 h 788699"/>
                <a:gd name="connsiteX15" fmla="*/ 317754 w 516735"/>
                <a:gd name="connsiteY15" fmla="*/ 708176 h 788699"/>
                <a:gd name="connsiteX16" fmla="*/ 241604 w 516735"/>
                <a:gd name="connsiteY16" fmla="*/ 735372 h 788699"/>
                <a:gd name="connsiteX17" fmla="*/ 187211 w 516735"/>
                <a:gd name="connsiteY17" fmla="*/ 727214 h 788699"/>
                <a:gd name="connsiteX18" fmla="*/ 135537 w 516735"/>
                <a:gd name="connsiteY18" fmla="*/ 694578 h 788699"/>
                <a:gd name="connsiteX19" fmla="*/ 86583 w 516735"/>
                <a:gd name="connsiteY19" fmla="*/ 621147 h 788699"/>
                <a:gd name="connsiteX20" fmla="*/ 67546 w 516735"/>
                <a:gd name="connsiteY20" fmla="*/ 555875 h 788699"/>
                <a:gd name="connsiteX21" fmla="*/ 59387 w 516735"/>
                <a:gd name="connsiteY21" fmla="*/ 509641 h 788699"/>
                <a:gd name="connsiteX22" fmla="*/ 59387 w 516735"/>
                <a:gd name="connsiteY22" fmla="*/ 468846 h 788699"/>
                <a:gd name="connsiteX23" fmla="*/ 86583 w 516735"/>
                <a:gd name="connsiteY23" fmla="*/ 302947 h 788699"/>
                <a:gd name="connsiteX24" fmla="*/ 108341 w 516735"/>
                <a:gd name="connsiteY24" fmla="*/ 224077 h 788699"/>
                <a:gd name="connsiteX25" fmla="*/ 146416 w 516735"/>
                <a:gd name="connsiteY25" fmla="*/ 145207 h 788699"/>
                <a:gd name="connsiteX26" fmla="*/ 198090 w 516735"/>
                <a:gd name="connsiteY26" fmla="*/ 85375 h 788699"/>
                <a:gd name="connsiteX27" fmla="*/ 228006 w 516735"/>
                <a:gd name="connsiteY27" fmla="*/ 69057 h 788699"/>
                <a:gd name="connsiteX28" fmla="*/ 268801 w 516735"/>
                <a:gd name="connsiteY28" fmla="*/ 58178 h 788699"/>
                <a:gd name="connsiteX29" fmla="*/ 274240 w 516735"/>
                <a:gd name="connsiteY29" fmla="*/ 58178 h 788699"/>
                <a:gd name="connsiteX30" fmla="*/ 295997 w 516735"/>
                <a:gd name="connsiteY30" fmla="*/ 60898 h 788699"/>
                <a:gd name="connsiteX31" fmla="*/ 331353 w 516735"/>
                <a:gd name="connsiteY31" fmla="*/ 71776 h 788699"/>
                <a:gd name="connsiteX32" fmla="*/ 350390 w 516735"/>
                <a:gd name="connsiteY32" fmla="*/ 93534 h 788699"/>
                <a:gd name="connsiteX33" fmla="*/ 353110 w 516735"/>
                <a:gd name="connsiteY33" fmla="*/ 74496 h 788699"/>
                <a:gd name="connsiteX34" fmla="*/ 358549 w 516735"/>
                <a:gd name="connsiteY34" fmla="*/ 63618 h 788699"/>
                <a:gd name="connsiteX35" fmla="*/ 366708 w 516735"/>
                <a:gd name="connsiteY35" fmla="*/ 58178 h 788699"/>
                <a:gd name="connsiteX36" fmla="*/ 374867 w 516735"/>
                <a:gd name="connsiteY36" fmla="*/ 63618 h 788699"/>
                <a:gd name="connsiteX37" fmla="*/ 383027 w 516735"/>
                <a:gd name="connsiteY37" fmla="*/ 82655 h 788699"/>
                <a:gd name="connsiteX38" fmla="*/ 385746 w 516735"/>
                <a:gd name="connsiteY38" fmla="*/ 126170 h 788699"/>
                <a:gd name="connsiteX39" fmla="*/ 388466 w 516735"/>
                <a:gd name="connsiteY39" fmla="*/ 186002 h 788699"/>
                <a:gd name="connsiteX40" fmla="*/ 391185 w 516735"/>
                <a:gd name="connsiteY40" fmla="*/ 237676 h 788699"/>
                <a:gd name="connsiteX41" fmla="*/ 374867 w 516735"/>
                <a:gd name="connsiteY41" fmla="*/ 278470 h 788699"/>
                <a:gd name="connsiteX42" fmla="*/ 358549 w 516735"/>
                <a:gd name="connsiteY42" fmla="*/ 273031 h 788699"/>
                <a:gd name="connsiteX43" fmla="*/ 350390 w 516735"/>
                <a:gd name="connsiteY43" fmla="*/ 256713 h 788699"/>
                <a:gd name="connsiteX44" fmla="*/ 347671 w 516735"/>
                <a:gd name="connsiteY44" fmla="*/ 240395 h 788699"/>
                <a:gd name="connsiteX45" fmla="*/ 347671 w 516735"/>
                <a:gd name="connsiteY45" fmla="*/ 213199 h 788699"/>
                <a:gd name="connsiteX46" fmla="*/ 344951 w 516735"/>
                <a:gd name="connsiteY46" fmla="*/ 194161 h 788699"/>
                <a:gd name="connsiteX47" fmla="*/ 339512 w 516735"/>
                <a:gd name="connsiteY47" fmla="*/ 150647 h 788699"/>
                <a:gd name="connsiteX48" fmla="*/ 323194 w 516735"/>
                <a:gd name="connsiteY48" fmla="*/ 112571 h 788699"/>
                <a:gd name="connsiteX49" fmla="*/ 293278 w 516735"/>
                <a:gd name="connsiteY49" fmla="*/ 101693 h 788699"/>
                <a:gd name="connsiteX50" fmla="*/ 263361 w 516735"/>
                <a:gd name="connsiteY50" fmla="*/ 120730 h 788699"/>
                <a:gd name="connsiteX51" fmla="*/ 241604 w 516735"/>
                <a:gd name="connsiteY51" fmla="*/ 153366 h 788699"/>
                <a:gd name="connsiteX52" fmla="*/ 233445 w 516735"/>
                <a:gd name="connsiteY52" fmla="*/ 194161 h 788699"/>
                <a:gd name="connsiteX53" fmla="*/ 225286 w 516735"/>
                <a:gd name="connsiteY53" fmla="*/ 232236 h 788699"/>
                <a:gd name="connsiteX54" fmla="*/ 217127 w 516735"/>
                <a:gd name="connsiteY54" fmla="*/ 275751 h 788699"/>
                <a:gd name="connsiteX55" fmla="*/ 211688 w 516735"/>
                <a:gd name="connsiteY55" fmla="*/ 316545 h 788699"/>
                <a:gd name="connsiteX56" fmla="*/ 206249 w 516735"/>
                <a:gd name="connsiteY56" fmla="*/ 354621 h 788699"/>
                <a:gd name="connsiteX57" fmla="*/ 200809 w 516735"/>
                <a:gd name="connsiteY57" fmla="*/ 398135 h 788699"/>
                <a:gd name="connsiteX58" fmla="*/ 195370 w 516735"/>
                <a:gd name="connsiteY58" fmla="*/ 438930 h 788699"/>
                <a:gd name="connsiteX59" fmla="*/ 192650 w 516735"/>
                <a:gd name="connsiteY59" fmla="*/ 474286 h 788699"/>
                <a:gd name="connsiteX60" fmla="*/ 195370 w 516735"/>
                <a:gd name="connsiteY60" fmla="*/ 525959 h 788699"/>
                <a:gd name="connsiteX61" fmla="*/ 208968 w 516735"/>
                <a:gd name="connsiteY61" fmla="*/ 596670 h 788699"/>
                <a:gd name="connsiteX62" fmla="*/ 214407 w 516735"/>
                <a:gd name="connsiteY62" fmla="*/ 623867 h 788699"/>
                <a:gd name="connsiteX63" fmla="*/ 228006 w 516735"/>
                <a:gd name="connsiteY63" fmla="*/ 656502 h 788699"/>
                <a:gd name="connsiteX64" fmla="*/ 271520 w 516735"/>
                <a:gd name="connsiteY64" fmla="*/ 689138 h 788699"/>
                <a:gd name="connsiteX65" fmla="*/ 306876 w 516735"/>
                <a:gd name="connsiteY65" fmla="*/ 664661 h 788699"/>
                <a:gd name="connsiteX66" fmla="*/ 331353 w 516735"/>
                <a:gd name="connsiteY66" fmla="*/ 602109 h 788699"/>
                <a:gd name="connsiteX67" fmla="*/ 336792 w 516735"/>
                <a:gd name="connsiteY67" fmla="*/ 544997 h 788699"/>
                <a:gd name="connsiteX68" fmla="*/ 336792 w 516735"/>
                <a:gd name="connsiteY68" fmla="*/ 498762 h 788699"/>
                <a:gd name="connsiteX69" fmla="*/ 336792 w 516735"/>
                <a:gd name="connsiteY69" fmla="*/ 490603 h 788699"/>
                <a:gd name="connsiteX70" fmla="*/ 320474 w 516735"/>
                <a:gd name="connsiteY70" fmla="*/ 477005 h 788699"/>
                <a:gd name="connsiteX71" fmla="*/ 282399 w 516735"/>
                <a:gd name="connsiteY71" fmla="*/ 479725 h 788699"/>
                <a:gd name="connsiteX72" fmla="*/ 252483 w 516735"/>
                <a:gd name="connsiteY72" fmla="*/ 474286 h 788699"/>
                <a:gd name="connsiteX73" fmla="*/ 247044 w 516735"/>
                <a:gd name="connsiteY73" fmla="*/ 466126 h 788699"/>
                <a:gd name="connsiteX74" fmla="*/ 249763 w 516735"/>
                <a:gd name="connsiteY74" fmla="*/ 457968 h 788699"/>
                <a:gd name="connsiteX75" fmla="*/ 268801 w 516735"/>
                <a:gd name="connsiteY75" fmla="*/ 447089 h 788699"/>
                <a:gd name="connsiteX76" fmla="*/ 312315 w 516735"/>
                <a:gd name="connsiteY76" fmla="*/ 436210 h 788699"/>
                <a:gd name="connsiteX77" fmla="*/ 353110 w 516735"/>
                <a:gd name="connsiteY77" fmla="*/ 430771 h 788699"/>
                <a:gd name="connsiteX78" fmla="*/ 385746 w 516735"/>
                <a:gd name="connsiteY78" fmla="*/ 430771 h 788699"/>
                <a:gd name="connsiteX79" fmla="*/ 437420 w 516735"/>
                <a:gd name="connsiteY79" fmla="*/ 428051 h 788699"/>
                <a:gd name="connsiteX80" fmla="*/ 464616 w 516735"/>
                <a:gd name="connsiteY80" fmla="*/ 436210 h 7886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</a:cxnLst>
              <a:rect l="l" t="t" r="r" b="b"/>
              <a:pathLst>
                <a:path w="516735" h="788699">
                  <a:moveTo>
                    <a:pt x="464616" y="436210"/>
                  </a:moveTo>
                  <a:cubicBezTo>
                    <a:pt x="464616" y="447089"/>
                    <a:pt x="453738" y="452528"/>
                    <a:pt x="445578" y="455248"/>
                  </a:cubicBezTo>
                  <a:cubicBezTo>
                    <a:pt x="434700" y="460687"/>
                    <a:pt x="415662" y="463407"/>
                    <a:pt x="404783" y="466126"/>
                  </a:cubicBezTo>
                  <a:cubicBezTo>
                    <a:pt x="393905" y="466126"/>
                    <a:pt x="385746" y="468846"/>
                    <a:pt x="385746" y="479725"/>
                  </a:cubicBezTo>
                  <a:cubicBezTo>
                    <a:pt x="385746" y="487884"/>
                    <a:pt x="388466" y="506921"/>
                    <a:pt x="388466" y="512361"/>
                  </a:cubicBezTo>
                  <a:cubicBezTo>
                    <a:pt x="388466" y="515080"/>
                    <a:pt x="388466" y="539557"/>
                    <a:pt x="388466" y="544997"/>
                  </a:cubicBezTo>
                  <a:cubicBezTo>
                    <a:pt x="388466" y="550436"/>
                    <a:pt x="388466" y="558595"/>
                    <a:pt x="388466" y="566754"/>
                  </a:cubicBezTo>
                  <a:cubicBezTo>
                    <a:pt x="388466" y="591231"/>
                    <a:pt x="388466" y="621147"/>
                    <a:pt x="391185" y="632026"/>
                  </a:cubicBezTo>
                  <a:cubicBezTo>
                    <a:pt x="393905" y="653783"/>
                    <a:pt x="393905" y="661942"/>
                    <a:pt x="393905" y="683699"/>
                  </a:cubicBezTo>
                  <a:cubicBezTo>
                    <a:pt x="393905" y="694578"/>
                    <a:pt x="393905" y="724494"/>
                    <a:pt x="377587" y="724494"/>
                  </a:cubicBezTo>
                  <a:cubicBezTo>
                    <a:pt x="369428" y="724494"/>
                    <a:pt x="366708" y="721774"/>
                    <a:pt x="361269" y="719054"/>
                  </a:cubicBezTo>
                  <a:cubicBezTo>
                    <a:pt x="355830" y="716335"/>
                    <a:pt x="353110" y="708176"/>
                    <a:pt x="353110" y="702737"/>
                  </a:cubicBezTo>
                  <a:cubicBezTo>
                    <a:pt x="350390" y="694578"/>
                    <a:pt x="350390" y="689138"/>
                    <a:pt x="350390" y="686419"/>
                  </a:cubicBezTo>
                  <a:cubicBezTo>
                    <a:pt x="350390" y="678260"/>
                    <a:pt x="353110" y="672820"/>
                    <a:pt x="353110" y="659222"/>
                  </a:cubicBezTo>
                  <a:lnTo>
                    <a:pt x="353110" y="656502"/>
                  </a:lnTo>
                  <a:cubicBezTo>
                    <a:pt x="347671" y="675540"/>
                    <a:pt x="334073" y="694578"/>
                    <a:pt x="317754" y="708176"/>
                  </a:cubicBezTo>
                  <a:cubicBezTo>
                    <a:pt x="293278" y="727214"/>
                    <a:pt x="274240" y="735372"/>
                    <a:pt x="241604" y="735372"/>
                  </a:cubicBezTo>
                  <a:cubicBezTo>
                    <a:pt x="222566" y="735372"/>
                    <a:pt x="203529" y="732653"/>
                    <a:pt x="187211" y="727214"/>
                  </a:cubicBezTo>
                  <a:cubicBezTo>
                    <a:pt x="165454" y="719054"/>
                    <a:pt x="149136" y="708176"/>
                    <a:pt x="135537" y="694578"/>
                  </a:cubicBezTo>
                  <a:cubicBezTo>
                    <a:pt x="113780" y="672820"/>
                    <a:pt x="100182" y="648343"/>
                    <a:pt x="86583" y="621147"/>
                  </a:cubicBezTo>
                  <a:cubicBezTo>
                    <a:pt x="75705" y="599390"/>
                    <a:pt x="70266" y="580352"/>
                    <a:pt x="67546" y="555875"/>
                  </a:cubicBezTo>
                  <a:cubicBezTo>
                    <a:pt x="64826" y="539557"/>
                    <a:pt x="62107" y="525959"/>
                    <a:pt x="59387" y="509641"/>
                  </a:cubicBezTo>
                  <a:cubicBezTo>
                    <a:pt x="56667" y="493323"/>
                    <a:pt x="59387" y="485164"/>
                    <a:pt x="59387" y="468846"/>
                  </a:cubicBezTo>
                  <a:cubicBezTo>
                    <a:pt x="59387" y="414453"/>
                    <a:pt x="72985" y="362780"/>
                    <a:pt x="86583" y="302947"/>
                  </a:cubicBezTo>
                  <a:cubicBezTo>
                    <a:pt x="92023" y="275751"/>
                    <a:pt x="100182" y="248554"/>
                    <a:pt x="108341" y="224077"/>
                  </a:cubicBezTo>
                  <a:cubicBezTo>
                    <a:pt x="116500" y="196881"/>
                    <a:pt x="130098" y="169684"/>
                    <a:pt x="146416" y="145207"/>
                  </a:cubicBezTo>
                  <a:cubicBezTo>
                    <a:pt x="160014" y="123450"/>
                    <a:pt x="176332" y="101693"/>
                    <a:pt x="198090" y="85375"/>
                  </a:cubicBezTo>
                  <a:cubicBezTo>
                    <a:pt x="206249" y="77216"/>
                    <a:pt x="217127" y="71776"/>
                    <a:pt x="228006" y="69057"/>
                  </a:cubicBezTo>
                  <a:cubicBezTo>
                    <a:pt x="241604" y="63618"/>
                    <a:pt x="255202" y="58178"/>
                    <a:pt x="268801" y="58178"/>
                  </a:cubicBezTo>
                  <a:cubicBezTo>
                    <a:pt x="271520" y="58178"/>
                    <a:pt x="274240" y="58178"/>
                    <a:pt x="274240" y="58178"/>
                  </a:cubicBezTo>
                  <a:cubicBezTo>
                    <a:pt x="279679" y="58178"/>
                    <a:pt x="285119" y="58178"/>
                    <a:pt x="295997" y="60898"/>
                  </a:cubicBezTo>
                  <a:cubicBezTo>
                    <a:pt x="309595" y="63618"/>
                    <a:pt x="320474" y="66337"/>
                    <a:pt x="331353" y="71776"/>
                  </a:cubicBezTo>
                  <a:cubicBezTo>
                    <a:pt x="339512" y="77216"/>
                    <a:pt x="347671" y="85375"/>
                    <a:pt x="350390" y="93534"/>
                  </a:cubicBezTo>
                  <a:cubicBezTo>
                    <a:pt x="350390" y="88095"/>
                    <a:pt x="353110" y="79936"/>
                    <a:pt x="353110" y="74496"/>
                  </a:cubicBezTo>
                  <a:cubicBezTo>
                    <a:pt x="355830" y="71776"/>
                    <a:pt x="355830" y="69057"/>
                    <a:pt x="358549" y="63618"/>
                  </a:cubicBezTo>
                  <a:cubicBezTo>
                    <a:pt x="361269" y="60898"/>
                    <a:pt x="363989" y="58178"/>
                    <a:pt x="366708" y="58178"/>
                  </a:cubicBezTo>
                  <a:cubicBezTo>
                    <a:pt x="369428" y="58178"/>
                    <a:pt x="372148" y="60898"/>
                    <a:pt x="374867" y="63618"/>
                  </a:cubicBezTo>
                  <a:cubicBezTo>
                    <a:pt x="377587" y="69057"/>
                    <a:pt x="380307" y="77216"/>
                    <a:pt x="383027" y="82655"/>
                  </a:cubicBezTo>
                  <a:cubicBezTo>
                    <a:pt x="383027" y="90814"/>
                    <a:pt x="385746" y="107132"/>
                    <a:pt x="385746" y="126170"/>
                  </a:cubicBezTo>
                  <a:cubicBezTo>
                    <a:pt x="385746" y="150647"/>
                    <a:pt x="385746" y="177843"/>
                    <a:pt x="388466" y="186002"/>
                  </a:cubicBezTo>
                  <a:cubicBezTo>
                    <a:pt x="391185" y="207759"/>
                    <a:pt x="391185" y="215918"/>
                    <a:pt x="391185" y="237676"/>
                  </a:cubicBezTo>
                  <a:cubicBezTo>
                    <a:pt x="391185" y="248554"/>
                    <a:pt x="391185" y="278470"/>
                    <a:pt x="374867" y="278470"/>
                  </a:cubicBezTo>
                  <a:cubicBezTo>
                    <a:pt x="366708" y="278470"/>
                    <a:pt x="363989" y="275751"/>
                    <a:pt x="358549" y="273031"/>
                  </a:cubicBezTo>
                  <a:cubicBezTo>
                    <a:pt x="353110" y="270311"/>
                    <a:pt x="350390" y="262152"/>
                    <a:pt x="350390" y="256713"/>
                  </a:cubicBezTo>
                  <a:cubicBezTo>
                    <a:pt x="350390" y="251274"/>
                    <a:pt x="347671" y="245834"/>
                    <a:pt x="347671" y="240395"/>
                  </a:cubicBezTo>
                  <a:cubicBezTo>
                    <a:pt x="347671" y="232236"/>
                    <a:pt x="347671" y="224077"/>
                    <a:pt x="347671" y="213199"/>
                  </a:cubicBezTo>
                  <a:cubicBezTo>
                    <a:pt x="347671" y="207759"/>
                    <a:pt x="347671" y="199600"/>
                    <a:pt x="344951" y="194161"/>
                  </a:cubicBezTo>
                  <a:cubicBezTo>
                    <a:pt x="342232" y="180563"/>
                    <a:pt x="342232" y="164245"/>
                    <a:pt x="339512" y="150647"/>
                  </a:cubicBezTo>
                  <a:cubicBezTo>
                    <a:pt x="336792" y="137048"/>
                    <a:pt x="331353" y="123450"/>
                    <a:pt x="323194" y="112571"/>
                  </a:cubicBezTo>
                  <a:cubicBezTo>
                    <a:pt x="317754" y="104412"/>
                    <a:pt x="304156" y="101693"/>
                    <a:pt x="293278" y="101693"/>
                  </a:cubicBezTo>
                  <a:cubicBezTo>
                    <a:pt x="279679" y="101693"/>
                    <a:pt x="271520" y="109852"/>
                    <a:pt x="263361" y="120730"/>
                  </a:cubicBezTo>
                  <a:cubicBezTo>
                    <a:pt x="257922" y="131609"/>
                    <a:pt x="247044" y="139768"/>
                    <a:pt x="241604" y="153366"/>
                  </a:cubicBezTo>
                  <a:cubicBezTo>
                    <a:pt x="236165" y="166964"/>
                    <a:pt x="233445" y="180563"/>
                    <a:pt x="233445" y="194161"/>
                  </a:cubicBezTo>
                  <a:cubicBezTo>
                    <a:pt x="233445" y="207759"/>
                    <a:pt x="230725" y="218638"/>
                    <a:pt x="225286" y="232236"/>
                  </a:cubicBezTo>
                  <a:cubicBezTo>
                    <a:pt x="219847" y="245834"/>
                    <a:pt x="219847" y="262152"/>
                    <a:pt x="217127" y="275751"/>
                  </a:cubicBezTo>
                  <a:cubicBezTo>
                    <a:pt x="214407" y="289349"/>
                    <a:pt x="214407" y="302947"/>
                    <a:pt x="211688" y="316545"/>
                  </a:cubicBezTo>
                  <a:cubicBezTo>
                    <a:pt x="211688" y="330144"/>
                    <a:pt x="206249" y="341022"/>
                    <a:pt x="206249" y="354621"/>
                  </a:cubicBezTo>
                  <a:cubicBezTo>
                    <a:pt x="203529" y="368219"/>
                    <a:pt x="203529" y="381817"/>
                    <a:pt x="200809" y="398135"/>
                  </a:cubicBezTo>
                  <a:cubicBezTo>
                    <a:pt x="198090" y="411733"/>
                    <a:pt x="198090" y="425332"/>
                    <a:pt x="195370" y="438930"/>
                  </a:cubicBezTo>
                  <a:cubicBezTo>
                    <a:pt x="195370" y="449809"/>
                    <a:pt x="192650" y="463407"/>
                    <a:pt x="192650" y="474286"/>
                  </a:cubicBezTo>
                  <a:cubicBezTo>
                    <a:pt x="192650" y="490603"/>
                    <a:pt x="195370" y="509641"/>
                    <a:pt x="195370" y="525959"/>
                  </a:cubicBezTo>
                  <a:cubicBezTo>
                    <a:pt x="195370" y="550436"/>
                    <a:pt x="203529" y="572193"/>
                    <a:pt x="208968" y="596670"/>
                  </a:cubicBezTo>
                  <a:cubicBezTo>
                    <a:pt x="211688" y="604829"/>
                    <a:pt x="211688" y="615708"/>
                    <a:pt x="214407" y="623867"/>
                  </a:cubicBezTo>
                  <a:cubicBezTo>
                    <a:pt x="217127" y="634745"/>
                    <a:pt x="222566" y="645624"/>
                    <a:pt x="228006" y="656502"/>
                  </a:cubicBezTo>
                  <a:cubicBezTo>
                    <a:pt x="236165" y="670101"/>
                    <a:pt x="252483" y="689138"/>
                    <a:pt x="271520" y="689138"/>
                  </a:cubicBezTo>
                  <a:cubicBezTo>
                    <a:pt x="287838" y="689138"/>
                    <a:pt x="298717" y="675540"/>
                    <a:pt x="306876" y="664661"/>
                  </a:cubicBezTo>
                  <a:cubicBezTo>
                    <a:pt x="320474" y="645624"/>
                    <a:pt x="325914" y="623867"/>
                    <a:pt x="331353" y="602109"/>
                  </a:cubicBezTo>
                  <a:cubicBezTo>
                    <a:pt x="334073" y="583072"/>
                    <a:pt x="336792" y="564034"/>
                    <a:pt x="336792" y="544997"/>
                  </a:cubicBezTo>
                  <a:cubicBezTo>
                    <a:pt x="336792" y="531398"/>
                    <a:pt x="336792" y="512361"/>
                    <a:pt x="336792" y="498762"/>
                  </a:cubicBezTo>
                  <a:cubicBezTo>
                    <a:pt x="336792" y="496043"/>
                    <a:pt x="336792" y="493323"/>
                    <a:pt x="336792" y="490603"/>
                  </a:cubicBezTo>
                  <a:cubicBezTo>
                    <a:pt x="336792" y="479725"/>
                    <a:pt x="336792" y="477005"/>
                    <a:pt x="320474" y="477005"/>
                  </a:cubicBezTo>
                  <a:cubicBezTo>
                    <a:pt x="309595" y="477005"/>
                    <a:pt x="295997" y="479725"/>
                    <a:pt x="282399" y="479725"/>
                  </a:cubicBezTo>
                  <a:cubicBezTo>
                    <a:pt x="271520" y="479725"/>
                    <a:pt x="260642" y="479725"/>
                    <a:pt x="252483" y="474286"/>
                  </a:cubicBezTo>
                  <a:cubicBezTo>
                    <a:pt x="249763" y="471566"/>
                    <a:pt x="247044" y="468846"/>
                    <a:pt x="247044" y="466126"/>
                  </a:cubicBezTo>
                  <a:cubicBezTo>
                    <a:pt x="247044" y="463407"/>
                    <a:pt x="247044" y="460687"/>
                    <a:pt x="249763" y="457968"/>
                  </a:cubicBezTo>
                  <a:cubicBezTo>
                    <a:pt x="255202" y="452528"/>
                    <a:pt x="260642" y="449809"/>
                    <a:pt x="268801" y="447089"/>
                  </a:cubicBezTo>
                  <a:cubicBezTo>
                    <a:pt x="282399" y="441650"/>
                    <a:pt x="295997" y="438930"/>
                    <a:pt x="312315" y="436210"/>
                  </a:cubicBezTo>
                  <a:cubicBezTo>
                    <a:pt x="325914" y="433491"/>
                    <a:pt x="339512" y="433491"/>
                    <a:pt x="353110" y="430771"/>
                  </a:cubicBezTo>
                  <a:cubicBezTo>
                    <a:pt x="363989" y="430771"/>
                    <a:pt x="374867" y="430771"/>
                    <a:pt x="385746" y="430771"/>
                  </a:cubicBezTo>
                  <a:cubicBezTo>
                    <a:pt x="402064" y="430771"/>
                    <a:pt x="426541" y="428051"/>
                    <a:pt x="437420" y="428051"/>
                  </a:cubicBezTo>
                  <a:cubicBezTo>
                    <a:pt x="451018" y="422612"/>
                    <a:pt x="464616" y="425332"/>
                    <a:pt x="464616" y="436210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>
                <a:solidFill>
                  <a:srgbClr val="FFFFFF"/>
                </a:solidFill>
              </a:endParaRPr>
            </a:p>
          </p:txBody>
        </p:sp>
        <p:sp>
          <p:nvSpPr>
            <p:cNvPr id="50" name="Freeform: Shape 49">
              <a:extLst>
                <a:ext uri="{FF2B5EF4-FFF2-40B4-BE49-F238E27FC236}">
                  <a16:creationId xmlns:a16="http://schemas.microsoft.com/office/drawing/2014/main" id="{F0CBCB5D-8273-445A-953A-CC3C6A32C121}"/>
                </a:ext>
              </a:extLst>
            </p:cNvPr>
            <p:cNvSpPr/>
            <p:nvPr/>
          </p:nvSpPr>
          <p:spPr>
            <a:xfrm>
              <a:off x="9053923" y="4178559"/>
              <a:ext cx="625521" cy="788700"/>
            </a:xfrm>
            <a:custGeom>
              <a:avLst/>
              <a:gdLst>
                <a:gd name="connsiteX0" fmla="*/ 536838 w 625521"/>
                <a:gd name="connsiteY0" fmla="*/ 680979 h 788699"/>
                <a:gd name="connsiteX1" fmla="*/ 574913 w 625521"/>
                <a:gd name="connsiteY1" fmla="*/ 697297 h 788699"/>
                <a:gd name="connsiteX2" fmla="*/ 566755 w 625521"/>
                <a:gd name="connsiteY2" fmla="*/ 713615 h 788699"/>
                <a:gd name="connsiteX3" fmla="*/ 550437 w 625521"/>
                <a:gd name="connsiteY3" fmla="*/ 721774 h 788699"/>
                <a:gd name="connsiteX4" fmla="*/ 528680 w 625521"/>
                <a:gd name="connsiteY4" fmla="*/ 724494 h 788699"/>
                <a:gd name="connsiteX5" fmla="*/ 417174 w 625521"/>
                <a:gd name="connsiteY5" fmla="*/ 724494 h 788699"/>
                <a:gd name="connsiteX6" fmla="*/ 398136 w 625521"/>
                <a:gd name="connsiteY6" fmla="*/ 724494 h 788699"/>
                <a:gd name="connsiteX7" fmla="*/ 373659 w 625521"/>
                <a:gd name="connsiteY7" fmla="*/ 724494 h 788699"/>
                <a:gd name="connsiteX8" fmla="*/ 346462 w 625521"/>
                <a:gd name="connsiteY8" fmla="*/ 719054 h 788699"/>
                <a:gd name="connsiteX9" fmla="*/ 330144 w 625521"/>
                <a:gd name="connsiteY9" fmla="*/ 702737 h 788699"/>
                <a:gd name="connsiteX10" fmla="*/ 335584 w 625521"/>
                <a:gd name="connsiteY10" fmla="*/ 694578 h 788699"/>
                <a:gd name="connsiteX11" fmla="*/ 357341 w 625521"/>
                <a:gd name="connsiteY11" fmla="*/ 686419 h 788699"/>
                <a:gd name="connsiteX12" fmla="*/ 395416 w 625521"/>
                <a:gd name="connsiteY12" fmla="*/ 680979 h 788699"/>
                <a:gd name="connsiteX13" fmla="*/ 381817 w 625521"/>
                <a:gd name="connsiteY13" fmla="*/ 656502 h 788699"/>
                <a:gd name="connsiteX14" fmla="*/ 379098 w 625521"/>
                <a:gd name="connsiteY14" fmla="*/ 585791 h 788699"/>
                <a:gd name="connsiteX15" fmla="*/ 379098 w 625521"/>
                <a:gd name="connsiteY15" fmla="*/ 517800 h 788699"/>
                <a:gd name="connsiteX16" fmla="*/ 379098 w 625521"/>
                <a:gd name="connsiteY16" fmla="*/ 474286 h 788699"/>
                <a:gd name="connsiteX17" fmla="*/ 379098 w 625521"/>
                <a:gd name="connsiteY17" fmla="*/ 430771 h 788699"/>
                <a:gd name="connsiteX18" fmla="*/ 381817 w 625521"/>
                <a:gd name="connsiteY18" fmla="*/ 411733 h 788699"/>
                <a:gd name="connsiteX19" fmla="*/ 379098 w 625521"/>
                <a:gd name="connsiteY19" fmla="*/ 400855 h 788699"/>
                <a:gd name="connsiteX20" fmla="*/ 370939 w 625521"/>
                <a:gd name="connsiteY20" fmla="*/ 398135 h 788699"/>
                <a:gd name="connsiteX21" fmla="*/ 338304 w 625521"/>
                <a:gd name="connsiteY21" fmla="*/ 400855 h 788699"/>
                <a:gd name="connsiteX22" fmla="*/ 289349 w 625521"/>
                <a:gd name="connsiteY22" fmla="*/ 403575 h 788699"/>
                <a:gd name="connsiteX23" fmla="*/ 264872 w 625521"/>
                <a:gd name="connsiteY23" fmla="*/ 400855 h 788699"/>
                <a:gd name="connsiteX24" fmla="*/ 259433 w 625521"/>
                <a:gd name="connsiteY24" fmla="*/ 406294 h 788699"/>
                <a:gd name="connsiteX25" fmla="*/ 259433 w 625521"/>
                <a:gd name="connsiteY25" fmla="*/ 425332 h 788699"/>
                <a:gd name="connsiteX26" fmla="*/ 259433 w 625521"/>
                <a:gd name="connsiteY26" fmla="*/ 449809 h 788699"/>
                <a:gd name="connsiteX27" fmla="*/ 259433 w 625521"/>
                <a:gd name="connsiteY27" fmla="*/ 471566 h 788699"/>
                <a:gd name="connsiteX28" fmla="*/ 259433 w 625521"/>
                <a:gd name="connsiteY28" fmla="*/ 504202 h 788699"/>
                <a:gd name="connsiteX29" fmla="*/ 259433 w 625521"/>
                <a:gd name="connsiteY29" fmla="*/ 509641 h 788699"/>
                <a:gd name="connsiteX30" fmla="*/ 256714 w 625521"/>
                <a:gd name="connsiteY30" fmla="*/ 542277 h 788699"/>
                <a:gd name="connsiteX31" fmla="*/ 256714 w 625521"/>
                <a:gd name="connsiteY31" fmla="*/ 577632 h 788699"/>
                <a:gd name="connsiteX32" fmla="*/ 256714 w 625521"/>
                <a:gd name="connsiteY32" fmla="*/ 612988 h 788699"/>
                <a:gd name="connsiteX33" fmla="*/ 253994 w 625521"/>
                <a:gd name="connsiteY33" fmla="*/ 656502 h 788699"/>
                <a:gd name="connsiteX34" fmla="*/ 256714 w 625521"/>
                <a:gd name="connsiteY34" fmla="*/ 678260 h 788699"/>
                <a:gd name="connsiteX35" fmla="*/ 286629 w 625521"/>
                <a:gd name="connsiteY35" fmla="*/ 694578 h 788699"/>
                <a:gd name="connsiteX36" fmla="*/ 281191 w 625521"/>
                <a:gd name="connsiteY36" fmla="*/ 710895 h 788699"/>
                <a:gd name="connsiteX37" fmla="*/ 264872 w 625521"/>
                <a:gd name="connsiteY37" fmla="*/ 719054 h 788699"/>
                <a:gd name="connsiteX38" fmla="*/ 243116 w 625521"/>
                <a:gd name="connsiteY38" fmla="*/ 721774 h 788699"/>
                <a:gd name="connsiteX39" fmla="*/ 243116 w 625521"/>
                <a:gd name="connsiteY39" fmla="*/ 721774 h 788699"/>
                <a:gd name="connsiteX40" fmla="*/ 232236 w 625521"/>
                <a:gd name="connsiteY40" fmla="*/ 727214 h 788699"/>
                <a:gd name="connsiteX41" fmla="*/ 224078 w 625521"/>
                <a:gd name="connsiteY41" fmla="*/ 735372 h 788699"/>
                <a:gd name="connsiteX42" fmla="*/ 213199 w 625521"/>
                <a:gd name="connsiteY42" fmla="*/ 738092 h 788699"/>
                <a:gd name="connsiteX43" fmla="*/ 183283 w 625521"/>
                <a:gd name="connsiteY43" fmla="*/ 727214 h 788699"/>
                <a:gd name="connsiteX44" fmla="*/ 175124 w 625521"/>
                <a:gd name="connsiteY44" fmla="*/ 719054 h 788699"/>
                <a:gd name="connsiteX45" fmla="*/ 145208 w 625521"/>
                <a:gd name="connsiteY45" fmla="*/ 719054 h 788699"/>
                <a:gd name="connsiteX46" fmla="*/ 126170 w 625521"/>
                <a:gd name="connsiteY46" fmla="*/ 719054 h 788699"/>
                <a:gd name="connsiteX47" fmla="*/ 101693 w 625521"/>
                <a:gd name="connsiteY47" fmla="*/ 719054 h 788699"/>
                <a:gd name="connsiteX48" fmla="*/ 74496 w 625521"/>
                <a:gd name="connsiteY48" fmla="*/ 713615 h 788699"/>
                <a:gd name="connsiteX49" fmla="*/ 58178 w 625521"/>
                <a:gd name="connsiteY49" fmla="*/ 697297 h 788699"/>
                <a:gd name="connsiteX50" fmla="*/ 63618 w 625521"/>
                <a:gd name="connsiteY50" fmla="*/ 689138 h 788699"/>
                <a:gd name="connsiteX51" fmla="*/ 85375 w 625521"/>
                <a:gd name="connsiteY51" fmla="*/ 680979 h 788699"/>
                <a:gd name="connsiteX52" fmla="*/ 131609 w 625521"/>
                <a:gd name="connsiteY52" fmla="*/ 675540 h 788699"/>
                <a:gd name="connsiteX53" fmla="*/ 131609 w 625521"/>
                <a:gd name="connsiteY53" fmla="*/ 667381 h 788699"/>
                <a:gd name="connsiteX54" fmla="*/ 131609 w 625521"/>
                <a:gd name="connsiteY54" fmla="*/ 651063 h 788699"/>
                <a:gd name="connsiteX55" fmla="*/ 131609 w 625521"/>
                <a:gd name="connsiteY55" fmla="*/ 618427 h 788699"/>
                <a:gd name="connsiteX56" fmla="*/ 131609 w 625521"/>
                <a:gd name="connsiteY56" fmla="*/ 580352 h 788699"/>
                <a:gd name="connsiteX57" fmla="*/ 131609 w 625521"/>
                <a:gd name="connsiteY57" fmla="*/ 531398 h 788699"/>
                <a:gd name="connsiteX58" fmla="*/ 131609 w 625521"/>
                <a:gd name="connsiteY58" fmla="*/ 466126 h 788699"/>
                <a:gd name="connsiteX59" fmla="*/ 131609 w 625521"/>
                <a:gd name="connsiteY59" fmla="*/ 422612 h 788699"/>
                <a:gd name="connsiteX60" fmla="*/ 131609 w 625521"/>
                <a:gd name="connsiteY60" fmla="*/ 411733 h 788699"/>
                <a:gd name="connsiteX61" fmla="*/ 131609 w 625521"/>
                <a:gd name="connsiteY61" fmla="*/ 398135 h 788699"/>
                <a:gd name="connsiteX62" fmla="*/ 126170 w 625521"/>
                <a:gd name="connsiteY62" fmla="*/ 389976 h 788699"/>
                <a:gd name="connsiteX63" fmla="*/ 101693 w 625521"/>
                <a:gd name="connsiteY63" fmla="*/ 387257 h 788699"/>
                <a:gd name="connsiteX64" fmla="*/ 77216 w 625521"/>
                <a:gd name="connsiteY64" fmla="*/ 376378 h 788699"/>
                <a:gd name="connsiteX65" fmla="*/ 82655 w 625521"/>
                <a:gd name="connsiteY65" fmla="*/ 368219 h 788699"/>
                <a:gd name="connsiteX66" fmla="*/ 98973 w 625521"/>
                <a:gd name="connsiteY66" fmla="*/ 360060 h 788699"/>
                <a:gd name="connsiteX67" fmla="*/ 118011 w 625521"/>
                <a:gd name="connsiteY67" fmla="*/ 357340 h 788699"/>
                <a:gd name="connsiteX68" fmla="*/ 131609 w 625521"/>
                <a:gd name="connsiteY68" fmla="*/ 351901 h 788699"/>
                <a:gd name="connsiteX69" fmla="*/ 131609 w 625521"/>
                <a:gd name="connsiteY69" fmla="*/ 343742 h 788699"/>
                <a:gd name="connsiteX70" fmla="*/ 131609 w 625521"/>
                <a:gd name="connsiteY70" fmla="*/ 270311 h 788699"/>
                <a:gd name="connsiteX71" fmla="*/ 137048 w 625521"/>
                <a:gd name="connsiteY71" fmla="*/ 145207 h 788699"/>
                <a:gd name="connsiteX72" fmla="*/ 139768 w 625521"/>
                <a:gd name="connsiteY72" fmla="*/ 123450 h 788699"/>
                <a:gd name="connsiteX73" fmla="*/ 123450 w 625521"/>
                <a:gd name="connsiteY73" fmla="*/ 123450 h 788699"/>
                <a:gd name="connsiteX74" fmla="*/ 118011 w 625521"/>
                <a:gd name="connsiteY74" fmla="*/ 123450 h 788699"/>
                <a:gd name="connsiteX75" fmla="*/ 101693 w 625521"/>
                <a:gd name="connsiteY75" fmla="*/ 123450 h 788699"/>
                <a:gd name="connsiteX76" fmla="*/ 74496 w 625521"/>
                <a:gd name="connsiteY76" fmla="*/ 118011 h 788699"/>
                <a:gd name="connsiteX77" fmla="*/ 58178 w 625521"/>
                <a:gd name="connsiteY77" fmla="*/ 101693 h 788699"/>
                <a:gd name="connsiteX78" fmla="*/ 63618 w 625521"/>
                <a:gd name="connsiteY78" fmla="*/ 93534 h 788699"/>
                <a:gd name="connsiteX79" fmla="*/ 85375 w 625521"/>
                <a:gd name="connsiteY79" fmla="*/ 85375 h 788699"/>
                <a:gd name="connsiteX80" fmla="*/ 137048 w 625521"/>
                <a:gd name="connsiteY80" fmla="*/ 82655 h 788699"/>
                <a:gd name="connsiteX81" fmla="*/ 147927 w 625521"/>
                <a:gd name="connsiteY81" fmla="*/ 82655 h 788699"/>
                <a:gd name="connsiteX82" fmla="*/ 186003 w 625521"/>
                <a:gd name="connsiteY82" fmla="*/ 58178 h 788699"/>
                <a:gd name="connsiteX83" fmla="*/ 226797 w 625521"/>
                <a:gd name="connsiteY83" fmla="*/ 79936 h 788699"/>
                <a:gd name="connsiteX84" fmla="*/ 253994 w 625521"/>
                <a:gd name="connsiteY84" fmla="*/ 79936 h 788699"/>
                <a:gd name="connsiteX85" fmla="*/ 294789 w 625521"/>
                <a:gd name="connsiteY85" fmla="*/ 96253 h 788699"/>
                <a:gd name="connsiteX86" fmla="*/ 283910 w 625521"/>
                <a:gd name="connsiteY86" fmla="*/ 112571 h 788699"/>
                <a:gd name="connsiteX87" fmla="*/ 267592 w 625521"/>
                <a:gd name="connsiteY87" fmla="*/ 120730 h 788699"/>
                <a:gd name="connsiteX88" fmla="*/ 245835 w 625521"/>
                <a:gd name="connsiteY88" fmla="*/ 123450 h 788699"/>
                <a:gd name="connsiteX89" fmla="*/ 237676 w 625521"/>
                <a:gd name="connsiteY89" fmla="*/ 123450 h 788699"/>
                <a:gd name="connsiteX90" fmla="*/ 240396 w 625521"/>
                <a:gd name="connsiteY90" fmla="*/ 128889 h 788699"/>
                <a:gd name="connsiteX91" fmla="*/ 251274 w 625521"/>
                <a:gd name="connsiteY91" fmla="*/ 177843 h 788699"/>
                <a:gd name="connsiteX92" fmla="*/ 256714 w 625521"/>
                <a:gd name="connsiteY92" fmla="*/ 226797 h 788699"/>
                <a:gd name="connsiteX93" fmla="*/ 262153 w 625521"/>
                <a:gd name="connsiteY93" fmla="*/ 273031 h 788699"/>
                <a:gd name="connsiteX94" fmla="*/ 262153 w 625521"/>
                <a:gd name="connsiteY94" fmla="*/ 289349 h 788699"/>
                <a:gd name="connsiteX95" fmla="*/ 262153 w 625521"/>
                <a:gd name="connsiteY95" fmla="*/ 297508 h 788699"/>
                <a:gd name="connsiteX96" fmla="*/ 264872 w 625521"/>
                <a:gd name="connsiteY96" fmla="*/ 321985 h 788699"/>
                <a:gd name="connsiteX97" fmla="*/ 270312 w 625521"/>
                <a:gd name="connsiteY97" fmla="*/ 335583 h 788699"/>
                <a:gd name="connsiteX98" fmla="*/ 270312 w 625521"/>
                <a:gd name="connsiteY98" fmla="*/ 338303 h 788699"/>
                <a:gd name="connsiteX99" fmla="*/ 270312 w 625521"/>
                <a:gd name="connsiteY99" fmla="*/ 346462 h 788699"/>
                <a:gd name="connsiteX100" fmla="*/ 278471 w 625521"/>
                <a:gd name="connsiteY100" fmla="*/ 354621 h 788699"/>
                <a:gd name="connsiteX101" fmla="*/ 338304 w 625521"/>
                <a:gd name="connsiteY101" fmla="*/ 349181 h 788699"/>
                <a:gd name="connsiteX102" fmla="*/ 365500 w 625521"/>
                <a:gd name="connsiteY102" fmla="*/ 349181 h 788699"/>
                <a:gd name="connsiteX103" fmla="*/ 381817 w 625521"/>
                <a:gd name="connsiteY103" fmla="*/ 349181 h 788699"/>
                <a:gd name="connsiteX104" fmla="*/ 392697 w 625521"/>
                <a:gd name="connsiteY104" fmla="*/ 338303 h 788699"/>
                <a:gd name="connsiteX105" fmla="*/ 389977 w 625521"/>
                <a:gd name="connsiteY105" fmla="*/ 313826 h 788699"/>
                <a:gd name="connsiteX106" fmla="*/ 392697 w 625521"/>
                <a:gd name="connsiteY106" fmla="*/ 262152 h 788699"/>
                <a:gd name="connsiteX107" fmla="*/ 395416 w 625521"/>
                <a:gd name="connsiteY107" fmla="*/ 224077 h 788699"/>
                <a:gd name="connsiteX108" fmla="*/ 398136 w 625521"/>
                <a:gd name="connsiteY108" fmla="*/ 177843 h 788699"/>
                <a:gd name="connsiteX109" fmla="*/ 395416 w 625521"/>
                <a:gd name="connsiteY109" fmla="*/ 153366 h 788699"/>
                <a:gd name="connsiteX110" fmla="*/ 395416 w 625521"/>
                <a:gd name="connsiteY110" fmla="*/ 137048 h 788699"/>
                <a:gd name="connsiteX111" fmla="*/ 379098 w 625521"/>
                <a:gd name="connsiteY111" fmla="*/ 137048 h 788699"/>
                <a:gd name="connsiteX112" fmla="*/ 351902 w 625521"/>
                <a:gd name="connsiteY112" fmla="*/ 131609 h 788699"/>
                <a:gd name="connsiteX113" fmla="*/ 338304 w 625521"/>
                <a:gd name="connsiteY113" fmla="*/ 115291 h 788699"/>
                <a:gd name="connsiteX114" fmla="*/ 343742 w 625521"/>
                <a:gd name="connsiteY114" fmla="*/ 107132 h 788699"/>
                <a:gd name="connsiteX115" fmla="*/ 362780 w 625521"/>
                <a:gd name="connsiteY115" fmla="*/ 98973 h 788699"/>
                <a:gd name="connsiteX116" fmla="*/ 395416 w 625521"/>
                <a:gd name="connsiteY116" fmla="*/ 96253 h 788699"/>
                <a:gd name="connsiteX117" fmla="*/ 403575 w 625521"/>
                <a:gd name="connsiteY117" fmla="*/ 90814 h 788699"/>
                <a:gd name="connsiteX118" fmla="*/ 422612 w 625521"/>
                <a:gd name="connsiteY118" fmla="*/ 88095 h 788699"/>
                <a:gd name="connsiteX119" fmla="*/ 428052 w 625521"/>
                <a:gd name="connsiteY119" fmla="*/ 88095 h 788699"/>
                <a:gd name="connsiteX120" fmla="*/ 447090 w 625521"/>
                <a:gd name="connsiteY120" fmla="*/ 90814 h 788699"/>
                <a:gd name="connsiteX121" fmla="*/ 455249 w 625521"/>
                <a:gd name="connsiteY121" fmla="*/ 96253 h 788699"/>
                <a:gd name="connsiteX122" fmla="*/ 525960 w 625521"/>
                <a:gd name="connsiteY122" fmla="*/ 93534 h 788699"/>
                <a:gd name="connsiteX123" fmla="*/ 561315 w 625521"/>
                <a:gd name="connsiteY123" fmla="*/ 109852 h 788699"/>
                <a:gd name="connsiteX124" fmla="*/ 555876 w 625521"/>
                <a:gd name="connsiteY124" fmla="*/ 126170 h 788699"/>
                <a:gd name="connsiteX125" fmla="*/ 539558 w 625521"/>
                <a:gd name="connsiteY125" fmla="*/ 134329 h 788699"/>
                <a:gd name="connsiteX126" fmla="*/ 517800 w 625521"/>
                <a:gd name="connsiteY126" fmla="*/ 137048 h 788699"/>
                <a:gd name="connsiteX127" fmla="*/ 477006 w 625521"/>
                <a:gd name="connsiteY127" fmla="*/ 137048 h 788699"/>
                <a:gd name="connsiteX128" fmla="*/ 485165 w 625521"/>
                <a:gd name="connsiteY128" fmla="*/ 161525 h 788699"/>
                <a:gd name="connsiteX129" fmla="*/ 496043 w 625521"/>
                <a:gd name="connsiteY129" fmla="*/ 210479 h 788699"/>
                <a:gd name="connsiteX130" fmla="*/ 501483 w 625521"/>
                <a:gd name="connsiteY130" fmla="*/ 251274 h 788699"/>
                <a:gd name="connsiteX131" fmla="*/ 506922 w 625521"/>
                <a:gd name="connsiteY131" fmla="*/ 292069 h 788699"/>
                <a:gd name="connsiteX132" fmla="*/ 506922 w 625521"/>
                <a:gd name="connsiteY132" fmla="*/ 321985 h 788699"/>
                <a:gd name="connsiteX133" fmla="*/ 509642 w 625521"/>
                <a:gd name="connsiteY133" fmla="*/ 341022 h 788699"/>
                <a:gd name="connsiteX134" fmla="*/ 509642 w 625521"/>
                <a:gd name="connsiteY134" fmla="*/ 343742 h 788699"/>
                <a:gd name="connsiteX135" fmla="*/ 517800 w 625521"/>
                <a:gd name="connsiteY135" fmla="*/ 349181 h 788699"/>
                <a:gd name="connsiteX136" fmla="*/ 528680 w 625521"/>
                <a:gd name="connsiteY136" fmla="*/ 349181 h 788699"/>
                <a:gd name="connsiteX137" fmla="*/ 550437 w 625521"/>
                <a:gd name="connsiteY137" fmla="*/ 357340 h 788699"/>
                <a:gd name="connsiteX138" fmla="*/ 550437 w 625521"/>
                <a:gd name="connsiteY138" fmla="*/ 362780 h 788699"/>
                <a:gd name="connsiteX139" fmla="*/ 534119 w 625521"/>
                <a:gd name="connsiteY139" fmla="*/ 384537 h 788699"/>
                <a:gd name="connsiteX140" fmla="*/ 520520 w 625521"/>
                <a:gd name="connsiteY140" fmla="*/ 389976 h 788699"/>
                <a:gd name="connsiteX141" fmla="*/ 512362 w 625521"/>
                <a:gd name="connsiteY141" fmla="*/ 395415 h 788699"/>
                <a:gd name="connsiteX142" fmla="*/ 512362 w 625521"/>
                <a:gd name="connsiteY142" fmla="*/ 398135 h 788699"/>
                <a:gd name="connsiteX143" fmla="*/ 512362 w 625521"/>
                <a:gd name="connsiteY143" fmla="*/ 409014 h 788699"/>
                <a:gd name="connsiteX144" fmla="*/ 512362 w 625521"/>
                <a:gd name="connsiteY144" fmla="*/ 414453 h 788699"/>
                <a:gd name="connsiteX145" fmla="*/ 512362 w 625521"/>
                <a:gd name="connsiteY145" fmla="*/ 438930 h 788699"/>
                <a:gd name="connsiteX146" fmla="*/ 515081 w 625521"/>
                <a:gd name="connsiteY146" fmla="*/ 504202 h 788699"/>
                <a:gd name="connsiteX147" fmla="*/ 520520 w 625521"/>
                <a:gd name="connsiteY147" fmla="*/ 572193 h 788699"/>
                <a:gd name="connsiteX148" fmla="*/ 517800 w 625521"/>
                <a:gd name="connsiteY148" fmla="*/ 604829 h 788699"/>
                <a:gd name="connsiteX149" fmla="*/ 512362 w 625521"/>
                <a:gd name="connsiteY149" fmla="*/ 661942 h 788699"/>
                <a:gd name="connsiteX150" fmla="*/ 509642 w 625521"/>
                <a:gd name="connsiteY150" fmla="*/ 670101 h 788699"/>
                <a:gd name="connsiteX151" fmla="*/ 512362 w 625521"/>
                <a:gd name="connsiteY151" fmla="*/ 680979 h 788699"/>
                <a:gd name="connsiteX152" fmla="*/ 512362 w 625521"/>
                <a:gd name="connsiteY152" fmla="*/ 686419 h 788699"/>
                <a:gd name="connsiteX153" fmla="*/ 536838 w 625521"/>
                <a:gd name="connsiteY153" fmla="*/ 680979 h 788699"/>
                <a:gd name="connsiteX154" fmla="*/ 536838 w 625521"/>
                <a:gd name="connsiteY154" fmla="*/ 680979 h 7886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</a:cxnLst>
              <a:rect l="l" t="t" r="r" b="b"/>
              <a:pathLst>
                <a:path w="625521" h="788699">
                  <a:moveTo>
                    <a:pt x="536838" y="680979"/>
                  </a:moveTo>
                  <a:cubicBezTo>
                    <a:pt x="550437" y="680979"/>
                    <a:pt x="574913" y="680979"/>
                    <a:pt x="574913" y="697297"/>
                  </a:cubicBezTo>
                  <a:cubicBezTo>
                    <a:pt x="574913" y="705456"/>
                    <a:pt x="572194" y="708176"/>
                    <a:pt x="566755" y="713615"/>
                  </a:cubicBezTo>
                  <a:cubicBezTo>
                    <a:pt x="561315" y="719054"/>
                    <a:pt x="555876" y="721774"/>
                    <a:pt x="550437" y="721774"/>
                  </a:cubicBezTo>
                  <a:cubicBezTo>
                    <a:pt x="539558" y="724494"/>
                    <a:pt x="534119" y="724494"/>
                    <a:pt x="528680" y="724494"/>
                  </a:cubicBezTo>
                  <a:cubicBezTo>
                    <a:pt x="517800" y="724494"/>
                    <a:pt x="428052" y="724494"/>
                    <a:pt x="417174" y="724494"/>
                  </a:cubicBezTo>
                  <a:cubicBezTo>
                    <a:pt x="403575" y="724494"/>
                    <a:pt x="414454" y="724494"/>
                    <a:pt x="398136" y="724494"/>
                  </a:cubicBezTo>
                  <a:cubicBezTo>
                    <a:pt x="389977" y="724494"/>
                    <a:pt x="381817" y="724494"/>
                    <a:pt x="373659" y="724494"/>
                  </a:cubicBezTo>
                  <a:cubicBezTo>
                    <a:pt x="365500" y="724494"/>
                    <a:pt x="354621" y="721774"/>
                    <a:pt x="346462" y="719054"/>
                  </a:cubicBezTo>
                  <a:cubicBezTo>
                    <a:pt x="338304" y="716335"/>
                    <a:pt x="330144" y="708176"/>
                    <a:pt x="330144" y="702737"/>
                  </a:cubicBezTo>
                  <a:cubicBezTo>
                    <a:pt x="330144" y="700017"/>
                    <a:pt x="330144" y="697297"/>
                    <a:pt x="335584" y="694578"/>
                  </a:cubicBezTo>
                  <a:cubicBezTo>
                    <a:pt x="341023" y="691858"/>
                    <a:pt x="351902" y="689138"/>
                    <a:pt x="357341" y="686419"/>
                  </a:cubicBezTo>
                  <a:cubicBezTo>
                    <a:pt x="373659" y="683699"/>
                    <a:pt x="387257" y="680979"/>
                    <a:pt x="395416" y="680979"/>
                  </a:cubicBezTo>
                  <a:cubicBezTo>
                    <a:pt x="387257" y="675540"/>
                    <a:pt x="384537" y="670101"/>
                    <a:pt x="381817" y="656502"/>
                  </a:cubicBezTo>
                  <a:cubicBezTo>
                    <a:pt x="379098" y="632026"/>
                    <a:pt x="379098" y="610268"/>
                    <a:pt x="379098" y="585791"/>
                  </a:cubicBezTo>
                  <a:cubicBezTo>
                    <a:pt x="379098" y="564034"/>
                    <a:pt x="379098" y="542277"/>
                    <a:pt x="379098" y="517800"/>
                  </a:cubicBezTo>
                  <a:cubicBezTo>
                    <a:pt x="379098" y="504202"/>
                    <a:pt x="379098" y="487884"/>
                    <a:pt x="379098" y="474286"/>
                  </a:cubicBezTo>
                  <a:cubicBezTo>
                    <a:pt x="379098" y="457968"/>
                    <a:pt x="376379" y="444369"/>
                    <a:pt x="379098" y="430771"/>
                  </a:cubicBezTo>
                  <a:cubicBezTo>
                    <a:pt x="379098" y="425332"/>
                    <a:pt x="381817" y="417173"/>
                    <a:pt x="381817" y="411733"/>
                  </a:cubicBezTo>
                  <a:cubicBezTo>
                    <a:pt x="381817" y="406294"/>
                    <a:pt x="381817" y="403575"/>
                    <a:pt x="379098" y="400855"/>
                  </a:cubicBezTo>
                  <a:cubicBezTo>
                    <a:pt x="376379" y="400855"/>
                    <a:pt x="373659" y="398135"/>
                    <a:pt x="370939" y="398135"/>
                  </a:cubicBezTo>
                  <a:cubicBezTo>
                    <a:pt x="360061" y="398135"/>
                    <a:pt x="343742" y="400855"/>
                    <a:pt x="338304" y="400855"/>
                  </a:cubicBezTo>
                  <a:cubicBezTo>
                    <a:pt x="330144" y="400855"/>
                    <a:pt x="319266" y="403575"/>
                    <a:pt x="289349" y="403575"/>
                  </a:cubicBezTo>
                  <a:cubicBezTo>
                    <a:pt x="275751" y="403575"/>
                    <a:pt x="267592" y="400855"/>
                    <a:pt x="264872" y="400855"/>
                  </a:cubicBezTo>
                  <a:cubicBezTo>
                    <a:pt x="262153" y="400855"/>
                    <a:pt x="259433" y="400855"/>
                    <a:pt x="259433" y="406294"/>
                  </a:cubicBezTo>
                  <a:cubicBezTo>
                    <a:pt x="259433" y="414453"/>
                    <a:pt x="259433" y="419892"/>
                    <a:pt x="259433" y="425332"/>
                  </a:cubicBezTo>
                  <a:cubicBezTo>
                    <a:pt x="259433" y="433491"/>
                    <a:pt x="259433" y="441650"/>
                    <a:pt x="259433" y="449809"/>
                  </a:cubicBezTo>
                  <a:cubicBezTo>
                    <a:pt x="259433" y="457968"/>
                    <a:pt x="259433" y="463407"/>
                    <a:pt x="259433" y="471566"/>
                  </a:cubicBezTo>
                  <a:cubicBezTo>
                    <a:pt x="259433" y="482445"/>
                    <a:pt x="259433" y="493323"/>
                    <a:pt x="259433" y="504202"/>
                  </a:cubicBezTo>
                  <a:cubicBezTo>
                    <a:pt x="259433" y="506921"/>
                    <a:pt x="259433" y="506921"/>
                    <a:pt x="259433" y="509641"/>
                  </a:cubicBezTo>
                  <a:cubicBezTo>
                    <a:pt x="259433" y="520520"/>
                    <a:pt x="256714" y="531398"/>
                    <a:pt x="256714" y="542277"/>
                  </a:cubicBezTo>
                  <a:cubicBezTo>
                    <a:pt x="256714" y="553156"/>
                    <a:pt x="256714" y="566754"/>
                    <a:pt x="256714" y="577632"/>
                  </a:cubicBezTo>
                  <a:cubicBezTo>
                    <a:pt x="256714" y="588511"/>
                    <a:pt x="256714" y="599390"/>
                    <a:pt x="256714" y="612988"/>
                  </a:cubicBezTo>
                  <a:cubicBezTo>
                    <a:pt x="256714" y="629306"/>
                    <a:pt x="253994" y="642904"/>
                    <a:pt x="253994" y="656502"/>
                  </a:cubicBezTo>
                  <a:cubicBezTo>
                    <a:pt x="253994" y="664661"/>
                    <a:pt x="256714" y="672820"/>
                    <a:pt x="256714" y="678260"/>
                  </a:cubicBezTo>
                  <a:cubicBezTo>
                    <a:pt x="270312" y="678260"/>
                    <a:pt x="286629" y="680979"/>
                    <a:pt x="286629" y="694578"/>
                  </a:cubicBezTo>
                  <a:cubicBezTo>
                    <a:pt x="286629" y="702737"/>
                    <a:pt x="283910" y="705456"/>
                    <a:pt x="281191" y="710895"/>
                  </a:cubicBezTo>
                  <a:cubicBezTo>
                    <a:pt x="275751" y="716335"/>
                    <a:pt x="270312" y="719054"/>
                    <a:pt x="264872" y="719054"/>
                  </a:cubicBezTo>
                  <a:cubicBezTo>
                    <a:pt x="256714" y="721774"/>
                    <a:pt x="248554" y="721774"/>
                    <a:pt x="243116" y="721774"/>
                  </a:cubicBezTo>
                  <a:cubicBezTo>
                    <a:pt x="243116" y="721774"/>
                    <a:pt x="243116" y="721774"/>
                    <a:pt x="243116" y="721774"/>
                  </a:cubicBezTo>
                  <a:cubicBezTo>
                    <a:pt x="237676" y="724494"/>
                    <a:pt x="237676" y="724494"/>
                    <a:pt x="232236" y="727214"/>
                  </a:cubicBezTo>
                  <a:cubicBezTo>
                    <a:pt x="229517" y="729933"/>
                    <a:pt x="229517" y="732653"/>
                    <a:pt x="224078" y="735372"/>
                  </a:cubicBezTo>
                  <a:cubicBezTo>
                    <a:pt x="221358" y="738092"/>
                    <a:pt x="215919" y="738092"/>
                    <a:pt x="213199" y="738092"/>
                  </a:cubicBezTo>
                  <a:cubicBezTo>
                    <a:pt x="199601" y="738092"/>
                    <a:pt x="188722" y="735372"/>
                    <a:pt x="183283" y="727214"/>
                  </a:cubicBezTo>
                  <a:cubicBezTo>
                    <a:pt x="180563" y="724494"/>
                    <a:pt x="177843" y="721774"/>
                    <a:pt x="175124" y="719054"/>
                  </a:cubicBezTo>
                  <a:cubicBezTo>
                    <a:pt x="161526" y="719054"/>
                    <a:pt x="150646" y="719054"/>
                    <a:pt x="145208" y="719054"/>
                  </a:cubicBezTo>
                  <a:cubicBezTo>
                    <a:pt x="131609" y="719054"/>
                    <a:pt x="142488" y="719054"/>
                    <a:pt x="126170" y="719054"/>
                  </a:cubicBezTo>
                  <a:cubicBezTo>
                    <a:pt x="118011" y="719054"/>
                    <a:pt x="109852" y="719054"/>
                    <a:pt x="101693" y="719054"/>
                  </a:cubicBezTo>
                  <a:cubicBezTo>
                    <a:pt x="93534" y="719054"/>
                    <a:pt x="82655" y="719054"/>
                    <a:pt x="74496" y="713615"/>
                  </a:cubicBezTo>
                  <a:cubicBezTo>
                    <a:pt x="66338" y="710895"/>
                    <a:pt x="58178" y="702737"/>
                    <a:pt x="58178" y="697297"/>
                  </a:cubicBezTo>
                  <a:cubicBezTo>
                    <a:pt x="58178" y="694578"/>
                    <a:pt x="58178" y="691858"/>
                    <a:pt x="63618" y="689138"/>
                  </a:cubicBezTo>
                  <a:cubicBezTo>
                    <a:pt x="69057" y="686419"/>
                    <a:pt x="79936" y="683699"/>
                    <a:pt x="85375" y="680979"/>
                  </a:cubicBezTo>
                  <a:cubicBezTo>
                    <a:pt x="98973" y="678260"/>
                    <a:pt x="118011" y="678260"/>
                    <a:pt x="131609" y="675540"/>
                  </a:cubicBezTo>
                  <a:cubicBezTo>
                    <a:pt x="131609" y="672820"/>
                    <a:pt x="131609" y="670101"/>
                    <a:pt x="131609" y="667381"/>
                  </a:cubicBezTo>
                  <a:cubicBezTo>
                    <a:pt x="131609" y="661942"/>
                    <a:pt x="131609" y="656502"/>
                    <a:pt x="131609" y="651063"/>
                  </a:cubicBezTo>
                  <a:cubicBezTo>
                    <a:pt x="131609" y="640184"/>
                    <a:pt x="131609" y="629306"/>
                    <a:pt x="131609" y="618427"/>
                  </a:cubicBezTo>
                  <a:cubicBezTo>
                    <a:pt x="131609" y="604829"/>
                    <a:pt x="131609" y="593950"/>
                    <a:pt x="131609" y="580352"/>
                  </a:cubicBezTo>
                  <a:cubicBezTo>
                    <a:pt x="131609" y="564034"/>
                    <a:pt x="131609" y="547716"/>
                    <a:pt x="131609" y="531398"/>
                  </a:cubicBezTo>
                  <a:cubicBezTo>
                    <a:pt x="131609" y="509641"/>
                    <a:pt x="131609" y="487884"/>
                    <a:pt x="131609" y="466126"/>
                  </a:cubicBezTo>
                  <a:cubicBezTo>
                    <a:pt x="131609" y="452528"/>
                    <a:pt x="131609" y="436210"/>
                    <a:pt x="131609" y="422612"/>
                  </a:cubicBezTo>
                  <a:cubicBezTo>
                    <a:pt x="131609" y="419892"/>
                    <a:pt x="131609" y="414453"/>
                    <a:pt x="131609" y="411733"/>
                  </a:cubicBezTo>
                  <a:cubicBezTo>
                    <a:pt x="131609" y="409014"/>
                    <a:pt x="131609" y="400855"/>
                    <a:pt x="131609" y="398135"/>
                  </a:cubicBezTo>
                  <a:cubicBezTo>
                    <a:pt x="131609" y="392696"/>
                    <a:pt x="131609" y="392696"/>
                    <a:pt x="126170" y="389976"/>
                  </a:cubicBezTo>
                  <a:cubicBezTo>
                    <a:pt x="123450" y="389976"/>
                    <a:pt x="109852" y="387257"/>
                    <a:pt x="101693" y="387257"/>
                  </a:cubicBezTo>
                  <a:cubicBezTo>
                    <a:pt x="90814" y="384537"/>
                    <a:pt x="77216" y="381817"/>
                    <a:pt x="77216" y="376378"/>
                  </a:cubicBezTo>
                  <a:cubicBezTo>
                    <a:pt x="77216" y="373658"/>
                    <a:pt x="79936" y="370939"/>
                    <a:pt x="82655" y="368219"/>
                  </a:cubicBezTo>
                  <a:cubicBezTo>
                    <a:pt x="88095" y="365499"/>
                    <a:pt x="93534" y="362780"/>
                    <a:pt x="98973" y="360060"/>
                  </a:cubicBezTo>
                  <a:cubicBezTo>
                    <a:pt x="104413" y="360060"/>
                    <a:pt x="112571" y="357340"/>
                    <a:pt x="118011" y="357340"/>
                  </a:cubicBezTo>
                  <a:cubicBezTo>
                    <a:pt x="126170" y="354621"/>
                    <a:pt x="128890" y="357340"/>
                    <a:pt x="131609" y="351901"/>
                  </a:cubicBezTo>
                  <a:cubicBezTo>
                    <a:pt x="131609" y="349181"/>
                    <a:pt x="131609" y="346462"/>
                    <a:pt x="131609" y="343742"/>
                  </a:cubicBezTo>
                  <a:cubicBezTo>
                    <a:pt x="131609" y="319265"/>
                    <a:pt x="131609" y="294788"/>
                    <a:pt x="131609" y="270311"/>
                  </a:cubicBezTo>
                  <a:cubicBezTo>
                    <a:pt x="131609" y="226797"/>
                    <a:pt x="131609" y="186002"/>
                    <a:pt x="137048" y="145207"/>
                  </a:cubicBezTo>
                  <a:cubicBezTo>
                    <a:pt x="137048" y="139768"/>
                    <a:pt x="137048" y="131609"/>
                    <a:pt x="139768" y="123450"/>
                  </a:cubicBezTo>
                  <a:cubicBezTo>
                    <a:pt x="134329" y="123450"/>
                    <a:pt x="137048" y="123450"/>
                    <a:pt x="123450" y="123450"/>
                  </a:cubicBezTo>
                  <a:cubicBezTo>
                    <a:pt x="120731" y="123450"/>
                    <a:pt x="120731" y="123450"/>
                    <a:pt x="118011" y="123450"/>
                  </a:cubicBezTo>
                  <a:cubicBezTo>
                    <a:pt x="112571" y="123450"/>
                    <a:pt x="107133" y="123450"/>
                    <a:pt x="101693" y="123450"/>
                  </a:cubicBezTo>
                  <a:cubicBezTo>
                    <a:pt x="93534" y="123450"/>
                    <a:pt x="82655" y="120730"/>
                    <a:pt x="74496" y="118011"/>
                  </a:cubicBezTo>
                  <a:cubicBezTo>
                    <a:pt x="66338" y="115291"/>
                    <a:pt x="58178" y="107132"/>
                    <a:pt x="58178" y="101693"/>
                  </a:cubicBezTo>
                  <a:cubicBezTo>
                    <a:pt x="58178" y="98973"/>
                    <a:pt x="58178" y="96253"/>
                    <a:pt x="63618" y="93534"/>
                  </a:cubicBezTo>
                  <a:cubicBezTo>
                    <a:pt x="66338" y="90814"/>
                    <a:pt x="77216" y="88095"/>
                    <a:pt x="85375" y="85375"/>
                  </a:cubicBezTo>
                  <a:cubicBezTo>
                    <a:pt x="104413" y="82655"/>
                    <a:pt x="128890" y="82655"/>
                    <a:pt x="137048" y="82655"/>
                  </a:cubicBezTo>
                  <a:cubicBezTo>
                    <a:pt x="139768" y="82655"/>
                    <a:pt x="142488" y="82655"/>
                    <a:pt x="147927" y="82655"/>
                  </a:cubicBezTo>
                  <a:cubicBezTo>
                    <a:pt x="153366" y="69057"/>
                    <a:pt x="164245" y="58178"/>
                    <a:pt x="186003" y="58178"/>
                  </a:cubicBezTo>
                  <a:cubicBezTo>
                    <a:pt x="202321" y="58178"/>
                    <a:pt x="215919" y="66337"/>
                    <a:pt x="226797" y="79936"/>
                  </a:cubicBezTo>
                  <a:cubicBezTo>
                    <a:pt x="237676" y="79936"/>
                    <a:pt x="248554" y="79936"/>
                    <a:pt x="253994" y="79936"/>
                  </a:cubicBezTo>
                  <a:cubicBezTo>
                    <a:pt x="267592" y="79936"/>
                    <a:pt x="294789" y="79936"/>
                    <a:pt x="294789" y="96253"/>
                  </a:cubicBezTo>
                  <a:cubicBezTo>
                    <a:pt x="294789" y="104412"/>
                    <a:pt x="289349" y="107132"/>
                    <a:pt x="283910" y="112571"/>
                  </a:cubicBezTo>
                  <a:cubicBezTo>
                    <a:pt x="278471" y="118011"/>
                    <a:pt x="273031" y="120730"/>
                    <a:pt x="267592" y="120730"/>
                  </a:cubicBezTo>
                  <a:cubicBezTo>
                    <a:pt x="259433" y="123450"/>
                    <a:pt x="251274" y="123450"/>
                    <a:pt x="245835" y="123450"/>
                  </a:cubicBezTo>
                  <a:cubicBezTo>
                    <a:pt x="245835" y="123450"/>
                    <a:pt x="243116" y="123450"/>
                    <a:pt x="237676" y="123450"/>
                  </a:cubicBezTo>
                  <a:cubicBezTo>
                    <a:pt x="237676" y="126170"/>
                    <a:pt x="237676" y="126170"/>
                    <a:pt x="240396" y="128889"/>
                  </a:cubicBezTo>
                  <a:cubicBezTo>
                    <a:pt x="245835" y="145207"/>
                    <a:pt x="248554" y="161525"/>
                    <a:pt x="251274" y="177843"/>
                  </a:cubicBezTo>
                  <a:cubicBezTo>
                    <a:pt x="253994" y="194161"/>
                    <a:pt x="253994" y="210479"/>
                    <a:pt x="256714" y="226797"/>
                  </a:cubicBezTo>
                  <a:cubicBezTo>
                    <a:pt x="259433" y="243115"/>
                    <a:pt x="262153" y="256713"/>
                    <a:pt x="262153" y="273031"/>
                  </a:cubicBezTo>
                  <a:cubicBezTo>
                    <a:pt x="262153" y="278470"/>
                    <a:pt x="262153" y="283910"/>
                    <a:pt x="262153" y="289349"/>
                  </a:cubicBezTo>
                  <a:lnTo>
                    <a:pt x="262153" y="297508"/>
                  </a:lnTo>
                  <a:cubicBezTo>
                    <a:pt x="262153" y="305667"/>
                    <a:pt x="262153" y="313826"/>
                    <a:pt x="264872" y="321985"/>
                  </a:cubicBezTo>
                  <a:cubicBezTo>
                    <a:pt x="264872" y="327424"/>
                    <a:pt x="270312" y="330144"/>
                    <a:pt x="270312" y="335583"/>
                  </a:cubicBezTo>
                  <a:cubicBezTo>
                    <a:pt x="270312" y="335583"/>
                    <a:pt x="270312" y="338303"/>
                    <a:pt x="270312" y="338303"/>
                  </a:cubicBezTo>
                  <a:cubicBezTo>
                    <a:pt x="270312" y="341022"/>
                    <a:pt x="270312" y="343742"/>
                    <a:pt x="270312" y="346462"/>
                  </a:cubicBezTo>
                  <a:cubicBezTo>
                    <a:pt x="270312" y="351901"/>
                    <a:pt x="273031" y="354621"/>
                    <a:pt x="278471" y="354621"/>
                  </a:cubicBezTo>
                  <a:cubicBezTo>
                    <a:pt x="289349" y="354621"/>
                    <a:pt x="335584" y="351901"/>
                    <a:pt x="338304" y="349181"/>
                  </a:cubicBezTo>
                  <a:cubicBezTo>
                    <a:pt x="346462" y="349181"/>
                    <a:pt x="357341" y="349181"/>
                    <a:pt x="365500" y="349181"/>
                  </a:cubicBezTo>
                  <a:cubicBezTo>
                    <a:pt x="370939" y="349181"/>
                    <a:pt x="376379" y="349181"/>
                    <a:pt x="381817" y="349181"/>
                  </a:cubicBezTo>
                  <a:cubicBezTo>
                    <a:pt x="387257" y="349181"/>
                    <a:pt x="392697" y="346462"/>
                    <a:pt x="392697" y="338303"/>
                  </a:cubicBezTo>
                  <a:cubicBezTo>
                    <a:pt x="392697" y="330144"/>
                    <a:pt x="389977" y="316545"/>
                    <a:pt x="389977" y="313826"/>
                  </a:cubicBezTo>
                  <a:cubicBezTo>
                    <a:pt x="389977" y="294788"/>
                    <a:pt x="389977" y="278470"/>
                    <a:pt x="392697" y="262152"/>
                  </a:cubicBezTo>
                  <a:cubicBezTo>
                    <a:pt x="392697" y="259433"/>
                    <a:pt x="395416" y="243115"/>
                    <a:pt x="395416" y="224077"/>
                  </a:cubicBezTo>
                  <a:cubicBezTo>
                    <a:pt x="395416" y="207759"/>
                    <a:pt x="398136" y="188722"/>
                    <a:pt x="398136" y="177843"/>
                  </a:cubicBezTo>
                  <a:cubicBezTo>
                    <a:pt x="398136" y="169684"/>
                    <a:pt x="395416" y="158806"/>
                    <a:pt x="395416" y="153366"/>
                  </a:cubicBezTo>
                  <a:cubicBezTo>
                    <a:pt x="395416" y="145207"/>
                    <a:pt x="395416" y="142488"/>
                    <a:pt x="395416" y="137048"/>
                  </a:cubicBezTo>
                  <a:cubicBezTo>
                    <a:pt x="389977" y="137048"/>
                    <a:pt x="384537" y="137048"/>
                    <a:pt x="379098" y="137048"/>
                  </a:cubicBezTo>
                  <a:cubicBezTo>
                    <a:pt x="370939" y="137048"/>
                    <a:pt x="360061" y="134329"/>
                    <a:pt x="351902" y="131609"/>
                  </a:cubicBezTo>
                  <a:cubicBezTo>
                    <a:pt x="343742" y="128889"/>
                    <a:pt x="338304" y="120730"/>
                    <a:pt x="338304" y="115291"/>
                  </a:cubicBezTo>
                  <a:cubicBezTo>
                    <a:pt x="338304" y="112571"/>
                    <a:pt x="338304" y="109852"/>
                    <a:pt x="343742" y="107132"/>
                  </a:cubicBezTo>
                  <a:cubicBezTo>
                    <a:pt x="349182" y="104412"/>
                    <a:pt x="357341" y="101693"/>
                    <a:pt x="362780" y="98973"/>
                  </a:cubicBezTo>
                  <a:cubicBezTo>
                    <a:pt x="373659" y="96253"/>
                    <a:pt x="387257" y="96253"/>
                    <a:pt x="395416" y="96253"/>
                  </a:cubicBezTo>
                  <a:cubicBezTo>
                    <a:pt x="398136" y="93534"/>
                    <a:pt x="400855" y="90814"/>
                    <a:pt x="403575" y="90814"/>
                  </a:cubicBezTo>
                  <a:cubicBezTo>
                    <a:pt x="411734" y="90814"/>
                    <a:pt x="419893" y="88095"/>
                    <a:pt x="422612" y="88095"/>
                  </a:cubicBezTo>
                  <a:cubicBezTo>
                    <a:pt x="425332" y="88095"/>
                    <a:pt x="425332" y="88095"/>
                    <a:pt x="428052" y="88095"/>
                  </a:cubicBezTo>
                  <a:cubicBezTo>
                    <a:pt x="433492" y="88095"/>
                    <a:pt x="441650" y="88095"/>
                    <a:pt x="447090" y="90814"/>
                  </a:cubicBezTo>
                  <a:cubicBezTo>
                    <a:pt x="449809" y="90814"/>
                    <a:pt x="452529" y="93534"/>
                    <a:pt x="455249" y="96253"/>
                  </a:cubicBezTo>
                  <a:cubicBezTo>
                    <a:pt x="482445" y="96253"/>
                    <a:pt x="509642" y="93534"/>
                    <a:pt x="525960" y="93534"/>
                  </a:cubicBezTo>
                  <a:cubicBezTo>
                    <a:pt x="539558" y="93534"/>
                    <a:pt x="561315" y="93534"/>
                    <a:pt x="561315" y="109852"/>
                  </a:cubicBezTo>
                  <a:cubicBezTo>
                    <a:pt x="561315" y="118011"/>
                    <a:pt x="561315" y="120730"/>
                    <a:pt x="555876" y="126170"/>
                  </a:cubicBezTo>
                  <a:cubicBezTo>
                    <a:pt x="550437" y="131609"/>
                    <a:pt x="544997" y="134329"/>
                    <a:pt x="539558" y="134329"/>
                  </a:cubicBezTo>
                  <a:cubicBezTo>
                    <a:pt x="531399" y="137048"/>
                    <a:pt x="523240" y="137048"/>
                    <a:pt x="517800" y="137048"/>
                  </a:cubicBezTo>
                  <a:cubicBezTo>
                    <a:pt x="515081" y="137048"/>
                    <a:pt x="498763" y="137048"/>
                    <a:pt x="477006" y="137048"/>
                  </a:cubicBezTo>
                  <a:cubicBezTo>
                    <a:pt x="479725" y="145207"/>
                    <a:pt x="485165" y="153366"/>
                    <a:pt x="485165" y="161525"/>
                  </a:cubicBezTo>
                  <a:cubicBezTo>
                    <a:pt x="487885" y="177843"/>
                    <a:pt x="493324" y="194161"/>
                    <a:pt x="496043" y="210479"/>
                  </a:cubicBezTo>
                  <a:cubicBezTo>
                    <a:pt x="498763" y="224077"/>
                    <a:pt x="498763" y="237676"/>
                    <a:pt x="501483" y="251274"/>
                  </a:cubicBezTo>
                  <a:cubicBezTo>
                    <a:pt x="504202" y="264872"/>
                    <a:pt x="506922" y="275751"/>
                    <a:pt x="506922" y="292069"/>
                  </a:cubicBezTo>
                  <a:cubicBezTo>
                    <a:pt x="506922" y="302947"/>
                    <a:pt x="506922" y="311106"/>
                    <a:pt x="506922" y="321985"/>
                  </a:cubicBezTo>
                  <a:cubicBezTo>
                    <a:pt x="506922" y="327424"/>
                    <a:pt x="509642" y="335583"/>
                    <a:pt x="509642" y="341022"/>
                  </a:cubicBezTo>
                  <a:cubicBezTo>
                    <a:pt x="509642" y="343742"/>
                    <a:pt x="509642" y="343742"/>
                    <a:pt x="509642" y="343742"/>
                  </a:cubicBezTo>
                  <a:cubicBezTo>
                    <a:pt x="509642" y="349181"/>
                    <a:pt x="515081" y="349181"/>
                    <a:pt x="517800" y="349181"/>
                  </a:cubicBezTo>
                  <a:cubicBezTo>
                    <a:pt x="520520" y="349181"/>
                    <a:pt x="523240" y="349181"/>
                    <a:pt x="528680" y="349181"/>
                  </a:cubicBezTo>
                  <a:cubicBezTo>
                    <a:pt x="536838" y="349181"/>
                    <a:pt x="547717" y="349181"/>
                    <a:pt x="550437" y="357340"/>
                  </a:cubicBezTo>
                  <a:cubicBezTo>
                    <a:pt x="550437" y="360060"/>
                    <a:pt x="550437" y="360060"/>
                    <a:pt x="550437" y="362780"/>
                  </a:cubicBezTo>
                  <a:cubicBezTo>
                    <a:pt x="550437" y="370939"/>
                    <a:pt x="539558" y="381817"/>
                    <a:pt x="534119" y="384537"/>
                  </a:cubicBezTo>
                  <a:cubicBezTo>
                    <a:pt x="531399" y="387257"/>
                    <a:pt x="523240" y="387257"/>
                    <a:pt x="520520" y="389976"/>
                  </a:cubicBezTo>
                  <a:cubicBezTo>
                    <a:pt x="515081" y="389976"/>
                    <a:pt x="512362" y="392696"/>
                    <a:pt x="512362" y="395415"/>
                  </a:cubicBezTo>
                  <a:cubicBezTo>
                    <a:pt x="512362" y="395415"/>
                    <a:pt x="512362" y="398135"/>
                    <a:pt x="512362" y="398135"/>
                  </a:cubicBezTo>
                  <a:cubicBezTo>
                    <a:pt x="512362" y="400855"/>
                    <a:pt x="512362" y="406294"/>
                    <a:pt x="512362" y="409014"/>
                  </a:cubicBezTo>
                  <a:cubicBezTo>
                    <a:pt x="512362" y="411733"/>
                    <a:pt x="512362" y="411733"/>
                    <a:pt x="512362" y="414453"/>
                  </a:cubicBezTo>
                  <a:cubicBezTo>
                    <a:pt x="512362" y="422612"/>
                    <a:pt x="512362" y="430771"/>
                    <a:pt x="512362" y="438930"/>
                  </a:cubicBezTo>
                  <a:cubicBezTo>
                    <a:pt x="512362" y="460687"/>
                    <a:pt x="512362" y="482445"/>
                    <a:pt x="515081" y="504202"/>
                  </a:cubicBezTo>
                  <a:cubicBezTo>
                    <a:pt x="517800" y="525959"/>
                    <a:pt x="520520" y="550436"/>
                    <a:pt x="520520" y="572193"/>
                  </a:cubicBezTo>
                  <a:cubicBezTo>
                    <a:pt x="520520" y="583072"/>
                    <a:pt x="520520" y="593950"/>
                    <a:pt x="517800" y="604829"/>
                  </a:cubicBezTo>
                  <a:cubicBezTo>
                    <a:pt x="515081" y="623867"/>
                    <a:pt x="515081" y="642904"/>
                    <a:pt x="512362" y="661942"/>
                  </a:cubicBezTo>
                  <a:cubicBezTo>
                    <a:pt x="512362" y="664661"/>
                    <a:pt x="509642" y="667381"/>
                    <a:pt x="509642" y="670101"/>
                  </a:cubicBezTo>
                  <a:cubicBezTo>
                    <a:pt x="509642" y="672820"/>
                    <a:pt x="512362" y="678260"/>
                    <a:pt x="512362" y="680979"/>
                  </a:cubicBezTo>
                  <a:cubicBezTo>
                    <a:pt x="512362" y="683699"/>
                    <a:pt x="512362" y="686419"/>
                    <a:pt x="512362" y="686419"/>
                  </a:cubicBezTo>
                  <a:cubicBezTo>
                    <a:pt x="517800" y="680979"/>
                    <a:pt x="528680" y="680979"/>
                    <a:pt x="536838" y="680979"/>
                  </a:cubicBezTo>
                  <a:lnTo>
                    <a:pt x="536838" y="680979"/>
                  </a:ln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>
                <a:solidFill>
                  <a:srgbClr val="FFFFFF"/>
                </a:solidFill>
              </a:endParaRPr>
            </a:p>
          </p:txBody>
        </p:sp>
        <p:sp>
          <p:nvSpPr>
            <p:cNvPr id="51" name="Freeform: Shape 50">
              <a:extLst>
                <a:ext uri="{FF2B5EF4-FFF2-40B4-BE49-F238E27FC236}">
                  <a16:creationId xmlns:a16="http://schemas.microsoft.com/office/drawing/2014/main" id="{13B3252F-B372-453C-853F-96C6D6241684}"/>
                </a:ext>
              </a:extLst>
            </p:cNvPr>
            <p:cNvSpPr/>
            <p:nvPr/>
          </p:nvSpPr>
          <p:spPr>
            <a:xfrm>
              <a:off x="9592416" y="4192158"/>
              <a:ext cx="516735" cy="761503"/>
            </a:xfrm>
            <a:custGeom>
              <a:avLst/>
              <a:gdLst>
                <a:gd name="connsiteX0" fmla="*/ 463407 w 516735"/>
                <a:gd name="connsiteY0" fmla="*/ 194161 h 761503"/>
                <a:gd name="connsiteX1" fmla="*/ 447089 w 516735"/>
                <a:gd name="connsiteY1" fmla="*/ 226797 h 761503"/>
                <a:gd name="connsiteX2" fmla="*/ 430771 w 516735"/>
                <a:gd name="connsiteY2" fmla="*/ 221357 h 761503"/>
                <a:gd name="connsiteX3" fmla="*/ 422612 w 516735"/>
                <a:gd name="connsiteY3" fmla="*/ 207759 h 761503"/>
                <a:gd name="connsiteX4" fmla="*/ 419893 w 516735"/>
                <a:gd name="connsiteY4" fmla="*/ 188722 h 761503"/>
                <a:gd name="connsiteX5" fmla="*/ 419893 w 516735"/>
                <a:gd name="connsiteY5" fmla="*/ 139768 h 761503"/>
                <a:gd name="connsiteX6" fmla="*/ 419893 w 516735"/>
                <a:gd name="connsiteY6" fmla="*/ 120730 h 761503"/>
                <a:gd name="connsiteX7" fmla="*/ 395416 w 516735"/>
                <a:gd name="connsiteY7" fmla="*/ 120730 h 761503"/>
                <a:gd name="connsiteX8" fmla="*/ 370939 w 516735"/>
                <a:gd name="connsiteY8" fmla="*/ 120730 h 761503"/>
                <a:gd name="connsiteX9" fmla="*/ 346461 w 516735"/>
                <a:gd name="connsiteY9" fmla="*/ 123450 h 761503"/>
                <a:gd name="connsiteX10" fmla="*/ 335583 w 516735"/>
                <a:gd name="connsiteY10" fmla="*/ 123450 h 761503"/>
                <a:gd name="connsiteX11" fmla="*/ 335583 w 516735"/>
                <a:gd name="connsiteY11" fmla="*/ 123450 h 761503"/>
                <a:gd name="connsiteX12" fmla="*/ 324704 w 516735"/>
                <a:gd name="connsiteY12" fmla="*/ 128889 h 761503"/>
                <a:gd name="connsiteX13" fmla="*/ 327424 w 516735"/>
                <a:gd name="connsiteY13" fmla="*/ 139768 h 761503"/>
                <a:gd name="connsiteX14" fmla="*/ 330144 w 516735"/>
                <a:gd name="connsiteY14" fmla="*/ 175123 h 761503"/>
                <a:gd name="connsiteX15" fmla="*/ 330144 w 516735"/>
                <a:gd name="connsiteY15" fmla="*/ 199600 h 761503"/>
                <a:gd name="connsiteX16" fmla="*/ 327424 w 516735"/>
                <a:gd name="connsiteY16" fmla="*/ 224077 h 761503"/>
                <a:gd name="connsiteX17" fmla="*/ 330144 w 516735"/>
                <a:gd name="connsiteY17" fmla="*/ 251274 h 761503"/>
                <a:gd name="connsiteX18" fmla="*/ 327424 w 516735"/>
                <a:gd name="connsiteY18" fmla="*/ 278470 h 761503"/>
                <a:gd name="connsiteX19" fmla="*/ 327424 w 516735"/>
                <a:gd name="connsiteY19" fmla="*/ 332864 h 761503"/>
                <a:gd name="connsiteX20" fmla="*/ 330144 w 516735"/>
                <a:gd name="connsiteY20" fmla="*/ 357340 h 761503"/>
                <a:gd name="connsiteX21" fmla="*/ 330144 w 516735"/>
                <a:gd name="connsiteY21" fmla="*/ 368219 h 761503"/>
                <a:gd name="connsiteX22" fmla="*/ 332863 w 516735"/>
                <a:gd name="connsiteY22" fmla="*/ 387257 h 761503"/>
                <a:gd name="connsiteX23" fmla="*/ 332863 w 516735"/>
                <a:gd name="connsiteY23" fmla="*/ 433491 h 761503"/>
                <a:gd name="connsiteX24" fmla="*/ 332863 w 516735"/>
                <a:gd name="connsiteY24" fmla="*/ 487884 h 761503"/>
                <a:gd name="connsiteX25" fmla="*/ 330144 w 516735"/>
                <a:gd name="connsiteY25" fmla="*/ 512361 h 761503"/>
                <a:gd name="connsiteX26" fmla="*/ 330144 w 516735"/>
                <a:gd name="connsiteY26" fmla="*/ 539557 h 761503"/>
                <a:gd name="connsiteX27" fmla="*/ 332863 w 516735"/>
                <a:gd name="connsiteY27" fmla="*/ 593950 h 761503"/>
                <a:gd name="connsiteX28" fmla="*/ 332863 w 516735"/>
                <a:gd name="connsiteY28" fmla="*/ 648343 h 761503"/>
                <a:gd name="connsiteX29" fmla="*/ 332863 w 516735"/>
                <a:gd name="connsiteY29" fmla="*/ 656502 h 761503"/>
                <a:gd name="connsiteX30" fmla="*/ 357341 w 516735"/>
                <a:gd name="connsiteY30" fmla="*/ 656502 h 761503"/>
                <a:gd name="connsiteX31" fmla="*/ 395416 w 516735"/>
                <a:gd name="connsiteY31" fmla="*/ 675540 h 761503"/>
                <a:gd name="connsiteX32" fmla="*/ 389976 w 516735"/>
                <a:gd name="connsiteY32" fmla="*/ 691858 h 761503"/>
                <a:gd name="connsiteX33" fmla="*/ 373658 w 516735"/>
                <a:gd name="connsiteY33" fmla="*/ 700017 h 761503"/>
                <a:gd name="connsiteX34" fmla="*/ 351901 w 516735"/>
                <a:gd name="connsiteY34" fmla="*/ 702737 h 761503"/>
                <a:gd name="connsiteX35" fmla="*/ 319265 w 516735"/>
                <a:gd name="connsiteY35" fmla="*/ 702737 h 761503"/>
                <a:gd name="connsiteX36" fmla="*/ 311106 w 516735"/>
                <a:gd name="connsiteY36" fmla="*/ 708176 h 761503"/>
                <a:gd name="connsiteX37" fmla="*/ 289349 w 516735"/>
                <a:gd name="connsiteY37" fmla="*/ 713615 h 761503"/>
                <a:gd name="connsiteX38" fmla="*/ 270311 w 516735"/>
                <a:gd name="connsiteY38" fmla="*/ 713615 h 761503"/>
                <a:gd name="connsiteX39" fmla="*/ 243115 w 516735"/>
                <a:gd name="connsiteY39" fmla="*/ 705456 h 761503"/>
                <a:gd name="connsiteX40" fmla="*/ 237675 w 516735"/>
                <a:gd name="connsiteY40" fmla="*/ 702737 h 761503"/>
                <a:gd name="connsiteX41" fmla="*/ 199600 w 516735"/>
                <a:gd name="connsiteY41" fmla="*/ 702737 h 761503"/>
                <a:gd name="connsiteX42" fmla="*/ 175123 w 516735"/>
                <a:gd name="connsiteY42" fmla="*/ 702737 h 761503"/>
                <a:gd name="connsiteX43" fmla="*/ 147927 w 516735"/>
                <a:gd name="connsiteY43" fmla="*/ 697297 h 761503"/>
                <a:gd name="connsiteX44" fmla="*/ 131609 w 516735"/>
                <a:gd name="connsiteY44" fmla="*/ 678260 h 761503"/>
                <a:gd name="connsiteX45" fmla="*/ 137048 w 516735"/>
                <a:gd name="connsiteY45" fmla="*/ 670101 h 761503"/>
                <a:gd name="connsiteX46" fmla="*/ 158805 w 516735"/>
                <a:gd name="connsiteY46" fmla="*/ 661942 h 761503"/>
                <a:gd name="connsiteX47" fmla="*/ 199600 w 516735"/>
                <a:gd name="connsiteY47" fmla="*/ 659222 h 761503"/>
                <a:gd name="connsiteX48" fmla="*/ 199600 w 516735"/>
                <a:gd name="connsiteY48" fmla="*/ 659222 h 761503"/>
                <a:gd name="connsiteX49" fmla="*/ 196880 w 516735"/>
                <a:gd name="connsiteY49" fmla="*/ 629306 h 761503"/>
                <a:gd name="connsiteX50" fmla="*/ 199600 w 516735"/>
                <a:gd name="connsiteY50" fmla="*/ 574913 h 761503"/>
                <a:gd name="connsiteX51" fmla="*/ 202320 w 516735"/>
                <a:gd name="connsiteY51" fmla="*/ 523239 h 761503"/>
                <a:gd name="connsiteX52" fmla="*/ 205040 w 516735"/>
                <a:gd name="connsiteY52" fmla="*/ 460687 h 761503"/>
                <a:gd name="connsiteX53" fmla="*/ 205040 w 516735"/>
                <a:gd name="connsiteY53" fmla="*/ 417173 h 761503"/>
                <a:gd name="connsiteX54" fmla="*/ 207759 w 516735"/>
                <a:gd name="connsiteY54" fmla="*/ 392696 h 761503"/>
                <a:gd name="connsiteX55" fmla="*/ 210478 w 516735"/>
                <a:gd name="connsiteY55" fmla="*/ 368219 h 761503"/>
                <a:gd name="connsiteX56" fmla="*/ 210478 w 516735"/>
                <a:gd name="connsiteY56" fmla="*/ 313826 h 761503"/>
                <a:gd name="connsiteX57" fmla="*/ 210478 w 516735"/>
                <a:gd name="connsiteY57" fmla="*/ 259433 h 761503"/>
                <a:gd name="connsiteX58" fmla="*/ 210478 w 516735"/>
                <a:gd name="connsiteY58" fmla="*/ 213199 h 761503"/>
                <a:gd name="connsiteX59" fmla="*/ 210478 w 516735"/>
                <a:gd name="connsiteY59" fmla="*/ 145207 h 761503"/>
                <a:gd name="connsiteX60" fmla="*/ 213198 w 516735"/>
                <a:gd name="connsiteY60" fmla="*/ 131609 h 761503"/>
                <a:gd name="connsiteX61" fmla="*/ 205040 w 516735"/>
                <a:gd name="connsiteY61" fmla="*/ 123450 h 761503"/>
                <a:gd name="connsiteX62" fmla="*/ 161525 w 516735"/>
                <a:gd name="connsiteY62" fmla="*/ 123450 h 761503"/>
                <a:gd name="connsiteX63" fmla="*/ 112571 w 516735"/>
                <a:gd name="connsiteY63" fmla="*/ 120730 h 761503"/>
                <a:gd name="connsiteX64" fmla="*/ 104412 w 516735"/>
                <a:gd name="connsiteY64" fmla="*/ 118011 h 761503"/>
                <a:gd name="connsiteX65" fmla="*/ 107132 w 516735"/>
                <a:gd name="connsiteY65" fmla="*/ 191441 h 761503"/>
                <a:gd name="connsiteX66" fmla="*/ 90814 w 516735"/>
                <a:gd name="connsiteY66" fmla="*/ 224077 h 761503"/>
                <a:gd name="connsiteX67" fmla="*/ 74496 w 516735"/>
                <a:gd name="connsiteY67" fmla="*/ 218638 h 761503"/>
                <a:gd name="connsiteX68" fmla="*/ 66337 w 516735"/>
                <a:gd name="connsiteY68" fmla="*/ 205040 h 761503"/>
                <a:gd name="connsiteX69" fmla="*/ 63617 w 516735"/>
                <a:gd name="connsiteY69" fmla="*/ 186002 h 761503"/>
                <a:gd name="connsiteX70" fmla="*/ 63617 w 516735"/>
                <a:gd name="connsiteY70" fmla="*/ 145207 h 761503"/>
                <a:gd name="connsiteX71" fmla="*/ 63617 w 516735"/>
                <a:gd name="connsiteY71" fmla="*/ 109852 h 761503"/>
                <a:gd name="connsiteX72" fmla="*/ 58178 w 516735"/>
                <a:gd name="connsiteY72" fmla="*/ 96253 h 761503"/>
                <a:gd name="connsiteX73" fmla="*/ 66337 w 516735"/>
                <a:gd name="connsiteY73" fmla="*/ 85375 h 761503"/>
                <a:gd name="connsiteX74" fmla="*/ 93533 w 516735"/>
                <a:gd name="connsiteY74" fmla="*/ 77216 h 761503"/>
                <a:gd name="connsiteX75" fmla="*/ 115290 w 516735"/>
                <a:gd name="connsiteY75" fmla="*/ 77216 h 761503"/>
                <a:gd name="connsiteX76" fmla="*/ 169684 w 516735"/>
                <a:gd name="connsiteY76" fmla="*/ 74496 h 761503"/>
                <a:gd name="connsiteX77" fmla="*/ 194161 w 516735"/>
                <a:gd name="connsiteY77" fmla="*/ 71776 h 761503"/>
                <a:gd name="connsiteX78" fmla="*/ 196880 w 516735"/>
                <a:gd name="connsiteY78" fmla="*/ 71776 h 761503"/>
                <a:gd name="connsiteX79" fmla="*/ 210478 w 516735"/>
                <a:gd name="connsiteY79" fmla="*/ 71776 h 761503"/>
                <a:gd name="connsiteX80" fmla="*/ 218638 w 516735"/>
                <a:gd name="connsiteY80" fmla="*/ 71776 h 761503"/>
                <a:gd name="connsiteX81" fmla="*/ 237675 w 516735"/>
                <a:gd name="connsiteY81" fmla="*/ 60898 h 761503"/>
                <a:gd name="connsiteX82" fmla="*/ 253993 w 516735"/>
                <a:gd name="connsiteY82" fmla="*/ 58178 h 761503"/>
                <a:gd name="connsiteX83" fmla="*/ 283910 w 516735"/>
                <a:gd name="connsiteY83" fmla="*/ 60898 h 761503"/>
                <a:gd name="connsiteX84" fmla="*/ 294788 w 516735"/>
                <a:gd name="connsiteY84" fmla="*/ 66337 h 761503"/>
                <a:gd name="connsiteX85" fmla="*/ 305667 w 516735"/>
                <a:gd name="connsiteY85" fmla="*/ 74496 h 761503"/>
                <a:gd name="connsiteX86" fmla="*/ 313826 w 516735"/>
                <a:gd name="connsiteY86" fmla="*/ 74496 h 761503"/>
                <a:gd name="connsiteX87" fmla="*/ 327424 w 516735"/>
                <a:gd name="connsiteY87" fmla="*/ 74496 h 761503"/>
                <a:gd name="connsiteX88" fmla="*/ 354621 w 516735"/>
                <a:gd name="connsiteY88" fmla="*/ 74496 h 761503"/>
                <a:gd name="connsiteX89" fmla="*/ 422612 w 516735"/>
                <a:gd name="connsiteY89" fmla="*/ 74496 h 761503"/>
                <a:gd name="connsiteX90" fmla="*/ 455248 w 516735"/>
                <a:gd name="connsiteY90" fmla="*/ 79936 h 761503"/>
                <a:gd name="connsiteX91" fmla="*/ 466127 w 516735"/>
                <a:gd name="connsiteY91" fmla="*/ 98973 h 761503"/>
                <a:gd name="connsiteX92" fmla="*/ 463407 w 516735"/>
                <a:gd name="connsiteY92" fmla="*/ 109852 h 761503"/>
                <a:gd name="connsiteX93" fmla="*/ 463407 w 516735"/>
                <a:gd name="connsiteY93" fmla="*/ 120730 h 761503"/>
                <a:gd name="connsiteX94" fmla="*/ 463407 w 516735"/>
                <a:gd name="connsiteY94" fmla="*/ 194161 h 761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</a:cxnLst>
              <a:rect l="l" t="t" r="r" b="b"/>
              <a:pathLst>
                <a:path w="516735" h="761503">
                  <a:moveTo>
                    <a:pt x="463407" y="194161"/>
                  </a:moveTo>
                  <a:cubicBezTo>
                    <a:pt x="463407" y="205040"/>
                    <a:pt x="463407" y="226797"/>
                    <a:pt x="447089" y="226797"/>
                  </a:cubicBezTo>
                  <a:cubicBezTo>
                    <a:pt x="438930" y="226797"/>
                    <a:pt x="436211" y="226797"/>
                    <a:pt x="430771" y="221357"/>
                  </a:cubicBezTo>
                  <a:cubicBezTo>
                    <a:pt x="425332" y="218638"/>
                    <a:pt x="422612" y="210479"/>
                    <a:pt x="422612" y="207759"/>
                  </a:cubicBezTo>
                  <a:cubicBezTo>
                    <a:pt x="419893" y="199600"/>
                    <a:pt x="419893" y="194161"/>
                    <a:pt x="419893" y="188722"/>
                  </a:cubicBezTo>
                  <a:cubicBezTo>
                    <a:pt x="419893" y="183282"/>
                    <a:pt x="419893" y="147927"/>
                    <a:pt x="419893" y="139768"/>
                  </a:cubicBezTo>
                  <a:cubicBezTo>
                    <a:pt x="419893" y="134329"/>
                    <a:pt x="419893" y="128889"/>
                    <a:pt x="419893" y="120730"/>
                  </a:cubicBezTo>
                  <a:cubicBezTo>
                    <a:pt x="411734" y="120730"/>
                    <a:pt x="403574" y="120730"/>
                    <a:pt x="395416" y="120730"/>
                  </a:cubicBezTo>
                  <a:cubicBezTo>
                    <a:pt x="387256" y="120730"/>
                    <a:pt x="379098" y="120730"/>
                    <a:pt x="370939" y="120730"/>
                  </a:cubicBezTo>
                  <a:cubicBezTo>
                    <a:pt x="362780" y="120730"/>
                    <a:pt x="354621" y="123450"/>
                    <a:pt x="346461" y="123450"/>
                  </a:cubicBezTo>
                  <a:cubicBezTo>
                    <a:pt x="343742" y="123450"/>
                    <a:pt x="341023" y="123450"/>
                    <a:pt x="335583" y="123450"/>
                  </a:cubicBezTo>
                  <a:cubicBezTo>
                    <a:pt x="335583" y="123450"/>
                    <a:pt x="335583" y="123450"/>
                    <a:pt x="335583" y="123450"/>
                  </a:cubicBezTo>
                  <a:cubicBezTo>
                    <a:pt x="327424" y="123450"/>
                    <a:pt x="324704" y="126170"/>
                    <a:pt x="324704" y="128889"/>
                  </a:cubicBezTo>
                  <a:cubicBezTo>
                    <a:pt x="324704" y="131609"/>
                    <a:pt x="324704" y="137048"/>
                    <a:pt x="327424" y="139768"/>
                  </a:cubicBezTo>
                  <a:cubicBezTo>
                    <a:pt x="330144" y="147927"/>
                    <a:pt x="330144" y="166964"/>
                    <a:pt x="330144" y="175123"/>
                  </a:cubicBezTo>
                  <a:cubicBezTo>
                    <a:pt x="330144" y="183282"/>
                    <a:pt x="330144" y="191441"/>
                    <a:pt x="330144" y="199600"/>
                  </a:cubicBezTo>
                  <a:cubicBezTo>
                    <a:pt x="330144" y="207759"/>
                    <a:pt x="327424" y="215918"/>
                    <a:pt x="327424" y="224077"/>
                  </a:cubicBezTo>
                  <a:cubicBezTo>
                    <a:pt x="327424" y="232236"/>
                    <a:pt x="330144" y="243115"/>
                    <a:pt x="330144" y="251274"/>
                  </a:cubicBezTo>
                  <a:cubicBezTo>
                    <a:pt x="330144" y="259433"/>
                    <a:pt x="330144" y="267592"/>
                    <a:pt x="327424" y="278470"/>
                  </a:cubicBezTo>
                  <a:cubicBezTo>
                    <a:pt x="327424" y="294788"/>
                    <a:pt x="327424" y="313826"/>
                    <a:pt x="327424" y="332864"/>
                  </a:cubicBezTo>
                  <a:cubicBezTo>
                    <a:pt x="327424" y="341022"/>
                    <a:pt x="327424" y="349181"/>
                    <a:pt x="330144" y="357340"/>
                  </a:cubicBezTo>
                  <a:cubicBezTo>
                    <a:pt x="330144" y="360060"/>
                    <a:pt x="330144" y="365499"/>
                    <a:pt x="330144" y="368219"/>
                  </a:cubicBezTo>
                  <a:cubicBezTo>
                    <a:pt x="330144" y="373658"/>
                    <a:pt x="332863" y="384537"/>
                    <a:pt x="332863" y="387257"/>
                  </a:cubicBezTo>
                  <a:cubicBezTo>
                    <a:pt x="332863" y="406294"/>
                    <a:pt x="332863" y="414453"/>
                    <a:pt x="332863" y="433491"/>
                  </a:cubicBezTo>
                  <a:cubicBezTo>
                    <a:pt x="332863" y="452528"/>
                    <a:pt x="335583" y="468846"/>
                    <a:pt x="332863" y="487884"/>
                  </a:cubicBezTo>
                  <a:cubicBezTo>
                    <a:pt x="332863" y="496043"/>
                    <a:pt x="330144" y="504202"/>
                    <a:pt x="330144" y="512361"/>
                  </a:cubicBezTo>
                  <a:cubicBezTo>
                    <a:pt x="330144" y="520520"/>
                    <a:pt x="330144" y="531398"/>
                    <a:pt x="330144" y="539557"/>
                  </a:cubicBezTo>
                  <a:cubicBezTo>
                    <a:pt x="330144" y="558595"/>
                    <a:pt x="330144" y="574913"/>
                    <a:pt x="332863" y="593950"/>
                  </a:cubicBezTo>
                  <a:cubicBezTo>
                    <a:pt x="332863" y="610268"/>
                    <a:pt x="332863" y="632026"/>
                    <a:pt x="332863" y="648343"/>
                  </a:cubicBezTo>
                  <a:cubicBezTo>
                    <a:pt x="332863" y="651063"/>
                    <a:pt x="332863" y="653783"/>
                    <a:pt x="332863" y="656502"/>
                  </a:cubicBezTo>
                  <a:cubicBezTo>
                    <a:pt x="343742" y="656502"/>
                    <a:pt x="351901" y="656502"/>
                    <a:pt x="357341" y="656502"/>
                  </a:cubicBezTo>
                  <a:cubicBezTo>
                    <a:pt x="370939" y="656502"/>
                    <a:pt x="395416" y="659222"/>
                    <a:pt x="395416" y="675540"/>
                  </a:cubicBezTo>
                  <a:cubicBezTo>
                    <a:pt x="395416" y="683699"/>
                    <a:pt x="392696" y="686419"/>
                    <a:pt x="389976" y="691858"/>
                  </a:cubicBezTo>
                  <a:cubicBezTo>
                    <a:pt x="384537" y="697297"/>
                    <a:pt x="379098" y="700017"/>
                    <a:pt x="373658" y="700017"/>
                  </a:cubicBezTo>
                  <a:cubicBezTo>
                    <a:pt x="365499" y="702737"/>
                    <a:pt x="357341" y="702737"/>
                    <a:pt x="351901" y="702737"/>
                  </a:cubicBezTo>
                  <a:cubicBezTo>
                    <a:pt x="349181" y="702737"/>
                    <a:pt x="335583" y="702737"/>
                    <a:pt x="319265" y="702737"/>
                  </a:cubicBezTo>
                  <a:cubicBezTo>
                    <a:pt x="316546" y="705456"/>
                    <a:pt x="313826" y="705456"/>
                    <a:pt x="311106" y="708176"/>
                  </a:cubicBezTo>
                  <a:cubicBezTo>
                    <a:pt x="302948" y="713615"/>
                    <a:pt x="297508" y="713615"/>
                    <a:pt x="289349" y="713615"/>
                  </a:cubicBezTo>
                  <a:cubicBezTo>
                    <a:pt x="283910" y="713615"/>
                    <a:pt x="278470" y="713615"/>
                    <a:pt x="270311" y="713615"/>
                  </a:cubicBezTo>
                  <a:cubicBezTo>
                    <a:pt x="259433" y="713615"/>
                    <a:pt x="251273" y="710895"/>
                    <a:pt x="243115" y="705456"/>
                  </a:cubicBezTo>
                  <a:cubicBezTo>
                    <a:pt x="240395" y="705456"/>
                    <a:pt x="237675" y="702737"/>
                    <a:pt x="237675" y="702737"/>
                  </a:cubicBezTo>
                  <a:cubicBezTo>
                    <a:pt x="224077" y="702737"/>
                    <a:pt x="213198" y="702737"/>
                    <a:pt x="199600" y="702737"/>
                  </a:cubicBezTo>
                  <a:cubicBezTo>
                    <a:pt x="191441" y="702737"/>
                    <a:pt x="183282" y="702737"/>
                    <a:pt x="175123" y="702737"/>
                  </a:cubicBezTo>
                  <a:cubicBezTo>
                    <a:pt x="166965" y="702737"/>
                    <a:pt x="156085" y="702737"/>
                    <a:pt x="147927" y="697297"/>
                  </a:cubicBezTo>
                  <a:cubicBezTo>
                    <a:pt x="139768" y="694578"/>
                    <a:pt x="131609" y="680979"/>
                    <a:pt x="131609" y="678260"/>
                  </a:cubicBezTo>
                  <a:cubicBezTo>
                    <a:pt x="131609" y="675540"/>
                    <a:pt x="131609" y="672820"/>
                    <a:pt x="137048" y="670101"/>
                  </a:cubicBezTo>
                  <a:cubicBezTo>
                    <a:pt x="142487" y="667381"/>
                    <a:pt x="153366" y="664661"/>
                    <a:pt x="158805" y="661942"/>
                  </a:cubicBezTo>
                  <a:cubicBezTo>
                    <a:pt x="175123" y="659222"/>
                    <a:pt x="191441" y="659222"/>
                    <a:pt x="199600" y="659222"/>
                  </a:cubicBezTo>
                  <a:lnTo>
                    <a:pt x="199600" y="659222"/>
                  </a:lnTo>
                  <a:cubicBezTo>
                    <a:pt x="199600" y="648343"/>
                    <a:pt x="196880" y="640184"/>
                    <a:pt x="196880" y="629306"/>
                  </a:cubicBezTo>
                  <a:cubicBezTo>
                    <a:pt x="196880" y="612988"/>
                    <a:pt x="196880" y="591231"/>
                    <a:pt x="199600" y="574913"/>
                  </a:cubicBezTo>
                  <a:cubicBezTo>
                    <a:pt x="199600" y="558595"/>
                    <a:pt x="199600" y="539557"/>
                    <a:pt x="202320" y="523239"/>
                  </a:cubicBezTo>
                  <a:cubicBezTo>
                    <a:pt x="202320" y="501482"/>
                    <a:pt x="205040" y="482445"/>
                    <a:pt x="205040" y="460687"/>
                  </a:cubicBezTo>
                  <a:cubicBezTo>
                    <a:pt x="205040" y="447089"/>
                    <a:pt x="205040" y="430771"/>
                    <a:pt x="205040" y="417173"/>
                  </a:cubicBezTo>
                  <a:cubicBezTo>
                    <a:pt x="205040" y="409014"/>
                    <a:pt x="207759" y="400855"/>
                    <a:pt x="207759" y="392696"/>
                  </a:cubicBezTo>
                  <a:cubicBezTo>
                    <a:pt x="207759" y="384537"/>
                    <a:pt x="210478" y="376378"/>
                    <a:pt x="210478" y="368219"/>
                  </a:cubicBezTo>
                  <a:cubicBezTo>
                    <a:pt x="210478" y="351901"/>
                    <a:pt x="210478" y="332864"/>
                    <a:pt x="210478" y="313826"/>
                  </a:cubicBezTo>
                  <a:cubicBezTo>
                    <a:pt x="210478" y="294788"/>
                    <a:pt x="210478" y="275751"/>
                    <a:pt x="210478" y="259433"/>
                  </a:cubicBezTo>
                  <a:cubicBezTo>
                    <a:pt x="210478" y="243115"/>
                    <a:pt x="210478" y="226797"/>
                    <a:pt x="210478" y="213199"/>
                  </a:cubicBezTo>
                  <a:cubicBezTo>
                    <a:pt x="210478" y="194161"/>
                    <a:pt x="210478" y="164245"/>
                    <a:pt x="210478" y="145207"/>
                  </a:cubicBezTo>
                  <a:cubicBezTo>
                    <a:pt x="210478" y="139768"/>
                    <a:pt x="213198" y="134329"/>
                    <a:pt x="213198" y="131609"/>
                  </a:cubicBezTo>
                  <a:cubicBezTo>
                    <a:pt x="213198" y="126170"/>
                    <a:pt x="207759" y="123450"/>
                    <a:pt x="205040" y="123450"/>
                  </a:cubicBezTo>
                  <a:cubicBezTo>
                    <a:pt x="199600" y="123450"/>
                    <a:pt x="166965" y="123450"/>
                    <a:pt x="161525" y="123450"/>
                  </a:cubicBezTo>
                  <a:cubicBezTo>
                    <a:pt x="145207" y="123450"/>
                    <a:pt x="128889" y="123450"/>
                    <a:pt x="112571" y="120730"/>
                  </a:cubicBezTo>
                  <a:cubicBezTo>
                    <a:pt x="109852" y="120730"/>
                    <a:pt x="107132" y="120730"/>
                    <a:pt x="104412" y="118011"/>
                  </a:cubicBezTo>
                  <a:cubicBezTo>
                    <a:pt x="107132" y="137048"/>
                    <a:pt x="107132" y="172404"/>
                    <a:pt x="107132" y="191441"/>
                  </a:cubicBezTo>
                  <a:cubicBezTo>
                    <a:pt x="107132" y="202320"/>
                    <a:pt x="107132" y="224077"/>
                    <a:pt x="90814" y="224077"/>
                  </a:cubicBezTo>
                  <a:cubicBezTo>
                    <a:pt x="82655" y="224077"/>
                    <a:pt x="79935" y="221357"/>
                    <a:pt x="74496" y="218638"/>
                  </a:cubicBezTo>
                  <a:cubicBezTo>
                    <a:pt x="69057" y="215918"/>
                    <a:pt x="66337" y="210479"/>
                    <a:pt x="66337" y="205040"/>
                  </a:cubicBezTo>
                  <a:cubicBezTo>
                    <a:pt x="63617" y="196881"/>
                    <a:pt x="63617" y="191441"/>
                    <a:pt x="63617" y="186002"/>
                  </a:cubicBezTo>
                  <a:cubicBezTo>
                    <a:pt x="63617" y="180563"/>
                    <a:pt x="63617" y="153366"/>
                    <a:pt x="63617" y="145207"/>
                  </a:cubicBezTo>
                  <a:cubicBezTo>
                    <a:pt x="63617" y="134329"/>
                    <a:pt x="63617" y="120730"/>
                    <a:pt x="63617" y="109852"/>
                  </a:cubicBezTo>
                  <a:cubicBezTo>
                    <a:pt x="60897" y="104412"/>
                    <a:pt x="58178" y="101693"/>
                    <a:pt x="58178" y="96253"/>
                  </a:cubicBezTo>
                  <a:cubicBezTo>
                    <a:pt x="58178" y="93534"/>
                    <a:pt x="60897" y="88095"/>
                    <a:pt x="66337" y="85375"/>
                  </a:cubicBezTo>
                  <a:cubicBezTo>
                    <a:pt x="74496" y="79936"/>
                    <a:pt x="77215" y="77216"/>
                    <a:pt x="93533" y="77216"/>
                  </a:cubicBezTo>
                  <a:cubicBezTo>
                    <a:pt x="101692" y="77216"/>
                    <a:pt x="109852" y="77216"/>
                    <a:pt x="115290" y="77216"/>
                  </a:cubicBezTo>
                  <a:cubicBezTo>
                    <a:pt x="134328" y="77216"/>
                    <a:pt x="150646" y="77216"/>
                    <a:pt x="169684" y="74496"/>
                  </a:cubicBezTo>
                  <a:cubicBezTo>
                    <a:pt x="177843" y="74496"/>
                    <a:pt x="186002" y="71776"/>
                    <a:pt x="194161" y="71776"/>
                  </a:cubicBezTo>
                  <a:cubicBezTo>
                    <a:pt x="194161" y="71776"/>
                    <a:pt x="196880" y="71776"/>
                    <a:pt x="196880" y="71776"/>
                  </a:cubicBezTo>
                  <a:cubicBezTo>
                    <a:pt x="199600" y="71776"/>
                    <a:pt x="205040" y="71776"/>
                    <a:pt x="210478" y="71776"/>
                  </a:cubicBezTo>
                  <a:cubicBezTo>
                    <a:pt x="213198" y="71776"/>
                    <a:pt x="215918" y="71776"/>
                    <a:pt x="218638" y="71776"/>
                  </a:cubicBezTo>
                  <a:cubicBezTo>
                    <a:pt x="224077" y="69057"/>
                    <a:pt x="229516" y="63618"/>
                    <a:pt x="237675" y="60898"/>
                  </a:cubicBezTo>
                  <a:cubicBezTo>
                    <a:pt x="243115" y="58178"/>
                    <a:pt x="248554" y="58178"/>
                    <a:pt x="253993" y="58178"/>
                  </a:cubicBezTo>
                  <a:cubicBezTo>
                    <a:pt x="264872" y="58178"/>
                    <a:pt x="273031" y="58178"/>
                    <a:pt x="283910" y="60898"/>
                  </a:cubicBezTo>
                  <a:cubicBezTo>
                    <a:pt x="286629" y="60898"/>
                    <a:pt x="292068" y="63618"/>
                    <a:pt x="294788" y="66337"/>
                  </a:cubicBezTo>
                  <a:cubicBezTo>
                    <a:pt x="297508" y="69057"/>
                    <a:pt x="302948" y="71776"/>
                    <a:pt x="305667" y="74496"/>
                  </a:cubicBezTo>
                  <a:cubicBezTo>
                    <a:pt x="308386" y="74496"/>
                    <a:pt x="311106" y="74496"/>
                    <a:pt x="313826" y="74496"/>
                  </a:cubicBezTo>
                  <a:cubicBezTo>
                    <a:pt x="319265" y="74496"/>
                    <a:pt x="321985" y="74496"/>
                    <a:pt x="327424" y="74496"/>
                  </a:cubicBezTo>
                  <a:cubicBezTo>
                    <a:pt x="335583" y="74496"/>
                    <a:pt x="346461" y="74496"/>
                    <a:pt x="354621" y="74496"/>
                  </a:cubicBezTo>
                  <a:cubicBezTo>
                    <a:pt x="376378" y="74496"/>
                    <a:pt x="400855" y="74496"/>
                    <a:pt x="422612" y="74496"/>
                  </a:cubicBezTo>
                  <a:cubicBezTo>
                    <a:pt x="433491" y="74496"/>
                    <a:pt x="447089" y="74496"/>
                    <a:pt x="455248" y="79936"/>
                  </a:cubicBezTo>
                  <a:cubicBezTo>
                    <a:pt x="460687" y="82655"/>
                    <a:pt x="466127" y="90814"/>
                    <a:pt x="466127" y="98973"/>
                  </a:cubicBezTo>
                  <a:cubicBezTo>
                    <a:pt x="466127" y="101693"/>
                    <a:pt x="466127" y="107132"/>
                    <a:pt x="463407" y="109852"/>
                  </a:cubicBezTo>
                  <a:cubicBezTo>
                    <a:pt x="463407" y="112571"/>
                    <a:pt x="463407" y="112571"/>
                    <a:pt x="463407" y="120730"/>
                  </a:cubicBezTo>
                  <a:cubicBezTo>
                    <a:pt x="463407" y="142488"/>
                    <a:pt x="463407" y="172404"/>
                    <a:pt x="463407" y="194161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>
                <a:solidFill>
                  <a:srgbClr val="FFFFFF"/>
                </a:solidFill>
              </a:endParaRPr>
            </a:p>
          </p:txBody>
        </p:sp>
      </p:grpSp>
      <p:sp>
        <p:nvSpPr>
          <p:cNvPr id="53" name="Text Placeholder 53">
            <a:extLst>
              <a:ext uri="{FF2B5EF4-FFF2-40B4-BE49-F238E27FC236}">
                <a16:creationId xmlns:a16="http://schemas.microsoft.com/office/drawing/2014/main" id="{A06BB12E-B6C0-430E-92B2-14BF0016930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71551" y="1444711"/>
            <a:ext cx="4953908" cy="369332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9pPr>
          </a:lstStyle>
          <a:p>
            <a:pPr lvl="0"/>
            <a:r>
              <a:t>Type first item</a:t>
            </a:r>
          </a:p>
        </p:txBody>
      </p:sp>
      <p:sp>
        <p:nvSpPr>
          <p:cNvPr id="58" name="Text Placeholder 57">
            <a:extLst>
              <a:ext uri="{FF2B5EF4-FFF2-40B4-BE49-F238E27FC236}">
                <a16:creationId xmlns:a16="http://schemas.microsoft.com/office/drawing/2014/main" id="{669D2195-8E5A-403C-9846-2544DFFAF2B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1001" y="1418375"/>
            <a:ext cx="400736" cy="395668"/>
          </a:xfrm>
          <a:custGeom>
            <a:avLst/>
            <a:gdLst>
              <a:gd name="connsiteX0" fmla="*/ 211632 w 400736"/>
              <a:gd name="connsiteY0" fmla="*/ 4 h 395668"/>
              <a:gd name="connsiteX1" fmla="*/ 251329 w 400736"/>
              <a:gd name="connsiteY1" fmla="*/ 4637 h 395668"/>
              <a:gd name="connsiteX2" fmla="*/ 399960 w 400736"/>
              <a:gd name="connsiteY2" fmla="*/ 224995 h 395668"/>
              <a:gd name="connsiteX3" fmla="*/ 143368 w 400736"/>
              <a:gd name="connsiteY3" fmla="*/ 390633 h 395668"/>
              <a:gd name="connsiteX4" fmla="*/ 5089 w 400736"/>
              <a:gd name="connsiteY4" fmla="*/ 163621 h 395668"/>
              <a:gd name="connsiteX5" fmla="*/ 211632 w 400736"/>
              <a:gd name="connsiteY5" fmla="*/ 4 h 3956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00736" h="395668">
                <a:moveTo>
                  <a:pt x="211632" y="4"/>
                </a:moveTo>
                <a:cubicBezTo>
                  <a:pt x="224986" y="85"/>
                  <a:pt x="238296" y="1587"/>
                  <a:pt x="251329" y="4637"/>
                </a:cubicBezTo>
                <a:cubicBezTo>
                  <a:pt x="351896" y="28300"/>
                  <a:pt x="408094" y="126648"/>
                  <a:pt x="399960" y="224995"/>
                </a:cubicBezTo>
                <a:cubicBezTo>
                  <a:pt x="387390" y="388415"/>
                  <a:pt x="196609" y="407641"/>
                  <a:pt x="143368" y="390633"/>
                </a:cubicBezTo>
                <a:cubicBezTo>
                  <a:pt x="-8221" y="341829"/>
                  <a:pt x="-7481" y="233868"/>
                  <a:pt x="5089" y="163621"/>
                </a:cubicBezTo>
                <a:cubicBezTo>
                  <a:pt x="22559" y="68508"/>
                  <a:pt x="118157" y="-561"/>
                  <a:pt x="211632" y="4"/>
                </a:cubicBezTo>
                <a:close/>
              </a:path>
            </a:pathLst>
          </a:custGeom>
          <a:solidFill>
            <a:schemeClr val="accent2"/>
          </a:solidFill>
        </p:spPr>
        <p:txBody>
          <a:bodyPr wrap="none"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1pPr>
            <a:lvl2pPr marL="0" indent="0" algn="ctr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2pPr>
            <a:lvl3pPr marL="0" indent="0" algn="ctr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3pPr>
            <a:lvl4pPr marL="0" indent="0" algn="ctr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4pPr>
            <a:lvl5pPr marL="0" indent="0" algn="ctr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5pPr>
            <a:lvl6pPr marL="0" indent="0" algn="ctr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6pPr>
            <a:lvl7pPr marL="0" indent="0" algn="ctr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7pPr>
            <a:lvl8pPr marL="0" indent="0" algn="ctr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8pPr>
            <a:lvl9pPr marL="0" indent="0" algn="ctr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9pPr>
          </a:lstStyle>
          <a:p>
            <a:pPr lvl="0"/>
            <a:r>
              <a:t>#</a:t>
            </a:r>
          </a:p>
        </p:txBody>
      </p:sp>
      <p:sp>
        <p:nvSpPr>
          <p:cNvPr id="59" name="Text Placeholder 53">
            <a:extLst>
              <a:ext uri="{FF2B5EF4-FFF2-40B4-BE49-F238E27FC236}">
                <a16:creationId xmlns:a16="http://schemas.microsoft.com/office/drawing/2014/main" id="{A7B5E7A9-B9DF-45F8-A739-FC8A9096C72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71551" y="2107168"/>
            <a:ext cx="4953908" cy="369332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9pPr>
          </a:lstStyle>
          <a:p>
            <a:pPr lvl="0"/>
            <a:r>
              <a:t>Type next item</a:t>
            </a:r>
          </a:p>
        </p:txBody>
      </p:sp>
      <p:sp>
        <p:nvSpPr>
          <p:cNvPr id="60" name="Text Placeholder 59">
            <a:extLst>
              <a:ext uri="{FF2B5EF4-FFF2-40B4-BE49-F238E27FC236}">
                <a16:creationId xmlns:a16="http://schemas.microsoft.com/office/drawing/2014/main" id="{A21D3DEF-A031-45FE-89E2-41EF0AF9C96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1001" y="2080832"/>
            <a:ext cx="400736" cy="395668"/>
          </a:xfrm>
          <a:custGeom>
            <a:avLst/>
            <a:gdLst>
              <a:gd name="connsiteX0" fmla="*/ 211632 w 400736"/>
              <a:gd name="connsiteY0" fmla="*/ 4 h 395668"/>
              <a:gd name="connsiteX1" fmla="*/ 251329 w 400736"/>
              <a:gd name="connsiteY1" fmla="*/ 4637 h 395668"/>
              <a:gd name="connsiteX2" fmla="*/ 399960 w 400736"/>
              <a:gd name="connsiteY2" fmla="*/ 224995 h 395668"/>
              <a:gd name="connsiteX3" fmla="*/ 143368 w 400736"/>
              <a:gd name="connsiteY3" fmla="*/ 390633 h 395668"/>
              <a:gd name="connsiteX4" fmla="*/ 5089 w 400736"/>
              <a:gd name="connsiteY4" fmla="*/ 163621 h 395668"/>
              <a:gd name="connsiteX5" fmla="*/ 211632 w 400736"/>
              <a:gd name="connsiteY5" fmla="*/ 4 h 3956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00736" h="395668">
                <a:moveTo>
                  <a:pt x="211632" y="4"/>
                </a:moveTo>
                <a:cubicBezTo>
                  <a:pt x="224986" y="85"/>
                  <a:pt x="238296" y="1587"/>
                  <a:pt x="251329" y="4637"/>
                </a:cubicBezTo>
                <a:cubicBezTo>
                  <a:pt x="351896" y="28300"/>
                  <a:pt x="408094" y="126648"/>
                  <a:pt x="399960" y="224995"/>
                </a:cubicBezTo>
                <a:cubicBezTo>
                  <a:pt x="387390" y="388415"/>
                  <a:pt x="196609" y="407641"/>
                  <a:pt x="143368" y="390633"/>
                </a:cubicBezTo>
                <a:cubicBezTo>
                  <a:pt x="-8221" y="341829"/>
                  <a:pt x="-7481" y="233868"/>
                  <a:pt x="5089" y="163621"/>
                </a:cubicBezTo>
                <a:cubicBezTo>
                  <a:pt x="22559" y="68508"/>
                  <a:pt x="118157" y="-561"/>
                  <a:pt x="211632" y="4"/>
                </a:cubicBezTo>
                <a:close/>
              </a:path>
            </a:pathLst>
          </a:custGeom>
          <a:solidFill>
            <a:schemeClr val="accent2"/>
          </a:solidFill>
        </p:spPr>
        <p:txBody>
          <a:bodyPr wrap="none"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1pPr>
            <a:lvl2pPr marL="0" indent="0" algn="ctr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2pPr>
            <a:lvl3pPr marL="0" indent="0" algn="ctr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3pPr>
            <a:lvl4pPr marL="0" indent="0" algn="ctr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4pPr>
            <a:lvl5pPr marL="0" indent="0" algn="ctr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5pPr>
            <a:lvl6pPr marL="0" indent="0" algn="ctr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6pPr>
            <a:lvl7pPr marL="0" indent="0" algn="ctr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7pPr>
            <a:lvl8pPr marL="0" indent="0" algn="ctr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8pPr>
            <a:lvl9pPr marL="0" indent="0" algn="ctr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9pPr>
          </a:lstStyle>
          <a:p>
            <a:pPr lvl="0"/>
            <a:r>
              <a:t>#</a:t>
            </a:r>
          </a:p>
        </p:txBody>
      </p:sp>
      <p:sp>
        <p:nvSpPr>
          <p:cNvPr id="61" name="Text Placeholder 53">
            <a:extLst>
              <a:ext uri="{FF2B5EF4-FFF2-40B4-BE49-F238E27FC236}">
                <a16:creationId xmlns:a16="http://schemas.microsoft.com/office/drawing/2014/main" id="{843991E2-821D-4ADE-B4B2-D73D36D98AD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71551" y="2774943"/>
            <a:ext cx="4953908" cy="369332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9pPr>
          </a:lstStyle>
          <a:p>
            <a:pPr lvl="0"/>
            <a:r>
              <a:t>Type next item</a:t>
            </a:r>
          </a:p>
        </p:txBody>
      </p:sp>
      <p:sp>
        <p:nvSpPr>
          <p:cNvPr id="62" name="Text Placeholder 61">
            <a:extLst>
              <a:ext uri="{FF2B5EF4-FFF2-40B4-BE49-F238E27FC236}">
                <a16:creationId xmlns:a16="http://schemas.microsoft.com/office/drawing/2014/main" id="{CCF9AAF0-8A4F-48C4-AC54-27C04E20141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81001" y="2748607"/>
            <a:ext cx="400736" cy="395668"/>
          </a:xfrm>
          <a:custGeom>
            <a:avLst/>
            <a:gdLst>
              <a:gd name="connsiteX0" fmla="*/ 211632 w 400736"/>
              <a:gd name="connsiteY0" fmla="*/ 4 h 395668"/>
              <a:gd name="connsiteX1" fmla="*/ 251329 w 400736"/>
              <a:gd name="connsiteY1" fmla="*/ 4637 h 395668"/>
              <a:gd name="connsiteX2" fmla="*/ 399960 w 400736"/>
              <a:gd name="connsiteY2" fmla="*/ 224995 h 395668"/>
              <a:gd name="connsiteX3" fmla="*/ 143368 w 400736"/>
              <a:gd name="connsiteY3" fmla="*/ 390633 h 395668"/>
              <a:gd name="connsiteX4" fmla="*/ 5089 w 400736"/>
              <a:gd name="connsiteY4" fmla="*/ 163621 h 395668"/>
              <a:gd name="connsiteX5" fmla="*/ 211632 w 400736"/>
              <a:gd name="connsiteY5" fmla="*/ 4 h 3956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00736" h="395668">
                <a:moveTo>
                  <a:pt x="211632" y="4"/>
                </a:moveTo>
                <a:cubicBezTo>
                  <a:pt x="224986" y="85"/>
                  <a:pt x="238296" y="1587"/>
                  <a:pt x="251329" y="4637"/>
                </a:cubicBezTo>
                <a:cubicBezTo>
                  <a:pt x="351896" y="28300"/>
                  <a:pt x="408094" y="126648"/>
                  <a:pt x="399960" y="224995"/>
                </a:cubicBezTo>
                <a:cubicBezTo>
                  <a:pt x="387390" y="388415"/>
                  <a:pt x="196609" y="407641"/>
                  <a:pt x="143368" y="390633"/>
                </a:cubicBezTo>
                <a:cubicBezTo>
                  <a:pt x="-8221" y="341829"/>
                  <a:pt x="-7481" y="233868"/>
                  <a:pt x="5089" y="163621"/>
                </a:cubicBezTo>
                <a:cubicBezTo>
                  <a:pt x="22559" y="68508"/>
                  <a:pt x="118157" y="-561"/>
                  <a:pt x="211632" y="4"/>
                </a:cubicBezTo>
                <a:close/>
              </a:path>
            </a:pathLst>
          </a:custGeom>
          <a:solidFill>
            <a:schemeClr val="accent2"/>
          </a:solidFill>
        </p:spPr>
        <p:txBody>
          <a:bodyPr wrap="none"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1pPr>
            <a:lvl2pPr marL="0" indent="0" algn="ctr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2pPr>
            <a:lvl3pPr marL="0" indent="0" algn="ctr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3pPr>
            <a:lvl4pPr marL="0" indent="0" algn="ctr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4pPr>
            <a:lvl5pPr marL="0" indent="0" algn="ctr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5pPr>
            <a:lvl6pPr marL="0" indent="0" algn="ctr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6pPr>
            <a:lvl7pPr marL="0" indent="0" algn="ctr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7pPr>
            <a:lvl8pPr marL="0" indent="0" algn="ctr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8pPr>
            <a:lvl9pPr marL="0" indent="0" algn="ctr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9pPr>
          </a:lstStyle>
          <a:p>
            <a:pPr lvl="0"/>
            <a:r>
              <a:t>#</a:t>
            </a:r>
          </a:p>
        </p:txBody>
      </p:sp>
      <p:sp>
        <p:nvSpPr>
          <p:cNvPr id="63" name="Text Placeholder 53">
            <a:extLst>
              <a:ext uri="{FF2B5EF4-FFF2-40B4-BE49-F238E27FC236}">
                <a16:creationId xmlns:a16="http://schemas.microsoft.com/office/drawing/2014/main" id="{5235ED59-3C41-47EE-B906-51D1E578E39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71551" y="3469143"/>
            <a:ext cx="4953908" cy="369332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9pPr>
          </a:lstStyle>
          <a:p>
            <a:pPr lvl="0"/>
            <a:r>
              <a:t>Type next item</a:t>
            </a:r>
          </a:p>
        </p:txBody>
      </p:sp>
      <p:sp>
        <p:nvSpPr>
          <p:cNvPr id="64" name="Text Placeholder 63">
            <a:extLst>
              <a:ext uri="{FF2B5EF4-FFF2-40B4-BE49-F238E27FC236}">
                <a16:creationId xmlns:a16="http://schemas.microsoft.com/office/drawing/2014/main" id="{4280E422-A0A9-40DF-9122-00AD1444FB5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81001" y="3442807"/>
            <a:ext cx="400736" cy="395668"/>
          </a:xfrm>
          <a:custGeom>
            <a:avLst/>
            <a:gdLst>
              <a:gd name="connsiteX0" fmla="*/ 211632 w 400736"/>
              <a:gd name="connsiteY0" fmla="*/ 4 h 395668"/>
              <a:gd name="connsiteX1" fmla="*/ 251329 w 400736"/>
              <a:gd name="connsiteY1" fmla="*/ 4637 h 395668"/>
              <a:gd name="connsiteX2" fmla="*/ 399960 w 400736"/>
              <a:gd name="connsiteY2" fmla="*/ 224995 h 395668"/>
              <a:gd name="connsiteX3" fmla="*/ 143368 w 400736"/>
              <a:gd name="connsiteY3" fmla="*/ 390633 h 395668"/>
              <a:gd name="connsiteX4" fmla="*/ 5089 w 400736"/>
              <a:gd name="connsiteY4" fmla="*/ 163621 h 395668"/>
              <a:gd name="connsiteX5" fmla="*/ 211632 w 400736"/>
              <a:gd name="connsiteY5" fmla="*/ 4 h 3956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00736" h="395668">
                <a:moveTo>
                  <a:pt x="211632" y="4"/>
                </a:moveTo>
                <a:cubicBezTo>
                  <a:pt x="224986" y="85"/>
                  <a:pt x="238296" y="1587"/>
                  <a:pt x="251329" y="4637"/>
                </a:cubicBezTo>
                <a:cubicBezTo>
                  <a:pt x="351896" y="28300"/>
                  <a:pt x="408094" y="126648"/>
                  <a:pt x="399960" y="224995"/>
                </a:cubicBezTo>
                <a:cubicBezTo>
                  <a:pt x="387390" y="388415"/>
                  <a:pt x="196609" y="407641"/>
                  <a:pt x="143368" y="390633"/>
                </a:cubicBezTo>
                <a:cubicBezTo>
                  <a:pt x="-8221" y="341829"/>
                  <a:pt x="-7481" y="233868"/>
                  <a:pt x="5089" y="163621"/>
                </a:cubicBezTo>
                <a:cubicBezTo>
                  <a:pt x="22559" y="68508"/>
                  <a:pt x="118157" y="-561"/>
                  <a:pt x="211632" y="4"/>
                </a:cubicBezTo>
                <a:close/>
              </a:path>
            </a:pathLst>
          </a:custGeom>
          <a:solidFill>
            <a:schemeClr val="accent2"/>
          </a:solidFill>
        </p:spPr>
        <p:txBody>
          <a:bodyPr wrap="none"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1pPr>
            <a:lvl2pPr marL="0" indent="0" algn="ctr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2pPr>
            <a:lvl3pPr marL="0" indent="0" algn="ctr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3pPr>
            <a:lvl4pPr marL="0" indent="0" algn="ctr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4pPr>
            <a:lvl5pPr marL="0" indent="0" algn="ctr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5pPr>
            <a:lvl6pPr marL="0" indent="0" algn="ctr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6pPr>
            <a:lvl7pPr marL="0" indent="0" algn="ctr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7pPr>
            <a:lvl8pPr marL="0" indent="0" algn="ctr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8pPr>
            <a:lvl9pPr marL="0" indent="0" algn="ctr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9pPr>
          </a:lstStyle>
          <a:p>
            <a:pPr lvl="0"/>
            <a:r>
              <a:t>#</a:t>
            </a:r>
          </a:p>
        </p:txBody>
      </p:sp>
      <p:sp>
        <p:nvSpPr>
          <p:cNvPr id="65" name="Text Placeholder 53">
            <a:extLst>
              <a:ext uri="{FF2B5EF4-FFF2-40B4-BE49-F238E27FC236}">
                <a16:creationId xmlns:a16="http://schemas.microsoft.com/office/drawing/2014/main" id="{AECA80CA-9F74-4096-9C45-C057913B5886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71551" y="4126468"/>
            <a:ext cx="4953908" cy="369332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9pPr>
          </a:lstStyle>
          <a:p>
            <a:pPr lvl="0"/>
            <a:r>
              <a:t>Type next item</a:t>
            </a:r>
          </a:p>
        </p:txBody>
      </p:sp>
      <p:sp>
        <p:nvSpPr>
          <p:cNvPr id="66" name="Text Placeholder 65">
            <a:extLst>
              <a:ext uri="{FF2B5EF4-FFF2-40B4-BE49-F238E27FC236}">
                <a16:creationId xmlns:a16="http://schemas.microsoft.com/office/drawing/2014/main" id="{B6CAD1F9-5950-4D84-A97B-25108B12772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81001" y="4100132"/>
            <a:ext cx="400736" cy="395668"/>
          </a:xfrm>
          <a:custGeom>
            <a:avLst/>
            <a:gdLst>
              <a:gd name="connsiteX0" fmla="*/ 211632 w 400736"/>
              <a:gd name="connsiteY0" fmla="*/ 4 h 395668"/>
              <a:gd name="connsiteX1" fmla="*/ 251329 w 400736"/>
              <a:gd name="connsiteY1" fmla="*/ 4637 h 395668"/>
              <a:gd name="connsiteX2" fmla="*/ 399960 w 400736"/>
              <a:gd name="connsiteY2" fmla="*/ 224995 h 395668"/>
              <a:gd name="connsiteX3" fmla="*/ 143368 w 400736"/>
              <a:gd name="connsiteY3" fmla="*/ 390633 h 395668"/>
              <a:gd name="connsiteX4" fmla="*/ 5089 w 400736"/>
              <a:gd name="connsiteY4" fmla="*/ 163621 h 395668"/>
              <a:gd name="connsiteX5" fmla="*/ 211632 w 400736"/>
              <a:gd name="connsiteY5" fmla="*/ 4 h 3956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00736" h="395668">
                <a:moveTo>
                  <a:pt x="211632" y="4"/>
                </a:moveTo>
                <a:cubicBezTo>
                  <a:pt x="224986" y="85"/>
                  <a:pt x="238296" y="1587"/>
                  <a:pt x="251329" y="4637"/>
                </a:cubicBezTo>
                <a:cubicBezTo>
                  <a:pt x="351896" y="28300"/>
                  <a:pt x="408094" y="126648"/>
                  <a:pt x="399960" y="224995"/>
                </a:cubicBezTo>
                <a:cubicBezTo>
                  <a:pt x="387390" y="388415"/>
                  <a:pt x="196609" y="407641"/>
                  <a:pt x="143368" y="390633"/>
                </a:cubicBezTo>
                <a:cubicBezTo>
                  <a:pt x="-8221" y="341829"/>
                  <a:pt x="-7481" y="233868"/>
                  <a:pt x="5089" y="163621"/>
                </a:cubicBezTo>
                <a:cubicBezTo>
                  <a:pt x="22559" y="68508"/>
                  <a:pt x="118157" y="-561"/>
                  <a:pt x="211632" y="4"/>
                </a:cubicBezTo>
                <a:close/>
              </a:path>
            </a:pathLst>
          </a:custGeom>
          <a:solidFill>
            <a:schemeClr val="accent2"/>
          </a:solidFill>
        </p:spPr>
        <p:txBody>
          <a:bodyPr wrap="none"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1pPr>
            <a:lvl2pPr marL="0" indent="0" algn="ctr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2pPr>
            <a:lvl3pPr marL="0" indent="0" algn="ctr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3pPr>
            <a:lvl4pPr marL="0" indent="0" algn="ctr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4pPr>
            <a:lvl5pPr marL="0" indent="0" algn="ctr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5pPr>
            <a:lvl6pPr marL="0" indent="0" algn="ctr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6pPr>
            <a:lvl7pPr marL="0" indent="0" algn="ctr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7pPr>
            <a:lvl8pPr marL="0" indent="0" algn="ctr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8pPr>
            <a:lvl9pPr marL="0" indent="0" algn="ctr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9pPr>
          </a:lstStyle>
          <a:p>
            <a:pPr lvl="0"/>
            <a:r>
              <a:t>#</a:t>
            </a:r>
          </a:p>
        </p:txBody>
      </p:sp>
      <p:sp>
        <p:nvSpPr>
          <p:cNvPr id="67" name="Text Placeholder 53">
            <a:extLst>
              <a:ext uri="{FF2B5EF4-FFF2-40B4-BE49-F238E27FC236}">
                <a16:creationId xmlns:a16="http://schemas.microsoft.com/office/drawing/2014/main" id="{A4C226B7-27E7-48B6-9ACD-14E208CD4471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71551" y="4792261"/>
            <a:ext cx="4953908" cy="369332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9pPr>
          </a:lstStyle>
          <a:p>
            <a:pPr lvl="0"/>
            <a:r>
              <a:t>Type next item</a:t>
            </a:r>
          </a:p>
        </p:txBody>
      </p:sp>
      <p:sp>
        <p:nvSpPr>
          <p:cNvPr id="68" name="Text Placeholder 67">
            <a:extLst>
              <a:ext uri="{FF2B5EF4-FFF2-40B4-BE49-F238E27FC236}">
                <a16:creationId xmlns:a16="http://schemas.microsoft.com/office/drawing/2014/main" id="{D0EA1119-3409-4D86-8187-1CFFEF0DF14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81001" y="4765925"/>
            <a:ext cx="400736" cy="395668"/>
          </a:xfrm>
          <a:custGeom>
            <a:avLst/>
            <a:gdLst>
              <a:gd name="connsiteX0" fmla="*/ 211632 w 400736"/>
              <a:gd name="connsiteY0" fmla="*/ 4 h 395668"/>
              <a:gd name="connsiteX1" fmla="*/ 251329 w 400736"/>
              <a:gd name="connsiteY1" fmla="*/ 4637 h 395668"/>
              <a:gd name="connsiteX2" fmla="*/ 399960 w 400736"/>
              <a:gd name="connsiteY2" fmla="*/ 224995 h 395668"/>
              <a:gd name="connsiteX3" fmla="*/ 143368 w 400736"/>
              <a:gd name="connsiteY3" fmla="*/ 390633 h 395668"/>
              <a:gd name="connsiteX4" fmla="*/ 5089 w 400736"/>
              <a:gd name="connsiteY4" fmla="*/ 163621 h 395668"/>
              <a:gd name="connsiteX5" fmla="*/ 211632 w 400736"/>
              <a:gd name="connsiteY5" fmla="*/ 4 h 3956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00736" h="395668">
                <a:moveTo>
                  <a:pt x="211632" y="4"/>
                </a:moveTo>
                <a:cubicBezTo>
                  <a:pt x="224986" y="85"/>
                  <a:pt x="238296" y="1587"/>
                  <a:pt x="251329" y="4637"/>
                </a:cubicBezTo>
                <a:cubicBezTo>
                  <a:pt x="351896" y="28300"/>
                  <a:pt x="408094" y="126648"/>
                  <a:pt x="399960" y="224995"/>
                </a:cubicBezTo>
                <a:cubicBezTo>
                  <a:pt x="387390" y="388415"/>
                  <a:pt x="196609" y="407641"/>
                  <a:pt x="143368" y="390633"/>
                </a:cubicBezTo>
                <a:cubicBezTo>
                  <a:pt x="-8221" y="341829"/>
                  <a:pt x="-7481" y="233868"/>
                  <a:pt x="5089" y="163621"/>
                </a:cubicBezTo>
                <a:cubicBezTo>
                  <a:pt x="22559" y="68508"/>
                  <a:pt x="118157" y="-561"/>
                  <a:pt x="211632" y="4"/>
                </a:cubicBezTo>
                <a:close/>
              </a:path>
            </a:pathLst>
          </a:custGeom>
          <a:solidFill>
            <a:schemeClr val="accent2"/>
          </a:solidFill>
        </p:spPr>
        <p:txBody>
          <a:bodyPr wrap="none"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1pPr>
            <a:lvl2pPr marL="0" indent="0" algn="ctr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2pPr>
            <a:lvl3pPr marL="0" indent="0" algn="ctr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3pPr>
            <a:lvl4pPr marL="0" indent="0" algn="ctr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4pPr>
            <a:lvl5pPr marL="0" indent="0" algn="ctr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5pPr>
            <a:lvl6pPr marL="0" indent="0" algn="ctr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6pPr>
            <a:lvl7pPr marL="0" indent="0" algn="ctr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7pPr>
            <a:lvl8pPr marL="0" indent="0" algn="ctr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8pPr>
            <a:lvl9pPr marL="0" indent="0" algn="ctr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9pPr>
          </a:lstStyle>
          <a:p>
            <a:pPr lvl="0"/>
            <a:r>
              <a:t>#</a:t>
            </a:r>
          </a:p>
        </p:txBody>
      </p:sp>
      <p:sp>
        <p:nvSpPr>
          <p:cNvPr id="69" name="Text Placeholder 53">
            <a:extLst>
              <a:ext uri="{FF2B5EF4-FFF2-40B4-BE49-F238E27FC236}">
                <a16:creationId xmlns:a16="http://schemas.microsoft.com/office/drawing/2014/main" id="{DF220140-A17A-47FD-96A9-63441622845B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845301" y="1444711"/>
            <a:ext cx="4953908" cy="369332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9pPr>
          </a:lstStyle>
          <a:p>
            <a:pPr lvl="0"/>
            <a:r>
              <a:t>Circle fill color can be changed</a:t>
            </a:r>
          </a:p>
        </p:txBody>
      </p:sp>
      <p:sp>
        <p:nvSpPr>
          <p:cNvPr id="70" name="Text Placeholder 69">
            <a:extLst>
              <a:ext uri="{FF2B5EF4-FFF2-40B4-BE49-F238E27FC236}">
                <a16:creationId xmlns:a16="http://schemas.microsoft.com/office/drawing/2014/main" id="{D5C5A157-E82E-413B-BB5A-5BB8F6F13C73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254751" y="1418375"/>
            <a:ext cx="400736" cy="395668"/>
          </a:xfrm>
          <a:custGeom>
            <a:avLst/>
            <a:gdLst>
              <a:gd name="connsiteX0" fmla="*/ 211632 w 400736"/>
              <a:gd name="connsiteY0" fmla="*/ 4 h 395668"/>
              <a:gd name="connsiteX1" fmla="*/ 251329 w 400736"/>
              <a:gd name="connsiteY1" fmla="*/ 4637 h 395668"/>
              <a:gd name="connsiteX2" fmla="*/ 399960 w 400736"/>
              <a:gd name="connsiteY2" fmla="*/ 224995 h 395668"/>
              <a:gd name="connsiteX3" fmla="*/ 143368 w 400736"/>
              <a:gd name="connsiteY3" fmla="*/ 390633 h 395668"/>
              <a:gd name="connsiteX4" fmla="*/ 5089 w 400736"/>
              <a:gd name="connsiteY4" fmla="*/ 163621 h 395668"/>
              <a:gd name="connsiteX5" fmla="*/ 211632 w 400736"/>
              <a:gd name="connsiteY5" fmla="*/ 4 h 3956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00736" h="395668">
                <a:moveTo>
                  <a:pt x="211632" y="4"/>
                </a:moveTo>
                <a:cubicBezTo>
                  <a:pt x="224986" y="85"/>
                  <a:pt x="238296" y="1587"/>
                  <a:pt x="251329" y="4637"/>
                </a:cubicBezTo>
                <a:cubicBezTo>
                  <a:pt x="351896" y="28300"/>
                  <a:pt x="408094" y="126648"/>
                  <a:pt x="399960" y="224995"/>
                </a:cubicBezTo>
                <a:cubicBezTo>
                  <a:pt x="387390" y="388415"/>
                  <a:pt x="196609" y="407641"/>
                  <a:pt x="143368" y="390633"/>
                </a:cubicBezTo>
                <a:cubicBezTo>
                  <a:pt x="-8221" y="341829"/>
                  <a:pt x="-7481" y="233868"/>
                  <a:pt x="5089" y="163621"/>
                </a:cubicBezTo>
                <a:cubicBezTo>
                  <a:pt x="22559" y="68508"/>
                  <a:pt x="118157" y="-561"/>
                  <a:pt x="211632" y="4"/>
                </a:cubicBezTo>
                <a:close/>
              </a:path>
            </a:pathLst>
          </a:custGeom>
          <a:solidFill>
            <a:schemeClr val="accent2"/>
          </a:solidFill>
        </p:spPr>
        <p:txBody>
          <a:bodyPr wrap="none"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1pPr>
            <a:lvl2pPr marL="0" indent="0" algn="ctr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2pPr>
            <a:lvl3pPr marL="0" indent="0" algn="ctr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3pPr>
            <a:lvl4pPr marL="0" indent="0" algn="ctr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4pPr>
            <a:lvl5pPr marL="0" indent="0" algn="ctr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5pPr>
            <a:lvl6pPr marL="0" indent="0" algn="ctr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6pPr>
            <a:lvl7pPr marL="0" indent="0" algn="ctr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7pPr>
            <a:lvl8pPr marL="0" indent="0" algn="ctr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8pPr>
            <a:lvl9pPr marL="0" indent="0" algn="ctr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9pPr>
          </a:lstStyle>
          <a:p>
            <a:pPr lvl="0"/>
            <a:r>
              <a:t>#</a:t>
            </a:r>
          </a:p>
        </p:txBody>
      </p:sp>
      <p:sp>
        <p:nvSpPr>
          <p:cNvPr id="71" name="Text Placeholder 53">
            <a:extLst>
              <a:ext uri="{FF2B5EF4-FFF2-40B4-BE49-F238E27FC236}">
                <a16:creationId xmlns:a16="http://schemas.microsoft.com/office/drawing/2014/main" id="{BD21E496-D37E-4761-8172-822F85DCF01A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845301" y="2107168"/>
            <a:ext cx="4953908" cy="369332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9pPr>
          </a:lstStyle>
          <a:p>
            <a:pPr lvl="0"/>
            <a:r>
              <a:t>Circle fill color can be changed</a:t>
            </a:r>
          </a:p>
        </p:txBody>
      </p:sp>
      <p:sp>
        <p:nvSpPr>
          <p:cNvPr id="72" name="Text Placeholder 71">
            <a:extLst>
              <a:ext uri="{FF2B5EF4-FFF2-40B4-BE49-F238E27FC236}">
                <a16:creationId xmlns:a16="http://schemas.microsoft.com/office/drawing/2014/main" id="{E0EF41A7-D380-4CC9-9EC8-D362F1F0B13C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254751" y="2080832"/>
            <a:ext cx="400736" cy="395668"/>
          </a:xfrm>
          <a:custGeom>
            <a:avLst/>
            <a:gdLst>
              <a:gd name="connsiteX0" fmla="*/ 211632 w 400736"/>
              <a:gd name="connsiteY0" fmla="*/ 4 h 395668"/>
              <a:gd name="connsiteX1" fmla="*/ 251329 w 400736"/>
              <a:gd name="connsiteY1" fmla="*/ 4637 h 395668"/>
              <a:gd name="connsiteX2" fmla="*/ 399960 w 400736"/>
              <a:gd name="connsiteY2" fmla="*/ 224995 h 395668"/>
              <a:gd name="connsiteX3" fmla="*/ 143368 w 400736"/>
              <a:gd name="connsiteY3" fmla="*/ 390633 h 395668"/>
              <a:gd name="connsiteX4" fmla="*/ 5089 w 400736"/>
              <a:gd name="connsiteY4" fmla="*/ 163621 h 395668"/>
              <a:gd name="connsiteX5" fmla="*/ 211632 w 400736"/>
              <a:gd name="connsiteY5" fmla="*/ 4 h 3956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00736" h="395668">
                <a:moveTo>
                  <a:pt x="211632" y="4"/>
                </a:moveTo>
                <a:cubicBezTo>
                  <a:pt x="224986" y="85"/>
                  <a:pt x="238296" y="1587"/>
                  <a:pt x="251329" y="4637"/>
                </a:cubicBezTo>
                <a:cubicBezTo>
                  <a:pt x="351896" y="28300"/>
                  <a:pt x="408094" y="126648"/>
                  <a:pt x="399960" y="224995"/>
                </a:cubicBezTo>
                <a:cubicBezTo>
                  <a:pt x="387390" y="388415"/>
                  <a:pt x="196609" y="407641"/>
                  <a:pt x="143368" y="390633"/>
                </a:cubicBezTo>
                <a:cubicBezTo>
                  <a:pt x="-8221" y="341829"/>
                  <a:pt x="-7481" y="233868"/>
                  <a:pt x="5089" y="163621"/>
                </a:cubicBezTo>
                <a:cubicBezTo>
                  <a:pt x="22559" y="68508"/>
                  <a:pt x="118157" y="-561"/>
                  <a:pt x="211632" y="4"/>
                </a:cubicBezTo>
                <a:close/>
              </a:path>
            </a:pathLst>
          </a:custGeom>
          <a:solidFill>
            <a:schemeClr val="accent2"/>
          </a:solidFill>
        </p:spPr>
        <p:txBody>
          <a:bodyPr wrap="none"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1pPr>
            <a:lvl2pPr marL="0" indent="0" algn="ctr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2pPr>
            <a:lvl3pPr marL="0" indent="0" algn="ctr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3pPr>
            <a:lvl4pPr marL="0" indent="0" algn="ctr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4pPr>
            <a:lvl5pPr marL="0" indent="0" algn="ctr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5pPr>
            <a:lvl6pPr marL="0" indent="0" algn="ctr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6pPr>
            <a:lvl7pPr marL="0" indent="0" algn="ctr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7pPr>
            <a:lvl8pPr marL="0" indent="0" algn="ctr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8pPr>
            <a:lvl9pPr marL="0" indent="0" algn="ctr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9pPr>
          </a:lstStyle>
          <a:p>
            <a:pPr lvl="0"/>
            <a:r>
              <a:t>#</a:t>
            </a:r>
          </a:p>
        </p:txBody>
      </p:sp>
      <p:sp>
        <p:nvSpPr>
          <p:cNvPr id="73" name="Text Placeholder 53">
            <a:extLst>
              <a:ext uri="{FF2B5EF4-FFF2-40B4-BE49-F238E27FC236}">
                <a16:creationId xmlns:a16="http://schemas.microsoft.com/office/drawing/2014/main" id="{4F469721-F9C8-4264-985A-69119F52CAC2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845301" y="2774943"/>
            <a:ext cx="4953908" cy="369332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9pPr>
          </a:lstStyle>
          <a:p>
            <a:pPr lvl="0"/>
            <a:r>
              <a:t>Circle fill color can be changed</a:t>
            </a:r>
          </a:p>
        </p:txBody>
      </p:sp>
      <p:sp>
        <p:nvSpPr>
          <p:cNvPr id="74" name="Text Placeholder 73">
            <a:extLst>
              <a:ext uri="{FF2B5EF4-FFF2-40B4-BE49-F238E27FC236}">
                <a16:creationId xmlns:a16="http://schemas.microsoft.com/office/drawing/2014/main" id="{FECC6C45-1A8B-4F2F-B1E3-9FE603D3F2B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254751" y="2748607"/>
            <a:ext cx="400736" cy="395668"/>
          </a:xfrm>
          <a:custGeom>
            <a:avLst/>
            <a:gdLst>
              <a:gd name="connsiteX0" fmla="*/ 211632 w 400736"/>
              <a:gd name="connsiteY0" fmla="*/ 4 h 395668"/>
              <a:gd name="connsiteX1" fmla="*/ 251329 w 400736"/>
              <a:gd name="connsiteY1" fmla="*/ 4637 h 395668"/>
              <a:gd name="connsiteX2" fmla="*/ 399960 w 400736"/>
              <a:gd name="connsiteY2" fmla="*/ 224995 h 395668"/>
              <a:gd name="connsiteX3" fmla="*/ 143368 w 400736"/>
              <a:gd name="connsiteY3" fmla="*/ 390633 h 395668"/>
              <a:gd name="connsiteX4" fmla="*/ 5089 w 400736"/>
              <a:gd name="connsiteY4" fmla="*/ 163621 h 395668"/>
              <a:gd name="connsiteX5" fmla="*/ 211632 w 400736"/>
              <a:gd name="connsiteY5" fmla="*/ 4 h 3956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00736" h="395668">
                <a:moveTo>
                  <a:pt x="211632" y="4"/>
                </a:moveTo>
                <a:cubicBezTo>
                  <a:pt x="224986" y="85"/>
                  <a:pt x="238296" y="1587"/>
                  <a:pt x="251329" y="4637"/>
                </a:cubicBezTo>
                <a:cubicBezTo>
                  <a:pt x="351896" y="28300"/>
                  <a:pt x="408094" y="126648"/>
                  <a:pt x="399960" y="224995"/>
                </a:cubicBezTo>
                <a:cubicBezTo>
                  <a:pt x="387390" y="388415"/>
                  <a:pt x="196609" y="407641"/>
                  <a:pt x="143368" y="390633"/>
                </a:cubicBezTo>
                <a:cubicBezTo>
                  <a:pt x="-8221" y="341829"/>
                  <a:pt x="-7481" y="233868"/>
                  <a:pt x="5089" y="163621"/>
                </a:cubicBezTo>
                <a:cubicBezTo>
                  <a:pt x="22559" y="68508"/>
                  <a:pt x="118157" y="-561"/>
                  <a:pt x="211632" y="4"/>
                </a:cubicBezTo>
                <a:close/>
              </a:path>
            </a:pathLst>
          </a:custGeom>
          <a:solidFill>
            <a:schemeClr val="accent2"/>
          </a:solidFill>
        </p:spPr>
        <p:txBody>
          <a:bodyPr wrap="none"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1pPr>
            <a:lvl2pPr marL="0" indent="0" algn="ctr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2pPr>
            <a:lvl3pPr marL="0" indent="0" algn="ctr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3pPr>
            <a:lvl4pPr marL="0" indent="0" algn="ctr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4pPr>
            <a:lvl5pPr marL="0" indent="0" algn="ctr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5pPr>
            <a:lvl6pPr marL="0" indent="0" algn="ctr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6pPr>
            <a:lvl7pPr marL="0" indent="0" algn="ctr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7pPr>
            <a:lvl8pPr marL="0" indent="0" algn="ctr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8pPr>
            <a:lvl9pPr marL="0" indent="0" algn="ctr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9pPr>
          </a:lstStyle>
          <a:p>
            <a:pPr lvl="0"/>
            <a:r>
              <a:t>#</a:t>
            </a:r>
          </a:p>
        </p:txBody>
      </p:sp>
      <p:sp>
        <p:nvSpPr>
          <p:cNvPr id="75" name="Text Placeholder 53">
            <a:extLst>
              <a:ext uri="{FF2B5EF4-FFF2-40B4-BE49-F238E27FC236}">
                <a16:creationId xmlns:a16="http://schemas.microsoft.com/office/drawing/2014/main" id="{9C294EA6-0710-4E2B-9FE5-E2AA43EB7455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6845301" y="3469143"/>
            <a:ext cx="4953908" cy="369332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9pPr>
          </a:lstStyle>
          <a:p>
            <a:pPr lvl="0"/>
            <a:r>
              <a:t>Delete all unused placeholders</a:t>
            </a:r>
          </a:p>
        </p:txBody>
      </p:sp>
      <p:sp>
        <p:nvSpPr>
          <p:cNvPr id="76" name="Text Placeholder 75">
            <a:extLst>
              <a:ext uri="{FF2B5EF4-FFF2-40B4-BE49-F238E27FC236}">
                <a16:creationId xmlns:a16="http://schemas.microsoft.com/office/drawing/2014/main" id="{C167E3BD-01BA-46B0-8C56-C2139417F9BA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254751" y="3442807"/>
            <a:ext cx="400736" cy="395668"/>
          </a:xfrm>
          <a:custGeom>
            <a:avLst/>
            <a:gdLst>
              <a:gd name="connsiteX0" fmla="*/ 211632 w 400736"/>
              <a:gd name="connsiteY0" fmla="*/ 4 h 395668"/>
              <a:gd name="connsiteX1" fmla="*/ 251329 w 400736"/>
              <a:gd name="connsiteY1" fmla="*/ 4637 h 395668"/>
              <a:gd name="connsiteX2" fmla="*/ 399960 w 400736"/>
              <a:gd name="connsiteY2" fmla="*/ 224995 h 395668"/>
              <a:gd name="connsiteX3" fmla="*/ 143368 w 400736"/>
              <a:gd name="connsiteY3" fmla="*/ 390633 h 395668"/>
              <a:gd name="connsiteX4" fmla="*/ 5089 w 400736"/>
              <a:gd name="connsiteY4" fmla="*/ 163621 h 395668"/>
              <a:gd name="connsiteX5" fmla="*/ 211632 w 400736"/>
              <a:gd name="connsiteY5" fmla="*/ 4 h 3956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00736" h="395668">
                <a:moveTo>
                  <a:pt x="211632" y="4"/>
                </a:moveTo>
                <a:cubicBezTo>
                  <a:pt x="224986" y="85"/>
                  <a:pt x="238296" y="1587"/>
                  <a:pt x="251329" y="4637"/>
                </a:cubicBezTo>
                <a:cubicBezTo>
                  <a:pt x="351896" y="28300"/>
                  <a:pt x="408094" y="126648"/>
                  <a:pt x="399960" y="224995"/>
                </a:cubicBezTo>
                <a:cubicBezTo>
                  <a:pt x="387390" y="388415"/>
                  <a:pt x="196609" y="407641"/>
                  <a:pt x="143368" y="390633"/>
                </a:cubicBezTo>
                <a:cubicBezTo>
                  <a:pt x="-8221" y="341829"/>
                  <a:pt x="-7481" y="233868"/>
                  <a:pt x="5089" y="163621"/>
                </a:cubicBezTo>
                <a:cubicBezTo>
                  <a:pt x="22559" y="68508"/>
                  <a:pt x="118157" y="-561"/>
                  <a:pt x="211632" y="4"/>
                </a:cubicBezTo>
                <a:close/>
              </a:path>
            </a:pathLst>
          </a:custGeom>
          <a:solidFill>
            <a:schemeClr val="accent2"/>
          </a:solidFill>
        </p:spPr>
        <p:txBody>
          <a:bodyPr wrap="none"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1pPr>
            <a:lvl2pPr marL="0" indent="0" algn="ctr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2pPr>
            <a:lvl3pPr marL="0" indent="0" algn="ctr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3pPr>
            <a:lvl4pPr marL="0" indent="0" algn="ctr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4pPr>
            <a:lvl5pPr marL="0" indent="0" algn="ctr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5pPr>
            <a:lvl6pPr marL="0" indent="0" algn="ctr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6pPr>
            <a:lvl7pPr marL="0" indent="0" algn="ctr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7pPr>
            <a:lvl8pPr marL="0" indent="0" algn="ctr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8pPr>
            <a:lvl9pPr marL="0" indent="0" algn="ctr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9pPr>
          </a:lstStyle>
          <a:p>
            <a:pPr lvl="0"/>
            <a:r>
              <a:t>#</a:t>
            </a:r>
          </a:p>
        </p:txBody>
      </p:sp>
      <p:sp>
        <p:nvSpPr>
          <p:cNvPr id="77" name="Text Placeholder 53">
            <a:extLst>
              <a:ext uri="{FF2B5EF4-FFF2-40B4-BE49-F238E27FC236}">
                <a16:creationId xmlns:a16="http://schemas.microsoft.com/office/drawing/2014/main" id="{CC08D11D-1C9F-4E62-B3A8-39C8892D7678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6845301" y="4126468"/>
            <a:ext cx="4953908" cy="369332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9pPr>
          </a:lstStyle>
          <a:p>
            <a:pPr lvl="0"/>
            <a:r>
              <a:t>Delete all unused placeholders</a:t>
            </a:r>
          </a:p>
        </p:txBody>
      </p:sp>
      <p:sp>
        <p:nvSpPr>
          <p:cNvPr id="78" name="Text Placeholder 77">
            <a:extLst>
              <a:ext uri="{FF2B5EF4-FFF2-40B4-BE49-F238E27FC236}">
                <a16:creationId xmlns:a16="http://schemas.microsoft.com/office/drawing/2014/main" id="{E99AB11B-9D32-4DF8-80A4-930B735446CA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6254751" y="4100132"/>
            <a:ext cx="400736" cy="395668"/>
          </a:xfrm>
          <a:custGeom>
            <a:avLst/>
            <a:gdLst>
              <a:gd name="connsiteX0" fmla="*/ 211632 w 400736"/>
              <a:gd name="connsiteY0" fmla="*/ 4 h 395668"/>
              <a:gd name="connsiteX1" fmla="*/ 251329 w 400736"/>
              <a:gd name="connsiteY1" fmla="*/ 4637 h 395668"/>
              <a:gd name="connsiteX2" fmla="*/ 399960 w 400736"/>
              <a:gd name="connsiteY2" fmla="*/ 224995 h 395668"/>
              <a:gd name="connsiteX3" fmla="*/ 143368 w 400736"/>
              <a:gd name="connsiteY3" fmla="*/ 390633 h 395668"/>
              <a:gd name="connsiteX4" fmla="*/ 5089 w 400736"/>
              <a:gd name="connsiteY4" fmla="*/ 163621 h 395668"/>
              <a:gd name="connsiteX5" fmla="*/ 211632 w 400736"/>
              <a:gd name="connsiteY5" fmla="*/ 4 h 3956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00736" h="395668">
                <a:moveTo>
                  <a:pt x="211632" y="4"/>
                </a:moveTo>
                <a:cubicBezTo>
                  <a:pt x="224986" y="85"/>
                  <a:pt x="238296" y="1587"/>
                  <a:pt x="251329" y="4637"/>
                </a:cubicBezTo>
                <a:cubicBezTo>
                  <a:pt x="351896" y="28300"/>
                  <a:pt x="408094" y="126648"/>
                  <a:pt x="399960" y="224995"/>
                </a:cubicBezTo>
                <a:cubicBezTo>
                  <a:pt x="387390" y="388415"/>
                  <a:pt x="196609" y="407641"/>
                  <a:pt x="143368" y="390633"/>
                </a:cubicBezTo>
                <a:cubicBezTo>
                  <a:pt x="-8221" y="341829"/>
                  <a:pt x="-7481" y="233868"/>
                  <a:pt x="5089" y="163621"/>
                </a:cubicBezTo>
                <a:cubicBezTo>
                  <a:pt x="22559" y="68508"/>
                  <a:pt x="118157" y="-561"/>
                  <a:pt x="211632" y="4"/>
                </a:cubicBezTo>
                <a:close/>
              </a:path>
            </a:pathLst>
          </a:custGeom>
          <a:solidFill>
            <a:schemeClr val="accent2"/>
          </a:solidFill>
        </p:spPr>
        <p:txBody>
          <a:bodyPr wrap="none"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1pPr>
            <a:lvl2pPr marL="0" indent="0" algn="ctr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2pPr>
            <a:lvl3pPr marL="0" indent="0" algn="ctr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3pPr>
            <a:lvl4pPr marL="0" indent="0" algn="ctr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4pPr>
            <a:lvl5pPr marL="0" indent="0" algn="ctr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5pPr>
            <a:lvl6pPr marL="0" indent="0" algn="ctr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6pPr>
            <a:lvl7pPr marL="0" indent="0" algn="ctr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7pPr>
            <a:lvl8pPr marL="0" indent="0" algn="ctr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8pPr>
            <a:lvl9pPr marL="0" indent="0" algn="ctr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9pPr>
          </a:lstStyle>
          <a:p>
            <a:pPr lvl="0"/>
            <a:r>
              <a:t>#</a:t>
            </a:r>
          </a:p>
        </p:txBody>
      </p:sp>
      <p:sp>
        <p:nvSpPr>
          <p:cNvPr id="79" name="Text Placeholder 53">
            <a:extLst>
              <a:ext uri="{FF2B5EF4-FFF2-40B4-BE49-F238E27FC236}">
                <a16:creationId xmlns:a16="http://schemas.microsoft.com/office/drawing/2014/main" id="{F8CCC2D7-D1BC-4EB8-BB66-1CCA97A45B63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6845301" y="4792261"/>
            <a:ext cx="4953908" cy="369332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9pPr>
          </a:lstStyle>
          <a:p>
            <a:pPr lvl="0"/>
            <a:r>
              <a:t>Delete all unused placeholders</a:t>
            </a:r>
          </a:p>
        </p:txBody>
      </p:sp>
      <p:sp>
        <p:nvSpPr>
          <p:cNvPr id="80" name="Text Placeholder 79">
            <a:extLst>
              <a:ext uri="{FF2B5EF4-FFF2-40B4-BE49-F238E27FC236}">
                <a16:creationId xmlns:a16="http://schemas.microsoft.com/office/drawing/2014/main" id="{8C487161-30FF-4175-B33D-D4EFB0DD4EAE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6254751" y="4765925"/>
            <a:ext cx="400736" cy="395668"/>
          </a:xfrm>
          <a:custGeom>
            <a:avLst/>
            <a:gdLst>
              <a:gd name="connsiteX0" fmla="*/ 211632 w 400736"/>
              <a:gd name="connsiteY0" fmla="*/ 4 h 395668"/>
              <a:gd name="connsiteX1" fmla="*/ 251329 w 400736"/>
              <a:gd name="connsiteY1" fmla="*/ 4637 h 395668"/>
              <a:gd name="connsiteX2" fmla="*/ 399960 w 400736"/>
              <a:gd name="connsiteY2" fmla="*/ 224995 h 395668"/>
              <a:gd name="connsiteX3" fmla="*/ 143368 w 400736"/>
              <a:gd name="connsiteY3" fmla="*/ 390633 h 395668"/>
              <a:gd name="connsiteX4" fmla="*/ 5089 w 400736"/>
              <a:gd name="connsiteY4" fmla="*/ 163621 h 395668"/>
              <a:gd name="connsiteX5" fmla="*/ 211632 w 400736"/>
              <a:gd name="connsiteY5" fmla="*/ 4 h 3956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00736" h="395668">
                <a:moveTo>
                  <a:pt x="211632" y="4"/>
                </a:moveTo>
                <a:cubicBezTo>
                  <a:pt x="224986" y="85"/>
                  <a:pt x="238296" y="1587"/>
                  <a:pt x="251329" y="4637"/>
                </a:cubicBezTo>
                <a:cubicBezTo>
                  <a:pt x="351896" y="28300"/>
                  <a:pt x="408094" y="126648"/>
                  <a:pt x="399960" y="224995"/>
                </a:cubicBezTo>
                <a:cubicBezTo>
                  <a:pt x="387390" y="388415"/>
                  <a:pt x="196609" y="407641"/>
                  <a:pt x="143368" y="390633"/>
                </a:cubicBezTo>
                <a:cubicBezTo>
                  <a:pt x="-8221" y="341829"/>
                  <a:pt x="-7481" y="233868"/>
                  <a:pt x="5089" y="163621"/>
                </a:cubicBezTo>
                <a:cubicBezTo>
                  <a:pt x="22559" y="68508"/>
                  <a:pt x="118157" y="-561"/>
                  <a:pt x="211632" y="4"/>
                </a:cubicBezTo>
                <a:close/>
              </a:path>
            </a:pathLst>
          </a:custGeom>
          <a:solidFill>
            <a:schemeClr val="accent2"/>
          </a:solidFill>
        </p:spPr>
        <p:txBody>
          <a:bodyPr wrap="none"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1pPr>
            <a:lvl2pPr marL="0" indent="0" algn="ctr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2pPr>
            <a:lvl3pPr marL="0" indent="0" algn="ctr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3pPr>
            <a:lvl4pPr marL="0" indent="0" algn="ctr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4pPr>
            <a:lvl5pPr marL="0" indent="0" algn="ctr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5pPr>
            <a:lvl6pPr marL="0" indent="0" algn="ctr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6pPr>
            <a:lvl7pPr marL="0" indent="0" algn="ctr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7pPr>
            <a:lvl8pPr marL="0" indent="0" algn="ctr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8pPr>
            <a:lvl9pPr marL="0" indent="0" algn="ctr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9pPr>
          </a:lstStyle>
          <a:p>
            <a:pPr lvl="0"/>
            <a:r>
              <a:t>#</a:t>
            </a:r>
          </a:p>
        </p:txBody>
      </p:sp>
    </p:spTree>
    <p:extLst>
      <p:ext uri="{BB962C8B-B14F-4D97-AF65-F5344CB8AC3E}">
        <p14:creationId xmlns:p14="http://schemas.microsoft.com/office/powerpoint/2010/main" val="30199398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rrow with Text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: Shape 6">
            <a:extLst>
              <a:ext uri="{FF2B5EF4-FFF2-40B4-BE49-F238E27FC236}">
                <a16:creationId xmlns:a16="http://schemas.microsoft.com/office/drawing/2014/main" id="{967A9474-DCF8-444C-9F9E-D4D5FF840D78}"/>
              </a:ext>
            </a:extLst>
          </p:cNvPr>
          <p:cNvSpPr/>
          <p:nvPr/>
        </p:nvSpPr>
        <p:spPr>
          <a:xfrm>
            <a:off x="0" y="308486"/>
            <a:ext cx="4118657" cy="3661435"/>
          </a:xfrm>
          <a:custGeom>
            <a:avLst/>
            <a:gdLst>
              <a:gd name="connsiteX0" fmla="*/ 2315158 w 4118657"/>
              <a:gd name="connsiteY0" fmla="*/ 0 h 3661435"/>
              <a:gd name="connsiteX1" fmla="*/ 2321167 w 4118657"/>
              <a:gd name="connsiteY1" fmla="*/ 0 h 3661435"/>
              <a:gd name="connsiteX2" fmla="*/ 3782138 w 4118657"/>
              <a:gd name="connsiteY2" fmla="*/ 1376794 h 3661435"/>
              <a:gd name="connsiteX3" fmla="*/ 4106797 w 4118657"/>
              <a:gd name="connsiteY3" fmla="*/ 2026113 h 3661435"/>
              <a:gd name="connsiteX4" fmla="*/ 3896366 w 4118657"/>
              <a:gd name="connsiteY4" fmla="*/ 2338748 h 3661435"/>
              <a:gd name="connsiteX5" fmla="*/ 2567671 w 4118657"/>
              <a:gd name="connsiteY5" fmla="*/ 3438986 h 3661435"/>
              <a:gd name="connsiteX6" fmla="*/ 2321167 w 4118657"/>
              <a:gd name="connsiteY6" fmla="*/ 3619352 h 3661435"/>
              <a:gd name="connsiteX7" fmla="*/ 2255036 w 4118657"/>
              <a:gd name="connsiteY7" fmla="*/ 3661435 h 3661435"/>
              <a:gd name="connsiteX8" fmla="*/ 2243012 w 4118657"/>
              <a:gd name="connsiteY8" fmla="*/ 3661435 h 3661435"/>
              <a:gd name="connsiteX9" fmla="*/ 2146817 w 4118657"/>
              <a:gd name="connsiteY9" fmla="*/ 3475059 h 3661435"/>
              <a:gd name="connsiteX10" fmla="*/ 2140801 w 4118657"/>
              <a:gd name="connsiteY10" fmla="*/ 3270644 h 3661435"/>
              <a:gd name="connsiteX11" fmla="*/ 2146817 w 4118657"/>
              <a:gd name="connsiteY11" fmla="*/ 2909911 h 3661435"/>
              <a:gd name="connsiteX12" fmla="*/ 2146817 w 4118657"/>
              <a:gd name="connsiteY12" fmla="*/ 2765618 h 3661435"/>
              <a:gd name="connsiteX13" fmla="*/ 0 w 4118657"/>
              <a:gd name="connsiteY13" fmla="*/ 2765618 h 3661435"/>
              <a:gd name="connsiteX14" fmla="*/ 0 w 4118657"/>
              <a:gd name="connsiteY14" fmla="*/ 893100 h 3661435"/>
              <a:gd name="connsiteX15" fmla="*/ 36528 w 4118657"/>
              <a:gd name="connsiteY15" fmla="*/ 889808 h 3661435"/>
              <a:gd name="connsiteX16" fmla="*/ 2212948 w 4118657"/>
              <a:gd name="connsiteY16" fmla="*/ 889808 h 3661435"/>
              <a:gd name="connsiteX17" fmla="*/ 2297119 w 4118657"/>
              <a:gd name="connsiteY17" fmla="*/ 12025 h 3661435"/>
              <a:gd name="connsiteX18" fmla="*/ 2303134 w 4118657"/>
              <a:gd name="connsiteY18" fmla="*/ 6009 h 3661435"/>
              <a:gd name="connsiteX19" fmla="*/ 2315158 w 4118657"/>
              <a:gd name="connsiteY19" fmla="*/ 0 h 36614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4118657" h="3661435">
                <a:moveTo>
                  <a:pt x="2315158" y="0"/>
                </a:moveTo>
                <a:lnTo>
                  <a:pt x="2321167" y="0"/>
                </a:lnTo>
                <a:cubicBezTo>
                  <a:pt x="2477485" y="0"/>
                  <a:pt x="3649869" y="1232501"/>
                  <a:pt x="3782138" y="1376794"/>
                </a:cubicBezTo>
                <a:cubicBezTo>
                  <a:pt x="3800171" y="1394834"/>
                  <a:pt x="4190968" y="1833722"/>
                  <a:pt x="4106797" y="2026113"/>
                </a:cubicBezTo>
                <a:cubicBezTo>
                  <a:pt x="4076733" y="2104275"/>
                  <a:pt x="3902382" y="2326724"/>
                  <a:pt x="3896366" y="2338748"/>
                </a:cubicBezTo>
                <a:cubicBezTo>
                  <a:pt x="3493551" y="2801692"/>
                  <a:pt x="2892331" y="3216531"/>
                  <a:pt x="2567671" y="3438986"/>
                </a:cubicBezTo>
                <a:cubicBezTo>
                  <a:pt x="2435403" y="3529166"/>
                  <a:pt x="2345216" y="3595304"/>
                  <a:pt x="2321167" y="3619352"/>
                </a:cubicBezTo>
                <a:cubicBezTo>
                  <a:pt x="2297119" y="3649410"/>
                  <a:pt x="2273070" y="3661435"/>
                  <a:pt x="2255036" y="3661435"/>
                </a:cubicBezTo>
                <a:cubicBezTo>
                  <a:pt x="2249021" y="3661435"/>
                  <a:pt x="2249021" y="3661435"/>
                  <a:pt x="2243012" y="3661435"/>
                </a:cubicBezTo>
                <a:cubicBezTo>
                  <a:pt x="2194914" y="3649410"/>
                  <a:pt x="2164850" y="3559230"/>
                  <a:pt x="2146817" y="3475059"/>
                </a:cubicBezTo>
                <a:cubicBezTo>
                  <a:pt x="2128777" y="3408922"/>
                  <a:pt x="2134792" y="3354815"/>
                  <a:pt x="2140801" y="3270644"/>
                </a:cubicBezTo>
                <a:cubicBezTo>
                  <a:pt x="2146817" y="3186473"/>
                  <a:pt x="2152826" y="3078253"/>
                  <a:pt x="2146817" y="2909911"/>
                </a:cubicBezTo>
                <a:cubicBezTo>
                  <a:pt x="2146817" y="2867823"/>
                  <a:pt x="2146817" y="2819725"/>
                  <a:pt x="2146817" y="2765618"/>
                </a:cubicBezTo>
                <a:lnTo>
                  <a:pt x="0" y="2765618"/>
                </a:lnTo>
                <a:lnTo>
                  <a:pt x="0" y="893100"/>
                </a:lnTo>
                <a:lnTo>
                  <a:pt x="36528" y="889808"/>
                </a:lnTo>
                <a:lnTo>
                  <a:pt x="2212948" y="889808"/>
                </a:lnTo>
                <a:cubicBezTo>
                  <a:pt x="2212948" y="162327"/>
                  <a:pt x="2273070" y="30058"/>
                  <a:pt x="2297119" y="12025"/>
                </a:cubicBezTo>
                <a:lnTo>
                  <a:pt x="2303134" y="6009"/>
                </a:lnTo>
                <a:cubicBezTo>
                  <a:pt x="2303134" y="6009"/>
                  <a:pt x="2309143" y="0"/>
                  <a:pt x="2315158" y="0"/>
                </a:cubicBezTo>
                <a:close/>
              </a:path>
            </a:pathLst>
          </a:custGeom>
          <a:solidFill>
            <a:schemeClr val="accent2"/>
          </a:solidFill>
          <a:ln w="9525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>
              <a:lnSpc>
                <a:spcPct val="90000"/>
              </a:lnSpc>
            </a:pPr>
            <a:endParaRPr dirty="0">
              <a:solidFill>
                <a:schemeClr val="bg1"/>
              </a:solidFill>
            </a:endParaRPr>
          </a:p>
        </p:txBody>
      </p:sp>
      <p:sp>
        <p:nvSpPr>
          <p:cNvPr id="6" name="Freeform: Shape 5">
            <a:extLst>
              <a:ext uri="{FF2B5EF4-FFF2-40B4-BE49-F238E27FC236}">
                <a16:creationId xmlns:a16="http://schemas.microsoft.com/office/drawing/2014/main" id="{3117BFFA-728A-45B4-855F-C65538E196D8}"/>
              </a:ext>
            </a:extLst>
          </p:cNvPr>
          <p:cNvSpPr/>
          <p:nvPr/>
        </p:nvSpPr>
        <p:spPr bwMode="ltGray">
          <a:xfrm>
            <a:off x="4252974" y="0"/>
            <a:ext cx="7564605" cy="6019800"/>
          </a:xfrm>
          <a:custGeom>
            <a:avLst/>
            <a:gdLst>
              <a:gd name="connsiteX0" fmla="*/ 49779 w 7564605"/>
              <a:gd name="connsiteY0" fmla="*/ 0 h 5823600"/>
              <a:gd name="connsiteX1" fmla="*/ 7531204 w 7564605"/>
              <a:gd name="connsiteY1" fmla="*/ 0 h 5823600"/>
              <a:gd name="connsiteX2" fmla="*/ 7531733 w 7564605"/>
              <a:gd name="connsiteY2" fmla="*/ 14515 h 5823600"/>
              <a:gd name="connsiteX3" fmla="*/ 7528259 w 7564605"/>
              <a:gd name="connsiteY3" fmla="*/ 318689 h 5823600"/>
              <a:gd name="connsiteX4" fmla="*/ 7544134 w 7564605"/>
              <a:gd name="connsiteY4" fmla="*/ 2096896 h 5823600"/>
              <a:gd name="connsiteX5" fmla="*/ 7560025 w 7564605"/>
              <a:gd name="connsiteY5" fmla="*/ 3437194 h 5823600"/>
              <a:gd name="connsiteX6" fmla="*/ 7560025 w 7564605"/>
              <a:gd name="connsiteY6" fmla="*/ 4366108 h 5823600"/>
              <a:gd name="connsiteX7" fmla="*/ 7512369 w 7564605"/>
              <a:gd name="connsiteY7" fmla="*/ 5520609 h 5823600"/>
              <a:gd name="connsiteX8" fmla="*/ 6972367 w 7564605"/>
              <a:gd name="connsiteY8" fmla="*/ 5732932 h 5823600"/>
              <a:gd name="connsiteX9" fmla="*/ 6416491 w 7564605"/>
              <a:gd name="connsiteY9" fmla="*/ 5746210 h 5823600"/>
              <a:gd name="connsiteX10" fmla="*/ 5844725 w 7564605"/>
              <a:gd name="connsiteY10" fmla="*/ 5812554 h 5823600"/>
              <a:gd name="connsiteX11" fmla="*/ 1556476 w 7564605"/>
              <a:gd name="connsiteY11" fmla="*/ 5759473 h 5823600"/>
              <a:gd name="connsiteX12" fmla="*/ 762356 w 7564605"/>
              <a:gd name="connsiteY12" fmla="*/ 5693129 h 5823600"/>
              <a:gd name="connsiteX13" fmla="*/ 127060 w 7564605"/>
              <a:gd name="connsiteY13" fmla="*/ 5401184 h 5823600"/>
              <a:gd name="connsiteX14" fmla="*/ 63530 w 7564605"/>
              <a:gd name="connsiteY14" fmla="*/ 4074164 h 5823600"/>
              <a:gd name="connsiteX15" fmla="*/ 31766 w 7564605"/>
              <a:gd name="connsiteY15" fmla="*/ 2083633 h 5823600"/>
              <a:gd name="connsiteX16" fmla="*/ 0 w 7564605"/>
              <a:gd name="connsiteY16" fmla="*/ 1420123 h 5823600"/>
              <a:gd name="connsiteX17" fmla="*/ 31766 w 7564605"/>
              <a:gd name="connsiteY17" fmla="*/ 385047 h 5823600"/>
              <a:gd name="connsiteX18" fmla="*/ 47640 w 7564605"/>
              <a:gd name="connsiteY18" fmla="*/ 53285 h 5823600"/>
              <a:gd name="connsiteX19" fmla="*/ 49066 w 7564605"/>
              <a:gd name="connsiteY19" fmla="*/ 10986 h 582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7564605" h="5823600">
                <a:moveTo>
                  <a:pt x="49779" y="0"/>
                </a:moveTo>
                <a:lnTo>
                  <a:pt x="7531204" y="0"/>
                </a:lnTo>
                <a:lnTo>
                  <a:pt x="7531733" y="14515"/>
                </a:lnTo>
                <a:cubicBezTo>
                  <a:pt x="7532230" y="112174"/>
                  <a:pt x="7528259" y="215847"/>
                  <a:pt x="7528259" y="318689"/>
                </a:cubicBezTo>
                <a:cubicBezTo>
                  <a:pt x="7512369" y="915855"/>
                  <a:pt x="7575899" y="1499744"/>
                  <a:pt x="7544134" y="2096896"/>
                </a:cubicBezTo>
                <a:cubicBezTo>
                  <a:pt x="7528259" y="2534820"/>
                  <a:pt x="7575899" y="2999270"/>
                  <a:pt x="7560025" y="3437194"/>
                </a:cubicBezTo>
                <a:cubicBezTo>
                  <a:pt x="7544134" y="3742402"/>
                  <a:pt x="7575899" y="4060887"/>
                  <a:pt x="7560025" y="4366108"/>
                </a:cubicBezTo>
                <a:cubicBezTo>
                  <a:pt x="7544134" y="4671316"/>
                  <a:pt x="7575899" y="5122503"/>
                  <a:pt x="7512369" y="5520609"/>
                </a:cubicBezTo>
                <a:cubicBezTo>
                  <a:pt x="7480604" y="5679852"/>
                  <a:pt x="7194721" y="5706392"/>
                  <a:pt x="6972367" y="5732932"/>
                </a:cubicBezTo>
                <a:cubicBezTo>
                  <a:pt x="6845308" y="5746210"/>
                  <a:pt x="6607081" y="5719669"/>
                  <a:pt x="6416491" y="5746210"/>
                </a:cubicBezTo>
                <a:cubicBezTo>
                  <a:pt x="6273541" y="5772750"/>
                  <a:pt x="6003549" y="5812554"/>
                  <a:pt x="5844725" y="5812554"/>
                </a:cubicBezTo>
                <a:cubicBezTo>
                  <a:pt x="4224719" y="5852371"/>
                  <a:pt x="3430600" y="5772750"/>
                  <a:pt x="1556476" y="5759473"/>
                </a:cubicBezTo>
                <a:cubicBezTo>
                  <a:pt x="1381761" y="5759473"/>
                  <a:pt x="1143534" y="5759473"/>
                  <a:pt x="762356" y="5693129"/>
                </a:cubicBezTo>
                <a:cubicBezTo>
                  <a:pt x="412943" y="5640048"/>
                  <a:pt x="238228" y="5693129"/>
                  <a:pt x="127060" y="5401184"/>
                </a:cubicBezTo>
                <a:cubicBezTo>
                  <a:pt x="31766" y="5162321"/>
                  <a:pt x="79404" y="4379372"/>
                  <a:pt x="63530" y="4074164"/>
                </a:cubicBezTo>
                <a:cubicBezTo>
                  <a:pt x="31766" y="3384113"/>
                  <a:pt x="31766" y="2906386"/>
                  <a:pt x="31766" y="2083633"/>
                </a:cubicBezTo>
                <a:lnTo>
                  <a:pt x="0" y="1420123"/>
                </a:lnTo>
                <a:cubicBezTo>
                  <a:pt x="79404" y="1048557"/>
                  <a:pt x="-47655" y="769876"/>
                  <a:pt x="31766" y="385047"/>
                </a:cubicBezTo>
                <a:cubicBezTo>
                  <a:pt x="47640" y="252345"/>
                  <a:pt x="47640" y="265608"/>
                  <a:pt x="47640" y="53285"/>
                </a:cubicBezTo>
                <a:cubicBezTo>
                  <a:pt x="47640" y="43332"/>
                  <a:pt x="48136" y="28818"/>
                  <a:pt x="49066" y="10986"/>
                </a:cubicBez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>
              <a:lnSpc>
                <a:spcPct val="90000"/>
              </a:lnSpc>
            </a:pPr>
            <a:endParaRPr dirty="0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7EAB047-7709-4466-A961-418CD41D0EA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1" y="1555130"/>
            <a:ext cx="3111499" cy="921370"/>
          </a:xfrm>
        </p:spPr>
        <p:txBody>
          <a:bodyPr/>
          <a:lstStyle>
            <a:lvl1pPr>
              <a:defRPr sz="6600" baseline="0">
                <a:solidFill>
                  <a:schemeClr val="tx1"/>
                </a:solidFill>
              </a:defRPr>
            </a:lvl1pPr>
          </a:lstStyle>
          <a:p>
            <a:r>
              <a:t>TIT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78109F1-DB54-40AC-9EFE-BD170DCF93B3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055389" y="6307159"/>
            <a:ext cx="914400" cy="15895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EB1475D-EF5B-48A6-8CCB-3BD08F726926}" type="datetimeFigureOut">
              <a:rPr lang="en-US"/>
              <a:pPr/>
              <a:t>3/17/2025</a:t>
            </a:fld>
            <a:endParaRPr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58632F8-B1D4-42C3-A25F-51F06753F5F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32534" y="6307159"/>
            <a:ext cx="7104770" cy="15895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CD40013-3360-45D5-A8EF-FE748E7120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65A54F4-DB31-4FC5-B748-3F06867349C3}" type="slidenum">
              <a:rPr/>
              <a:pPr/>
              <a:t>‹N›</a:t>
            </a:fld>
            <a:endParaRPr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BBCEFFE7-67B4-45E7-A42F-DB170DD4AE2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30750" y="914400"/>
            <a:ext cx="6705600" cy="4572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t>Click to add text (change to numbered list on Home tab)</a:t>
            </a:r>
          </a:p>
          <a:p>
            <a:pPr lvl="1"/>
            <a:r>
              <a:t>Second level</a:t>
            </a:r>
          </a:p>
          <a:p>
            <a:pPr lvl="2"/>
            <a:r>
              <a:t>Third level</a:t>
            </a:r>
          </a:p>
          <a:p>
            <a:pPr lvl="3"/>
            <a:r>
              <a:t>Fourth level</a:t>
            </a:r>
          </a:p>
          <a:p>
            <a:pPr lvl="4"/>
            <a:r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63626437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 Oran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Freeform: Shape 16">
            <a:extLst>
              <a:ext uri="{FF2B5EF4-FFF2-40B4-BE49-F238E27FC236}">
                <a16:creationId xmlns:a16="http://schemas.microsoft.com/office/drawing/2014/main" id="{90A67651-30FC-482C-8BD7-415FEAC5C2F3}"/>
              </a:ext>
            </a:extLst>
          </p:cNvPr>
          <p:cNvSpPr/>
          <p:nvPr/>
        </p:nvSpPr>
        <p:spPr>
          <a:xfrm>
            <a:off x="0" y="0"/>
            <a:ext cx="12192000" cy="6874379"/>
          </a:xfrm>
          <a:custGeom>
            <a:avLst/>
            <a:gdLst>
              <a:gd name="connsiteX0" fmla="*/ 0 w 12192000"/>
              <a:gd name="connsiteY0" fmla="*/ 0 h 6874379"/>
              <a:gd name="connsiteX1" fmla="*/ 12192000 w 12192000"/>
              <a:gd name="connsiteY1" fmla="*/ 0 h 6874379"/>
              <a:gd name="connsiteX2" fmla="*/ 12192000 w 12192000"/>
              <a:gd name="connsiteY2" fmla="*/ 190329 h 6874379"/>
              <a:gd name="connsiteX3" fmla="*/ 12097817 w 12192000"/>
              <a:gd name="connsiteY3" fmla="*/ 160025 h 6874379"/>
              <a:gd name="connsiteX4" fmla="*/ 11807295 w 12192000"/>
              <a:gd name="connsiteY4" fmla="*/ 132559 h 6874379"/>
              <a:gd name="connsiteX5" fmla="*/ 11803273 w 12192000"/>
              <a:gd name="connsiteY5" fmla="*/ 132651 h 6874379"/>
              <a:gd name="connsiteX6" fmla="*/ 11801114 w 12192000"/>
              <a:gd name="connsiteY6" fmla="*/ 132559 h 6874379"/>
              <a:gd name="connsiteX7" fmla="*/ 9648247 w 12192000"/>
              <a:gd name="connsiteY7" fmla="*/ 283191 h 6874379"/>
              <a:gd name="connsiteX8" fmla="*/ 9289437 w 12192000"/>
              <a:gd name="connsiteY8" fmla="*/ 298139 h 6874379"/>
              <a:gd name="connsiteX9" fmla="*/ 8937897 w 12192000"/>
              <a:gd name="connsiteY9" fmla="*/ 297353 h 6874379"/>
              <a:gd name="connsiteX10" fmla="*/ 7958013 w 12192000"/>
              <a:gd name="connsiteY10" fmla="*/ 284263 h 6874379"/>
              <a:gd name="connsiteX11" fmla="*/ 7948375 w 12192000"/>
              <a:gd name="connsiteY11" fmla="*/ 284273 h 6874379"/>
              <a:gd name="connsiteX12" fmla="*/ 7947582 w 12192000"/>
              <a:gd name="connsiteY12" fmla="*/ 284263 h 6874379"/>
              <a:gd name="connsiteX13" fmla="*/ 5026488 w 12192000"/>
              <a:gd name="connsiteY13" fmla="*/ 324819 h 6874379"/>
              <a:gd name="connsiteX14" fmla="*/ 5003554 w 12192000"/>
              <a:gd name="connsiteY14" fmla="*/ 325295 h 6874379"/>
              <a:gd name="connsiteX15" fmla="*/ 4543566 w 12192000"/>
              <a:gd name="connsiteY15" fmla="*/ 331280 h 6874379"/>
              <a:gd name="connsiteX16" fmla="*/ 1280017 w 12192000"/>
              <a:gd name="connsiteY16" fmla="*/ 176856 h 6874379"/>
              <a:gd name="connsiteX17" fmla="*/ 405208 w 12192000"/>
              <a:gd name="connsiteY17" fmla="*/ 314184 h 6874379"/>
              <a:gd name="connsiteX18" fmla="*/ 282764 w 12192000"/>
              <a:gd name="connsiteY18" fmla="*/ 671391 h 6874379"/>
              <a:gd name="connsiteX19" fmla="*/ 248165 w 12192000"/>
              <a:gd name="connsiteY19" fmla="*/ 1871382 h 6874379"/>
              <a:gd name="connsiteX20" fmla="*/ 256012 w 12192000"/>
              <a:gd name="connsiteY20" fmla="*/ 2213101 h 6874379"/>
              <a:gd name="connsiteX21" fmla="*/ 252706 w 12192000"/>
              <a:gd name="connsiteY21" fmla="*/ 2453832 h 6874379"/>
              <a:gd name="connsiteX22" fmla="*/ 244400 w 12192000"/>
              <a:gd name="connsiteY22" fmla="*/ 3071384 h 6874379"/>
              <a:gd name="connsiteX23" fmla="*/ 177982 w 12192000"/>
              <a:gd name="connsiteY23" fmla="*/ 3854148 h 6874379"/>
              <a:gd name="connsiteX24" fmla="*/ 144773 w 12192000"/>
              <a:gd name="connsiteY24" fmla="*/ 6202469 h 6874379"/>
              <a:gd name="connsiteX25" fmla="*/ 676116 w 12192000"/>
              <a:gd name="connsiteY25" fmla="*/ 6710576 h 6874379"/>
              <a:gd name="connsiteX26" fmla="*/ 739810 w 12192000"/>
              <a:gd name="connsiteY26" fmla="*/ 6711571 h 6874379"/>
              <a:gd name="connsiteX27" fmla="*/ 742537 w 12192000"/>
              <a:gd name="connsiteY27" fmla="*/ 6711326 h 6874379"/>
              <a:gd name="connsiteX28" fmla="*/ 758188 w 12192000"/>
              <a:gd name="connsiteY28" fmla="*/ 6711571 h 6874379"/>
              <a:gd name="connsiteX29" fmla="*/ 1161699 w 12192000"/>
              <a:gd name="connsiteY29" fmla="*/ 6645433 h 6874379"/>
              <a:gd name="connsiteX30" fmla="*/ 1223129 w 12192000"/>
              <a:gd name="connsiteY30" fmla="*/ 6642040 h 6874379"/>
              <a:gd name="connsiteX31" fmla="*/ 1249749 w 12192000"/>
              <a:gd name="connsiteY31" fmla="*/ 6642246 h 6874379"/>
              <a:gd name="connsiteX32" fmla="*/ 2021087 w 12192000"/>
              <a:gd name="connsiteY32" fmla="*/ 6683110 h 6874379"/>
              <a:gd name="connsiteX33" fmla="*/ 7012994 w 12192000"/>
              <a:gd name="connsiteY33" fmla="*/ 6716069 h 6874379"/>
              <a:gd name="connsiteX34" fmla="*/ 7016698 w 12192000"/>
              <a:gd name="connsiteY34" fmla="*/ 6716018 h 6874379"/>
              <a:gd name="connsiteX35" fmla="*/ 7024455 w 12192000"/>
              <a:gd name="connsiteY35" fmla="*/ 6716069 h 6874379"/>
              <a:gd name="connsiteX36" fmla="*/ 7963164 w 12192000"/>
              <a:gd name="connsiteY36" fmla="*/ 6700185 h 6874379"/>
              <a:gd name="connsiteX37" fmla="*/ 8424990 w 12192000"/>
              <a:gd name="connsiteY37" fmla="*/ 6696610 h 6874379"/>
              <a:gd name="connsiteX38" fmla="*/ 8891818 w 12192000"/>
              <a:gd name="connsiteY38" fmla="*/ 6707289 h 6874379"/>
              <a:gd name="connsiteX39" fmla="*/ 11120508 w 12192000"/>
              <a:gd name="connsiteY39" fmla="*/ 6749147 h 6874379"/>
              <a:gd name="connsiteX40" fmla="*/ 11123244 w 12192000"/>
              <a:gd name="connsiteY40" fmla="*/ 6749138 h 6874379"/>
              <a:gd name="connsiteX41" fmla="*/ 11127440 w 12192000"/>
              <a:gd name="connsiteY41" fmla="*/ 6749147 h 6874379"/>
              <a:gd name="connsiteX42" fmla="*/ 11659021 w 12192000"/>
              <a:gd name="connsiteY42" fmla="*/ 6746289 h 6874379"/>
              <a:gd name="connsiteX43" fmla="*/ 12146815 w 12192000"/>
              <a:gd name="connsiteY43" fmla="*/ 6741361 h 6874379"/>
              <a:gd name="connsiteX44" fmla="*/ 12192000 w 12192000"/>
              <a:gd name="connsiteY44" fmla="*/ 6734754 h 6874379"/>
              <a:gd name="connsiteX45" fmla="*/ 12192000 w 12192000"/>
              <a:gd name="connsiteY45" fmla="*/ 6874379 h 6874379"/>
              <a:gd name="connsiteX46" fmla="*/ 0 w 12192000"/>
              <a:gd name="connsiteY46" fmla="*/ 6874379 h 68743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</a:cxnLst>
            <a:rect l="l" t="t" r="r" b="b"/>
            <a:pathLst>
              <a:path w="12192000" h="6874379">
                <a:moveTo>
                  <a:pt x="0" y="0"/>
                </a:moveTo>
                <a:lnTo>
                  <a:pt x="12192000" y="0"/>
                </a:lnTo>
                <a:lnTo>
                  <a:pt x="12192000" y="190329"/>
                </a:lnTo>
                <a:lnTo>
                  <a:pt x="12097817" y="160025"/>
                </a:lnTo>
                <a:cubicBezTo>
                  <a:pt x="12015663" y="141142"/>
                  <a:pt x="11919254" y="132559"/>
                  <a:pt x="11807295" y="132559"/>
                </a:cubicBezTo>
                <a:lnTo>
                  <a:pt x="11803273" y="132651"/>
                </a:lnTo>
                <a:lnTo>
                  <a:pt x="11801114" y="132559"/>
                </a:lnTo>
                <a:cubicBezTo>
                  <a:pt x="11078819" y="132559"/>
                  <a:pt x="10365869" y="240705"/>
                  <a:pt x="9648247" y="283191"/>
                </a:cubicBezTo>
                <a:lnTo>
                  <a:pt x="9289437" y="298139"/>
                </a:lnTo>
                <a:lnTo>
                  <a:pt x="8937897" y="297353"/>
                </a:lnTo>
                <a:cubicBezTo>
                  <a:pt x="8610318" y="290487"/>
                  <a:pt x="8283777" y="286195"/>
                  <a:pt x="7958013" y="284263"/>
                </a:cubicBezTo>
                <a:lnTo>
                  <a:pt x="7948375" y="284273"/>
                </a:lnTo>
                <a:lnTo>
                  <a:pt x="7947582" y="284263"/>
                </a:lnTo>
                <a:cubicBezTo>
                  <a:pt x="6969212" y="278468"/>
                  <a:pt x="5997850" y="293915"/>
                  <a:pt x="5026488" y="324819"/>
                </a:cubicBezTo>
                <a:lnTo>
                  <a:pt x="5003554" y="325295"/>
                </a:lnTo>
                <a:lnTo>
                  <a:pt x="4543566" y="331280"/>
                </a:lnTo>
                <a:cubicBezTo>
                  <a:pt x="3349959" y="326969"/>
                  <a:pt x="1955605" y="198024"/>
                  <a:pt x="1280017" y="176856"/>
                </a:cubicBezTo>
                <a:cubicBezTo>
                  <a:pt x="615478" y="156034"/>
                  <a:pt x="571070" y="163116"/>
                  <a:pt x="405208" y="314184"/>
                </a:cubicBezTo>
                <a:cubicBezTo>
                  <a:pt x="322286" y="396581"/>
                  <a:pt x="299341" y="575254"/>
                  <a:pt x="282764" y="671391"/>
                </a:cubicBezTo>
                <a:cubicBezTo>
                  <a:pt x="241294" y="1090239"/>
                  <a:pt x="240583" y="1480809"/>
                  <a:pt x="248165" y="1871382"/>
                </a:cubicBezTo>
                <a:lnTo>
                  <a:pt x="256012" y="2213101"/>
                </a:lnTo>
                <a:lnTo>
                  <a:pt x="252706" y="2453832"/>
                </a:lnTo>
                <a:cubicBezTo>
                  <a:pt x="250630" y="2656821"/>
                  <a:pt x="248553" y="2861957"/>
                  <a:pt x="244400" y="3071384"/>
                </a:cubicBezTo>
                <a:cubicBezTo>
                  <a:pt x="244400" y="3277369"/>
                  <a:pt x="211191" y="3552026"/>
                  <a:pt x="177982" y="3854148"/>
                </a:cubicBezTo>
                <a:cubicBezTo>
                  <a:pt x="94968" y="4623186"/>
                  <a:pt x="177982" y="5419690"/>
                  <a:pt x="144773" y="6202469"/>
                </a:cubicBezTo>
                <a:cubicBezTo>
                  <a:pt x="128177" y="6477125"/>
                  <a:pt x="227804" y="6683110"/>
                  <a:pt x="676116" y="6710576"/>
                </a:cubicBezTo>
                <a:cubicBezTo>
                  <a:pt x="696872" y="6712294"/>
                  <a:pt x="718146" y="6712509"/>
                  <a:pt x="739810" y="6711571"/>
                </a:cubicBezTo>
                <a:lnTo>
                  <a:pt x="742537" y="6711326"/>
                </a:lnTo>
                <a:lnTo>
                  <a:pt x="758188" y="6711571"/>
                </a:lnTo>
                <a:cubicBezTo>
                  <a:pt x="888027" y="6705943"/>
                  <a:pt x="1031860" y="6658790"/>
                  <a:pt x="1161699" y="6645433"/>
                </a:cubicBezTo>
                <a:lnTo>
                  <a:pt x="1223129" y="6642040"/>
                </a:lnTo>
                <a:lnTo>
                  <a:pt x="1249749" y="6642246"/>
                </a:lnTo>
                <a:cubicBezTo>
                  <a:pt x="1426096" y="6645459"/>
                  <a:pt x="1113971" y="6671527"/>
                  <a:pt x="2021087" y="6683110"/>
                </a:cubicBezTo>
                <a:lnTo>
                  <a:pt x="7012994" y="6716069"/>
                </a:lnTo>
                <a:lnTo>
                  <a:pt x="7016698" y="6716018"/>
                </a:lnTo>
                <a:lnTo>
                  <a:pt x="7024455" y="6716069"/>
                </a:lnTo>
                <a:cubicBezTo>
                  <a:pt x="7337250" y="6714606"/>
                  <a:pt x="7650263" y="6705480"/>
                  <a:pt x="7963164" y="6700185"/>
                </a:cubicBezTo>
                <a:lnTo>
                  <a:pt x="8424990" y="6696610"/>
                </a:lnTo>
                <a:lnTo>
                  <a:pt x="8891818" y="6707289"/>
                </a:lnTo>
                <a:cubicBezTo>
                  <a:pt x="9645805" y="6740724"/>
                  <a:pt x="10498919" y="6749520"/>
                  <a:pt x="11120508" y="6749147"/>
                </a:cubicBezTo>
                <a:lnTo>
                  <a:pt x="11123244" y="6749138"/>
                </a:lnTo>
                <a:lnTo>
                  <a:pt x="11127440" y="6749147"/>
                </a:lnTo>
                <a:cubicBezTo>
                  <a:pt x="11334408" y="6749022"/>
                  <a:pt x="11515679" y="6747879"/>
                  <a:pt x="11659021" y="6746289"/>
                </a:cubicBezTo>
                <a:cubicBezTo>
                  <a:pt x="11945705" y="6743110"/>
                  <a:pt x="12070693" y="6747846"/>
                  <a:pt x="12146815" y="6741361"/>
                </a:cubicBezTo>
                <a:lnTo>
                  <a:pt x="12192000" y="6734754"/>
                </a:lnTo>
                <a:lnTo>
                  <a:pt x="12192000" y="6874379"/>
                </a:lnTo>
                <a:lnTo>
                  <a:pt x="0" y="6874379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58FEA80-7B9C-47B6-AB26-C4831912993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501" y="457200"/>
            <a:ext cx="11182499" cy="48533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F412722-E6BD-447B-8052-740133E9D43C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055389" y="6307159"/>
            <a:ext cx="914400" cy="158954"/>
          </a:xfrm>
          <a:prstGeom prst="rect">
            <a:avLst/>
          </a:prstGeom>
        </p:spPr>
        <p:txBody>
          <a:bodyPr/>
          <a:lstStyle/>
          <a:p>
            <a:fld id="{2EB1475D-EF5B-48A6-8CCB-3BD08F726926}" type="datetimeFigureOut">
              <a:rPr lang="en-US"/>
              <a:pPr/>
              <a:t>3/17/2025</a:t>
            </a:fld>
            <a:endParaRPr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5511FD4-F314-401C-A0EF-CB4185315A9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32534" y="6307159"/>
            <a:ext cx="7104770" cy="158954"/>
          </a:xfrm>
          <a:prstGeom prst="rect">
            <a:avLst/>
          </a:prstGeom>
        </p:spPr>
        <p:txBody>
          <a:bodyPr/>
          <a:lstStyle/>
          <a:p>
            <a:endParaRPr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440098E-180C-438C-85EA-F6F1FB1B52F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5A54F4-DB31-4FC5-B748-3F06867349C3}" type="slidenum">
              <a:rPr/>
              <a:pPr/>
              <a:t>‹N›</a:t>
            </a:fld>
            <a:endParaRPr dirty="0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4609F077-D81F-4729-9AC7-9C5410D45906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628651" y="1664702"/>
            <a:ext cx="11182350" cy="4355097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t>Click to add text or choose an icon below to insert other content</a:t>
            </a:r>
          </a:p>
          <a:p>
            <a:pPr lvl="1"/>
            <a:r>
              <a:t>Second level</a:t>
            </a:r>
          </a:p>
          <a:p>
            <a:pPr lvl="2"/>
            <a:r>
              <a:t>Third level</a:t>
            </a:r>
          </a:p>
          <a:p>
            <a:pPr lvl="3"/>
            <a:r>
              <a:t>Fourth level</a:t>
            </a:r>
          </a:p>
          <a:p>
            <a:pPr lvl="4"/>
            <a:r>
              <a:t>Fifth level</a:t>
            </a:r>
          </a:p>
        </p:txBody>
      </p:sp>
      <p:sp>
        <p:nvSpPr>
          <p:cNvPr id="13" name="Text Placeholder 53">
            <a:extLst>
              <a:ext uri="{FF2B5EF4-FFF2-40B4-BE49-F238E27FC236}">
                <a16:creationId xmlns:a16="http://schemas.microsoft.com/office/drawing/2014/main" id="{DCA8F8B7-60BD-4B53-A658-C77FA4FA67B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8500" y="1086829"/>
            <a:ext cx="11182499" cy="290515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2000">
                <a:solidFill>
                  <a:srgbClr val="724D8D"/>
                </a:solidFill>
              </a:defRPr>
            </a:lvl1pPr>
            <a:lvl2pPr marL="0" indent="0">
              <a:spcBef>
                <a:spcPts val="0"/>
              </a:spcBef>
              <a:buNone/>
              <a:defRPr sz="2000">
                <a:solidFill>
                  <a:srgbClr val="724D8D"/>
                </a:solidFill>
              </a:defRPr>
            </a:lvl2pPr>
            <a:lvl3pPr marL="0" indent="0">
              <a:spcBef>
                <a:spcPts val="0"/>
              </a:spcBef>
              <a:buNone/>
              <a:defRPr sz="2000">
                <a:solidFill>
                  <a:srgbClr val="724D8D"/>
                </a:solidFill>
              </a:defRPr>
            </a:lvl3pPr>
            <a:lvl4pPr marL="0" indent="0">
              <a:spcBef>
                <a:spcPts val="0"/>
              </a:spcBef>
              <a:buNone/>
              <a:defRPr sz="2000">
                <a:solidFill>
                  <a:srgbClr val="724D8D"/>
                </a:solidFill>
              </a:defRPr>
            </a:lvl4pPr>
            <a:lvl5pPr marL="0" indent="0">
              <a:spcBef>
                <a:spcPts val="0"/>
              </a:spcBef>
              <a:buNone/>
              <a:defRPr sz="2000">
                <a:solidFill>
                  <a:srgbClr val="724D8D"/>
                </a:solidFill>
              </a:defRPr>
            </a:lvl5pPr>
            <a:lvl6pPr marL="0" indent="0">
              <a:spcBef>
                <a:spcPts val="0"/>
              </a:spcBef>
              <a:buNone/>
              <a:defRPr sz="2000">
                <a:solidFill>
                  <a:srgbClr val="724D8D"/>
                </a:solidFill>
              </a:defRPr>
            </a:lvl6pPr>
            <a:lvl7pPr marL="0" indent="0">
              <a:spcBef>
                <a:spcPts val="0"/>
              </a:spcBef>
              <a:buNone/>
              <a:defRPr sz="2000">
                <a:solidFill>
                  <a:srgbClr val="724D8D"/>
                </a:solidFill>
              </a:defRPr>
            </a:lvl7pPr>
            <a:lvl8pPr marL="0" indent="0">
              <a:spcBef>
                <a:spcPts val="0"/>
              </a:spcBef>
              <a:buNone/>
              <a:defRPr sz="2000">
                <a:solidFill>
                  <a:srgbClr val="724D8D"/>
                </a:solidFill>
              </a:defRPr>
            </a:lvl8pPr>
            <a:lvl9pPr marL="0" indent="0">
              <a:spcBef>
                <a:spcPts val="0"/>
              </a:spcBef>
              <a:buNone/>
              <a:defRPr sz="2000">
                <a:solidFill>
                  <a:srgbClr val="724D8D"/>
                </a:solidFill>
              </a:defRPr>
            </a:lvl9pPr>
          </a:lstStyle>
          <a:p>
            <a:pPr lvl="0"/>
            <a:r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29522877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 Pur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: Shape 5">
            <a:extLst>
              <a:ext uri="{FF2B5EF4-FFF2-40B4-BE49-F238E27FC236}">
                <a16:creationId xmlns:a16="http://schemas.microsoft.com/office/drawing/2014/main" id="{5318214A-2D20-42DC-9E1E-5FE8646C4D6C}"/>
              </a:ext>
            </a:extLst>
          </p:cNvPr>
          <p:cNvSpPr/>
          <p:nvPr/>
        </p:nvSpPr>
        <p:spPr bwMode="ltGray">
          <a:xfrm>
            <a:off x="0" y="0"/>
            <a:ext cx="12192000" cy="6874379"/>
          </a:xfrm>
          <a:custGeom>
            <a:avLst/>
            <a:gdLst>
              <a:gd name="connsiteX0" fmla="*/ 0 w 12192000"/>
              <a:gd name="connsiteY0" fmla="*/ 0 h 6874379"/>
              <a:gd name="connsiteX1" fmla="*/ 12192000 w 12192000"/>
              <a:gd name="connsiteY1" fmla="*/ 0 h 6874379"/>
              <a:gd name="connsiteX2" fmla="*/ 12192000 w 12192000"/>
              <a:gd name="connsiteY2" fmla="*/ 341392 h 6874379"/>
              <a:gd name="connsiteX3" fmla="*/ 12134257 w 12192000"/>
              <a:gd name="connsiteY3" fmla="*/ 320479 h 6874379"/>
              <a:gd name="connsiteX4" fmla="*/ 11462617 w 12192000"/>
              <a:gd name="connsiteY4" fmla="*/ 234532 h 6874379"/>
              <a:gd name="connsiteX5" fmla="*/ 10560397 w 12192000"/>
              <a:gd name="connsiteY5" fmla="*/ 220643 h 6874379"/>
              <a:gd name="connsiteX6" fmla="*/ 9632386 w 12192000"/>
              <a:gd name="connsiteY6" fmla="*/ 151243 h 6874379"/>
              <a:gd name="connsiteX7" fmla="*/ 8274354 w 12192000"/>
              <a:gd name="connsiteY7" fmla="*/ 139710 h 6874379"/>
              <a:gd name="connsiteX8" fmla="*/ 2672303 w 12192000"/>
              <a:gd name="connsiteY8" fmla="*/ 206769 h 6874379"/>
              <a:gd name="connsiteX9" fmla="*/ 1383398 w 12192000"/>
              <a:gd name="connsiteY9" fmla="*/ 276170 h 6874379"/>
              <a:gd name="connsiteX10" fmla="*/ 352275 w 12192000"/>
              <a:gd name="connsiteY10" fmla="*/ 581565 h 6874379"/>
              <a:gd name="connsiteX11" fmla="*/ 249163 w 12192000"/>
              <a:gd name="connsiteY11" fmla="*/ 1969723 h 6874379"/>
              <a:gd name="connsiteX12" fmla="*/ 197606 w 12192000"/>
              <a:gd name="connsiteY12" fmla="*/ 4051960 h 6874379"/>
              <a:gd name="connsiteX13" fmla="*/ 146050 w 12192000"/>
              <a:gd name="connsiteY13" fmla="*/ 4746040 h 6874379"/>
              <a:gd name="connsiteX14" fmla="*/ 197606 w 12192000"/>
              <a:gd name="connsiteY14" fmla="*/ 5828803 h 6874379"/>
              <a:gd name="connsiteX15" fmla="*/ 223371 w 12192000"/>
              <a:gd name="connsiteY15" fmla="*/ 6175850 h 6874379"/>
              <a:gd name="connsiteX16" fmla="*/ 452464 w 12192000"/>
              <a:gd name="connsiteY16" fmla="*/ 6511675 h 6874379"/>
              <a:gd name="connsiteX17" fmla="*/ 5891167 w 12192000"/>
              <a:gd name="connsiteY17" fmla="*/ 6680936 h 6874379"/>
              <a:gd name="connsiteX18" fmla="*/ 9142589 w 12192000"/>
              <a:gd name="connsiteY18" fmla="*/ 6731113 h 6874379"/>
              <a:gd name="connsiteX19" fmla="*/ 12192000 w 12192000"/>
              <a:gd name="connsiteY19" fmla="*/ 6743126 h 6874379"/>
              <a:gd name="connsiteX20" fmla="*/ 12192000 w 12192000"/>
              <a:gd name="connsiteY20" fmla="*/ 6874379 h 6874379"/>
              <a:gd name="connsiteX21" fmla="*/ 0 w 12192000"/>
              <a:gd name="connsiteY21" fmla="*/ 6874379 h 68743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12192000" h="6874379">
                <a:moveTo>
                  <a:pt x="0" y="0"/>
                </a:moveTo>
                <a:lnTo>
                  <a:pt x="12192000" y="0"/>
                </a:lnTo>
                <a:lnTo>
                  <a:pt x="12192000" y="341392"/>
                </a:lnTo>
                <a:lnTo>
                  <a:pt x="12134257" y="320479"/>
                </a:lnTo>
                <a:cubicBezTo>
                  <a:pt x="11954012" y="269236"/>
                  <a:pt x="11688175" y="251884"/>
                  <a:pt x="11462617" y="234532"/>
                </a:cubicBezTo>
                <a:cubicBezTo>
                  <a:pt x="11256392" y="220643"/>
                  <a:pt x="10869734" y="248407"/>
                  <a:pt x="10560397" y="220643"/>
                </a:cubicBezTo>
                <a:cubicBezTo>
                  <a:pt x="10328381" y="192880"/>
                  <a:pt x="9890167" y="151243"/>
                  <a:pt x="9632386" y="151243"/>
                </a:cubicBezTo>
                <a:cubicBezTo>
                  <a:pt x="9139380" y="143433"/>
                  <a:pt x="8693500" y="140016"/>
                  <a:pt x="8274354" y="139710"/>
                </a:cubicBezTo>
                <a:cubicBezTo>
                  <a:pt x="6458057" y="138384"/>
                  <a:pt x="5143777" y="195484"/>
                  <a:pt x="2672303" y="206769"/>
                </a:cubicBezTo>
                <a:cubicBezTo>
                  <a:pt x="2388730" y="206769"/>
                  <a:pt x="2002073" y="206769"/>
                  <a:pt x="1383398" y="276170"/>
                </a:cubicBezTo>
                <a:cubicBezTo>
                  <a:pt x="816280" y="331696"/>
                  <a:pt x="532708" y="276170"/>
                  <a:pt x="352275" y="581565"/>
                </a:cubicBezTo>
                <a:cubicBezTo>
                  <a:pt x="197606" y="831433"/>
                  <a:pt x="274927" y="1650454"/>
                  <a:pt x="249163" y="1969723"/>
                </a:cubicBezTo>
                <a:cubicBezTo>
                  <a:pt x="197606" y="2691565"/>
                  <a:pt x="197606" y="3191302"/>
                  <a:pt x="197606" y="4051960"/>
                </a:cubicBezTo>
                <a:lnTo>
                  <a:pt x="146050" y="4746040"/>
                </a:lnTo>
                <a:cubicBezTo>
                  <a:pt x="274927" y="5134724"/>
                  <a:pt x="68702" y="5426244"/>
                  <a:pt x="197606" y="5828803"/>
                </a:cubicBezTo>
                <a:cubicBezTo>
                  <a:pt x="223371" y="5967619"/>
                  <a:pt x="180908" y="6062043"/>
                  <a:pt x="223371" y="6175850"/>
                </a:cubicBezTo>
                <a:cubicBezTo>
                  <a:pt x="265834" y="6289657"/>
                  <a:pt x="263750" y="6295253"/>
                  <a:pt x="452464" y="6511675"/>
                </a:cubicBezTo>
                <a:cubicBezTo>
                  <a:pt x="1044048" y="6836264"/>
                  <a:pt x="4442832" y="6644370"/>
                  <a:pt x="5891167" y="6680936"/>
                </a:cubicBezTo>
                <a:cubicBezTo>
                  <a:pt x="7339503" y="6717501"/>
                  <a:pt x="8163022" y="6744988"/>
                  <a:pt x="9142589" y="6731113"/>
                </a:cubicBezTo>
                <a:lnTo>
                  <a:pt x="12192000" y="6743126"/>
                </a:lnTo>
                <a:lnTo>
                  <a:pt x="12192000" y="6874379"/>
                </a:lnTo>
                <a:lnTo>
                  <a:pt x="0" y="6874379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C1DE026-1211-4BB1-B4B5-C2260592AD3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501" y="457200"/>
            <a:ext cx="11182499" cy="48533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717AA9E-D108-4CE2-89FE-7BF9BE02BB50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055389" y="6307159"/>
            <a:ext cx="914400" cy="158954"/>
          </a:xfrm>
          <a:prstGeom prst="rect">
            <a:avLst/>
          </a:prstGeom>
        </p:spPr>
        <p:txBody>
          <a:bodyPr/>
          <a:lstStyle/>
          <a:p>
            <a:fld id="{2EB1475D-EF5B-48A6-8CCB-3BD08F726926}" type="datetimeFigureOut">
              <a:rPr lang="en-US"/>
              <a:pPr/>
              <a:t>3/17/2025</a:t>
            </a:fld>
            <a:endParaRPr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3D5D3E2-25F9-4BB3-889E-54F2FFA429D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32534" y="6307159"/>
            <a:ext cx="7104770" cy="158954"/>
          </a:xfrm>
          <a:prstGeom prst="rect">
            <a:avLst/>
          </a:prstGeom>
        </p:spPr>
        <p:txBody>
          <a:bodyPr/>
          <a:lstStyle/>
          <a:p>
            <a:endParaRPr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FC1D393-2630-4AA7-9044-26C6B46637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5A54F4-DB31-4FC5-B748-3F06867349C3}" type="slidenum">
              <a:rPr/>
              <a:pPr/>
              <a:t>‹N›</a:t>
            </a:fld>
            <a:endParaRPr dirty="0"/>
          </a:p>
        </p:txBody>
      </p:sp>
      <p:sp>
        <p:nvSpPr>
          <p:cNvPr id="9" name="Text Placeholder 53">
            <a:extLst>
              <a:ext uri="{FF2B5EF4-FFF2-40B4-BE49-F238E27FC236}">
                <a16:creationId xmlns:a16="http://schemas.microsoft.com/office/drawing/2014/main" id="{9D2C6C6E-901A-4B8F-B000-D207C47F072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8500" y="1086829"/>
            <a:ext cx="11182499" cy="290515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2000">
                <a:solidFill>
                  <a:srgbClr val="724D8D"/>
                </a:solidFill>
              </a:defRPr>
            </a:lvl1pPr>
            <a:lvl2pPr marL="0" indent="0">
              <a:spcBef>
                <a:spcPts val="0"/>
              </a:spcBef>
              <a:buNone/>
              <a:defRPr sz="2000">
                <a:solidFill>
                  <a:srgbClr val="724D8D"/>
                </a:solidFill>
              </a:defRPr>
            </a:lvl2pPr>
            <a:lvl3pPr marL="0" indent="0">
              <a:spcBef>
                <a:spcPts val="0"/>
              </a:spcBef>
              <a:buNone/>
              <a:defRPr sz="2000">
                <a:solidFill>
                  <a:srgbClr val="724D8D"/>
                </a:solidFill>
              </a:defRPr>
            </a:lvl3pPr>
            <a:lvl4pPr marL="0" indent="0">
              <a:spcBef>
                <a:spcPts val="0"/>
              </a:spcBef>
              <a:buNone/>
              <a:defRPr sz="2000">
                <a:solidFill>
                  <a:srgbClr val="724D8D"/>
                </a:solidFill>
              </a:defRPr>
            </a:lvl4pPr>
            <a:lvl5pPr marL="0" indent="0">
              <a:spcBef>
                <a:spcPts val="0"/>
              </a:spcBef>
              <a:buNone/>
              <a:defRPr sz="2000">
                <a:solidFill>
                  <a:srgbClr val="724D8D"/>
                </a:solidFill>
              </a:defRPr>
            </a:lvl5pPr>
            <a:lvl6pPr marL="0" indent="0">
              <a:spcBef>
                <a:spcPts val="0"/>
              </a:spcBef>
              <a:buNone/>
              <a:defRPr sz="2000">
                <a:solidFill>
                  <a:srgbClr val="724D8D"/>
                </a:solidFill>
              </a:defRPr>
            </a:lvl6pPr>
            <a:lvl7pPr marL="0" indent="0">
              <a:spcBef>
                <a:spcPts val="0"/>
              </a:spcBef>
              <a:buNone/>
              <a:defRPr sz="2000">
                <a:solidFill>
                  <a:srgbClr val="724D8D"/>
                </a:solidFill>
              </a:defRPr>
            </a:lvl7pPr>
            <a:lvl8pPr marL="0" indent="0">
              <a:spcBef>
                <a:spcPts val="0"/>
              </a:spcBef>
              <a:buNone/>
              <a:defRPr sz="2000">
                <a:solidFill>
                  <a:srgbClr val="724D8D"/>
                </a:solidFill>
              </a:defRPr>
            </a:lvl8pPr>
            <a:lvl9pPr marL="0" indent="0">
              <a:spcBef>
                <a:spcPts val="0"/>
              </a:spcBef>
              <a:buNone/>
              <a:defRPr sz="2000">
                <a:solidFill>
                  <a:srgbClr val="724D8D"/>
                </a:solidFill>
              </a:defRPr>
            </a:lvl9pPr>
          </a:lstStyle>
          <a:p>
            <a:pPr lvl="0"/>
            <a:r>
              <a:t>Click to add subtitle</a:t>
            </a:r>
          </a:p>
        </p:txBody>
      </p:sp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A18E98C8-CBF7-4423-80CA-BBA23E400588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628649" y="1664702"/>
            <a:ext cx="5486400" cy="4355097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t>Click to add text or choose an icon below to insert other content</a:t>
            </a:r>
          </a:p>
          <a:p>
            <a:pPr lvl="1"/>
            <a:r>
              <a:t>Second level</a:t>
            </a:r>
          </a:p>
          <a:p>
            <a:pPr lvl="2"/>
            <a:r>
              <a:t>Third level</a:t>
            </a:r>
          </a:p>
          <a:p>
            <a:pPr lvl="3"/>
            <a:r>
              <a:t>Fourth level</a:t>
            </a:r>
          </a:p>
          <a:p>
            <a:pPr lvl="4"/>
            <a:r>
              <a:t>Fifth level</a:t>
            </a:r>
          </a:p>
        </p:txBody>
      </p:sp>
      <p:sp>
        <p:nvSpPr>
          <p:cNvPr id="12" name="Content Placeholder 10">
            <a:extLst>
              <a:ext uri="{FF2B5EF4-FFF2-40B4-BE49-F238E27FC236}">
                <a16:creationId xmlns:a16="http://schemas.microsoft.com/office/drawing/2014/main" id="{77318A40-5974-4778-8EA2-5CB8991B7CB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6324599" y="1664702"/>
            <a:ext cx="5486400" cy="4355097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t>Click to add text or choose an icon below to insert other content</a:t>
            </a:r>
          </a:p>
          <a:p>
            <a:pPr lvl="1"/>
            <a:r>
              <a:t>Second level</a:t>
            </a:r>
          </a:p>
          <a:p>
            <a:pPr lvl="2"/>
            <a:r>
              <a:t>Third level</a:t>
            </a:r>
          </a:p>
          <a:p>
            <a:pPr lvl="3"/>
            <a:r>
              <a:t>Fourth level</a:t>
            </a:r>
          </a:p>
          <a:p>
            <a:pPr lvl="4"/>
            <a:r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9475369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BB2BD39-0025-4E14-A207-974EC0FD86D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775902" y="6563710"/>
            <a:ext cx="306083" cy="158953"/>
          </a:xfrm>
        </p:spPr>
        <p:txBody>
          <a:bodyPr/>
          <a:lstStyle/>
          <a:p>
            <a:fld id="{565A54F4-DB31-4FC5-B748-3F06867349C3}" type="slidenum">
              <a:rPr/>
              <a:t>‹N›</a:t>
            </a:fld>
            <a:endParaRPr dirty="0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0A593348-F93D-4FEF-A9B9-1AEA4A21A64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  <a:endParaRPr dirty="0"/>
          </a:p>
        </p:txBody>
      </p:sp>
      <p:sp>
        <p:nvSpPr>
          <p:cNvPr id="8" name="Graphic 2">
            <a:extLst>
              <a:ext uri="{FF2B5EF4-FFF2-40B4-BE49-F238E27FC236}">
                <a16:creationId xmlns:a16="http://schemas.microsoft.com/office/drawing/2014/main" id="{3F4417C1-E371-4E9F-B29D-4DBA4B5D05E1}"/>
              </a:ext>
            </a:extLst>
          </p:cNvPr>
          <p:cNvSpPr/>
          <p:nvPr userDrawn="1"/>
        </p:nvSpPr>
        <p:spPr>
          <a:xfrm>
            <a:off x="192485" y="6480313"/>
            <a:ext cx="10412567" cy="258418"/>
          </a:xfrm>
          <a:custGeom>
            <a:avLst/>
            <a:gdLst>
              <a:gd name="connsiteX0" fmla="*/ 7391400 w 7391400"/>
              <a:gd name="connsiteY0" fmla="*/ 45500 h 473512"/>
              <a:gd name="connsiteX1" fmla="*/ 7364837 w 7391400"/>
              <a:gd name="connsiteY1" fmla="*/ 40495 h 473512"/>
              <a:gd name="connsiteX2" fmla="*/ 6945606 w 7391400"/>
              <a:gd name="connsiteY2" fmla="*/ 20862 h 473512"/>
              <a:gd name="connsiteX3" fmla="*/ 5507363 w 7391400"/>
              <a:gd name="connsiteY3" fmla="*/ 50889 h 473512"/>
              <a:gd name="connsiteX4" fmla="*/ 4159587 w 7391400"/>
              <a:gd name="connsiteY4" fmla="*/ 73 h 473512"/>
              <a:gd name="connsiteX5" fmla="*/ 1666530 w 7391400"/>
              <a:gd name="connsiteY5" fmla="*/ 30486 h 473512"/>
              <a:gd name="connsiteX6" fmla="*/ 498535 w 7391400"/>
              <a:gd name="connsiteY6" fmla="*/ 31256 h 473512"/>
              <a:gd name="connsiteX7" fmla="*/ 169771 w 7391400"/>
              <a:gd name="connsiteY7" fmla="*/ 17012 h 473512"/>
              <a:gd name="connsiteX8" fmla="*/ 0 w 7391400"/>
              <a:gd name="connsiteY8" fmla="*/ 28561 h 473512"/>
              <a:gd name="connsiteX9" fmla="*/ 0 w 7391400"/>
              <a:gd name="connsiteY9" fmla="*/ 421614 h 473512"/>
              <a:gd name="connsiteX10" fmla="*/ 52741 w 7391400"/>
              <a:gd name="connsiteY10" fmla="*/ 433163 h 473512"/>
              <a:gd name="connsiteX11" fmla="*/ 471972 w 7391400"/>
              <a:gd name="connsiteY11" fmla="*/ 452797 h 473512"/>
              <a:gd name="connsiteX12" fmla="*/ 1910215 w 7391400"/>
              <a:gd name="connsiteY12" fmla="*/ 422769 h 473512"/>
              <a:gd name="connsiteX13" fmla="*/ 3257991 w 7391400"/>
              <a:gd name="connsiteY13" fmla="*/ 473585 h 473512"/>
              <a:gd name="connsiteX14" fmla="*/ 5750664 w 7391400"/>
              <a:gd name="connsiteY14" fmla="*/ 443173 h 473512"/>
              <a:gd name="connsiteX15" fmla="*/ 6918658 w 7391400"/>
              <a:gd name="connsiteY15" fmla="*/ 442403 h 473512"/>
              <a:gd name="connsiteX16" fmla="*/ 7247422 w 7391400"/>
              <a:gd name="connsiteY16" fmla="*/ 456262 h 473512"/>
              <a:gd name="connsiteX17" fmla="*/ 7391400 w 7391400"/>
              <a:gd name="connsiteY17" fmla="*/ 447792 h 473512"/>
              <a:gd name="connsiteX18" fmla="*/ 7391400 w 7391400"/>
              <a:gd name="connsiteY18" fmla="*/ 45500 h 4735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7391400" h="473512">
                <a:moveTo>
                  <a:pt x="7391400" y="45500"/>
                </a:moveTo>
                <a:cubicBezTo>
                  <a:pt x="7382931" y="43575"/>
                  <a:pt x="7374077" y="42035"/>
                  <a:pt x="7364837" y="40495"/>
                </a:cubicBezTo>
                <a:cubicBezTo>
                  <a:pt x="7248192" y="21246"/>
                  <a:pt x="7091125" y="20477"/>
                  <a:pt x="6945606" y="20862"/>
                </a:cubicBezTo>
                <a:cubicBezTo>
                  <a:pt x="6397411" y="21631"/>
                  <a:pt x="6055559" y="50889"/>
                  <a:pt x="5507363" y="50889"/>
                </a:cubicBezTo>
                <a:cubicBezTo>
                  <a:pt x="5113925" y="50889"/>
                  <a:pt x="4553796" y="-2237"/>
                  <a:pt x="4159587" y="73"/>
                </a:cubicBezTo>
                <a:cubicBezTo>
                  <a:pt x="3109393" y="5463"/>
                  <a:pt x="2715955" y="23171"/>
                  <a:pt x="1666530" y="30486"/>
                </a:cubicBezTo>
                <a:cubicBezTo>
                  <a:pt x="1497913" y="31641"/>
                  <a:pt x="665226" y="32411"/>
                  <a:pt x="498535" y="31256"/>
                </a:cubicBezTo>
                <a:cubicBezTo>
                  <a:pt x="393823" y="30486"/>
                  <a:pt x="269093" y="14702"/>
                  <a:pt x="169771" y="17012"/>
                </a:cubicBezTo>
                <a:cubicBezTo>
                  <a:pt x="100477" y="18552"/>
                  <a:pt x="44656" y="22401"/>
                  <a:pt x="0" y="28561"/>
                </a:cubicBezTo>
                <a:lnTo>
                  <a:pt x="0" y="421614"/>
                </a:lnTo>
                <a:cubicBezTo>
                  <a:pt x="16169" y="426234"/>
                  <a:pt x="33492" y="430084"/>
                  <a:pt x="52741" y="433163"/>
                </a:cubicBezTo>
                <a:cubicBezTo>
                  <a:pt x="169386" y="452412"/>
                  <a:pt x="326454" y="453182"/>
                  <a:pt x="471972" y="452797"/>
                </a:cubicBezTo>
                <a:cubicBezTo>
                  <a:pt x="1020167" y="452027"/>
                  <a:pt x="1362019" y="422769"/>
                  <a:pt x="1910215" y="422769"/>
                </a:cubicBezTo>
                <a:cubicBezTo>
                  <a:pt x="2303653" y="422769"/>
                  <a:pt x="2863783" y="475895"/>
                  <a:pt x="3257991" y="473585"/>
                </a:cubicBezTo>
                <a:cubicBezTo>
                  <a:pt x="4307801" y="468196"/>
                  <a:pt x="4701238" y="450102"/>
                  <a:pt x="5750664" y="443173"/>
                </a:cubicBezTo>
                <a:cubicBezTo>
                  <a:pt x="5919280" y="442018"/>
                  <a:pt x="6751967" y="441248"/>
                  <a:pt x="6918658" y="442403"/>
                </a:cubicBezTo>
                <a:cubicBezTo>
                  <a:pt x="7023370" y="443173"/>
                  <a:pt x="7148100" y="458571"/>
                  <a:pt x="7247422" y="456262"/>
                </a:cubicBezTo>
                <a:cubicBezTo>
                  <a:pt x="7304013" y="455107"/>
                  <a:pt x="7351748" y="452027"/>
                  <a:pt x="7391400" y="447792"/>
                </a:cubicBezTo>
                <a:lnTo>
                  <a:pt x="7391400" y="45500"/>
                </a:lnTo>
                <a:close/>
              </a:path>
            </a:pathLst>
          </a:custGeom>
          <a:solidFill>
            <a:srgbClr val="EAAB5E"/>
          </a:solidFill>
          <a:ln w="3850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1350" dirty="0"/>
          </a:p>
        </p:txBody>
      </p:sp>
      <p:sp>
        <p:nvSpPr>
          <p:cNvPr id="9" name="Graphic 2">
            <a:extLst>
              <a:ext uri="{FF2B5EF4-FFF2-40B4-BE49-F238E27FC236}">
                <a16:creationId xmlns:a16="http://schemas.microsoft.com/office/drawing/2014/main" id="{38A39F16-4359-492A-AAA0-6AC2E03981D5}"/>
              </a:ext>
            </a:extLst>
          </p:cNvPr>
          <p:cNvSpPr/>
          <p:nvPr userDrawn="1"/>
        </p:nvSpPr>
        <p:spPr>
          <a:xfrm>
            <a:off x="152400" y="122585"/>
            <a:ext cx="11770914" cy="304798"/>
          </a:xfrm>
          <a:custGeom>
            <a:avLst/>
            <a:gdLst>
              <a:gd name="connsiteX0" fmla="*/ 7391400 w 7391400"/>
              <a:gd name="connsiteY0" fmla="*/ 45500 h 473512"/>
              <a:gd name="connsiteX1" fmla="*/ 7364837 w 7391400"/>
              <a:gd name="connsiteY1" fmla="*/ 40495 h 473512"/>
              <a:gd name="connsiteX2" fmla="*/ 6945606 w 7391400"/>
              <a:gd name="connsiteY2" fmla="*/ 20862 h 473512"/>
              <a:gd name="connsiteX3" fmla="*/ 5507363 w 7391400"/>
              <a:gd name="connsiteY3" fmla="*/ 50889 h 473512"/>
              <a:gd name="connsiteX4" fmla="*/ 4159587 w 7391400"/>
              <a:gd name="connsiteY4" fmla="*/ 73 h 473512"/>
              <a:gd name="connsiteX5" fmla="*/ 1666530 w 7391400"/>
              <a:gd name="connsiteY5" fmla="*/ 30486 h 473512"/>
              <a:gd name="connsiteX6" fmla="*/ 498535 w 7391400"/>
              <a:gd name="connsiteY6" fmla="*/ 31256 h 473512"/>
              <a:gd name="connsiteX7" fmla="*/ 169771 w 7391400"/>
              <a:gd name="connsiteY7" fmla="*/ 17012 h 473512"/>
              <a:gd name="connsiteX8" fmla="*/ 0 w 7391400"/>
              <a:gd name="connsiteY8" fmla="*/ 28561 h 473512"/>
              <a:gd name="connsiteX9" fmla="*/ 0 w 7391400"/>
              <a:gd name="connsiteY9" fmla="*/ 421614 h 473512"/>
              <a:gd name="connsiteX10" fmla="*/ 52741 w 7391400"/>
              <a:gd name="connsiteY10" fmla="*/ 433163 h 473512"/>
              <a:gd name="connsiteX11" fmla="*/ 471972 w 7391400"/>
              <a:gd name="connsiteY11" fmla="*/ 452797 h 473512"/>
              <a:gd name="connsiteX12" fmla="*/ 1910215 w 7391400"/>
              <a:gd name="connsiteY12" fmla="*/ 422769 h 473512"/>
              <a:gd name="connsiteX13" fmla="*/ 3257991 w 7391400"/>
              <a:gd name="connsiteY13" fmla="*/ 473585 h 473512"/>
              <a:gd name="connsiteX14" fmla="*/ 5750664 w 7391400"/>
              <a:gd name="connsiteY14" fmla="*/ 443173 h 473512"/>
              <a:gd name="connsiteX15" fmla="*/ 6918658 w 7391400"/>
              <a:gd name="connsiteY15" fmla="*/ 442403 h 473512"/>
              <a:gd name="connsiteX16" fmla="*/ 7247422 w 7391400"/>
              <a:gd name="connsiteY16" fmla="*/ 456262 h 473512"/>
              <a:gd name="connsiteX17" fmla="*/ 7391400 w 7391400"/>
              <a:gd name="connsiteY17" fmla="*/ 447792 h 473512"/>
              <a:gd name="connsiteX18" fmla="*/ 7391400 w 7391400"/>
              <a:gd name="connsiteY18" fmla="*/ 45500 h 4735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7391400" h="473512">
                <a:moveTo>
                  <a:pt x="7391400" y="45500"/>
                </a:moveTo>
                <a:cubicBezTo>
                  <a:pt x="7382931" y="43575"/>
                  <a:pt x="7374077" y="42035"/>
                  <a:pt x="7364837" y="40495"/>
                </a:cubicBezTo>
                <a:cubicBezTo>
                  <a:pt x="7248192" y="21246"/>
                  <a:pt x="7091125" y="20477"/>
                  <a:pt x="6945606" y="20862"/>
                </a:cubicBezTo>
                <a:cubicBezTo>
                  <a:pt x="6397411" y="21631"/>
                  <a:pt x="6055559" y="50889"/>
                  <a:pt x="5507363" y="50889"/>
                </a:cubicBezTo>
                <a:cubicBezTo>
                  <a:pt x="5113925" y="50889"/>
                  <a:pt x="4553796" y="-2237"/>
                  <a:pt x="4159587" y="73"/>
                </a:cubicBezTo>
                <a:cubicBezTo>
                  <a:pt x="3109393" y="5463"/>
                  <a:pt x="2715955" y="23171"/>
                  <a:pt x="1666530" y="30486"/>
                </a:cubicBezTo>
                <a:cubicBezTo>
                  <a:pt x="1497913" y="31641"/>
                  <a:pt x="665226" y="32411"/>
                  <a:pt x="498535" y="31256"/>
                </a:cubicBezTo>
                <a:cubicBezTo>
                  <a:pt x="393823" y="30486"/>
                  <a:pt x="269093" y="14702"/>
                  <a:pt x="169771" y="17012"/>
                </a:cubicBezTo>
                <a:cubicBezTo>
                  <a:pt x="100477" y="18552"/>
                  <a:pt x="44656" y="22401"/>
                  <a:pt x="0" y="28561"/>
                </a:cubicBezTo>
                <a:lnTo>
                  <a:pt x="0" y="421614"/>
                </a:lnTo>
                <a:cubicBezTo>
                  <a:pt x="16169" y="426234"/>
                  <a:pt x="33492" y="430084"/>
                  <a:pt x="52741" y="433163"/>
                </a:cubicBezTo>
                <a:cubicBezTo>
                  <a:pt x="169386" y="452412"/>
                  <a:pt x="326454" y="453182"/>
                  <a:pt x="471972" y="452797"/>
                </a:cubicBezTo>
                <a:cubicBezTo>
                  <a:pt x="1020167" y="452027"/>
                  <a:pt x="1362019" y="422769"/>
                  <a:pt x="1910215" y="422769"/>
                </a:cubicBezTo>
                <a:cubicBezTo>
                  <a:pt x="2303653" y="422769"/>
                  <a:pt x="2863783" y="475895"/>
                  <a:pt x="3257991" y="473585"/>
                </a:cubicBezTo>
                <a:cubicBezTo>
                  <a:pt x="4307801" y="468196"/>
                  <a:pt x="4701238" y="450102"/>
                  <a:pt x="5750664" y="443173"/>
                </a:cubicBezTo>
                <a:cubicBezTo>
                  <a:pt x="5919280" y="442018"/>
                  <a:pt x="6751967" y="441248"/>
                  <a:pt x="6918658" y="442403"/>
                </a:cubicBezTo>
                <a:cubicBezTo>
                  <a:pt x="7023370" y="443173"/>
                  <a:pt x="7148100" y="458571"/>
                  <a:pt x="7247422" y="456262"/>
                </a:cubicBezTo>
                <a:cubicBezTo>
                  <a:pt x="7304013" y="455107"/>
                  <a:pt x="7351748" y="452027"/>
                  <a:pt x="7391400" y="447792"/>
                </a:cubicBezTo>
                <a:lnTo>
                  <a:pt x="7391400" y="45500"/>
                </a:lnTo>
                <a:close/>
              </a:path>
            </a:pathLst>
          </a:custGeom>
          <a:solidFill>
            <a:srgbClr val="957AA9"/>
          </a:solidFill>
          <a:ln w="3850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1350" dirty="0"/>
          </a:p>
        </p:txBody>
      </p:sp>
    </p:spTree>
    <p:extLst>
      <p:ext uri="{BB962C8B-B14F-4D97-AF65-F5344CB8AC3E}">
        <p14:creationId xmlns:p14="http://schemas.microsoft.com/office/powerpoint/2010/main" val="5728566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D7533635-B1C4-457F-B4C4-D0F7EFBF08C3}"/>
              </a:ext>
            </a:extLst>
          </p:cNvPr>
          <p:cNvSpPr/>
          <p:nvPr/>
        </p:nvSpPr>
        <p:spPr bwMode="ltGray">
          <a:xfrm>
            <a:off x="10462371" y="5974804"/>
            <a:ext cx="1585477" cy="883197"/>
          </a:xfrm>
          <a:custGeom>
            <a:avLst/>
            <a:gdLst>
              <a:gd name="connsiteX0" fmla="*/ 838774 w 1585477"/>
              <a:gd name="connsiteY0" fmla="*/ 14 h 883197"/>
              <a:gd name="connsiteX1" fmla="*/ 996107 w 1585477"/>
              <a:gd name="connsiteY1" fmla="*/ 18377 h 883197"/>
              <a:gd name="connsiteX2" fmla="*/ 1585477 w 1585477"/>
              <a:gd name="connsiteY2" fmla="*/ 746145 h 883197"/>
              <a:gd name="connsiteX3" fmla="*/ 1585202 w 1585477"/>
              <a:gd name="connsiteY3" fmla="*/ 883197 h 883197"/>
              <a:gd name="connsiteX4" fmla="*/ 695 w 1585477"/>
              <a:gd name="connsiteY4" fmla="*/ 883197 h 883197"/>
              <a:gd name="connsiteX5" fmla="*/ 294 w 1585477"/>
              <a:gd name="connsiteY5" fmla="*/ 879328 h 883197"/>
              <a:gd name="connsiteX6" fmla="*/ 20167 w 1585477"/>
              <a:gd name="connsiteY6" fmla="*/ 648487 h 883197"/>
              <a:gd name="connsiteX7" fmla="*/ 838774 w 1585477"/>
              <a:gd name="connsiteY7" fmla="*/ 14 h 8831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585477" h="883197">
                <a:moveTo>
                  <a:pt x="838774" y="14"/>
                </a:moveTo>
                <a:cubicBezTo>
                  <a:pt x="891699" y="335"/>
                  <a:pt x="944452" y="6288"/>
                  <a:pt x="996107" y="18377"/>
                </a:cubicBezTo>
                <a:cubicBezTo>
                  <a:pt x="1344865" y="100437"/>
                  <a:pt x="1558993" y="409128"/>
                  <a:pt x="1585477" y="746145"/>
                </a:cubicBezTo>
                <a:lnTo>
                  <a:pt x="1585202" y="883197"/>
                </a:lnTo>
                <a:lnTo>
                  <a:pt x="695" y="883197"/>
                </a:lnTo>
                <a:lnTo>
                  <a:pt x="294" y="879328"/>
                </a:lnTo>
                <a:cubicBezTo>
                  <a:pt x="-1813" y="797038"/>
                  <a:pt x="7712" y="718092"/>
                  <a:pt x="20167" y="648487"/>
                </a:cubicBezTo>
                <a:cubicBezTo>
                  <a:pt x="89408" y="271519"/>
                  <a:pt x="468297" y="-2229"/>
                  <a:pt x="838774" y="14"/>
                </a:cubicBezTo>
                <a:close/>
              </a:path>
            </a:pathLst>
          </a:custGeom>
          <a:solidFill>
            <a:srgbClr val="4F2170"/>
          </a:solidFill>
          <a:ln w="9525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>
              <a:lnSpc>
                <a:spcPct val="90000"/>
              </a:lnSpc>
            </a:pPr>
            <a:endParaRPr dirty="0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B813CEC-1B8A-4FB0-9276-0170AED9E37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A994A90-D491-44FB-9802-5BF47DE84FD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055389" y="6307159"/>
            <a:ext cx="914400" cy="158954"/>
          </a:xfrm>
          <a:prstGeom prst="rect">
            <a:avLst/>
          </a:prstGeom>
        </p:spPr>
        <p:txBody>
          <a:bodyPr/>
          <a:lstStyle/>
          <a:p>
            <a:fld id="{2EB1475D-EF5B-48A6-8CCB-3BD08F726926}" type="datetimeFigureOut">
              <a:rPr lang="en-US"/>
              <a:pPr/>
              <a:t>3/17/2025</a:t>
            </a:fld>
            <a:endParaRPr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07A821A-79DC-41C0-A300-2B368D9926E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32534" y="6307159"/>
            <a:ext cx="7104770" cy="158954"/>
          </a:xfrm>
          <a:prstGeom prst="rect">
            <a:avLst/>
          </a:prstGeom>
        </p:spPr>
        <p:txBody>
          <a:bodyPr/>
          <a:lstStyle/>
          <a:p>
            <a:endParaRPr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49FD507-7645-49CA-AA88-72717BAD31E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5A54F4-DB31-4FC5-B748-3F06867349C3}" type="slidenum">
              <a:rPr/>
              <a:pPr/>
              <a:t>‹N›</a:t>
            </a:fld>
            <a:endParaRPr dirty="0"/>
          </a:p>
        </p:txBody>
      </p:sp>
      <p:sp>
        <p:nvSpPr>
          <p:cNvPr id="8" name="Text Placeholder 53">
            <a:extLst>
              <a:ext uri="{FF2B5EF4-FFF2-40B4-BE49-F238E27FC236}">
                <a16:creationId xmlns:a16="http://schemas.microsoft.com/office/drawing/2014/main" id="{B420C7EB-E753-4F7B-AEA6-BF83E3F3712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1000" y="731530"/>
            <a:ext cx="11429998" cy="365739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2000">
                <a:solidFill>
                  <a:srgbClr val="724D8D"/>
                </a:solidFill>
              </a:defRPr>
            </a:lvl1pPr>
            <a:lvl2pPr marL="0" indent="0">
              <a:spcBef>
                <a:spcPts val="0"/>
              </a:spcBef>
              <a:buNone/>
              <a:defRPr sz="2000">
                <a:solidFill>
                  <a:srgbClr val="724D8D"/>
                </a:solidFill>
              </a:defRPr>
            </a:lvl2pPr>
            <a:lvl3pPr marL="0" indent="0">
              <a:spcBef>
                <a:spcPts val="0"/>
              </a:spcBef>
              <a:buNone/>
              <a:defRPr sz="2000">
                <a:solidFill>
                  <a:srgbClr val="724D8D"/>
                </a:solidFill>
              </a:defRPr>
            </a:lvl3pPr>
            <a:lvl4pPr marL="0" indent="0">
              <a:spcBef>
                <a:spcPts val="0"/>
              </a:spcBef>
              <a:buNone/>
              <a:defRPr sz="2000">
                <a:solidFill>
                  <a:srgbClr val="724D8D"/>
                </a:solidFill>
              </a:defRPr>
            </a:lvl4pPr>
            <a:lvl5pPr marL="0" indent="0">
              <a:spcBef>
                <a:spcPts val="0"/>
              </a:spcBef>
              <a:buNone/>
              <a:defRPr sz="2000">
                <a:solidFill>
                  <a:srgbClr val="724D8D"/>
                </a:solidFill>
              </a:defRPr>
            </a:lvl5pPr>
            <a:lvl6pPr marL="0" indent="0">
              <a:spcBef>
                <a:spcPts val="0"/>
              </a:spcBef>
              <a:buNone/>
              <a:defRPr sz="2000">
                <a:solidFill>
                  <a:srgbClr val="724D8D"/>
                </a:solidFill>
              </a:defRPr>
            </a:lvl6pPr>
            <a:lvl7pPr marL="0" indent="0">
              <a:spcBef>
                <a:spcPts val="0"/>
              </a:spcBef>
              <a:buNone/>
              <a:defRPr sz="2000">
                <a:solidFill>
                  <a:srgbClr val="724D8D"/>
                </a:solidFill>
              </a:defRPr>
            </a:lvl7pPr>
            <a:lvl8pPr marL="0" indent="0">
              <a:spcBef>
                <a:spcPts val="0"/>
              </a:spcBef>
              <a:buNone/>
              <a:defRPr sz="2000">
                <a:solidFill>
                  <a:srgbClr val="724D8D"/>
                </a:solidFill>
              </a:defRPr>
            </a:lvl8pPr>
            <a:lvl9pPr marL="0" indent="0">
              <a:spcBef>
                <a:spcPts val="0"/>
              </a:spcBef>
              <a:buNone/>
              <a:defRPr sz="2000">
                <a:solidFill>
                  <a:srgbClr val="724D8D"/>
                </a:solidFill>
              </a:defRPr>
            </a:lvl9pPr>
          </a:lstStyle>
          <a:p>
            <a:pPr lvl="0"/>
            <a:r>
              <a:t>Click to add subtitle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95A0AFF1-9E54-421B-AC34-EAFAF90112DD}"/>
              </a:ext>
            </a:extLst>
          </p:cNvPr>
          <p:cNvGrpSpPr>
            <a:grpSpLocks noChangeAspect="1"/>
          </p:cNvGrpSpPr>
          <p:nvPr/>
        </p:nvGrpSpPr>
        <p:grpSpPr>
          <a:xfrm>
            <a:off x="10676779" y="6205751"/>
            <a:ext cx="1143000" cy="440144"/>
            <a:chOff x="2078951" y="1888610"/>
            <a:chExt cx="8030200" cy="3092248"/>
          </a:xfrm>
          <a:solidFill>
            <a:srgbClr val="FFFFFF"/>
          </a:solidFill>
        </p:grpSpPr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0BFDC3F4-CA3C-4FC2-92DD-3CADF4989447}"/>
                </a:ext>
              </a:extLst>
            </p:cNvPr>
            <p:cNvSpPr/>
            <p:nvPr/>
          </p:nvSpPr>
          <p:spPr>
            <a:xfrm>
              <a:off x="2078951" y="2872694"/>
              <a:ext cx="951880" cy="652717"/>
            </a:xfrm>
            <a:custGeom>
              <a:avLst/>
              <a:gdLst>
                <a:gd name="connsiteX0" fmla="*/ 903041 w 951880"/>
                <a:gd name="connsiteY0" fmla="*/ 330574 h 652717"/>
                <a:gd name="connsiteX1" fmla="*/ 780656 w 951880"/>
                <a:gd name="connsiteY1" fmla="*/ 379528 h 652717"/>
                <a:gd name="connsiteX2" fmla="*/ 598439 w 951880"/>
                <a:gd name="connsiteY2" fmla="*/ 311537 h 652717"/>
                <a:gd name="connsiteX3" fmla="*/ 505970 w 951880"/>
                <a:gd name="connsiteY3" fmla="*/ 164675 h 652717"/>
                <a:gd name="connsiteX4" fmla="*/ 266640 w 951880"/>
                <a:gd name="connsiteY4" fmla="*/ 61329 h 652717"/>
                <a:gd name="connsiteX5" fmla="*/ 103461 w 951880"/>
                <a:gd name="connsiteY5" fmla="*/ 458398 h 652717"/>
                <a:gd name="connsiteX6" fmla="*/ 756179 w 951880"/>
                <a:gd name="connsiteY6" fmla="*/ 485595 h 652717"/>
                <a:gd name="connsiteX7" fmla="*/ 903041 w 951880"/>
                <a:gd name="connsiteY7" fmla="*/ 330574 h 6527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51880" h="652717">
                  <a:moveTo>
                    <a:pt x="903041" y="330574"/>
                  </a:moveTo>
                  <a:cubicBezTo>
                    <a:pt x="867685" y="363210"/>
                    <a:pt x="813292" y="374089"/>
                    <a:pt x="780656" y="379528"/>
                  </a:cubicBezTo>
                  <a:cubicBezTo>
                    <a:pt x="712664" y="387687"/>
                    <a:pt x="641953" y="365930"/>
                    <a:pt x="598439" y="311537"/>
                  </a:cubicBezTo>
                  <a:cubicBezTo>
                    <a:pt x="563083" y="268022"/>
                    <a:pt x="544046" y="210910"/>
                    <a:pt x="505970" y="164675"/>
                  </a:cubicBezTo>
                  <a:cubicBezTo>
                    <a:pt x="448858" y="93964"/>
                    <a:pt x="359109" y="45011"/>
                    <a:pt x="266640" y="61329"/>
                  </a:cubicBezTo>
                  <a:cubicBezTo>
                    <a:pt x="81704" y="93964"/>
                    <a:pt x="114" y="308817"/>
                    <a:pt x="103461" y="458398"/>
                  </a:cubicBezTo>
                  <a:cubicBezTo>
                    <a:pt x="253042" y="670531"/>
                    <a:pt x="584840" y="635176"/>
                    <a:pt x="756179" y="485595"/>
                  </a:cubicBezTo>
                  <a:cubicBezTo>
                    <a:pt x="813292" y="442080"/>
                    <a:pt x="862246" y="390407"/>
                    <a:pt x="903041" y="330574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637DBEEE-CF7F-4D1F-849D-928BA82EC93B}"/>
                </a:ext>
              </a:extLst>
            </p:cNvPr>
            <p:cNvSpPr/>
            <p:nvPr/>
          </p:nvSpPr>
          <p:spPr>
            <a:xfrm>
              <a:off x="9151831" y="2872694"/>
              <a:ext cx="951880" cy="652717"/>
            </a:xfrm>
            <a:custGeom>
              <a:avLst/>
              <a:gdLst>
                <a:gd name="connsiteX0" fmla="*/ 58178 w 951880"/>
                <a:gd name="connsiteY0" fmla="*/ 330574 h 652717"/>
                <a:gd name="connsiteX1" fmla="*/ 180563 w 951880"/>
                <a:gd name="connsiteY1" fmla="*/ 379528 h 652717"/>
                <a:gd name="connsiteX2" fmla="*/ 362780 w 951880"/>
                <a:gd name="connsiteY2" fmla="*/ 311537 h 652717"/>
                <a:gd name="connsiteX3" fmla="*/ 455249 w 951880"/>
                <a:gd name="connsiteY3" fmla="*/ 164675 h 652717"/>
                <a:gd name="connsiteX4" fmla="*/ 694578 w 951880"/>
                <a:gd name="connsiteY4" fmla="*/ 61329 h 652717"/>
                <a:gd name="connsiteX5" fmla="*/ 857758 w 951880"/>
                <a:gd name="connsiteY5" fmla="*/ 458398 h 652717"/>
                <a:gd name="connsiteX6" fmla="*/ 205040 w 951880"/>
                <a:gd name="connsiteY6" fmla="*/ 485595 h 652717"/>
                <a:gd name="connsiteX7" fmla="*/ 58178 w 951880"/>
                <a:gd name="connsiteY7" fmla="*/ 330574 h 6527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51880" h="652717">
                  <a:moveTo>
                    <a:pt x="58178" y="330574"/>
                  </a:moveTo>
                  <a:cubicBezTo>
                    <a:pt x="96253" y="363210"/>
                    <a:pt x="147927" y="374089"/>
                    <a:pt x="180563" y="379528"/>
                  </a:cubicBezTo>
                  <a:cubicBezTo>
                    <a:pt x="248554" y="387687"/>
                    <a:pt x="319266" y="365930"/>
                    <a:pt x="362780" y="311537"/>
                  </a:cubicBezTo>
                  <a:cubicBezTo>
                    <a:pt x="398136" y="268022"/>
                    <a:pt x="417174" y="210910"/>
                    <a:pt x="455249" y="164675"/>
                  </a:cubicBezTo>
                  <a:cubicBezTo>
                    <a:pt x="512362" y="93964"/>
                    <a:pt x="602110" y="45011"/>
                    <a:pt x="694578" y="61329"/>
                  </a:cubicBezTo>
                  <a:cubicBezTo>
                    <a:pt x="879515" y="93964"/>
                    <a:pt x="961105" y="308817"/>
                    <a:pt x="857758" y="458398"/>
                  </a:cubicBezTo>
                  <a:cubicBezTo>
                    <a:pt x="708176" y="670531"/>
                    <a:pt x="376379" y="635176"/>
                    <a:pt x="205040" y="485595"/>
                  </a:cubicBezTo>
                  <a:cubicBezTo>
                    <a:pt x="150646" y="442080"/>
                    <a:pt x="101693" y="390407"/>
                    <a:pt x="58178" y="330574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BB2F70EF-E943-4F09-9AF2-6BD9CAD5CB3A}"/>
                </a:ext>
              </a:extLst>
            </p:cNvPr>
            <p:cNvSpPr/>
            <p:nvPr/>
          </p:nvSpPr>
          <p:spPr>
            <a:xfrm>
              <a:off x="8001294" y="2010994"/>
              <a:ext cx="734308" cy="299162"/>
            </a:xfrm>
            <a:custGeom>
              <a:avLst/>
              <a:gdLst>
                <a:gd name="connsiteX0" fmla="*/ 596792 w 734307"/>
                <a:gd name="connsiteY0" fmla="*/ 58178 h 299162"/>
                <a:gd name="connsiteX1" fmla="*/ 148048 w 734307"/>
                <a:gd name="connsiteY1" fmla="*/ 58178 h 299162"/>
                <a:gd name="connsiteX2" fmla="*/ 58299 w 734307"/>
                <a:gd name="connsiteY2" fmla="*/ 150646 h 299162"/>
                <a:gd name="connsiteX3" fmla="*/ 148048 w 734307"/>
                <a:gd name="connsiteY3" fmla="*/ 251274 h 299162"/>
                <a:gd name="connsiteX4" fmla="*/ 596792 w 734307"/>
                <a:gd name="connsiteY4" fmla="*/ 251274 h 299162"/>
                <a:gd name="connsiteX5" fmla="*/ 686541 w 734307"/>
                <a:gd name="connsiteY5" fmla="*/ 158805 h 299162"/>
                <a:gd name="connsiteX6" fmla="*/ 596792 w 734307"/>
                <a:gd name="connsiteY6" fmla="*/ 58178 h 2991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34307" h="299162">
                  <a:moveTo>
                    <a:pt x="596792" y="58178"/>
                  </a:moveTo>
                  <a:cubicBezTo>
                    <a:pt x="591353" y="58178"/>
                    <a:pt x="153487" y="58178"/>
                    <a:pt x="148048" y="58178"/>
                  </a:cubicBezTo>
                  <a:cubicBezTo>
                    <a:pt x="99094" y="60898"/>
                    <a:pt x="61019" y="104412"/>
                    <a:pt x="58299" y="150646"/>
                  </a:cubicBezTo>
                  <a:cubicBezTo>
                    <a:pt x="55580" y="199600"/>
                    <a:pt x="99094" y="248554"/>
                    <a:pt x="148048" y="251274"/>
                  </a:cubicBezTo>
                  <a:cubicBezTo>
                    <a:pt x="153487" y="251274"/>
                    <a:pt x="591353" y="251274"/>
                    <a:pt x="596792" y="251274"/>
                  </a:cubicBezTo>
                  <a:cubicBezTo>
                    <a:pt x="645746" y="248554"/>
                    <a:pt x="683821" y="205040"/>
                    <a:pt x="686541" y="158805"/>
                  </a:cubicBezTo>
                  <a:cubicBezTo>
                    <a:pt x="689260" y="109852"/>
                    <a:pt x="648465" y="60898"/>
                    <a:pt x="596792" y="58178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87C3E69A-2B35-4A55-B991-C0C039AFB0CE}"/>
                </a:ext>
              </a:extLst>
            </p:cNvPr>
            <p:cNvSpPr/>
            <p:nvPr/>
          </p:nvSpPr>
          <p:spPr>
            <a:xfrm>
              <a:off x="4920042" y="2277520"/>
              <a:ext cx="1006274" cy="951879"/>
            </a:xfrm>
            <a:custGeom>
              <a:avLst/>
              <a:gdLst>
                <a:gd name="connsiteX0" fmla="*/ 884954 w 1006273"/>
                <a:gd name="connsiteY0" fmla="*/ 746251 h 951879"/>
                <a:gd name="connsiteX1" fmla="*/ 874076 w 1006273"/>
                <a:gd name="connsiteY1" fmla="*/ 670101 h 951879"/>
                <a:gd name="connsiteX2" fmla="*/ 874076 w 1006273"/>
                <a:gd name="connsiteY2" fmla="*/ 536837 h 951879"/>
                <a:gd name="connsiteX3" fmla="*/ 689139 w 1006273"/>
                <a:gd name="connsiteY3" fmla="*/ 88094 h 951879"/>
                <a:gd name="connsiteX4" fmla="*/ 428052 w 1006273"/>
                <a:gd name="connsiteY4" fmla="*/ 253993 h 951879"/>
                <a:gd name="connsiteX5" fmla="*/ 196881 w 1006273"/>
                <a:gd name="connsiteY5" fmla="*/ 58178 h 951879"/>
                <a:gd name="connsiteX6" fmla="*/ 58178 w 1006273"/>
                <a:gd name="connsiteY6" fmla="*/ 128889 h 951879"/>
                <a:gd name="connsiteX7" fmla="*/ 142488 w 1006273"/>
                <a:gd name="connsiteY7" fmla="*/ 273031 h 951879"/>
                <a:gd name="connsiteX8" fmla="*/ 142488 w 1006273"/>
                <a:gd name="connsiteY8" fmla="*/ 757130 h 951879"/>
                <a:gd name="connsiteX9" fmla="*/ 283910 w 1006273"/>
                <a:gd name="connsiteY9" fmla="*/ 895832 h 951879"/>
                <a:gd name="connsiteX10" fmla="*/ 428052 w 1006273"/>
                <a:gd name="connsiteY10" fmla="*/ 757130 h 951879"/>
                <a:gd name="connsiteX11" fmla="*/ 428052 w 1006273"/>
                <a:gd name="connsiteY11" fmla="*/ 400855 h 951879"/>
                <a:gd name="connsiteX12" fmla="*/ 523240 w 1006273"/>
                <a:gd name="connsiteY12" fmla="*/ 283910 h 951879"/>
                <a:gd name="connsiteX13" fmla="*/ 591231 w 1006273"/>
                <a:gd name="connsiteY13" fmla="*/ 354621 h 951879"/>
                <a:gd name="connsiteX14" fmla="*/ 591231 w 1006273"/>
                <a:gd name="connsiteY14" fmla="*/ 697297 h 951879"/>
                <a:gd name="connsiteX15" fmla="*/ 593951 w 1006273"/>
                <a:gd name="connsiteY15" fmla="*/ 729933 h 951879"/>
                <a:gd name="connsiteX16" fmla="*/ 610269 w 1006273"/>
                <a:gd name="connsiteY16" fmla="*/ 778887 h 951879"/>
                <a:gd name="connsiteX17" fmla="*/ 822402 w 1006273"/>
                <a:gd name="connsiteY17" fmla="*/ 893112 h 951879"/>
                <a:gd name="connsiteX18" fmla="*/ 961105 w 1006273"/>
                <a:gd name="connsiteY18" fmla="*/ 822401 h 951879"/>
                <a:gd name="connsiteX19" fmla="*/ 884954 w 1006273"/>
                <a:gd name="connsiteY19" fmla="*/ 746251 h 9518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006273" h="951879">
                  <a:moveTo>
                    <a:pt x="884954" y="746251"/>
                  </a:moveTo>
                  <a:cubicBezTo>
                    <a:pt x="879515" y="721774"/>
                    <a:pt x="876795" y="694578"/>
                    <a:pt x="874076" y="670101"/>
                  </a:cubicBezTo>
                  <a:cubicBezTo>
                    <a:pt x="874076" y="634745"/>
                    <a:pt x="874076" y="583072"/>
                    <a:pt x="874076" y="536837"/>
                  </a:cubicBezTo>
                  <a:cubicBezTo>
                    <a:pt x="879515" y="373658"/>
                    <a:pt x="909431" y="88094"/>
                    <a:pt x="689139" y="88094"/>
                  </a:cubicBezTo>
                  <a:cubicBezTo>
                    <a:pt x="539558" y="88094"/>
                    <a:pt x="452529" y="213199"/>
                    <a:pt x="428052" y="253993"/>
                  </a:cubicBezTo>
                  <a:cubicBezTo>
                    <a:pt x="425332" y="139768"/>
                    <a:pt x="335583" y="58178"/>
                    <a:pt x="196881" y="58178"/>
                  </a:cubicBezTo>
                  <a:cubicBezTo>
                    <a:pt x="109852" y="58178"/>
                    <a:pt x="58178" y="128889"/>
                    <a:pt x="58178" y="128889"/>
                  </a:cubicBezTo>
                  <a:cubicBezTo>
                    <a:pt x="58178" y="128889"/>
                    <a:pt x="142488" y="158805"/>
                    <a:pt x="142488" y="273031"/>
                  </a:cubicBezTo>
                  <a:cubicBezTo>
                    <a:pt x="142488" y="354621"/>
                    <a:pt x="142488" y="757130"/>
                    <a:pt x="142488" y="757130"/>
                  </a:cubicBezTo>
                  <a:cubicBezTo>
                    <a:pt x="145207" y="827841"/>
                    <a:pt x="194161" y="895832"/>
                    <a:pt x="283910" y="895832"/>
                  </a:cubicBezTo>
                  <a:cubicBezTo>
                    <a:pt x="373659" y="895832"/>
                    <a:pt x="428052" y="827841"/>
                    <a:pt x="428052" y="757130"/>
                  </a:cubicBezTo>
                  <a:lnTo>
                    <a:pt x="428052" y="400855"/>
                  </a:lnTo>
                  <a:cubicBezTo>
                    <a:pt x="441650" y="343742"/>
                    <a:pt x="474286" y="283910"/>
                    <a:pt x="523240" y="283910"/>
                  </a:cubicBezTo>
                  <a:cubicBezTo>
                    <a:pt x="585792" y="283910"/>
                    <a:pt x="591231" y="354621"/>
                    <a:pt x="591231" y="354621"/>
                  </a:cubicBezTo>
                  <a:lnTo>
                    <a:pt x="591231" y="697297"/>
                  </a:lnTo>
                  <a:cubicBezTo>
                    <a:pt x="591231" y="708176"/>
                    <a:pt x="593951" y="719054"/>
                    <a:pt x="593951" y="729933"/>
                  </a:cubicBezTo>
                  <a:cubicBezTo>
                    <a:pt x="596671" y="748971"/>
                    <a:pt x="602110" y="765289"/>
                    <a:pt x="610269" y="778887"/>
                  </a:cubicBezTo>
                  <a:cubicBezTo>
                    <a:pt x="645624" y="846878"/>
                    <a:pt x="719055" y="893112"/>
                    <a:pt x="822402" y="893112"/>
                  </a:cubicBezTo>
                  <a:cubicBezTo>
                    <a:pt x="909431" y="893112"/>
                    <a:pt x="961105" y="822401"/>
                    <a:pt x="961105" y="822401"/>
                  </a:cubicBezTo>
                  <a:cubicBezTo>
                    <a:pt x="961105" y="822401"/>
                    <a:pt x="909431" y="808803"/>
                    <a:pt x="884954" y="746251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11AF4A2B-A30E-4897-8EDC-C99DE54C2936}"/>
                </a:ext>
              </a:extLst>
            </p:cNvPr>
            <p:cNvSpPr/>
            <p:nvPr/>
          </p:nvSpPr>
          <p:spPr>
            <a:xfrm>
              <a:off x="7552331" y="1888610"/>
              <a:ext cx="489539" cy="1332631"/>
            </a:xfrm>
            <a:custGeom>
              <a:avLst/>
              <a:gdLst>
                <a:gd name="connsiteX0" fmla="*/ 368560 w 489538"/>
                <a:gd name="connsiteY0" fmla="*/ 1135162 h 1332630"/>
                <a:gd name="connsiteX1" fmla="*/ 357681 w 489538"/>
                <a:gd name="connsiteY1" fmla="*/ 1059011 h 1332630"/>
                <a:gd name="connsiteX2" fmla="*/ 357681 w 489538"/>
                <a:gd name="connsiteY2" fmla="*/ 207759 h 1332630"/>
                <a:gd name="connsiteX3" fmla="*/ 208099 w 489538"/>
                <a:gd name="connsiteY3" fmla="*/ 58178 h 1332630"/>
                <a:gd name="connsiteX4" fmla="*/ 58518 w 489538"/>
                <a:gd name="connsiteY4" fmla="*/ 207759 h 1332630"/>
                <a:gd name="connsiteX5" fmla="*/ 58518 w 489538"/>
                <a:gd name="connsiteY5" fmla="*/ 961104 h 1332630"/>
                <a:gd name="connsiteX6" fmla="*/ 85715 w 489538"/>
                <a:gd name="connsiteY6" fmla="*/ 1159639 h 1332630"/>
                <a:gd name="connsiteX7" fmla="*/ 306007 w 489538"/>
                <a:gd name="connsiteY7" fmla="*/ 1282023 h 1332630"/>
                <a:gd name="connsiteX8" fmla="*/ 444710 w 489538"/>
                <a:gd name="connsiteY8" fmla="*/ 1211312 h 1332630"/>
                <a:gd name="connsiteX9" fmla="*/ 368560 w 489538"/>
                <a:gd name="connsiteY9" fmla="*/ 1135162 h 13326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89538" h="1332630">
                  <a:moveTo>
                    <a:pt x="368560" y="1135162"/>
                  </a:moveTo>
                  <a:cubicBezTo>
                    <a:pt x="363120" y="1110685"/>
                    <a:pt x="357681" y="1083488"/>
                    <a:pt x="357681" y="1059011"/>
                  </a:cubicBezTo>
                  <a:lnTo>
                    <a:pt x="357681" y="207759"/>
                  </a:lnTo>
                  <a:cubicBezTo>
                    <a:pt x="357681" y="126170"/>
                    <a:pt x="289689" y="58178"/>
                    <a:pt x="208099" y="58178"/>
                  </a:cubicBezTo>
                  <a:cubicBezTo>
                    <a:pt x="126510" y="58178"/>
                    <a:pt x="58518" y="126170"/>
                    <a:pt x="58518" y="207759"/>
                  </a:cubicBezTo>
                  <a:lnTo>
                    <a:pt x="58518" y="961104"/>
                  </a:lnTo>
                  <a:cubicBezTo>
                    <a:pt x="58518" y="1029095"/>
                    <a:pt x="53079" y="1097086"/>
                    <a:pt x="85715" y="1159639"/>
                  </a:cubicBezTo>
                  <a:cubicBezTo>
                    <a:pt x="118351" y="1227630"/>
                    <a:pt x="202660" y="1282023"/>
                    <a:pt x="306007" y="1282023"/>
                  </a:cubicBezTo>
                  <a:cubicBezTo>
                    <a:pt x="393036" y="1282023"/>
                    <a:pt x="444710" y="1211312"/>
                    <a:pt x="444710" y="1211312"/>
                  </a:cubicBezTo>
                  <a:cubicBezTo>
                    <a:pt x="444710" y="1211312"/>
                    <a:pt x="393036" y="1197714"/>
                    <a:pt x="368560" y="1135162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B2DCAE65-6D6D-48D1-B28A-A058E3BC709E}"/>
                </a:ext>
              </a:extLst>
            </p:cNvPr>
            <p:cNvSpPr/>
            <p:nvPr/>
          </p:nvSpPr>
          <p:spPr>
            <a:xfrm>
              <a:off x="4162324" y="2357456"/>
              <a:ext cx="815899" cy="815898"/>
            </a:xfrm>
            <a:custGeom>
              <a:avLst/>
              <a:gdLst>
                <a:gd name="connsiteX0" fmla="*/ 407949 w 815899"/>
                <a:gd name="connsiteY0" fmla="*/ 174058 h 815898"/>
                <a:gd name="connsiteX1" fmla="*/ 293723 w 815899"/>
                <a:gd name="connsiteY1" fmla="*/ 407950 h 815898"/>
                <a:gd name="connsiteX2" fmla="*/ 410669 w 815899"/>
                <a:gd name="connsiteY2" fmla="*/ 641840 h 815898"/>
                <a:gd name="connsiteX3" fmla="*/ 522175 w 815899"/>
                <a:gd name="connsiteY3" fmla="*/ 407950 h 815898"/>
                <a:gd name="connsiteX4" fmla="*/ 407949 w 815899"/>
                <a:gd name="connsiteY4" fmla="*/ 174058 h 815898"/>
                <a:gd name="connsiteX5" fmla="*/ 407950 w 815899"/>
                <a:gd name="connsiteY5" fmla="*/ 0 h 815898"/>
                <a:gd name="connsiteX6" fmla="*/ 815899 w 815899"/>
                <a:gd name="connsiteY6" fmla="*/ 407949 h 815898"/>
                <a:gd name="connsiteX7" fmla="*/ 407950 w 815899"/>
                <a:gd name="connsiteY7" fmla="*/ 815898 h 815898"/>
                <a:gd name="connsiteX8" fmla="*/ 0 w 815899"/>
                <a:gd name="connsiteY8" fmla="*/ 407949 h 815898"/>
                <a:gd name="connsiteX9" fmla="*/ 407950 w 815899"/>
                <a:gd name="connsiteY9" fmla="*/ 0 h 815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15899" h="815898">
                  <a:moveTo>
                    <a:pt x="407949" y="174058"/>
                  </a:moveTo>
                  <a:cubicBezTo>
                    <a:pt x="342677" y="174058"/>
                    <a:pt x="293723" y="263807"/>
                    <a:pt x="293723" y="407950"/>
                  </a:cubicBezTo>
                  <a:cubicBezTo>
                    <a:pt x="293723" y="552091"/>
                    <a:pt x="331799" y="639120"/>
                    <a:pt x="410669" y="641840"/>
                  </a:cubicBezTo>
                  <a:cubicBezTo>
                    <a:pt x="489539" y="641840"/>
                    <a:pt x="527614" y="552091"/>
                    <a:pt x="522175" y="407950"/>
                  </a:cubicBezTo>
                  <a:cubicBezTo>
                    <a:pt x="522175" y="263807"/>
                    <a:pt x="473221" y="176778"/>
                    <a:pt x="407949" y="174058"/>
                  </a:cubicBezTo>
                  <a:close/>
                  <a:moveTo>
                    <a:pt x="407950" y="0"/>
                  </a:moveTo>
                  <a:cubicBezTo>
                    <a:pt x="633682" y="0"/>
                    <a:pt x="815899" y="182217"/>
                    <a:pt x="815899" y="407949"/>
                  </a:cubicBezTo>
                  <a:cubicBezTo>
                    <a:pt x="815899" y="633681"/>
                    <a:pt x="633682" y="815898"/>
                    <a:pt x="407950" y="815898"/>
                  </a:cubicBezTo>
                  <a:cubicBezTo>
                    <a:pt x="182218" y="815898"/>
                    <a:pt x="0" y="633681"/>
                    <a:pt x="0" y="407949"/>
                  </a:cubicBezTo>
                  <a:cubicBezTo>
                    <a:pt x="0" y="182217"/>
                    <a:pt x="182218" y="0"/>
                    <a:pt x="407950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395AFC10-7312-4BF8-A557-DA8678F962DA}"/>
                </a:ext>
              </a:extLst>
            </p:cNvPr>
            <p:cNvSpPr/>
            <p:nvPr/>
          </p:nvSpPr>
          <p:spPr>
            <a:xfrm>
              <a:off x="5884871" y="1946788"/>
              <a:ext cx="912802" cy="1223846"/>
            </a:xfrm>
            <a:custGeom>
              <a:avLst/>
              <a:gdLst>
                <a:gd name="connsiteX0" fmla="*/ 387907 w 912802"/>
                <a:gd name="connsiteY0" fmla="*/ 620081 h 1223846"/>
                <a:gd name="connsiteX1" fmla="*/ 273681 w 912802"/>
                <a:gd name="connsiteY1" fmla="*/ 824055 h 1223846"/>
                <a:gd name="connsiteX2" fmla="*/ 390627 w 912802"/>
                <a:gd name="connsiteY2" fmla="*/ 1028029 h 1223846"/>
                <a:gd name="connsiteX3" fmla="*/ 502132 w 912802"/>
                <a:gd name="connsiteY3" fmla="*/ 824055 h 1223846"/>
                <a:gd name="connsiteX4" fmla="*/ 387907 w 912802"/>
                <a:gd name="connsiteY4" fmla="*/ 620081 h 1223846"/>
                <a:gd name="connsiteX5" fmla="*/ 676192 w 912802"/>
                <a:gd name="connsiteY5" fmla="*/ 0 h 1223846"/>
                <a:gd name="connsiteX6" fmla="*/ 825773 w 912802"/>
                <a:gd name="connsiteY6" fmla="*/ 149581 h 1223846"/>
                <a:gd name="connsiteX7" fmla="*/ 825773 w 912802"/>
                <a:gd name="connsiteY7" fmla="*/ 1000834 h 1223846"/>
                <a:gd name="connsiteX8" fmla="*/ 836651 w 912802"/>
                <a:gd name="connsiteY8" fmla="*/ 1076985 h 1223846"/>
                <a:gd name="connsiteX9" fmla="*/ 912802 w 912802"/>
                <a:gd name="connsiteY9" fmla="*/ 1150415 h 1223846"/>
                <a:gd name="connsiteX10" fmla="*/ 774099 w 912802"/>
                <a:gd name="connsiteY10" fmla="*/ 1221126 h 1223846"/>
                <a:gd name="connsiteX11" fmla="*/ 553807 w 912802"/>
                <a:gd name="connsiteY11" fmla="*/ 1098742 h 1223846"/>
                <a:gd name="connsiteX12" fmla="*/ 548367 w 912802"/>
                <a:gd name="connsiteY12" fmla="*/ 1085144 h 1223846"/>
                <a:gd name="connsiteX13" fmla="*/ 398786 w 912802"/>
                <a:gd name="connsiteY13" fmla="*/ 1212967 h 1223846"/>
                <a:gd name="connsiteX14" fmla="*/ 156736 w 912802"/>
                <a:gd name="connsiteY14" fmla="*/ 1180332 h 1223846"/>
                <a:gd name="connsiteX15" fmla="*/ 287280 w 912802"/>
                <a:gd name="connsiteY15" fmla="*/ 416107 h 1223846"/>
                <a:gd name="connsiteX16" fmla="*/ 526611 w 912802"/>
                <a:gd name="connsiteY16" fmla="*/ 552091 h 1223846"/>
                <a:gd name="connsiteX17" fmla="*/ 526611 w 912802"/>
                <a:gd name="connsiteY17" fmla="*/ 149581 h 1223846"/>
                <a:gd name="connsiteX18" fmla="*/ 676192 w 912802"/>
                <a:gd name="connsiteY18" fmla="*/ 0 h 1223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912802" h="1223846">
                  <a:moveTo>
                    <a:pt x="387907" y="620081"/>
                  </a:moveTo>
                  <a:cubicBezTo>
                    <a:pt x="322635" y="620081"/>
                    <a:pt x="273681" y="698951"/>
                    <a:pt x="273681" y="824055"/>
                  </a:cubicBezTo>
                  <a:cubicBezTo>
                    <a:pt x="273681" y="949160"/>
                    <a:pt x="311756" y="1028029"/>
                    <a:pt x="390627" y="1028029"/>
                  </a:cubicBezTo>
                  <a:cubicBezTo>
                    <a:pt x="466777" y="1025310"/>
                    <a:pt x="504852" y="949160"/>
                    <a:pt x="502132" y="824055"/>
                  </a:cubicBezTo>
                  <a:cubicBezTo>
                    <a:pt x="502132" y="698951"/>
                    <a:pt x="455898" y="622801"/>
                    <a:pt x="387907" y="620081"/>
                  </a:cubicBezTo>
                  <a:close/>
                  <a:moveTo>
                    <a:pt x="676192" y="0"/>
                  </a:moveTo>
                  <a:cubicBezTo>
                    <a:pt x="757781" y="0"/>
                    <a:pt x="825773" y="67992"/>
                    <a:pt x="825773" y="149581"/>
                  </a:cubicBezTo>
                  <a:lnTo>
                    <a:pt x="825773" y="1000834"/>
                  </a:lnTo>
                  <a:cubicBezTo>
                    <a:pt x="828492" y="1025311"/>
                    <a:pt x="831212" y="1052508"/>
                    <a:pt x="836651" y="1076985"/>
                  </a:cubicBezTo>
                  <a:cubicBezTo>
                    <a:pt x="861128" y="1139537"/>
                    <a:pt x="912802" y="1150415"/>
                    <a:pt x="912802" y="1150415"/>
                  </a:cubicBezTo>
                  <a:cubicBezTo>
                    <a:pt x="912802" y="1150415"/>
                    <a:pt x="861128" y="1221126"/>
                    <a:pt x="774099" y="1221126"/>
                  </a:cubicBezTo>
                  <a:cubicBezTo>
                    <a:pt x="670752" y="1221126"/>
                    <a:pt x="589162" y="1166733"/>
                    <a:pt x="553807" y="1098742"/>
                  </a:cubicBezTo>
                  <a:cubicBezTo>
                    <a:pt x="551087" y="1093303"/>
                    <a:pt x="551087" y="1090583"/>
                    <a:pt x="548367" y="1085144"/>
                  </a:cubicBezTo>
                  <a:cubicBezTo>
                    <a:pt x="534769" y="1147696"/>
                    <a:pt x="450460" y="1199369"/>
                    <a:pt x="398786" y="1212967"/>
                  </a:cubicBezTo>
                  <a:cubicBezTo>
                    <a:pt x="322636" y="1234725"/>
                    <a:pt x="222008" y="1223846"/>
                    <a:pt x="156736" y="1180332"/>
                  </a:cubicBezTo>
                  <a:cubicBezTo>
                    <a:pt x="-79874" y="1028031"/>
                    <a:pt x="-58117" y="416107"/>
                    <a:pt x="287280" y="416107"/>
                  </a:cubicBezTo>
                  <a:cubicBezTo>
                    <a:pt x="412385" y="416107"/>
                    <a:pt x="491255" y="503137"/>
                    <a:pt x="526611" y="552091"/>
                  </a:cubicBezTo>
                  <a:lnTo>
                    <a:pt x="526611" y="149581"/>
                  </a:lnTo>
                  <a:cubicBezTo>
                    <a:pt x="526611" y="67992"/>
                    <a:pt x="594602" y="0"/>
                    <a:pt x="676192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2F36A6C7-D0EE-46D0-A334-73B13AC9039B}"/>
                </a:ext>
              </a:extLst>
            </p:cNvPr>
            <p:cNvSpPr/>
            <p:nvPr/>
          </p:nvSpPr>
          <p:spPr>
            <a:xfrm>
              <a:off x="6789513" y="2362895"/>
              <a:ext cx="747906" cy="810458"/>
            </a:xfrm>
            <a:custGeom>
              <a:avLst/>
              <a:gdLst>
                <a:gd name="connsiteX0" fmla="*/ 394818 w 747906"/>
                <a:gd name="connsiteY0" fmla="*/ 163222 h 810458"/>
                <a:gd name="connsiteX1" fmla="*/ 356275 w 747906"/>
                <a:gd name="connsiteY1" fmla="*/ 174058 h 810458"/>
                <a:gd name="connsiteX2" fmla="*/ 274685 w 747906"/>
                <a:gd name="connsiteY2" fmla="*/ 356275 h 810458"/>
                <a:gd name="connsiteX3" fmla="*/ 375313 w 747906"/>
                <a:gd name="connsiteY3" fmla="*/ 358994 h 810458"/>
                <a:gd name="connsiteX4" fmla="*/ 473220 w 747906"/>
                <a:gd name="connsiteY4" fmla="*/ 239329 h 810458"/>
                <a:gd name="connsiteX5" fmla="*/ 394818 w 747906"/>
                <a:gd name="connsiteY5" fmla="*/ 163222 h 810458"/>
                <a:gd name="connsiteX6" fmla="*/ 386192 w 747906"/>
                <a:gd name="connsiteY6" fmla="*/ 0 h 810458"/>
                <a:gd name="connsiteX7" fmla="*/ 747906 w 747906"/>
                <a:gd name="connsiteY7" fmla="*/ 266526 h 810458"/>
                <a:gd name="connsiteX8" fmla="*/ 291004 w 747906"/>
                <a:gd name="connsiteY8" fmla="*/ 484100 h 810458"/>
                <a:gd name="connsiteX9" fmla="*/ 497698 w 747906"/>
                <a:gd name="connsiteY9" fmla="*/ 617363 h 810458"/>
                <a:gd name="connsiteX10" fmla="*/ 712551 w 747906"/>
                <a:gd name="connsiteY10" fmla="*/ 557530 h 810458"/>
                <a:gd name="connsiteX11" fmla="*/ 388912 w 747906"/>
                <a:gd name="connsiteY11" fmla="*/ 810458 h 810458"/>
                <a:gd name="connsiteX12" fmla="*/ 0 w 747906"/>
                <a:gd name="connsiteY12" fmla="*/ 413389 h 810458"/>
                <a:gd name="connsiteX13" fmla="*/ 386192 w 747906"/>
                <a:gd name="connsiteY13" fmla="*/ 0 h 8104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747906" h="810458">
                  <a:moveTo>
                    <a:pt x="394818" y="163222"/>
                  </a:moveTo>
                  <a:cubicBezTo>
                    <a:pt x="381772" y="163179"/>
                    <a:pt x="368514" y="166579"/>
                    <a:pt x="356275" y="174058"/>
                  </a:cubicBezTo>
                  <a:cubicBezTo>
                    <a:pt x="299162" y="212133"/>
                    <a:pt x="282844" y="291003"/>
                    <a:pt x="274685" y="356275"/>
                  </a:cubicBezTo>
                  <a:cubicBezTo>
                    <a:pt x="274685" y="364434"/>
                    <a:pt x="369873" y="358994"/>
                    <a:pt x="375313" y="358994"/>
                  </a:cubicBezTo>
                  <a:cubicBezTo>
                    <a:pt x="432425" y="345396"/>
                    <a:pt x="473220" y="301881"/>
                    <a:pt x="473220" y="239329"/>
                  </a:cubicBezTo>
                  <a:cubicBezTo>
                    <a:pt x="471181" y="194455"/>
                    <a:pt x="433956" y="163349"/>
                    <a:pt x="394818" y="163222"/>
                  </a:cubicBezTo>
                  <a:close/>
                  <a:moveTo>
                    <a:pt x="386192" y="0"/>
                  </a:moveTo>
                  <a:cubicBezTo>
                    <a:pt x="519455" y="0"/>
                    <a:pt x="747906" y="65272"/>
                    <a:pt x="747906" y="266526"/>
                  </a:cubicBezTo>
                  <a:cubicBezTo>
                    <a:pt x="747906" y="467782"/>
                    <a:pt x="538493" y="484100"/>
                    <a:pt x="291004" y="484100"/>
                  </a:cubicBezTo>
                  <a:cubicBezTo>
                    <a:pt x="291004" y="484100"/>
                    <a:pt x="326359" y="617363"/>
                    <a:pt x="497698" y="617363"/>
                  </a:cubicBezTo>
                  <a:cubicBezTo>
                    <a:pt x="669036" y="617363"/>
                    <a:pt x="712551" y="557530"/>
                    <a:pt x="712551" y="557530"/>
                  </a:cubicBezTo>
                  <a:cubicBezTo>
                    <a:pt x="712551" y="557530"/>
                    <a:pt x="696233" y="810458"/>
                    <a:pt x="388912" y="810458"/>
                  </a:cubicBezTo>
                  <a:cubicBezTo>
                    <a:pt x="212134" y="810458"/>
                    <a:pt x="0" y="677195"/>
                    <a:pt x="0" y="413389"/>
                  </a:cubicBezTo>
                  <a:cubicBezTo>
                    <a:pt x="0" y="176778"/>
                    <a:pt x="163180" y="0"/>
                    <a:pt x="386192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/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CA99400B-701C-434B-A9DF-407DAC516AB5}"/>
                </a:ext>
              </a:extLst>
            </p:cNvPr>
            <p:cNvSpPr/>
            <p:nvPr/>
          </p:nvSpPr>
          <p:spPr>
            <a:xfrm>
              <a:off x="7988882" y="2362895"/>
              <a:ext cx="747906" cy="810458"/>
            </a:xfrm>
            <a:custGeom>
              <a:avLst/>
              <a:gdLst>
                <a:gd name="connsiteX0" fmla="*/ 394818 w 747906"/>
                <a:gd name="connsiteY0" fmla="*/ 163222 h 810458"/>
                <a:gd name="connsiteX1" fmla="*/ 356275 w 747906"/>
                <a:gd name="connsiteY1" fmla="*/ 174058 h 810458"/>
                <a:gd name="connsiteX2" fmla="*/ 274685 w 747906"/>
                <a:gd name="connsiteY2" fmla="*/ 356275 h 810458"/>
                <a:gd name="connsiteX3" fmla="*/ 375313 w 747906"/>
                <a:gd name="connsiteY3" fmla="*/ 358994 h 810458"/>
                <a:gd name="connsiteX4" fmla="*/ 473220 w 747906"/>
                <a:gd name="connsiteY4" fmla="*/ 239329 h 810458"/>
                <a:gd name="connsiteX5" fmla="*/ 394818 w 747906"/>
                <a:gd name="connsiteY5" fmla="*/ 163222 h 810458"/>
                <a:gd name="connsiteX6" fmla="*/ 386192 w 747906"/>
                <a:gd name="connsiteY6" fmla="*/ 0 h 810458"/>
                <a:gd name="connsiteX7" fmla="*/ 747906 w 747906"/>
                <a:gd name="connsiteY7" fmla="*/ 266526 h 810458"/>
                <a:gd name="connsiteX8" fmla="*/ 291004 w 747906"/>
                <a:gd name="connsiteY8" fmla="*/ 484100 h 810458"/>
                <a:gd name="connsiteX9" fmla="*/ 497697 w 747906"/>
                <a:gd name="connsiteY9" fmla="*/ 617363 h 810458"/>
                <a:gd name="connsiteX10" fmla="*/ 712551 w 747906"/>
                <a:gd name="connsiteY10" fmla="*/ 557530 h 810458"/>
                <a:gd name="connsiteX11" fmla="*/ 388911 w 747906"/>
                <a:gd name="connsiteY11" fmla="*/ 810458 h 810458"/>
                <a:gd name="connsiteX12" fmla="*/ 0 w 747906"/>
                <a:gd name="connsiteY12" fmla="*/ 413389 h 810458"/>
                <a:gd name="connsiteX13" fmla="*/ 386192 w 747906"/>
                <a:gd name="connsiteY13" fmla="*/ 0 h 8104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747906" h="810458">
                  <a:moveTo>
                    <a:pt x="394818" y="163222"/>
                  </a:moveTo>
                  <a:cubicBezTo>
                    <a:pt x="381772" y="163179"/>
                    <a:pt x="368514" y="166579"/>
                    <a:pt x="356275" y="174058"/>
                  </a:cubicBezTo>
                  <a:cubicBezTo>
                    <a:pt x="299162" y="212133"/>
                    <a:pt x="282844" y="291003"/>
                    <a:pt x="274685" y="356275"/>
                  </a:cubicBezTo>
                  <a:cubicBezTo>
                    <a:pt x="274685" y="364434"/>
                    <a:pt x="369873" y="358994"/>
                    <a:pt x="375313" y="358994"/>
                  </a:cubicBezTo>
                  <a:cubicBezTo>
                    <a:pt x="432426" y="345396"/>
                    <a:pt x="473220" y="301881"/>
                    <a:pt x="473220" y="239329"/>
                  </a:cubicBezTo>
                  <a:cubicBezTo>
                    <a:pt x="471181" y="194455"/>
                    <a:pt x="433955" y="163349"/>
                    <a:pt x="394818" y="163222"/>
                  </a:cubicBezTo>
                  <a:close/>
                  <a:moveTo>
                    <a:pt x="386192" y="0"/>
                  </a:moveTo>
                  <a:cubicBezTo>
                    <a:pt x="519455" y="0"/>
                    <a:pt x="747906" y="65272"/>
                    <a:pt x="747906" y="266526"/>
                  </a:cubicBezTo>
                  <a:cubicBezTo>
                    <a:pt x="747906" y="467782"/>
                    <a:pt x="538492" y="484100"/>
                    <a:pt x="291004" y="484100"/>
                  </a:cubicBezTo>
                  <a:cubicBezTo>
                    <a:pt x="291004" y="484100"/>
                    <a:pt x="326359" y="617363"/>
                    <a:pt x="497697" y="617363"/>
                  </a:cubicBezTo>
                  <a:cubicBezTo>
                    <a:pt x="669036" y="617363"/>
                    <a:pt x="712551" y="557530"/>
                    <a:pt x="712551" y="557530"/>
                  </a:cubicBezTo>
                  <a:cubicBezTo>
                    <a:pt x="712551" y="557530"/>
                    <a:pt x="696233" y="810458"/>
                    <a:pt x="388911" y="810458"/>
                  </a:cubicBezTo>
                  <a:cubicBezTo>
                    <a:pt x="212133" y="810458"/>
                    <a:pt x="0" y="677195"/>
                    <a:pt x="0" y="413389"/>
                  </a:cubicBezTo>
                  <a:cubicBezTo>
                    <a:pt x="0" y="176778"/>
                    <a:pt x="163180" y="0"/>
                    <a:pt x="386192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B2D1B86A-33BB-46AB-8000-A26581AE547C}"/>
                </a:ext>
              </a:extLst>
            </p:cNvPr>
            <p:cNvSpPr/>
            <p:nvPr/>
          </p:nvSpPr>
          <p:spPr>
            <a:xfrm>
              <a:off x="8683414" y="2274801"/>
              <a:ext cx="897487" cy="951879"/>
            </a:xfrm>
            <a:custGeom>
              <a:avLst/>
              <a:gdLst>
                <a:gd name="connsiteX0" fmla="*/ 580988 w 897487"/>
                <a:gd name="connsiteY0" fmla="*/ 667381 h 951879"/>
                <a:gd name="connsiteX1" fmla="*/ 409649 w 897487"/>
                <a:gd name="connsiteY1" fmla="*/ 667381 h 951879"/>
                <a:gd name="connsiteX2" fmla="*/ 591866 w 897487"/>
                <a:gd name="connsiteY2" fmla="*/ 525959 h 951879"/>
                <a:gd name="connsiteX3" fmla="*/ 842075 w 897487"/>
                <a:gd name="connsiteY3" fmla="*/ 123450 h 951879"/>
                <a:gd name="connsiteX4" fmla="*/ 842075 w 897487"/>
                <a:gd name="connsiteY4" fmla="*/ 123450 h 951879"/>
                <a:gd name="connsiteX5" fmla="*/ 798560 w 897487"/>
                <a:gd name="connsiteY5" fmla="*/ 58178 h 951879"/>
                <a:gd name="connsiteX6" fmla="*/ 746887 w 897487"/>
                <a:gd name="connsiteY6" fmla="*/ 107132 h 951879"/>
                <a:gd name="connsiteX7" fmla="*/ 697933 w 897487"/>
                <a:gd name="connsiteY7" fmla="*/ 115291 h 951879"/>
                <a:gd name="connsiteX8" fmla="*/ 219273 w 897487"/>
                <a:gd name="connsiteY8" fmla="*/ 115291 h 951879"/>
                <a:gd name="connsiteX9" fmla="*/ 102328 w 897487"/>
                <a:gd name="connsiteY9" fmla="*/ 224077 h 951879"/>
                <a:gd name="connsiteX10" fmla="*/ 213834 w 897487"/>
                <a:gd name="connsiteY10" fmla="*/ 332863 h 951879"/>
                <a:gd name="connsiteX11" fmla="*/ 485800 w 897487"/>
                <a:gd name="connsiteY11" fmla="*/ 335583 h 951879"/>
                <a:gd name="connsiteX12" fmla="*/ 134964 w 897487"/>
                <a:gd name="connsiteY12" fmla="*/ 615708 h 951879"/>
                <a:gd name="connsiteX13" fmla="*/ 61533 w 897487"/>
                <a:gd name="connsiteY13" fmla="*/ 884953 h 951879"/>
                <a:gd name="connsiteX14" fmla="*/ 398771 w 897487"/>
                <a:gd name="connsiteY14" fmla="*/ 806083 h 951879"/>
                <a:gd name="connsiteX15" fmla="*/ 529314 w 897487"/>
                <a:gd name="connsiteY15" fmla="*/ 863196 h 951879"/>
                <a:gd name="connsiteX16" fmla="*/ 782242 w 897487"/>
                <a:gd name="connsiteY16" fmla="*/ 607549 h 951879"/>
                <a:gd name="connsiteX17" fmla="*/ 580988 w 897487"/>
                <a:gd name="connsiteY17" fmla="*/ 667381 h 9518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897487" h="951879">
                  <a:moveTo>
                    <a:pt x="580988" y="667381"/>
                  </a:moveTo>
                  <a:lnTo>
                    <a:pt x="409649" y="667381"/>
                  </a:lnTo>
                  <a:cubicBezTo>
                    <a:pt x="423248" y="667381"/>
                    <a:pt x="548352" y="561314"/>
                    <a:pt x="591866" y="525959"/>
                  </a:cubicBezTo>
                  <a:cubicBezTo>
                    <a:pt x="700653" y="433491"/>
                    <a:pt x="899188" y="297508"/>
                    <a:pt x="842075" y="123450"/>
                  </a:cubicBezTo>
                  <a:lnTo>
                    <a:pt x="842075" y="123450"/>
                  </a:lnTo>
                  <a:cubicBezTo>
                    <a:pt x="831197" y="82655"/>
                    <a:pt x="798560" y="58178"/>
                    <a:pt x="798560" y="58178"/>
                  </a:cubicBezTo>
                  <a:cubicBezTo>
                    <a:pt x="798560" y="58178"/>
                    <a:pt x="787682" y="90814"/>
                    <a:pt x="746887" y="107132"/>
                  </a:cubicBezTo>
                  <a:cubicBezTo>
                    <a:pt x="730569" y="109852"/>
                    <a:pt x="714251" y="115291"/>
                    <a:pt x="697933" y="115291"/>
                  </a:cubicBezTo>
                  <a:cubicBezTo>
                    <a:pt x="684334" y="115291"/>
                    <a:pt x="219273" y="115291"/>
                    <a:pt x="219273" y="115291"/>
                  </a:cubicBezTo>
                  <a:cubicBezTo>
                    <a:pt x="156721" y="115291"/>
                    <a:pt x="105048" y="166964"/>
                    <a:pt x="102328" y="224077"/>
                  </a:cubicBezTo>
                  <a:cubicBezTo>
                    <a:pt x="102328" y="283910"/>
                    <a:pt x="151282" y="332863"/>
                    <a:pt x="213834" y="332863"/>
                  </a:cubicBezTo>
                  <a:lnTo>
                    <a:pt x="485800" y="335583"/>
                  </a:lnTo>
                  <a:cubicBezTo>
                    <a:pt x="360695" y="406294"/>
                    <a:pt x="211114" y="487884"/>
                    <a:pt x="134964" y="615708"/>
                  </a:cubicBezTo>
                  <a:cubicBezTo>
                    <a:pt x="91449" y="689138"/>
                    <a:pt x="45215" y="800644"/>
                    <a:pt x="61533" y="884953"/>
                  </a:cubicBezTo>
                  <a:cubicBezTo>
                    <a:pt x="121366" y="830560"/>
                    <a:pt x="279106" y="778887"/>
                    <a:pt x="398771" y="806083"/>
                  </a:cubicBezTo>
                  <a:cubicBezTo>
                    <a:pt x="445005" y="814242"/>
                    <a:pt x="491239" y="838719"/>
                    <a:pt x="529314" y="863196"/>
                  </a:cubicBezTo>
                  <a:cubicBezTo>
                    <a:pt x="755046" y="1004618"/>
                    <a:pt x="891029" y="727213"/>
                    <a:pt x="782242" y="607549"/>
                  </a:cubicBezTo>
                  <a:cubicBezTo>
                    <a:pt x="784962" y="607549"/>
                    <a:pt x="722410" y="667381"/>
                    <a:pt x="580988" y="667381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76F0D372-8C1C-4BBA-8C19-5C5D50CB40D3}"/>
                </a:ext>
              </a:extLst>
            </p:cNvPr>
            <p:cNvSpPr/>
            <p:nvPr/>
          </p:nvSpPr>
          <p:spPr>
            <a:xfrm>
              <a:off x="2624650" y="1948442"/>
              <a:ext cx="1903761" cy="1577400"/>
            </a:xfrm>
            <a:custGeom>
              <a:avLst/>
              <a:gdLst>
                <a:gd name="connsiteX0" fmla="*/ 1559430 w 1903760"/>
                <a:gd name="connsiteY0" fmla="*/ 1165078 h 1577399"/>
                <a:gd name="connsiteX1" fmla="*/ 1369054 w 1903760"/>
                <a:gd name="connsiteY1" fmla="*/ 593950 h 1577399"/>
                <a:gd name="connsiteX2" fmla="*/ 1483279 w 1903760"/>
                <a:gd name="connsiteY2" fmla="*/ 126170 h 1577399"/>
                <a:gd name="connsiteX3" fmla="*/ 1311941 w 1903760"/>
                <a:gd name="connsiteY3" fmla="*/ 58178 h 1577399"/>
                <a:gd name="connsiteX4" fmla="*/ 1078050 w 1903760"/>
                <a:gd name="connsiteY4" fmla="*/ 205040 h 1577399"/>
                <a:gd name="connsiteX5" fmla="*/ 846879 w 1903760"/>
                <a:gd name="connsiteY5" fmla="*/ 523239 h 1577399"/>
                <a:gd name="connsiteX6" fmla="*/ 645624 w 1903760"/>
                <a:gd name="connsiteY6" fmla="*/ 210479 h 1577399"/>
                <a:gd name="connsiteX7" fmla="*/ 455248 w 1903760"/>
                <a:gd name="connsiteY7" fmla="*/ 63617 h 1577399"/>
                <a:gd name="connsiteX8" fmla="*/ 234956 w 1903760"/>
                <a:gd name="connsiteY8" fmla="*/ 137048 h 1577399"/>
                <a:gd name="connsiteX9" fmla="*/ 316546 w 1903760"/>
                <a:gd name="connsiteY9" fmla="*/ 588511 h 1577399"/>
                <a:gd name="connsiteX10" fmla="*/ 58178 w 1903760"/>
                <a:gd name="connsiteY10" fmla="*/ 1072610 h 1577399"/>
                <a:gd name="connsiteX11" fmla="*/ 474286 w 1903760"/>
                <a:gd name="connsiteY11" fmla="*/ 1020936 h 1577399"/>
                <a:gd name="connsiteX12" fmla="*/ 555876 w 1903760"/>
                <a:gd name="connsiteY12" fmla="*/ 572193 h 1577399"/>
                <a:gd name="connsiteX13" fmla="*/ 830561 w 1903760"/>
                <a:gd name="connsiteY13" fmla="*/ 993740 h 1577399"/>
                <a:gd name="connsiteX14" fmla="*/ 1140602 w 1903760"/>
                <a:gd name="connsiteY14" fmla="*/ 574913 h 1577399"/>
                <a:gd name="connsiteX15" fmla="*/ 1567589 w 1903760"/>
                <a:gd name="connsiteY15" fmla="*/ 1526792 h 1577399"/>
                <a:gd name="connsiteX16" fmla="*/ 1866751 w 1903760"/>
                <a:gd name="connsiteY16" fmla="*/ 1322818 h 1577399"/>
                <a:gd name="connsiteX17" fmla="*/ 1559430 w 1903760"/>
                <a:gd name="connsiteY17" fmla="*/ 1165078 h 15773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903760" h="1577399">
                  <a:moveTo>
                    <a:pt x="1559430" y="1165078"/>
                  </a:moveTo>
                  <a:cubicBezTo>
                    <a:pt x="1420727" y="1012777"/>
                    <a:pt x="1377213" y="762569"/>
                    <a:pt x="1369054" y="593950"/>
                  </a:cubicBezTo>
                  <a:cubicBezTo>
                    <a:pt x="1360895" y="449809"/>
                    <a:pt x="1369054" y="199600"/>
                    <a:pt x="1483279" y="126170"/>
                  </a:cubicBezTo>
                  <a:cubicBezTo>
                    <a:pt x="1445204" y="77216"/>
                    <a:pt x="1369054" y="58178"/>
                    <a:pt x="1311941" y="58178"/>
                  </a:cubicBezTo>
                  <a:cubicBezTo>
                    <a:pt x="1184117" y="58178"/>
                    <a:pt x="1121565" y="142488"/>
                    <a:pt x="1078050" y="205040"/>
                  </a:cubicBezTo>
                  <a:cubicBezTo>
                    <a:pt x="1064452" y="224077"/>
                    <a:pt x="846879" y="523239"/>
                    <a:pt x="846879" y="523239"/>
                  </a:cubicBezTo>
                  <a:cubicBezTo>
                    <a:pt x="846879" y="523239"/>
                    <a:pt x="667382" y="243115"/>
                    <a:pt x="645624" y="210479"/>
                  </a:cubicBezTo>
                  <a:cubicBezTo>
                    <a:pt x="615708" y="164245"/>
                    <a:pt x="555876" y="77216"/>
                    <a:pt x="455248" y="63617"/>
                  </a:cubicBezTo>
                  <a:cubicBezTo>
                    <a:pt x="411734" y="58178"/>
                    <a:pt x="297508" y="52739"/>
                    <a:pt x="234956" y="137048"/>
                  </a:cubicBezTo>
                  <a:cubicBezTo>
                    <a:pt x="341023" y="221357"/>
                    <a:pt x="338303" y="438930"/>
                    <a:pt x="316546" y="588511"/>
                  </a:cubicBezTo>
                  <a:cubicBezTo>
                    <a:pt x="248554" y="1031815"/>
                    <a:pt x="58178" y="1072610"/>
                    <a:pt x="58178" y="1072610"/>
                  </a:cubicBezTo>
                  <a:cubicBezTo>
                    <a:pt x="156086" y="1333696"/>
                    <a:pt x="403575" y="1230350"/>
                    <a:pt x="474286" y="1020936"/>
                  </a:cubicBezTo>
                  <a:cubicBezTo>
                    <a:pt x="520520" y="884953"/>
                    <a:pt x="550436" y="713615"/>
                    <a:pt x="555876" y="572193"/>
                  </a:cubicBezTo>
                  <a:lnTo>
                    <a:pt x="830561" y="993740"/>
                  </a:lnTo>
                  <a:cubicBezTo>
                    <a:pt x="830561" y="993740"/>
                    <a:pt x="1140602" y="574913"/>
                    <a:pt x="1140602" y="574913"/>
                  </a:cubicBezTo>
                  <a:cubicBezTo>
                    <a:pt x="1088929" y="1314659"/>
                    <a:pt x="1344577" y="1526792"/>
                    <a:pt x="1567589" y="1526792"/>
                  </a:cubicBezTo>
                  <a:cubicBezTo>
                    <a:pt x="1790601" y="1526792"/>
                    <a:pt x="1866751" y="1322818"/>
                    <a:pt x="1866751" y="1322818"/>
                  </a:cubicBezTo>
                  <a:cubicBezTo>
                    <a:pt x="1744367" y="1314659"/>
                    <a:pt x="1641019" y="1252107"/>
                    <a:pt x="1559430" y="1165078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BEF4B029-DDF1-4096-896A-C4F8417BFF1E}"/>
                </a:ext>
              </a:extLst>
            </p:cNvPr>
            <p:cNvSpPr/>
            <p:nvPr/>
          </p:nvSpPr>
          <p:spPr>
            <a:xfrm>
              <a:off x="4792218" y="3234839"/>
              <a:ext cx="271966" cy="652717"/>
            </a:xfrm>
            <a:custGeom>
              <a:avLst/>
              <a:gdLst>
                <a:gd name="connsiteX0" fmla="*/ 88095 w 271965"/>
                <a:gd name="connsiteY0" fmla="*/ 120730 h 652717"/>
                <a:gd name="connsiteX1" fmla="*/ 93534 w 271965"/>
                <a:gd name="connsiteY1" fmla="*/ 153366 h 652717"/>
                <a:gd name="connsiteX2" fmla="*/ 93534 w 271965"/>
                <a:gd name="connsiteY2" fmla="*/ 544997 h 652717"/>
                <a:gd name="connsiteX3" fmla="*/ 156086 w 271965"/>
                <a:gd name="connsiteY3" fmla="*/ 604829 h 652717"/>
                <a:gd name="connsiteX4" fmla="*/ 221358 w 271965"/>
                <a:gd name="connsiteY4" fmla="*/ 544997 h 652717"/>
                <a:gd name="connsiteX5" fmla="*/ 221358 w 271965"/>
                <a:gd name="connsiteY5" fmla="*/ 194161 h 652717"/>
                <a:gd name="connsiteX6" fmla="*/ 210479 w 271965"/>
                <a:gd name="connsiteY6" fmla="*/ 109852 h 652717"/>
                <a:gd name="connsiteX7" fmla="*/ 118011 w 271965"/>
                <a:gd name="connsiteY7" fmla="*/ 58178 h 652717"/>
                <a:gd name="connsiteX8" fmla="*/ 58178 w 271965"/>
                <a:gd name="connsiteY8" fmla="*/ 88094 h 652717"/>
                <a:gd name="connsiteX9" fmla="*/ 88095 w 271965"/>
                <a:gd name="connsiteY9" fmla="*/ 120730 h 6527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71965" h="652717">
                  <a:moveTo>
                    <a:pt x="88095" y="120730"/>
                  </a:moveTo>
                  <a:cubicBezTo>
                    <a:pt x="90814" y="131609"/>
                    <a:pt x="90814" y="142487"/>
                    <a:pt x="93534" y="153366"/>
                  </a:cubicBezTo>
                  <a:cubicBezTo>
                    <a:pt x="93534" y="156086"/>
                    <a:pt x="93534" y="542277"/>
                    <a:pt x="93534" y="544997"/>
                  </a:cubicBezTo>
                  <a:cubicBezTo>
                    <a:pt x="93534" y="577632"/>
                    <a:pt x="123450" y="604829"/>
                    <a:pt x="156086" y="604829"/>
                  </a:cubicBezTo>
                  <a:cubicBezTo>
                    <a:pt x="188722" y="607548"/>
                    <a:pt x="221358" y="577632"/>
                    <a:pt x="221358" y="544997"/>
                  </a:cubicBezTo>
                  <a:cubicBezTo>
                    <a:pt x="221358" y="539557"/>
                    <a:pt x="221358" y="194161"/>
                    <a:pt x="221358" y="194161"/>
                  </a:cubicBezTo>
                  <a:cubicBezTo>
                    <a:pt x="221358" y="164245"/>
                    <a:pt x="224078" y="134329"/>
                    <a:pt x="210479" y="109852"/>
                  </a:cubicBezTo>
                  <a:cubicBezTo>
                    <a:pt x="196881" y="79935"/>
                    <a:pt x="158806" y="58178"/>
                    <a:pt x="118011" y="58178"/>
                  </a:cubicBezTo>
                  <a:cubicBezTo>
                    <a:pt x="79936" y="58178"/>
                    <a:pt x="58178" y="88094"/>
                    <a:pt x="58178" y="88094"/>
                  </a:cubicBezTo>
                  <a:cubicBezTo>
                    <a:pt x="58178" y="88094"/>
                    <a:pt x="77216" y="93534"/>
                    <a:pt x="88095" y="120730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E3742297-9C6A-4599-8768-0BDB13B1FCEF}"/>
                </a:ext>
              </a:extLst>
            </p:cNvPr>
            <p:cNvSpPr/>
            <p:nvPr/>
          </p:nvSpPr>
          <p:spPr>
            <a:xfrm>
              <a:off x="8751819" y="3234667"/>
              <a:ext cx="271966" cy="652717"/>
            </a:xfrm>
            <a:custGeom>
              <a:avLst/>
              <a:gdLst>
                <a:gd name="connsiteX0" fmla="*/ 191663 w 271965"/>
                <a:gd name="connsiteY0" fmla="*/ 542449 h 652717"/>
                <a:gd name="connsiteX1" fmla="*/ 186224 w 271965"/>
                <a:gd name="connsiteY1" fmla="*/ 509813 h 652717"/>
                <a:gd name="connsiteX2" fmla="*/ 186224 w 271965"/>
                <a:gd name="connsiteY2" fmla="*/ 118183 h 652717"/>
                <a:gd name="connsiteX3" fmla="*/ 123672 w 271965"/>
                <a:gd name="connsiteY3" fmla="*/ 58350 h 652717"/>
                <a:gd name="connsiteX4" fmla="*/ 58400 w 271965"/>
                <a:gd name="connsiteY4" fmla="*/ 118183 h 652717"/>
                <a:gd name="connsiteX5" fmla="*/ 58400 w 271965"/>
                <a:gd name="connsiteY5" fmla="*/ 469018 h 652717"/>
                <a:gd name="connsiteX6" fmla="*/ 69279 w 271965"/>
                <a:gd name="connsiteY6" fmla="*/ 553328 h 652717"/>
                <a:gd name="connsiteX7" fmla="*/ 161747 w 271965"/>
                <a:gd name="connsiteY7" fmla="*/ 605001 h 652717"/>
                <a:gd name="connsiteX8" fmla="*/ 221580 w 271965"/>
                <a:gd name="connsiteY8" fmla="*/ 575085 h 652717"/>
                <a:gd name="connsiteX9" fmla="*/ 191663 w 271965"/>
                <a:gd name="connsiteY9" fmla="*/ 542449 h 6527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71965" h="652717">
                  <a:moveTo>
                    <a:pt x="191663" y="542449"/>
                  </a:moveTo>
                  <a:cubicBezTo>
                    <a:pt x="188944" y="531570"/>
                    <a:pt x="186224" y="520692"/>
                    <a:pt x="186224" y="509813"/>
                  </a:cubicBezTo>
                  <a:cubicBezTo>
                    <a:pt x="186224" y="507093"/>
                    <a:pt x="186224" y="120902"/>
                    <a:pt x="186224" y="118183"/>
                  </a:cubicBezTo>
                  <a:cubicBezTo>
                    <a:pt x="186224" y="85547"/>
                    <a:pt x="156308" y="58350"/>
                    <a:pt x="123672" y="58350"/>
                  </a:cubicBezTo>
                  <a:cubicBezTo>
                    <a:pt x="91036" y="55631"/>
                    <a:pt x="58400" y="85547"/>
                    <a:pt x="58400" y="118183"/>
                  </a:cubicBezTo>
                  <a:cubicBezTo>
                    <a:pt x="58400" y="123622"/>
                    <a:pt x="58400" y="469018"/>
                    <a:pt x="58400" y="469018"/>
                  </a:cubicBezTo>
                  <a:cubicBezTo>
                    <a:pt x="58400" y="498934"/>
                    <a:pt x="55680" y="528851"/>
                    <a:pt x="69279" y="553328"/>
                  </a:cubicBezTo>
                  <a:cubicBezTo>
                    <a:pt x="82877" y="583244"/>
                    <a:pt x="120953" y="605001"/>
                    <a:pt x="161747" y="605001"/>
                  </a:cubicBezTo>
                  <a:cubicBezTo>
                    <a:pt x="199822" y="605001"/>
                    <a:pt x="221580" y="575085"/>
                    <a:pt x="221580" y="575085"/>
                  </a:cubicBezTo>
                  <a:cubicBezTo>
                    <a:pt x="221580" y="575085"/>
                    <a:pt x="202542" y="566926"/>
                    <a:pt x="191663" y="542449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0253335F-845B-4DB3-A9A0-46D3B34CD5DB}"/>
                </a:ext>
              </a:extLst>
            </p:cNvPr>
            <p:cNvSpPr/>
            <p:nvPr/>
          </p:nvSpPr>
          <p:spPr>
            <a:xfrm>
              <a:off x="6320666" y="3416868"/>
              <a:ext cx="435145" cy="462341"/>
            </a:xfrm>
            <a:custGeom>
              <a:avLst/>
              <a:gdLst>
                <a:gd name="connsiteX0" fmla="*/ 302948 w 435145"/>
                <a:gd name="connsiteY0" fmla="*/ 74684 h 462341"/>
                <a:gd name="connsiteX1" fmla="*/ 186003 w 435145"/>
                <a:gd name="connsiteY1" fmla="*/ 148115 h 462341"/>
                <a:gd name="connsiteX2" fmla="*/ 186003 w 435145"/>
                <a:gd name="connsiteY2" fmla="*/ 148115 h 462341"/>
                <a:gd name="connsiteX3" fmla="*/ 186003 w 435145"/>
                <a:gd name="connsiteY3" fmla="*/ 115479 h 462341"/>
                <a:gd name="connsiteX4" fmla="*/ 123450 w 435145"/>
                <a:gd name="connsiteY4" fmla="*/ 58366 h 462341"/>
                <a:gd name="connsiteX5" fmla="*/ 58178 w 435145"/>
                <a:gd name="connsiteY5" fmla="*/ 115479 h 462341"/>
                <a:gd name="connsiteX6" fmla="*/ 58178 w 435145"/>
                <a:gd name="connsiteY6" fmla="*/ 362967 h 462341"/>
                <a:gd name="connsiteX7" fmla="*/ 120730 w 435145"/>
                <a:gd name="connsiteY7" fmla="*/ 422800 h 462341"/>
                <a:gd name="connsiteX8" fmla="*/ 186003 w 435145"/>
                <a:gd name="connsiteY8" fmla="*/ 362967 h 462341"/>
                <a:gd name="connsiteX9" fmla="*/ 186003 w 435145"/>
                <a:gd name="connsiteY9" fmla="*/ 213386 h 462341"/>
                <a:gd name="connsiteX10" fmla="*/ 186003 w 435145"/>
                <a:gd name="connsiteY10" fmla="*/ 213386 h 462341"/>
                <a:gd name="connsiteX11" fmla="*/ 229517 w 435145"/>
                <a:gd name="connsiteY11" fmla="*/ 161713 h 462341"/>
                <a:gd name="connsiteX12" fmla="*/ 259433 w 435145"/>
                <a:gd name="connsiteY12" fmla="*/ 194349 h 462341"/>
                <a:gd name="connsiteX13" fmla="*/ 259433 w 435145"/>
                <a:gd name="connsiteY13" fmla="*/ 362967 h 462341"/>
                <a:gd name="connsiteX14" fmla="*/ 321985 w 435145"/>
                <a:gd name="connsiteY14" fmla="*/ 422800 h 462341"/>
                <a:gd name="connsiteX15" fmla="*/ 387257 w 435145"/>
                <a:gd name="connsiteY15" fmla="*/ 362967 h 462341"/>
                <a:gd name="connsiteX16" fmla="*/ 387257 w 435145"/>
                <a:gd name="connsiteY16" fmla="*/ 273219 h 462341"/>
                <a:gd name="connsiteX17" fmla="*/ 302948 w 435145"/>
                <a:gd name="connsiteY17" fmla="*/ 74684 h 4623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435145" h="462341">
                  <a:moveTo>
                    <a:pt x="302948" y="74684"/>
                  </a:moveTo>
                  <a:cubicBezTo>
                    <a:pt x="234956" y="74684"/>
                    <a:pt x="196881" y="131797"/>
                    <a:pt x="186003" y="148115"/>
                  </a:cubicBezTo>
                  <a:lnTo>
                    <a:pt x="186003" y="148115"/>
                  </a:lnTo>
                  <a:cubicBezTo>
                    <a:pt x="186003" y="129077"/>
                    <a:pt x="186003" y="115479"/>
                    <a:pt x="186003" y="115479"/>
                  </a:cubicBezTo>
                  <a:cubicBezTo>
                    <a:pt x="186003" y="82843"/>
                    <a:pt x="156086" y="58366"/>
                    <a:pt x="123450" y="58366"/>
                  </a:cubicBezTo>
                  <a:cubicBezTo>
                    <a:pt x="90814" y="55646"/>
                    <a:pt x="58178" y="82843"/>
                    <a:pt x="58178" y="115479"/>
                  </a:cubicBezTo>
                  <a:cubicBezTo>
                    <a:pt x="58178" y="120918"/>
                    <a:pt x="58178" y="360248"/>
                    <a:pt x="58178" y="362967"/>
                  </a:cubicBezTo>
                  <a:cubicBezTo>
                    <a:pt x="58178" y="395603"/>
                    <a:pt x="88095" y="422800"/>
                    <a:pt x="120730" y="422800"/>
                  </a:cubicBezTo>
                  <a:cubicBezTo>
                    <a:pt x="153366" y="425519"/>
                    <a:pt x="186003" y="395603"/>
                    <a:pt x="186003" y="362967"/>
                  </a:cubicBezTo>
                  <a:cubicBezTo>
                    <a:pt x="186003" y="360248"/>
                    <a:pt x="186003" y="281378"/>
                    <a:pt x="186003" y="213386"/>
                  </a:cubicBezTo>
                  <a:lnTo>
                    <a:pt x="186003" y="213386"/>
                  </a:lnTo>
                  <a:cubicBezTo>
                    <a:pt x="191442" y="186190"/>
                    <a:pt x="205040" y="161713"/>
                    <a:pt x="229517" y="161713"/>
                  </a:cubicBezTo>
                  <a:cubicBezTo>
                    <a:pt x="259433" y="161713"/>
                    <a:pt x="259433" y="194349"/>
                    <a:pt x="259433" y="194349"/>
                  </a:cubicBezTo>
                  <a:lnTo>
                    <a:pt x="259433" y="362967"/>
                  </a:lnTo>
                  <a:cubicBezTo>
                    <a:pt x="259433" y="395603"/>
                    <a:pt x="289349" y="422800"/>
                    <a:pt x="321985" y="422800"/>
                  </a:cubicBezTo>
                  <a:cubicBezTo>
                    <a:pt x="354621" y="425519"/>
                    <a:pt x="387257" y="395603"/>
                    <a:pt x="387257" y="362967"/>
                  </a:cubicBezTo>
                  <a:lnTo>
                    <a:pt x="387257" y="273219"/>
                  </a:lnTo>
                  <a:cubicBezTo>
                    <a:pt x="387257" y="183470"/>
                    <a:pt x="395416" y="71964"/>
                    <a:pt x="302948" y="74684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599992C4-BDD7-4BA0-95D9-C32B47D580A5}"/>
                </a:ext>
              </a:extLst>
            </p:cNvPr>
            <p:cNvSpPr/>
            <p:nvPr/>
          </p:nvSpPr>
          <p:spPr>
            <a:xfrm>
              <a:off x="7960620" y="3416868"/>
              <a:ext cx="435145" cy="462341"/>
            </a:xfrm>
            <a:custGeom>
              <a:avLst/>
              <a:gdLst>
                <a:gd name="connsiteX0" fmla="*/ 302948 w 435145"/>
                <a:gd name="connsiteY0" fmla="*/ 74684 h 462341"/>
                <a:gd name="connsiteX1" fmla="*/ 186002 w 435145"/>
                <a:gd name="connsiteY1" fmla="*/ 148115 h 462341"/>
                <a:gd name="connsiteX2" fmla="*/ 186002 w 435145"/>
                <a:gd name="connsiteY2" fmla="*/ 148115 h 462341"/>
                <a:gd name="connsiteX3" fmla="*/ 186002 w 435145"/>
                <a:gd name="connsiteY3" fmla="*/ 115479 h 462341"/>
                <a:gd name="connsiteX4" fmla="*/ 123450 w 435145"/>
                <a:gd name="connsiteY4" fmla="*/ 58366 h 462341"/>
                <a:gd name="connsiteX5" fmla="*/ 58178 w 435145"/>
                <a:gd name="connsiteY5" fmla="*/ 115479 h 462341"/>
                <a:gd name="connsiteX6" fmla="*/ 58178 w 435145"/>
                <a:gd name="connsiteY6" fmla="*/ 362967 h 462341"/>
                <a:gd name="connsiteX7" fmla="*/ 120730 w 435145"/>
                <a:gd name="connsiteY7" fmla="*/ 422800 h 462341"/>
                <a:gd name="connsiteX8" fmla="*/ 186002 w 435145"/>
                <a:gd name="connsiteY8" fmla="*/ 362967 h 462341"/>
                <a:gd name="connsiteX9" fmla="*/ 186002 w 435145"/>
                <a:gd name="connsiteY9" fmla="*/ 213386 h 462341"/>
                <a:gd name="connsiteX10" fmla="*/ 186002 w 435145"/>
                <a:gd name="connsiteY10" fmla="*/ 213386 h 462341"/>
                <a:gd name="connsiteX11" fmla="*/ 229517 w 435145"/>
                <a:gd name="connsiteY11" fmla="*/ 161713 h 462341"/>
                <a:gd name="connsiteX12" fmla="*/ 259433 w 435145"/>
                <a:gd name="connsiteY12" fmla="*/ 194349 h 462341"/>
                <a:gd name="connsiteX13" fmla="*/ 259433 w 435145"/>
                <a:gd name="connsiteY13" fmla="*/ 362967 h 462341"/>
                <a:gd name="connsiteX14" fmla="*/ 321985 w 435145"/>
                <a:gd name="connsiteY14" fmla="*/ 422800 h 462341"/>
                <a:gd name="connsiteX15" fmla="*/ 387257 w 435145"/>
                <a:gd name="connsiteY15" fmla="*/ 362967 h 462341"/>
                <a:gd name="connsiteX16" fmla="*/ 387257 w 435145"/>
                <a:gd name="connsiteY16" fmla="*/ 273219 h 462341"/>
                <a:gd name="connsiteX17" fmla="*/ 302948 w 435145"/>
                <a:gd name="connsiteY17" fmla="*/ 74684 h 4623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435145" h="462341">
                  <a:moveTo>
                    <a:pt x="302948" y="74684"/>
                  </a:moveTo>
                  <a:cubicBezTo>
                    <a:pt x="234956" y="74684"/>
                    <a:pt x="196881" y="131797"/>
                    <a:pt x="186002" y="148115"/>
                  </a:cubicBezTo>
                  <a:lnTo>
                    <a:pt x="186002" y="148115"/>
                  </a:lnTo>
                  <a:cubicBezTo>
                    <a:pt x="186002" y="129077"/>
                    <a:pt x="186002" y="115479"/>
                    <a:pt x="186002" y="115479"/>
                  </a:cubicBezTo>
                  <a:cubicBezTo>
                    <a:pt x="186002" y="82843"/>
                    <a:pt x="156086" y="58366"/>
                    <a:pt x="123450" y="58366"/>
                  </a:cubicBezTo>
                  <a:cubicBezTo>
                    <a:pt x="90814" y="55646"/>
                    <a:pt x="58178" y="82843"/>
                    <a:pt x="58178" y="115479"/>
                  </a:cubicBezTo>
                  <a:cubicBezTo>
                    <a:pt x="58178" y="120918"/>
                    <a:pt x="58178" y="360248"/>
                    <a:pt x="58178" y="362967"/>
                  </a:cubicBezTo>
                  <a:cubicBezTo>
                    <a:pt x="58178" y="395603"/>
                    <a:pt x="88095" y="422800"/>
                    <a:pt x="120730" y="422800"/>
                  </a:cubicBezTo>
                  <a:cubicBezTo>
                    <a:pt x="153366" y="425519"/>
                    <a:pt x="186002" y="395603"/>
                    <a:pt x="186002" y="362967"/>
                  </a:cubicBezTo>
                  <a:cubicBezTo>
                    <a:pt x="186002" y="360248"/>
                    <a:pt x="186002" y="281378"/>
                    <a:pt x="186002" y="213386"/>
                  </a:cubicBezTo>
                  <a:lnTo>
                    <a:pt x="186002" y="213386"/>
                  </a:lnTo>
                  <a:cubicBezTo>
                    <a:pt x="191442" y="186190"/>
                    <a:pt x="205040" y="161713"/>
                    <a:pt x="229517" y="161713"/>
                  </a:cubicBezTo>
                  <a:cubicBezTo>
                    <a:pt x="259433" y="161713"/>
                    <a:pt x="259433" y="194349"/>
                    <a:pt x="259433" y="194349"/>
                  </a:cubicBezTo>
                  <a:lnTo>
                    <a:pt x="259433" y="362967"/>
                  </a:lnTo>
                  <a:cubicBezTo>
                    <a:pt x="259433" y="395603"/>
                    <a:pt x="289349" y="422800"/>
                    <a:pt x="321985" y="422800"/>
                  </a:cubicBezTo>
                  <a:cubicBezTo>
                    <a:pt x="354621" y="425519"/>
                    <a:pt x="387257" y="395603"/>
                    <a:pt x="387257" y="362967"/>
                  </a:cubicBezTo>
                  <a:lnTo>
                    <a:pt x="387257" y="273219"/>
                  </a:lnTo>
                  <a:cubicBezTo>
                    <a:pt x="384537" y="183470"/>
                    <a:pt x="395416" y="71964"/>
                    <a:pt x="302948" y="74684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/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BBA1C7DC-6309-4E4F-B5A5-1E32C5ABFC1A}"/>
                </a:ext>
              </a:extLst>
            </p:cNvPr>
            <p:cNvSpPr/>
            <p:nvPr/>
          </p:nvSpPr>
          <p:spPr>
            <a:xfrm>
              <a:off x="5020669" y="3416868"/>
              <a:ext cx="435145" cy="462341"/>
            </a:xfrm>
            <a:custGeom>
              <a:avLst/>
              <a:gdLst>
                <a:gd name="connsiteX0" fmla="*/ 302948 w 435145"/>
                <a:gd name="connsiteY0" fmla="*/ 74684 h 462341"/>
                <a:gd name="connsiteX1" fmla="*/ 186002 w 435145"/>
                <a:gd name="connsiteY1" fmla="*/ 148115 h 462341"/>
                <a:gd name="connsiteX2" fmla="*/ 186002 w 435145"/>
                <a:gd name="connsiteY2" fmla="*/ 148115 h 462341"/>
                <a:gd name="connsiteX3" fmla="*/ 186002 w 435145"/>
                <a:gd name="connsiteY3" fmla="*/ 115479 h 462341"/>
                <a:gd name="connsiteX4" fmla="*/ 123450 w 435145"/>
                <a:gd name="connsiteY4" fmla="*/ 58366 h 462341"/>
                <a:gd name="connsiteX5" fmla="*/ 58178 w 435145"/>
                <a:gd name="connsiteY5" fmla="*/ 115479 h 462341"/>
                <a:gd name="connsiteX6" fmla="*/ 58178 w 435145"/>
                <a:gd name="connsiteY6" fmla="*/ 362967 h 462341"/>
                <a:gd name="connsiteX7" fmla="*/ 120730 w 435145"/>
                <a:gd name="connsiteY7" fmla="*/ 422800 h 462341"/>
                <a:gd name="connsiteX8" fmla="*/ 186002 w 435145"/>
                <a:gd name="connsiteY8" fmla="*/ 362967 h 462341"/>
                <a:gd name="connsiteX9" fmla="*/ 186002 w 435145"/>
                <a:gd name="connsiteY9" fmla="*/ 213386 h 462341"/>
                <a:gd name="connsiteX10" fmla="*/ 186002 w 435145"/>
                <a:gd name="connsiteY10" fmla="*/ 213386 h 462341"/>
                <a:gd name="connsiteX11" fmla="*/ 229517 w 435145"/>
                <a:gd name="connsiteY11" fmla="*/ 161713 h 462341"/>
                <a:gd name="connsiteX12" fmla="*/ 259433 w 435145"/>
                <a:gd name="connsiteY12" fmla="*/ 194349 h 462341"/>
                <a:gd name="connsiteX13" fmla="*/ 259433 w 435145"/>
                <a:gd name="connsiteY13" fmla="*/ 362967 h 462341"/>
                <a:gd name="connsiteX14" fmla="*/ 321985 w 435145"/>
                <a:gd name="connsiteY14" fmla="*/ 422800 h 462341"/>
                <a:gd name="connsiteX15" fmla="*/ 387257 w 435145"/>
                <a:gd name="connsiteY15" fmla="*/ 362967 h 462341"/>
                <a:gd name="connsiteX16" fmla="*/ 387257 w 435145"/>
                <a:gd name="connsiteY16" fmla="*/ 273219 h 462341"/>
                <a:gd name="connsiteX17" fmla="*/ 302948 w 435145"/>
                <a:gd name="connsiteY17" fmla="*/ 74684 h 4623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435145" h="462341">
                  <a:moveTo>
                    <a:pt x="302948" y="74684"/>
                  </a:moveTo>
                  <a:cubicBezTo>
                    <a:pt x="234956" y="74684"/>
                    <a:pt x="196881" y="131797"/>
                    <a:pt x="186002" y="148115"/>
                  </a:cubicBezTo>
                  <a:lnTo>
                    <a:pt x="186002" y="148115"/>
                  </a:lnTo>
                  <a:cubicBezTo>
                    <a:pt x="186002" y="129077"/>
                    <a:pt x="186002" y="115479"/>
                    <a:pt x="186002" y="115479"/>
                  </a:cubicBezTo>
                  <a:cubicBezTo>
                    <a:pt x="186002" y="82843"/>
                    <a:pt x="156086" y="58366"/>
                    <a:pt x="123450" y="58366"/>
                  </a:cubicBezTo>
                  <a:cubicBezTo>
                    <a:pt x="90814" y="55646"/>
                    <a:pt x="58178" y="82843"/>
                    <a:pt x="58178" y="115479"/>
                  </a:cubicBezTo>
                  <a:cubicBezTo>
                    <a:pt x="58178" y="120918"/>
                    <a:pt x="58178" y="360248"/>
                    <a:pt x="58178" y="362967"/>
                  </a:cubicBezTo>
                  <a:cubicBezTo>
                    <a:pt x="58178" y="395603"/>
                    <a:pt x="88094" y="422800"/>
                    <a:pt x="120730" y="422800"/>
                  </a:cubicBezTo>
                  <a:cubicBezTo>
                    <a:pt x="153366" y="425519"/>
                    <a:pt x="186002" y="395603"/>
                    <a:pt x="186002" y="362967"/>
                  </a:cubicBezTo>
                  <a:cubicBezTo>
                    <a:pt x="186002" y="360248"/>
                    <a:pt x="186002" y="281378"/>
                    <a:pt x="186002" y="213386"/>
                  </a:cubicBezTo>
                  <a:lnTo>
                    <a:pt x="186002" y="213386"/>
                  </a:lnTo>
                  <a:cubicBezTo>
                    <a:pt x="191442" y="186190"/>
                    <a:pt x="205040" y="161713"/>
                    <a:pt x="229517" y="161713"/>
                  </a:cubicBezTo>
                  <a:cubicBezTo>
                    <a:pt x="259433" y="161713"/>
                    <a:pt x="259433" y="194349"/>
                    <a:pt x="259433" y="194349"/>
                  </a:cubicBezTo>
                  <a:lnTo>
                    <a:pt x="259433" y="362967"/>
                  </a:lnTo>
                  <a:cubicBezTo>
                    <a:pt x="259433" y="395603"/>
                    <a:pt x="289349" y="422800"/>
                    <a:pt x="321985" y="422800"/>
                  </a:cubicBezTo>
                  <a:cubicBezTo>
                    <a:pt x="354621" y="425519"/>
                    <a:pt x="387257" y="395603"/>
                    <a:pt x="387257" y="362967"/>
                  </a:cubicBezTo>
                  <a:lnTo>
                    <a:pt x="387257" y="273219"/>
                  </a:lnTo>
                  <a:cubicBezTo>
                    <a:pt x="384537" y="183470"/>
                    <a:pt x="395416" y="71964"/>
                    <a:pt x="302948" y="74684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F248CF09-AD3B-4C85-B535-3B9F24457F3F}"/>
                </a:ext>
              </a:extLst>
            </p:cNvPr>
            <p:cNvSpPr/>
            <p:nvPr/>
          </p:nvSpPr>
          <p:spPr>
            <a:xfrm>
              <a:off x="7616289" y="3475234"/>
              <a:ext cx="364436" cy="364434"/>
            </a:xfrm>
            <a:custGeom>
              <a:avLst/>
              <a:gdLst>
                <a:gd name="connsiteX0" fmla="*/ 182218 w 364436"/>
                <a:gd name="connsiteY0" fmla="*/ 73431 h 364434"/>
                <a:gd name="connsiteX1" fmla="*/ 130544 w 364436"/>
                <a:gd name="connsiteY1" fmla="*/ 179499 h 364434"/>
                <a:gd name="connsiteX2" fmla="*/ 182218 w 364436"/>
                <a:gd name="connsiteY2" fmla="*/ 285565 h 364434"/>
                <a:gd name="connsiteX3" fmla="*/ 233891 w 364436"/>
                <a:gd name="connsiteY3" fmla="*/ 179499 h 364434"/>
                <a:gd name="connsiteX4" fmla="*/ 182218 w 364436"/>
                <a:gd name="connsiteY4" fmla="*/ 73431 h 364434"/>
                <a:gd name="connsiteX5" fmla="*/ 182219 w 364436"/>
                <a:gd name="connsiteY5" fmla="*/ 0 h 364434"/>
                <a:gd name="connsiteX6" fmla="*/ 364436 w 364436"/>
                <a:gd name="connsiteY6" fmla="*/ 182217 h 364434"/>
                <a:gd name="connsiteX7" fmla="*/ 182219 w 364436"/>
                <a:gd name="connsiteY7" fmla="*/ 364434 h 364434"/>
                <a:gd name="connsiteX8" fmla="*/ 0 w 364436"/>
                <a:gd name="connsiteY8" fmla="*/ 182217 h 364434"/>
                <a:gd name="connsiteX9" fmla="*/ 182219 w 364436"/>
                <a:gd name="connsiteY9" fmla="*/ 0 h 3644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64436" h="364434">
                  <a:moveTo>
                    <a:pt x="182218" y="73431"/>
                  </a:moveTo>
                  <a:cubicBezTo>
                    <a:pt x="152302" y="76151"/>
                    <a:pt x="130544" y="114226"/>
                    <a:pt x="130544" y="179499"/>
                  </a:cubicBezTo>
                  <a:cubicBezTo>
                    <a:pt x="130544" y="244770"/>
                    <a:pt x="146862" y="285565"/>
                    <a:pt x="182218" y="285565"/>
                  </a:cubicBezTo>
                  <a:cubicBezTo>
                    <a:pt x="217573" y="285565"/>
                    <a:pt x="233891" y="247490"/>
                    <a:pt x="233891" y="179499"/>
                  </a:cubicBezTo>
                  <a:cubicBezTo>
                    <a:pt x="233891" y="114226"/>
                    <a:pt x="212134" y="73431"/>
                    <a:pt x="182218" y="73431"/>
                  </a:cubicBezTo>
                  <a:close/>
                  <a:moveTo>
                    <a:pt x="182219" y="0"/>
                  </a:moveTo>
                  <a:cubicBezTo>
                    <a:pt x="282846" y="0"/>
                    <a:pt x="364436" y="81590"/>
                    <a:pt x="364436" y="182217"/>
                  </a:cubicBezTo>
                  <a:cubicBezTo>
                    <a:pt x="364436" y="282844"/>
                    <a:pt x="282846" y="364434"/>
                    <a:pt x="182219" y="364434"/>
                  </a:cubicBezTo>
                  <a:cubicBezTo>
                    <a:pt x="81591" y="364434"/>
                    <a:pt x="0" y="282844"/>
                    <a:pt x="0" y="182217"/>
                  </a:cubicBezTo>
                  <a:cubicBezTo>
                    <a:pt x="0" y="81590"/>
                    <a:pt x="81591" y="0"/>
                    <a:pt x="182219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E974E943-15A7-4D05-B2E8-5041FD49AFD8}"/>
                </a:ext>
              </a:extLst>
            </p:cNvPr>
            <p:cNvSpPr/>
            <p:nvPr/>
          </p:nvSpPr>
          <p:spPr>
            <a:xfrm>
              <a:off x="6743101" y="3464184"/>
              <a:ext cx="372773" cy="375657"/>
            </a:xfrm>
            <a:custGeom>
              <a:avLst/>
              <a:gdLst>
                <a:gd name="connsiteX0" fmla="*/ 176958 w 372773"/>
                <a:gd name="connsiteY0" fmla="*/ 98080 h 375657"/>
                <a:gd name="connsiteX1" fmla="*/ 125284 w 372773"/>
                <a:gd name="connsiteY1" fmla="*/ 190548 h 375657"/>
                <a:gd name="connsiteX2" fmla="*/ 176958 w 372773"/>
                <a:gd name="connsiteY2" fmla="*/ 283017 h 375657"/>
                <a:gd name="connsiteX3" fmla="*/ 228631 w 372773"/>
                <a:gd name="connsiteY3" fmla="*/ 190548 h 375657"/>
                <a:gd name="connsiteX4" fmla="*/ 176958 w 372773"/>
                <a:gd name="connsiteY4" fmla="*/ 98080 h 375657"/>
                <a:gd name="connsiteX5" fmla="*/ 307501 w 372773"/>
                <a:gd name="connsiteY5" fmla="*/ 172 h 375657"/>
                <a:gd name="connsiteX6" fmla="*/ 372773 w 372773"/>
                <a:gd name="connsiteY6" fmla="*/ 62724 h 375657"/>
                <a:gd name="connsiteX7" fmla="*/ 372773 w 372773"/>
                <a:gd name="connsiteY7" fmla="*/ 312934 h 375657"/>
                <a:gd name="connsiteX8" fmla="*/ 302061 w 372773"/>
                <a:gd name="connsiteY8" fmla="*/ 375486 h 375657"/>
                <a:gd name="connsiteX9" fmla="*/ 239509 w 372773"/>
                <a:gd name="connsiteY9" fmla="*/ 326532 h 375657"/>
                <a:gd name="connsiteX10" fmla="*/ 179677 w 372773"/>
                <a:gd name="connsiteY10" fmla="*/ 370046 h 375657"/>
                <a:gd name="connsiteX11" fmla="*/ 70890 w 372773"/>
                <a:gd name="connsiteY11" fmla="*/ 353728 h 375657"/>
                <a:gd name="connsiteX12" fmla="*/ 128003 w 372773"/>
                <a:gd name="connsiteY12" fmla="*/ 11051 h 375657"/>
                <a:gd name="connsiteX13" fmla="*/ 236790 w 372773"/>
                <a:gd name="connsiteY13" fmla="*/ 70883 h 375657"/>
                <a:gd name="connsiteX14" fmla="*/ 236790 w 372773"/>
                <a:gd name="connsiteY14" fmla="*/ 62724 h 375657"/>
                <a:gd name="connsiteX15" fmla="*/ 307501 w 372773"/>
                <a:gd name="connsiteY15" fmla="*/ 172 h 3756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72773" h="375657">
                  <a:moveTo>
                    <a:pt x="176958" y="98080"/>
                  </a:moveTo>
                  <a:cubicBezTo>
                    <a:pt x="147042" y="100800"/>
                    <a:pt x="125284" y="133436"/>
                    <a:pt x="125284" y="190548"/>
                  </a:cubicBezTo>
                  <a:cubicBezTo>
                    <a:pt x="125284" y="247661"/>
                    <a:pt x="141602" y="283017"/>
                    <a:pt x="176958" y="283017"/>
                  </a:cubicBezTo>
                  <a:cubicBezTo>
                    <a:pt x="212314" y="283017"/>
                    <a:pt x="228631" y="247661"/>
                    <a:pt x="228631" y="190548"/>
                  </a:cubicBezTo>
                  <a:cubicBezTo>
                    <a:pt x="228631" y="133436"/>
                    <a:pt x="206874" y="98080"/>
                    <a:pt x="176958" y="98080"/>
                  </a:cubicBezTo>
                  <a:close/>
                  <a:moveTo>
                    <a:pt x="307501" y="172"/>
                  </a:moveTo>
                  <a:cubicBezTo>
                    <a:pt x="340137" y="172"/>
                    <a:pt x="372773" y="30088"/>
                    <a:pt x="372773" y="62724"/>
                  </a:cubicBezTo>
                  <a:cubicBezTo>
                    <a:pt x="372773" y="65444"/>
                    <a:pt x="372773" y="307494"/>
                    <a:pt x="372773" y="312934"/>
                  </a:cubicBezTo>
                  <a:cubicBezTo>
                    <a:pt x="370053" y="348289"/>
                    <a:pt x="337417" y="378205"/>
                    <a:pt x="302061" y="375486"/>
                  </a:cubicBezTo>
                  <a:cubicBezTo>
                    <a:pt x="274865" y="372766"/>
                    <a:pt x="247668" y="353728"/>
                    <a:pt x="239509" y="326532"/>
                  </a:cubicBezTo>
                  <a:cubicBezTo>
                    <a:pt x="225911" y="348289"/>
                    <a:pt x="198715" y="364607"/>
                    <a:pt x="179677" y="370046"/>
                  </a:cubicBezTo>
                  <a:cubicBezTo>
                    <a:pt x="147041" y="378205"/>
                    <a:pt x="100807" y="372766"/>
                    <a:pt x="70890" y="353728"/>
                  </a:cubicBezTo>
                  <a:cubicBezTo>
                    <a:pt x="-35177" y="285737"/>
                    <a:pt x="-27018" y="11051"/>
                    <a:pt x="128003" y="11051"/>
                  </a:cubicBezTo>
                  <a:cubicBezTo>
                    <a:pt x="185116" y="11051"/>
                    <a:pt x="220471" y="49126"/>
                    <a:pt x="236790" y="70883"/>
                  </a:cubicBezTo>
                  <a:cubicBezTo>
                    <a:pt x="236790" y="70883"/>
                    <a:pt x="236790" y="65444"/>
                    <a:pt x="236790" y="62724"/>
                  </a:cubicBezTo>
                  <a:cubicBezTo>
                    <a:pt x="239509" y="27369"/>
                    <a:pt x="272145" y="-2547"/>
                    <a:pt x="307501" y="172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/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55FFAEB3-1B3E-4C78-9313-BD977A48C24D}"/>
                </a:ext>
              </a:extLst>
            </p:cNvPr>
            <p:cNvSpPr/>
            <p:nvPr/>
          </p:nvSpPr>
          <p:spPr>
            <a:xfrm>
              <a:off x="8380335" y="3464184"/>
              <a:ext cx="372772" cy="375657"/>
            </a:xfrm>
            <a:custGeom>
              <a:avLst/>
              <a:gdLst>
                <a:gd name="connsiteX0" fmla="*/ 176957 w 372772"/>
                <a:gd name="connsiteY0" fmla="*/ 98080 h 375657"/>
                <a:gd name="connsiteX1" fmla="*/ 125282 w 372772"/>
                <a:gd name="connsiteY1" fmla="*/ 190548 h 375657"/>
                <a:gd name="connsiteX2" fmla="*/ 176957 w 372772"/>
                <a:gd name="connsiteY2" fmla="*/ 283017 h 375657"/>
                <a:gd name="connsiteX3" fmla="*/ 228630 w 372772"/>
                <a:gd name="connsiteY3" fmla="*/ 190548 h 375657"/>
                <a:gd name="connsiteX4" fmla="*/ 176957 w 372772"/>
                <a:gd name="connsiteY4" fmla="*/ 98080 h 375657"/>
                <a:gd name="connsiteX5" fmla="*/ 307501 w 372772"/>
                <a:gd name="connsiteY5" fmla="*/ 172 h 375657"/>
                <a:gd name="connsiteX6" fmla="*/ 372772 w 372772"/>
                <a:gd name="connsiteY6" fmla="*/ 62724 h 375657"/>
                <a:gd name="connsiteX7" fmla="*/ 372772 w 372772"/>
                <a:gd name="connsiteY7" fmla="*/ 312934 h 375657"/>
                <a:gd name="connsiteX8" fmla="*/ 302062 w 372772"/>
                <a:gd name="connsiteY8" fmla="*/ 375486 h 375657"/>
                <a:gd name="connsiteX9" fmla="*/ 239509 w 372772"/>
                <a:gd name="connsiteY9" fmla="*/ 326532 h 375657"/>
                <a:gd name="connsiteX10" fmla="*/ 179677 w 372772"/>
                <a:gd name="connsiteY10" fmla="*/ 370046 h 375657"/>
                <a:gd name="connsiteX11" fmla="*/ 70890 w 372772"/>
                <a:gd name="connsiteY11" fmla="*/ 353728 h 375657"/>
                <a:gd name="connsiteX12" fmla="*/ 128002 w 372772"/>
                <a:gd name="connsiteY12" fmla="*/ 11051 h 375657"/>
                <a:gd name="connsiteX13" fmla="*/ 236790 w 372772"/>
                <a:gd name="connsiteY13" fmla="*/ 70883 h 375657"/>
                <a:gd name="connsiteX14" fmla="*/ 236790 w 372772"/>
                <a:gd name="connsiteY14" fmla="*/ 62724 h 375657"/>
                <a:gd name="connsiteX15" fmla="*/ 307501 w 372772"/>
                <a:gd name="connsiteY15" fmla="*/ 172 h 3756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72772" h="375657">
                  <a:moveTo>
                    <a:pt x="176957" y="98080"/>
                  </a:moveTo>
                  <a:cubicBezTo>
                    <a:pt x="147039" y="100800"/>
                    <a:pt x="125282" y="133436"/>
                    <a:pt x="125282" y="190548"/>
                  </a:cubicBezTo>
                  <a:cubicBezTo>
                    <a:pt x="125282" y="247661"/>
                    <a:pt x="141600" y="283017"/>
                    <a:pt x="176957" y="283017"/>
                  </a:cubicBezTo>
                  <a:cubicBezTo>
                    <a:pt x="212312" y="283017"/>
                    <a:pt x="228630" y="247661"/>
                    <a:pt x="228630" y="190548"/>
                  </a:cubicBezTo>
                  <a:cubicBezTo>
                    <a:pt x="228630" y="133436"/>
                    <a:pt x="206873" y="98080"/>
                    <a:pt x="176957" y="98080"/>
                  </a:cubicBezTo>
                  <a:close/>
                  <a:moveTo>
                    <a:pt x="307501" y="172"/>
                  </a:moveTo>
                  <a:cubicBezTo>
                    <a:pt x="340137" y="172"/>
                    <a:pt x="372772" y="30088"/>
                    <a:pt x="372772" y="62724"/>
                  </a:cubicBezTo>
                  <a:cubicBezTo>
                    <a:pt x="372772" y="65444"/>
                    <a:pt x="372772" y="307494"/>
                    <a:pt x="372772" y="312934"/>
                  </a:cubicBezTo>
                  <a:cubicBezTo>
                    <a:pt x="370053" y="348289"/>
                    <a:pt x="337417" y="378205"/>
                    <a:pt x="302062" y="375486"/>
                  </a:cubicBezTo>
                  <a:cubicBezTo>
                    <a:pt x="274865" y="372766"/>
                    <a:pt x="247668" y="353728"/>
                    <a:pt x="239509" y="326532"/>
                  </a:cubicBezTo>
                  <a:cubicBezTo>
                    <a:pt x="228630" y="348289"/>
                    <a:pt x="198714" y="364607"/>
                    <a:pt x="179677" y="370046"/>
                  </a:cubicBezTo>
                  <a:cubicBezTo>
                    <a:pt x="147040" y="378205"/>
                    <a:pt x="100806" y="372766"/>
                    <a:pt x="70890" y="353728"/>
                  </a:cubicBezTo>
                  <a:cubicBezTo>
                    <a:pt x="-35177" y="285737"/>
                    <a:pt x="-27018" y="11051"/>
                    <a:pt x="128002" y="11051"/>
                  </a:cubicBezTo>
                  <a:cubicBezTo>
                    <a:pt x="185116" y="11051"/>
                    <a:pt x="220472" y="49126"/>
                    <a:pt x="236790" y="70883"/>
                  </a:cubicBezTo>
                  <a:cubicBezTo>
                    <a:pt x="236790" y="70883"/>
                    <a:pt x="236790" y="65444"/>
                    <a:pt x="236790" y="62724"/>
                  </a:cubicBezTo>
                  <a:cubicBezTo>
                    <a:pt x="239509" y="27369"/>
                    <a:pt x="272145" y="-2547"/>
                    <a:pt x="307501" y="172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/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7013A6C2-7D68-4911-9BB2-76B931A0840C}"/>
                </a:ext>
              </a:extLst>
            </p:cNvPr>
            <p:cNvSpPr/>
            <p:nvPr/>
          </p:nvSpPr>
          <p:spPr>
            <a:xfrm>
              <a:off x="7389492" y="3444253"/>
              <a:ext cx="217573" cy="435145"/>
            </a:xfrm>
            <a:custGeom>
              <a:avLst/>
              <a:gdLst>
                <a:gd name="connsiteX0" fmla="*/ 186002 w 217572"/>
                <a:gd name="connsiteY0" fmla="*/ 118011 h 435144"/>
                <a:gd name="connsiteX1" fmla="*/ 128890 w 217572"/>
                <a:gd name="connsiteY1" fmla="*/ 58178 h 435144"/>
                <a:gd name="connsiteX2" fmla="*/ 123450 w 217572"/>
                <a:gd name="connsiteY2" fmla="*/ 58178 h 435144"/>
                <a:gd name="connsiteX3" fmla="*/ 58178 w 217572"/>
                <a:gd name="connsiteY3" fmla="*/ 115291 h 435144"/>
                <a:gd name="connsiteX4" fmla="*/ 58178 w 217572"/>
                <a:gd name="connsiteY4" fmla="*/ 232236 h 435144"/>
                <a:gd name="connsiteX5" fmla="*/ 58178 w 217572"/>
                <a:gd name="connsiteY5" fmla="*/ 232236 h 435144"/>
                <a:gd name="connsiteX6" fmla="*/ 58178 w 217572"/>
                <a:gd name="connsiteY6" fmla="*/ 335583 h 435144"/>
                <a:gd name="connsiteX7" fmla="*/ 115291 w 217572"/>
                <a:gd name="connsiteY7" fmla="*/ 395415 h 435144"/>
                <a:gd name="connsiteX8" fmla="*/ 120730 w 217572"/>
                <a:gd name="connsiteY8" fmla="*/ 395415 h 435144"/>
                <a:gd name="connsiteX9" fmla="*/ 186002 w 217572"/>
                <a:gd name="connsiteY9" fmla="*/ 338303 h 435144"/>
                <a:gd name="connsiteX10" fmla="*/ 186002 w 217572"/>
                <a:gd name="connsiteY10" fmla="*/ 240395 h 435144"/>
                <a:gd name="connsiteX11" fmla="*/ 186002 w 217572"/>
                <a:gd name="connsiteY11" fmla="*/ 240395 h 435144"/>
                <a:gd name="connsiteX12" fmla="*/ 186002 w 217572"/>
                <a:gd name="connsiteY12" fmla="*/ 118011 h 4351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17572" h="435144">
                  <a:moveTo>
                    <a:pt x="186002" y="118011"/>
                  </a:moveTo>
                  <a:cubicBezTo>
                    <a:pt x="183283" y="85375"/>
                    <a:pt x="158806" y="60898"/>
                    <a:pt x="128890" y="58178"/>
                  </a:cubicBezTo>
                  <a:cubicBezTo>
                    <a:pt x="126170" y="58178"/>
                    <a:pt x="126170" y="58178"/>
                    <a:pt x="123450" y="58178"/>
                  </a:cubicBezTo>
                  <a:cubicBezTo>
                    <a:pt x="96254" y="58178"/>
                    <a:pt x="58178" y="82655"/>
                    <a:pt x="58178" y="115291"/>
                  </a:cubicBezTo>
                  <a:lnTo>
                    <a:pt x="58178" y="232236"/>
                  </a:lnTo>
                  <a:lnTo>
                    <a:pt x="58178" y="232236"/>
                  </a:lnTo>
                  <a:cubicBezTo>
                    <a:pt x="58178" y="270311"/>
                    <a:pt x="58178" y="335583"/>
                    <a:pt x="58178" y="335583"/>
                  </a:cubicBezTo>
                  <a:cubicBezTo>
                    <a:pt x="60898" y="368219"/>
                    <a:pt x="85375" y="392696"/>
                    <a:pt x="115291" y="395415"/>
                  </a:cubicBezTo>
                  <a:cubicBezTo>
                    <a:pt x="118011" y="395415"/>
                    <a:pt x="118011" y="395415"/>
                    <a:pt x="120730" y="395415"/>
                  </a:cubicBezTo>
                  <a:cubicBezTo>
                    <a:pt x="147927" y="395415"/>
                    <a:pt x="186002" y="370938"/>
                    <a:pt x="186002" y="338303"/>
                  </a:cubicBezTo>
                  <a:lnTo>
                    <a:pt x="186002" y="240395"/>
                  </a:lnTo>
                  <a:lnTo>
                    <a:pt x="186002" y="240395"/>
                  </a:lnTo>
                  <a:cubicBezTo>
                    <a:pt x="186002" y="202320"/>
                    <a:pt x="186002" y="118011"/>
                    <a:pt x="186002" y="118011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/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43A0FC2E-1696-4E5D-8740-0173FEC0C940}"/>
                </a:ext>
              </a:extLst>
            </p:cNvPr>
            <p:cNvSpPr/>
            <p:nvPr/>
          </p:nvSpPr>
          <p:spPr>
            <a:xfrm>
              <a:off x="7392212" y="3280901"/>
              <a:ext cx="217573" cy="217572"/>
            </a:xfrm>
            <a:custGeom>
              <a:avLst/>
              <a:gdLst>
                <a:gd name="connsiteX0" fmla="*/ 183282 w 217572"/>
                <a:gd name="connsiteY0" fmla="*/ 120902 h 217572"/>
                <a:gd name="connsiteX1" fmla="*/ 120730 w 217572"/>
                <a:gd name="connsiteY1" fmla="*/ 183454 h 217572"/>
                <a:gd name="connsiteX2" fmla="*/ 58178 w 217572"/>
                <a:gd name="connsiteY2" fmla="*/ 120902 h 217572"/>
                <a:gd name="connsiteX3" fmla="*/ 120730 w 217572"/>
                <a:gd name="connsiteY3" fmla="*/ 58350 h 217572"/>
                <a:gd name="connsiteX4" fmla="*/ 183282 w 217572"/>
                <a:gd name="connsiteY4" fmla="*/ 120902 h 2175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17572" h="217572">
                  <a:moveTo>
                    <a:pt x="183282" y="120902"/>
                  </a:moveTo>
                  <a:cubicBezTo>
                    <a:pt x="183282" y="156258"/>
                    <a:pt x="156086" y="183454"/>
                    <a:pt x="120730" y="183454"/>
                  </a:cubicBezTo>
                  <a:cubicBezTo>
                    <a:pt x="85375" y="183454"/>
                    <a:pt x="58178" y="156258"/>
                    <a:pt x="58178" y="120902"/>
                  </a:cubicBezTo>
                  <a:cubicBezTo>
                    <a:pt x="58178" y="85547"/>
                    <a:pt x="85375" y="58350"/>
                    <a:pt x="120730" y="58350"/>
                  </a:cubicBezTo>
                  <a:cubicBezTo>
                    <a:pt x="153366" y="55630"/>
                    <a:pt x="183282" y="85547"/>
                    <a:pt x="183282" y="120902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/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FA6C3BEF-B959-4A63-9972-3910916B1FB5}"/>
                </a:ext>
              </a:extLst>
            </p:cNvPr>
            <p:cNvSpPr/>
            <p:nvPr/>
          </p:nvSpPr>
          <p:spPr>
            <a:xfrm>
              <a:off x="6005186" y="3416884"/>
              <a:ext cx="380752" cy="462341"/>
            </a:xfrm>
            <a:custGeom>
              <a:avLst/>
              <a:gdLst>
                <a:gd name="connsiteX0" fmla="*/ 270312 w 380752"/>
                <a:gd name="connsiteY0" fmla="*/ 69229 h 462341"/>
                <a:gd name="connsiteX1" fmla="*/ 188722 w 380752"/>
                <a:gd name="connsiteY1" fmla="*/ 134501 h 462341"/>
                <a:gd name="connsiteX2" fmla="*/ 188722 w 380752"/>
                <a:gd name="connsiteY2" fmla="*/ 118183 h 462341"/>
                <a:gd name="connsiteX3" fmla="*/ 126170 w 380752"/>
                <a:gd name="connsiteY3" fmla="*/ 58350 h 462341"/>
                <a:gd name="connsiteX4" fmla="*/ 58178 w 380752"/>
                <a:gd name="connsiteY4" fmla="*/ 118183 h 462341"/>
                <a:gd name="connsiteX5" fmla="*/ 58178 w 380752"/>
                <a:gd name="connsiteY5" fmla="*/ 210651 h 462341"/>
                <a:gd name="connsiteX6" fmla="*/ 58178 w 380752"/>
                <a:gd name="connsiteY6" fmla="*/ 365671 h 462341"/>
                <a:gd name="connsiteX7" fmla="*/ 58178 w 380752"/>
                <a:gd name="connsiteY7" fmla="*/ 365671 h 462341"/>
                <a:gd name="connsiteX8" fmla="*/ 120730 w 380752"/>
                <a:gd name="connsiteY8" fmla="*/ 425504 h 462341"/>
                <a:gd name="connsiteX9" fmla="*/ 186002 w 380752"/>
                <a:gd name="connsiteY9" fmla="*/ 365671 h 462341"/>
                <a:gd name="connsiteX10" fmla="*/ 186002 w 380752"/>
                <a:gd name="connsiteY10" fmla="*/ 365671 h 462341"/>
                <a:gd name="connsiteX11" fmla="*/ 186002 w 380752"/>
                <a:gd name="connsiteY11" fmla="*/ 210651 h 462341"/>
                <a:gd name="connsiteX12" fmla="*/ 215919 w 380752"/>
                <a:gd name="connsiteY12" fmla="*/ 158978 h 462341"/>
                <a:gd name="connsiteX13" fmla="*/ 275751 w 380752"/>
                <a:gd name="connsiteY13" fmla="*/ 221530 h 462341"/>
                <a:gd name="connsiteX14" fmla="*/ 270312 w 380752"/>
                <a:gd name="connsiteY14" fmla="*/ 69229 h 4623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80752" h="462341">
                  <a:moveTo>
                    <a:pt x="270312" y="69229"/>
                  </a:moveTo>
                  <a:cubicBezTo>
                    <a:pt x="232236" y="71949"/>
                    <a:pt x="213199" y="99145"/>
                    <a:pt x="188722" y="134501"/>
                  </a:cubicBezTo>
                  <a:cubicBezTo>
                    <a:pt x="188722" y="134501"/>
                    <a:pt x="188722" y="118183"/>
                    <a:pt x="188722" y="118183"/>
                  </a:cubicBezTo>
                  <a:cubicBezTo>
                    <a:pt x="188722" y="85547"/>
                    <a:pt x="158806" y="58350"/>
                    <a:pt x="126170" y="58350"/>
                  </a:cubicBezTo>
                  <a:cubicBezTo>
                    <a:pt x="93534" y="55631"/>
                    <a:pt x="60898" y="85547"/>
                    <a:pt x="58178" y="118183"/>
                  </a:cubicBezTo>
                  <a:lnTo>
                    <a:pt x="58178" y="210651"/>
                  </a:lnTo>
                  <a:lnTo>
                    <a:pt x="58178" y="365671"/>
                  </a:lnTo>
                  <a:lnTo>
                    <a:pt x="58178" y="365671"/>
                  </a:lnTo>
                  <a:cubicBezTo>
                    <a:pt x="58178" y="398307"/>
                    <a:pt x="88094" y="425504"/>
                    <a:pt x="120730" y="425504"/>
                  </a:cubicBezTo>
                  <a:cubicBezTo>
                    <a:pt x="153366" y="428224"/>
                    <a:pt x="186002" y="398307"/>
                    <a:pt x="186002" y="365671"/>
                  </a:cubicBezTo>
                  <a:lnTo>
                    <a:pt x="186002" y="365671"/>
                  </a:lnTo>
                  <a:lnTo>
                    <a:pt x="186002" y="210651"/>
                  </a:lnTo>
                  <a:cubicBezTo>
                    <a:pt x="188722" y="188894"/>
                    <a:pt x="196881" y="158978"/>
                    <a:pt x="215919" y="158978"/>
                  </a:cubicBezTo>
                  <a:cubicBezTo>
                    <a:pt x="243115" y="158978"/>
                    <a:pt x="215919" y="221530"/>
                    <a:pt x="275751" y="221530"/>
                  </a:cubicBezTo>
                  <a:cubicBezTo>
                    <a:pt x="362780" y="221530"/>
                    <a:pt x="373658" y="63790"/>
                    <a:pt x="270312" y="69229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/>
            </a:p>
          </p:txBody>
        </p:sp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id="{95A684EE-FC6F-42C2-A395-8D903D7DA553}"/>
                </a:ext>
              </a:extLst>
            </p:cNvPr>
            <p:cNvSpPr/>
            <p:nvPr/>
          </p:nvSpPr>
          <p:spPr>
            <a:xfrm>
              <a:off x="5693490" y="3475234"/>
              <a:ext cx="337238" cy="364434"/>
            </a:xfrm>
            <a:custGeom>
              <a:avLst/>
              <a:gdLst>
                <a:gd name="connsiteX0" fmla="*/ 180433 w 337238"/>
                <a:gd name="connsiteY0" fmla="*/ 73984 h 364434"/>
                <a:gd name="connsiteX1" fmla="*/ 163180 w 337238"/>
                <a:gd name="connsiteY1" fmla="*/ 78870 h 364434"/>
                <a:gd name="connsiteX2" fmla="*/ 125105 w 337238"/>
                <a:gd name="connsiteY2" fmla="*/ 160461 h 364434"/>
                <a:gd name="connsiteX3" fmla="*/ 171339 w 337238"/>
                <a:gd name="connsiteY3" fmla="*/ 163180 h 364434"/>
                <a:gd name="connsiteX4" fmla="*/ 214854 w 337238"/>
                <a:gd name="connsiteY4" fmla="*/ 108787 h 364434"/>
                <a:gd name="connsiteX5" fmla="*/ 180433 w 337238"/>
                <a:gd name="connsiteY5" fmla="*/ 73984 h 364434"/>
                <a:gd name="connsiteX6" fmla="*/ 174059 w 337238"/>
                <a:gd name="connsiteY6" fmla="*/ 0 h 364434"/>
                <a:gd name="connsiteX7" fmla="*/ 337238 w 337238"/>
                <a:gd name="connsiteY7" fmla="*/ 119665 h 364434"/>
                <a:gd name="connsiteX8" fmla="*/ 133264 w 337238"/>
                <a:gd name="connsiteY8" fmla="*/ 217573 h 364434"/>
                <a:gd name="connsiteX9" fmla="*/ 225732 w 337238"/>
                <a:gd name="connsiteY9" fmla="*/ 277405 h 364434"/>
                <a:gd name="connsiteX10" fmla="*/ 320920 w 337238"/>
                <a:gd name="connsiteY10" fmla="*/ 250208 h 364434"/>
                <a:gd name="connsiteX11" fmla="*/ 174059 w 337238"/>
                <a:gd name="connsiteY11" fmla="*/ 364434 h 364434"/>
                <a:gd name="connsiteX12" fmla="*/ 0 w 337238"/>
                <a:gd name="connsiteY12" fmla="*/ 184937 h 364434"/>
                <a:gd name="connsiteX13" fmla="*/ 174059 w 337238"/>
                <a:gd name="connsiteY13" fmla="*/ 0 h 3644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37238" h="364434">
                  <a:moveTo>
                    <a:pt x="180433" y="73984"/>
                  </a:moveTo>
                  <a:cubicBezTo>
                    <a:pt x="174569" y="73941"/>
                    <a:pt x="168620" y="75471"/>
                    <a:pt x="163180" y="78870"/>
                  </a:cubicBezTo>
                  <a:cubicBezTo>
                    <a:pt x="135984" y="95189"/>
                    <a:pt x="127825" y="130544"/>
                    <a:pt x="125105" y="160461"/>
                  </a:cubicBezTo>
                  <a:cubicBezTo>
                    <a:pt x="125105" y="163180"/>
                    <a:pt x="168620" y="160461"/>
                    <a:pt x="171339" y="163180"/>
                  </a:cubicBezTo>
                  <a:cubicBezTo>
                    <a:pt x="195816" y="157741"/>
                    <a:pt x="214854" y="135984"/>
                    <a:pt x="214854" y="108787"/>
                  </a:cubicBezTo>
                  <a:cubicBezTo>
                    <a:pt x="214854" y="88389"/>
                    <a:pt x="198026" y="74111"/>
                    <a:pt x="180433" y="73984"/>
                  </a:cubicBezTo>
                  <a:close/>
                  <a:moveTo>
                    <a:pt x="174059" y="0"/>
                  </a:moveTo>
                  <a:cubicBezTo>
                    <a:pt x="233891" y="0"/>
                    <a:pt x="337238" y="29916"/>
                    <a:pt x="337238" y="119665"/>
                  </a:cubicBezTo>
                  <a:cubicBezTo>
                    <a:pt x="337238" y="209414"/>
                    <a:pt x="244770" y="217573"/>
                    <a:pt x="133264" y="217573"/>
                  </a:cubicBezTo>
                  <a:cubicBezTo>
                    <a:pt x="133264" y="217573"/>
                    <a:pt x="149581" y="277405"/>
                    <a:pt x="225732" y="277405"/>
                  </a:cubicBezTo>
                  <a:cubicBezTo>
                    <a:pt x="301883" y="277405"/>
                    <a:pt x="320920" y="250208"/>
                    <a:pt x="320920" y="250208"/>
                  </a:cubicBezTo>
                  <a:cubicBezTo>
                    <a:pt x="320920" y="250208"/>
                    <a:pt x="315481" y="364434"/>
                    <a:pt x="174059" y="364434"/>
                  </a:cubicBezTo>
                  <a:cubicBezTo>
                    <a:pt x="95188" y="364434"/>
                    <a:pt x="0" y="304602"/>
                    <a:pt x="0" y="184937"/>
                  </a:cubicBezTo>
                  <a:cubicBezTo>
                    <a:pt x="0" y="78870"/>
                    <a:pt x="73431" y="0"/>
                    <a:pt x="174059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/>
            </a:p>
          </p:txBody>
        </p:sp>
        <p:sp>
          <p:nvSpPr>
            <p:cNvPr id="35" name="Freeform: Shape 34">
              <a:extLst>
                <a:ext uri="{FF2B5EF4-FFF2-40B4-BE49-F238E27FC236}">
                  <a16:creationId xmlns:a16="http://schemas.microsoft.com/office/drawing/2014/main" id="{FFA0438A-6980-45CF-B8F0-FB53943DAB08}"/>
                </a:ext>
              </a:extLst>
            </p:cNvPr>
            <p:cNvSpPr/>
            <p:nvPr/>
          </p:nvSpPr>
          <p:spPr>
            <a:xfrm>
              <a:off x="5376945" y="3338014"/>
              <a:ext cx="353556" cy="543931"/>
            </a:xfrm>
            <a:custGeom>
              <a:avLst/>
              <a:gdLst>
                <a:gd name="connsiteX0" fmla="*/ 311107 w 353555"/>
                <a:gd name="connsiteY0" fmla="*/ 433663 h 543931"/>
                <a:gd name="connsiteX1" fmla="*/ 215919 w 353555"/>
                <a:gd name="connsiteY1" fmla="*/ 501654 h 543931"/>
                <a:gd name="connsiteX2" fmla="*/ 98973 w 353555"/>
                <a:gd name="connsiteY2" fmla="*/ 392868 h 543931"/>
                <a:gd name="connsiteX3" fmla="*/ 98973 w 353555"/>
                <a:gd name="connsiteY3" fmla="*/ 221530 h 543931"/>
                <a:gd name="connsiteX4" fmla="*/ 82655 w 353555"/>
                <a:gd name="connsiteY4" fmla="*/ 221530 h 543931"/>
                <a:gd name="connsiteX5" fmla="*/ 58178 w 353555"/>
                <a:gd name="connsiteY5" fmla="*/ 191614 h 543931"/>
                <a:gd name="connsiteX6" fmla="*/ 85375 w 353555"/>
                <a:gd name="connsiteY6" fmla="*/ 164417 h 543931"/>
                <a:gd name="connsiteX7" fmla="*/ 101693 w 353555"/>
                <a:gd name="connsiteY7" fmla="*/ 164417 h 543931"/>
                <a:gd name="connsiteX8" fmla="*/ 101693 w 353555"/>
                <a:gd name="connsiteY8" fmla="*/ 118183 h 543931"/>
                <a:gd name="connsiteX9" fmla="*/ 166965 w 353555"/>
                <a:gd name="connsiteY9" fmla="*/ 58350 h 543931"/>
                <a:gd name="connsiteX10" fmla="*/ 229517 w 353555"/>
                <a:gd name="connsiteY10" fmla="*/ 118183 h 543931"/>
                <a:gd name="connsiteX11" fmla="*/ 229517 w 353555"/>
                <a:gd name="connsiteY11" fmla="*/ 118183 h 543931"/>
                <a:gd name="connsiteX12" fmla="*/ 229517 w 353555"/>
                <a:gd name="connsiteY12" fmla="*/ 164417 h 543931"/>
                <a:gd name="connsiteX13" fmla="*/ 283910 w 353555"/>
                <a:gd name="connsiteY13" fmla="*/ 164417 h 543931"/>
                <a:gd name="connsiteX14" fmla="*/ 308387 w 353555"/>
                <a:gd name="connsiteY14" fmla="*/ 194333 h 543931"/>
                <a:gd name="connsiteX15" fmla="*/ 281190 w 353555"/>
                <a:gd name="connsiteY15" fmla="*/ 221530 h 543931"/>
                <a:gd name="connsiteX16" fmla="*/ 229517 w 353555"/>
                <a:gd name="connsiteY16" fmla="*/ 221530 h 543931"/>
                <a:gd name="connsiteX17" fmla="*/ 229517 w 353555"/>
                <a:gd name="connsiteY17" fmla="*/ 365671 h 543931"/>
                <a:gd name="connsiteX18" fmla="*/ 311107 w 353555"/>
                <a:gd name="connsiteY18" fmla="*/ 433663 h 5439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353555" h="543931">
                  <a:moveTo>
                    <a:pt x="311107" y="433663"/>
                  </a:moveTo>
                  <a:cubicBezTo>
                    <a:pt x="311107" y="433663"/>
                    <a:pt x="278471" y="501654"/>
                    <a:pt x="215919" y="501654"/>
                  </a:cubicBezTo>
                  <a:cubicBezTo>
                    <a:pt x="164245" y="501654"/>
                    <a:pt x="101693" y="458140"/>
                    <a:pt x="98973" y="392868"/>
                  </a:cubicBezTo>
                  <a:cubicBezTo>
                    <a:pt x="98973" y="392868"/>
                    <a:pt x="98973" y="297680"/>
                    <a:pt x="98973" y="221530"/>
                  </a:cubicBezTo>
                  <a:lnTo>
                    <a:pt x="82655" y="221530"/>
                  </a:lnTo>
                  <a:cubicBezTo>
                    <a:pt x="74496" y="221530"/>
                    <a:pt x="58178" y="216090"/>
                    <a:pt x="58178" y="191614"/>
                  </a:cubicBezTo>
                  <a:cubicBezTo>
                    <a:pt x="58178" y="167137"/>
                    <a:pt x="77216" y="164417"/>
                    <a:pt x="85375" y="164417"/>
                  </a:cubicBezTo>
                  <a:lnTo>
                    <a:pt x="101693" y="164417"/>
                  </a:lnTo>
                  <a:cubicBezTo>
                    <a:pt x="101693" y="137220"/>
                    <a:pt x="101693" y="118183"/>
                    <a:pt x="101693" y="118183"/>
                  </a:cubicBezTo>
                  <a:cubicBezTo>
                    <a:pt x="104413" y="85547"/>
                    <a:pt x="134329" y="55631"/>
                    <a:pt x="166965" y="58350"/>
                  </a:cubicBezTo>
                  <a:cubicBezTo>
                    <a:pt x="196881" y="61070"/>
                    <a:pt x="229517" y="85547"/>
                    <a:pt x="229517" y="118183"/>
                  </a:cubicBezTo>
                  <a:lnTo>
                    <a:pt x="229517" y="118183"/>
                  </a:lnTo>
                  <a:lnTo>
                    <a:pt x="229517" y="164417"/>
                  </a:lnTo>
                  <a:lnTo>
                    <a:pt x="283910" y="164417"/>
                  </a:lnTo>
                  <a:cubicBezTo>
                    <a:pt x="292069" y="164417"/>
                    <a:pt x="308387" y="169856"/>
                    <a:pt x="308387" y="194333"/>
                  </a:cubicBezTo>
                  <a:cubicBezTo>
                    <a:pt x="308387" y="218810"/>
                    <a:pt x="292069" y="221530"/>
                    <a:pt x="281190" y="221530"/>
                  </a:cubicBezTo>
                  <a:lnTo>
                    <a:pt x="229517" y="221530"/>
                  </a:lnTo>
                  <a:lnTo>
                    <a:pt x="229517" y="365671"/>
                  </a:lnTo>
                  <a:cubicBezTo>
                    <a:pt x="226797" y="409186"/>
                    <a:pt x="267592" y="433663"/>
                    <a:pt x="311107" y="433663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/>
            </a:p>
          </p:txBody>
        </p:sp>
        <p:sp>
          <p:nvSpPr>
            <p:cNvPr id="36" name="Freeform: Shape 35">
              <a:extLst>
                <a:ext uri="{FF2B5EF4-FFF2-40B4-BE49-F238E27FC236}">
                  <a16:creationId xmlns:a16="http://schemas.microsoft.com/office/drawing/2014/main" id="{1FC20C9B-4BB9-46A9-9696-DAAC441E835C}"/>
                </a:ext>
              </a:extLst>
            </p:cNvPr>
            <p:cNvSpPr/>
            <p:nvPr/>
          </p:nvSpPr>
          <p:spPr>
            <a:xfrm>
              <a:off x="7090329" y="3338014"/>
              <a:ext cx="353556" cy="543931"/>
            </a:xfrm>
            <a:custGeom>
              <a:avLst/>
              <a:gdLst>
                <a:gd name="connsiteX0" fmla="*/ 311107 w 353555"/>
                <a:gd name="connsiteY0" fmla="*/ 433663 h 543931"/>
                <a:gd name="connsiteX1" fmla="*/ 215919 w 353555"/>
                <a:gd name="connsiteY1" fmla="*/ 501654 h 543931"/>
                <a:gd name="connsiteX2" fmla="*/ 98973 w 353555"/>
                <a:gd name="connsiteY2" fmla="*/ 392868 h 543931"/>
                <a:gd name="connsiteX3" fmla="*/ 98973 w 353555"/>
                <a:gd name="connsiteY3" fmla="*/ 221530 h 543931"/>
                <a:gd name="connsiteX4" fmla="*/ 82655 w 353555"/>
                <a:gd name="connsiteY4" fmla="*/ 221530 h 543931"/>
                <a:gd name="connsiteX5" fmla="*/ 58178 w 353555"/>
                <a:gd name="connsiteY5" fmla="*/ 191614 h 543931"/>
                <a:gd name="connsiteX6" fmla="*/ 85375 w 353555"/>
                <a:gd name="connsiteY6" fmla="*/ 164417 h 543931"/>
                <a:gd name="connsiteX7" fmla="*/ 101693 w 353555"/>
                <a:gd name="connsiteY7" fmla="*/ 164417 h 543931"/>
                <a:gd name="connsiteX8" fmla="*/ 101693 w 353555"/>
                <a:gd name="connsiteY8" fmla="*/ 118183 h 543931"/>
                <a:gd name="connsiteX9" fmla="*/ 166965 w 353555"/>
                <a:gd name="connsiteY9" fmla="*/ 58350 h 543931"/>
                <a:gd name="connsiteX10" fmla="*/ 229517 w 353555"/>
                <a:gd name="connsiteY10" fmla="*/ 118183 h 543931"/>
                <a:gd name="connsiteX11" fmla="*/ 229517 w 353555"/>
                <a:gd name="connsiteY11" fmla="*/ 118183 h 543931"/>
                <a:gd name="connsiteX12" fmla="*/ 229517 w 353555"/>
                <a:gd name="connsiteY12" fmla="*/ 164417 h 543931"/>
                <a:gd name="connsiteX13" fmla="*/ 283910 w 353555"/>
                <a:gd name="connsiteY13" fmla="*/ 164417 h 543931"/>
                <a:gd name="connsiteX14" fmla="*/ 308387 w 353555"/>
                <a:gd name="connsiteY14" fmla="*/ 194333 h 543931"/>
                <a:gd name="connsiteX15" fmla="*/ 281190 w 353555"/>
                <a:gd name="connsiteY15" fmla="*/ 221530 h 543931"/>
                <a:gd name="connsiteX16" fmla="*/ 229517 w 353555"/>
                <a:gd name="connsiteY16" fmla="*/ 221530 h 543931"/>
                <a:gd name="connsiteX17" fmla="*/ 229517 w 353555"/>
                <a:gd name="connsiteY17" fmla="*/ 365671 h 543931"/>
                <a:gd name="connsiteX18" fmla="*/ 311107 w 353555"/>
                <a:gd name="connsiteY18" fmla="*/ 433663 h 5439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353555" h="543931">
                  <a:moveTo>
                    <a:pt x="311107" y="433663"/>
                  </a:moveTo>
                  <a:cubicBezTo>
                    <a:pt x="311107" y="433663"/>
                    <a:pt x="278471" y="501654"/>
                    <a:pt x="215919" y="501654"/>
                  </a:cubicBezTo>
                  <a:cubicBezTo>
                    <a:pt x="164245" y="501654"/>
                    <a:pt x="101693" y="458140"/>
                    <a:pt x="98973" y="392868"/>
                  </a:cubicBezTo>
                  <a:cubicBezTo>
                    <a:pt x="98973" y="392868"/>
                    <a:pt x="98973" y="297680"/>
                    <a:pt x="98973" y="221530"/>
                  </a:cubicBezTo>
                  <a:lnTo>
                    <a:pt x="82655" y="221530"/>
                  </a:lnTo>
                  <a:cubicBezTo>
                    <a:pt x="74496" y="221530"/>
                    <a:pt x="58178" y="216090"/>
                    <a:pt x="58178" y="191614"/>
                  </a:cubicBezTo>
                  <a:cubicBezTo>
                    <a:pt x="58178" y="167137"/>
                    <a:pt x="77216" y="164417"/>
                    <a:pt x="85375" y="164417"/>
                  </a:cubicBezTo>
                  <a:lnTo>
                    <a:pt x="101693" y="164417"/>
                  </a:lnTo>
                  <a:cubicBezTo>
                    <a:pt x="101693" y="137220"/>
                    <a:pt x="101693" y="118183"/>
                    <a:pt x="101693" y="118183"/>
                  </a:cubicBezTo>
                  <a:cubicBezTo>
                    <a:pt x="104412" y="85547"/>
                    <a:pt x="134329" y="55631"/>
                    <a:pt x="166965" y="58350"/>
                  </a:cubicBezTo>
                  <a:cubicBezTo>
                    <a:pt x="196881" y="61070"/>
                    <a:pt x="229517" y="85547"/>
                    <a:pt x="229517" y="118183"/>
                  </a:cubicBezTo>
                  <a:lnTo>
                    <a:pt x="229517" y="118183"/>
                  </a:lnTo>
                  <a:lnTo>
                    <a:pt x="229517" y="164417"/>
                  </a:lnTo>
                  <a:lnTo>
                    <a:pt x="283910" y="164417"/>
                  </a:lnTo>
                  <a:cubicBezTo>
                    <a:pt x="292069" y="164417"/>
                    <a:pt x="308387" y="169856"/>
                    <a:pt x="308387" y="194333"/>
                  </a:cubicBezTo>
                  <a:cubicBezTo>
                    <a:pt x="308387" y="218810"/>
                    <a:pt x="292069" y="221530"/>
                    <a:pt x="281190" y="221530"/>
                  </a:cubicBezTo>
                  <a:lnTo>
                    <a:pt x="229517" y="221530"/>
                  </a:lnTo>
                  <a:lnTo>
                    <a:pt x="229517" y="365671"/>
                  </a:lnTo>
                  <a:cubicBezTo>
                    <a:pt x="229517" y="409186"/>
                    <a:pt x="270312" y="433663"/>
                    <a:pt x="311107" y="433663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/>
            </a:p>
          </p:txBody>
        </p:sp>
        <p:sp>
          <p:nvSpPr>
            <p:cNvPr id="37" name="Freeform: Shape 36">
              <a:extLst>
                <a:ext uri="{FF2B5EF4-FFF2-40B4-BE49-F238E27FC236}">
                  <a16:creationId xmlns:a16="http://schemas.microsoft.com/office/drawing/2014/main" id="{F19D53DE-A4DA-4AE7-BA92-608B7F6E88D3}"/>
                </a:ext>
              </a:extLst>
            </p:cNvPr>
            <p:cNvSpPr/>
            <p:nvPr/>
          </p:nvSpPr>
          <p:spPr>
            <a:xfrm>
              <a:off x="2080719" y="4178559"/>
              <a:ext cx="462342" cy="788700"/>
            </a:xfrm>
            <a:custGeom>
              <a:avLst/>
              <a:gdLst>
                <a:gd name="connsiteX0" fmla="*/ 403575 w 462341"/>
                <a:gd name="connsiteY0" fmla="*/ 583072 h 788699"/>
                <a:gd name="connsiteX1" fmla="*/ 406295 w 462341"/>
                <a:gd name="connsiteY1" fmla="*/ 596670 h 788699"/>
                <a:gd name="connsiteX2" fmla="*/ 400855 w 462341"/>
                <a:gd name="connsiteY2" fmla="*/ 610268 h 788699"/>
                <a:gd name="connsiteX3" fmla="*/ 389977 w 462341"/>
                <a:gd name="connsiteY3" fmla="*/ 626586 h 788699"/>
                <a:gd name="connsiteX4" fmla="*/ 354621 w 462341"/>
                <a:gd name="connsiteY4" fmla="*/ 675540 h 788699"/>
                <a:gd name="connsiteX5" fmla="*/ 327424 w 462341"/>
                <a:gd name="connsiteY5" fmla="*/ 691858 h 788699"/>
                <a:gd name="connsiteX6" fmla="*/ 292069 w 462341"/>
                <a:gd name="connsiteY6" fmla="*/ 713615 h 788699"/>
                <a:gd name="connsiteX7" fmla="*/ 251274 w 462341"/>
                <a:gd name="connsiteY7" fmla="*/ 724494 h 788699"/>
                <a:gd name="connsiteX8" fmla="*/ 221358 w 462341"/>
                <a:gd name="connsiteY8" fmla="*/ 721774 h 788699"/>
                <a:gd name="connsiteX9" fmla="*/ 191442 w 462341"/>
                <a:gd name="connsiteY9" fmla="*/ 721774 h 788699"/>
                <a:gd name="connsiteX10" fmla="*/ 153366 w 462341"/>
                <a:gd name="connsiteY10" fmla="*/ 713615 h 788699"/>
                <a:gd name="connsiteX11" fmla="*/ 104412 w 462341"/>
                <a:gd name="connsiteY11" fmla="*/ 675540 h 788699"/>
                <a:gd name="connsiteX12" fmla="*/ 104412 w 462341"/>
                <a:gd name="connsiteY12" fmla="*/ 689138 h 788699"/>
                <a:gd name="connsiteX13" fmla="*/ 101693 w 462341"/>
                <a:gd name="connsiteY13" fmla="*/ 710895 h 788699"/>
                <a:gd name="connsiteX14" fmla="*/ 85375 w 462341"/>
                <a:gd name="connsiteY14" fmla="*/ 732653 h 788699"/>
                <a:gd name="connsiteX15" fmla="*/ 69057 w 462341"/>
                <a:gd name="connsiteY15" fmla="*/ 727214 h 788699"/>
                <a:gd name="connsiteX16" fmla="*/ 60898 w 462341"/>
                <a:gd name="connsiteY16" fmla="*/ 710895 h 788699"/>
                <a:gd name="connsiteX17" fmla="*/ 58178 w 462341"/>
                <a:gd name="connsiteY17" fmla="*/ 691858 h 788699"/>
                <a:gd name="connsiteX18" fmla="*/ 60898 w 462341"/>
                <a:gd name="connsiteY18" fmla="*/ 664661 h 788699"/>
                <a:gd name="connsiteX19" fmla="*/ 60898 w 462341"/>
                <a:gd name="connsiteY19" fmla="*/ 607549 h 788699"/>
                <a:gd name="connsiteX20" fmla="*/ 63618 w 462341"/>
                <a:gd name="connsiteY20" fmla="*/ 528679 h 788699"/>
                <a:gd name="connsiteX21" fmla="*/ 69057 w 462341"/>
                <a:gd name="connsiteY21" fmla="*/ 504202 h 788699"/>
                <a:gd name="connsiteX22" fmla="*/ 74496 w 462341"/>
                <a:gd name="connsiteY22" fmla="*/ 493323 h 788699"/>
                <a:gd name="connsiteX23" fmla="*/ 82655 w 462341"/>
                <a:gd name="connsiteY23" fmla="*/ 487884 h 788699"/>
                <a:gd name="connsiteX24" fmla="*/ 90814 w 462341"/>
                <a:gd name="connsiteY24" fmla="*/ 493323 h 788699"/>
                <a:gd name="connsiteX25" fmla="*/ 98973 w 462341"/>
                <a:gd name="connsiteY25" fmla="*/ 512361 h 788699"/>
                <a:gd name="connsiteX26" fmla="*/ 101693 w 462341"/>
                <a:gd name="connsiteY26" fmla="*/ 555875 h 788699"/>
                <a:gd name="connsiteX27" fmla="*/ 101693 w 462341"/>
                <a:gd name="connsiteY27" fmla="*/ 596670 h 788699"/>
                <a:gd name="connsiteX28" fmla="*/ 109852 w 462341"/>
                <a:gd name="connsiteY28" fmla="*/ 626586 h 788699"/>
                <a:gd name="connsiteX29" fmla="*/ 128889 w 462341"/>
                <a:gd name="connsiteY29" fmla="*/ 651063 h 788699"/>
                <a:gd name="connsiteX30" fmla="*/ 153366 w 462341"/>
                <a:gd name="connsiteY30" fmla="*/ 670101 h 788699"/>
                <a:gd name="connsiteX31" fmla="*/ 196881 w 462341"/>
                <a:gd name="connsiteY31" fmla="*/ 678260 h 788699"/>
                <a:gd name="connsiteX32" fmla="*/ 221358 w 462341"/>
                <a:gd name="connsiteY32" fmla="*/ 667381 h 788699"/>
                <a:gd name="connsiteX33" fmla="*/ 253994 w 462341"/>
                <a:gd name="connsiteY33" fmla="*/ 659222 h 788699"/>
                <a:gd name="connsiteX34" fmla="*/ 275751 w 462341"/>
                <a:gd name="connsiteY34" fmla="*/ 637465 h 788699"/>
                <a:gd name="connsiteX35" fmla="*/ 281190 w 462341"/>
                <a:gd name="connsiteY35" fmla="*/ 615708 h 788699"/>
                <a:gd name="connsiteX36" fmla="*/ 278471 w 462341"/>
                <a:gd name="connsiteY36" fmla="*/ 602109 h 788699"/>
                <a:gd name="connsiteX37" fmla="*/ 262153 w 462341"/>
                <a:gd name="connsiteY37" fmla="*/ 572193 h 788699"/>
                <a:gd name="connsiteX38" fmla="*/ 245835 w 462341"/>
                <a:gd name="connsiteY38" fmla="*/ 536838 h 788699"/>
                <a:gd name="connsiteX39" fmla="*/ 196881 w 462341"/>
                <a:gd name="connsiteY39" fmla="*/ 477005 h 788699"/>
                <a:gd name="connsiteX40" fmla="*/ 145207 w 462341"/>
                <a:gd name="connsiteY40" fmla="*/ 419892 h 788699"/>
                <a:gd name="connsiteX41" fmla="*/ 93534 w 462341"/>
                <a:gd name="connsiteY41" fmla="*/ 357340 h 788699"/>
                <a:gd name="connsiteX42" fmla="*/ 66337 w 462341"/>
                <a:gd name="connsiteY42" fmla="*/ 283910 h 788699"/>
                <a:gd name="connsiteX43" fmla="*/ 58178 w 462341"/>
                <a:gd name="connsiteY43" fmla="*/ 224077 h 788699"/>
                <a:gd name="connsiteX44" fmla="*/ 82655 w 462341"/>
                <a:gd name="connsiteY44" fmla="*/ 150647 h 788699"/>
                <a:gd name="connsiteX45" fmla="*/ 137048 w 462341"/>
                <a:gd name="connsiteY45" fmla="*/ 96253 h 788699"/>
                <a:gd name="connsiteX46" fmla="*/ 196881 w 462341"/>
                <a:gd name="connsiteY46" fmla="*/ 77216 h 788699"/>
                <a:gd name="connsiteX47" fmla="*/ 232236 w 462341"/>
                <a:gd name="connsiteY47" fmla="*/ 69057 h 788699"/>
                <a:gd name="connsiteX48" fmla="*/ 262153 w 462341"/>
                <a:gd name="connsiteY48" fmla="*/ 74496 h 788699"/>
                <a:gd name="connsiteX49" fmla="*/ 294789 w 462341"/>
                <a:gd name="connsiteY49" fmla="*/ 85375 h 788699"/>
                <a:gd name="connsiteX50" fmla="*/ 327424 w 462341"/>
                <a:gd name="connsiteY50" fmla="*/ 104412 h 788699"/>
                <a:gd name="connsiteX51" fmla="*/ 332864 w 462341"/>
                <a:gd name="connsiteY51" fmla="*/ 74496 h 788699"/>
                <a:gd name="connsiteX52" fmla="*/ 338303 w 462341"/>
                <a:gd name="connsiteY52" fmla="*/ 63618 h 788699"/>
                <a:gd name="connsiteX53" fmla="*/ 349182 w 462341"/>
                <a:gd name="connsiteY53" fmla="*/ 58178 h 788699"/>
                <a:gd name="connsiteX54" fmla="*/ 357341 w 462341"/>
                <a:gd name="connsiteY54" fmla="*/ 63618 h 788699"/>
                <a:gd name="connsiteX55" fmla="*/ 365500 w 462341"/>
                <a:gd name="connsiteY55" fmla="*/ 82655 h 788699"/>
                <a:gd name="connsiteX56" fmla="*/ 368219 w 462341"/>
                <a:gd name="connsiteY56" fmla="*/ 142488 h 788699"/>
                <a:gd name="connsiteX57" fmla="*/ 368219 w 462341"/>
                <a:gd name="connsiteY57" fmla="*/ 188722 h 788699"/>
                <a:gd name="connsiteX58" fmla="*/ 370939 w 462341"/>
                <a:gd name="connsiteY58" fmla="*/ 245834 h 788699"/>
                <a:gd name="connsiteX59" fmla="*/ 354621 w 462341"/>
                <a:gd name="connsiteY59" fmla="*/ 286629 h 788699"/>
                <a:gd name="connsiteX60" fmla="*/ 338303 w 462341"/>
                <a:gd name="connsiteY60" fmla="*/ 281190 h 788699"/>
                <a:gd name="connsiteX61" fmla="*/ 330144 w 462341"/>
                <a:gd name="connsiteY61" fmla="*/ 264872 h 788699"/>
                <a:gd name="connsiteX62" fmla="*/ 327424 w 462341"/>
                <a:gd name="connsiteY62" fmla="*/ 248554 h 788699"/>
                <a:gd name="connsiteX63" fmla="*/ 330144 w 462341"/>
                <a:gd name="connsiteY63" fmla="*/ 221357 h 788699"/>
                <a:gd name="connsiteX64" fmla="*/ 330144 w 462341"/>
                <a:gd name="connsiteY64" fmla="*/ 188722 h 788699"/>
                <a:gd name="connsiteX65" fmla="*/ 327424 w 462341"/>
                <a:gd name="connsiteY65" fmla="*/ 164245 h 788699"/>
                <a:gd name="connsiteX66" fmla="*/ 311107 w 462341"/>
                <a:gd name="connsiteY66" fmla="*/ 134329 h 788699"/>
                <a:gd name="connsiteX67" fmla="*/ 283910 w 462341"/>
                <a:gd name="connsiteY67" fmla="*/ 118011 h 788699"/>
                <a:gd name="connsiteX68" fmla="*/ 251274 w 462341"/>
                <a:gd name="connsiteY68" fmla="*/ 112571 h 788699"/>
                <a:gd name="connsiteX69" fmla="*/ 215918 w 462341"/>
                <a:gd name="connsiteY69" fmla="*/ 123450 h 788699"/>
                <a:gd name="connsiteX70" fmla="*/ 202320 w 462341"/>
                <a:gd name="connsiteY70" fmla="*/ 147927 h 788699"/>
                <a:gd name="connsiteX71" fmla="*/ 188722 w 462341"/>
                <a:gd name="connsiteY71" fmla="*/ 180563 h 788699"/>
                <a:gd name="connsiteX72" fmla="*/ 183283 w 462341"/>
                <a:gd name="connsiteY72" fmla="*/ 210479 h 788699"/>
                <a:gd name="connsiteX73" fmla="*/ 188722 w 462341"/>
                <a:gd name="connsiteY73" fmla="*/ 226797 h 788699"/>
                <a:gd name="connsiteX74" fmla="*/ 188722 w 462341"/>
                <a:gd name="connsiteY74" fmla="*/ 248554 h 788699"/>
                <a:gd name="connsiteX75" fmla="*/ 210479 w 462341"/>
                <a:gd name="connsiteY75" fmla="*/ 273031 h 788699"/>
                <a:gd name="connsiteX76" fmla="*/ 226797 w 462341"/>
                <a:gd name="connsiteY76" fmla="*/ 300228 h 788699"/>
                <a:gd name="connsiteX77" fmla="*/ 256713 w 462341"/>
                <a:gd name="connsiteY77" fmla="*/ 332864 h 788699"/>
                <a:gd name="connsiteX78" fmla="*/ 275751 w 462341"/>
                <a:gd name="connsiteY78" fmla="*/ 351901 h 788699"/>
                <a:gd name="connsiteX79" fmla="*/ 324705 w 462341"/>
                <a:gd name="connsiteY79" fmla="*/ 400855 h 788699"/>
                <a:gd name="connsiteX80" fmla="*/ 343742 w 462341"/>
                <a:gd name="connsiteY80" fmla="*/ 428051 h 788699"/>
                <a:gd name="connsiteX81" fmla="*/ 351901 w 462341"/>
                <a:gd name="connsiteY81" fmla="*/ 433491 h 788699"/>
                <a:gd name="connsiteX82" fmla="*/ 360060 w 462341"/>
                <a:gd name="connsiteY82" fmla="*/ 447089 h 788699"/>
                <a:gd name="connsiteX83" fmla="*/ 384537 w 462341"/>
                <a:gd name="connsiteY83" fmla="*/ 474286 h 788699"/>
                <a:gd name="connsiteX84" fmla="*/ 395416 w 462341"/>
                <a:gd name="connsiteY84" fmla="*/ 506921 h 788699"/>
                <a:gd name="connsiteX85" fmla="*/ 406295 w 462341"/>
                <a:gd name="connsiteY85" fmla="*/ 536838 h 788699"/>
                <a:gd name="connsiteX86" fmla="*/ 409014 w 462341"/>
                <a:gd name="connsiteY86" fmla="*/ 547716 h 788699"/>
                <a:gd name="connsiteX87" fmla="*/ 406295 w 462341"/>
                <a:gd name="connsiteY87" fmla="*/ 569473 h 788699"/>
                <a:gd name="connsiteX88" fmla="*/ 403575 w 462341"/>
                <a:gd name="connsiteY88" fmla="*/ 583072 h 788699"/>
                <a:gd name="connsiteX89" fmla="*/ 403575 w 462341"/>
                <a:gd name="connsiteY89" fmla="*/ 583072 h 7886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</a:cxnLst>
              <a:rect l="l" t="t" r="r" b="b"/>
              <a:pathLst>
                <a:path w="462341" h="788699">
                  <a:moveTo>
                    <a:pt x="403575" y="583072"/>
                  </a:moveTo>
                  <a:cubicBezTo>
                    <a:pt x="403575" y="588511"/>
                    <a:pt x="406295" y="591231"/>
                    <a:pt x="406295" y="596670"/>
                  </a:cubicBezTo>
                  <a:cubicBezTo>
                    <a:pt x="406295" y="602109"/>
                    <a:pt x="403575" y="604829"/>
                    <a:pt x="400855" y="610268"/>
                  </a:cubicBezTo>
                  <a:cubicBezTo>
                    <a:pt x="398136" y="615708"/>
                    <a:pt x="392696" y="621147"/>
                    <a:pt x="389977" y="626586"/>
                  </a:cubicBezTo>
                  <a:cubicBezTo>
                    <a:pt x="381818" y="645624"/>
                    <a:pt x="368219" y="661942"/>
                    <a:pt x="354621" y="675540"/>
                  </a:cubicBezTo>
                  <a:cubicBezTo>
                    <a:pt x="346462" y="683699"/>
                    <a:pt x="338303" y="686419"/>
                    <a:pt x="327424" y="691858"/>
                  </a:cubicBezTo>
                  <a:cubicBezTo>
                    <a:pt x="316546" y="700017"/>
                    <a:pt x="302948" y="708176"/>
                    <a:pt x="292069" y="713615"/>
                  </a:cubicBezTo>
                  <a:cubicBezTo>
                    <a:pt x="281190" y="719054"/>
                    <a:pt x="264872" y="724494"/>
                    <a:pt x="251274" y="724494"/>
                  </a:cubicBezTo>
                  <a:cubicBezTo>
                    <a:pt x="240395" y="724494"/>
                    <a:pt x="229517" y="721774"/>
                    <a:pt x="221358" y="721774"/>
                  </a:cubicBezTo>
                  <a:cubicBezTo>
                    <a:pt x="213199" y="721774"/>
                    <a:pt x="202320" y="721774"/>
                    <a:pt x="191442" y="721774"/>
                  </a:cubicBezTo>
                  <a:cubicBezTo>
                    <a:pt x="172404" y="721774"/>
                    <a:pt x="172404" y="721774"/>
                    <a:pt x="153366" y="713615"/>
                  </a:cubicBezTo>
                  <a:cubicBezTo>
                    <a:pt x="134329" y="708176"/>
                    <a:pt x="118011" y="691858"/>
                    <a:pt x="104412" y="675540"/>
                  </a:cubicBezTo>
                  <a:cubicBezTo>
                    <a:pt x="104412" y="678260"/>
                    <a:pt x="104412" y="680979"/>
                    <a:pt x="104412" y="689138"/>
                  </a:cubicBezTo>
                  <a:cubicBezTo>
                    <a:pt x="104412" y="694578"/>
                    <a:pt x="104412" y="702737"/>
                    <a:pt x="101693" y="710895"/>
                  </a:cubicBezTo>
                  <a:cubicBezTo>
                    <a:pt x="101693" y="721774"/>
                    <a:pt x="96253" y="732653"/>
                    <a:pt x="85375" y="732653"/>
                  </a:cubicBezTo>
                  <a:cubicBezTo>
                    <a:pt x="77216" y="732653"/>
                    <a:pt x="74496" y="729933"/>
                    <a:pt x="69057" y="727214"/>
                  </a:cubicBezTo>
                  <a:cubicBezTo>
                    <a:pt x="63618" y="724494"/>
                    <a:pt x="60898" y="716335"/>
                    <a:pt x="60898" y="710895"/>
                  </a:cubicBezTo>
                  <a:cubicBezTo>
                    <a:pt x="58178" y="702737"/>
                    <a:pt x="58178" y="697297"/>
                    <a:pt x="58178" y="691858"/>
                  </a:cubicBezTo>
                  <a:cubicBezTo>
                    <a:pt x="58178" y="683699"/>
                    <a:pt x="60898" y="678260"/>
                    <a:pt x="60898" y="664661"/>
                  </a:cubicBezTo>
                  <a:cubicBezTo>
                    <a:pt x="60898" y="656502"/>
                    <a:pt x="60898" y="632026"/>
                    <a:pt x="60898" y="607549"/>
                  </a:cubicBezTo>
                  <a:cubicBezTo>
                    <a:pt x="60898" y="574913"/>
                    <a:pt x="60898" y="542277"/>
                    <a:pt x="63618" y="528679"/>
                  </a:cubicBezTo>
                  <a:cubicBezTo>
                    <a:pt x="63618" y="520520"/>
                    <a:pt x="63618" y="509641"/>
                    <a:pt x="69057" y="504202"/>
                  </a:cubicBezTo>
                  <a:cubicBezTo>
                    <a:pt x="71777" y="501482"/>
                    <a:pt x="71777" y="498762"/>
                    <a:pt x="74496" y="493323"/>
                  </a:cubicBezTo>
                  <a:cubicBezTo>
                    <a:pt x="77216" y="490603"/>
                    <a:pt x="79936" y="487884"/>
                    <a:pt x="82655" y="487884"/>
                  </a:cubicBezTo>
                  <a:cubicBezTo>
                    <a:pt x="85375" y="487884"/>
                    <a:pt x="90814" y="490603"/>
                    <a:pt x="90814" y="493323"/>
                  </a:cubicBezTo>
                  <a:cubicBezTo>
                    <a:pt x="93534" y="498762"/>
                    <a:pt x="98973" y="506921"/>
                    <a:pt x="98973" y="512361"/>
                  </a:cubicBezTo>
                  <a:cubicBezTo>
                    <a:pt x="98973" y="520520"/>
                    <a:pt x="101693" y="536838"/>
                    <a:pt x="101693" y="555875"/>
                  </a:cubicBezTo>
                  <a:cubicBezTo>
                    <a:pt x="101693" y="569473"/>
                    <a:pt x="101693" y="583072"/>
                    <a:pt x="101693" y="596670"/>
                  </a:cubicBezTo>
                  <a:cubicBezTo>
                    <a:pt x="101693" y="607549"/>
                    <a:pt x="104412" y="618427"/>
                    <a:pt x="109852" y="626586"/>
                  </a:cubicBezTo>
                  <a:cubicBezTo>
                    <a:pt x="115291" y="637465"/>
                    <a:pt x="123450" y="642904"/>
                    <a:pt x="128889" y="651063"/>
                  </a:cubicBezTo>
                  <a:cubicBezTo>
                    <a:pt x="137048" y="661942"/>
                    <a:pt x="139768" y="667381"/>
                    <a:pt x="153366" y="670101"/>
                  </a:cubicBezTo>
                  <a:cubicBezTo>
                    <a:pt x="161525" y="670101"/>
                    <a:pt x="183283" y="678260"/>
                    <a:pt x="196881" y="678260"/>
                  </a:cubicBezTo>
                  <a:cubicBezTo>
                    <a:pt x="207759" y="678260"/>
                    <a:pt x="210479" y="672820"/>
                    <a:pt x="221358" y="667381"/>
                  </a:cubicBezTo>
                  <a:cubicBezTo>
                    <a:pt x="232236" y="661942"/>
                    <a:pt x="245835" y="664661"/>
                    <a:pt x="253994" y="659222"/>
                  </a:cubicBezTo>
                  <a:cubicBezTo>
                    <a:pt x="262153" y="653783"/>
                    <a:pt x="273031" y="645624"/>
                    <a:pt x="275751" y="637465"/>
                  </a:cubicBezTo>
                  <a:cubicBezTo>
                    <a:pt x="281190" y="629306"/>
                    <a:pt x="281190" y="621147"/>
                    <a:pt x="281190" y="615708"/>
                  </a:cubicBezTo>
                  <a:cubicBezTo>
                    <a:pt x="281190" y="610268"/>
                    <a:pt x="281190" y="607549"/>
                    <a:pt x="278471" y="602109"/>
                  </a:cubicBezTo>
                  <a:cubicBezTo>
                    <a:pt x="275751" y="591231"/>
                    <a:pt x="267592" y="583072"/>
                    <a:pt x="262153" y="572193"/>
                  </a:cubicBezTo>
                  <a:cubicBezTo>
                    <a:pt x="256713" y="561314"/>
                    <a:pt x="253994" y="547716"/>
                    <a:pt x="245835" y="536838"/>
                  </a:cubicBezTo>
                  <a:cubicBezTo>
                    <a:pt x="232236" y="515080"/>
                    <a:pt x="213199" y="498762"/>
                    <a:pt x="196881" y="477005"/>
                  </a:cubicBezTo>
                  <a:cubicBezTo>
                    <a:pt x="180563" y="457968"/>
                    <a:pt x="164245" y="438930"/>
                    <a:pt x="145207" y="419892"/>
                  </a:cubicBezTo>
                  <a:cubicBezTo>
                    <a:pt x="126170" y="400855"/>
                    <a:pt x="109852" y="379098"/>
                    <a:pt x="93534" y="357340"/>
                  </a:cubicBezTo>
                  <a:cubicBezTo>
                    <a:pt x="77216" y="335583"/>
                    <a:pt x="71777" y="308387"/>
                    <a:pt x="66337" y="283910"/>
                  </a:cubicBezTo>
                  <a:cubicBezTo>
                    <a:pt x="63618" y="267592"/>
                    <a:pt x="58178" y="245834"/>
                    <a:pt x="58178" y="224077"/>
                  </a:cubicBezTo>
                  <a:cubicBezTo>
                    <a:pt x="58178" y="194161"/>
                    <a:pt x="69057" y="175123"/>
                    <a:pt x="82655" y="150647"/>
                  </a:cubicBezTo>
                  <a:cubicBezTo>
                    <a:pt x="96253" y="128889"/>
                    <a:pt x="115291" y="109852"/>
                    <a:pt x="137048" y="96253"/>
                  </a:cubicBezTo>
                  <a:cubicBezTo>
                    <a:pt x="158806" y="82655"/>
                    <a:pt x="172404" y="79936"/>
                    <a:pt x="196881" y="77216"/>
                  </a:cubicBezTo>
                  <a:cubicBezTo>
                    <a:pt x="210479" y="77216"/>
                    <a:pt x="215918" y="69057"/>
                    <a:pt x="232236" y="69057"/>
                  </a:cubicBezTo>
                  <a:cubicBezTo>
                    <a:pt x="243115" y="69057"/>
                    <a:pt x="251274" y="71776"/>
                    <a:pt x="262153" y="74496"/>
                  </a:cubicBezTo>
                  <a:cubicBezTo>
                    <a:pt x="273031" y="77216"/>
                    <a:pt x="283910" y="82655"/>
                    <a:pt x="294789" y="85375"/>
                  </a:cubicBezTo>
                  <a:cubicBezTo>
                    <a:pt x="308387" y="90814"/>
                    <a:pt x="319265" y="96253"/>
                    <a:pt x="327424" y="104412"/>
                  </a:cubicBezTo>
                  <a:cubicBezTo>
                    <a:pt x="327424" y="90814"/>
                    <a:pt x="327424" y="79936"/>
                    <a:pt x="332864" y="74496"/>
                  </a:cubicBezTo>
                  <a:cubicBezTo>
                    <a:pt x="335583" y="71776"/>
                    <a:pt x="335583" y="69057"/>
                    <a:pt x="338303" y="63618"/>
                  </a:cubicBezTo>
                  <a:cubicBezTo>
                    <a:pt x="341023" y="60898"/>
                    <a:pt x="346462" y="58178"/>
                    <a:pt x="349182" y="58178"/>
                  </a:cubicBezTo>
                  <a:cubicBezTo>
                    <a:pt x="351901" y="58178"/>
                    <a:pt x="357341" y="60898"/>
                    <a:pt x="357341" y="63618"/>
                  </a:cubicBezTo>
                  <a:cubicBezTo>
                    <a:pt x="360060" y="69057"/>
                    <a:pt x="365500" y="77216"/>
                    <a:pt x="365500" y="82655"/>
                  </a:cubicBezTo>
                  <a:cubicBezTo>
                    <a:pt x="365500" y="90814"/>
                    <a:pt x="368219" y="123450"/>
                    <a:pt x="368219" y="142488"/>
                  </a:cubicBezTo>
                  <a:cubicBezTo>
                    <a:pt x="368219" y="158806"/>
                    <a:pt x="368219" y="177843"/>
                    <a:pt x="368219" y="188722"/>
                  </a:cubicBezTo>
                  <a:cubicBezTo>
                    <a:pt x="368219" y="213199"/>
                    <a:pt x="370939" y="224077"/>
                    <a:pt x="370939" y="245834"/>
                  </a:cubicBezTo>
                  <a:cubicBezTo>
                    <a:pt x="370939" y="256713"/>
                    <a:pt x="370939" y="286629"/>
                    <a:pt x="354621" y="286629"/>
                  </a:cubicBezTo>
                  <a:cubicBezTo>
                    <a:pt x="346462" y="286629"/>
                    <a:pt x="343742" y="283910"/>
                    <a:pt x="338303" y="281190"/>
                  </a:cubicBezTo>
                  <a:cubicBezTo>
                    <a:pt x="332864" y="278470"/>
                    <a:pt x="330144" y="270311"/>
                    <a:pt x="330144" y="264872"/>
                  </a:cubicBezTo>
                  <a:cubicBezTo>
                    <a:pt x="327424" y="256713"/>
                    <a:pt x="327424" y="251274"/>
                    <a:pt x="327424" y="248554"/>
                  </a:cubicBezTo>
                  <a:cubicBezTo>
                    <a:pt x="327424" y="240395"/>
                    <a:pt x="330144" y="234956"/>
                    <a:pt x="330144" y="221357"/>
                  </a:cubicBezTo>
                  <a:cubicBezTo>
                    <a:pt x="330144" y="213199"/>
                    <a:pt x="330144" y="202320"/>
                    <a:pt x="330144" y="188722"/>
                  </a:cubicBezTo>
                  <a:cubicBezTo>
                    <a:pt x="330144" y="180563"/>
                    <a:pt x="327424" y="172404"/>
                    <a:pt x="327424" y="164245"/>
                  </a:cubicBezTo>
                  <a:cubicBezTo>
                    <a:pt x="324705" y="153366"/>
                    <a:pt x="319265" y="142488"/>
                    <a:pt x="311107" y="134329"/>
                  </a:cubicBezTo>
                  <a:cubicBezTo>
                    <a:pt x="302948" y="126170"/>
                    <a:pt x="294789" y="120730"/>
                    <a:pt x="283910" y="118011"/>
                  </a:cubicBezTo>
                  <a:cubicBezTo>
                    <a:pt x="275751" y="115291"/>
                    <a:pt x="262153" y="112571"/>
                    <a:pt x="251274" y="112571"/>
                  </a:cubicBezTo>
                  <a:cubicBezTo>
                    <a:pt x="237676" y="112571"/>
                    <a:pt x="224077" y="115291"/>
                    <a:pt x="215918" y="123450"/>
                  </a:cubicBezTo>
                  <a:cubicBezTo>
                    <a:pt x="207759" y="128889"/>
                    <a:pt x="205040" y="139768"/>
                    <a:pt x="202320" y="147927"/>
                  </a:cubicBezTo>
                  <a:cubicBezTo>
                    <a:pt x="196881" y="158806"/>
                    <a:pt x="191442" y="166964"/>
                    <a:pt x="188722" y="180563"/>
                  </a:cubicBezTo>
                  <a:cubicBezTo>
                    <a:pt x="186002" y="191441"/>
                    <a:pt x="183283" y="199600"/>
                    <a:pt x="183283" y="210479"/>
                  </a:cubicBezTo>
                  <a:cubicBezTo>
                    <a:pt x="183283" y="215918"/>
                    <a:pt x="186002" y="221357"/>
                    <a:pt x="188722" y="226797"/>
                  </a:cubicBezTo>
                  <a:cubicBezTo>
                    <a:pt x="191442" y="234956"/>
                    <a:pt x="188722" y="243115"/>
                    <a:pt x="188722" y="248554"/>
                  </a:cubicBezTo>
                  <a:cubicBezTo>
                    <a:pt x="191442" y="259433"/>
                    <a:pt x="202320" y="264872"/>
                    <a:pt x="210479" y="273031"/>
                  </a:cubicBezTo>
                  <a:cubicBezTo>
                    <a:pt x="218638" y="281190"/>
                    <a:pt x="221358" y="292069"/>
                    <a:pt x="226797" y="300228"/>
                  </a:cubicBezTo>
                  <a:cubicBezTo>
                    <a:pt x="234956" y="311106"/>
                    <a:pt x="245835" y="321985"/>
                    <a:pt x="256713" y="332864"/>
                  </a:cubicBezTo>
                  <a:cubicBezTo>
                    <a:pt x="259433" y="338303"/>
                    <a:pt x="267592" y="343742"/>
                    <a:pt x="275751" y="351901"/>
                  </a:cubicBezTo>
                  <a:cubicBezTo>
                    <a:pt x="292069" y="368219"/>
                    <a:pt x="311107" y="384537"/>
                    <a:pt x="324705" y="400855"/>
                  </a:cubicBezTo>
                  <a:cubicBezTo>
                    <a:pt x="332864" y="409014"/>
                    <a:pt x="335583" y="419892"/>
                    <a:pt x="343742" y="428051"/>
                  </a:cubicBezTo>
                  <a:cubicBezTo>
                    <a:pt x="346462" y="430771"/>
                    <a:pt x="349182" y="430771"/>
                    <a:pt x="351901" y="433491"/>
                  </a:cubicBezTo>
                  <a:cubicBezTo>
                    <a:pt x="354621" y="436210"/>
                    <a:pt x="357341" y="441650"/>
                    <a:pt x="360060" y="447089"/>
                  </a:cubicBezTo>
                  <a:cubicBezTo>
                    <a:pt x="368219" y="455248"/>
                    <a:pt x="376378" y="463407"/>
                    <a:pt x="384537" y="474286"/>
                  </a:cubicBezTo>
                  <a:cubicBezTo>
                    <a:pt x="389977" y="482445"/>
                    <a:pt x="392696" y="496043"/>
                    <a:pt x="395416" y="506921"/>
                  </a:cubicBezTo>
                  <a:cubicBezTo>
                    <a:pt x="400855" y="517800"/>
                    <a:pt x="400855" y="528679"/>
                    <a:pt x="406295" y="536838"/>
                  </a:cubicBezTo>
                  <a:cubicBezTo>
                    <a:pt x="409014" y="539557"/>
                    <a:pt x="409014" y="544997"/>
                    <a:pt x="409014" y="547716"/>
                  </a:cubicBezTo>
                  <a:cubicBezTo>
                    <a:pt x="409014" y="555875"/>
                    <a:pt x="406295" y="561314"/>
                    <a:pt x="406295" y="569473"/>
                  </a:cubicBezTo>
                  <a:cubicBezTo>
                    <a:pt x="406295" y="574913"/>
                    <a:pt x="403575" y="577632"/>
                    <a:pt x="403575" y="583072"/>
                  </a:cubicBezTo>
                  <a:lnTo>
                    <a:pt x="403575" y="583072"/>
                  </a:ln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/>
            </a:p>
          </p:txBody>
        </p:sp>
        <p:sp>
          <p:nvSpPr>
            <p:cNvPr id="38" name="Freeform: Shape 37">
              <a:extLst>
                <a:ext uri="{FF2B5EF4-FFF2-40B4-BE49-F238E27FC236}">
                  <a16:creationId xmlns:a16="http://schemas.microsoft.com/office/drawing/2014/main" id="{B625ED8A-D3D4-4154-B0B3-EF43EBC3C6D3}"/>
                </a:ext>
              </a:extLst>
            </p:cNvPr>
            <p:cNvSpPr/>
            <p:nvPr/>
          </p:nvSpPr>
          <p:spPr>
            <a:xfrm>
              <a:off x="2456032" y="4192158"/>
              <a:ext cx="571128" cy="761503"/>
            </a:xfrm>
            <a:custGeom>
              <a:avLst/>
              <a:gdLst>
                <a:gd name="connsiteX0" fmla="*/ 512361 w 571128"/>
                <a:gd name="connsiteY0" fmla="*/ 79936 h 761503"/>
                <a:gd name="connsiteX1" fmla="*/ 539558 w 571128"/>
                <a:gd name="connsiteY1" fmla="*/ 96253 h 761503"/>
                <a:gd name="connsiteX2" fmla="*/ 534118 w 571128"/>
                <a:gd name="connsiteY2" fmla="*/ 112571 h 761503"/>
                <a:gd name="connsiteX3" fmla="*/ 523240 w 571128"/>
                <a:gd name="connsiteY3" fmla="*/ 120730 h 761503"/>
                <a:gd name="connsiteX4" fmla="*/ 506922 w 571128"/>
                <a:gd name="connsiteY4" fmla="*/ 123450 h 761503"/>
                <a:gd name="connsiteX5" fmla="*/ 477006 w 571128"/>
                <a:gd name="connsiteY5" fmla="*/ 123450 h 761503"/>
                <a:gd name="connsiteX6" fmla="*/ 479725 w 571128"/>
                <a:gd name="connsiteY6" fmla="*/ 145207 h 761503"/>
                <a:gd name="connsiteX7" fmla="*/ 477006 w 571128"/>
                <a:gd name="connsiteY7" fmla="*/ 180563 h 761503"/>
                <a:gd name="connsiteX8" fmla="*/ 482445 w 571128"/>
                <a:gd name="connsiteY8" fmla="*/ 232236 h 761503"/>
                <a:gd name="connsiteX9" fmla="*/ 485165 w 571128"/>
                <a:gd name="connsiteY9" fmla="*/ 283910 h 761503"/>
                <a:gd name="connsiteX10" fmla="*/ 485165 w 571128"/>
                <a:gd name="connsiteY10" fmla="*/ 327424 h 761503"/>
                <a:gd name="connsiteX11" fmla="*/ 487884 w 571128"/>
                <a:gd name="connsiteY11" fmla="*/ 373658 h 761503"/>
                <a:gd name="connsiteX12" fmla="*/ 485165 w 571128"/>
                <a:gd name="connsiteY12" fmla="*/ 419892 h 761503"/>
                <a:gd name="connsiteX13" fmla="*/ 485165 w 571128"/>
                <a:gd name="connsiteY13" fmla="*/ 463407 h 761503"/>
                <a:gd name="connsiteX14" fmla="*/ 482445 w 571128"/>
                <a:gd name="connsiteY14" fmla="*/ 515080 h 761503"/>
                <a:gd name="connsiteX15" fmla="*/ 482445 w 571128"/>
                <a:gd name="connsiteY15" fmla="*/ 558595 h 761503"/>
                <a:gd name="connsiteX16" fmla="*/ 479725 w 571128"/>
                <a:gd name="connsiteY16" fmla="*/ 602109 h 761503"/>
                <a:gd name="connsiteX17" fmla="*/ 485165 w 571128"/>
                <a:gd name="connsiteY17" fmla="*/ 648343 h 761503"/>
                <a:gd name="connsiteX18" fmla="*/ 474286 w 571128"/>
                <a:gd name="connsiteY18" fmla="*/ 675540 h 761503"/>
                <a:gd name="connsiteX19" fmla="*/ 428052 w 571128"/>
                <a:gd name="connsiteY19" fmla="*/ 691858 h 761503"/>
                <a:gd name="connsiteX20" fmla="*/ 387257 w 571128"/>
                <a:gd name="connsiteY20" fmla="*/ 683699 h 761503"/>
                <a:gd name="connsiteX21" fmla="*/ 351901 w 571128"/>
                <a:gd name="connsiteY21" fmla="*/ 664661 h 761503"/>
                <a:gd name="connsiteX22" fmla="*/ 305667 w 571128"/>
                <a:gd name="connsiteY22" fmla="*/ 596670 h 761503"/>
                <a:gd name="connsiteX23" fmla="*/ 270312 w 571128"/>
                <a:gd name="connsiteY23" fmla="*/ 509641 h 761503"/>
                <a:gd name="connsiteX24" fmla="*/ 251274 w 571128"/>
                <a:gd name="connsiteY24" fmla="*/ 460687 h 761503"/>
                <a:gd name="connsiteX25" fmla="*/ 224077 w 571128"/>
                <a:gd name="connsiteY25" fmla="*/ 381817 h 761503"/>
                <a:gd name="connsiteX26" fmla="*/ 207759 w 571128"/>
                <a:gd name="connsiteY26" fmla="*/ 330144 h 761503"/>
                <a:gd name="connsiteX27" fmla="*/ 191442 w 571128"/>
                <a:gd name="connsiteY27" fmla="*/ 286629 h 761503"/>
                <a:gd name="connsiteX28" fmla="*/ 183283 w 571128"/>
                <a:gd name="connsiteY28" fmla="*/ 278470 h 761503"/>
                <a:gd name="connsiteX29" fmla="*/ 180563 w 571128"/>
                <a:gd name="connsiteY29" fmla="*/ 292069 h 761503"/>
                <a:gd name="connsiteX30" fmla="*/ 180563 w 571128"/>
                <a:gd name="connsiteY30" fmla="*/ 305667 h 761503"/>
                <a:gd name="connsiteX31" fmla="*/ 183283 w 571128"/>
                <a:gd name="connsiteY31" fmla="*/ 354621 h 761503"/>
                <a:gd name="connsiteX32" fmla="*/ 188722 w 571128"/>
                <a:gd name="connsiteY32" fmla="*/ 449809 h 761503"/>
                <a:gd name="connsiteX33" fmla="*/ 188722 w 571128"/>
                <a:gd name="connsiteY33" fmla="*/ 479725 h 761503"/>
                <a:gd name="connsiteX34" fmla="*/ 188722 w 571128"/>
                <a:gd name="connsiteY34" fmla="*/ 542277 h 761503"/>
                <a:gd name="connsiteX35" fmla="*/ 186002 w 571128"/>
                <a:gd name="connsiteY35" fmla="*/ 615708 h 761503"/>
                <a:gd name="connsiteX36" fmla="*/ 186002 w 571128"/>
                <a:gd name="connsiteY36" fmla="*/ 637465 h 761503"/>
                <a:gd name="connsiteX37" fmla="*/ 183283 w 571128"/>
                <a:gd name="connsiteY37" fmla="*/ 664661 h 761503"/>
                <a:gd name="connsiteX38" fmla="*/ 226797 w 571128"/>
                <a:gd name="connsiteY38" fmla="*/ 664661 h 761503"/>
                <a:gd name="connsiteX39" fmla="*/ 253994 w 571128"/>
                <a:gd name="connsiteY39" fmla="*/ 680979 h 761503"/>
                <a:gd name="connsiteX40" fmla="*/ 248554 w 571128"/>
                <a:gd name="connsiteY40" fmla="*/ 697297 h 761503"/>
                <a:gd name="connsiteX41" fmla="*/ 234956 w 571128"/>
                <a:gd name="connsiteY41" fmla="*/ 705456 h 761503"/>
                <a:gd name="connsiteX42" fmla="*/ 218638 w 571128"/>
                <a:gd name="connsiteY42" fmla="*/ 708176 h 761503"/>
                <a:gd name="connsiteX43" fmla="*/ 183283 w 571128"/>
                <a:gd name="connsiteY43" fmla="*/ 708176 h 761503"/>
                <a:gd name="connsiteX44" fmla="*/ 150647 w 571128"/>
                <a:gd name="connsiteY44" fmla="*/ 708176 h 761503"/>
                <a:gd name="connsiteX45" fmla="*/ 107132 w 571128"/>
                <a:gd name="connsiteY45" fmla="*/ 708176 h 761503"/>
                <a:gd name="connsiteX46" fmla="*/ 88094 w 571128"/>
                <a:gd name="connsiteY46" fmla="*/ 708176 h 761503"/>
                <a:gd name="connsiteX47" fmla="*/ 69057 w 571128"/>
                <a:gd name="connsiteY47" fmla="*/ 702737 h 761503"/>
                <a:gd name="connsiteX48" fmla="*/ 58178 w 571128"/>
                <a:gd name="connsiteY48" fmla="*/ 686419 h 761503"/>
                <a:gd name="connsiteX49" fmla="*/ 60898 w 571128"/>
                <a:gd name="connsiteY49" fmla="*/ 678260 h 761503"/>
                <a:gd name="connsiteX50" fmla="*/ 77216 w 571128"/>
                <a:gd name="connsiteY50" fmla="*/ 670101 h 761503"/>
                <a:gd name="connsiteX51" fmla="*/ 120730 w 571128"/>
                <a:gd name="connsiteY51" fmla="*/ 664661 h 761503"/>
                <a:gd name="connsiteX52" fmla="*/ 131609 w 571128"/>
                <a:gd name="connsiteY52" fmla="*/ 664661 h 761503"/>
                <a:gd name="connsiteX53" fmla="*/ 134329 w 571128"/>
                <a:gd name="connsiteY53" fmla="*/ 539557 h 761503"/>
                <a:gd name="connsiteX54" fmla="*/ 134329 w 571128"/>
                <a:gd name="connsiteY54" fmla="*/ 504202 h 761503"/>
                <a:gd name="connsiteX55" fmla="*/ 131609 w 571128"/>
                <a:gd name="connsiteY55" fmla="*/ 376378 h 761503"/>
                <a:gd name="connsiteX56" fmla="*/ 131609 w 571128"/>
                <a:gd name="connsiteY56" fmla="*/ 302947 h 761503"/>
                <a:gd name="connsiteX57" fmla="*/ 134329 w 571128"/>
                <a:gd name="connsiteY57" fmla="*/ 221357 h 761503"/>
                <a:gd name="connsiteX58" fmla="*/ 137048 w 571128"/>
                <a:gd name="connsiteY58" fmla="*/ 123450 h 761503"/>
                <a:gd name="connsiteX59" fmla="*/ 107132 w 571128"/>
                <a:gd name="connsiteY59" fmla="*/ 123450 h 761503"/>
                <a:gd name="connsiteX60" fmla="*/ 88094 w 571128"/>
                <a:gd name="connsiteY60" fmla="*/ 123450 h 761503"/>
                <a:gd name="connsiteX61" fmla="*/ 69057 w 571128"/>
                <a:gd name="connsiteY61" fmla="*/ 118011 h 761503"/>
                <a:gd name="connsiteX62" fmla="*/ 58178 w 571128"/>
                <a:gd name="connsiteY62" fmla="*/ 101693 h 761503"/>
                <a:gd name="connsiteX63" fmla="*/ 60898 w 571128"/>
                <a:gd name="connsiteY63" fmla="*/ 93534 h 761503"/>
                <a:gd name="connsiteX64" fmla="*/ 77216 w 571128"/>
                <a:gd name="connsiteY64" fmla="*/ 85375 h 761503"/>
                <a:gd name="connsiteX65" fmla="*/ 131609 w 571128"/>
                <a:gd name="connsiteY65" fmla="*/ 79936 h 761503"/>
                <a:gd name="connsiteX66" fmla="*/ 161525 w 571128"/>
                <a:gd name="connsiteY66" fmla="*/ 79936 h 761503"/>
                <a:gd name="connsiteX67" fmla="*/ 177843 w 571128"/>
                <a:gd name="connsiteY67" fmla="*/ 66337 h 761503"/>
                <a:gd name="connsiteX68" fmla="*/ 202320 w 571128"/>
                <a:gd name="connsiteY68" fmla="*/ 58178 h 761503"/>
                <a:gd name="connsiteX69" fmla="*/ 234956 w 571128"/>
                <a:gd name="connsiteY69" fmla="*/ 77216 h 761503"/>
                <a:gd name="connsiteX70" fmla="*/ 251274 w 571128"/>
                <a:gd name="connsiteY70" fmla="*/ 107132 h 761503"/>
                <a:gd name="connsiteX71" fmla="*/ 267592 w 571128"/>
                <a:gd name="connsiteY71" fmla="*/ 147927 h 761503"/>
                <a:gd name="connsiteX72" fmla="*/ 281190 w 571128"/>
                <a:gd name="connsiteY72" fmla="*/ 183282 h 761503"/>
                <a:gd name="connsiteX73" fmla="*/ 297508 w 571128"/>
                <a:gd name="connsiteY73" fmla="*/ 224077 h 761503"/>
                <a:gd name="connsiteX74" fmla="*/ 308387 w 571128"/>
                <a:gd name="connsiteY74" fmla="*/ 264872 h 761503"/>
                <a:gd name="connsiteX75" fmla="*/ 319265 w 571128"/>
                <a:gd name="connsiteY75" fmla="*/ 300228 h 761503"/>
                <a:gd name="connsiteX76" fmla="*/ 351901 w 571128"/>
                <a:gd name="connsiteY76" fmla="*/ 379098 h 761503"/>
                <a:gd name="connsiteX77" fmla="*/ 365500 w 571128"/>
                <a:gd name="connsiteY77" fmla="*/ 417173 h 761503"/>
                <a:gd name="connsiteX78" fmla="*/ 379098 w 571128"/>
                <a:gd name="connsiteY78" fmla="*/ 457968 h 761503"/>
                <a:gd name="connsiteX79" fmla="*/ 395416 w 571128"/>
                <a:gd name="connsiteY79" fmla="*/ 496043 h 761503"/>
                <a:gd name="connsiteX80" fmla="*/ 406295 w 571128"/>
                <a:gd name="connsiteY80" fmla="*/ 512361 h 761503"/>
                <a:gd name="connsiteX81" fmla="*/ 411734 w 571128"/>
                <a:gd name="connsiteY81" fmla="*/ 531398 h 761503"/>
                <a:gd name="connsiteX82" fmla="*/ 419893 w 571128"/>
                <a:gd name="connsiteY82" fmla="*/ 558595 h 761503"/>
                <a:gd name="connsiteX83" fmla="*/ 425332 w 571128"/>
                <a:gd name="connsiteY83" fmla="*/ 564034 h 761503"/>
                <a:gd name="connsiteX84" fmla="*/ 430771 w 571128"/>
                <a:gd name="connsiteY84" fmla="*/ 558595 h 761503"/>
                <a:gd name="connsiteX85" fmla="*/ 430771 w 571128"/>
                <a:gd name="connsiteY85" fmla="*/ 550436 h 761503"/>
                <a:gd name="connsiteX86" fmla="*/ 430771 w 571128"/>
                <a:gd name="connsiteY86" fmla="*/ 501482 h 761503"/>
                <a:gd name="connsiteX87" fmla="*/ 430771 w 571128"/>
                <a:gd name="connsiteY87" fmla="*/ 403575 h 761503"/>
                <a:gd name="connsiteX88" fmla="*/ 425332 w 571128"/>
                <a:gd name="connsiteY88" fmla="*/ 313826 h 761503"/>
                <a:gd name="connsiteX89" fmla="*/ 425332 w 571128"/>
                <a:gd name="connsiteY89" fmla="*/ 248554 h 761503"/>
                <a:gd name="connsiteX90" fmla="*/ 425332 w 571128"/>
                <a:gd name="connsiteY90" fmla="*/ 210479 h 761503"/>
                <a:gd name="connsiteX91" fmla="*/ 422613 w 571128"/>
                <a:gd name="connsiteY91" fmla="*/ 153366 h 761503"/>
                <a:gd name="connsiteX92" fmla="*/ 425332 w 571128"/>
                <a:gd name="connsiteY92" fmla="*/ 123450 h 761503"/>
                <a:gd name="connsiteX93" fmla="*/ 398136 w 571128"/>
                <a:gd name="connsiteY93" fmla="*/ 123450 h 761503"/>
                <a:gd name="connsiteX94" fmla="*/ 379098 w 571128"/>
                <a:gd name="connsiteY94" fmla="*/ 123450 h 761503"/>
                <a:gd name="connsiteX95" fmla="*/ 360060 w 571128"/>
                <a:gd name="connsiteY95" fmla="*/ 118011 h 761503"/>
                <a:gd name="connsiteX96" fmla="*/ 349182 w 571128"/>
                <a:gd name="connsiteY96" fmla="*/ 101693 h 761503"/>
                <a:gd name="connsiteX97" fmla="*/ 351901 w 571128"/>
                <a:gd name="connsiteY97" fmla="*/ 93534 h 761503"/>
                <a:gd name="connsiteX98" fmla="*/ 368219 w 571128"/>
                <a:gd name="connsiteY98" fmla="*/ 85375 h 761503"/>
                <a:gd name="connsiteX99" fmla="*/ 422613 w 571128"/>
                <a:gd name="connsiteY99" fmla="*/ 79936 h 761503"/>
                <a:gd name="connsiteX100" fmla="*/ 444370 w 571128"/>
                <a:gd name="connsiteY100" fmla="*/ 79936 h 761503"/>
                <a:gd name="connsiteX101" fmla="*/ 463407 w 571128"/>
                <a:gd name="connsiteY101" fmla="*/ 71776 h 761503"/>
                <a:gd name="connsiteX102" fmla="*/ 477006 w 571128"/>
                <a:gd name="connsiteY102" fmla="*/ 79936 h 761503"/>
                <a:gd name="connsiteX103" fmla="*/ 512361 w 571128"/>
                <a:gd name="connsiteY103" fmla="*/ 79936 h 761503"/>
                <a:gd name="connsiteX104" fmla="*/ 512361 w 571128"/>
                <a:gd name="connsiteY104" fmla="*/ 79936 h 761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</a:cxnLst>
              <a:rect l="l" t="t" r="r" b="b"/>
              <a:pathLst>
                <a:path w="571128" h="761503">
                  <a:moveTo>
                    <a:pt x="512361" y="79936"/>
                  </a:moveTo>
                  <a:cubicBezTo>
                    <a:pt x="520520" y="79936"/>
                    <a:pt x="539558" y="79936"/>
                    <a:pt x="539558" y="96253"/>
                  </a:cubicBezTo>
                  <a:cubicBezTo>
                    <a:pt x="539558" y="104412"/>
                    <a:pt x="539558" y="107132"/>
                    <a:pt x="534118" y="112571"/>
                  </a:cubicBezTo>
                  <a:cubicBezTo>
                    <a:pt x="531399" y="118011"/>
                    <a:pt x="525960" y="120730"/>
                    <a:pt x="523240" y="120730"/>
                  </a:cubicBezTo>
                  <a:cubicBezTo>
                    <a:pt x="515081" y="123450"/>
                    <a:pt x="512361" y="123450"/>
                    <a:pt x="506922" y="123450"/>
                  </a:cubicBezTo>
                  <a:cubicBezTo>
                    <a:pt x="504202" y="123450"/>
                    <a:pt x="490604" y="123450"/>
                    <a:pt x="477006" y="123450"/>
                  </a:cubicBezTo>
                  <a:cubicBezTo>
                    <a:pt x="477006" y="131609"/>
                    <a:pt x="479725" y="137048"/>
                    <a:pt x="479725" y="145207"/>
                  </a:cubicBezTo>
                  <a:cubicBezTo>
                    <a:pt x="479725" y="156086"/>
                    <a:pt x="477006" y="166964"/>
                    <a:pt x="477006" y="180563"/>
                  </a:cubicBezTo>
                  <a:cubicBezTo>
                    <a:pt x="477006" y="196881"/>
                    <a:pt x="479725" y="215918"/>
                    <a:pt x="482445" y="232236"/>
                  </a:cubicBezTo>
                  <a:cubicBezTo>
                    <a:pt x="485165" y="248554"/>
                    <a:pt x="485165" y="267592"/>
                    <a:pt x="485165" y="283910"/>
                  </a:cubicBezTo>
                  <a:cubicBezTo>
                    <a:pt x="485165" y="297508"/>
                    <a:pt x="485165" y="313826"/>
                    <a:pt x="485165" y="327424"/>
                  </a:cubicBezTo>
                  <a:cubicBezTo>
                    <a:pt x="485165" y="343742"/>
                    <a:pt x="487884" y="357340"/>
                    <a:pt x="487884" y="373658"/>
                  </a:cubicBezTo>
                  <a:cubicBezTo>
                    <a:pt x="487884" y="389976"/>
                    <a:pt x="485165" y="403575"/>
                    <a:pt x="485165" y="419892"/>
                  </a:cubicBezTo>
                  <a:cubicBezTo>
                    <a:pt x="485165" y="436210"/>
                    <a:pt x="485165" y="449809"/>
                    <a:pt x="485165" y="463407"/>
                  </a:cubicBezTo>
                  <a:cubicBezTo>
                    <a:pt x="485165" y="479725"/>
                    <a:pt x="485165" y="498762"/>
                    <a:pt x="482445" y="515080"/>
                  </a:cubicBezTo>
                  <a:cubicBezTo>
                    <a:pt x="482445" y="528679"/>
                    <a:pt x="482445" y="542277"/>
                    <a:pt x="482445" y="558595"/>
                  </a:cubicBezTo>
                  <a:cubicBezTo>
                    <a:pt x="482445" y="572193"/>
                    <a:pt x="479725" y="588511"/>
                    <a:pt x="479725" y="602109"/>
                  </a:cubicBezTo>
                  <a:cubicBezTo>
                    <a:pt x="479725" y="615708"/>
                    <a:pt x="485165" y="632026"/>
                    <a:pt x="485165" y="648343"/>
                  </a:cubicBezTo>
                  <a:cubicBezTo>
                    <a:pt x="485165" y="659222"/>
                    <a:pt x="482445" y="670101"/>
                    <a:pt x="474286" y="675540"/>
                  </a:cubicBezTo>
                  <a:cubicBezTo>
                    <a:pt x="460688" y="686419"/>
                    <a:pt x="444370" y="691858"/>
                    <a:pt x="428052" y="691858"/>
                  </a:cubicBezTo>
                  <a:cubicBezTo>
                    <a:pt x="414454" y="691858"/>
                    <a:pt x="400855" y="689138"/>
                    <a:pt x="387257" y="683699"/>
                  </a:cubicBezTo>
                  <a:cubicBezTo>
                    <a:pt x="373659" y="678260"/>
                    <a:pt x="360060" y="672820"/>
                    <a:pt x="351901" y="664661"/>
                  </a:cubicBezTo>
                  <a:cubicBezTo>
                    <a:pt x="330144" y="645624"/>
                    <a:pt x="316546" y="621147"/>
                    <a:pt x="305667" y="596670"/>
                  </a:cubicBezTo>
                  <a:cubicBezTo>
                    <a:pt x="292069" y="569473"/>
                    <a:pt x="281190" y="539557"/>
                    <a:pt x="270312" y="509641"/>
                  </a:cubicBezTo>
                  <a:cubicBezTo>
                    <a:pt x="264872" y="493323"/>
                    <a:pt x="256713" y="477005"/>
                    <a:pt x="251274" y="460687"/>
                  </a:cubicBezTo>
                  <a:cubicBezTo>
                    <a:pt x="240395" y="433491"/>
                    <a:pt x="232236" y="409014"/>
                    <a:pt x="224077" y="381817"/>
                  </a:cubicBezTo>
                  <a:cubicBezTo>
                    <a:pt x="218638" y="365499"/>
                    <a:pt x="213199" y="346462"/>
                    <a:pt x="207759" y="330144"/>
                  </a:cubicBezTo>
                  <a:cubicBezTo>
                    <a:pt x="202320" y="316545"/>
                    <a:pt x="196881" y="300228"/>
                    <a:pt x="191442" y="286629"/>
                  </a:cubicBezTo>
                  <a:cubicBezTo>
                    <a:pt x="188722" y="281190"/>
                    <a:pt x="186002" y="278470"/>
                    <a:pt x="183283" y="278470"/>
                  </a:cubicBezTo>
                  <a:cubicBezTo>
                    <a:pt x="180563" y="278470"/>
                    <a:pt x="180563" y="286629"/>
                    <a:pt x="180563" y="292069"/>
                  </a:cubicBezTo>
                  <a:cubicBezTo>
                    <a:pt x="180563" y="297508"/>
                    <a:pt x="180563" y="302947"/>
                    <a:pt x="180563" y="305667"/>
                  </a:cubicBezTo>
                  <a:cubicBezTo>
                    <a:pt x="180563" y="321985"/>
                    <a:pt x="183283" y="338303"/>
                    <a:pt x="183283" y="354621"/>
                  </a:cubicBezTo>
                  <a:cubicBezTo>
                    <a:pt x="183283" y="387257"/>
                    <a:pt x="186002" y="417173"/>
                    <a:pt x="188722" y="449809"/>
                  </a:cubicBezTo>
                  <a:cubicBezTo>
                    <a:pt x="188722" y="460687"/>
                    <a:pt x="188722" y="468846"/>
                    <a:pt x="188722" y="479725"/>
                  </a:cubicBezTo>
                  <a:cubicBezTo>
                    <a:pt x="188722" y="501482"/>
                    <a:pt x="188722" y="523239"/>
                    <a:pt x="188722" y="542277"/>
                  </a:cubicBezTo>
                  <a:cubicBezTo>
                    <a:pt x="188722" y="566754"/>
                    <a:pt x="186002" y="591231"/>
                    <a:pt x="186002" y="615708"/>
                  </a:cubicBezTo>
                  <a:cubicBezTo>
                    <a:pt x="186002" y="623867"/>
                    <a:pt x="186002" y="632026"/>
                    <a:pt x="186002" y="637465"/>
                  </a:cubicBezTo>
                  <a:cubicBezTo>
                    <a:pt x="186002" y="645624"/>
                    <a:pt x="183283" y="656502"/>
                    <a:pt x="183283" y="664661"/>
                  </a:cubicBezTo>
                  <a:cubicBezTo>
                    <a:pt x="202320" y="664661"/>
                    <a:pt x="218638" y="664661"/>
                    <a:pt x="226797" y="664661"/>
                  </a:cubicBezTo>
                  <a:cubicBezTo>
                    <a:pt x="234956" y="664661"/>
                    <a:pt x="253994" y="664661"/>
                    <a:pt x="253994" y="680979"/>
                  </a:cubicBezTo>
                  <a:cubicBezTo>
                    <a:pt x="253994" y="689138"/>
                    <a:pt x="253994" y="691858"/>
                    <a:pt x="248554" y="697297"/>
                  </a:cubicBezTo>
                  <a:cubicBezTo>
                    <a:pt x="245835" y="702737"/>
                    <a:pt x="240395" y="705456"/>
                    <a:pt x="234956" y="705456"/>
                  </a:cubicBezTo>
                  <a:cubicBezTo>
                    <a:pt x="226797" y="708176"/>
                    <a:pt x="224077" y="708176"/>
                    <a:pt x="218638" y="708176"/>
                  </a:cubicBezTo>
                  <a:cubicBezTo>
                    <a:pt x="215918" y="708176"/>
                    <a:pt x="199600" y="708176"/>
                    <a:pt x="183283" y="708176"/>
                  </a:cubicBezTo>
                  <a:cubicBezTo>
                    <a:pt x="166965" y="708176"/>
                    <a:pt x="153366" y="708176"/>
                    <a:pt x="150647" y="708176"/>
                  </a:cubicBezTo>
                  <a:cubicBezTo>
                    <a:pt x="139768" y="708176"/>
                    <a:pt x="120730" y="708176"/>
                    <a:pt x="107132" y="708176"/>
                  </a:cubicBezTo>
                  <a:cubicBezTo>
                    <a:pt x="101693" y="708176"/>
                    <a:pt x="96253" y="708176"/>
                    <a:pt x="88094" y="708176"/>
                  </a:cubicBezTo>
                  <a:cubicBezTo>
                    <a:pt x="82655" y="708176"/>
                    <a:pt x="74496" y="708176"/>
                    <a:pt x="69057" y="702737"/>
                  </a:cubicBezTo>
                  <a:cubicBezTo>
                    <a:pt x="63618" y="700017"/>
                    <a:pt x="58178" y="691858"/>
                    <a:pt x="58178" y="686419"/>
                  </a:cubicBezTo>
                  <a:cubicBezTo>
                    <a:pt x="58178" y="683699"/>
                    <a:pt x="58178" y="680979"/>
                    <a:pt x="60898" y="678260"/>
                  </a:cubicBezTo>
                  <a:cubicBezTo>
                    <a:pt x="63618" y="675540"/>
                    <a:pt x="71777" y="672820"/>
                    <a:pt x="77216" y="670101"/>
                  </a:cubicBezTo>
                  <a:cubicBezTo>
                    <a:pt x="90814" y="667381"/>
                    <a:pt x="115291" y="664661"/>
                    <a:pt x="120730" y="664661"/>
                  </a:cubicBezTo>
                  <a:cubicBezTo>
                    <a:pt x="123450" y="664661"/>
                    <a:pt x="126170" y="664661"/>
                    <a:pt x="131609" y="664661"/>
                  </a:cubicBezTo>
                  <a:cubicBezTo>
                    <a:pt x="131609" y="623867"/>
                    <a:pt x="134329" y="583072"/>
                    <a:pt x="134329" y="539557"/>
                  </a:cubicBezTo>
                  <a:cubicBezTo>
                    <a:pt x="134329" y="528679"/>
                    <a:pt x="134329" y="515080"/>
                    <a:pt x="134329" y="504202"/>
                  </a:cubicBezTo>
                  <a:cubicBezTo>
                    <a:pt x="131609" y="460687"/>
                    <a:pt x="131609" y="417173"/>
                    <a:pt x="131609" y="376378"/>
                  </a:cubicBezTo>
                  <a:cubicBezTo>
                    <a:pt x="131609" y="351901"/>
                    <a:pt x="131609" y="327424"/>
                    <a:pt x="131609" y="302947"/>
                  </a:cubicBezTo>
                  <a:cubicBezTo>
                    <a:pt x="131609" y="275751"/>
                    <a:pt x="131609" y="248554"/>
                    <a:pt x="134329" y="221357"/>
                  </a:cubicBezTo>
                  <a:cubicBezTo>
                    <a:pt x="134329" y="188722"/>
                    <a:pt x="137048" y="156086"/>
                    <a:pt x="137048" y="123450"/>
                  </a:cubicBezTo>
                  <a:cubicBezTo>
                    <a:pt x="126170" y="123450"/>
                    <a:pt x="115291" y="123450"/>
                    <a:pt x="107132" y="123450"/>
                  </a:cubicBezTo>
                  <a:cubicBezTo>
                    <a:pt x="101693" y="123450"/>
                    <a:pt x="96253" y="123450"/>
                    <a:pt x="88094" y="123450"/>
                  </a:cubicBezTo>
                  <a:cubicBezTo>
                    <a:pt x="82655" y="123450"/>
                    <a:pt x="74496" y="120730"/>
                    <a:pt x="69057" y="118011"/>
                  </a:cubicBezTo>
                  <a:cubicBezTo>
                    <a:pt x="63618" y="115291"/>
                    <a:pt x="58178" y="107132"/>
                    <a:pt x="58178" y="101693"/>
                  </a:cubicBezTo>
                  <a:cubicBezTo>
                    <a:pt x="58178" y="98973"/>
                    <a:pt x="58178" y="96253"/>
                    <a:pt x="60898" y="93534"/>
                  </a:cubicBezTo>
                  <a:cubicBezTo>
                    <a:pt x="63618" y="90814"/>
                    <a:pt x="71777" y="88095"/>
                    <a:pt x="77216" y="85375"/>
                  </a:cubicBezTo>
                  <a:cubicBezTo>
                    <a:pt x="90814" y="82655"/>
                    <a:pt x="126170" y="79936"/>
                    <a:pt x="131609" y="79936"/>
                  </a:cubicBezTo>
                  <a:cubicBezTo>
                    <a:pt x="137048" y="79936"/>
                    <a:pt x="147927" y="79936"/>
                    <a:pt x="161525" y="79936"/>
                  </a:cubicBezTo>
                  <a:cubicBezTo>
                    <a:pt x="166965" y="74496"/>
                    <a:pt x="172404" y="71776"/>
                    <a:pt x="177843" y="66337"/>
                  </a:cubicBezTo>
                  <a:cubicBezTo>
                    <a:pt x="186002" y="60898"/>
                    <a:pt x="194161" y="58178"/>
                    <a:pt x="202320" y="58178"/>
                  </a:cubicBezTo>
                  <a:cubicBezTo>
                    <a:pt x="215918" y="58178"/>
                    <a:pt x="226797" y="63618"/>
                    <a:pt x="234956" y="77216"/>
                  </a:cubicBezTo>
                  <a:cubicBezTo>
                    <a:pt x="240395" y="88095"/>
                    <a:pt x="248554" y="96253"/>
                    <a:pt x="251274" y="107132"/>
                  </a:cubicBezTo>
                  <a:cubicBezTo>
                    <a:pt x="256713" y="120730"/>
                    <a:pt x="259433" y="134329"/>
                    <a:pt x="267592" y="147927"/>
                  </a:cubicBezTo>
                  <a:cubicBezTo>
                    <a:pt x="273031" y="158806"/>
                    <a:pt x="275751" y="172404"/>
                    <a:pt x="281190" y="183282"/>
                  </a:cubicBezTo>
                  <a:cubicBezTo>
                    <a:pt x="286630" y="196881"/>
                    <a:pt x="292069" y="210479"/>
                    <a:pt x="297508" y="224077"/>
                  </a:cubicBezTo>
                  <a:cubicBezTo>
                    <a:pt x="300228" y="237676"/>
                    <a:pt x="305667" y="251274"/>
                    <a:pt x="308387" y="264872"/>
                  </a:cubicBezTo>
                  <a:cubicBezTo>
                    <a:pt x="311107" y="278470"/>
                    <a:pt x="311107" y="289349"/>
                    <a:pt x="319265" y="300228"/>
                  </a:cubicBezTo>
                  <a:cubicBezTo>
                    <a:pt x="332864" y="324704"/>
                    <a:pt x="346462" y="351901"/>
                    <a:pt x="351901" y="379098"/>
                  </a:cubicBezTo>
                  <a:cubicBezTo>
                    <a:pt x="354621" y="392696"/>
                    <a:pt x="360060" y="403575"/>
                    <a:pt x="365500" y="417173"/>
                  </a:cubicBezTo>
                  <a:cubicBezTo>
                    <a:pt x="373659" y="430771"/>
                    <a:pt x="373659" y="444369"/>
                    <a:pt x="379098" y="457968"/>
                  </a:cubicBezTo>
                  <a:cubicBezTo>
                    <a:pt x="381818" y="471566"/>
                    <a:pt x="387257" y="482445"/>
                    <a:pt x="395416" y="496043"/>
                  </a:cubicBezTo>
                  <a:cubicBezTo>
                    <a:pt x="398136" y="501482"/>
                    <a:pt x="403575" y="506921"/>
                    <a:pt x="406295" y="512361"/>
                  </a:cubicBezTo>
                  <a:cubicBezTo>
                    <a:pt x="409014" y="517800"/>
                    <a:pt x="409014" y="525959"/>
                    <a:pt x="411734" y="531398"/>
                  </a:cubicBezTo>
                  <a:cubicBezTo>
                    <a:pt x="414454" y="539557"/>
                    <a:pt x="417173" y="550436"/>
                    <a:pt x="419893" y="558595"/>
                  </a:cubicBezTo>
                  <a:cubicBezTo>
                    <a:pt x="422613" y="561314"/>
                    <a:pt x="422613" y="564034"/>
                    <a:pt x="425332" y="564034"/>
                  </a:cubicBezTo>
                  <a:cubicBezTo>
                    <a:pt x="428052" y="564034"/>
                    <a:pt x="428052" y="561314"/>
                    <a:pt x="430771" y="558595"/>
                  </a:cubicBezTo>
                  <a:cubicBezTo>
                    <a:pt x="430771" y="555875"/>
                    <a:pt x="430771" y="553156"/>
                    <a:pt x="430771" y="550436"/>
                  </a:cubicBezTo>
                  <a:cubicBezTo>
                    <a:pt x="430771" y="534118"/>
                    <a:pt x="430771" y="517800"/>
                    <a:pt x="430771" y="501482"/>
                  </a:cubicBezTo>
                  <a:cubicBezTo>
                    <a:pt x="430771" y="468846"/>
                    <a:pt x="433491" y="436210"/>
                    <a:pt x="430771" y="403575"/>
                  </a:cubicBezTo>
                  <a:cubicBezTo>
                    <a:pt x="430771" y="373658"/>
                    <a:pt x="425332" y="343742"/>
                    <a:pt x="425332" y="313826"/>
                  </a:cubicBezTo>
                  <a:cubicBezTo>
                    <a:pt x="425332" y="292069"/>
                    <a:pt x="425332" y="270311"/>
                    <a:pt x="425332" y="248554"/>
                  </a:cubicBezTo>
                  <a:cubicBezTo>
                    <a:pt x="425332" y="234956"/>
                    <a:pt x="425332" y="224077"/>
                    <a:pt x="425332" y="210479"/>
                  </a:cubicBezTo>
                  <a:cubicBezTo>
                    <a:pt x="425332" y="191441"/>
                    <a:pt x="422613" y="172404"/>
                    <a:pt x="422613" y="153366"/>
                  </a:cubicBezTo>
                  <a:cubicBezTo>
                    <a:pt x="422613" y="142488"/>
                    <a:pt x="422613" y="134329"/>
                    <a:pt x="425332" y="123450"/>
                  </a:cubicBezTo>
                  <a:cubicBezTo>
                    <a:pt x="417173" y="123450"/>
                    <a:pt x="406295" y="123450"/>
                    <a:pt x="398136" y="123450"/>
                  </a:cubicBezTo>
                  <a:cubicBezTo>
                    <a:pt x="392696" y="123450"/>
                    <a:pt x="387257" y="123450"/>
                    <a:pt x="379098" y="123450"/>
                  </a:cubicBezTo>
                  <a:cubicBezTo>
                    <a:pt x="373659" y="123450"/>
                    <a:pt x="365500" y="120730"/>
                    <a:pt x="360060" y="118011"/>
                  </a:cubicBezTo>
                  <a:cubicBezTo>
                    <a:pt x="354621" y="115291"/>
                    <a:pt x="349182" y="107132"/>
                    <a:pt x="349182" y="101693"/>
                  </a:cubicBezTo>
                  <a:cubicBezTo>
                    <a:pt x="349182" y="98973"/>
                    <a:pt x="349182" y="96253"/>
                    <a:pt x="351901" y="93534"/>
                  </a:cubicBezTo>
                  <a:cubicBezTo>
                    <a:pt x="354621" y="90814"/>
                    <a:pt x="362780" y="88095"/>
                    <a:pt x="368219" y="85375"/>
                  </a:cubicBezTo>
                  <a:cubicBezTo>
                    <a:pt x="381818" y="82655"/>
                    <a:pt x="417173" y="79936"/>
                    <a:pt x="422613" y="79936"/>
                  </a:cubicBezTo>
                  <a:cubicBezTo>
                    <a:pt x="428052" y="79936"/>
                    <a:pt x="433491" y="79936"/>
                    <a:pt x="444370" y="79936"/>
                  </a:cubicBezTo>
                  <a:cubicBezTo>
                    <a:pt x="449809" y="74496"/>
                    <a:pt x="455248" y="71776"/>
                    <a:pt x="463407" y="71776"/>
                  </a:cubicBezTo>
                  <a:cubicBezTo>
                    <a:pt x="471566" y="71776"/>
                    <a:pt x="477006" y="74496"/>
                    <a:pt x="477006" y="79936"/>
                  </a:cubicBezTo>
                  <a:cubicBezTo>
                    <a:pt x="490604" y="82655"/>
                    <a:pt x="504202" y="79936"/>
                    <a:pt x="512361" y="79936"/>
                  </a:cubicBezTo>
                  <a:lnTo>
                    <a:pt x="512361" y="79936"/>
                  </a:ln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/>
            </a:p>
          </p:txBody>
        </p:sp>
        <p:sp>
          <p:nvSpPr>
            <p:cNvPr id="39" name="Freeform: Shape 38">
              <a:extLst>
                <a:ext uri="{FF2B5EF4-FFF2-40B4-BE49-F238E27FC236}">
                  <a16:creationId xmlns:a16="http://schemas.microsoft.com/office/drawing/2014/main" id="{9B1C02FF-90CC-4831-BAE5-A86D10791FC1}"/>
                </a:ext>
              </a:extLst>
            </p:cNvPr>
            <p:cNvSpPr/>
            <p:nvPr/>
          </p:nvSpPr>
          <p:spPr>
            <a:xfrm>
              <a:off x="2987430" y="4242177"/>
              <a:ext cx="494979" cy="674476"/>
            </a:xfrm>
            <a:custGeom>
              <a:avLst/>
              <a:gdLst>
                <a:gd name="connsiteX0" fmla="*/ 228453 w 494979"/>
                <a:gd name="connsiteY0" fmla="*/ 97907 h 674476"/>
                <a:gd name="connsiteX1" fmla="*/ 212135 w 494979"/>
                <a:gd name="connsiteY1" fmla="*/ 119665 h 674476"/>
                <a:gd name="connsiteX2" fmla="*/ 203976 w 494979"/>
                <a:gd name="connsiteY2" fmla="*/ 152300 h 674476"/>
                <a:gd name="connsiteX3" fmla="*/ 201256 w 494979"/>
                <a:gd name="connsiteY3" fmla="*/ 168618 h 674476"/>
                <a:gd name="connsiteX4" fmla="*/ 198537 w 494979"/>
                <a:gd name="connsiteY4" fmla="*/ 184936 h 674476"/>
                <a:gd name="connsiteX5" fmla="*/ 190378 w 494979"/>
                <a:gd name="connsiteY5" fmla="*/ 220292 h 674476"/>
                <a:gd name="connsiteX6" fmla="*/ 171340 w 494979"/>
                <a:gd name="connsiteY6" fmla="*/ 291003 h 674476"/>
                <a:gd name="connsiteX7" fmla="*/ 163180 w 494979"/>
                <a:gd name="connsiteY7" fmla="*/ 323639 h 674476"/>
                <a:gd name="connsiteX8" fmla="*/ 152302 w 494979"/>
                <a:gd name="connsiteY8" fmla="*/ 361714 h 674476"/>
                <a:gd name="connsiteX9" fmla="*/ 146862 w 494979"/>
                <a:gd name="connsiteY9" fmla="*/ 388910 h 674476"/>
                <a:gd name="connsiteX10" fmla="*/ 152302 w 494979"/>
                <a:gd name="connsiteY10" fmla="*/ 391630 h 674476"/>
                <a:gd name="connsiteX11" fmla="*/ 174060 w 494979"/>
                <a:gd name="connsiteY11" fmla="*/ 391630 h 674476"/>
                <a:gd name="connsiteX12" fmla="*/ 195817 w 494979"/>
                <a:gd name="connsiteY12" fmla="*/ 388910 h 674476"/>
                <a:gd name="connsiteX13" fmla="*/ 214855 w 494979"/>
                <a:gd name="connsiteY13" fmla="*/ 388910 h 674476"/>
                <a:gd name="connsiteX14" fmla="*/ 239332 w 494979"/>
                <a:gd name="connsiteY14" fmla="*/ 388910 h 674476"/>
                <a:gd name="connsiteX15" fmla="*/ 252930 w 494979"/>
                <a:gd name="connsiteY15" fmla="*/ 386191 h 674476"/>
                <a:gd name="connsiteX16" fmla="*/ 261089 w 494979"/>
                <a:gd name="connsiteY16" fmla="*/ 386191 h 674476"/>
                <a:gd name="connsiteX17" fmla="*/ 258369 w 494979"/>
                <a:gd name="connsiteY17" fmla="*/ 367153 h 674476"/>
                <a:gd name="connsiteX18" fmla="*/ 252930 w 494979"/>
                <a:gd name="connsiteY18" fmla="*/ 331797 h 674476"/>
                <a:gd name="connsiteX19" fmla="*/ 250210 w 494979"/>
                <a:gd name="connsiteY19" fmla="*/ 244769 h 674476"/>
                <a:gd name="connsiteX20" fmla="*/ 244771 w 494979"/>
                <a:gd name="connsiteY20" fmla="*/ 203974 h 674476"/>
                <a:gd name="connsiteX21" fmla="*/ 239332 w 494979"/>
                <a:gd name="connsiteY21" fmla="*/ 157740 h 674476"/>
                <a:gd name="connsiteX22" fmla="*/ 236612 w 494979"/>
                <a:gd name="connsiteY22" fmla="*/ 119665 h 674476"/>
                <a:gd name="connsiteX23" fmla="*/ 228453 w 494979"/>
                <a:gd name="connsiteY23" fmla="*/ 97907 h 674476"/>
                <a:gd name="connsiteX24" fmla="*/ 274687 w 494979"/>
                <a:gd name="connsiteY24" fmla="*/ 0 h 674476"/>
                <a:gd name="connsiteX25" fmla="*/ 304603 w 494979"/>
                <a:gd name="connsiteY25" fmla="*/ 5439 h 674476"/>
                <a:gd name="connsiteX26" fmla="*/ 320921 w 494979"/>
                <a:gd name="connsiteY26" fmla="*/ 24477 h 674476"/>
                <a:gd name="connsiteX27" fmla="*/ 334519 w 494979"/>
                <a:gd name="connsiteY27" fmla="*/ 43515 h 674476"/>
                <a:gd name="connsiteX28" fmla="*/ 339959 w 494979"/>
                <a:gd name="connsiteY28" fmla="*/ 65272 h 674476"/>
                <a:gd name="connsiteX29" fmla="*/ 348118 w 494979"/>
                <a:gd name="connsiteY29" fmla="*/ 114226 h 674476"/>
                <a:gd name="connsiteX30" fmla="*/ 361716 w 494979"/>
                <a:gd name="connsiteY30" fmla="*/ 163180 h 674476"/>
                <a:gd name="connsiteX31" fmla="*/ 369875 w 494979"/>
                <a:gd name="connsiteY31" fmla="*/ 220293 h 674476"/>
                <a:gd name="connsiteX32" fmla="*/ 378034 w 494979"/>
                <a:gd name="connsiteY32" fmla="*/ 274686 h 674476"/>
                <a:gd name="connsiteX33" fmla="*/ 383473 w 494979"/>
                <a:gd name="connsiteY33" fmla="*/ 301883 h 674476"/>
                <a:gd name="connsiteX34" fmla="*/ 391632 w 494979"/>
                <a:gd name="connsiteY34" fmla="*/ 337238 h 674476"/>
                <a:gd name="connsiteX35" fmla="*/ 397071 w 494979"/>
                <a:gd name="connsiteY35" fmla="*/ 364435 h 674476"/>
                <a:gd name="connsiteX36" fmla="*/ 405230 w 494979"/>
                <a:gd name="connsiteY36" fmla="*/ 383473 h 674476"/>
                <a:gd name="connsiteX37" fmla="*/ 416109 w 494979"/>
                <a:gd name="connsiteY37" fmla="*/ 386192 h 674476"/>
                <a:gd name="connsiteX38" fmla="*/ 426988 w 494979"/>
                <a:gd name="connsiteY38" fmla="*/ 386192 h 674476"/>
                <a:gd name="connsiteX39" fmla="*/ 454184 w 494979"/>
                <a:gd name="connsiteY39" fmla="*/ 397071 h 674476"/>
                <a:gd name="connsiteX40" fmla="*/ 456904 w 494979"/>
                <a:gd name="connsiteY40" fmla="*/ 405230 h 674476"/>
                <a:gd name="connsiteX41" fmla="*/ 451465 w 494979"/>
                <a:gd name="connsiteY41" fmla="*/ 416108 h 674476"/>
                <a:gd name="connsiteX42" fmla="*/ 432427 w 494979"/>
                <a:gd name="connsiteY42" fmla="*/ 429707 h 674476"/>
                <a:gd name="connsiteX43" fmla="*/ 421548 w 494979"/>
                <a:gd name="connsiteY43" fmla="*/ 432426 h 674476"/>
                <a:gd name="connsiteX44" fmla="*/ 413389 w 494979"/>
                <a:gd name="connsiteY44" fmla="*/ 435146 h 674476"/>
                <a:gd name="connsiteX45" fmla="*/ 413389 w 494979"/>
                <a:gd name="connsiteY45" fmla="*/ 440585 h 674476"/>
                <a:gd name="connsiteX46" fmla="*/ 416109 w 494979"/>
                <a:gd name="connsiteY46" fmla="*/ 451464 h 674476"/>
                <a:gd name="connsiteX47" fmla="*/ 418829 w 494979"/>
                <a:gd name="connsiteY47" fmla="*/ 465062 h 674476"/>
                <a:gd name="connsiteX48" fmla="*/ 418829 w 494979"/>
                <a:gd name="connsiteY48" fmla="*/ 475941 h 674476"/>
                <a:gd name="connsiteX49" fmla="*/ 418829 w 494979"/>
                <a:gd name="connsiteY49" fmla="*/ 486820 h 674476"/>
                <a:gd name="connsiteX50" fmla="*/ 426988 w 494979"/>
                <a:gd name="connsiteY50" fmla="*/ 516736 h 674476"/>
                <a:gd name="connsiteX51" fmla="*/ 432427 w 494979"/>
                <a:gd name="connsiteY51" fmla="*/ 543932 h 674476"/>
                <a:gd name="connsiteX52" fmla="*/ 437866 w 494979"/>
                <a:gd name="connsiteY52" fmla="*/ 573848 h 674476"/>
                <a:gd name="connsiteX53" fmla="*/ 443306 w 494979"/>
                <a:gd name="connsiteY53" fmla="*/ 606484 h 674476"/>
                <a:gd name="connsiteX54" fmla="*/ 446025 w 494979"/>
                <a:gd name="connsiteY54" fmla="*/ 617363 h 674476"/>
                <a:gd name="connsiteX55" fmla="*/ 470502 w 494979"/>
                <a:gd name="connsiteY55" fmla="*/ 617363 h 674476"/>
                <a:gd name="connsiteX56" fmla="*/ 494979 w 494979"/>
                <a:gd name="connsiteY56" fmla="*/ 641840 h 674476"/>
                <a:gd name="connsiteX57" fmla="*/ 486820 w 494979"/>
                <a:gd name="connsiteY57" fmla="*/ 655438 h 674476"/>
                <a:gd name="connsiteX58" fmla="*/ 470502 w 494979"/>
                <a:gd name="connsiteY58" fmla="*/ 663597 h 674476"/>
                <a:gd name="connsiteX59" fmla="*/ 446025 w 494979"/>
                <a:gd name="connsiteY59" fmla="*/ 666317 h 674476"/>
                <a:gd name="connsiteX60" fmla="*/ 424268 w 494979"/>
                <a:gd name="connsiteY60" fmla="*/ 666317 h 674476"/>
                <a:gd name="connsiteX61" fmla="*/ 416109 w 494979"/>
                <a:gd name="connsiteY61" fmla="*/ 666317 h 674476"/>
                <a:gd name="connsiteX62" fmla="*/ 402511 w 494979"/>
                <a:gd name="connsiteY62" fmla="*/ 671756 h 674476"/>
                <a:gd name="connsiteX63" fmla="*/ 386193 w 494979"/>
                <a:gd name="connsiteY63" fmla="*/ 674476 h 674476"/>
                <a:gd name="connsiteX64" fmla="*/ 350837 w 494979"/>
                <a:gd name="connsiteY64" fmla="*/ 669036 h 674476"/>
                <a:gd name="connsiteX65" fmla="*/ 329080 w 494979"/>
                <a:gd name="connsiteY65" fmla="*/ 669036 h 674476"/>
                <a:gd name="connsiteX66" fmla="*/ 280126 w 494979"/>
                <a:gd name="connsiteY66" fmla="*/ 669036 h 674476"/>
                <a:gd name="connsiteX67" fmla="*/ 255649 w 494979"/>
                <a:gd name="connsiteY67" fmla="*/ 663597 h 674476"/>
                <a:gd name="connsiteX68" fmla="*/ 239331 w 494979"/>
                <a:gd name="connsiteY68" fmla="*/ 647279 h 674476"/>
                <a:gd name="connsiteX69" fmla="*/ 263808 w 494979"/>
                <a:gd name="connsiteY69" fmla="*/ 630961 h 674476"/>
                <a:gd name="connsiteX70" fmla="*/ 291005 w 494979"/>
                <a:gd name="connsiteY70" fmla="*/ 628241 h 674476"/>
                <a:gd name="connsiteX71" fmla="*/ 288285 w 494979"/>
                <a:gd name="connsiteY71" fmla="*/ 609204 h 674476"/>
                <a:gd name="connsiteX72" fmla="*/ 285565 w 494979"/>
                <a:gd name="connsiteY72" fmla="*/ 582007 h 674476"/>
                <a:gd name="connsiteX73" fmla="*/ 282846 w 494979"/>
                <a:gd name="connsiteY73" fmla="*/ 568409 h 674476"/>
                <a:gd name="connsiteX74" fmla="*/ 285565 w 494979"/>
                <a:gd name="connsiteY74" fmla="*/ 554811 h 674476"/>
                <a:gd name="connsiteX75" fmla="*/ 280126 w 494979"/>
                <a:gd name="connsiteY75" fmla="*/ 538493 h 674476"/>
                <a:gd name="connsiteX76" fmla="*/ 274687 w 494979"/>
                <a:gd name="connsiteY76" fmla="*/ 505857 h 674476"/>
                <a:gd name="connsiteX77" fmla="*/ 271967 w 494979"/>
                <a:gd name="connsiteY77" fmla="*/ 478660 h 674476"/>
                <a:gd name="connsiteX78" fmla="*/ 269247 w 494979"/>
                <a:gd name="connsiteY78" fmla="*/ 446025 h 674476"/>
                <a:gd name="connsiteX79" fmla="*/ 263808 w 494979"/>
                <a:gd name="connsiteY79" fmla="*/ 437866 h 674476"/>
                <a:gd name="connsiteX80" fmla="*/ 252929 w 494979"/>
                <a:gd name="connsiteY80" fmla="*/ 437866 h 674476"/>
                <a:gd name="connsiteX81" fmla="*/ 223013 w 494979"/>
                <a:gd name="connsiteY81" fmla="*/ 440585 h 674476"/>
                <a:gd name="connsiteX82" fmla="*/ 193097 w 494979"/>
                <a:gd name="connsiteY82" fmla="*/ 443305 h 674476"/>
                <a:gd name="connsiteX83" fmla="*/ 168620 w 494979"/>
                <a:gd name="connsiteY83" fmla="*/ 443305 h 674476"/>
                <a:gd name="connsiteX84" fmla="*/ 146862 w 494979"/>
                <a:gd name="connsiteY84" fmla="*/ 440585 h 674476"/>
                <a:gd name="connsiteX85" fmla="*/ 138703 w 494979"/>
                <a:gd name="connsiteY85" fmla="*/ 454184 h 674476"/>
                <a:gd name="connsiteX86" fmla="*/ 133263 w 494979"/>
                <a:gd name="connsiteY86" fmla="*/ 486820 h 674476"/>
                <a:gd name="connsiteX87" fmla="*/ 122385 w 494979"/>
                <a:gd name="connsiteY87" fmla="*/ 541213 h 674476"/>
                <a:gd name="connsiteX88" fmla="*/ 106067 w 494979"/>
                <a:gd name="connsiteY88" fmla="*/ 614643 h 674476"/>
                <a:gd name="connsiteX89" fmla="*/ 135983 w 494979"/>
                <a:gd name="connsiteY89" fmla="*/ 614643 h 674476"/>
                <a:gd name="connsiteX90" fmla="*/ 171340 w 494979"/>
                <a:gd name="connsiteY90" fmla="*/ 630961 h 674476"/>
                <a:gd name="connsiteX91" fmla="*/ 165900 w 494979"/>
                <a:gd name="connsiteY91" fmla="*/ 647279 h 674476"/>
                <a:gd name="connsiteX92" fmla="*/ 149581 w 494979"/>
                <a:gd name="connsiteY92" fmla="*/ 655438 h 674476"/>
                <a:gd name="connsiteX93" fmla="*/ 127824 w 494979"/>
                <a:gd name="connsiteY93" fmla="*/ 658158 h 674476"/>
                <a:gd name="connsiteX94" fmla="*/ 106067 w 494979"/>
                <a:gd name="connsiteY94" fmla="*/ 658158 h 674476"/>
                <a:gd name="connsiteX95" fmla="*/ 62552 w 494979"/>
                <a:gd name="connsiteY95" fmla="*/ 658158 h 674476"/>
                <a:gd name="connsiteX96" fmla="*/ 40795 w 494979"/>
                <a:gd name="connsiteY96" fmla="*/ 658158 h 674476"/>
                <a:gd name="connsiteX97" fmla="*/ 16318 w 494979"/>
                <a:gd name="connsiteY97" fmla="*/ 652718 h 674476"/>
                <a:gd name="connsiteX98" fmla="*/ 0 w 494979"/>
                <a:gd name="connsiteY98" fmla="*/ 636401 h 674476"/>
                <a:gd name="connsiteX99" fmla="*/ 2720 w 494979"/>
                <a:gd name="connsiteY99" fmla="*/ 628241 h 674476"/>
                <a:gd name="connsiteX100" fmla="*/ 24477 w 494979"/>
                <a:gd name="connsiteY100" fmla="*/ 620082 h 674476"/>
                <a:gd name="connsiteX101" fmla="*/ 62552 w 494979"/>
                <a:gd name="connsiteY101" fmla="*/ 617363 h 674476"/>
                <a:gd name="connsiteX102" fmla="*/ 62552 w 494979"/>
                <a:gd name="connsiteY102" fmla="*/ 614643 h 674476"/>
                <a:gd name="connsiteX103" fmla="*/ 65272 w 494979"/>
                <a:gd name="connsiteY103" fmla="*/ 587447 h 674476"/>
                <a:gd name="connsiteX104" fmla="*/ 76151 w 494979"/>
                <a:gd name="connsiteY104" fmla="*/ 522175 h 674476"/>
                <a:gd name="connsiteX105" fmla="*/ 87029 w 494979"/>
                <a:gd name="connsiteY105" fmla="*/ 470501 h 674476"/>
                <a:gd name="connsiteX106" fmla="*/ 92469 w 494979"/>
                <a:gd name="connsiteY106" fmla="*/ 446025 h 674476"/>
                <a:gd name="connsiteX107" fmla="*/ 65272 w 494979"/>
                <a:gd name="connsiteY107" fmla="*/ 432426 h 674476"/>
                <a:gd name="connsiteX108" fmla="*/ 54393 w 494979"/>
                <a:gd name="connsiteY108" fmla="*/ 421548 h 674476"/>
                <a:gd name="connsiteX109" fmla="*/ 73431 w 494979"/>
                <a:gd name="connsiteY109" fmla="*/ 407949 h 674476"/>
                <a:gd name="connsiteX110" fmla="*/ 100628 w 494979"/>
                <a:gd name="connsiteY110" fmla="*/ 399790 h 674476"/>
                <a:gd name="connsiteX111" fmla="*/ 108787 w 494979"/>
                <a:gd name="connsiteY111" fmla="*/ 369874 h 674476"/>
                <a:gd name="connsiteX112" fmla="*/ 125105 w 494979"/>
                <a:gd name="connsiteY112" fmla="*/ 307322 h 674476"/>
                <a:gd name="connsiteX113" fmla="*/ 141423 w 494979"/>
                <a:gd name="connsiteY113" fmla="*/ 242051 h 674476"/>
                <a:gd name="connsiteX114" fmla="*/ 155021 w 494979"/>
                <a:gd name="connsiteY114" fmla="*/ 179498 h 674476"/>
                <a:gd name="connsiteX115" fmla="*/ 168620 w 494979"/>
                <a:gd name="connsiteY115" fmla="*/ 119665 h 674476"/>
                <a:gd name="connsiteX116" fmla="*/ 193097 w 494979"/>
                <a:gd name="connsiteY116" fmla="*/ 57113 h 674476"/>
                <a:gd name="connsiteX117" fmla="*/ 201256 w 494979"/>
                <a:gd name="connsiteY117" fmla="*/ 38075 h 674476"/>
                <a:gd name="connsiteX118" fmla="*/ 217574 w 494979"/>
                <a:gd name="connsiteY118" fmla="*/ 13598 h 674476"/>
                <a:gd name="connsiteX119" fmla="*/ 274687 w 494979"/>
                <a:gd name="connsiteY119" fmla="*/ 0 h 6744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</a:cxnLst>
              <a:rect l="l" t="t" r="r" b="b"/>
              <a:pathLst>
                <a:path w="494979" h="674476">
                  <a:moveTo>
                    <a:pt x="228453" y="97907"/>
                  </a:moveTo>
                  <a:cubicBezTo>
                    <a:pt x="220294" y="97907"/>
                    <a:pt x="212135" y="114225"/>
                    <a:pt x="212135" y="119665"/>
                  </a:cubicBezTo>
                  <a:cubicBezTo>
                    <a:pt x="209415" y="130543"/>
                    <a:pt x="206696" y="144141"/>
                    <a:pt x="203976" y="152300"/>
                  </a:cubicBezTo>
                  <a:cubicBezTo>
                    <a:pt x="201256" y="157740"/>
                    <a:pt x="201256" y="163179"/>
                    <a:pt x="201256" y="168618"/>
                  </a:cubicBezTo>
                  <a:cubicBezTo>
                    <a:pt x="201256" y="174058"/>
                    <a:pt x="198537" y="179497"/>
                    <a:pt x="198537" y="184936"/>
                  </a:cubicBezTo>
                  <a:cubicBezTo>
                    <a:pt x="195817" y="195815"/>
                    <a:pt x="193097" y="209413"/>
                    <a:pt x="190378" y="220292"/>
                  </a:cubicBezTo>
                  <a:cubicBezTo>
                    <a:pt x="187658" y="244769"/>
                    <a:pt x="179499" y="269246"/>
                    <a:pt x="171340" y="291003"/>
                  </a:cubicBezTo>
                  <a:cubicBezTo>
                    <a:pt x="168620" y="301881"/>
                    <a:pt x="165900" y="312760"/>
                    <a:pt x="163180" y="323639"/>
                  </a:cubicBezTo>
                  <a:cubicBezTo>
                    <a:pt x="160461" y="337237"/>
                    <a:pt x="157741" y="348115"/>
                    <a:pt x="152302" y="361714"/>
                  </a:cubicBezTo>
                  <a:cubicBezTo>
                    <a:pt x="149582" y="367153"/>
                    <a:pt x="146862" y="383471"/>
                    <a:pt x="146862" y="388910"/>
                  </a:cubicBezTo>
                  <a:cubicBezTo>
                    <a:pt x="146862" y="391630"/>
                    <a:pt x="149582" y="391630"/>
                    <a:pt x="152302" y="391630"/>
                  </a:cubicBezTo>
                  <a:cubicBezTo>
                    <a:pt x="157741" y="391630"/>
                    <a:pt x="171340" y="391630"/>
                    <a:pt x="174060" y="391630"/>
                  </a:cubicBezTo>
                  <a:cubicBezTo>
                    <a:pt x="182219" y="391630"/>
                    <a:pt x="190378" y="391630"/>
                    <a:pt x="195817" y="388910"/>
                  </a:cubicBezTo>
                  <a:cubicBezTo>
                    <a:pt x="201256" y="388910"/>
                    <a:pt x="206696" y="388910"/>
                    <a:pt x="214855" y="388910"/>
                  </a:cubicBezTo>
                  <a:cubicBezTo>
                    <a:pt x="220294" y="388910"/>
                    <a:pt x="228453" y="388910"/>
                    <a:pt x="239332" y="388910"/>
                  </a:cubicBezTo>
                  <a:cubicBezTo>
                    <a:pt x="244771" y="388910"/>
                    <a:pt x="250210" y="388910"/>
                    <a:pt x="252930" y="386191"/>
                  </a:cubicBezTo>
                  <a:cubicBezTo>
                    <a:pt x="258369" y="391630"/>
                    <a:pt x="261089" y="388910"/>
                    <a:pt x="261089" y="386191"/>
                  </a:cubicBezTo>
                  <a:cubicBezTo>
                    <a:pt x="261089" y="380751"/>
                    <a:pt x="258369" y="372592"/>
                    <a:pt x="258369" y="367153"/>
                  </a:cubicBezTo>
                  <a:cubicBezTo>
                    <a:pt x="255650" y="353555"/>
                    <a:pt x="252930" y="342676"/>
                    <a:pt x="252930" y="331797"/>
                  </a:cubicBezTo>
                  <a:cubicBezTo>
                    <a:pt x="252930" y="301881"/>
                    <a:pt x="252930" y="274685"/>
                    <a:pt x="250210" y="244769"/>
                  </a:cubicBezTo>
                  <a:cubicBezTo>
                    <a:pt x="250210" y="231170"/>
                    <a:pt x="247491" y="217572"/>
                    <a:pt x="244771" y="203974"/>
                  </a:cubicBezTo>
                  <a:cubicBezTo>
                    <a:pt x="242051" y="187656"/>
                    <a:pt x="239332" y="174058"/>
                    <a:pt x="239332" y="157740"/>
                  </a:cubicBezTo>
                  <a:cubicBezTo>
                    <a:pt x="239332" y="152300"/>
                    <a:pt x="239332" y="133263"/>
                    <a:pt x="236612" y="119665"/>
                  </a:cubicBezTo>
                  <a:cubicBezTo>
                    <a:pt x="236612" y="106066"/>
                    <a:pt x="233892" y="97907"/>
                    <a:pt x="228453" y="97907"/>
                  </a:cubicBezTo>
                  <a:close/>
                  <a:moveTo>
                    <a:pt x="274687" y="0"/>
                  </a:moveTo>
                  <a:cubicBezTo>
                    <a:pt x="288285" y="0"/>
                    <a:pt x="293724" y="2720"/>
                    <a:pt x="304603" y="5439"/>
                  </a:cubicBezTo>
                  <a:cubicBezTo>
                    <a:pt x="315482" y="10879"/>
                    <a:pt x="315482" y="16318"/>
                    <a:pt x="320921" y="24477"/>
                  </a:cubicBezTo>
                  <a:cubicBezTo>
                    <a:pt x="326360" y="29916"/>
                    <a:pt x="331800" y="35356"/>
                    <a:pt x="334519" y="43515"/>
                  </a:cubicBezTo>
                  <a:cubicBezTo>
                    <a:pt x="337239" y="51674"/>
                    <a:pt x="337239" y="57113"/>
                    <a:pt x="339959" y="65272"/>
                  </a:cubicBezTo>
                  <a:cubicBezTo>
                    <a:pt x="345398" y="78870"/>
                    <a:pt x="342678" y="97908"/>
                    <a:pt x="348118" y="114226"/>
                  </a:cubicBezTo>
                  <a:cubicBezTo>
                    <a:pt x="350837" y="130544"/>
                    <a:pt x="358996" y="146863"/>
                    <a:pt x="361716" y="163180"/>
                  </a:cubicBezTo>
                  <a:cubicBezTo>
                    <a:pt x="364435" y="182218"/>
                    <a:pt x="364435" y="201256"/>
                    <a:pt x="369875" y="220293"/>
                  </a:cubicBezTo>
                  <a:cubicBezTo>
                    <a:pt x="375314" y="239331"/>
                    <a:pt x="378034" y="255649"/>
                    <a:pt x="378034" y="274686"/>
                  </a:cubicBezTo>
                  <a:cubicBezTo>
                    <a:pt x="378034" y="282845"/>
                    <a:pt x="380753" y="293724"/>
                    <a:pt x="383473" y="301883"/>
                  </a:cubicBezTo>
                  <a:cubicBezTo>
                    <a:pt x="386193" y="312762"/>
                    <a:pt x="388912" y="326360"/>
                    <a:pt x="391632" y="337238"/>
                  </a:cubicBezTo>
                  <a:cubicBezTo>
                    <a:pt x="391632" y="342678"/>
                    <a:pt x="394352" y="353556"/>
                    <a:pt x="397071" y="364435"/>
                  </a:cubicBezTo>
                  <a:cubicBezTo>
                    <a:pt x="399791" y="372594"/>
                    <a:pt x="402511" y="380753"/>
                    <a:pt x="405230" y="383473"/>
                  </a:cubicBezTo>
                  <a:cubicBezTo>
                    <a:pt x="407950" y="386192"/>
                    <a:pt x="413389" y="386192"/>
                    <a:pt x="416109" y="386192"/>
                  </a:cubicBezTo>
                  <a:cubicBezTo>
                    <a:pt x="418829" y="386192"/>
                    <a:pt x="424268" y="386192"/>
                    <a:pt x="426988" y="386192"/>
                  </a:cubicBezTo>
                  <a:cubicBezTo>
                    <a:pt x="437866" y="386192"/>
                    <a:pt x="448745" y="388912"/>
                    <a:pt x="454184" y="397071"/>
                  </a:cubicBezTo>
                  <a:cubicBezTo>
                    <a:pt x="456904" y="399790"/>
                    <a:pt x="456904" y="402510"/>
                    <a:pt x="456904" y="405230"/>
                  </a:cubicBezTo>
                  <a:cubicBezTo>
                    <a:pt x="456904" y="407949"/>
                    <a:pt x="454184" y="410669"/>
                    <a:pt x="451465" y="416108"/>
                  </a:cubicBezTo>
                  <a:cubicBezTo>
                    <a:pt x="446025" y="421548"/>
                    <a:pt x="440586" y="426987"/>
                    <a:pt x="432427" y="429707"/>
                  </a:cubicBezTo>
                  <a:cubicBezTo>
                    <a:pt x="429707" y="429707"/>
                    <a:pt x="426988" y="432426"/>
                    <a:pt x="421548" y="432426"/>
                  </a:cubicBezTo>
                  <a:cubicBezTo>
                    <a:pt x="418829" y="432426"/>
                    <a:pt x="416109" y="432426"/>
                    <a:pt x="413389" y="435146"/>
                  </a:cubicBezTo>
                  <a:cubicBezTo>
                    <a:pt x="413389" y="435146"/>
                    <a:pt x="413389" y="437866"/>
                    <a:pt x="413389" y="440585"/>
                  </a:cubicBezTo>
                  <a:cubicBezTo>
                    <a:pt x="413389" y="443305"/>
                    <a:pt x="413389" y="448744"/>
                    <a:pt x="416109" y="451464"/>
                  </a:cubicBezTo>
                  <a:cubicBezTo>
                    <a:pt x="416109" y="456903"/>
                    <a:pt x="418829" y="462343"/>
                    <a:pt x="418829" y="465062"/>
                  </a:cubicBezTo>
                  <a:lnTo>
                    <a:pt x="418829" y="475941"/>
                  </a:lnTo>
                  <a:cubicBezTo>
                    <a:pt x="418829" y="481380"/>
                    <a:pt x="418829" y="484100"/>
                    <a:pt x="418829" y="486820"/>
                  </a:cubicBezTo>
                  <a:cubicBezTo>
                    <a:pt x="421548" y="497698"/>
                    <a:pt x="424268" y="505857"/>
                    <a:pt x="426988" y="516736"/>
                  </a:cubicBezTo>
                  <a:cubicBezTo>
                    <a:pt x="426988" y="524895"/>
                    <a:pt x="429707" y="535773"/>
                    <a:pt x="432427" y="543932"/>
                  </a:cubicBezTo>
                  <a:cubicBezTo>
                    <a:pt x="435147" y="554811"/>
                    <a:pt x="437866" y="562970"/>
                    <a:pt x="437866" y="573848"/>
                  </a:cubicBezTo>
                  <a:cubicBezTo>
                    <a:pt x="437866" y="587447"/>
                    <a:pt x="440586" y="595606"/>
                    <a:pt x="443306" y="606484"/>
                  </a:cubicBezTo>
                  <a:cubicBezTo>
                    <a:pt x="443306" y="609204"/>
                    <a:pt x="446025" y="614643"/>
                    <a:pt x="446025" y="617363"/>
                  </a:cubicBezTo>
                  <a:cubicBezTo>
                    <a:pt x="454184" y="617363"/>
                    <a:pt x="462343" y="617363"/>
                    <a:pt x="470502" y="617363"/>
                  </a:cubicBezTo>
                  <a:cubicBezTo>
                    <a:pt x="478661" y="625522"/>
                    <a:pt x="492259" y="630961"/>
                    <a:pt x="494979" y="641840"/>
                  </a:cubicBezTo>
                  <a:cubicBezTo>
                    <a:pt x="494979" y="647279"/>
                    <a:pt x="489540" y="649999"/>
                    <a:pt x="486820" y="655438"/>
                  </a:cubicBezTo>
                  <a:cubicBezTo>
                    <a:pt x="484100" y="660877"/>
                    <a:pt x="475942" y="663597"/>
                    <a:pt x="470502" y="663597"/>
                  </a:cubicBezTo>
                  <a:cubicBezTo>
                    <a:pt x="459623" y="666317"/>
                    <a:pt x="454184" y="666317"/>
                    <a:pt x="446025" y="666317"/>
                  </a:cubicBezTo>
                  <a:cubicBezTo>
                    <a:pt x="440586" y="666317"/>
                    <a:pt x="432427" y="666317"/>
                    <a:pt x="424268" y="666317"/>
                  </a:cubicBezTo>
                  <a:cubicBezTo>
                    <a:pt x="421548" y="666317"/>
                    <a:pt x="418829" y="666317"/>
                    <a:pt x="416109" y="666317"/>
                  </a:cubicBezTo>
                  <a:cubicBezTo>
                    <a:pt x="410670" y="669036"/>
                    <a:pt x="407950" y="669036"/>
                    <a:pt x="402511" y="671756"/>
                  </a:cubicBezTo>
                  <a:cubicBezTo>
                    <a:pt x="397071" y="671756"/>
                    <a:pt x="391632" y="674476"/>
                    <a:pt x="386193" y="674476"/>
                  </a:cubicBezTo>
                  <a:cubicBezTo>
                    <a:pt x="375314" y="674476"/>
                    <a:pt x="361716" y="671756"/>
                    <a:pt x="350837" y="669036"/>
                  </a:cubicBezTo>
                  <a:cubicBezTo>
                    <a:pt x="342678" y="669036"/>
                    <a:pt x="334519" y="669036"/>
                    <a:pt x="329080" y="669036"/>
                  </a:cubicBezTo>
                  <a:cubicBezTo>
                    <a:pt x="307323" y="669036"/>
                    <a:pt x="288285" y="669036"/>
                    <a:pt x="280126" y="669036"/>
                  </a:cubicBezTo>
                  <a:cubicBezTo>
                    <a:pt x="271967" y="669036"/>
                    <a:pt x="261088" y="669036"/>
                    <a:pt x="255649" y="663597"/>
                  </a:cubicBezTo>
                  <a:cubicBezTo>
                    <a:pt x="250210" y="660877"/>
                    <a:pt x="239331" y="655438"/>
                    <a:pt x="239331" y="647279"/>
                  </a:cubicBezTo>
                  <a:cubicBezTo>
                    <a:pt x="239331" y="636401"/>
                    <a:pt x="255649" y="633681"/>
                    <a:pt x="263808" y="630961"/>
                  </a:cubicBezTo>
                  <a:cubicBezTo>
                    <a:pt x="269247" y="630961"/>
                    <a:pt x="277406" y="630961"/>
                    <a:pt x="291005" y="628241"/>
                  </a:cubicBezTo>
                  <a:cubicBezTo>
                    <a:pt x="291005" y="620082"/>
                    <a:pt x="291005" y="614643"/>
                    <a:pt x="288285" y="609204"/>
                  </a:cubicBezTo>
                  <a:cubicBezTo>
                    <a:pt x="288285" y="601045"/>
                    <a:pt x="285565" y="590166"/>
                    <a:pt x="285565" y="582007"/>
                  </a:cubicBezTo>
                  <a:cubicBezTo>
                    <a:pt x="285565" y="576568"/>
                    <a:pt x="282846" y="573848"/>
                    <a:pt x="282846" y="568409"/>
                  </a:cubicBezTo>
                  <a:cubicBezTo>
                    <a:pt x="282846" y="562970"/>
                    <a:pt x="285565" y="557531"/>
                    <a:pt x="285565" y="554811"/>
                  </a:cubicBezTo>
                  <a:cubicBezTo>
                    <a:pt x="285565" y="549371"/>
                    <a:pt x="282846" y="546652"/>
                    <a:pt x="280126" y="538493"/>
                  </a:cubicBezTo>
                  <a:cubicBezTo>
                    <a:pt x="280126" y="527614"/>
                    <a:pt x="274687" y="516736"/>
                    <a:pt x="274687" y="505857"/>
                  </a:cubicBezTo>
                  <a:cubicBezTo>
                    <a:pt x="274687" y="494978"/>
                    <a:pt x="274687" y="486820"/>
                    <a:pt x="271967" y="478660"/>
                  </a:cubicBezTo>
                  <a:cubicBezTo>
                    <a:pt x="269247" y="467782"/>
                    <a:pt x="269247" y="456903"/>
                    <a:pt x="269247" y="446025"/>
                  </a:cubicBezTo>
                  <a:cubicBezTo>
                    <a:pt x="269247" y="440585"/>
                    <a:pt x="266528" y="437866"/>
                    <a:pt x="263808" y="437866"/>
                  </a:cubicBezTo>
                  <a:cubicBezTo>
                    <a:pt x="261088" y="437866"/>
                    <a:pt x="258369" y="437866"/>
                    <a:pt x="252929" y="437866"/>
                  </a:cubicBezTo>
                  <a:cubicBezTo>
                    <a:pt x="242051" y="437866"/>
                    <a:pt x="231172" y="437866"/>
                    <a:pt x="223013" y="440585"/>
                  </a:cubicBezTo>
                  <a:cubicBezTo>
                    <a:pt x="212135" y="440585"/>
                    <a:pt x="203976" y="443305"/>
                    <a:pt x="193097" y="443305"/>
                  </a:cubicBezTo>
                  <a:cubicBezTo>
                    <a:pt x="184938" y="443305"/>
                    <a:pt x="176779" y="443305"/>
                    <a:pt x="168620" y="443305"/>
                  </a:cubicBezTo>
                  <a:cubicBezTo>
                    <a:pt x="165900" y="443305"/>
                    <a:pt x="155021" y="440585"/>
                    <a:pt x="146862" y="440585"/>
                  </a:cubicBezTo>
                  <a:cubicBezTo>
                    <a:pt x="138703" y="440585"/>
                    <a:pt x="138703" y="448744"/>
                    <a:pt x="138703" y="454184"/>
                  </a:cubicBezTo>
                  <a:cubicBezTo>
                    <a:pt x="138703" y="465062"/>
                    <a:pt x="135983" y="475941"/>
                    <a:pt x="133263" y="486820"/>
                  </a:cubicBezTo>
                  <a:cubicBezTo>
                    <a:pt x="130544" y="505857"/>
                    <a:pt x="125105" y="522175"/>
                    <a:pt x="122385" y="541213"/>
                  </a:cubicBezTo>
                  <a:cubicBezTo>
                    <a:pt x="119665" y="560250"/>
                    <a:pt x="111506" y="595606"/>
                    <a:pt x="106067" y="614643"/>
                  </a:cubicBezTo>
                  <a:cubicBezTo>
                    <a:pt x="114226" y="614643"/>
                    <a:pt x="125105" y="614643"/>
                    <a:pt x="135983" y="614643"/>
                  </a:cubicBezTo>
                  <a:cubicBezTo>
                    <a:pt x="149581" y="614643"/>
                    <a:pt x="171340" y="614643"/>
                    <a:pt x="171340" y="630961"/>
                  </a:cubicBezTo>
                  <a:cubicBezTo>
                    <a:pt x="171340" y="639120"/>
                    <a:pt x="168620" y="639120"/>
                    <a:pt x="165900" y="647279"/>
                  </a:cubicBezTo>
                  <a:cubicBezTo>
                    <a:pt x="163181" y="652718"/>
                    <a:pt x="155021" y="655438"/>
                    <a:pt x="149581" y="655438"/>
                  </a:cubicBezTo>
                  <a:cubicBezTo>
                    <a:pt x="141423" y="658158"/>
                    <a:pt x="135983" y="658158"/>
                    <a:pt x="127824" y="658158"/>
                  </a:cubicBezTo>
                  <a:cubicBezTo>
                    <a:pt x="122385" y="658158"/>
                    <a:pt x="116946" y="658158"/>
                    <a:pt x="106067" y="658158"/>
                  </a:cubicBezTo>
                  <a:cubicBezTo>
                    <a:pt x="92469" y="658158"/>
                    <a:pt x="78870" y="658158"/>
                    <a:pt x="62552" y="658158"/>
                  </a:cubicBezTo>
                  <a:cubicBezTo>
                    <a:pt x="54393" y="658158"/>
                    <a:pt x="46234" y="658158"/>
                    <a:pt x="40795" y="658158"/>
                  </a:cubicBezTo>
                  <a:cubicBezTo>
                    <a:pt x="32636" y="658158"/>
                    <a:pt x="21758" y="658158"/>
                    <a:pt x="16318" y="652718"/>
                  </a:cubicBezTo>
                  <a:cubicBezTo>
                    <a:pt x="8159" y="649999"/>
                    <a:pt x="0" y="641840"/>
                    <a:pt x="0" y="636401"/>
                  </a:cubicBezTo>
                  <a:cubicBezTo>
                    <a:pt x="0" y="633681"/>
                    <a:pt x="0" y="630961"/>
                    <a:pt x="2720" y="628241"/>
                  </a:cubicBezTo>
                  <a:cubicBezTo>
                    <a:pt x="8159" y="625522"/>
                    <a:pt x="16318" y="622802"/>
                    <a:pt x="24477" y="620082"/>
                  </a:cubicBezTo>
                  <a:cubicBezTo>
                    <a:pt x="38075" y="617363"/>
                    <a:pt x="48954" y="617363"/>
                    <a:pt x="62552" y="617363"/>
                  </a:cubicBezTo>
                  <a:cubicBezTo>
                    <a:pt x="62552" y="617363"/>
                    <a:pt x="62552" y="614643"/>
                    <a:pt x="62552" y="614643"/>
                  </a:cubicBezTo>
                  <a:cubicBezTo>
                    <a:pt x="62552" y="603765"/>
                    <a:pt x="65272" y="590166"/>
                    <a:pt x="65272" y="587447"/>
                  </a:cubicBezTo>
                  <a:cubicBezTo>
                    <a:pt x="67992" y="565689"/>
                    <a:pt x="73431" y="543932"/>
                    <a:pt x="76151" y="522175"/>
                  </a:cubicBezTo>
                  <a:cubicBezTo>
                    <a:pt x="78870" y="505857"/>
                    <a:pt x="81590" y="486820"/>
                    <a:pt x="87029" y="470501"/>
                  </a:cubicBezTo>
                  <a:cubicBezTo>
                    <a:pt x="87029" y="465062"/>
                    <a:pt x="92469" y="451464"/>
                    <a:pt x="92469" y="446025"/>
                  </a:cubicBezTo>
                  <a:cubicBezTo>
                    <a:pt x="92469" y="437866"/>
                    <a:pt x="73431" y="437866"/>
                    <a:pt x="65272" y="432426"/>
                  </a:cubicBezTo>
                  <a:cubicBezTo>
                    <a:pt x="59833" y="429707"/>
                    <a:pt x="54393" y="426987"/>
                    <a:pt x="54393" y="421548"/>
                  </a:cubicBezTo>
                  <a:cubicBezTo>
                    <a:pt x="54393" y="413389"/>
                    <a:pt x="62552" y="410669"/>
                    <a:pt x="73431" y="407949"/>
                  </a:cubicBezTo>
                  <a:cubicBezTo>
                    <a:pt x="78870" y="407949"/>
                    <a:pt x="92469" y="405230"/>
                    <a:pt x="100628" y="399790"/>
                  </a:cubicBezTo>
                  <a:cubicBezTo>
                    <a:pt x="106067" y="394351"/>
                    <a:pt x="106067" y="378033"/>
                    <a:pt x="108787" y="369874"/>
                  </a:cubicBezTo>
                  <a:cubicBezTo>
                    <a:pt x="114226" y="348117"/>
                    <a:pt x="119665" y="326360"/>
                    <a:pt x="125105" y="307322"/>
                  </a:cubicBezTo>
                  <a:cubicBezTo>
                    <a:pt x="130544" y="285565"/>
                    <a:pt x="135983" y="263808"/>
                    <a:pt x="141423" y="242051"/>
                  </a:cubicBezTo>
                  <a:cubicBezTo>
                    <a:pt x="146862" y="220293"/>
                    <a:pt x="152301" y="198536"/>
                    <a:pt x="155021" y="179498"/>
                  </a:cubicBezTo>
                  <a:cubicBezTo>
                    <a:pt x="157740" y="160461"/>
                    <a:pt x="163181" y="138703"/>
                    <a:pt x="168620" y="119665"/>
                  </a:cubicBezTo>
                  <a:cubicBezTo>
                    <a:pt x="176779" y="100627"/>
                    <a:pt x="182218" y="76150"/>
                    <a:pt x="193097" y="57113"/>
                  </a:cubicBezTo>
                  <a:lnTo>
                    <a:pt x="201256" y="38075"/>
                  </a:lnTo>
                  <a:cubicBezTo>
                    <a:pt x="206695" y="29916"/>
                    <a:pt x="209415" y="19038"/>
                    <a:pt x="217574" y="13598"/>
                  </a:cubicBezTo>
                  <a:cubicBezTo>
                    <a:pt x="231172" y="2720"/>
                    <a:pt x="255649" y="0"/>
                    <a:pt x="274687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/>
            </a:p>
          </p:txBody>
        </p:sp>
        <p:sp>
          <p:nvSpPr>
            <p:cNvPr id="40" name="Freeform: Shape 39">
              <a:extLst>
                <a:ext uri="{FF2B5EF4-FFF2-40B4-BE49-F238E27FC236}">
                  <a16:creationId xmlns:a16="http://schemas.microsoft.com/office/drawing/2014/main" id="{F82A0DB8-0ECB-4944-9468-4B85E60D809E}"/>
                </a:ext>
              </a:extLst>
            </p:cNvPr>
            <p:cNvSpPr/>
            <p:nvPr/>
          </p:nvSpPr>
          <p:spPr>
            <a:xfrm>
              <a:off x="3443268" y="4186718"/>
              <a:ext cx="435145" cy="761503"/>
            </a:xfrm>
            <a:custGeom>
              <a:avLst/>
              <a:gdLst>
                <a:gd name="connsiteX0" fmla="*/ 400855 w 435145"/>
                <a:gd name="connsiteY0" fmla="*/ 678260 h 761503"/>
                <a:gd name="connsiteX1" fmla="*/ 384537 w 435145"/>
                <a:gd name="connsiteY1" fmla="*/ 719054 h 761503"/>
                <a:gd name="connsiteX2" fmla="*/ 368219 w 435145"/>
                <a:gd name="connsiteY2" fmla="*/ 713615 h 761503"/>
                <a:gd name="connsiteX3" fmla="*/ 360060 w 435145"/>
                <a:gd name="connsiteY3" fmla="*/ 697297 h 761503"/>
                <a:gd name="connsiteX4" fmla="*/ 360060 w 435145"/>
                <a:gd name="connsiteY4" fmla="*/ 651063 h 761503"/>
                <a:gd name="connsiteX5" fmla="*/ 332864 w 435145"/>
                <a:gd name="connsiteY5" fmla="*/ 686418 h 761503"/>
                <a:gd name="connsiteX6" fmla="*/ 251274 w 435145"/>
                <a:gd name="connsiteY6" fmla="*/ 721774 h 761503"/>
                <a:gd name="connsiteX7" fmla="*/ 229517 w 435145"/>
                <a:gd name="connsiteY7" fmla="*/ 719054 h 761503"/>
                <a:gd name="connsiteX8" fmla="*/ 158806 w 435145"/>
                <a:gd name="connsiteY8" fmla="*/ 694578 h 761503"/>
                <a:gd name="connsiteX9" fmla="*/ 112571 w 435145"/>
                <a:gd name="connsiteY9" fmla="*/ 659222 h 761503"/>
                <a:gd name="connsiteX10" fmla="*/ 79936 w 435145"/>
                <a:gd name="connsiteY10" fmla="*/ 607548 h 761503"/>
                <a:gd name="connsiteX11" fmla="*/ 63618 w 435145"/>
                <a:gd name="connsiteY11" fmla="*/ 542277 h 761503"/>
                <a:gd name="connsiteX12" fmla="*/ 58178 w 435145"/>
                <a:gd name="connsiteY12" fmla="*/ 471566 h 761503"/>
                <a:gd name="connsiteX13" fmla="*/ 60898 w 435145"/>
                <a:gd name="connsiteY13" fmla="*/ 400855 h 761503"/>
                <a:gd name="connsiteX14" fmla="*/ 66337 w 435145"/>
                <a:gd name="connsiteY14" fmla="*/ 335583 h 761503"/>
                <a:gd name="connsiteX15" fmla="*/ 85375 w 435145"/>
                <a:gd name="connsiteY15" fmla="*/ 267592 h 761503"/>
                <a:gd name="connsiteX16" fmla="*/ 109852 w 435145"/>
                <a:gd name="connsiteY16" fmla="*/ 199600 h 761503"/>
                <a:gd name="connsiteX17" fmla="*/ 145207 w 435145"/>
                <a:gd name="connsiteY17" fmla="*/ 145207 h 761503"/>
                <a:gd name="connsiteX18" fmla="*/ 188722 w 435145"/>
                <a:gd name="connsiteY18" fmla="*/ 96253 h 761503"/>
                <a:gd name="connsiteX19" fmla="*/ 243115 w 435145"/>
                <a:gd name="connsiteY19" fmla="*/ 71776 h 761503"/>
                <a:gd name="connsiteX20" fmla="*/ 286630 w 435145"/>
                <a:gd name="connsiteY20" fmla="*/ 63617 h 761503"/>
                <a:gd name="connsiteX21" fmla="*/ 305667 w 435145"/>
                <a:gd name="connsiteY21" fmla="*/ 66337 h 761503"/>
                <a:gd name="connsiteX22" fmla="*/ 324705 w 435145"/>
                <a:gd name="connsiteY22" fmla="*/ 79936 h 761503"/>
                <a:gd name="connsiteX23" fmla="*/ 341023 w 435145"/>
                <a:gd name="connsiteY23" fmla="*/ 101693 h 761503"/>
                <a:gd name="connsiteX24" fmla="*/ 354621 w 435145"/>
                <a:gd name="connsiteY24" fmla="*/ 123450 h 761503"/>
                <a:gd name="connsiteX25" fmla="*/ 354621 w 435145"/>
                <a:gd name="connsiteY25" fmla="*/ 98973 h 761503"/>
                <a:gd name="connsiteX26" fmla="*/ 360060 w 435145"/>
                <a:gd name="connsiteY26" fmla="*/ 74496 h 761503"/>
                <a:gd name="connsiteX27" fmla="*/ 365500 w 435145"/>
                <a:gd name="connsiteY27" fmla="*/ 63617 h 761503"/>
                <a:gd name="connsiteX28" fmla="*/ 373659 w 435145"/>
                <a:gd name="connsiteY28" fmla="*/ 58178 h 761503"/>
                <a:gd name="connsiteX29" fmla="*/ 381818 w 435145"/>
                <a:gd name="connsiteY29" fmla="*/ 63617 h 761503"/>
                <a:gd name="connsiteX30" fmla="*/ 389977 w 435145"/>
                <a:gd name="connsiteY30" fmla="*/ 82655 h 761503"/>
                <a:gd name="connsiteX31" fmla="*/ 392696 w 435145"/>
                <a:gd name="connsiteY31" fmla="*/ 126170 h 761503"/>
                <a:gd name="connsiteX32" fmla="*/ 395416 w 435145"/>
                <a:gd name="connsiteY32" fmla="*/ 186002 h 761503"/>
                <a:gd name="connsiteX33" fmla="*/ 398136 w 435145"/>
                <a:gd name="connsiteY33" fmla="*/ 237675 h 761503"/>
                <a:gd name="connsiteX34" fmla="*/ 398136 w 435145"/>
                <a:gd name="connsiteY34" fmla="*/ 243115 h 761503"/>
                <a:gd name="connsiteX35" fmla="*/ 395416 w 435145"/>
                <a:gd name="connsiteY35" fmla="*/ 256713 h 761503"/>
                <a:gd name="connsiteX36" fmla="*/ 379098 w 435145"/>
                <a:gd name="connsiteY36" fmla="*/ 278470 h 761503"/>
                <a:gd name="connsiteX37" fmla="*/ 362780 w 435145"/>
                <a:gd name="connsiteY37" fmla="*/ 273031 h 761503"/>
                <a:gd name="connsiteX38" fmla="*/ 354621 w 435145"/>
                <a:gd name="connsiteY38" fmla="*/ 256713 h 761503"/>
                <a:gd name="connsiteX39" fmla="*/ 354621 w 435145"/>
                <a:gd name="connsiteY39" fmla="*/ 213198 h 761503"/>
                <a:gd name="connsiteX40" fmla="*/ 354621 w 435145"/>
                <a:gd name="connsiteY40" fmla="*/ 205040 h 761503"/>
                <a:gd name="connsiteX41" fmla="*/ 338303 w 435145"/>
                <a:gd name="connsiteY41" fmla="*/ 147927 h 761503"/>
                <a:gd name="connsiteX42" fmla="*/ 292069 w 435145"/>
                <a:gd name="connsiteY42" fmla="*/ 107132 h 761503"/>
                <a:gd name="connsiteX43" fmla="*/ 262153 w 435145"/>
                <a:gd name="connsiteY43" fmla="*/ 120730 h 761503"/>
                <a:gd name="connsiteX44" fmla="*/ 251274 w 435145"/>
                <a:gd name="connsiteY44" fmla="*/ 131609 h 761503"/>
                <a:gd name="connsiteX45" fmla="*/ 240395 w 435145"/>
                <a:gd name="connsiteY45" fmla="*/ 139768 h 761503"/>
                <a:gd name="connsiteX46" fmla="*/ 237676 w 435145"/>
                <a:gd name="connsiteY46" fmla="*/ 164245 h 761503"/>
                <a:gd name="connsiteX47" fmla="*/ 226797 w 435145"/>
                <a:gd name="connsiteY47" fmla="*/ 196881 h 761503"/>
                <a:gd name="connsiteX48" fmla="*/ 213199 w 435145"/>
                <a:gd name="connsiteY48" fmla="*/ 259433 h 761503"/>
                <a:gd name="connsiteX49" fmla="*/ 207759 w 435145"/>
                <a:gd name="connsiteY49" fmla="*/ 324704 h 761503"/>
                <a:gd name="connsiteX50" fmla="*/ 207759 w 435145"/>
                <a:gd name="connsiteY50" fmla="*/ 335583 h 761503"/>
                <a:gd name="connsiteX51" fmla="*/ 205040 w 435145"/>
                <a:gd name="connsiteY51" fmla="*/ 349181 h 761503"/>
                <a:gd name="connsiteX52" fmla="*/ 207759 w 435145"/>
                <a:gd name="connsiteY52" fmla="*/ 368219 h 761503"/>
                <a:gd name="connsiteX53" fmla="*/ 207759 w 435145"/>
                <a:gd name="connsiteY53" fmla="*/ 376378 h 761503"/>
                <a:gd name="connsiteX54" fmla="*/ 205040 w 435145"/>
                <a:gd name="connsiteY54" fmla="*/ 387256 h 761503"/>
                <a:gd name="connsiteX55" fmla="*/ 205040 w 435145"/>
                <a:gd name="connsiteY55" fmla="*/ 395415 h 761503"/>
                <a:gd name="connsiteX56" fmla="*/ 205040 w 435145"/>
                <a:gd name="connsiteY56" fmla="*/ 406294 h 761503"/>
                <a:gd name="connsiteX57" fmla="*/ 205040 w 435145"/>
                <a:gd name="connsiteY57" fmla="*/ 425332 h 761503"/>
                <a:gd name="connsiteX58" fmla="*/ 213199 w 435145"/>
                <a:gd name="connsiteY58" fmla="*/ 493323 h 761503"/>
                <a:gd name="connsiteX59" fmla="*/ 221358 w 435145"/>
                <a:gd name="connsiteY59" fmla="*/ 561314 h 761503"/>
                <a:gd name="connsiteX60" fmla="*/ 226797 w 435145"/>
                <a:gd name="connsiteY60" fmla="*/ 591231 h 761503"/>
                <a:gd name="connsiteX61" fmla="*/ 240395 w 435145"/>
                <a:gd name="connsiteY61" fmla="*/ 618427 h 761503"/>
                <a:gd name="connsiteX62" fmla="*/ 283910 w 435145"/>
                <a:gd name="connsiteY62" fmla="*/ 651063 h 761503"/>
                <a:gd name="connsiteX63" fmla="*/ 338303 w 435145"/>
                <a:gd name="connsiteY63" fmla="*/ 612988 h 761503"/>
                <a:gd name="connsiteX64" fmla="*/ 354621 w 435145"/>
                <a:gd name="connsiteY64" fmla="*/ 577632 h 761503"/>
                <a:gd name="connsiteX65" fmla="*/ 357341 w 435145"/>
                <a:gd name="connsiteY65" fmla="*/ 509641 h 761503"/>
                <a:gd name="connsiteX66" fmla="*/ 362780 w 435145"/>
                <a:gd name="connsiteY66" fmla="*/ 485164 h 761503"/>
                <a:gd name="connsiteX67" fmla="*/ 368219 w 435145"/>
                <a:gd name="connsiteY67" fmla="*/ 474286 h 761503"/>
                <a:gd name="connsiteX68" fmla="*/ 376378 w 435145"/>
                <a:gd name="connsiteY68" fmla="*/ 468846 h 761503"/>
                <a:gd name="connsiteX69" fmla="*/ 384537 w 435145"/>
                <a:gd name="connsiteY69" fmla="*/ 474286 h 761503"/>
                <a:gd name="connsiteX70" fmla="*/ 392696 w 435145"/>
                <a:gd name="connsiteY70" fmla="*/ 493323 h 761503"/>
                <a:gd name="connsiteX71" fmla="*/ 395416 w 435145"/>
                <a:gd name="connsiteY71" fmla="*/ 558595 h 761503"/>
                <a:gd name="connsiteX72" fmla="*/ 398136 w 435145"/>
                <a:gd name="connsiteY72" fmla="*/ 618427 h 761503"/>
                <a:gd name="connsiteX73" fmla="*/ 400855 w 435145"/>
                <a:gd name="connsiteY73" fmla="*/ 678260 h 761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</a:cxnLst>
              <a:rect l="l" t="t" r="r" b="b"/>
              <a:pathLst>
                <a:path w="435145" h="761503">
                  <a:moveTo>
                    <a:pt x="400855" y="678260"/>
                  </a:moveTo>
                  <a:cubicBezTo>
                    <a:pt x="400855" y="689138"/>
                    <a:pt x="400855" y="719054"/>
                    <a:pt x="384537" y="719054"/>
                  </a:cubicBezTo>
                  <a:cubicBezTo>
                    <a:pt x="376378" y="719054"/>
                    <a:pt x="373659" y="716335"/>
                    <a:pt x="368219" y="713615"/>
                  </a:cubicBezTo>
                  <a:cubicBezTo>
                    <a:pt x="362780" y="710895"/>
                    <a:pt x="360060" y="702736"/>
                    <a:pt x="360060" y="697297"/>
                  </a:cubicBezTo>
                  <a:cubicBezTo>
                    <a:pt x="357341" y="680979"/>
                    <a:pt x="357341" y="664661"/>
                    <a:pt x="360060" y="651063"/>
                  </a:cubicBezTo>
                  <a:cubicBezTo>
                    <a:pt x="354621" y="659222"/>
                    <a:pt x="341023" y="678260"/>
                    <a:pt x="332864" y="686418"/>
                  </a:cubicBezTo>
                  <a:cubicBezTo>
                    <a:pt x="311107" y="708176"/>
                    <a:pt x="283910" y="721774"/>
                    <a:pt x="251274" y="721774"/>
                  </a:cubicBezTo>
                  <a:cubicBezTo>
                    <a:pt x="243115" y="721774"/>
                    <a:pt x="237676" y="721774"/>
                    <a:pt x="229517" y="719054"/>
                  </a:cubicBezTo>
                  <a:cubicBezTo>
                    <a:pt x="207759" y="716335"/>
                    <a:pt x="183283" y="708176"/>
                    <a:pt x="158806" y="694578"/>
                  </a:cubicBezTo>
                  <a:cubicBezTo>
                    <a:pt x="142488" y="686418"/>
                    <a:pt x="126170" y="672820"/>
                    <a:pt x="112571" y="659222"/>
                  </a:cubicBezTo>
                  <a:cubicBezTo>
                    <a:pt x="98973" y="642904"/>
                    <a:pt x="88095" y="626586"/>
                    <a:pt x="79936" y="607548"/>
                  </a:cubicBezTo>
                  <a:cubicBezTo>
                    <a:pt x="71777" y="585791"/>
                    <a:pt x="66337" y="566754"/>
                    <a:pt x="63618" y="542277"/>
                  </a:cubicBezTo>
                  <a:cubicBezTo>
                    <a:pt x="60898" y="517800"/>
                    <a:pt x="58178" y="493323"/>
                    <a:pt x="58178" y="471566"/>
                  </a:cubicBezTo>
                  <a:cubicBezTo>
                    <a:pt x="58178" y="447089"/>
                    <a:pt x="58178" y="425332"/>
                    <a:pt x="60898" y="400855"/>
                  </a:cubicBezTo>
                  <a:cubicBezTo>
                    <a:pt x="63618" y="379098"/>
                    <a:pt x="60898" y="357340"/>
                    <a:pt x="66337" y="335583"/>
                  </a:cubicBezTo>
                  <a:cubicBezTo>
                    <a:pt x="69057" y="313826"/>
                    <a:pt x="77216" y="289349"/>
                    <a:pt x="85375" y="267592"/>
                  </a:cubicBezTo>
                  <a:cubicBezTo>
                    <a:pt x="93534" y="243115"/>
                    <a:pt x="98973" y="221357"/>
                    <a:pt x="109852" y="199600"/>
                  </a:cubicBezTo>
                  <a:cubicBezTo>
                    <a:pt x="118011" y="177843"/>
                    <a:pt x="131609" y="161525"/>
                    <a:pt x="145207" y="145207"/>
                  </a:cubicBezTo>
                  <a:cubicBezTo>
                    <a:pt x="158806" y="128889"/>
                    <a:pt x="172404" y="109852"/>
                    <a:pt x="188722" y="96253"/>
                  </a:cubicBezTo>
                  <a:cubicBezTo>
                    <a:pt x="205040" y="82655"/>
                    <a:pt x="224077" y="77216"/>
                    <a:pt x="243115" y="71776"/>
                  </a:cubicBezTo>
                  <a:cubicBezTo>
                    <a:pt x="256713" y="69057"/>
                    <a:pt x="273031" y="63617"/>
                    <a:pt x="286630" y="63617"/>
                  </a:cubicBezTo>
                  <a:cubicBezTo>
                    <a:pt x="292069" y="63617"/>
                    <a:pt x="297508" y="63617"/>
                    <a:pt x="305667" y="66337"/>
                  </a:cubicBezTo>
                  <a:cubicBezTo>
                    <a:pt x="313826" y="69057"/>
                    <a:pt x="319266" y="74496"/>
                    <a:pt x="324705" y="79936"/>
                  </a:cubicBezTo>
                  <a:cubicBezTo>
                    <a:pt x="332864" y="85375"/>
                    <a:pt x="332864" y="93534"/>
                    <a:pt x="341023" y="101693"/>
                  </a:cubicBezTo>
                  <a:cubicBezTo>
                    <a:pt x="346462" y="107132"/>
                    <a:pt x="349182" y="118011"/>
                    <a:pt x="354621" y="123450"/>
                  </a:cubicBezTo>
                  <a:cubicBezTo>
                    <a:pt x="354621" y="115291"/>
                    <a:pt x="354621" y="101693"/>
                    <a:pt x="354621" y="98973"/>
                  </a:cubicBezTo>
                  <a:cubicBezTo>
                    <a:pt x="354621" y="90814"/>
                    <a:pt x="354621" y="79936"/>
                    <a:pt x="360060" y="74496"/>
                  </a:cubicBezTo>
                  <a:cubicBezTo>
                    <a:pt x="362780" y="71776"/>
                    <a:pt x="362780" y="69057"/>
                    <a:pt x="365500" y="63617"/>
                  </a:cubicBezTo>
                  <a:cubicBezTo>
                    <a:pt x="368219" y="60898"/>
                    <a:pt x="370939" y="58178"/>
                    <a:pt x="373659" y="58178"/>
                  </a:cubicBezTo>
                  <a:cubicBezTo>
                    <a:pt x="376378" y="58178"/>
                    <a:pt x="379098" y="60898"/>
                    <a:pt x="381818" y="63617"/>
                  </a:cubicBezTo>
                  <a:cubicBezTo>
                    <a:pt x="384537" y="69057"/>
                    <a:pt x="387257" y="77216"/>
                    <a:pt x="389977" y="82655"/>
                  </a:cubicBezTo>
                  <a:cubicBezTo>
                    <a:pt x="389977" y="90814"/>
                    <a:pt x="392696" y="107132"/>
                    <a:pt x="392696" y="126170"/>
                  </a:cubicBezTo>
                  <a:cubicBezTo>
                    <a:pt x="392696" y="150647"/>
                    <a:pt x="392696" y="177843"/>
                    <a:pt x="395416" y="186002"/>
                  </a:cubicBezTo>
                  <a:cubicBezTo>
                    <a:pt x="398136" y="205040"/>
                    <a:pt x="398136" y="215918"/>
                    <a:pt x="398136" y="237675"/>
                  </a:cubicBezTo>
                  <a:cubicBezTo>
                    <a:pt x="398136" y="240395"/>
                    <a:pt x="398136" y="243115"/>
                    <a:pt x="398136" y="243115"/>
                  </a:cubicBezTo>
                  <a:cubicBezTo>
                    <a:pt x="398136" y="248554"/>
                    <a:pt x="398136" y="251274"/>
                    <a:pt x="395416" y="256713"/>
                  </a:cubicBezTo>
                  <a:cubicBezTo>
                    <a:pt x="392696" y="267592"/>
                    <a:pt x="389977" y="278470"/>
                    <a:pt x="379098" y="278470"/>
                  </a:cubicBezTo>
                  <a:cubicBezTo>
                    <a:pt x="370939" y="278470"/>
                    <a:pt x="368219" y="275751"/>
                    <a:pt x="362780" y="273031"/>
                  </a:cubicBezTo>
                  <a:cubicBezTo>
                    <a:pt x="357341" y="270311"/>
                    <a:pt x="354621" y="262152"/>
                    <a:pt x="354621" y="256713"/>
                  </a:cubicBezTo>
                  <a:cubicBezTo>
                    <a:pt x="349182" y="237675"/>
                    <a:pt x="354621" y="232236"/>
                    <a:pt x="354621" y="213198"/>
                  </a:cubicBezTo>
                  <a:cubicBezTo>
                    <a:pt x="354621" y="210479"/>
                    <a:pt x="354621" y="207759"/>
                    <a:pt x="354621" y="205040"/>
                  </a:cubicBezTo>
                  <a:cubicBezTo>
                    <a:pt x="349182" y="186002"/>
                    <a:pt x="343742" y="169684"/>
                    <a:pt x="338303" y="147927"/>
                  </a:cubicBezTo>
                  <a:cubicBezTo>
                    <a:pt x="332864" y="131609"/>
                    <a:pt x="311107" y="107132"/>
                    <a:pt x="292069" y="107132"/>
                  </a:cubicBezTo>
                  <a:cubicBezTo>
                    <a:pt x="281190" y="107132"/>
                    <a:pt x="270312" y="115291"/>
                    <a:pt x="262153" y="120730"/>
                  </a:cubicBezTo>
                  <a:cubicBezTo>
                    <a:pt x="259433" y="123450"/>
                    <a:pt x="256713" y="126170"/>
                    <a:pt x="251274" y="131609"/>
                  </a:cubicBezTo>
                  <a:cubicBezTo>
                    <a:pt x="248554" y="134329"/>
                    <a:pt x="243115" y="137048"/>
                    <a:pt x="240395" y="139768"/>
                  </a:cubicBezTo>
                  <a:cubicBezTo>
                    <a:pt x="237676" y="145207"/>
                    <a:pt x="240395" y="156086"/>
                    <a:pt x="237676" y="164245"/>
                  </a:cubicBezTo>
                  <a:cubicBezTo>
                    <a:pt x="232236" y="175123"/>
                    <a:pt x="229517" y="186002"/>
                    <a:pt x="226797" y="196881"/>
                  </a:cubicBezTo>
                  <a:cubicBezTo>
                    <a:pt x="221358" y="218638"/>
                    <a:pt x="218638" y="237675"/>
                    <a:pt x="213199" y="259433"/>
                  </a:cubicBezTo>
                  <a:cubicBezTo>
                    <a:pt x="210479" y="281190"/>
                    <a:pt x="207759" y="302947"/>
                    <a:pt x="207759" y="324704"/>
                  </a:cubicBezTo>
                  <a:cubicBezTo>
                    <a:pt x="207759" y="327424"/>
                    <a:pt x="207759" y="332863"/>
                    <a:pt x="207759" y="335583"/>
                  </a:cubicBezTo>
                  <a:cubicBezTo>
                    <a:pt x="207759" y="341022"/>
                    <a:pt x="205040" y="343742"/>
                    <a:pt x="205040" y="349181"/>
                  </a:cubicBezTo>
                  <a:cubicBezTo>
                    <a:pt x="205040" y="354621"/>
                    <a:pt x="207759" y="362779"/>
                    <a:pt x="207759" y="368219"/>
                  </a:cubicBezTo>
                  <a:cubicBezTo>
                    <a:pt x="207759" y="370939"/>
                    <a:pt x="207759" y="373658"/>
                    <a:pt x="207759" y="376378"/>
                  </a:cubicBezTo>
                  <a:cubicBezTo>
                    <a:pt x="205040" y="381817"/>
                    <a:pt x="205040" y="384537"/>
                    <a:pt x="205040" y="387256"/>
                  </a:cubicBezTo>
                  <a:cubicBezTo>
                    <a:pt x="205040" y="389976"/>
                    <a:pt x="205040" y="392696"/>
                    <a:pt x="205040" y="395415"/>
                  </a:cubicBezTo>
                  <a:cubicBezTo>
                    <a:pt x="205040" y="398135"/>
                    <a:pt x="205040" y="403574"/>
                    <a:pt x="205040" y="406294"/>
                  </a:cubicBezTo>
                  <a:cubicBezTo>
                    <a:pt x="205040" y="411733"/>
                    <a:pt x="205040" y="417173"/>
                    <a:pt x="205040" y="425332"/>
                  </a:cubicBezTo>
                  <a:cubicBezTo>
                    <a:pt x="205040" y="449809"/>
                    <a:pt x="213199" y="471566"/>
                    <a:pt x="213199" y="493323"/>
                  </a:cubicBezTo>
                  <a:cubicBezTo>
                    <a:pt x="213199" y="517800"/>
                    <a:pt x="215919" y="539557"/>
                    <a:pt x="221358" y="561314"/>
                  </a:cubicBezTo>
                  <a:cubicBezTo>
                    <a:pt x="224077" y="572193"/>
                    <a:pt x="224077" y="580352"/>
                    <a:pt x="226797" y="591231"/>
                  </a:cubicBezTo>
                  <a:cubicBezTo>
                    <a:pt x="229517" y="599390"/>
                    <a:pt x="237676" y="607548"/>
                    <a:pt x="240395" y="618427"/>
                  </a:cubicBezTo>
                  <a:cubicBezTo>
                    <a:pt x="248554" y="637465"/>
                    <a:pt x="262153" y="651063"/>
                    <a:pt x="283910" y="651063"/>
                  </a:cubicBezTo>
                  <a:cubicBezTo>
                    <a:pt x="302948" y="651063"/>
                    <a:pt x="330144" y="629306"/>
                    <a:pt x="338303" y="612988"/>
                  </a:cubicBezTo>
                  <a:cubicBezTo>
                    <a:pt x="346462" y="599390"/>
                    <a:pt x="351901" y="591231"/>
                    <a:pt x="354621" y="577632"/>
                  </a:cubicBezTo>
                  <a:cubicBezTo>
                    <a:pt x="354621" y="550436"/>
                    <a:pt x="354621" y="517800"/>
                    <a:pt x="357341" y="509641"/>
                  </a:cubicBezTo>
                  <a:cubicBezTo>
                    <a:pt x="357341" y="501482"/>
                    <a:pt x="357341" y="490603"/>
                    <a:pt x="362780" y="485164"/>
                  </a:cubicBezTo>
                  <a:cubicBezTo>
                    <a:pt x="365500" y="482444"/>
                    <a:pt x="365500" y="479725"/>
                    <a:pt x="368219" y="474286"/>
                  </a:cubicBezTo>
                  <a:cubicBezTo>
                    <a:pt x="370939" y="471566"/>
                    <a:pt x="373659" y="468846"/>
                    <a:pt x="376378" y="468846"/>
                  </a:cubicBezTo>
                  <a:cubicBezTo>
                    <a:pt x="379098" y="468846"/>
                    <a:pt x="381818" y="471566"/>
                    <a:pt x="384537" y="474286"/>
                  </a:cubicBezTo>
                  <a:cubicBezTo>
                    <a:pt x="387257" y="479725"/>
                    <a:pt x="389977" y="487884"/>
                    <a:pt x="392696" y="493323"/>
                  </a:cubicBezTo>
                  <a:cubicBezTo>
                    <a:pt x="392696" y="501482"/>
                    <a:pt x="395416" y="539557"/>
                    <a:pt x="395416" y="558595"/>
                  </a:cubicBezTo>
                  <a:cubicBezTo>
                    <a:pt x="395416" y="583072"/>
                    <a:pt x="395416" y="610268"/>
                    <a:pt x="398136" y="618427"/>
                  </a:cubicBezTo>
                  <a:cubicBezTo>
                    <a:pt x="398136" y="648343"/>
                    <a:pt x="400855" y="659222"/>
                    <a:pt x="400855" y="678260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/>
            </a:p>
          </p:txBody>
        </p:sp>
        <p:sp>
          <p:nvSpPr>
            <p:cNvPr id="41" name="Freeform: Shape 40">
              <a:extLst>
                <a:ext uri="{FF2B5EF4-FFF2-40B4-BE49-F238E27FC236}">
                  <a16:creationId xmlns:a16="http://schemas.microsoft.com/office/drawing/2014/main" id="{DA4A0440-EB6E-4064-A01C-1781BC03A876}"/>
                </a:ext>
              </a:extLst>
            </p:cNvPr>
            <p:cNvSpPr/>
            <p:nvPr/>
          </p:nvSpPr>
          <p:spPr>
            <a:xfrm>
              <a:off x="3829459" y="4200317"/>
              <a:ext cx="598325" cy="761503"/>
            </a:xfrm>
            <a:custGeom>
              <a:avLst/>
              <a:gdLst>
                <a:gd name="connsiteX0" fmla="*/ 360060 w 598324"/>
                <a:gd name="connsiteY0" fmla="*/ 332863 h 761503"/>
                <a:gd name="connsiteX1" fmla="*/ 341023 w 598324"/>
                <a:gd name="connsiteY1" fmla="*/ 370939 h 761503"/>
                <a:gd name="connsiteX2" fmla="*/ 376378 w 598324"/>
                <a:gd name="connsiteY2" fmla="*/ 389976 h 761503"/>
                <a:gd name="connsiteX3" fmla="*/ 425332 w 598324"/>
                <a:gd name="connsiteY3" fmla="*/ 433491 h 761503"/>
                <a:gd name="connsiteX4" fmla="*/ 438930 w 598324"/>
                <a:gd name="connsiteY4" fmla="*/ 463407 h 761503"/>
                <a:gd name="connsiteX5" fmla="*/ 449809 w 598324"/>
                <a:gd name="connsiteY5" fmla="*/ 498762 h 761503"/>
                <a:gd name="connsiteX6" fmla="*/ 457968 w 598324"/>
                <a:gd name="connsiteY6" fmla="*/ 528679 h 761503"/>
                <a:gd name="connsiteX7" fmla="*/ 466127 w 598324"/>
                <a:gd name="connsiteY7" fmla="*/ 564034 h 761503"/>
                <a:gd name="connsiteX8" fmla="*/ 471566 w 598324"/>
                <a:gd name="connsiteY8" fmla="*/ 593950 h 761503"/>
                <a:gd name="connsiteX9" fmla="*/ 479725 w 598324"/>
                <a:gd name="connsiteY9" fmla="*/ 607548 h 761503"/>
                <a:gd name="connsiteX10" fmla="*/ 487884 w 598324"/>
                <a:gd name="connsiteY10" fmla="*/ 623867 h 761503"/>
                <a:gd name="connsiteX11" fmla="*/ 501482 w 598324"/>
                <a:gd name="connsiteY11" fmla="*/ 651063 h 761503"/>
                <a:gd name="connsiteX12" fmla="*/ 523240 w 598324"/>
                <a:gd name="connsiteY12" fmla="*/ 670101 h 761503"/>
                <a:gd name="connsiteX13" fmla="*/ 534119 w 598324"/>
                <a:gd name="connsiteY13" fmla="*/ 686418 h 761503"/>
                <a:gd name="connsiteX14" fmla="*/ 531399 w 598324"/>
                <a:gd name="connsiteY14" fmla="*/ 694578 h 761503"/>
                <a:gd name="connsiteX15" fmla="*/ 498763 w 598324"/>
                <a:gd name="connsiteY15" fmla="*/ 708176 h 761503"/>
                <a:gd name="connsiteX16" fmla="*/ 449809 w 598324"/>
                <a:gd name="connsiteY16" fmla="*/ 700017 h 761503"/>
                <a:gd name="connsiteX17" fmla="*/ 400855 w 598324"/>
                <a:gd name="connsiteY17" fmla="*/ 667381 h 761503"/>
                <a:gd name="connsiteX18" fmla="*/ 381817 w 598324"/>
                <a:gd name="connsiteY18" fmla="*/ 642904 h 761503"/>
                <a:gd name="connsiteX19" fmla="*/ 368219 w 598324"/>
                <a:gd name="connsiteY19" fmla="*/ 610268 h 761503"/>
                <a:gd name="connsiteX20" fmla="*/ 349182 w 598324"/>
                <a:gd name="connsiteY20" fmla="*/ 550436 h 761503"/>
                <a:gd name="connsiteX21" fmla="*/ 338303 w 598324"/>
                <a:gd name="connsiteY21" fmla="*/ 504202 h 761503"/>
                <a:gd name="connsiteX22" fmla="*/ 330144 w 598324"/>
                <a:gd name="connsiteY22" fmla="*/ 477005 h 761503"/>
                <a:gd name="connsiteX23" fmla="*/ 321985 w 598324"/>
                <a:gd name="connsiteY23" fmla="*/ 455248 h 761503"/>
                <a:gd name="connsiteX24" fmla="*/ 305667 w 598324"/>
                <a:gd name="connsiteY24" fmla="*/ 436210 h 761503"/>
                <a:gd name="connsiteX25" fmla="*/ 294788 w 598324"/>
                <a:gd name="connsiteY25" fmla="*/ 441650 h 761503"/>
                <a:gd name="connsiteX26" fmla="*/ 278471 w 598324"/>
                <a:gd name="connsiteY26" fmla="*/ 463407 h 761503"/>
                <a:gd name="connsiteX27" fmla="*/ 264872 w 598324"/>
                <a:gd name="connsiteY27" fmla="*/ 496043 h 761503"/>
                <a:gd name="connsiteX28" fmla="*/ 262153 w 598324"/>
                <a:gd name="connsiteY28" fmla="*/ 517800 h 761503"/>
                <a:gd name="connsiteX29" fmla="*/ 262153 w 598324"/>
                <a:gd name="connsiteY29" fmla="*/ 523239 h 761503"/>
                <a:gd name="connsiteX30" fmla="*/ 262153 w 598324"/>
                <a:gd name="connsiteY30" fmla="*/ 553155 h 761503"/>
                <a:gd name="connsiteX31" fmla="*/ 262153 w 598324"/>
                <a:gd name="connsiteY31" fmla="*/ 629306 h 761503"/>
                <a:gd name="connsiteX32" fmla="*/ 259433 w 598324"/>
                <a:gd name="connsiteY32" fmla="*/ 659222 h 761503"/>
                <a:gd name="connsiteX33" fmla="*/ 283910 w 598324"/>
                <a:gd name="connsiteY33" fmla="*/ 659222 h 761503"/>
                <a:gd name="connsiteX34" fmla="*/ 321985 w 598324"/>
                <a:gd name="connsiteY34" fmla="*/ 675540 h 761503"/>
                <a:gd name="connsiteX35" fmla="*/ 316546 w 598324"/>
                <a:gd name="connsiteY35" fmla="*/ 691858 h 761503"/>
                <a:gd name="connsiteX36" fmla="*/ 300228 w 598324"/>
                <a:gd name="connsiteY36" fmla="*/ 700017 h 761503"/>
                <a:gd name="connsiteX37" fmla="*/ 278471 w 598324"/>
                <a:gd name="connsiteY37" fmla="*/ 702736 h 761503"/>
                <a:gd name="connsiteX38" fmla="*/ 243115 w 598324"/>
                <a:gd name="connsiteY38" fmla="*/ 702736 h 761503"/>
                <a:gd name="connsiteX39" fmla="*/ 221358 w 598324"/>
                <a:gd name="connsiteY39" fmla="*/ 710895 h 761503"/>
                <a:gd name="connsiteX40" fmla="*/ 194161 w 598324"/>
                <a:gd name="connsiteY40" fmla="*/ 702736 h 761503"/>
                <a:gd name="connsiteX41" fmla="*/ 177843 w 598324"/>
                <a:gd name="connsiteY41" fmla="*/ 702736 h 761503"/>
                <a:gd name="connsiteX42" fmla="*/ 126170 w 598324"/>
                <a:gd name="connsiteY42" fmla="*/ 702736 h 761503"/>
                <a:gd name="connsiteX43" fmla="*/ 101693 w 598324"/>
                <a:gd name="connsiteY43" fmla="*/ 702736 h 761503"/>
                <a:gd name="connsiteX44" fmla="*/ 74496 w 598324"/>
                <a:gd name="connsiteY44" fmla="*/ 697297 h 761503"/>
                <a:gd name="connsiteX45" fmla="*/ 58178 w 598324"/>
                <a:gd name="connsiteY45" fmla="*/ 680979 h 761503"/>
                <a:gd name="connsiteX46" fmla="*/ 63617 w 598324"/>
                <a:gd name="connsiteY46" fmla="*/ 672820 h 761503"/>
                <a:gd name="connsiteX47" fmla="*/ 85375 w 598324"/>
                <a:gd name="connsiteY47" fmla="*/ 664661 h 761503"/>
                <a:gd name="connsiteX48" fmla="*/ 128889 w 598324"/>
                <a:gd name="connsiteY48" fmla="*/ 659222 h 761503"/>
                <a:gd name="connsiteX49" fmla="*/ 147927 w 598324"/>
                <a:gd name="connsiteY49" fmla="*/ 659222 h 761503"/>
                <a:gd name="connsiteX50" fmla="*/ 145207 w 598324"/>
                <a:gd name="connsiteY50" fmla="*/ 653783 h 761503"/>
                <a:gd name="connsiteX51" fmla="*/ 131609 w 598324"/>
                <a:gd name="connsiteY51" fmla="*/ 585791 h 761503"/>
                <a:gd name="connsiteX52" fmla="*/ 134329 w 598324"/>
                <a:gd name="connsiteY52" fmla="*/ 498762 h 761503"/>
                <a:gd name="connsiteX53" fmla="*/ 137048 w 598324"/>
                <a:gd name="connsiteY53" fmla="*/ 406294 h 761503"/>
                <a:gd name="connsiteX54" fmla="*/ 134329 w 598324"/>
                <a:gd name="connsiteY54" fmla="*/ 327424 h 761503"/>
                <a:gd name="connsiteX55" fmla="*/ 137048 w 598324"/>
                <a:gd name="connsiteY55" fmla="*/ 253993 h 761503"/>
                <a:gd name="connsiteX56" fmla="*/ 139768 w 598324"/>
                <a:gd name="connsiteY56" fmla="*/ 207759 h 761503"/>
                <a:gd name="connsiteX57" fmla="*/ 137048 w 598324"/>
                <a:gd name="connsiteY57" fmla="*/ 172404 h 761503"/>
                <a:gd name="connsiteX58" fmla="*/ 137048 w 598324"/>
                <a:gd name="connsiteY58" fmla="*/ 112571 h 761503"/>
                <a:gd name="connsiteX59" fmla="*/ 126170 w 598324"/>
                <a:gd name="connsiteY59" fmla="*/ 112571 h 761503"/>
                <a:gd name="connsiteX60" fmla="*/ 101693 w 598324"/>
                <a:gd name="connsiteY60" fmla="*/ 112571 h 761503"/>
                <a:gd name="connsiteX61" fmla="*/ 74496 w 598324"/>
                <a:gd name="connsiteY61" fmla="*/ 107132 h 761503"/>
                <a:gd name="connsiteX62" fmla="*/ 58178 w 598324"/>
                <a:gd name="connsiteY62" fmla="*/ 90814 h 761503"/>
                <a:gd name="connsiteX63" fmla="*/ 63617 w 598324"/>
                <a:gd name="connsiteY63" fmla="*/ 82655 h 761503"/>
                <a:gd name="connsiteX64" fmla="*/ 85375 w 598324"/>
                <a:gd name="connsiteY64" fmla="*/ 74496 h 761503"/>
                <a:gd name="connsiteX65" fmla="*/ 137048 w 598324"/>
                <a:gd name="connsiteY65" fmla="*/ 69057 h 761503"/>
                <a:gd name="connsiteX66" fmla="*/ 145207 w 598324"/>
                <a:gd name="connsiteY66" fmla="*/ 69057 h 761503"/>
                <a:gd name="connsiteX67" fmla="*/ 169684 w 598324"/>
                <a:gd name="connsiteY67" fmla="*/ 58178 h 761503"/>
                <a:gd name="connsiteX68" fmla="*/ 177843 w 598324"/>
                <a:gd name="connsiteY68" fmla="*/ 58178 h 761503"/>
                <a:gd name="connsiteX69" fmla="*/ 205040 w 598324"/>
                <a:gd name="connsiteY69" fmla="*/ 66337 h 761503"/>
                <a:gd name="connsiteX70" fmla="*/ 286629 w 598324"/>
                <a:gd name="connsiteY70" fmla="*/ 63617 h 761503"/>
                <a:gd name="connsiteX71" fmla="*/ 324705 w 598324"/>
                <a:gd name="connsiteY71" fmla="*/ 79936 h 761503"/>
                <a:gd name="connsiteX72" fmla="*/ 319265 w 598324"/>
                <a:gd name="connsiteY72" fmla="*/ 96253 h 761503"/>
                <a:gd name="connsiteX73" fmla="*/ 302948 w 598324"/>
                <a:gd name="connsiteY73" fmla="*/ 104412 h 761503"/>
                <a:gd name="connsiteX74" fmla="*/ 278471 w 598324"/>
                <a:gd name="connsiteY74" fmla="*/ 112571 h 761503"/>
                <a:gd name="connsiteX75" fmla="*/ 232236 w 598324"/>
                <a:gd name="connsiteY75" fmla="*/ 112571 h 761503"/>
                <a:gd name="connsiteX76" fmla="*/ 240395 w 598324"/>
                <a:gd name="connsiteY76" fmla="*/ 137048 h 761503"/>
                <a:gd name="connsiteX77" fmla="*/ 240395 w 598324"/>
                <a:gd name="connsiteY77" fmla="*/ 150647 h 761503"/>
                <a:gd name="connsiteX78" fmla="*/ 243115 w 598324"/>
                <a:gd name="connsiteY78" fmla="*/ 158805 h 761503"/>
                <a:gd name="connsiteX79" fmla="*/ 248554 w 598324"/>
                <a:gd name="connsiteY79" fmla="*/ 188722 h 761503"/>
                <a:gd name="connsiteX80" fmla="*/ 248554 w 598324"/>
                <a:gd name="connsiteY80" fmla="*/ 199600 h 761503"/>
                <a:gd name="connsiteX81" fmla="*/ 248554 w 598324"/>
                <a:gd name="connsiteY81" fmla="*/ 221357 h 761503"/>
                <a:gd name="connsiteX82" fmla="*/ 253994 w 598324"/>
                <a:gd name="connsiteY82" fmla="*/ 264872 h 761503"/>
                <a:gd name="connsiteX83" fmla="*/ 262153 w 598324"/>
                <a:gd name="connsiteY83" fmla="*/ 297508 h 761503"/>
                <a:gd name="connsiteX84" fmla="*/ 264872 w 598324"/>
                <a:gd name="connsiteY84" fmla="*/ 324704 h 761503"/>
                <a:gd name="connsiteX85" fmla="*/ 264872 w 598324"/>
                <a:gd name="connsiteY85" fmla="*/ 332863 h 761503"/>
                <a:gd name="connsiteX86" fmla="*/ 264872 w 598324"/>
                <a:gd name="connsiteY86" fmla="*/ 351901 h 761503"/>
                <a:gd name="connsiteX87" fmla="*/ 262153 w 598324"/>
                <a:gd name="connsiteY87" fmla="*/ 370939 h 761503"/>
                <a:gd name="connsiteX88" fmla="*/ 267592 w 598324"/>
                <a:gd name="connsiteY88" fmla="*/ 384537 h 761503"/>
                <a:gd name="connsiteX89" fmla="*/ 278471 w 598324"/>
                <a:gd name="connsiteY89" fmla="*/ 370939 h 761503"/>
                <a:gd name="connsiteX90" fmla="*/ 297508 w 598324"/>
                <a:gd name="connsiteY90" fmla="*/ 332863 h 761503"/>
                <a:gd name="connsiteX91" fmla="*/ 311106 w 598324"/>
                <a:gd name="connsiteY91" fmla="*/ 305667 h 761503"/>
                <a:gd name="connsiteX92" fmla="*/ 335583 w 598324"/>
                <a:gd name="connsiteY92" fmla="*/ 259433 h 761503"/>
                <a:gd name="connsiteX93" fmla="*/ 354621 w 598324"/>
                <a:gd name="connsiteY93" fmla="*/ 224077 h 761503"/>
                <a:gd name="connsiteX94" fmla="*/ 381817 w 598324"/>
                <a:gd name="connsiteY94" fmla="*/ 172404 h 761503"/>
                <a:gd name="connsiteX95" fmla="*/ 409014 w 598324"/>
                <a:gd name="connsiteY95" fmla="*/ 118011 h 761503"/>
                <a:gd name="connsiteX96" fmla="*/ 411734 w 598324"/>
                <a:gd name="connsiteY96" fmla="*/ 115291 h 761503"/>
                <a:gd name="connsiteX97" fmla="*/ 398136 w 598324"/>
                <a:gd name="connsiteY97" fmla="*/ 115291 h 761503"/>
                <a:gd name="connsiteX98" fmla="*/ 379098 w 598324"/>
                <a:gd name="connsiteY98" fmla="*/ 109852 h 761503"/>
                <a:gd name="connsiteX99" fmla="*/ 368219 w 598324"/>
                <a:gd name="connsiteY99" fmla="*/ 93534 h 761503"/>
                <a:gd name="connsiteX100" fmla="*/ 370939 w 598324"/>
                <a:gd name="connsiteY100" fmla="*/ 85375 h 761503"/>
                <a:gd name="connsiteX101" fmla="*/ 387257 w 598324"/>
                <a:gd name="connsiteY101" fmla="*/ 77216 h 761503"/>
                <a:gd name="connsiteX102" fmla="*/ 422612 w 598324"/>
                <a:gd name="connsiteY102" fmla="*/ 71776 h 761503"/>
                <a:gd name="connsiteX103" fmla="*/ 436211 w 598324"/>
                <a:gd name="connsiteY103" fmla="*/ 71776 h 761503"/>
                <a:gd name="connsiteX104" fmla="*/ 438930 w 598324"/>
                <a:gd name="connsiteY104" fmla="*/ 69057 h 761503"/>
                <a:gd name="connsiteX105" fmla="*/ 452529 w 598324"/>
                <a:gd name="connsiteY105" fmla="*/ 66337 h 761503"/>
                <a:gd name="connsiteX106" fmla="*/ 466127 w 598324"/>
                <a:gd name="connsiteY106" fmla="*/ 69057 h 761503"/>
                <a:gd name="connsiteX107" fmla="*/ 471566 w 598324"/>
                <a:gd name="connsiteY107" fmla="*/ 71776 h 761503"/>
                <a:gd name="connsiteX108" fmla="*/ 515081 w 598324"/>
                <a:gd name="connsiteY108" fmla="*/ 71776 h 761503"/>
                <a:gd name="connsiteX109" fmla="*/ 542277 w 598324"/>
                <a:gd name="connsiteY109" fmla="*/ 88094 h 761503"/>
                <a:gd name="connsiteX110" fmla="*/ 536838 w 598324"/>
                <a:gd name="connsiteY110" fmla="*/ 104412 h 761503"/>
                <a:gd name="connsiteX111" fmla="*/ 525959 w 598324"/>
                <a:gd name="connsiteY111" fmla="*/ 112571 h 761503"/>
                <a:gd name="connsiteX112" fmla="*/ 509642 w 598324"/>
                <a:gd name="connsiteY112" fmla="*/ 115291 h 761503"/>
                <a:gd name="connsiteX113" fmla="*/ 468847 w 598324"/>
                <a:gd name="connsiteY113" fmla="*/ 115291 h 761503"/>
                <a:gd name="connsiteX114" fmla="*/ 457968 w 598324"/>
                <a:gd name="connsiteY114" fmla="*/ 137048 h 761503"/>
                <a:gd name="connsiteX115" fmla="*/ 430771 w 598324"/>
                <a:gd name="connsiteY115" fmla="*/ 194161 h 761503"/>
                <a:gd name="connsiteX116" fmla="*/ 400855 w 598324"/>
                <a:gd name="connsiteY116" fmla="*/ 262152 h 761503"/>
                <a:gd name="connsiteX117" fmla="*/ 360060 w 598324"/>
                <a:gd name="connsiteY117" fmla="*/ 332863 h 761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</a:cxnLst>
              <a:rect l="l" t="t" r="r" b="b"/>
              <a:pathLst>
                <a:path w="598324" h="761503">
                  <a:moveTo>
                    <a:pt x="360060" y="332863"/>
                  </a:moveTo>
                  <a:cubicBezTo>
                    <a:pt x="351901" y="343742"/>
                    <a:pt x="341023" y="357340"/>
                    <a:pt x="341023" y="370939"/>
                  </a:cubicBezTo>
                  <a:cubicBezTo>
                    <a:pt x="341023" y="379098"/>
                    <a:pt x="357341" y="381817"/>
                    <a:pt x="376378" y="389976"/>
                  </a:cubicBezTo>
                  <a:cubicBezTo>
                    <a:pt x="395416" y="398135"/>
                    <a:pt x="417173" y="417173"/>
                    <a:pt x="425332" y="433491"/>
                  </a:cubicBezTo>
                  <a:cubicBezTo>
                    <a:pt x="430771" y="444369"/>
                    <a:pt x="436211" y="452528"/>
                    <a:pt x="438930" y="463407"/>
                  </a:cubicBezTo>
                  <a:cubicBezTo>
                    <a:pt x="444370" y="474286"/>
                    <a:pt x="447089" y="487884"/>
                    <a:pt x="449809" y="498762"/>
                  </a:cubicBezTo>
                  <a:cubicBezTo>
                    <a:pt x="452529" y="512361"/>
                    <a:pt x="452529" y="517800"/>
                    <a:pt x="457968" y="528679"/>
                  </a:cubicBezTo>
                  <a:cubicBezTo>
                    <a:pt x="463407" y="539557"/>
                    <a:pt x="463407" y="553155"/>
                    <a:pt x="466127" y="564034"/>
                  </a:cubicBezTo>
                  <a:cubicBezTo>
                    <a:pt x="468847" y="572193"/>
                    <a:pt x="468847" y="585791"/>
                    <a:pt x="471566" y="593950"/>
                  </a:cubicBezTo>
                  <a:cubicBezTo>
                    <a:pt x="474286" y="599390"/>
                    <a:pt x="477006" y="602109"/>
                    <a:pt x="479725" y="607548"/>
                  </a:cubicBezTo>
                  <a:cubicBezTo>
                    <a:pt x="482445" y="612988"/>
                    <a:pt x="487884" y="618427"/>
                    <a:pt x="487884" y="623867"/>
                  </a:cubicBezTo>
                  <a:cubicBezTo>
                    <a:pt x="490604" y="634745"/>
                    <a:pt x="496043" y="642904"/>
                    <a:pt x="501482" y="651063"/>
                  </a:cubicBezTo>
                  <a:cubicBezTo>
                    <a:pt x="506922" y="661942"/>
                    <a:pt x="512361" y="664661"/>
                    <a:pt x="523240" y="670101"/>
                  </a:cubicBezTo>
                  <a:cubicBezTo>
                    <a:pt x="528679" y="672820"/>
                    <a:pt x="534119" y="680979"/>
                    <a:pt x="534119" y="686418"/>
                  </a:cubicBezTo>
                  <a:cubicBezTo>
                    <a:pt x="534119" y="689138"/>
                    <a:pt x="534119" y="691858"/>
                    <a:pt x="531399" y="694578"/>
                  </a:cubicBezTo>
                  <a:cubicBezTo>
                    <a:pt x="525959" y="702736"/>
                    <a:pt x="512361" y="708176"/>
                    <a:pt x="498763" y="708176"/>
                  </a:cubicBezTo>
                  <a:cubicBezTo>
                    <a:pt x="485165" y="708176"/>
                    <a:pt x="466127" y="705456"/>
                    <a:pt x="449809" y="700017"/>
                  </a:cubicBezTo>
                  <a:cubicBezTo>
                    <a:pt x="430771" y="694578"/>
                    <a:pt x="409014" y="675540"/>
                    <a:pt x="400855" y="667381"/>
                  </a:cubicBezTo>
                  <a:cubicBezTo>
                    <a:pt x="392696" y="659222"/>
                    <a:pt x="387257" y="651063"/>
                    <a:pt x="381817" y="642904"/>
                  </a:cubicBezTo>
                  <a:cubicBezTo>
                    <a:pt x="376378" y="632025"/>
                    <a:pt x="370939" y="623867"/>
                    <a:pt x="368219" y="610268"/>
                  </a:cubicBezTo>
                  <a:cubicBezTo>
                    <a:pt x="360060" y="588511"/>
                    <a:pt x="357341" y="574913"/>
                    <a:pt x="349182" y="550436"/>
                  </a:cubicBezTo>
                  <a:cubicBezTo>
                    <a:pt x="343742" y="534118"/>
                    <a:pt x="341023" y="520520"/>
                    <a:pt x="338303" y="504202"/>
                  </a:cubicBezTo>
                  <a:cubicBezTo>
                    <a:pt x="335583" y="493323"/>
                    <a:pt x="332864" y="485164"/>
                    <a:pt x="330144" y="477005"/>
                  </a:cubicBezTo>
                  <a:cubicBezTo>
                    <a:pt x="327424" y="471566"/>
                    <a:pt x="324705" y="463407"/>
                    <a:pt x="321985" y="455248"/>
                  </a:cubicBezTo>
                  <a:cubicBezTo>
                    <a:pt x="316546" y="444369"/>
                    <a:pt x="311106" y="436210"/>
                    <a:pt x="305667" y="436210"/>
                  </a:cubicBezTo>
                  <a:cubicBezTo>
                    <a:pt x="302948" y="436210"/>
                    <a:pt x="300228" y="438930"/>
                    <a:pt x="294788" y="441650"/>
                  </a:cubicBezTo>
                  <a:cubicBezTo>
                    <a:pt x="289349" y="447089"/>
                    <a:pt x="283910" y="455248"/>
                    <a:pt x="278471" y="463407"/>
                  </a:cubicBezTo>
                  <a:cubicBezTo>
                    <a:pt x="270312" y="474286"/>
                    <a:pt x="267592" y="485164"/>
                    <a:pt x="264872" y="496043"/>
                  </a:cubicBezTo>
                  <a:cubicBezTo>
                    <a:pt x="264872" y="504202"/>
                    <a:pt x="262153" y="512361"/>
                    <a:pt x="262153" y="517800"/>
                  </a:cubicBezTo>
                  <a:cubicBezTo>
                    <a:pt x="262153" y="520520"/>
                    <a:pt x="262153" y="520520"/>
                    <a:pt x="262153" y="523239"/>
                  </a:cubicBezTo>
                  <a:cubicBezTo>
                    <a:pt x="262153" y="528679"/>
                    <a:pt x="262153" y="544997"/>
                    <a:pt x="262153" y="553155"/>
                  </a:cubicBezTo>
                  <a:cubicBezTo>
                    <a:pt x="262153" y="583072"/>
                    <a:pt x="264872" y="599390"/>
                    <a:pt x="262153" y="629306"/>
                  </a:cubicBezTo>
                  <a:cubicBezTo>
                    <a:pt x="262153" y="640184"/>
                    <a:pt x="262153" y="648343"/>
                    <a:pt x="259433" y="659222"/>
                  </a:cubicBezTo>
                  <a:cubicBezTo>
                    <a:pt x="270312" y="659222"/>
                    <a:pt x="278471" y="659222"/>
                    <a:pt x="283910" y="659222"/>
                  </a:cubicBezTo>
                  <a:cubicBezTo>
                    <a:pt x="297508" y="659222"/>
                    <a:pt x="321985" y="659222"/>
                    <a:pt x="321985" y="675540"/>
                  </a:cubicBezTo>
                  <a:cubicBezTo>
                    <a:pt x="321985" y="683699"/>
                    <a:pt x="319265" y="686418"/>
                    <a:pt x="316546" y="691858"/>
                  </a:cubicBezTo>
                  <a:cubicBezTo>
                    <a:pt x="311106" y="697297"/>
                    <a:pt x="305667" y="700017"/>
                    <a:pt x="300228" y="700017"/>
                  </a:cubicBezTo>
                  <a:cubicBezTo>
                    <a:pt x="292069" y="702736"/>
                    <a:pt x="283910" y="702736"/>
                    <a:pt x="278471" y="702736"/>
                  </a:cubicBezTo>
                  <a:cubicBezTo>
                    <a:pt x="275751" y="702736"/>
                    <a:pt x="259433" y="702736"/>
                    <a:pt x="243115" y="702736"/>
                  </a:cubicBezTo>
                  <a:cubicBezTo>
                    <a:pt x="237676" y="708176"/>
                    <a:pt x="229517" y="710895"/>
                    <a:pt x="221358" y="710895"/>
                  </a:cubicBezTo>
                  <a:cubicBezTo>
                    <a:pt x="213199" y="710895"/>
                    <a:pt x="202320" y="708176"/>
                    <a:pt x="194161" y="702736"/>
                  </a:cubicBezTo>
                  <a:cubicBezTo>
                    <a:pt x="186002" y="702736"/>
                    <a:pt x="180563" y="702736"/>
                    <a:pt x="177843" y="702736"/>
                  </a:cubicBezTo>
                  <a:cubicBezTo>
                    <a:pt x="164245" y="702736"/>
                    <a:pt x="139768" y="702736"/>
                    <a:pt x="126170" y="702736"/>
                  </a:cubicBezTo>
                  <a:cubicBezTo>
                    <a:pt x="118011" y="702736"/>
                    <a:pt x="109852" y="702736"/>
                    <a:pt x="101693" y="702736"/>
                  </a:cubicBezTo>
                  <a:cubicBezTo>
                    <a:pt x="93534" y="702736"/>
                    <a:pt x="82655" y="702736"/>
                    <a:pt x="74496" y="697297"/>
                  </a:cubicBezTo>
                  <a:cubicBezTo>
                    <a:pt x="66337" y="694578"/>
                    <a:pt x="58178" y="686418"/>
                    <a:pt x="58178" y="680979"/>
                  </a:cubicBezTo>
                  <a:cubicBezTo>
                    <a:pt x="58178" y="678260"/>
                    <a:pt x="58178" y="675540"/>
                    <a:pt x="63617" y="672820"/>
                  </a:cubicBezTo>
                  <a:cubicBezTo>
                    <a:pt x="69057" y="670101"/>
                    <a:pt x="79935" y="667381"/>
                    <a:pt x="85375" y="664661"/>
                  </a:cubicBezTo>
                  <a:cubicBezTo>
                    <a:pt x="104412" y="661942"/>
                    <a:pt x="123450" y="659222"/>
                    <a:pt x="128889" y="659222"/>
                  </a:cubicBezTo>
                  <a:cubicBezTo>
                    <a:pt x="134329" y="659222"/>
                    <a:pt x="139768" y="659222"/>
                    <a:pt x="147927" y="659222"/>
                  </a:cubicBezTo>
                  <a:cubicBezTo>
                    <a:pt x="147927" y="656502"/>
                    <a:pt x="145207" y="653783"/>
                    <a:pt x="145207" y="653783"/>
                  </a:cubicBezTo>
                  <a:cubicBezTo>
                    <a:pt x="131609" y="632025"/>
                    <a:pt x="131609" y="610268"/>
                    <a:pt x="131609" y="585791"/>
                  </a:cubicBezTo>
                  <a:cubicBezTo>
                    <a:pt x="131609" y="555875"/>
                    <a:pt x="131609" y="528679"/>
                    <a:pt x="134329" y="498762"/>
                  </a:cubicBezTo>
                  <a:cubicBezTo>
                    <a:pt x="134329" y="468846"/>
                    <a:pt x="137048" y="436210"/>
                    <a:pt x="137048" y="406294"/>
                  </a:cubicBezTo>
                  <a:cubicBezTo>
                    <a:pt x="137048" y="379098"/>
                    <a:pt x="134329" y="354621"/>
                    <a:pt x="134329" y="327424"/>
                  </a:cubicBezTo>
                  <a:cubicBezTo>
                    <a:pt x="134329" y="302947"/>
                    <a:pt x="137048" y="278470"/>
                    <a:pt x="137048" y="253993"/>
                  </a:cubicBezTo>
                  <a:cubicBezTo>
                    <a:pt x="137048" y="237675"/>
                    <a:pt x="139768" y="224077"/>
                    <a:pt x="139768" y="207759"/>
                  </a:cubicBezTo>
                  <a:cubicBezTo>
                    <a:pt x="139768" y="196881"/>
                    <a:pt x="137048" y="183282"/>
                    <a:pt x="137048" y="172404"/>
                  </a:cubicBezTo>
                  <a:cubicBezTo>
                    <a:pt x="137048" y="150647"/>
                    <a:pt x="137048" y="131609"/>
                    <a:pt x="137048" y="112571"/>
                  </a:cubicBezTo>
                  <a:cubicBezTo>
                    <a:pt x="134329" y="112571"/>
                    <a:pt x="137048" y="112571"/>
                    <a:pt x="126170" y="112571"/>
                  </a:cubicBezTo>
                  <a:cubicBezTo>
                    <a:pt x="118011" y="112571"/>
                    <a:pt x="109852" y="112571"/>
                    <a:pt x="101693" y="112571"/>
                  </a:cubicBezTo>
                  <a:cubicBezTo>
                    <a:pt x="93534" y="112571"/>
                    <a:pt x="82655" y="109852"/>
                    <a:pt x="74496" y="107132"/>
                  </a:cubicBezTo>
                  <a:cubicBezTo>
                    <a:pt x="66337" y="104412"/>
                    <a:pt x="58178" y="96253"/>
                    <a:pt x="58178" y="90814"/>
                  </a:cubicBezTo>
                  <a:cubicBezTo>
                    <a:pt x="58178" y="88094"/>
                    <a:pt x="58178" y="85375"/>
                    <a:pt x="63617" y="82655"/>
                  </a:cubicBezTo>
                  <a:cubicBezTo>
                    <a:pt x="69057" y="79936"/>
                    <a:pt x="79935" y="77216"/>
                    <a:pt x="85375" y="74496"/>
                  </a:cubicBezTo>
                  <a:cubicBezTo>
                    <a:pt x="104412" y="71776"/>
                    <a:pt x="128889" y="69057"/>
                    <a:pt x="137048" y="69057"/>
                  </a:cubicBezTo>
                  <a:cubicBezTo>
                    <a:pt x="137048" y="69057"/>
                    <a:pt x="139768" y="69057"/>
                    <a:pt x="145207" y="69057"/>
                  </a:cubicBezTo>
                  <a:cubicBezTo>
                    <a:pt x="150646" y="60898"/>
                    <a:pt x="158806" y="58178"/>
                    <a:pt x="169684" y="58178"/>
                  </a:cubicBezTo>
                  <a:cubicBezTo>
                    <a:pt x="172404" y="58178"/>
                    <a:pt x="175123" y="58178"/>
                    <a:pt x="177843" y="58178"/>
                  </a:cubicBezTo>
                  <a:cubicBezTo>
                    <a:pt x="186002" y="58178"/>
                    <a:pt x="196881" y="63617"/>
                    <a:pt x="205040" y="66337"/>
                  </a:cubicBezTo>
                  <a:cubicBezTo>
                    <a:pt x="237676" y="66337"/>
                    <a:pt x="273031" y="63617"/>
                    <a:pt x="286629" y="63617"/>
                  </a:cubicBezTo>
                  <a:cubicBezTo>
                    <a:pt x="300228" y="63617"/>
                    <a:pt x="324705" y="63617"/>
                    <a:pt x="324705" y="79936"/>
                  </a:cubicBezTo>
                  <a:cubicBezTo>
                    <a:pt x="324705" y="88094"/>
                    <a:pt x="321985" y="90814"/>
                    <a:pt x="319265" y="96253"/>
                  </a:cubicBezTo>
                  <a:cubicBezTo>
                    <a:pt x="313826" y="101693"/>
                    <a:pt x="308387" y="104412"/>
                    <a:pt x="302948" y="104412"/>
                  </a:cubicBezTo>
                  <a:cubicBezTo>
                    <a:pt x="289349" y="112571"/>
                    <a:pt x="283910" y="112571"/>
                    <a:pt x="278471" y="112571"/>
                  </a:cubicBezTo>
                  <a:cubicBezTo>
                    <a:pt x="273031" y="112571"/>
                    <a:pt x="253994" y="112571"/>
                    <a:pt x="232236" y="112571"/>
                  </a:cubicBezTo>
                  <a:cubicBezTo>
                    <a:pt x="237676" y="120730"/>
                    <a:pt x="240395" y="128889"/>
                    <a:pt x="240395" y="137048"/>
                  </a:cubicBezTo>
                  <a:cubicBezTo>
                    <a:pt x="240395" y="142487"/>
                    <a:pt x="240395" y="145207"/>
                    <a:pt x="240395" y="150647"/>
                  </a:cubicBezTo>
                  <a:cubicBezTo>
                    <a:pt x="240395" y="153366"/>
                    <a:pt x="240395" y="156086"/>
                    <a:pt x="243115" y="158805"/>
                  </a:cubicBezTo>
                  <a:cubicBezTo>
                    <a:pt x="245835" y="169684"/>
                    <a:pt x="245835" y="180563"/>
                    <a:pt x="248554" y="188722"/>
                  </a:cubicBezTo>
                  <a:cubicBezTo>
                    <a:pt x="248554" y="191441"/>
                    <a:pt x="248554" y="194161"/>
                    <a:pt x="248554" y="199600"/>
                  </a:cubicBezTo>
                  <a:cubicBezTo>
                    <a:pt x="248554" y="207759"/>
                    <a:pt x="248554" y="213198"/>
                    <a:pt x="248554" y="221357"/>
                  </a:cubicBezTo>
                  <a:cubicBezTo>
                    <a:pt x="248554" y="234956"/>
                    <a:pt x="251274" y="248554"/>
                    <a:pt x="253994" y="264872"/>
                  </a:cubicBezTo>
                  <a:cubicBezTo>
                    <a:pt x="256713" y="275751"/>
                    <a:pt x="259433" y="286629"/>
                    <a:pt x="262153" y="297508"/>
                  </a:cubicBezTo>
                  <a:cubicBezTo>
                    <a:pt x="264872" y="305667"/>
                    <a:pt x="264872" y="313826"/>
                    <a:pt x="264872" y="324704"/>
                  </a:cubicBezTo>
                  <a:cubicBezTo>
                    <a:pt x="264872" y="327424"/>
                    <a:pt x="264872" y="330144"/>
                    <a:pt x="264872" y="332863"/>
                  </a:cubicBezTo>
                  <a:cubicBezTo>
                    <a:pt x="264872" y="338303"/>
                    <a:pt x="264872" y="346462"/>
                    <a:pt x="264872" y="351901"/>
                  </a:cubicBezTo>
                  <a:cubicBezTo>
                    <a:pt x="264872" y="357340"/>
                    <a:pt x="262153" y="365499"/>
                    <a:pt x="262153" y="370939"/>
                  </a:cubicBezTo>
                  <a:cubicBezTo>
                    <a:pt x="262153" y="376378"/>
                    <a:pt x="264872" y="384537"/>
                    <a:pt x="267592" y="384537"/>
                  </a:cubicBezTo>
                  <a:cubicBezTo>
                    <a:pt x="273031" y="384537"/>
                    <a:pt x="275751" y="376378"/>
                    <a:pt x="278471" y="370939"/>
                  </a:cubicBezTo>
                  <a:cubicBezTo>
                    <a:pt x="283910" y="360060"/>
                    <a:pt x="289349" y="346462"/>
                    <a:pt x="297508" y="332863"/>
                  </a:cubicBezTo>
                  <a:cubicBezTo>
                    <a:pt x="302948" y="324704"/>
                    <a:pt x="305667" y="313826"/>
                    <a:pt x="311106" y="305667"/>
                  </a:cubicBezTo>
                  <a:cubicBezTo>
                    <a:pt x="319265" y="289349"/>
                    <a:pt x="327424" y="275751"/>
                    <a:pt x="335583" y="259433"/>
                  </a:cubicBezTo>
                  <a:cubicBezTo>
                    <a:pt x="341023" y="248554"/>
                    <a:pt x="349182" y="234956"/>
                    <a:pt x="354621" y="224077"/>
                  </a:cubicBezTo>
                  <a:cubicBezTo>
                    <a:pt x="362780" y="207759"/>
                    <a:pt x="370939" y="191441"/>
                    <a:pt x="381817" y="172404"/>
                  </a:cubicBezTo>
                  <a:cubicBezTo>
                    <a:pt x="389977" y="153366"/>
                    <a:pt x="400855" y="134329"/>
                    <a:pt x="409014" y="118011"/>
                  </a:cubicBezTo>
                  <a:cubicBezTo>
                    <a:pt x="409014" y="115291"/>
                    <a:pt x="409014" y="115291"/>
                    <a:pt x="411734" y="115291"/>
                  </a:cubicBezTo>
                  <a:cubicBezTo>
                    <a:pt x="406294" y="115291"/>
                    <a:pt x="400855" y="115291"/>
                    <a:pt x="398136" y="115291"/>
                  </a:cubicBezTo>
                  <a:cubicBezTo>
                    <a:pt x="392696" y="115291"/>
                    <a:pt x="384537" y="115291"/>
                    <a:pt x="379098" y="109852"/>
                  </a:cubicBezTo>
                  <a:cubicBezTo>
                    <a:pt x="373659" y="107132"/>
                    <a:pt x="368219" y="98973"/>
                    <a:pt x="368219" y="93534"/>
                  </a:cubicBezTo>
                  <a:cubicBezTo>
                    <a:pt x="368219" y="90814"/>
                    <a:pt x="368219" y="88094"/>
                    <a:pt x="370939" y="85375"/>
                  </a:cubicBezTo>
                  <a:cubicBezTo>
                    <a:pt x="373659" y="82655"/>
                    <a:pt x="381817" y="79936"/>
                    <a:pt x="387257" y="77216"/>
                  </a:cubicBezTo>
                  <a:cubicBezTo>
                    <a:pt x="400855" y="74496"/>
                    <a:pt x="414453" y="71776"/>
                    <a:pt x="422612" y="71776"/>
                  </a:cubicBezTo>
                  <a:cubicBezTo>
                    <a:pt x="425332" y="71776"/>
                    <a:pt x="430771" y="71776"/>
                    <a:pt x="436211" y="71776"/>
                  </a:cubicBezTo>
                  <a:cubicBezTo>
                    <a:pt x="436211" y="71776"/>
                    <a:pt x="438930" y="69057"/>
                    <a:pt x="438930" y="69057"/>
                  </a:cubicBezTo>
                  <a:cubicBezTo>
                    <a:pt x="444370" y="66337"/>
                    <a:pt x="447089" y="66337"/>
                    <a:pt x="452529" y="66337"/>
                  </a:cubicBezTo>
                  <a:cubicBezTo>
                    <a:pt x="457968" y="66337"/>
                    <a:pt x="460688" y="66337"/>
                    <a:pt x="466127" y="69057"/>
                  </a:cubicBezTo>
                  <a:cubicBezTo>
                    <a:pt x="468847" y="69057"/>
                    <a:pt x="471566" y="71776"/>
                    <a:pt x="471566" y="71776"/>
                  </a:cubicBezTo>
                  <a:cubicBezTo>
                    <a:pt x="490604" y="71776"/>
                    <a:pt x="506922" y="71776"/>
                    <a:pt x="515081" y="71776"/>
                  </a:cubicBezTo>
                  <a:cubicBezTo>
                    <a:pt x="523240" y="71776"/>
                    <a:pt x="542277" y="71776"/>
                    <a:pt x="542277" y="88094"/>
                  </a:cubicBezTo>
                  <a:cubicBezTo>
                    <a:pt x="542277" y="96253"/>
                    <a:pt x="542277" y="98973"/>
                    <a:pt x="536838" y="104412"/>
                  </a:cubicBezTo>
                  <a:cubicBezTo>
                    <a:pt x="534119" y="109852"/>
                    <a:pt x="528679" y="112571"/>
                    <a:pt x="525959" y="112571"/>
                  </a:cubicBezTo>
                  <a:cubicBezTo>
                    <a:pt x="520520" y="115291"/>
                    <a:pt x="515081" y="115291"/>
                    <a:pt x="509642" y="115291"/>
                  </a:cubicBezTo>
                  <a:cubicBezTo>
                    <a:pt x="506922" y="115291"/>
                    <a:pt x="487884" y="115291"/>
                    <a:pt x="468847" y="115291"/>
                  </a:cubicBezTo>
                  <a:cubicBezTo>
                    <a:pt x="466127" y="123450"/>
                    <a:pt x="460688" y="128889"/>
                    <a:pt x="457968" y="137048"/>
                  </a:cubicBezTo>
                  <a:cubicBezTo>
                    <a:pt x="447089" y="156086"/>
                    <a:pt x="438930" y="175123"/>
                    <a:pt x="430771" y="194161"/>
                  </a:cubicBezTo>
                  <a:cubicBezTo>
                    <a:pt x="419893" y="215918"/>
                    <a:pt x="411734" y="240395"/>
                    <a:pt x="400855" y="262152"/>
                  </a:cubicBezTo>
                  <a:cubicBezTo>
                    <a:pt x="387257" y="289349"/>
                    <a:pt x="373659" y="311106"/>
                    <a:pt x="360060" y="332863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/>
            </a:p>
          </p:txBody>
        </p:sp>
        <p:sp>
          <p:nvSpPr>
            <p:cNvPr id="42" name="Freeform: Shape 41">
              <a:extLst>
                <a:ext uri="{FF2B5EF4-FFF2-40B4-BE49-F238E27FC236}">
                  <a16:creationId xmlns:a16="http://schemas.microsoft.com/office/drawing/2014/main" id="{49007CFA-4CB6-4475-8DC1-AE2D8D316015}"/>
                </a:ext>
              </a:extLst>
            </p:cNvPr>
            <p:cNvSpPr/>
            <p:nvPr/>
          </p:nvSpPr>
          <p:spPr>
            <a:xfrm>
              <a:off x="4335316" y="4186718"/>
              <a:ext cx="353556" cy="761503"/>
            </a:xfrm>
            <a:custGeom>
              <a:avLst/>
              <a:gdLst>
                <a:gd name="connsiteX0" fmla="*/ 283910 w 353555"/>
                <a:gd name="connsiteY0" fmla="*/ 672820 h 761503"/>
                <a:gd name="connsiteX1" fmla="*/ 321985 w 353555"/>
                <a:gd name="connsiteY1" fmla="*/ 689138 h 761503"/>
                <a:gd name="connsiteX2" fmla="*/ 316546 w 353555"/>
                <a:gd name="connsiteY2" fmla="*/ 705456 h 761503"/>
                <a:gd name="connsiteX3" fmla="*/ 300228 w 353555"/>
                <a:gd name="connsiteY3" fmla="*/ 713615 h 761503"/>
                <a:gd name="connsiteX4" fmla="*/ 278471 w 353555"/>
                <a:gd name="connsiteY4" fmla="*/ 716335 h 761503"/>
                <a:gd name="connsiteX5" fmla="*/ 237676 w 353555"/>
                <a:gd name="connsiteY5" fmla="*/ 716335 h 761503"/>
                <a:gd name="connsiteX6" fmla="*/ 180563 w 353555"/>
                <a:gd name="connsiteY6" fmla="*/ 719054 h 761503"/>
                <a:gd name="connsiteX7" fmla="*/ 126170 w 353555"/>
                <a:gd name="connsiteY7" fmla="*/ 719054 h 761503"/>
                <a:gd name="connsiteX8" fmla="*/ 101693 w 353555"/>
                <a:gd name="connsiteY8" fmla="*/ 719054 h 761503"/>
                <a:gd name="connsiteX9" fmla="*/ 74496 w 353555"/>
                <a:gd name="connsiteY9" fmla="*/ 713615 h 761503"/>
                <a:gd name="connsiteX10" fmla="*/ 58178 w 353555"/>
                <a:gd name="connsiteY10" fmla="*/ 697297 h 761503"/>
                <a:gd name="connsiteX11" fmla="*/ 63617 w 353555"/>
                <a:gd name="connsiteY11" fmla="*/ 689138 h 761503"/>
                <a:gd name="connsiteX12" fmla="*/ 85375 w 353555"/>
                <a:gd name="connsiteY12" fmla="*/ 680979 h 761503"/>
                <a:gd name="connsiteX13" fmla="*/ 131609 w 353555"/>
                <a:gd name="connsiteY13" fmla="*/ 675540 h 761503"/>
                <a:gd name="connsiteX14" fmla="*/ 142488 w 353555"/>
                <a:gd name="connsiteY14" fmla="*/ 675540 h 761503"/>
                <a:gd name="connsiteX15" fmla="*/ 131609 w 353555"/>
                <a:gd name="connsiteY15" fmla="*/ 653783 h 761503"/>
                <a:gd name="connsiteX16" fmla="*/ 128889 w 353555"/>
                <a:gd name="connsiteY16" fmla="*/ 640184 h 761503"/>
                <a:gd name="connsiteX17" fmla="*/ 128889 w 353555"/>
                <a:gd name="connsiteY17" fmla="*/ 629306 h 761503"/>
                <a:gd name="connsiteX18" fmla="*/ 128889 w 353555"/>
                <a:gd name="connsiteY18" fmla="*/ 621147 h 761503"/>
                <a:gd name="connsiteX19" fmla="*/ 128889 w 353555"/>
                <a:gd name="connsiteY19" fmla="*/ 593950 h 761503"/>
                <a:gd name="connsiteX20" fmla="*/ 128889 w 353555"/>
                <a:gd name="connsiteY20" fmla="*/ 583072 h 761503"/>
                <a:gd name="connsiteX21" fmla="*/ 128889 w 353555"/>
                <a:gd name="connsiteY21" fmla="*/ 436210 h 761503"/>
                <a:gd name="connsiteX22" fmla="*/ 128889 w 353555"/>
                <a:gd name="connsiteY22" fmla="*/ 357340 h 761503"/>
                <a:gd name="connsiteX23" fmla="*/ 131609 w 353555"/>
                <a:gd name="connsiteY23" fmla="*/ 289349 h 761503"/>
                <a:gd name="connsiteX24" fmla="*/ 131609 w 353555"/>
                <a:gd name="connsiteY24" fmla="*/ 251274 h 761503"/>
                <a:gd name="connsiteX25" fmla="*/ 131609 w 353555"/>
                <a:gd name="connsiteY25" fmla="*/ 205040 h 761503"/>
                <a:gd name="connsiteX26" fmla="*/ 131609 w 353555"/>
                <a:gd name="connsiteY26" fmla="*/ 139768 h 761503"/>
                <a:gd name="connsiteX27" fmla="*/ 131609 w 353555"/>
                <a:gd name="connsiteY27" fmla="*/ 128889 h 761503"/>
                <a:gd name="connsiteX28" fmla="*/ 126170 w 353555"/>
                <a:gd name="connsiteY28" fmla="*/ 128889 h 761503"/>
                <a:gd name="connsiteX29" fmla="*/ 101693 w 353555"/>
                <a:gd name="connsiteY29" fmla="*/ 128889 h 761503"/>
                <a:gd name="connsiteX30" fmla="*/ 74496 w 353555"/>
                <a:gd name="connsiteY30" fmla="*/ 123450 h 761503"/>
                <a:gd name="connsiteX31" fmla="*/ 58178 w 353555"/>
                <a:gd name="connsiteY31" fmla="*/ 107132 h 761503"/>
                <a:gd name="connsiteX32" fmla="*/ 60898 w 353555"/>
                <a:gd name="connsiteY32" fmla="*/ 98973 h 761503"/>
                <a:gd name="connsiteX33" fmla="*/ 82655 w 353555"/>
                <a:gd name="connsiteY33" fmla="*/ 93534 h 761503"/>
                <a:gd name="connsiteX34" fmla="*/ 131609 w 353555"/>
                <a:gd name="connsiteY34" fmla="*/ 88094 h 761503"/>
                <a:gd name="connsiteX35" fmla="*/ 131609 w 353555"/>
                <a:gd name="connsiteY35" fmla="*/ 82655 h 761503"/>
                <a:gd name="connsiteX36" fmla="*/ 134329 w 353555"/>
                <a:gd name="connsiteY36" fmla="*/ 71776 h 761503"/>
                <a:gd name="connsiteX37" fmla="*/ 147927 w 353555"/>
                <a:gd name="connsiteY37" fmla="*/ 63617 h 761503"/>
                <a:gd name="connsiteX38" fmla="*/ 164245 w 353555"/>
                <a:gd name="connsiteY38" fmla="*/ 58178 h 761503"/>
                <a:gd name="connsiteX39" fmla="*/ 177843 w 353555"/>
                <a:gd name="connsiteY39" fmla="*/ 58178 h 761503"/>
                <a:gd name="connsiteX40" fmla="*/ 196881 w 353555"/>
                <a:gd name="connsiteY40" fmla="*/ 60898 h 761503"/>
                <a:gd name="connsiteX41" fmla="*/ 232236 w 353555"/>
                <a:gd name="connsiteY41" fmla="*/ 88094 h 761503"/>
                <a:gd name="connsiteX42" fmla="*/ 278471 w 353555"/>
                <a:gd name="connsiteY42" fmla="*/ 88094 h 761503"/>
                <a:gd name="connsiteX43" fmla="*/ 316546 w 353555"/>
                <a:gd name="connsiteY43" fmla="*/ 104412 h 761503"/>
                <a:gd name="connsiteX44" fmla="*/ 311106 w 353555"/>
                <a:gd name="connsiteY44" fmla="*/ 120730 h 761503"/>
                <a:gd name="connsiteX45" fmla="*/ 294788 w 353555"/>
                <a:gd name="connsiteY45" fmla="*/ 128889 h 761503"/>
                <a:gd name="connsiteX46" fmla="*/ 273031 w 353555"/>
                <a:gd name="connsiteY46" fmla="*/ 131609 h 761503"/>
                <a:gd name="connsiteX47" fmla="*/ 243115 w 353555"/>
                <a:gd name="connsiteY47" fmla="*/ 131609 h 761503"/>
                <a:gd name="connsiteX48" fmla="*/ 243115 w 353555"/>
                <a:gd name="connsiteY48" fmla="*/ 134329 h 761503"/>
                <a:gd name="connsiteX49" fmla="*/ 248554 w 353555"/>
                <a:gd name="connsiteY49" fmla="*/ 169684 h 761503"/>
                <a:gd name="connsiteX50" fmla="*/ 251274 w 353555"/>
                <a:gd name="connsiteY50" fmla="*/ 205040 h 761503"/>
                <a:gd name="connsiteX51" fmla="*/ 251274 w 353555"/>
                <a:gd name="connsiteY51" fmla="*/ 240395 h 761503"/>
                <a:gd name="connsiteX52" fmla="*/ 251274 w 353555"/>
                <a:gd name="connsiteY52" fmla="*/ 256713 h 761503"/>
                <a:gd name="connsiteX53" fmla="*/ 253994 w 353555"/>
                <a:gd name="connsiteY53" fmla="*/ 270311 h 761503"/>
                <a:gd name="connsiteX54" fmla="*/ 259433 w 353555"/>
                <a:gd name="connsiteY54" fmla="*/ 343742 h 761503"/>
                <a:gd name="connsiteX55" fmla="*/ 262153 w 353555"/>
                <a:gd name="connsiteY55" fmla="*/ 425332 h 761503"/>
                <a:gd name="connsiteX56" fmla="*/ 264872 w 353555"/>
                <a:gd name="connsiteY56" fmla="*/ 490603 h 761503"/>
                <a:gd name="connsiteX57" fmla="*/ 270312 w 353555"/>
                <a:gd name="connsiteY57" fmla="*/ 564034 h 761503"/>
                <a:gd name="connsiteX58" fmla="*/ 270312 w 353555"/>
                <a:gd name="connsiteY58" fmla="*/ 599390 h 761503"/>
                <a:gd name="connsiteX59" fmla="*/ 270312 w 353555"/>
                <a:gd name="connsiteY59" fmla="*/ 637465 h 761503"/>
                <a:gd name="connsiteX60" fmla="*/ 264872 w 353555"/>
                <a:gd name="connsiteY60" fmla="*/ 670101 h 761503"/>
                <a:gd name="connsiteX61" fmla="*/ 283910 w 353555"/>
                <a:gd name="connsiteY61" fmla="*/ 672820 h 761503"/>
                <a:gd name="connsiteX62" fmla="*/ 283910 w 353555"/>
                <a:gd name="connsiteY62" fmla="*/ 672820 h 761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</a:cxnLst>
              <a:rect l="l" t="t" r="r" b="b"/>
              <a:pathLst>
                <a:path w="353555" h="761503">
                  <a:moveTo>
                    <a:pt x="283910" y="672820"/>
                  </a:moveTo>
                  <a:cubicBezTo>
                    <a:pt x="297508" y="672820"/>
                    <a:pt x="321985" y="672820"/>
                    <a:pt x="321985" y="689138"/>
                  </a:cubicBezTo>
                  <a:cubicBezTo>
                    <a:pt x="321985" y="697297"/>
                    <a:pt x="319265" y="697297"/>
                    <a:pt x="316546" y="705456"/>
                  </a:cubicBezTo>
                  <a:cubicBezTo>
                    <a:pt x="311106" y="710895"/>
                    <a:pt x="305667" y="713615"/>
                    <a:pt x="300228" y="713615"/>
                  </a:cubicBezTo>
                  <a:cubicBezTo>
                    <a:pt x="292069" y="716335"/>
                    <a:pt x="283910" y="716335"/>
                    <a:pt x="278471" y="716335"/>
                  </a:cubicBezTo>
                  <a:cubicBezTo>
                    <a:pt x="275751" y="716335"/>
                    <a:pt x="256713" y="716335"/>
                    <a:pt x="237676" y="716335"/>
                  </a:cubicBezTo>
                  <a:cubicBezTo>
                    <a:pt x="213199" y="716335"/>
                    <a:pt x="186002" y="719054"/>
                    <a:pt x="180563" y="719054"/>
                  </a:cubicBezTo>
                  <a:cubicBezTo>
                    <a:pt x="166965" y="719054"/>
                    <a:pt x="142488" y="719054"/>
                    <a:pt x="126170" y="719054"/>
                  </a:cubicBezTo>
                  <a:cubicBezTo>
                    <a:pt x="118011" y="719054"/>
                    <a:pt x="109852" y="719054"/>
                    <a:pt x="101693" y="719054"/>
                  </a:cubicBezTo>
                  <a:cubicBezTo>
                    <a:pt x="93534" y="719054"/>
                    <a:pt x="82655" y="719054"/>
                    <a:pt x="74496" y="713615"/>
                  </a:cubicBezTo>
                  <a:cubicBezTo>
                    <a:pt x="66337" y="710895"/>
                    <a:pt x="58178" y="702736"/>
                    <a:pt x="58178" y="697297"/>
                  </a:cubicBezTo>
                  <a:cubicBezTo>
                    <a:pt x="58178" y="694578"/>
                    <a:pt x="58178" y="691858"/>
                    <a:pt x="63617" y="689138"/>
                  </a:cubicBezTo>
                  <a:cubicBezTo>
                    <a:pt x="69057" y="686418"/>
                    <a:pt x="79935" y="683699"/>
                    <a:pt x="85375" y="680979"/>
                  </a:cubicBezTo>
                  <a:cubicBezTo>
                    <a:pt x="104412" y="678260"/>
                    <a:pt x="123450" y="675540"/>
                    <a:pt x="131609" y="675540"/>
                  </a:cubicBezTo>
                  <a:cubicBezTo>
                    <a:pt x="134329" y="675540"/>
                    <a:pt x="137048" y="675540"/>
                    <a:pt x="142488" y="675540"/>
                  </a:cubicBezTo>
                  <a:cubicBezTo>
                    <a:pt x="134329" y="670101"/>
                    <a:pt x="131609" y="661942"/>
                    <a:pt x="131609" y="653783"/>
                  </a:cubicBezTo>
                  <a:cubicBezTo>
                    <a:pt x="131609" y="648343"/>
                    <a:pt x="131609" y="642904"/>
                    <a:pt x="128889" y="640184"/>
                  </a:cubicBezTo>
                  <a:cubicBezTo>
                    <a:pt x="128889" y="637465"/>
                    <a:pt x="128889" y="634745"/>
                    <a:pt x="128889" y="629306"/>
                  </a:cubicBezTo>
                  <a:cubicBezTo>
                    <a:pt x="128889" y="626586"/>
                    <a:pt x="128889" y="623867"/>
                    <a:pt x="128889" y="621147"/>
                  </a:cubicBezTo>
                  <a:cubicBezTo>
                    <a:pt x="128889" y="612988"/>
                    <a:pt x="128889" y="604829"/>
                    <a:pt x="128889" y="593950"/>
                  </a:cubicBezTo>
                  <a:cubicBezTo>
                    <a:pt x="128889" y="591231"/>
                    <a:pt x="128889" y="585791"/>
                    <a:pt x="128889" y="583072"/>
                  </a:cubicBezTo>
                  <a:cubicBezTo>
                    <a:pt x="128889" y="534118"/>
                    <a:pt x="131609" y="485164"/>
                    <a:pt x="128889" y="436210"/>
                  </a:cubicBezTo>
                  <a:cubicBezTo>
                    <a:pt x="128889" y="409014"/>
                    <a:pt x="128889" y="384537"/>
                    <a:pt x="128889" y="357340"/>
                  </a:cubicBezTo>
                  <a:cubicBezTo>
                    <a:pt x="128889" y="335583"/>
                    <a:pt x="131609" y="313826"/>
                    <a:pt x="131609" y="289349"/>
                  </a:cubicBezTo>
                  <a:cubicBezTo>
                    <a:pt x="131609" y="275751"/>
                    <a:pt x="131609" y="264872"/>
                    <a:pt x="131609" y="251274"/>
                  </a:cubicBezTo>
                  <a:cubicBezTo>
                    <a:pt x="131609" y="234956"/>
                    <a:pt x="131609" y="221357"/>
                    <a:pt x="131609" y="205040"/>
                  </a:cubicBezTo>
                  <a:cubicBezTo>
                    <a:pt x="131609" y="183282"/>
                    <a:pt x="131609" y="161525"/>
                    <a:pt x="131609" y="139768"/>
                  </a:cubicBezTo>
                  <a:cubicBezTo>
                    <a:pt x="131609" y="137048"/>
                    <a:pt x="131609" y="134329"/>
                    <a:pt x="131609" y="128889"/>
                  </a:cubicBezTo>
                  <a:cubicBezTo>
                    <a:pt x="128889" y="128889"/>
                    <a:pt x="126170" y="128889"/>
                    <a:pt x="126170" y="128889"/>
                  </a:cubicBezTo>
                  <a:cubicBezTo>
                    <a:pt x="118011" y="128889"/>
                    <a:pt x="109852" y="128889"/>
                    <a:pt x="101693" y="128889"/>
                  </a:cubicBezTo>
                  <a:cubicBezTo>
                    <a:pt x="93534" y="128889"/>
                    <a:pt x="82655" y="128889"/>
                    <a:pt x="74496" y="123450"/>
                  </a:cubicBezTo>
                  <a:cubicBezTo>
                    <a:pt x="66337" y="120730"/>
                    <a:pt x="58178" y="112571"/>
                    <a:pt x="58178" y="107132"/>
                  </a:cubicBezTo>
                  <a:cubicBezTo>
                    <a:pt x="58178" y="104412"/>
                    <a:pt x="58178" y="101693"/>
                    <a:pt x="60898" y="98973"/>
                  </a:cubicBezTo>
                  <a:cubicBezTo>
                    <a:pt x="63617" y="96253"/>
                    <a:pt x="77216" y="93534"/>
                    <a:pt x="82655" y="93534"/>
                  </a:cubicBezTo>
                  <a:cubicBezTo>
                    <a:pt x="98973" y="90814"/>
                    <a:pt x="123450" y="88094"/>
                    <a:pt x="131609" y="88094"/>
                  </a:cubicBezTo>
                  <a:cubicBezTo>
                    <a:pt x="131609" y="85375"/>
                    <a:pt x="131609" y="85375"/>
                    <a:pt x="131609" y="82655"/>
                  </a:cubicBezTo>
                  <a:cubicBezTo>
                    <a:pt x="131609" y="77216"/>
                    <a:pt x="131609" y="74496"/>
                    <a:pt x="134329" y="71776"/>
                  </a:cubicBezTo>
                  <a:cubicBezTo>
                    <a:pt x="137048" y="69057"/>
                    <a:pt x="145207" y="66337"/>
                    <a:pt x="147927" y="63617"/>
                  </a:cubicBezTo>
                  <a:cubicBezTo>
                    <a:pt x="153366" y="60898"/>
                    <a:pt x="158806" y="58178"/>
                    <a:pt x="164245" y="58178"/>
                  </a:cubicBezTo>
                  <a:cubicBezTo>
                    <a:pt x="169684" y="58178"/>
                    <a:pt x="175123" y="58178"/>
                    <a:pt x="177843" y="58178"/>
                  </a:cubicBezTo>
                  <a:cubicBezTo>
                    <a:pt x="183283" y="58178"/>
                    <a:pt x="191442" y="58178"/>
                    <a:pt x="196881" y="60898"/>
                  </a:cubicBezTo>
                  <a:cubicBezTo>
                    <a:pt x="213199" y="63617"/>
                    <a:pt x="224077" y="74496"/>
                    <a:pt x="232236" y="88094"/>
                  </a:cubicBezTo>
                  <a:cubicBezTo>
                    <a:pt x="253994" y="88094"/>
                    <a:pt x="270312" y="88094"/>
                    <a:pt x="278471" y="88094"/>
                  </a:cubicBezTo>
                  <a:cubicBezTo>
                    <a:pt x="292069" y="88094"/>
                    <a:pt x="316546" y="88094"/>
                    <a:pt x="316546" y="104412"/>
                  </a:cubicBezTo>
                  <a:cubicBezTo>
                    <a:pt x="316546" y="112571"/>
                    <a:pt x="313826" y="112571"/>
                    <a:pt x="311106" y="120730"/>
                  </a:cubicBezTo>
                  <a:cubicBezTo>
                    <a:pt x="305667" y="126170"/>
                    <a:pt x="300228" y="128889"/>
                    <a:pt x="294788" y="128889"/>
                  </a:cubicBezTo>
                  <a:cubicBezTo>
                    <a:pt x="286630" y="131609"/>
                    <a:pt x="278471" y="131609"/>
                    <a:pt x="273031" y="131609"/>
                  </a:cubicBezTo>
                  <a:cubicBezTo>
                    <a:pt x="270312" y="131609"/>
                    <a:pt x="259433" y="131609"/>
                    <a:pt x="243115" y="131609"/>
                  </a:cubicBezTo>
                  <a:lnTo>
                    <a:pt x="243115" y="134329"/>
                  </a:lnTo>
                  <a:cubicBezTo>
                    <a:pt x="245835" y="145207"/>
                    <a:pt x="245835" y="158805"/>
                    <a:pt x="248554" y="169684"/>
                  </a:cubicBezTo>
                  <a:cubicBezTo>
                    <a:pt x="251274" y="180563"/>
                    <a:pt x="251274" y="194161"/>
                    <a:pt x="251274" y="205040"/>
                  </a:cubicBezTo>
                  <a:cubicBezTo>
                    <a:pt x="251274" y="215918"/>
                    <a:pt x="251274" y="226797"/>
                    <a:pt x="251274" y="240395"/>
                  </a:cubicBezTo>
                  <a:cubicBezTo>
                    <a:pt x="251274" y="245834"/>
                    <a:pt x="251274" y="251274"/>
                    <a:pt x="251274" y="256713"/>
                  </a:cubicBezTo>
                  <a:cubicBezTo>
                    <a:pt x="251274" y="262152"/>
                    <a:pt x="251274" y="267592"/>
                    <a:pt x="253994" y="270311"/>
                  </a:cubicBezTo>
                  <a:cubicBezTo>
                    <a:pt x="256713" y="294788"/>
                    <a:pt x="256713" y="319265"/>
                    <a:pt x="259433" y="343742"/>
                  </a:cubicBezTo>
                  <a:cubicBezTo>
                    <a:pt x="259433" y="370939"/>
                    <a:pt x="262153" y="398135"/>
                    <a:pt x="262153" y="425332"/>
                  </a:cubicBezTo>
                  <a:cubicBezTo>
                    <a:pt x="262153" y="447089"/>
                    <a:pt x="262153" y="468846"/>
                    <a:pt x="264872" y="490603"/>
                  </a:cubicBezTo>
                  <a:cubicBezTo>
                    <a:pt x="264872" y="515080"/>
                    <a:pt x="270312" y="539557"/>
                    <a:pt x="270312" y="564034"/>
                  </a:cubicBezTo>
                  <a:cubicBezTo>
                    <a:pt x="270312" y="574913"/>
                    <a:pt x="270312" y="588511"/>
                    <a:pt x="270312" y="599390"/>
                  </a:cubicBezTo>
                  <a:cubicBezTo>
                    <a:pt x="270312" y="612988"/>
                    <a:pt x="270312" y="623867"/>
                    <a:pt x="270312" y="637465"/>
                  </a:cubicBezTo>
                  <a:cubicBezTo>
                    <a:pt x="270312" y="648343"/>
                    <a:pt x="270312" y="661942"/>
                    <a:pt x="264872" y="670101"/>
                  </a:cubicBezTo>
                  <a:cubicBezTo>
                    <a:pt x="273031" y="672820"/>
                    <a:pt x="278471" y="672820"/>
                    <a:pt x="283910" y="672820"/>
                  </a:cubicBezTo>
                  <a:lnTo>
                    <a:pt x="283910" y="672820"/>
                  </a:ln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/>
            </a:p>
          </p:txBody>
        </p:sp>
        <p:sp>
          <p:nvSpPr>
            <p:cNvPr id="43" name="Freeform: Shape 42">
              <a:extLst>
                <a:ext uri="{FF2B5EF4-FFF2-40B4-BE49-F238E27FC236}">
                  <a16:creationId xmlns:a16="http://schemas.microsoft.com/office/drawing/2014/main" id="{862B4178-3CD4-4F75-9B25-C23D707C377A}"/>
                </a:ext>
              </a:extLst>
            </p:cNvPr>
            <p:cNvSpPr/>
            <p:nvPr/>
          </p:nvSpPr>
          <p:spPr>
            <a:xfrm>
              <a:off x="4620880" y="4194877"/>
              <a:ext cx="598325" cy="761503"/>
            </a:xfrm>
            <a:custGeom>
              <a:avLst/>
              <a:gdLst>
                <a:gd name="connsiteX0" fmla="*/ 515081 w 598324"/>
                <a:gd name="connsiteY0" fmla="*/ 79935 h 761503"/>
                <a:gd name="connsiteX1" fmla="*/ 542277 w 598324"/>
                <a:gd name="connsiteY1" fmla="*/ 96253 h 761503"/>
                <a:gd name="connsiteX2" fmla="*/ 536838 w 598324"/>
                <a:gd name="connsiteY2" fmla="*/ 112571 h 761503"/>
                <a:gd name="connsiteX3" fmla="*/ 523240 w 598324"/>
                <a:gd name="connsiteY3" fmla="*/ 120730 h 761503"/>
                <a:gd name="connsiteX4" fmla="*/ 506922 w 598324"/>
                <a:gd name="connsiteY4" fmla="*/ 123450 h 761503"/>
                <a:gd name="connsiteX5" fmla="*/ 477006 w 598324"/>
                <a:gd name="connsiteY5" fmla="*/ 123450 h 761503"/>
                <a:gd name="connsiteX6" fmla="*/ 479725 w 598324"/>
                <a:gd name="connsiteY6" fmla="*/ 145207 h 761503"/>
                <a:gd name="connsiteX7" fmla="*/ 477006 w 598324"/>
                <a:gd name="connsiteY7" fmla="*/ 180563 h 761503"/>
                <a:gd name="connsiteX8" fmla="*/ 482445 w 598324"/>
                <a:gd name="connsiteY8" fmla="*/ 232236 h 761503"/>
                <a:gd name="connsiteX9" fmla="*/ 485165 w 598324"/>
                <a:gd name="connsiteY9" fmla="*/ 283909 h 761503"/>
                <a:gd name="connsiteX10" fmla="*/ 485165 w 598324"/>
                <a:gd name="connsiteY10" fmla="*/ 327424 h 761503"/>
                <a:gd name="connsiteX11" fmla="*/ 487884 w 598324"/>
                <a:gd name="connsiteY11" fmla="*/ 373658 h 761503"/>
                <a:gd name="connsiteX12" fmla="*/ 485165 w 598324"/>
                <a:gd name="connsiteY12" fmla="*/ 419892 h 761503"/>
                <a:gd name="connsiteX13" fmla="*/ 485165 w 598324"/>
                <a:gd name="connsiteY13" fmla="*/ 463407 h 761503"/>
                <a:gd name="connsiteX14" fmla="*/ 482445 w 598324"/>
                <a:gd name="connsiteY14" fmla="*/ 515080 h 761503"/>
                <a:gd name="connsiteX15" fmla="*/ 482445 w 598324"/>
                <a:gd name="connsiteY15" fmla="*/ 558595 h 761503"/>
                <a:gd name="connsiteX16" fmla="*/ 479725 w 598324"/>
                <a:gd name="connsiteY16" fmla="*/ 602109 h 761503"/>
                <a:gd name="connsiteX17" fmla="*/ 485165 w 598324"/>
                <a:gd name="connsiteY17" fmla="*/ 648343 h 761503"/>
                <a:gd name="connsiteX18" fmla="*/ 474286 w 598324"/>
                <a:gd name="connsiteY18" fmla="*/ 675540 h 761503"/>
                <a:gd name="connsiteX19" fmla="*/ 428052 w 598324"/>
                <a:gd name="connsiteY19" fmla="*/ 691858 h 761503"/>
                <a:gd name="connsiteX20" fmla="*/ 387257 w 598324"/>
                <a:gd name="connsiteY20" fmla="*/ 683699 h 761503"/>
                <a:gd name="connsiteX21" fmla="*/ 351901 w 598324"/>
                <a:gd name="connsiteY21" fmla="*/ 664661 h 761503"/>
                <a:gd name="connsiteX22" fmla="*/ 305667 w 598324"/>
                <a:gd name="connsiteY22" fmla="*/ 596670 h 761503"/>
                <a:gd name="connsiteX23" fmla="*/ 270312 w 598324"/>
                <a:gd name="connsiteY23" fmla="*/ 509641 h 761503"/>
                <a:gd name="connsiteX24" fmla="*/ 251274 w 598324"/>
                <a:gd name="connsiteY24" fmla="*/ 460687 h 761503"/>
                <a:gd name="connsiteX25" fmla="*/ 224077 w 598324"/>
                <a:gd name="connsiteY25" fmla="*/ 381817 h 761503"/>
                <a:gd name="connsiteX26" fmla="*/ 207759 w 598324"/>
                <a:gd name="connsiteY26" fmla="*/ 330144 h 761503"/>
                <a:gd name="connsiteX27" fmla="*/ 191442 w 598324"/>
                <a:gd name="connsiteY27" fmla="*/ 286629 h 761503"/>
                <a:gd name="connsiteX28" fmla="*/ 183283 w 598324"/>
                <a:gd name="connsiteY28" fmla="*/ 278470 h 761503"/>
                <a:gd name="connsiteX29" fmla="*/ 180563 w 598324"/>
                <a:gd name="connsiteY29" fmla="*/ 292068 h 761503"/>
                <a:gd name="connsiteX30" fmla="*/ 180563 w 598324"/>
                <a:gd name="connsiteY30" fmla="*/ 305667 h 761503"/>
                <a:gd name="connsiteX31" fmla="*/ 183283 w 598324"/>
                <a:gd name="connsiteY31" fmla="*/ 354620 h 761503"/>
                <a:gd name="connsiteX32" fmla="*/ 188722 w 598324"/>
                <a:gd name="connsiteY32" fmla="*/ 449808 h 761503"/>
                <a:gd name="connsiteX33" fmla="*/ 188722 w 598324"/>
                <a:gd name="connsiteY33" fmla="*/ 479725 h 761503"/>
                <a:gd name="connsiteX34" fmla="*/ 188722 w 598324"/>
                <a:gd name="connsiteY34" fmla="*/ 542277 h 761503"/>
                <a:gd name="connsiteX35" fmla="*/ 186002 w 598324"/>
                <a:gd name="connsiteY35" fmla="*/ 615708 h 761503"/>
                <a:gd name="connsiteX36" fmla="*/ 186002 w 598324"/>
                <a:gd name="connsiteY36" fmla="*/ 637465 h 761503"/>
                <a:gd name="connsiteX37" fmla="*/ 183283 w 598324"/>
                <a:gd name="connsiteY37" fmla="*/ 664661 h 761503"/>
                <a:gd name="connsiteX38" fmla="*/ 226797 w 598324"/>
                <a:gd name="connsiteY38" fmla="*/ 664661 h 761503"/>
                <a:gd name="connsiteX39" fmla="*/ 253994 w 598324"/>
                <a:gd name="connsiteY39" fmla="*/ 680979 h 761503"/>
                <a:gd name="connsiteX40" fmla="*/ 248554 w 598324"/>
                <a:gd name="connsiteY40" fmla="*/ 697297 h 761503"/>
                <a:gd name="connsiteX41" fmla="*/ 234956 w 598324"/>
                <a:gd name="connsiteY41" fmla="*/ 705456 h 761503"/>
                <a:gd name="connsiteX42" fmla="*/ 218638 w 598324"/>
                <a:gd name="connsiteY42" fmla="*/ 708176 h 761503"/>
                <a:gd name="connsiteX43" fmla="*/ 183283 w 598324"/>
                <a:gd name="connsiteY43" fmla="*/ 708176 h 761503"/>
                <a:gd name="connsiteX44" fmla="*/ 150647 w 598324"/>
                <a:gd name="connsiteY44" fmla="*/ 708176 h 761503"/>
                <a:gd name="connsiteX45" fmla="*/ 107132 w 598324"/>
                <a:gd name="connsiteY45" fmla="*/ 708176 h 761503"/>
                <a:gd name="connsiteX46" fmla="*/ 88094 w 598324"/>
                <a:gd name="connsiteY46" fmla="*/ 708176 h 761503"/>
                <a:gd name="connsiteX47" fmla="*/ 69057 w 598324"/>
                <a:gd name="connsiteY47" fmla="*/ 702736 h 761503"/>
                <a:gd name="connsiteX48" fmla="*/ 58178 w 598324"/>
                <a:gd name="connsiteY48" fmla="*/ 686418 h 761503"/>
                <a:gd name="connsiteX49" fmla="*/ 60898 w 598324"/>
                <a:gd name="connsiteY49" fmla="*/ 678259 h 761503"/>
                <a:gd name="connsiteX50" fmla="*/ 77216 w 598324"/>
                <a:gd name="connsiteY50" fmla="*/ 670101 h 761503"/>
                <a:gd name="connsiteX51" fmla="*/ 120730 w 598324"/>
                <a:gd name="connsiteY51" fmla="*/ 664661 h 761503"/>
                <a:gd name="connsiteX52" fmla="*/ 131609 w 598324"/>
                <a:gd name="connsiteY52" fmla="*/ 664661 h 761503"/>
                <a:gd name="connsiteX53" fmla="*/ 134329 w 598324"/>
                <a:gd name="connsiteY53" fmla="*/ 539557 h 761503"/>
                <a:gd name="connsiteX54" fmla="*/ 134329 w 598324"/>
                <a:gd name="connsiteY54" fmla="*/ 504201 h 761503"/>
                <a:gd name="connsiteX55" fmla="*/ 131609 w 598324"/>
                <a:gd name="connsiteY55" fmla="*/ 376378 h 761503"/>
                <a:gd name="connsiteX56" fmla="*/ 131609 w 598324"/>
                <a:gd name="connsiteY56" fmla="*/ 302947 h 761503"/>
                <a:gd name="connsiteX57" fmla="*/ 134329 w 598324"/>
                <a:gd name="connsiteY57" fmla="*/ 221357 h 761503"/>
                <a:gd name="connsiteX58" fmla="*/ 137048 w 598324"/>
                <a:gd name="connsiteY58" fmla="*/ 123450 h 761503"/>
                <a:gd name="connsiteX59" fmla="*/ 107132 w 598324"/>
                <a:gd name="connsiteY59" fmla="*/ 123450 h 761503"/>
                <a:gd name="connsiteX60" fmla="*/ 88094 w 598324"/>
                <a:gd name="connsiteY60" fmla="*/ 123450 h 761503"/>
                <a:gd name="connsiteX61" fmla="*/ 69057 w 598324"/>
                <a:gd name="connsiteY61" fmla="*/ 118011 h 761503"/>
                <a:gd name="connsiteX62" fmla="*/ 58178 w 598324"/>
                <a:gd name="connsiteY62" fmla="*/ 101693 h 761503"/>
                <a:gd name="connsiteX63" fmla="*/ 60898 w 598324"/>
                <a:gd name="connsiteY63" fmla="*/ 93534 h 761503"/>
                <a:gd name="connsiteX64" fmla="*/ 77216 w 598324"/>
                <a:gd name="connsiteY64" fmla="*/ 85375 h 761503"/>
                <a:gd name="connsiteX65" fmla="*/ 131609 w 598324"/>
                <a:gd name="connsiteY65" fmla="*/ 79935 h 761503"/>
                <a:gd name="connsiteX66" fmla="*/ 161525 w 598324"/>
                <a:gd name="connsiteY66" fmla="*/ 79935 h 761503"/>
                <a:gd name="connsiteX67" fmla="*/ 177843 w 598324"/>
                <a:gd name="connsiteY67" fmla="*/ 66337 h 761503"/>
                <a:gd name="connsiteX68" fmla="*/ 202320 w 598324"/>
                <a:gd name="connsiteY68" fmla="*/ 58178 h 761503"/>
                <a:gd name="connsiteX69" fmla="*/ 234956 w 598324"/>
                <a:gd name="connsiteY69" fmla="*/ 77216 h 761503"/>
                <a:gd name="connsiteX70" fmla="*/ 251274 w 598324"/>
                <a:gd name="connsiteY70" fmla="*/ 107132 h 761503"/>
                <a:gd name="connsiteX71" fmla="*/ 267592 w 598324"/>
                <a:gd name="connsiteY71" fmla="*/ 147927 h 761503"/>
                <a:gd name="connsiteX72" fmla="*/ 281190 w 598324"/>
                <a:gd name="connsiteY72" fmla="*/ 183282 h 761503"/>
                <a:gd name="connsiteX73" fmla="*/ 297508 w 598324"/>
                <a:gd name="connsiteY73" fmla="*/ 224077 h 761503"/>
                <a:gd name="connsiteX74" fmla="*/ 308387 w 598324"/>
                <a:gd name="connsiteY74" fmla="*/ 264872 h 761503"/>
                <a:gd name="connsiteX75" fmla="*/ 319265 w 598324"/>
                <a:gd name="connsiteY75" fmla="*/ 300227 h 761503"/>
                <a:gd name="connsiteX76" fmla="*/ 351901 w 598324"/>
                <a:gd name="connsiteY76" fmla="*/ 379097 h 761503"/>
                <a:gd name="connsiteX77" fmla="*/ 365500 w 598324"/>
                <a:gd name="connsiteY77" fmla="*/ 417173 h 761503"/>
                <a:gd name="connsiteX78" fmla="*/ 379098 w 598324"/>
                <a:gd name="connsiteY78" fmla="*/ 457967 h 761503"/>
                <a:gd name="connsiteX79" fmla="*/ 395416 w 598324"/>
                <a:gd name="connsiteY79" fmla="*/ 496043 h 761503"/>
                <a:gd name="connsiteX80" fmla="*/ 406294 w 598324"/>
                <a:gd name="connsiteY80" fmla="*/ 512361 h 761503"/>
                <a:gd name="connsiteX81" fmla="*/ 411734 w 598324"/>
                <a:gd name="connsiteY81" fmla="*/ 531398 h 761503"/>
                <a:gd name="connsiteX82" fmla="*/ 419893 w 598324"/>
                <a:gd name="connsiteY82" fmla="*/ 558595 h 761503"/>
                <a:gd name="connsiteX83" fmla="*/ 425332 w 598324"/>
                <a:gd name="connsiteY83" fmla="*/ 564034 h 761503"/>
                <a:gd name="connsiteX84" fmla="*/ 430771 w 598324"/>
                <a:gd name="connsiteY84" fmla="*/ 558595 h 761503"/>
                <a:gd name="connsiteX85" fmla="*/ 430771 w 598324"/>
                <a:gd name="connsiteY85" fmla="*/ 550436 h 761503"/>
                <a:gd name="connsiteX86" fmla="*/ 430771 w 598324"/>
                <a:gd name="connsiteY86" fmla="*/ 501482 h 761503"/>
                <a:gd name="connsiteX87" fmla="*/ 430771 w 598324"/>
                <a:gd name="connsiteY87" fmla="*/ 403574 h 761503"/>
                <a:gd name="connsiteX88" fmla="*/ 425332 w 598324"/>
                <a:gd name="connsiteY88" fmla="*/ 313826 h 761503"/>
                <a:gd name="connsiteX89" fmla="*/ 425332 w 598324"/>
                <a:gd name="connsiteY89" fmla="*/ 248554 h 761503"/>
                <a:gd name="connsiteX90" fmla="*/ 425332 w 598324"/>
                <a:gd name="connsiteY90" fmla="*/ 210479 h 761503"/>
                <a:gd name="connsiteX91" fmla="*/ 422613 w 598324"/>
                <a:gd name="connsiteY91" fmla="*/ 153366 h 761503"/>
                <a:gd name="connsiteX92" fmla="*/ 425332 w 598324"/>
                <a:gd name="connsiteY92" fmla="*/ 123450 h 761503"/>
                <a:gd name="connsiteX93" fmla="*/ 398136 w 598324"/>
                <a:gd name="connsiteY93" fmla="*/ 123450 h 761503"/>
                <a:gd name="connsiteX94" fmla="*/ 379098 w 598324"/>
                <a:gd name="connsiteY94" fmla="*/ 123450 h 761503"/>
                <a:gd name="connsiteX95" fmla="*/ 360060 w 598324"/>
                <a:gd name="connsiteY95" fmla="*/ 118011 h 761503"/>
                <a:gd name="connsiteX96" fmla="*/ 349182 w 598324"/>
                <a:gd name="connsiteY96" fmla="*/ 101693 h 761503"/>
                <a:gd name="connsiteX97" fmla="*/ 351901 w 598324"/>
                <a:gd name="connsiteY97" fmla="*/ 93534 h 761503"/>
                <a:gd name="connsiteX98" fmla="*/ 368219 w 598324"/>
                <a:gd name="connsiteY98" fmla="*/ 85375 h 761503"/>
                <a:gd name="connsiteX99" fmla="*/ 422613 w 598324"/>
                <a:gd name="connsiteY99" fmla="*/ 79935 h 761503"/>
                <a:gd name="connsiteX100" fmla="*/ 444370 w 598324"/>
                <a:gd name="connsiteY100" fmla="*/ 79935 h 761503"/>
                <a:gd name="connsiteX101" fmla="*/ 463407 w 598324"/>
                <a:gd name="connsiteY101" fmla="*/ 71776 h 761503"/>
                <a:gd name="connsiteX102" fmla="*/ 477006 w 598324"/>
                <a:gd name="connsiteY102" fmla="*/ 79935 h 761503"/>
                <a:gd name="connsiteX103" fmla="*/ 515081 w 598324"/>
                <a:gd name="connsiteY103" fmla="*/ 79935 h 761503"/>
                <a:gd name="connsiteX104" fmla="*/ 515081 w 598324"/>
                <a:gd name="connsiteY104" fmla="*/ 79935 h 761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</a:cxnLst>
              <a:rect l="l" t="t" r="r" b="b"/>
              <a:pathLst>
                <a:path w="598324" h="761503">
                  <a:moveTo>
                    <a:pt x="515081" y="79935"/>
                  </a:moveTo>
                  <a:cubicBezTo>
                    <a:pt x="523240" y="79935"/>
                    <a:pt x="542277" y="79935"/>
                    <a:pt x="542277" y="96253"/>
                  </a:cubicBezTo>
                  <a:cubicBezTo>
                    <a:pt x="542277" y="104412"/>
                    <a:pt x="542277" y="107132"/>
                    <a:pt x="536838" y="112571"/>
                  </a:cubicBezTo>
                  <a:cubicBezTo>
                    <a:pt x="534119" y="118011"/>
                    <a:pt x="528679" y="120730"/>
                    <a:pt x="523240" y="120730"/>
                  </a:cubicBezTo>
                  <a:cubicBezTo>
                    <a:pt x="515081" y="123450"/>
                    <a:pt x="512361" y="123450"/>
                    <a:pt x="506922" y="123450"/>
                  </a:cubicBezTo>
                  <a:cubicBezTo>
                    <a:pt x="504202" y="123450"/>
                    <a:pt x="490604" y="123450"/>
                    <a:pt x="477006" y="123450"/>
                  </a:cubicBezTo>
                  <a:cubicBezTo>
                    <a:pt x="477006" y="131609"/>
                    <a:pt x="479725" y="137048"/>
                    <a:pt x="479725" y="145207"/>
                  </a:cubicBezTo>
                  <a:cubicBezTo>
                    <a:pt x="479725" y="156086"/>
                    <a:pt x="477006" y="166964"/>
                    <a:pt x="477006" y="180563"/>
                  </a:cubicBezTo>
                  <a:cubicBezTo>
                    <a:pt x="477006" y="196881"/>
                    <a:pt x="479725" y="215918"/>
                    <a:pt x="482445" y="232236"/>
                  </a:cubicBezTo>
                  <a:cubicBezTo>
                    <a:pt x="485165" y="248554"/>
                    <a:pt x="485165" y="267592"/>
                    <a:pt x="485165" y="283909"/>
                  </a:cubicBezTo>
                  <a:cubicBezTo>
                    <a:pt x="485165" y="297508"/>
                    <a:pt x="485165" y="313826"/>
                    <a:pt x="485165" y="327424"/>
                  </a:cubicBezTo>
                  <a:cubicBezTo>
                    <a:pt x="485165" y="343742"/>
                    <a:pt x="487884" y="357340"/>
                    <a:pt x="487884" y="373658"/>
                  </a:cubicBezTo>
                  <a:cubicBezTo>
                    <a:pt x="487884" y="389976"/>
                    <a:pt x="485165" y="403574"/>
                    <a:pt x="485165" y="419892"/>
                  </a:cubicBezTo>
                  <a:cubicBezTo>
                    <a:pt x="485165" y="436210"/>
                    <a:pt x="485165" y="449808"/>
                    <a:pt x="485165" y="463407"/>
                  </a:cubicBezTo>
                  <a:cubicBezTo>
                    <a:pt x="485165" y="479725"/>
                    <a:pt x="485165" y="498762"/>
                    <a:pt x="482445" y="515080"/>
                  </a:cubicBezTo>
                  <a:cubicBezTo>
                    <a:pt x="482445" y="528678"/>
                    <a:pt x="482445" y="542277"/>
                    <a:pt x="482445" y="558595"/>
                  </a:cubicBezTo>
                  <a:cubicBezTo>
                    <a:pt x="482445" y="572193"/>
                    <a:pt x="479725" y="588511"/>
                    <a:pt x="479725" y="602109"/>
                  </a:cubicBezTo>
                  <a:cubicBezTo>
                    <a:pt x="479725" y="615708"/>
                    <a:pt x="485165" y="632025"/>
                    <a:pt x="485165" y="648343"/>
                  </a:cubicBezTo>
                  <a:cubicBezTo>
                    <a:pt x="485165" y="659222"/>
                    <a:pt x="482445" y="670101"/>
                    <a:pt x="474286" y="675540"/>
                  </a:cubicBezTo>
                  <a:cubicBezTo>
                    <a:pt x="460688" y="686418"/>
                    <a:pt x="444370" y="691858"/>
                    <a:pt x="428052" y="691858"/>
                  </a:cubicBezTo>
                  <a:cubicBezTo>
                    <a:pt x="414453" y="691858"/>
                    <a:pt x="400855" y="689138"/>
                    <a:pt x="387257" y="683699"/>
                  </a:cubicBezTo>
                  <a:cubicBezTo>
                    <a:pt x="373659" y="678259"/>
                    <a:pt x="360060" y="672820"/>
                    <a:pt x="351901" y="664661"/>
                  </a:cubicBezTo>
                  <a:cubicBezTo>
                    <a:pt x="330144" y="645624"/>
                    <a:pt x="316546" y="621147"/>
                    <a:pt x="305667" y="596670"/>
                  </a:cubicBezTo>
                  <a:cubicBezTo>
                    <a:pt x="292069" y="569473"/>
                    <a:pt x="281190" y="539557"/>
                    <a:pt x="270312" y="509641"/>
                  </a:cubicBezTo>
                  <a:cubicBezTo>
                    <a:pt x="264872" y="493323"/>
                    <a:pt x="256713" y="477005"/>
                    <a:pt x="251274" y="460687"/>
                  </a:cubicBezTo>
                  <a:cubicBezTo>
                    <a:pt x="240395" y="433490"/>
                    <a:pt x="232236" y="409014"/>
                    <a:pt x="224077" y="381817"/>
                  </a:cubicBezTo>
                  <a:cubicBezTo>
                    <a:pt x="218638" y="365499"/>
                    <a:pt x="213199" y="346462"/>
                    <a:pt x="207759" y="330144"/>
                  </a:cubicBezTo>
                  <a:cubicBezTo>
                    <a:pt x="202320" y="316545"/>
                    <a:pt x="196881" y="300227"/>
                    <a:pt x="191442" y="286629"/>
                  </a:cubicBezTo>
                  <a:cubicBezTo>
                    <a:pt x="188722" y="281190"/>
                    <a:pt x="186002" y="278470"/>
                    <a:pt x="183283" y="278470"/>
                  </a:cubicBezTo>
                  <a:cubicBezTo>
                    <a:pt x="180563" y="278470"/>
                    <a:pt x="180563" y="286629"/>
                    <a:pt x="180563" y="292068"/>
                  </a:cubicBezTo>
                  <a:cubicBezTo>
                    <a:pt x="180563" y="297508"/>
                    <a:pt x="180563" y="302947"/>
                    <a:pt x="180563" y="305667"/>
                  </a:cubicBezTo>
                  <a:cubicBezTo>
                    <a:pt x="180563" y="321985"/>
                    <a:pt x="183283" y="338303"/>
                    <a:pt x="183283" y="354620"/>
                  </a:cubicBezTo>
                  <a:cubicBezTo>
                    <a:pt x="183283" y="387256"/>
                    <a:pt x="186002" y="417173"/>
                    <a:pt x="188722" y="449808"/>
                  </a:cubicBezTo>
                  <a:cubicBezTo>
                    <a:pt x="188722" y="460687"/>
                    <a:pt x="188722" y="468846"/>
                    <a:pt x="188722" y="479725"/>
                  </a:cubicBezTo>
                  <a:cubicBezTo>
                    <a:pt x="188722" y="501482"/>
                    <a:pt x="188722" y="523239"/>
                    <a:pt x="188722" y="542277"/>
                  </a:cubicBezTo>
                  <a:cubicBezTo>
                    <a:pt x="188722" y="566754"/>
                    <a:pt x="186002" y="591231"/>
                    <a:pt x="186002" y="615708"/>
                  </a:cubicBezTo>
                  <a:cubicBezTo>
                    <a:pt x="186002" y="623866"/>
                    <a:pt x="186002" y="632025"/>
                    <a:pt x="186002" y="637465"/>
                  </a:cubicBezTo>
                  <a:cubicBezTo>
                    <a:pt x="186002" y="645624"/>
                    <a:pt x="183283" y="656502"/>
                    <a:pt x="183283" y="664661"/>
                  </a:cubicBezTo>
                  <a:cubicBezTo>
                    <a:pt x="202320" y="664661"/>
                    <a:pt x="218638" y="664661"/>
                    <a:pt x="226797" y="664661"/>
                  </a:cubicBezTo>
                  <a:cubicBezTo>
                    <a:pt x="234956" y="664661"/>
                    <a:pt x="253994" y="664661"/>
                    <a:pt x="253994" y="680979"/>
                  </a:cubicBezTo>
                  <a:cubicBezTo>
                    <a:pt x="253994" y="689138"/>
                    <a:pt x="253994" y="691858"/>
                    <a:pt x="248554" y="697297"/>
                  </a:cubicBezTo>
                  <a:cubicBezTo>
                    <a:pt x="245835" y="702736"/>
                    <a:pt x="240395" y="705456"/>
                    <a:pt x="234956" y="705456"/>
                  </a:cubicBezTo>
                  <a:cubicBezTo>
                    <a:pt x="226797" y="708176"/>
                    <a:pt x="224077" y="708176"/>
                    <a:pt x="218638" y="708176"/>
                  </a:cubicBezTo>
                  <a:cubicBezTo>
                    <a:pt x="215918" y="708176"/>
                    <a:pt x="199600" y="708176"/>
                    <a:pt x="183283" y="708176"/>
                  </a:cubicBezTo>
                  <a:cubicBezTo>
                    <a:pt x="166965" y="708176"/>
                    <a:pt x="153366" y="708176"/>
                    <a:pt x="150647" y="708176"/>
                  </a:cubicBezTo>
                  <a:cubicBezTo>
                    <a:pt x="139768" y="708176"/>
                    <a:pt x="120730" y="708176"/>
                    <a:pt x="107132" y="708176"/>
                  </a:cubicBezTo>
                  <a:cubicBezTo>
                    <a:pt x="101693" y="708176"/>
                    <a:pt x="96254" y="708176"/>
                    <a:pt x="88094" y="708176"/>
                  </a:cubicBezTo>
                  <a:cubicBezTo>
                    <a:pt x="82655" y="708176"/>
                    <a:pt x="74496" y="708176"/>
                    <a:pt x="69057" y="702736"/>
                  </a:cubicBezTo>
                  <a:cubicBezTo>
                    <a:pt x="63617" y="700017"/>
                    <a:pt x="58178" y="691858"/>
                    <a:pt x="58178" y="686418"/>
                  </a:cubicBezTo>
                  <a:cubicBezTo>
                    <a:pt x="58178" y="683699"/>
                    <a:pt x="58178" y="680979"/>
                    <a:pt x="60898" y="678259"/>
                  </a:cubicBezTo>
                  <a:cubicBezTo>
                    <a:pt x="63617" y="675540"/>
                    <a:pt x="71777" y="672820"/>
                    <a:pt x="77216" y="670101"/>
                  </a:cubicBezTo>
                  <a:cubicBezTo>
                    <a:pt x="90814" y="667381"/>
                    <a:pt x="115291" y="664661"/>
                    <a:pt x="120730" y="664661"/>
                  </a:cubicBezTo>
                  <a:cubicBezTo>
                    <a:pt x="123450" y="664661"/>
                    <a:pt x="126170" y="664661"/>
                    <a:pt x="131609" y="664661"/>
                  </a:cubicBezTo>
                  <a:cubicBezTo>
                    <a:pt x="131609" y="623866"/>
                    <a:pt x="134329" y="583072"/>
                    <a:pt x="134329" y="539557"/>
                  </a:cubicBezTo>
                  <a:cubicBezTo>
                    <a:pt x="134329" y="528678"/>
                    <a:pt x="134329" y="515080"/>
                    <a:pt x="134329" y="504201"/>
                  </a:cubicBezTo>
                  <a:cubicBezTo>
                    <a:pt x="131609" y="460687"/>
                    <a:pt x="131609" y="417173"/>
                    <a:pt x="131609" y="376378"/>
                  </a:cubicBezTo>
                  <a:cubicBezTo>
                    <a:pt x="131609" y="351901"/>
                    <a:pt x="131609" y="327424"/>
                    <a:pt x="131609" y="302947"/>
                  </a:cubicBezTo>
                  <a:cubicBezTo>
                    <a:pt x="131609" y="275751"/>
                    <a:pt x="131609" y="248554"/>
                    <a:pt x="134329" y="221357"/>
                  </a:cubicBezTo>
                  <a:cubicBezTo>
                    <a:pt x="134329" y="188722"/>
                    <a:pt x="137048" y="156086"/>
                    <a:pt x="137048" y="123450"/>
                  </a:cubicBezTo>
                  <a:cubicBezTo>
                    <a:pt x="126170" y="123450"/>
                    <a:pt x="115291" y="123450"/>
                    <a:pt x="107132" y="123450"/>
                  </a:cubicBezTo>
                  <a:cubicBezTo>
                    <a:pt x="101693" y="123450"/>
                    <a:pt x="96254" y="123450"/>
                    <a:pt x="88094" y="123450"/>
                  </a:cubicBezTo>
                  <a:cubicBezTo>
                    <a:pt x="82655" y="123450"/>
                    <a:pt x="74496" y="120730"/>
                    <a:pt x="69057" y="118011"/>
                  </a:cubicBezTo>
                  <a:cubicBezTo>
                    <a:pt x="63617" y="115291"/>
                    <a:pt x="58178" y="107132"/>
                    <a:pt x="58178" y="101693"/>
                  </a:cubicBezTo>
                  <a:cubicBezTo>
                    <a:pt x="58178" y="98973"/>
                    <a:pt x="58178" y="96253"/>
                    <a:pt x="60898" y="93534"/>
                  </a:cubicBezTo>
                  <a:cubicBezTo>
                    <a:pt x="63617" y="90814"/>
                    <a:pt x="71777" y="88094"/>
                    <a:pt x="77216" y="85375"/>
                  </a:cubicBezTo>
                  <a:cubicBezTo>
                    <a:pt x="90814" y="82655"/>
                    <a:pt x="126170" y="79935"/>
                    <a:pt x="131609" y="79935"/>
                  </a:cubicBezTo>
                  <a:cubicBezTo>
                    <a:pt x="137048" y="79935"/>
                    <a:pt x="147927" y="79935"/>
                    <a:pt x="161525" y="79935"/>
                  </a:cubicBezTo>
                  <a:cubicBezTo>
                    <a:pt x="166965" y="74496"/>
                    <a:pt x="172404" y="71776"/>
                    <a:pt x="177843" y="66337"/>
                  </a:cubicBezTo>
                  <a:cubicBezTo>
                    <a:pt x="186002" y="60898"/>
                    <a:pt x="194161" y="58178"/>
                    <a:pt x="202320" y="58178"/>
                  </a:cubicBezTo>
                  <a:cubicBezTo>
                    <a:pt x="215918" y="58178"/>
                    <a:pt x="226797" y="63617"/>
                    <a:pt x="234956" y="77216"/>
                  </a:cubicBezTo>
                  <a:cubicBezTo>
                    <a:pt x="240395" y="88094"/>
                    <a:pt x="248554" y="96253"/>
                    <a:pt x="251274" y="107132"/>
                  </a:cubicBezTo>
                  <a:cubicBezTo>
                    <a:pt x="256713" y="120730"/>
                    <a:pt x="259433" y="134328"/>
                    <a:pt x="267592" y="147927"/>
                  </a:cubicBezTo>
                  <a:cubicBezTo>
                    <a:pt x="273031" y="158805"/>
                    <a:pt x="275751" y="172404"/>
                    <a:pt x="281190" y="183282"/>
                  </a:cubicBezTo>
                  <a:cubicBezTo>
                    <a:pt x="286630" y="196881"/>
                    <a:pt x="292069" y="210479"/>
                    <a:pt x="297508" y="224077"/>
                  </a:cubicBezTo>
                  <a:cubicBezTo>
                    <a:pt x="300228" y="237675"/>
                    <a:pt x="305667" y="251274"/>
                    <a:pt x="308387" y="264872"/>
                  </a:cubicBezTo>
                  <a:cubicBezTo>
                    <a:pt x="311106" y="278470"/>
                    <a:pt x="311106" y="289349"/>
                    <a:pt x="319265" y="300227"/>
                  </a:cubicBezTo>
                  <a:cubicBezTo>
                    <a:pt x="332864" y="324704"/>
                    <a:pt x="346462" y="351901"/>
                    <a:pt x="351901" y="379097"/>
                  </a:cubicBezTo>
                  <a:cubicBezTo>
                    <a:pt x="354621" y="392696"/>
                    <a:pt x="360060" y="403574"/>
                    <a:pt x="365500" y="417173"/>
                  </a:cubicBezTo>
                  <a:cubicBezTo>
                    <a:pt x="373659" y="430771"/>
                    <a:pt x="373659" y="444369"/>
                    <a:pt x="379098" y="457967"/>
                  </a:cubicBezTo>
                  <a:cubicBezTo>
                    <a:pt x="381818" y="471566"/>
                    <a:pt x="387257" y="482444"/>
                    <a:pt x="395416" y="496043"/>
                  </a:cubicBezTo>
                  <a:cubicBezTo>
                    <a:pt x="398136" y="501482"/>
                    <a:pt x="403575" y="506921"/>
                    <a:pt x="406294" y="512361"/>
                  </a:cubicBezTo>
                  <a:cubicBezTo>
                    <a:pt x="409014" y="517800"/>
                    <a:pt x="409014" y="525959"/>
                    <a:pt x="411734" y="531398"/>
                  </a:cubicBezTo>
                  <a:cubicBezTo>
                    <a:pt x="414453" y="539557"/>
                    <a:pt x="417173" y="550436"/>
                    <a:pt x="419893" y="558595"/>
                  </a:cubicBezTo>
                  <a:cubicBezTo>
                    <a:pt x="422613" y="561314"/>
                    <a:pt x="422613" y="564034"/>
                    <a:pt x="425332" y="564034"/>
                  </a:cubicBezTo>
                  <a:cubicBezTo>
                    <a:pt x="428052" y="564034"/>
                    <a:pt x="428052" y="561314"/>
                    <a:pt x="430771" y="558595"/>
                  </a:cubicBezTo>
                  <a:cubicBezTo>
                    <a:pt x="430771" y="555875"/>
                    <a:pt x="430771" y="553155"/>
                    <a:pt x="430771" y="550436"/>
                  </a:cubicBezTo>
                  <a:cubicBezTo>
                    <a:pt x="430771" y="534118"/>
                    <a:pt x="430771" y="517800"/>
                    <a:pt x="430771" y="501482"/>
                  </a:cubicBezTo>
                  <a:cubicBezTo>
                    <a:pt x="430771" y="468846"/>
                    <a:pt x="433491" y="436210"/>
                    <a:pt x="430771" y="403574"/>
                  </a:cubicBezTo>
                  <a:cubicBezTo>
                    <a:pt x="430771" y="373658"/>
                    <a:pt x="425332" y="343742"/>
                    <a:pt x="425332" y="313826"/>
                  </a:cubicBezTo>
                  <a:cubicBezTo>
                    <a:pt x="425332" y="292068"/>
                    <a:pt x="425332" y="270311"/>
                    <a:pt x="425332" y="248554"/>
                  </a:cubicBezTo>
                  <a:cubicBezTo>
                    <a:pt x="425332" y="234956"/>
                    <a:pt x="425332" y="224077"/>
                    <a:pt x="425332" y="210479"/>
                  </a:cubicBezTo>
                  <a:cubicBezTo>
                    <a:pt x="425332" y="191441"/>
                    <a:pt x="422613" y="172404"/>
                    <a:pt x="422613" y="153366"/>
                  </a:cubicBezTo>
                  <a:cubicBezTo>
                    <a:pt x="422613" y="142487"/>
                    <a:pt x="422613" y="134328"/>
                    <a:pt x="425332" y="123450"/>
                  </a:cubicBezTo>
                  <a:cubicBezTo>
                    <a:pt x="417173" y="123450"/>
                    <a:pt x="406294" y="123450"/>
                    <a:pt x="398136" y="123450"/>
                  </a:cubicBezTo>
                  <a:cubicBezTo>
                    <a:pt x="392696" y="123450"/>
                    <a:pt x="387257" y="123450"/>
                    <a:pt x="379098" y="123450"/>
                  </a:cubicBezTo>
                  <a:cubicBezTo>
                    <a:pt x="373659" y="123450"/>
                    <a:pt x="365500" y="120730"/>
                    <a:pt x="360060" y="118011"/>
                  </a:cubicBezTo>
                  <a:cubicBezTo>
                    <a:pt x="354621" y="115291"/>
                    <a:pt x="349182" y="107132"/>
                    <a:pt x="349182" y="101693"/>
                  </a:cubicBezTo>
                  <a:cubicBezTo>
                    <a:pt x="349182" y="98973"/>
                    <a:pt x="349182" y="96253"/>
                    <a:pt x="351901" y="93534"/>
                  </a:cubicBezTo>
                  <a:cubicBezTo>
                    <a:pt x="354621" y="90814"/>
                    <a:pt x="362780" y="88094"/>
                    <a:pt x="368219" y="85375"/>
                  </a:cubicBezTo>
                  <a:cubicBezTo>
                    <a:pt x="381818" y="82655"/>
                    <a:pt x="417173" y="79935"/>
                    <a:pt x="422613" y="79935"/>
                  </a:cubicBezTo>
                  <a:cubicBezTo>
                    <a:pt x="428052" y="79935"/>
                    <a:pt x="433491" y="79935"/>
                    <a:pt x="444370" y="79935"/>
                  </a:cubicBezTo>
                  <a:cubicBezTo>
                    <a:pt x="449809" y="74496"/>
                    <a:pt x="455248" y="71776"/>
                    <a:pt x="463407" y="71776"/>
                  </a:cubicBezTo>
                  <a:cubicBezTo>
                    <a:pt x="471566" y="71776"/>
                    <a:pt x="477006" y="74496"/>
                    <a:pt x="477006" y="79935"/>
                  </a:cubicBezTo>
                  <a:cubicBezTo>
                    <a:pt x="493324" y="79935"/>
                    <a:pt x="506922" y="79935"/>
                    <a:pt x="515081" y="79935"/>
                  </a:cubicBezTo>
                  <a:lnTo>
                    <a:pt x="515081" y="79935"/>
                  </a:ln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/>
            </a:p>
          </p:txBody>
        </p:sp>
        <p:sp>
          <p:nvSpPr>
            <p:cNvPr id="44" name="Freeform: Shape 43">
              <a:extLst>
                <a:ext uri="{FF2B5EF4-FFF2-40B4-BE49-F238E27FC236}">
                  <a16:creationId xmlns:a16="http://schemas.microsoft.com/office/drawing/2014/main" id="{558B1006-CC1F-40DD-BD7B-99C832704287}"/>
                </a:ext>
              </a:extLst>
            </p:cNvPr>
            <p:cNvSpPr/>
            <p:nvPr/>
          </p:nvSpPr>
          <p:spPr>
            <a:xfrm>
              <a:off x="5139126" y="4192158"/>
              <a:ext cx="516735" cy="788700"/>
            </a:xfrm>
            <a:custGeom>
              <a:avLst/>
              <a:gdLst>
                <a:gd name="connsiteX0" fmla="*/ 464616 w 516735"/>
                <a:gd name="connsiteY0" fmla="*/ 436210 h 788699"/>
                <a:gd name="connsiteX1" fmla="*/ 445578 w 516735"/>
                <a:gd name="connsiteY1" fmla="*/ 455248 h 788699"/>
                <a:gd name="connsiteX2" fmla="*/ 404784 w 516735"/>
                <a:gd name="connsiteY2" fmla="*/ 466126 h 788699"/>
                <a:gd name="connsiteX3" fmla="*/ 385746 w 516735"/>
                <a:gd name="connsiteY3" fmla="*/ 479725 h 788699"/>
                <a:gd name="connsiteX4" fmla="*/ 388466 w 516735"/>
                <a:gd name="connsiteY4" fmla="*/ 512361 h 788699"/>
                <a:gd name="connsiteX5" fmla="*/ 388466 w 516735"/>
                <a:gd name="connsiteY5" fmla="*/ 544997 h 788699"/>
                <a:gd name="connsiteX6" fmla="*/ 388466 w 516735"/>
                <a:gd name="connsiteY6" fmla="*/ 566754 h 788699"/>
                <a:gd name="connsiteX7" fmla="*/ 391185 w 516735"/>
                <a:gd name="connsiteY7" fmla="*/ 632026 h 788699"/>
                <a:gd name="connsiteX8" fmla="*/ 393905 w 516735"/>
                <a:gd name="connsiteY8" fmla="*/ 683699 h 788699"/>
                <a:gd name="connsiteX9" fmla="*/ 377587 w 516735"/>
                <a:gd name="connsiteY9" fmla="*/ 724494 h 788699"/>
                <a:gd name="connsiteX10" fmla="*/ 361269 w 516735"/>
                <a:gd name="connsiteY10" fmla="*/ 719054 h 788699"/>
                <a:gd name="connsiteX11" fmla="*/ 353110 w 516735"/>
                <a:gd name="connsiteY11" fmla="*/ 702737 h 788699"/>
                <a:gd name="connsiteX12" fmla="*/ 350390 w 516735"/>
                <a:gd name="connsiteY12" fmla="*/ 686419 h 788699"/>
                <a:gd name="connsiteX13" fmla="*/ 353110 w 516735"/>
                <a:gd name="connsiteY13" fmla="*/ 659222 h 788699"/>
                <a:gd name="connsiteX14" fmla="*/ 353110 w 516735"/>
                <a:gd name="connsiteY14" fmla="*/ 656502 h 788699"/>
                <a:gd name="connsiteX15" fmla="*/ 317755 w 516735"/>
                <a:gd name="connsiteY15" fmla="*/ 708176 h 788699"/>
                <a:gd name="connsiteX16" fmla="*/ 241604 w 516735"/>
                <a:gd name="connsiteY16" fmla="*/ 735372 h 788699"/>
                <a:gd name="connsiteX17" fmla="*/ 187211 w 516735"/>
                <a:gd name="connsiteY17" fmla="*/ 727214 h 788699"/>
                <a:gd name="connsiteX18" fmla="*/ 135538 w 516735"/>
                <a:gd name="connsiteY18" fmla="*/ 694578 h 788699"/>
                <a:gd name="connsiteX19" fmla="*/ 86584 w 516735"/>
                <a:gd name="connsiteY19" fmla="*/ 621147 h 788699"/>
                <a:gd name="connsiteX20" fmla="*/ 67546 w 516735"/>
                <a:gd name="connsiteY20" fmla="*/ 555875 h 788699"/>
                <a:gd name="connsiteX21" fmla="*/ 59387 w 516735"/>
                <a:gd name="connsiteY21" fmla="*/ 509641 h 788699"/>
                <a:gd name="connsiteX22" fmla="*/ 59387 w 516735"/>
                <a:gd name="connsiteY22" fmla="*/ 468846 h 788699"/>
                <a:gd name="connsiteX23" fmla="*/ 86584 w 516735"/>
                <a:gd name="connsiteY23" fmla="*/ 302947 h 788699"/>
                <a:gd name="connsiteX24" fmla="*/ 108341 w 516735"/>
                <a:gd name="connsiteY24" fmla="*/ 224077 h 788699"/>
                <a:gd name="connsiteX25" fmla="*/ 146416 w 516735"/>
                <a:gd name="connsiteY25" fmla="*/ 145207 h 788699"/>
                <a:gd name="connsiteX26" fmla="*/ 198090 w 516735"/>
                <a:gd name="connsiteY26" fmla="*/ 85375 h 788699"/>
                <a:gd name="connsiteX27" fmla="*/ 228006 w 516735"/>
                <a:gd name="connsiteY27" fmla="*/ 69057 h 788699"/>
                <a:gd name="connsiteX28" fmla="*/ 268801 w 516735"/>
                <a:gd name="connsiteY28" fmla="*/ 58178 h 788699"/>
                <a:gd name="connsiteX29" fmla="*/ 274240 w 516735"/>
                <a:gd name="connsiteY29" fmla="*/ 58178 h 788699"/>
                <a:gd name="connsiteX30" fmla="*/ 295997 w 516735"/>
                <a:gd name="connsiteY30" fmla="*/ 60898 h 788699"/>
                <a:gd name="connsiteX31" fmla="*/ 331353 w 516735"/>
                <a:gd name="connsiteY31" fmla="*/ 71776 h 788699"/>
                <a:gd name="connsiteX32" fmla="*/ 350390 w 516735"/>
                <a:gd name="connsiteY32" fmla="*/ 93534 h 788699"/>
                <a:gd name="connsiteX33" fmla="*/ 353110 w 516735"/>
                <a:gd name="connsiteY33" fmla="*/ 74496 h 788699"/>
                <a:gd name="connsiteX34" fmla="*/ 358549 w 516735"/>
                <a:gd name="connsiteY34" fmla="*/ 63618 h 788699"/>
                <a:gd name="connsiteX35" fmla="*/ 366708 w 516735"/>
                <a:gd name="connsiteY35" fmla="*/ 58178 h 788699"/>
                <a:gd name="connsiteX36" fmla="*/ 374867 w 516735"/>
                <a:gd name="connsiteY36" fmla="*/ 63618 h 788699"/>
                <a:gd name="connsiteX37" fmla="*/ 383026 w 516735"/>
                <a:gd name="connsiteY37" fmla="*/ 82655 h 788699"/>
                <a:gd name="connsiteX38" fmla="*/ 385746 w 516735"/>
                <a:gd name="connsiteY38" fmla="*/ 126170 h 788699"/>
                <a:gd name="connsiteX39" fmla="*/ 388466 w 516735"/>
                <a:gd name="connsiteY39" fmla="*/ 186002 h 788699"/>
                <a:gd name="connsiteX40" fmla="*/ 391185 w 516735"/>
                <a:gd name="connsiteY40" fmla="*/ 237676 h 788699"/>
                <a:gd name="connsiteX41" fmla="*/ 374867 w 516735"/>
                <a:gd name="connsiteY41" fmla="*/ 278470 h 788699"/>
                <a:gd name="connsiteX42" fmla="*/ 358549 w 516735"/>
                <a:gd name="connsiteY42" fmla="*/ 273031 h 788699"/>
                <a:gd name="connsiteX43" fmla="*/ 350390 w 516735"/>
                <a:gd name="connsiteY43" fmla="*/ 256713 h 788699"/>
                <a:gd name="connsiteX44" fmla="*/ 347671 w 516735"/>
                <a:gd name="connsiteY44" fmla="*/ 240395 h 788699"/>
                <a:gd name="connsiteX45" fmla="*/ 347671 w 516735"/>
                <a:gd name="connsiteY45" fmla="*/ 213199 h 788699"/>
                <a:gd name="connsiteX46" fmla="*/ 344951 w 516735"/>
                <a:gd name="connsiteY46" fmla="*/ 194161 h 788699"/>
                <a:gd name="connsiteX47" fmla="*/ 339512 w 516735"/>
                <a:gd name="connsiteY47" fmla="*/ 150647 h 788699"/>
                <a:gd name="connsiteX48" fmla="*/ 323194 w 516735"/>
                <a:gd name="connsiteY48" fmla="*/ 112571 h 788699"/>
                <a:gd name="connsiteX49" fmla="*/ 293278 w 516735"/>
                <a:gd name="connsiteY49" fmla="*/ 101693 h 788699"/>
                <a:gd name="connsiteX50" fmla="*/ 263361 w 516735"/>
                <a:gd name="connsiteY50" fmla="*/ 120730 h 788699"/>
                <a:gd name="connsiteX51" fmla="*/ 241604 w 516735"/>
                <a:gd name="connsiteY51" fmla="*/ 153366 h 788699"/>
                <a:gd name="connsiteX52" fmla="*/ 233445 w 516735"/>
                <a:gd name="connsiteY52" fmla="*/ 194161 h 788699"/>
                <a:gd name="connsiteX53" fmla="*/ 225286 w 516735"/>
                <a:gd name="connsiteY53" fmla="*/ 232236 h 788699"/>
                <a:gd name="connsiteX54" fmla="*/ 217127 w 516735"/>
                <a:gd name="connsiteY54" fmla="*/ 275751 h 788699"/>
                <a:gd name="connsiteX55" fmla="*/ 211688 w 516735"/>
                <a:gd name="connsiteY55" fmla="*/ 316545 h 788699"/>
                <a:gd name="connsiteX56" fmla="*/ 206249 w 516735"/>
                <a:gd name="connsiteY56" fmla="*/ 354621 h 788699"/>
                <a:gd name="connsiteX57" fmla="*/ 200809 w 516735"/>
                <a:gd name="connsiteY57" fmla="*/ 398135 h 788699"/>
                <a:gd name="connsiteX58" fmla="*/ 195370 w 516735"/>
                <a:gd name="connsiteY58" fmla="*/ 438930 h 788699"/>
                <a:gd name="connsiteX59" fmla="*/ 192650 w 516735"/>
                <a:gd name="connsiteY59" fmla="*/ 474286 h 788699"/>
                <a:gd name="connsiteX60" fmla="*/ 195370 w 516735"/>
                <a:gd name="connsiteY60" fmla="*/ 525959 h 788699"/>
                <a:gd name="connsiteX61" fmla="*/ 208968 w 516735"/>
                <a:gd name="connsiteY61" fmla="*/ 596670 h 788699"/>
                <a:gd name="connsiteX62" fmla="*/ 214407 w 516735"/>
                <a:gd name="connsiteY62" fmla="*/ 623867 h 788699"/>
                <a:gd name="connsiteX63" fmla="*/ 228006 w 516735"/>
                <a:gd name="connsiteY63" fmla="*/ 656502 h 788699"/>
                <a:gd name="connsiteX64" fmla="*/ 271520 w 516735"/>
                <a:gd name="connsiteY64" fmla="*/ 689138 h 788699"/>
                <a:gd name="connsiteX65" fmla="*/ 306876 w 516735"/>
                <a:gd name="connsiteY65" fmla="*/ 664661 h 788699"/>
                <a:gd name="connsiteX66" fmla="*/ 331353 w 516735"/>
                <a:gd name="connsiteY66" fmla="*/ 602109 h 788699"/>
                <a:gd name="connsiteX67" fmla="*/ 336792 w 516735"/>
                <a:gd name="connsiteY67" fmla="*/ 544997 h 788699"/>
                <a:gd name="connsiteX68" fmla="*/ 336792 w 516735"/>
                <a:gd name="connsiteY68" fmla="*/ 498762 h 788699"/>
                <a:gd name="connsiteX69" fmla="*/ 336792 w 516735"/>
                <a:gd name="connsiteY69" fmla="*/ 490603 h 788699"/>
                <a:gd name="connsiteX70" fmla="*/ 320474 w 516735"/>
                <a:gd name="connsiteY70" fmla="*/ 477005 h 788699"/>
                <a:gd name="connsiteX71" fmla="*/ 282399 w 516735"/>
                <a:gd name="connsiteY71" fmla="*/ 479725 h 788699"/>
                <a:gd name="connsiteX72" fmla="*/ 252483 w 516735"/>
                <a:gd name="connsiteY72" fmla="*/ 474286 h 788699"/>
                <a:gd name="connsiteX73" fmla="*/ 247043 w 516735"/>
                <a:gd name="connsiteY73" fmla="*/ 466126 h 788699"/>
                <a:gd name="connsiteX74" fmla="*/ 249763 w 516735"/>
                <a:gd name="connsiteY74" fmla="*/ 457968 h 788699"/>
                <a:gd name="connsiteX75" fmla="*/ 268801 w 516735"/>
                <a:gd name="connsiteY75" fmla="*/ 447089 h 788699"/>
                <a:gd name="connsiteX76" fmla="*/ 312315 w 516735"/>
                <a:gd name="connsiteY76" fmla="*/ 436210 h 788699"/>
                <a:gd name="connsiteX77" fmla="*/ 353110 w 516735"/>
                <a:gd name="connsiteY77" fmla="*/ 430771 h 788699"/>
                <a:gd name="connsiteX78" fmla="*/ 385746 w 516735"/>
                <a:gd name="connsiteY78" fmla="*/ 430771 h 788699"/>
                <a:gd name="connsiteX79" fmla="*/ 437420 w 516735"/>
                <a:gd name="connsiteY79" fmla="*/ 428051 h 788699"/>
                <a:gd name="connsiteX80" fmla="*/ 464616 w 516735"/>
                <a:gd name="connsiteY80" fmla="*/ 436210 h 7886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</a:cxnLst>
              <a:rect l="l" t="t" r="r" b="b"/>
              <a:pathLst>
                <a:path w="516735" h="788699">
                  <a:moveTo>
                    <a:pt x="464616" y="436210"/>
                  </a:moveTo>
                  <a:cubicBezTo>
                    <a:pt x="464616" y="447089"/>
                    <a:pt x="453737" y="452528"/>
                    <a:pt x="445578" y="455248"/>
                  </a:cubicBezTo>
                  <a:cubicBezTo>
                    <a:pt x="434700" y="460687"/>
                    <a:pt x="415662" y="463407"/>
                    <a:pt x="404784" y="466126"/>
                  </a:cubicBezTo>
                  <a:cubicBezTo>
                    <a:pt x="393905" y="466126"/>
                    <a:pt x="385746" y="468846"/>
                    <a:pt x="385746" y="479725"/>
                  </a:cubicBezTo>
                  <a:cubicBezTo>
                    <a:pt x="385746" y="487884"/>
                    <a:pt x="388466" y="506921"/>
                    <a:pt x="388466" y="512361"/>
                  </a:cubicBezTo>
                  <a:cubicBezTo>
                    <a:pt x="388466" y="515080"/>
                    <a:pt x="388466" y="539557"/>
                    <a:pt x="388466" y="544997"/>
                  </a:cubicBezTo>
                  <a:cubicBezTo>
                    <a:pt x="388466" y="550436"/>
                    <a:pt x="388466" y="558595"/>
                    <a:pt x="388466" y="566754"/>
                  </a:cubicBezTo>
                  <a:cubicBezTo>
                    <a:pt x="388466" y="591231"/>
                    <a:pt x="388466" y="621147"/>
                    <a:pt x="391185" y="632026"/>
                  </a:cubicBezTo>
                  <a:cubicBezTo>
                    <a:pt x="393905" y="653783"/>
                    <a:pt x="393905" y="661942"/>
                    <a:pt x="393905" y="683699"/>
                  </a:cubicBezTo>
                  <a:cubicBezTo>
                    <a:pt x="393905" y="694578"/>
                    <a:pt x="393905" y="724494"/>
                    <a:pt x="377587" y="724494"/>
                  </a:cubicBezTo>
                  <a:cubicBezTo>
                    <a:pt x="369428" y="724494"/>
                    <a:pt x="366708" y="721774"/>
                    <a:pt x="361269" y="719054"/>
                  </a:cubicBezTo>
                  <a:cubicBezTo>
                    <a:pt x="355830" y="716335"/>
                    <a:pt x="353110" y="708176"/>
                    <a:pt x="353110" y="702737"/>
                  </a:cubicBezTo>
                  <a:cubicBezTo>
                    <a:pt x="350390" y="694578"/>
                    <a:pt x="350390" y="689138"/>
                    <a:pt x="350390" y="686419"/>
                  </a:cubicBezTo>
                  <a:cubicBezTo>
                    <a:pt x="350390" y="678260"/>
                    <a:pt x="353110" y="672820"/>
                    <a:pt x="353110" y="659222"/>
                  </a:cubicBezTo>
                  <a:lnTo>
                    <a:pt x="353110" y="656502"/>
                  </a:lnTo>
                  <a:cubicBezTo>
                    <a:pt x="347671" y="675540"/>
                    <a:pt x="334072" y="694578"/>
                    <a:pt x="317755" y="708176"/>
                  </a:cubicBezTo>
                  <a:cubicBezTo>
                    <a:pt x="293278" y="727214"/>
                    <a:pt x="274240" y="735372"/>
                    <a:pt x="241604" y="735372"/>
                  </a:cubicBezTo>
                  <a:cubicBezTo>
                    <a:pt x="222566" y="735372"/>
                    <a:pt x="203529" y="732653"/>
                    <a:pt x="187211" y="727214"/>
                  </a:cubicBezTo>
                  <a:cubicBezTo>
                    <a:pt x="165454" y="719054"/>
                    <a:pt x="149136" y="708176"/>
                    <a:pt x="135538" y="694578"/>
                  </a:cubicBezTo>
                  <a:cubicBezTo>
                    <a:pt x="113780" y="672820"/>
                    <a:pt x="100182" y="648343"/>
                    <a:pt x="86584" y="621147"/>
                  </a:cubicBezTo>
                  <a:cubicBezTo>
                    <a:pt x="75705" y="599390"/>
                    <a:pt x="70266" y="580352"/>
                    <a:pt x="67546" y="555875"/>
                  </a:cubicBezTo>
                  <a:cubicBezTo>
                    <a:pt x="64826" y="539557"/>
                    <a:pt x="62107" y="525959"/>
                    <a:pt x="59387" y="509641"/>
                  </a:cubicBezTo>
                  <a:cubicBezTo>
                    <a:pt x="56667" y="493323"/>
                    <a:pt x="59387" y="485164"/>
                    <a:pt x="59387" y="468846"/>
                  </a:cubicBezTo>
                  <a:cubicBezTo>
                    <a:pt x="59387" y="414453"/>
                    <a:pt x="72985" y="362780"/>
                    <a:pt x="86584" y="302947"/>
                  </a:cubicBezTo>
                  <a:cubicBezTo>
                    <a:pt x="92023" y="275751"/>
                    <a:pt x="100182" y="248554"/>
                    <a:pt x="108341" y="224077"/>
                  </a:cubicBezTo>
                  <a:cubicBezTo>
                    <a:pt x="116500" y="196881"/>
                    <a:pt x="130098" y="169684"/>
                    <a:pt x="146416" y="145207"/>
                  </a:cubicBezTo>
                  <a:cubicBezTo>
                    <a:pt x="160014" y="123450"/>
                    <a:pt x="176332" y="101693"/>
                    <a:pt x="198090" y="85375"/>
                  </a:cubicBezTo>
                  <a:cubicBezTo>
                    <a:pt x="206249" y="77216"/>
                    <a:pt x="217127" y="71776"/>
                    <a:pt x="228006" y="69057"/>
                  </a:cubicBezTo>
                  <a:cubicBezTo>
                    <a:pt x="241604" y="63618"/>
                    <a:pt x="255202" y="58178"/>
                    <a:pt x="268801" y="58178"/>
                  </a:cubicBezTo>
                  <a:cubicBezTo>
                    <a:pt x="271520" y="58178"/>
                    <a:pt x="274240" y="58178"/>
                    <a:pt x="274240" y="58178"/>
                  </a:cubicBezTo>
                  <a:cubicBezTo>
                    <a:pt x="279679" y="58178"/>
                    <a:pt x="285119" y="58178"/>
                    <a:pt x="295997" y="60898"/>
                  </a:cubicBezTo>
                  <a:cubicBezTo>
                    <a:pt x="309595" y="63618"/>
                    <a:pt x="320474" y="66337"/>
                    <a:pt x="331353" y="71776"/>
                  </a:cubicBezTo>
                  <a:cubicBezTo>
                    <a:pt x="339512" y="77216"/>
                    <a:pt x="347671" y="85375"/>
                    <a:pt x="350390" y="93534"/>
                  </a:cubicBezTo>
                  <a:cubicBezTo>
                    <a:pt x="350390" y="88095"/>
                    <a:pt x="353110" y="79936"/>
                    <a:pt x="353110" y="74496"/>
                  </a:cubicBezTo>
                  <a:cubicBezTo>
                    <a:pt x="355830" y="71776"/>
                    <a:pt x="355830" y="69057"/>
                    <a:pt x="358549" y="63618"/>
                  </a:cubicBezTo>
                  <a:cubicBezTo>
                    <a:pt x="361269" y="60898"/>
                    <a:pt x="363989" y="58178"/>
                    <a:pt x="366708" y="58178"/>
                  </a:cubicBezTo>
                  <a:cubicBezTo>
                    <a:pt x="369428" y="58178"/>
                    <a:pt x="372148" y="60898"/>
                    <a:pt x="374867" y="63618"/>
                  </a:cubicBezTo>
                  <a:cubicBezTo>
                    <a:pt x="377587" y="69057"/>
                    <a:pt x="380307" y="77216"/>
                    <a:pt x="383026" y="82655"/>
                  </a:cubicBezTo>
                  <a:cubicBezTo>
                    <a:pt x="383026" y="90814"/>
                    <a:pt x="385746" y="107132"/>
                    <a:pt x="385746" y="126170"/>
                  </a:cubicBezTo>
                  <a:cubicBezTo>
                    <a:pt x="385746" y="150647"/>
                    <a:pt x="385746" y="177843"/>
                    <a:pt x="388466" y="186002"/>
                  </a:cubicBezTo>
                  <a:cubicBezTo>
                    <a:pt x="391185" y="207759"/>
                    <a:pt x="391185" y="215918"/>
                    <a:pt x="391185" y="237676"/>
                  </a:cubicBezTo>
                  <a:cubicBezTo>
                    <a:pt x="391185" y="248554"/>
                    <a:pt x="391185" y="278470"/>
                    <a:pt x="374867" y="278470"/>
                  </a:cubicBezTo>
                  <a:cubicBezTo>
                    <a:pt x="366708" y="278470"/>
                    <a:pt x="363989" y="275751"/>
                    <a:pt x="358549" y="273031"/>
                  </a:cubicBezTo>
                  <a:cubicBezTo>
                    <a:pt x="353110" y="270311"/>
                    <a:pt x="350390" y="262152"/>
                    <a:pt x="350390" y="256713"/>
                  </a:cubicBezTo>
                  <a:cubicBezTo>
                    <a:pt x="350390" y="251274"/>
                    <a:pt x="347671" y="245834"/>
                    <a:pt x="347671" y="240395"/>
                  </a:cubicBezTo>
                  <a:cubicBezTo>
                    <a:pt x="347671" y="232236"/>
                    <a:pt x="347671" y="224077"/>
                    <a:pt x="347671" y="213199"/>
                  </a:cubicBezTo>
                  <a:cubicBezTo>
                    <a:pt x="347671" y="207759"/>
                    <a:pt x="347671" y="199600"/>
                    <a:pt x="344951" y="194161"/>
                  </a:cubicBezTo>
                  <a:cubicBezTo>
                    <a:pt x="342232" y="180563"/>
                    <a:pt x="342232" y="164245"/>
                    <a:pt x="339512" y="150647"/>
                  </a:cubicBezTo>
                  <a:cubicBezTo>
                    <a:pt x="336792" y="137048"/>
                    <a:pt x="331353" y="123450"/>
                    <a:pt x="323194" y="112571"/>
                  </a:cubicBezTo>
                  <a:cubicBezTo>
                    <a:pt x="317755" y="104412"/>
                    <a:pt x="304156" y="101693"/>
                    <a:pt x="293278" y="101693"/>
                  </a:cubicBezTo>
                  <a:cubicBezTo>
                    <a:pt x="279679" y="101693"/>
                    <a:pt x="271520" y="109852"/>
                    <a:pt x="263361" y="120730"/>
                  </a:cubicBezTo>
                  <a:cubicBezTo>
                    <a:pt x="257922" y="131609"/>
                    <a:pt x="247043" y="139768"/>
                    <a:pt x="241604" y="153366"/>
                  </a:cubicBezTo>
                  <a:cubicBezTo>
                    <a:pt x="236165" y="166964"/>
                    <a:pt x="233445" y="180563"/>
                    <a:pt x="233445" y="194161"/>
                  </a:cubicBezTo>
                  <a:cubicBezTo>
                    <a:pt x="233445" y="207759"/>
                    <a:pt x="230726" y="218638"/>
                    <a:pt x="225286" y="232236"/>
                  </a:cubicBezTo>
                  <a:cubicBezTo>
                    <a:pt x="219847" y="245834"/>
                    <a:pt x="219847" y="262152"/>
                    <a:pt x="217127" y="275751"/>
                  </a:cubicBezTo>
                  <a:cubicBezTo>
                    <a:pt x="214407" y="289349"/>
                    <a:pt x="214407" y="302947"/>
                    <a:pt x="211688" y="316545"/>
                  </a:cubicBezTo>
                  <a:cubicBezTo>
                    <a:pt x="211688" y="330144"/>
                    <a:pt x="206249" y="341022"/>
                    <a:pt x="206249" y="354621"/>
                  </a:cubicBezTo>
                  <a:cubicBezTo>
                    <a:pt x="203529" y="368219"/>
                    <a:pt x="203529" y="381817"/>
                    <a:pt x="200809" y="398135"/>
                  </a:cubicBezTo>
                  <a:cubicBezTo>
                    <a:pt x="198090" y="411733"/>
                    <a:pt x="198090" y="425332"/>
                    <a:pt x="195370" y="438930"/>
                  </a:cubicBezTo>
                  <a:cubicBezTo>
                    <a:pt x="195370" y="449809"/>
                    <a:pt x="192650" y="463407"/>
                    <a:pt x="192650" y="474286"/>
                  </a:cubicBezTo>
                  <a:cubicBezTo>
                    <a:pt x="192650" y="490603"/>
                    <a:pt x="195370" y="509641"/>
                    <a:pt x="195370" y="525959"/>
                  </a:cubicBezTo>
                  <a:cubicBezTo>
                    <a:pt x="195370" y="550436"/>
                    <a:pt x="203529" y="572193"/>
                    <a:pt x="208968" y="596670"/>
                  </a:cubicBezTo>
                  <a:cubicBezTo>
                    <a:pt x="211688" y="604829"/>
                    <a:pt x="211688" y="615708"/>
                    <a:pt x="214407" y="623867"/>
                  </a:cubicBezTo>
                  <a:cubicBezTo>
                    <a:pt x="217127" y="634745"/>
                    <a:pt x="222566" y="645624"/>
                    <a:pt x="228006" y="656502"/>
                  </a:cubicBezTo>
                  <a:cubicBezTo>
                    <a:pt x="236165" y="670101"/>
                    <a:pt x="252483" y="689138"/>
                    <a:pt x="271520" y="689138"/>
                  </a:cubicBezTo>
                  <a:cubicBezTo>
                    <a:pt x="287838" y="689138"/>
                    <a:pt x="298717" y="675540"/>
                    <a:pt x="306876" y="664661"/>
                  </a:cubicBezTo>
                  <a:cubicBezTo>
                    <a:pt x="320474" y="645624"/>
                    <a:pt x="325914" y="623867"/>
                    <a:pt x="331353" y="602109"/>
                  </a:cubicBezTo>
                  <a:cubicBezTo>
                    <a:pt x="334072" y="583072"/>
                    <a:pt x="336792" y="564034"/>
                    <a:pt x="336792" y="544997"/>
                  </a:cubicBezTo>
                  <a:cubicBezTo>
                    <a:pt x="336792" y="531398"/>
                    <a:pt x="336792" y="512361"/>
                    <a:pt x="336792" y="498762"/>
                  </a:cubicBezTo>
                  <a:cubicBezTo>
                    <a:pt x="336792" y="496043"/>
                    <a:pt x="336792" y="493323"/>
                    <a:pt x="336792" y="490603"/>
                  </a:cubicBezTo>
                  <a:cubicBezTo>
                    <a:pt x="336792" y="479725"/>
                    <a:pt x="336792" y="477005"/>
                    <a:pt x="320474" y="477005"/>
                  </a:cubicBezTo>
                  <a:cubicBezTo>
                    <a:pt x="309595" y="477005"/>
                    <a:pt x="295997" y="479725"/>
                    <a:pt x="282399" y="479725"/>
                  </a:cubicBezTo>
                  <a:cubicBezTo>
                    <a:pt x="271520" y="479725"/>
                    <a:pt x="260642" y="479725"/>
                    <a:pt x="252483" y="474286"/>
                  </a:cubicBezTo>
                  <a:cubicBezTo>
                    <a:pt x="249763" y="471566"/>
                    <a:pt x="247043" y="468846"/>
                    <a:pt x="247043" y="466126"/>
                  </a:cubicBezTo>
                  <a:cubicBezTo>
                    <a:pt x="247043" y="463407"/>
                    <a:pt x="247043" y="460687"/>
                    <a:pt x="249763" y="457968"/>
                  </a:cubicBezTo>
                  <a:cubicBezTo>
                    <a:pt x="255202" y="452528"/>
                    <a:pt x="260642" y="449809"/>
                    <a:pt x="268801" y="447089"/>
                  </a:cubicBezTo>
                  <a:cubicBezTo>
                    <a:pt x="282399" y="441650"/>
                    <a:pt x="295997" y="438930"/>
                    <a:pt x="312315" y="436210"/>
                  </a:cubicBezTo>
                  <a:cubicBezTo>
                    <a:pt x="325914" y="433491"/>
                    <a:pt x="339512" y="433491"/>
                    <a:pt x="353110" y="430771"/>
                  </a:cubicBezTo>
                  <a:cubicBezTo>
                    <a:pt x="363989" y="430771"/>
                    <a:pt x="374867" y="430771"/>
                    <a:pt x="385746" y="430771"/>
                  </a:cubicBezTo>
                  <a:cubicBezTo>
                    <a:pt x="402064" y="430771"/>
                    <a:pt x="426541" y="428051"/>
                    <a:pt x="437420" y="428051"/>
                  </a:cubicBezTo>
                  <a:cubicBezTo>
                    <a:pt x="451018" y="419892"/>
                    <a:pt x="464616" y="425332"/>
                    <a:pt x="464616" y="436210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/>
            </a:p>
          </p:txBody>
        </p:sp>
        <p:sp>
          <p:nvSpPr>
            <p:cNvPr id="45" name="Freeform: Shape 44">
              <a:extLst>
                <a:ext uri="{FF2B5EF4-FFF2-40B4-BE49-F238E27FC236}">
                  <a16:creationId xmlns:a16="http://schemas.microsoft.com/office/drawing/2014/main" id="{E3A64DEA-4098-4ADC-9CD1-9687FE43DC93}"/>
                </a:ext>
              </a:extLst>
            </p:cNvPr>
            <p:cNvSpPr/>
            <p:nvPr/>
          </p:nvSpPr>
          <p:spPr>
            <a:xfrm>
              <a:off x="5651630" y="4181279"/>
              <a:ext cx="734308" cy="788700"/>
            </a:xfrm>
            <a:custGeom>
              <a:avLst/>
              <a:gdLst>
                <a:gd name="connsiteX0" fmla="*/ 653783 w 734307"/>
                <a:gd name="connsiteY0" fmla="*/ 678259 h 788699"/>
                <a:gd name="connsiteX1" fmla="*/ 691859 w 734307"/>
                <a:gd name="connsiteY1" fmla="*/ 694577 h 788699"/>
                <a:gd name="connsiteX2" fmla="*/ 686419 w 734307"/>
                <a:gd name="connsiteY2" fmla="*/ 710895 h 788699"/>
                <a:gd name="connsiteX3" fmla="*/ 670101 w 734307"/>
                <a:gd name="connsiteY3" fmla="*/ 719054 h 788699"/>
                <a:gd name="connsiteX4" fmla="*/ 648344 w 734307"/>
                <a:gd name="connsiteY4" fmla="*/ 721774 h 788699"/>
                <a:gd name="connsiteX5" fmla="*/ 618428 w 734307"/>
                <a:gd name="connsiteY5" fmla="*/ 721774 h 788699"/>
                <a:gd name="connsiteX6" fmla="*/ 572194 w 734307"/>
                <a:gd name="connsiteY6" fmla="*/ 735372 h 788699"/>
                <a:gd name="connsiteX7" fmla="*/ 544997 w 734307"/>
                <a:gd name="connsiteY7" fmla="*/ 729933 h 788699"/>
                <a:gd name="connsiteX8" fmla="*/ 534119 w 734307"/>
                <a:gd name="connsiteY8" fmla="*/ 721774 h 788699"/>
                <a:gd name="connsiteX9" fmla="*/ 496043 w 734307"/>
                <a:gd name="connsiteY9" fmla="*/ 721774 h 788699"/>
                <a:gd name="connsiteX10" fmla="*/ 471566 w 734307"/>
                <a:gd name="connsiteY10" fmla="*/ 721774 h 788699"/>
                <a:gd name="connsiteX11" fmla="*/ 444370 w 734307"/>
                <a:gd name="connsiteY11" fmla="*/ 716335 h 788699"/>
                <a:gd name="connsiteX12" fmla="*/ 428052 w 734307"/>
                <a:gd name="connsiteY12" fmla="*/ 700017 h 788699"/>
                <a:gd name="connsiteX13" fmla="*/ 433491 w 734307"/>
                <a:gd name="connsiteY13" fmla="*/ 691858 h 788699"/>
                <a:gd name="connsiteX14" fmla="*/ 455248 w 734307"/>
                <a:gd name="connsiteY14" fmla="*/ 683699 h 788699"/>
                <a:gd name="connsiteX15" fmla="*/ 506922 w 734307"/>
                <a:gd name="connsiteY15" fmla="*/ 678259 h 788699"/>
                <a:gd name="connsiteX16" fmla="*/ 509641 w 734307"/>
                <a:gd name="connsiteY16" fmla="*/ 678259 h 788699"/>
                <a:gd name="connsiteX17" fmla="*/ 506922 w 734307"/>
                <a:gd name="connsiteY17" fmla="*/ 664661 h 788699"/>
                <a:gd name="connsiteX18" fmla="*/ 498763 w 734307"/>
                <a:gd name="connsiteY18" fmla="*/ 580352 h 788699"/>
                <a:gd name="connsiteX19" fmla="*/ 496043 w 734307"/>
                <a:gd name="connsiteY19" fmla="*/ 479725 h 788699"/>
                <a:gd name="connsiteX20" fmla="*/ 493324 w 734307"/>
                <a:gd name="connsiteY20" fmla="*/ 389976 h 788699"/>
                <a:gd name="connsiteX21" fmla="*/ 490604 w 734307"/>
                <a:gd name="connsiteY21" fmla="*/ 302947 h 788699"/>
                <a:gd name="connsiteX22" fmla="*/ 487884 w 734307"/>
                <a:gd name="connsiteY22" fmla="*/ 229516 h 788699"/>
                <a:gd name="connsiteX23" fmla="*/ 485165 w 734307"/>
                <a:gd name="connsiteY23" fmla="*/ 221357 h 788699"/>
                <a:gd name="connsiteX24" fmla="*/ 482445 w 734307"/>
                <a:gd name="connsiteY24" fmla="*/ 226797 h 788699"/>
                <a:gd name="connsiteX25" fmla="*/ 477006 w 734307"/>
                <a:gd name="connsiteY25" fmla="*/ 262152 h 788699"/>
                <a:gd name="connsiteX26" fmla="*/ 460688 w 734307"/>
                <a:gd name="connsiteY26" fmla="*/ 341022 h 788699"/>
                <a:gd name="connsiteX27" fmla="*/ 444370 w 734307"/>
                <a:gd name="connsiteY27" fmla="*/ 417173 h 788699"/>
                <a:gd name="connsiteX28" fmla="*/ 436211 w 734307"/>
                <a:gd name="connsiteY28" fmla="*/ 455248 h 788699"/>
                <a:gd name="connsiteX29" fmla="*/ 425332 w 734307"/>
                <a:gd name="connsiteY29" fmla="*/ 493323 h 788699"/>
                <a:gd name="connsiteX30" fmla="*/ 411734 w 734307"/>
                <a:gd name="connsiteY30" fmla="*/ 531398 h 788699"/>
                <a:gd name="connsiteX31" fmla="*/ 376378 w 734307"/>
                <a:gd name="connsiteY31" fmla="*/ 547716 h 788699"/>
                <a:gd name="connsiteX32" fmla="*/ 319265 w 734307"/>
                <a:gd name="connsiteY32" fmla="*/ 525959 h 788699"/>
                <a:gd name="connsiteX33" fmla="*/ 289349 w 734307"/>
                <a:gd name="connsiteY33" fmla="*/ 455248 h 788699"/>
                <a:gd name="connsiteX34" fmla="*/ 273031 w 734307"/>
                <a:gd name="connsiteY34" fmla="*/ 373658 h 788699"/>
                <a:gd name="connsiteX35" fmla="*/ 262153 w 734307"/>
                <a:gd name="connsiteY35" fmla="*/ 316545 h 788699"/>
                <a:gd name="connsiteX36" fmla="*/ 245835 w 734307"/>
                <a:gd name="connsiteY36" fmla="*/ 237675 h 788699"/>
                <a:gd name="connsiteX37" fmla="*/ 234956 w 734307"/>
                <a:gd name="connsiteY37" fmla="*/ 196881 h 788699"/>
                <a:gd name="connsiteX38" fmla="*/ 232236 w 734307"/>
                <a:gd name="connsiteY38" fmla="*/ 191441 h 788699"/>
                <a:gd name="connsiteX39" fmla="*/ 226797 w 734307"/>
                <a:gd name="connsiteY39" fmla="*/ 207759 h 788699"/>
                <a:gd name="connsiteX40" fmla="*/ 226797 w 734307"/>
                <a:gd name="connsiteY40" fmla="*/ 232236 h 788699"/>
                <a:gd name="connsiteX41" fmla="*/ 224077 w 734307"/>
                <a:gd name="connsiteY41" fmla="*/ 267592 h 788699"/>
                <a:gd name="connsiteX42" fmla="*/ 221358 w 734307"/>
                <a:gd name="connsiteY42" fmla="*/ 311106 h 788699"/>
                <a:gd name="connsiteX43" fmla="*/ 218638 w 734307"/>
                <a:gd name="connsiteY43" fmla="*/ 360060 h 788699"/>
                <a:gd name="connsiteX44" fmla="*/ 215919 w 734307"/>
                <a:gd name="connsiteY44" fmla="*/ 398135 h 788699"/>
                <a:gd name="connsiteX45" fmla="*/ 213199 w 734307"/>
                <a:gd name="connsiteY45" fmla="*/ 430771 h 788699"/>
                <a:gd name="connsiteX46" fmla="*/ 213199 w 734307"/>
                <a:gd name="connsiteY46" fmla="*/ 455248 h 788699"/>
                <a:gd name="connsiteX47" fmla="*/ 213199 w 734307"/>
                <a:gd name="connsiteY47" fmla="*/ 477005 h 788699"/>
                <a:gd name="connsiteX48" fmla="*/ 207759 w 734307"/>
                <a:gd name="connsiteY48" fmla="*/ 520520 h 788699"/>
                <a:gd name="connsiteX49" fmla="*/ 196881 w 734307"/>
                <a:gd name="connsiteY49" fmla="*/ 610268 h 788699"/>
                <a:gd name="connsiteX50" fmla="*/ 194161 w 734307"/>
                <a:gd name="connsiteY50" fmla="*/ 653783 h 788699"/>
                <a:gd name="connsiteX51" fmla="*/ 191441 w 734307"/>
                <a:gd name="connsiteY51" fmla="*/ 667381 h 788699"/>
                <a:gd name="connsiteX52" fmla="*/ 243115 w 734307"/>
                <a:gd name="connsiteY52" fmla="*/ 667381 h 788699"/>
                <a:gd name="connsiteX53" fmla="*/ 273031 w 734307"/>
                <a:gd name="connsiteY53" fmla="*/ 683699 h 788699"/>
                <a:gd name="connsiteX54" fmla="*/ 262153 w 734307"/>
                <a:gd name="connsiteY54" fmla="*/ 697297 h 788699"/>
                <a:gd name="connsiteX55" fmla="*/ 248554 w 734307"/>
                <a:gd name="connsiteY55" fmla="*/ 705456 h 788699"/>
                <a:gd name="connsiteX56" fmla="*/ 232236 w 734307"/>
                <a:gd name="connsiteY56" fmla="*/ 708176 h 788699"/>
                <a:gd name="connsiteX57" fmla="*/ 166965 w 734307"/>
                <a:gd name="connsiteY57" fmla="*/ 708176 h 788699"/>
                <a:gd name="connsiteX58" fmla="*/ 109852 w 734307"/>
                <a:gd name="connsiteY58" fmla="*/ 708176 h 788699"/>
                <a:gd name="connsiteX59" fmla="*/ 90814 w 734307"/>
                <a:gd name="connsiteY59" fmla="*/ 708176 h 788699"/>
                <a:gd name="connsiteX60" fmla="*/ 69057 w 734307"/>
                <a:gd name="connsiteY60" fmla="*/ 702736 h 788699"/>
                <a:gd name="connsiteX61" fmla="*/ 58178 w 734307"/>
                <a:gd name="connsiteY61" fmla="*/ 686418 h 788699"/>
                <a:gd name="connsiteX62" fmla="*/ 60898 w 734307"/>
                <a:gd name="connsiteY62" fmla="*/ 678259 h 788699"/>
                <a:gd name="connsiteX63" fmla="*/ 77216 w 734307"/>
                <a:gd name="connsiteY63" fmla="*/ 670101 h 788699"/>
                <a:gd name="connsiteX64" fmla="*/ 126170 w 734307"/>
                <a:gd name="connsiteY64" fmla="*/ 664661 h 788699"/>
                <a:gd name="connsiteX65" fmla="*/ 142487 w 734307"/>
                <a:gd name="connsiteY65" fmla="*/ 664661 h 788699"/>
                <a:gd name="connsiteX66" fmla="*/ 147927 w 734307"/>
                <a:gd name="connsiteY66" fmla="*/ 588511 h 788699"/>
                <a:gd name="connsiteX67" fmla="*/ 153366 w 734307"/>
                <a:gd name="connsiteY67" fmla="*/ 493323 h 788699"/>
                <a:gd name="connsiteX68" fmla="*/ 156086 w 734307"/>
                <a:gd name="connsiteY68" fmla="*/ 411733 h 788699"/>
                <a:gd name="connsiteX69" fmla="*/ 161525 w 734307"/>
                <a:gd name="connsiteY69" fmla="*/ 297508 h 788699"/>
                <a:gd name="connsiteX70" fmla="*/ 166965 w 734307"/>
                <a:gd name="connsiteY70" fmla="*/ 240395 h 788699"/>
                <a:gd name="connsiteX71" fmla="*/ 177843 w 734307"/>
                <a:gd name="connsiteY71" fmla="*/ 161525 h 788699"/>
                <a:gd name="connsiteX72" fmla="*/ 183282 w 734307"/>
                <a:gd name="connsiteY72" fmla="*/ 118011 h 788699"/>
                <a:gd name="connsiteX73" fmla="*/ 183282 w 734307"/>
                <a:gd name="connsiteY73" fmla="*/ 115291 h 788699"/>
                <a:gd name="connsiteX74" fmla="*/ 161525 w 734307"/>
                <a:gd name="connsiteY74" fmla="*/ 115291 h 788699"/>
                <a:gd name="connsiteX75" fmla="*/ 137048 w 734307"/>
                <a:gd name="connsiteY75" fmla="*/ 115291 h 788699"/>
                <a:gd name="connsiteX76" fmla="*/ 109852 w 734307"/>
                <a:gd name="connsiteY76" fmla="*/ 109851 h 788699"/>
                <a:gd name="connsiteX77" fmla="*/ 93534 w 734307"/>
                <a:gd name="connsiteY77" fmla="*/ 93534 h 788699"/>
                <a:gd name="connsiteX78" fmla="*/ 98973 w 734307"/>
                <a:gd name="connsiteY78" fmla="*/ 85375 h 788699"/>
                <a:gd name="connsiteX79" fmla="*/ 120730 w 734307"/>
                <a:gd name="connsiteY79" fmla="*/ 77216 h 788699"/>
                <a:gd name="connsiteX80" fmla="*/ 172404 w 734307"/>
                <a:gd name="connsiteY80" fmla="*/ 71776 h 788699"/>
                <a:gd name="connsiteX81" fmla="*/ 234956 w 734307"/>
                <a:gd name="connsiteY81" fmla="*/ 69057 h 788699"/>
                <a:gd name="connsiteX82" fmla="*/ 243115 w 734307"/>
                <a:gd name="connsiteY82" fmla="*/ 69057 h 788699"/>
                <a:gd name="connsiteX83" fmla="*/ 270312 w 734307"/>
                <a:gd name="connsiteY83" fmla="*/ 74496 h 788699"/>
                <a:gd name="connsiteX84" fmla="*/ 308387 w 734307"/>
                <a:gd name="connsiteY84" fmla="*/ 123450 h 788699"/>
                <a:gd name="connsiteX85" fmla="*/ 332864 w 734307"/>
                <a:gd name="connsiteY85" fmla="*/ 202320 h 788699"/>
                <a:gd name="connsiteX86" fmla="*/ 338303 w 734307"/>
                <a:gd name="connsiteY86" fmla="*/ 237675 h 788699"/>
                <a:gd name="connsiteX87" fmla="*/ 349182 w 734307"/>
                <a:gd name="connsiteY87" fmla="*/ 281190 h 788699"/>
                <a:gd name="connsiteX88" fmla="*/ 357341 w 734307"/>
                <a:gd name="connsiteY88" fmla="*/ 316545 h 788699"/>
                <a:gd name="connsiteX89" fmla="*/ 365500 w 734307"/>
                <a:gd name="connsiteY89" fmla="*/ 351901 h 788699"/>
                <a:gd name="connsiteX90" fmla="*/ 376378 w 734307"/>
                <a:gd name="connsiteY90" fmla="*/ 389976 h 788699"/>
                <a:gd name="connsiteX91" fmla="*/ 387257 w 734307"/>
                <a:gd name="connsiteY91" fmla="*/ 414453 h 788699"/>
                <a:gd name="connsiteX92" fmla="*/ 398136 w 734307"/>
                <a:gd name="connsiteY92" fmla="*/ 376378 h 788699"/>
                <a:gd name="connsiteX93" fmla="*/ 406295 w 734307"/>
                <a:gd name="connsiteY93" fmla="*/ 332863 h 788699"/>
                <a:gd name="connsiteX94" fmla="*/ 425332 w 734307"/>
                <a:gd name="connsiteY94" fmla="*/ 243115 h 788699"/>
                <a:gd name="connsiteX95" fmla="*/ 444370 w 734307"/>
                <a:gd name="connsiteY95" fmla="*/ 150646 h 788699"/>
                <a:gd name="connsiteX96" fmla="*/ 477006 w 734307"/>
                <a:gd name="connsiteY96" fmla="*/ 79935 h 788699"/>
                <a:gd name="connsiteX97" fmla="*/ 523240 w 734307"/>
                <a:gd name="connsiteY97" fmla="*/ 58178 h 788699"/>
                <a:gd name="connsiteX98" fmla="*/ 544997 w 734307"/>
                <a:gd name="connsiteY98" fmla="*/ 63617 h 788699"/>
                <a:gd name="connsiteX99" fmla="*/ 612988 w 734307"/>
                <a:gd name="connsiteY99" fmla="*/ 63617 h 788699"/>
                <a:gd name="connsiteX100" fmla="*/ 651064 w 734307"/>
                <a:gd name="connsiteY100" fmla="*/ 79935 h 788699"/>
                <a:gd name="connsiteX101" fmla="*/ 645624 w 734307"/>
                <a:gd name="connsiteY101" fmla="*/ 96253 h 788699"/>
                <a:gd name="connsiteX102" fmla="*/ 629307 w 734307"/>
                <a:gd name="connsiteY102" fmla="*/ 104412 h 788699"/>
                <a:gd name="connsiteX103" fmla="*/ 607549 w 734307"/>
                <a:gd name="connsiteY103" fmla="*/ 107132 h 788699"/>
                <a:gd name="connsiteX104" fmla="*/ 580353 w 734307"/>
                <a:gd name="connsiteY104" fmla="*/ 107132 h 788699"/>
                <a:gd name="connsiteX105" fmla="*/ 583072 w 734307"/>
                <a:gd name="connsiteY105" fmla="*/ 115291 h 788699"/>
                <a:gd name="connsiteX106" fmla="*/ 588512 w 734307"/>
                <a:gd name="connsiteY106" fmla="*/ 156086 h 788699"/>
                <a:gd name="connsiteX107" fmla="*/ 593951 w 734307"/>
                <a:gd name="connsiteY107" fmla="*/ 196881 h 788699"/>
                <a:gd name="connsiteX108" fmla="*/ 599390 w 734307"/>
                <a:gd name="connsiteY108" fmla="*/ 226797 h 788699"/>
                <a:gd name="connsiteX109" fmla="*/ 599390 w 734307"/>
                <a:gd name="connsiteY109" fmla="*/ 232236 h 788699"/>
                <a:gd name="connsiteX110" fmla="*/ 599390 w 734307"/>
                <a:gd name="connsiteY110" fmla="*/ 240395 h 788699"/>
                <a:gd name="connsiteX111" fmla="*/ 602110 w 734307"/>
                <a:gd name="connsiteY111" fmla="*/ 270311 h 788699"/>
                <a:gd name="connsiteX112" fmla="*/ 607549 w 734307"/>
                <a:gd name="connsiteY112" fmla="*/ 308386 h 788699"/>
                <a:gd name="connsiteX113" fmla="*/ 607549 w 734307"/>
                <a:gd name="connsiteY113" fmla="*/ 319265 h 788699"/>
                <a:gd name="connsiteX114" fmla="*/ 612988 w 734307"/>
                <a:gd name="connsiteY114" fmla="*/ 335583 h 788699"/>
                <a:gd name="connsiteX115" fmla="*/ 612988 w 734307"/>
                <a:gd name="connsiteY115" fmla="*/ 346462 h 788699"/>
                <a:gd name="connsiteX116" fmla="*/ 612988 w 734307"/>
                <a:gd name="connsiteY116" fmla="*/ 370939 h 788699"/>
                <a:gd name="connsiteX117" fmla="*/ 612988 w 734307"/>
                <a:gd name="connsiteY117" fmla="*/ 395415 h 788699"/>
                <a:gd name="connsiteX118" fmla="*/ 615708 w 734307"/>
                <a:gd name="connsiteY118" fmla="*/ 422612 h 788699"/>
                <a:gd name="connsiteX119" fmla="*/ 618428 w 734307"/>
                <a:gd name="connsiteY119" fmla="*/ 441650 h 788699"/>
                <a:gd name="connsiteX120" fmla="*/ 618428 w 734307"/>
                <a:gd name="connsiteY120" fmla="*/ 455248 h 788699"/>
                <a:gd name="connsiteX121" fmla="*/ 621147 w 734307"/>
                <a:gd name="connsiteY121" fmla="*/ 463407 h 788699"/>
                <a:gd name="connsiteX122" fmla="*/ 626587 w 734307"/>
                <a:gd name="connsiteY122" fmla="*/ 482444 h 788699"/>
                <a:gd name="connsiteX123" fmla="*/ 629307 w 734307"/>
                <a:gd name="connsiteY123" fmla="*/ 517800 h 788699"/>
                <a:gd name="connsiteX124" fmla="*/ 634746 w 734307"/>
                <a:gd name="connsiteY124" fmla="*/ 561314 h 788699"/>
                <a:gd name="connsiteX125" fmla="*/ 634746 w 734307"/>
                <a:gd name="connsiteY125" fmla="*/ 566754 h 788699"/>
                <a:gd name="connsiteX126" fmla="*/ 634746 w 734307"/>
                <a:gd name="connsiteY126" fmla="*/ 583072 h 788699"/>
                <a:gd name="connsiteX127" fmla="*/ 637466 w 734307"/>
                <a:gd name="connsiteY127" fmla="*/ 607548 h 788699"/>
                <a:gd name="connsiteX128" fmla="*/ 640185 w 734307"/>
                <a:gd name="connsiteY128" fmla="*/ 618427 h 788699"/>
                <a:gd name="connsiteX129" fmla="*/ 640185 w 734307"/>
                <a:gd name="connsiteY129" fmla="*/ 632025 h 788699"/>
                <a:gd name="connsiteX130" fmla="*/ 640185 w 734307"/>
                <a:gd name="connsiteY130" fmla="*/ 640184 h 788699"/>
                <a:gd name="connsiteX131" fmla="*/ 642905 w 734307"/>
                <a:gd name="connsiteY131" fmla="*/ 659222 h 788699"/>
                <a:gd name="connsiteX132" fmla="*/ 642905 w 734307"/>
                <a:gd name="connsiteY132" fmla="*/ 664661 h 788699"/>
                <a:gd name="connsiteX133" fmla="*/ 653783 w 734307"/>
                <a:gd name="connsiteY133" fmla="*/ 678259 h 788699"/>
                <a:gd name="connsiteX134" fmla="*/ 653783 w 734307"/>
                <a:gd name="connsiteY134" fmla="*/ 678259 h 7886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</a:cxnLst>
              <a:rect l="l" t="t" r="r" b="b"/>
              <a:pathLst>
                <a:path w="734307" h="788699">
                  <a:moveTo>
                    <a:pt x="653783" y="678259"/>
                  </a:moveTo>
                  <a:cubicBezTo>
                    <a:pt x="667382" y="678259"/>
                    <a:pt x="691859" y="678259"/>
                    <a:pt x="691859" y="694577"/>
                  </a:cubicBezTo>
                  <a:cubicBezTo>
                    <a:pt x="691859" y="702736"/>
                    <a:pt x="689139" y="705456"/>
                    <a:pt x="686419" y="710895"/>
                  </a:cubicBezTo>
                  <a:cubicBezTo>
                    <a:pt x="683700" y="716335"/>
                    <a:pt x="675541" y="719054"/>
                    <a:pt x="670101" y="719054"/>
                  </a:cubicBezTo>
                  <a:cubicBezTo>
                    <a:pt x="661942" y="721774"/>
                    <a:pt x="653783" y="721774"/>
                    <a:pt x="648344" y="721774"/>
                  </a:cubicBezTo>
                  <a:cubicBezTo>
                    <a:pt x="645624" y="721774"/>
                    <a:pt x="634746" y="721774"/>
                    <a:pt x="618428" y="721774"/>
                  </a:cubicBezTo>
                  <a:cubicBezTo>
                    <a:pt x="604829" y="729933"/>
                    <a:pt x="588512" y="735372"/>
                    <a:pt x="572194" y="735372"/>
                  </a:cubicBezTo>
                  <a:cubicBezTo>
                    <a:pt x="564035" y="735372"/>
                    <a:pt x="553156" y="732653"/>
                    <a:pt x="544997" y="729933"/>
                  </a:cubicBezTo>
                  <a:cubicBezTo>
                    <a:pt x="539558" y="727213"/>
                    <a:pt x="536838" y="724494"/>
                    <a:pt x="534119" y="721774"/>
                  </a:cubicBezTo>
                  <a:cubicBezTo>
                    <a:pt x="520520" y="721774"/>
                    <a:pt x="509641" y="721774"/>
                    <a:pt x="496043" y="721774"/>
                  </a:cubicBezTo>
                  <a:cubicBezTo>
                    <a:pt x="487884" y="721774"/>
                    <a:pt x="479725" y="721774"/>
                    <a:pt x="471566" y="721774"/>
                  </a:cubicBezTo>
                  <a:cubicBezTo>
                    <a:pt x="463407" y="721774"/>
                    <a:pt x="452529" y="721774"/>
                    <a:pt x="444370" y="716335"/>
                  </a:cubicBezTo>
                  <a:cubicBezTo>
                    <a:pt x="436211" y="713615"/>
                    <a:pt x="428052" y="705456"/>
                    <a:pt x="428052" y="700017"/>
                  </a:cubicBezTo>
                  <a:cubicBezTo>
                    <a:pt x="428052" y="697297"/>
                    <a:pt x="428052" y="694577"/>
                    <a:pt x="433491" y="691858"/>
                  </a:cubicBezTo>
                  <a:cubicBezTo>
                    <a:pt x="438930" y="689138"/>
                    <a:pt x="449809" y="686418"/>
                    <a:pt x="455248" y="683699"/>
                  </a:cubicBezTo>
                  <a:cubicBezTo>
                    <a:pt x="474286" y="680979"/>
                    <a:pt x="498763" y="678259"/>
                    <a:pt x="506922" y="678259"/>
                  </a:cubicBezTo>
                  <a:cubicBezTo>
                    <a:pt x="506922" y="678259"/>
                    <a:pt x="509641" y="678259"/>
                    <a:pt x="509641" y="678259"/>
                  </a:cubicBezTo>
                  <a:cubicBezTo>
                    <a:pt x="509641" y="672820"/>
                    <a:pt x="506922" y="670101"/>
                    <a:pt x="506922" y="664661"/>
                  </a:cubicBezTo>
                  <a:cubicBezTo>
                    <a:pt x="501483" y="640184"/>
                    <a:pt x="501483" y="612988"/>
                    <a:pt x="498763" y="580352"/>
                  </a:cubicBezTo>
                  <a:cubicBezTo>
                    <a:pt x="496043" y="547716"/>
                    <a:pt x="498763" y="512361"/>
                    <a:pt x="496043" y="479725"/>
                  </a:cubicBezTo>
                  <a:cubicBezTo>
                    <a:pt x="493324" y="449808"/>
                    <a:pt x="493324" y="419892"/>
                    <a:pt x="493324" y="389976"/>
                  </a:cubicBezTo>
                  <a:cubicBezTo>
                    <a:pt x="493324" y="360060"/>
                    <a:pt x="490604" y="332863"/>
                    <a:pt x="490604" y="302947"/>
                  </a:cubicBezTo>
                  <a:cubicBezTo>
                    <a:pt x="487884" y="275751"/>
                    <a:pt x="487884" y="240395"/>
                    <a:pt x="487884" y="229516"/>
                  </a:cubicBezTo>
                  <a:cubicBezTo>
                    <a:pt x="487884" y="224077"/>
                    <a:pt x="487884" y="221357"/>
                    <a:pt x="485165" y="221357"/>
                  </a:cubicBezTo>
                  <a:cubicBezTo>
                    <a:pt x="485165" y="221357"/>
                    <a:pt x="482445" y="224077"/>
                    <a:pt x="482445" y="226797"/>
                  </a:cubicBezTo>
                  <a:cubicBezTo>
                    <a:pt x="479725" y="237675"/>
                    <a:pt x="479725" y="251274"/>
                    <a:pt x="477006" y="262152"/>
                  </a:cubicBezTo>
                  <a:cubicBezTo>
                    <a:pt x="471566" y="289349"/>
                    <a:pt x="466127" y="316545"/>
                    <a:pt x="460688" y="341022"/>
                  </a:cubicBezTo>
                  <a:cubicBezTo>
                    <a:pt x="455248" y="365499"/>
                    <a:pt x="447090" y="392696"/>
                    <a:pt x="444370" y="417173"/>
                  </a:cubicBezTo>
                  <a:cubicBezTo>
                    <a:pt x="441650" y="430771"/>
                    <a:pt x="438930" y="441650"/>
                    <a:pt x="436211" y="455248"/>
                  </a:cubicBezTo>
                  <a:cubicBezTo>
                    <a:pt x="433491" y="468846"/>
                    <a:pt x="428052" y="479725"/>
                    <a:pt x="425332" y="493323"/>
                  </a:cubicBezTo>
                  <a:cubicBezTo>
                    <a:pt x="422612" y="506921"/>
                    <a:pt x="419893" y="520520"/>
                    <a:pt x="411734" y="531398"/>
                  </a:cubicBezTo>
                  <a:cubicBezTo>
                    <a:pt x="406295" y="539557"/>
                    <a:pt x="395416" y="547716"/>
                    <a:pt x="376378" y="547716"/>
                  </a:cubicBezTo>
                  <a:cubicBezTo>
                    <a:pt x="357341" y="547716"/>
                    <a:pt x="335583" y="539557"/>
                    <a:pt x="319265" y="525959"/>
                  </a:cubicBezTo>
                  <a:cubicBezTo>
                    <a:pt x="300228" y="506921"/>
                    <a:pt x="294788" y="479725"/>
                    <a:pt x="289349" y="455248"/>
                  </a:cubicBezTo>
                  <a:cubicBezTo>
                    <a:pt x="283910" y="428051"/>
                    <a:pt x="278470" y="400855"/>
                    <a:pt x="273031" y="373658"/>
                  </a:cubicBezTo>
                  <a:cubicBezTo>
                    <a:pt x="273031" y="368219"/>
                    <a:pt x="267592" y="346462"/>
                    <a:pt x="262153" y="316545"/>
                  </a:cubicBezTo>
                  <a:cubicBezTo>
                    <a:pt x="256713" y="292068"/>
                    <a:pt x="251274" y="262152"/>
                    <a:pt x="245835" y="237675"/>
                  </a:cubicBezTo>
                  <a:cubicBezTo>
                    <a:pt x="240395" y="218638"/>
                    <a:pt x="237675" y="205039"/>
                    <a:pt x="234956" y="196881"/>
                  </a:cubicBezTo>
                  <a:cubicBezTo>
                    <a:pt x="232236" y="191441"/>
                    <a:pt x="232236" y="191441"/>
                    <a:pt x="232236" y="191441"/>
                  </a:cubicBezTo>
                  <a:cubicBezTo>
                    <a:pt x="229517" y="191441"/>
                    <a:pt x="229517" y="196881"/>
                    <a:pt x="226797" y="207759"/>
                  </a:cubicBezTo>
                  <a:cubicBezTo>
                    <a:pt x="226797" y="215918"/>
                    <a:pt x="226797" y="229516"/>
                    <a:pt x="226797" y="232236"/>
                  </a:cubicBezTo>
                  <a:cubicBezTo>
                    <a:pt x="226797" y="243115"/>
                    <a:pt x="224077" y="256713"/>
                    <a:pt x="224077" y="267592"/>
                  </a:cubicBezTo>
                  <a:cubicBezTo>
                    <a:pt x="224077" y="278470"/>
                    <a:pt x="224077" y="294788"/>
                    <a:pt x="221358" y="311106"/>
                  </a:cubicBezTo>
                  <a:cubicBezTo>
                    <a:pt x="221358" y="327424"/>
                    <a:pt x="218638" y="343742"/>
                    <a:pt x="218638" y="360060"/>
                  </a:cubicBezTo>
                  <a:cubicBezTo>
                    <a:pt x="218638" y="373658"/>
                    <a:pt x="215919" y="384537"/>
                    <a:pt x="215919" y="398135"/>
                  </a:cubicBezTo>
                  <a:cubicBezTo>
                    <a:pt x="215919" y="409014"/>
                    <a:pt x="213199" y="419892"/>
                    <a:pt x="213199" y="430771"/>
                  </a:cubicBezTo>
                  <a:cubicBezTo>
                    <a:pt x="213199" y="438930"/>
                    <a:pt x="213199" y="447089"/>
                    <a:pt x="213199" y="455248"/>
                  </a:cubicBezTo>
                  <a:cubicBezTo>
                    <a:pt x="213199" y="463407"/>
                    <a:pt x="213199" y="471566"/>
                    <a:pt x="213199" y="477005"/>
                  </a:cubicBezTo>
                  <a:cubicBezTo>
                    <a:pt x="210479" y="490603"/>
                    <a:pt x="207759" y="506921"/>
                    <a:pt x="207759" y="520520"/>
                  </a:cubicBezTo>
                  <a:cubicBezTo>
                    <a:pt x="202320" y="550436"/>
                    <a:pt x="199600" y="580352"/>
                    <a:pt x="196881" y="610268"/>
                  </a:cubicBezTo>
                  <a:cubicBezTo>
                    <a:pt x="196881" y="623866"/>
                    <a:pt x="196881" y="640184"/>
                    <a:pt x="194161" y="653783"/>
                  </a:cubicBezTo>
                  <a:cubicBezTo>
                    <a:pt x="194161" y="659222"/>
                    <a:pt x="194161" y="661942"/>
                    <a:pt x="191441" y="667381"/>
                  </a:cubicBezTo>
                  <a:cubicBezTo>
                    <a:pt x="213199" y="667381"/>
                    <a:pt x="232236" y="667381"/>
                    <a:pt x="243115" y="667381"/>
                  </a:cubicBezTo>
                  <a:cubicBezTo>
                    <a:pt x="253994" y="667381"/>
                    <a:pt x="273031" y="670101"/>
                    <a:pt x="273031" y="683699"/>
                  </a:cubicBezTo>
                  <a:cubicBezTo>
                    <a:pt x="273031" y="691858"/>
                    <a:pt x="267592" y="691858"/>
                    <a:pt x="262153" y="697297"/>
                  </a:cubicBezTo>
                  <a:cubicBezTo>
                    <a:pt x="259433" y="702736"/>
                    <a:pt x="253994" y="705456"/>
                    <a:pt x="248554" y="705456"/>
                  </a:cubicBezTo>
                  <a:cubicBezTo>
                    <a:pt x="240395" y="708176"/>
                    <a:pt x="234956" y="708176"/>
                    <a:pt x="232236" y="708176"/>
                  </a:cubicBezTo>
                  <a:cubicBezTo>
                    <a:pt x="226797" y="708176"/>
                    <a:pt x="175124" y="708176"/>
                    <a:pt x="166965" y="708176"/>
                  </a:cubicBezTo>
                  <a:cubicBezTo>
                    <a:pt x="156086" y="708176"/>
                    <a:pt x="120730" y="708176"/>
                    <a:pt x="109852" y="708176"/>
                  </a:cubicBezTo>
                  <a:cubicBezTo>
                    <a:pt x="104412" y="708176"/>
                    <a:pt x="96253" y="708176"/>
                    <a:pt x="90814" y="708176"/>
                  </a:cubicBezTo>
                  <a:cubicBezTo>
                    <a:pt x="85375" y="708176"/>
                    <a:pt x="77216" y="705456"/>
                    <a:pt x="69057" y="702736"/>
                  </a:cubicBezTo>
                  <a:cubicBezTo>
                    <a:pt x="63617" y="700017"/>
                    <a:pt x="58178" y="691858"/>
                    <a:pt x="58178" y="686418"/>
                  </a:cubicBezTo>
                  <a:cubicBezTo>
                    <a:pt x="58178" y="683699"/>
                    <a:pt x="58178" y="680979"/>
                    <a:pt x="60898" y="678259"/>
                  </a:cubicBezTo>
                  <a:cubicBezTo>
                    <a:pt x="63617" y="675540"/>
                    <a:pt x="71777" y="672820"/>
                    <a:pt x="77216" y="670101"/>
                  </a:cubicBezTo>
                  <a:cubicBezTo>
                    <a:pt x="90814" y="667381"/>
                    <a:pt x="120730" y="664661"/>
                    <a:pt x="126170" y="664661"/>
                  </a:cubicBezTo>
                  <a:cubicBezTo>
                    <a:pt x="128889" y="664661"/>
                    <a:pt x="134329" y="664661"/>
                    <a:pt x="142487" y="664661"/>
                  </a:cubicBezTo>
                  <a:cubicBezTo>
                    <a:pt x="142487" y="640184"/>
                    <a:pt x="147927" y="612988"/>
                    <a:pt x="147927" y="588511"/>
                  </a:cubicBezTo>
                  <a:cubicBezTo>
                    <a:pt x="150646" y="555875"/>
                    <a:pt x="153366" y="523239"/>
                    <a:pt x="153366" y="493323"/>
                  </a:cubicBezTo>
                  <a:cubicBezTo>
                    <a:pt x="153366" y="466126"/>
                    <a:pt x="156086" y="438930"/>
                    <a:pt x="156086" y="411733"/>
                  </a:cubicBezTo>
                  <a:cubicBezTo>
                    <a:pt x="158806" y="373658"/>
                    <a:pt x="158806" y="335583"/>
                    <a:pt x="161525" y="297508"/>
                  </a:cubicBezTo>
                  <a:cubicBezTo>
                    <a:pt x="161525" y="278470"/>
                    <a:pt x="164245" y="259433"/>
                    <a:pt x="166965" y="240395"/>
                  </a:cubicBezTo>
                  <a:cubicBezTo>
                    <a:pt x="169684" y="210479"/>
                    <a:pt x="172404" y="191441"/>
                    <a:pt x="177843" y="161525"/>
                  </a:cubicBezTo>
                  <a:cubicBezTo>
                    <a:pt x="180563" y="147927"/>
                    <a:pt x="180563" y="131609"/>
                    <a:pt x="183282" y="118011"/>
                  </a:cubicBezTo>
                  <a:cubicBezTo>
                    <a:pt x="183282" y="118011"/>
                    <a:pt x="183282" y="115291"/>
                    <a:pt x="183282" y="115291"/>
                  </a:cubicBezTo>
                  <a:cubicBezTo>
                    <a:pt x="177843" y="115291"/>
                    <a:pt x="172404" y="115291"/>
                    <a:pt x="161525" y="115291"/>
                  </a:cubicBezTo>
                  <a:cubicBezTo>
                    <a:pt x="153366" y="115291"/>
                    <a:pt x="145207" y="115291"/>
                    <a:pt x="137048" y="115291"/>
                  </a:cubicBezTo>
                  <a:cubicBezTo>
                    <a:pt x="128889" y="115291"/>
                    <a:pt x="118011" y="115291"/>
                    <a:pt x="109852" y="109851"/>
                  </a:cubicBezTo>
                  <a:cubicBezTo>
                    <a:pt x="101693" y="107132"/>
                    <a:pt x="93534" y="98973"/>
                    <a:pt x="93534" y="93534"/>
                  </a:cubicBezTo>
                  <a:cubicBezTo>
                    <a:pt x="93534" y="90814"/>
                    <a:pt x="93534" y="88094"/>
                    <a:pt x="98973" y="85375"/>
                  </a:cubicBezTo>
                  <a:cubicBezTo>
                    <a:pt x="104412" y="82655"/>
                    <a:pt x="115291" y="79935"/>
                    <a:pt x="120730" y="77216"/>
                  </a:cubicBezTo>
                  <a:cubicBezTo>
                    <a:pt x="139768" y="74496"/>
                    <a:pt x="164245" y="71776"/>
                    <a:pt x="172404" y="71776"/>
                  </a:cubicBezTo>
                  <a:cubicBezTo>
                    <a:pt x="194161" y="71776"/>
                    <a:pt x="210479" y="69057"/>
                    <a:pt x="234956" y="69057"/>
                  </a:cubicBezTo>
                  <a:cubicBezTo>
                    <a:pt x="237675" y="69057"/>
                    <a:pt x="240395" y="69057"/>
                    <a:pt x="243115" y="69057"/>
                  </a:cubicBezTo>
                  <a:cubicBezTo>
                    <a:pt x="251274" y="69057"/>
                    <a:pt x="262153" y="69057"/>
                    <a:pt x="270312" y="74496"/>
                  </a:cubicBezTo>
                  <a:cubicBezTo>
                    <a:pt x="283910" y="82655"/>
                    <a:pt x="300228" y="96253"/>
                    <a:pt x="308387" y="123450"/>
                  </a:cubicBezTo>
                  <a:cubicBezTo>
                    <a:pt x="316546" y="147927"/>
                    <a:pt x="327424" y="175123"/>
                    <a:pt x="332864" y="202320"/>
                  </a:cubicBezTo>
                  <a:cubicBezTo>
                    <a:pt x="335583" y="213198"/>
                    <a:pt x="335583" y="226797"/>
                    <a:pt x="338303" y="237675"/>
                  </a:cubicBezTo>
                  <a:cubicBezTo>
                    <a:pt x="343742" y="251274"/>
                    <a:pt x="346462" y="264872"/>
                    <a:pt x="349182" y="281190"/>
                  </a:cubicBezTo>
                  <a:cubicBezTo>
                    <a:pt x="351901" y="292068"/>
                    <a:pt x="351901" y="305667"/>
                    <a:pt x="357341" y="316545"/>
                  </a:cubicBezTo>
                  <a:cubicBezTo>
                    <a:pt x="362780" y="327424"/>
                    <a:pt x="362780" y="338303"/>
                    <a:pt x="365500" y="351901"/>
                  </a:cubicBezTo>
                  <a:cubicBezTo>
                    <a:pt x="365500" y="357340"/>
                    <a:pt x="373658" y="373658"/>
                    <a:pt x="376378" y="389976"/>
                  </a:cubicBezTo>
                  <a:cubicBezTo>
                    <a:pt x="381817" y="403574"/>
                    <a:pt x="384537" y="414453"/>
                    <a:pt x="387257" y="414453"/>
                  </a:cubicBezTo>
                  <a:cubicBezTo>
                    <a:pt x="392696" y="414453"/>
                    <a:pt x="395416" y="381817"/>
                    <a:pt x="398136" y="376378"/>
                  </a:cubicBezTo>
                  <a:cubicBezTo>
                    <a:pt x="400855" y="362779"/>
                    <a:pt x="403575" y="346462"/>
                    <a:pt x="406295" y="332863"/>
                  </a:cubicBezTo>
                  <a:cubicBezTo>
                    <a:pt x="411734" y="302947"/>
                    <a:pt x="417173" y="273031"/>
                    <a:pt x="425332" y="243115"/>
                  </a:cubicBezTo>
                  <a:cubicBezTo>
                    <a:pt x="430771" y="213198"/>
                    <a:pt x="436211" y="180563"/>
                    <a:pt x="444370" y="150646"/>
                  </a:cubicBezTo>
                  <a:cubicBezTo>
                    <a:pt x="449809" y="126170"/>
                    <a:pt x="460688" y="98973"/>
                    <a:pt x="477006" y="79935"/>
                  </a:cubicBezTo>
                  <a:cubicBezTo>
                    <a:pt x="487884" y="66337"/>
                    <a:pt x="506922" y="58178"/>
                    <a:pt x="523240" y="58178"/>
                  </a:cubicBezTo>
                  <a:cubicBezTo>
                    <a:pt x="528679" y="58178"/>
                    <a:pt x="539558" y="58178"/>
                    <a:pt x="544997" y="63617"/>
                  </a:cubicBezTo>
                  <a:lnTo>
                    <a:pt x="612988" y="63617"/>
                  </a:lnTo>
                  <a:cubicBezTo>
                    <a:pt x="626587" y="63617"/>
                    <a:pt x="651064" y="63617"/>
                    <a:pt x="651064" y="79935"/>
                  </a:cubicBezTo>
                  <a:cubicBezTo>
                    <a:pt x="651064" y="88094"/>
                    <a:pt x="648344" y="88094"/>
                    <a:pt x="645624" y="96253"/>
                  </a:cubicBezTo>
                  <a:cubicBezTo>
                    <a:pt x="640185" y="101693"/>
                    <a:pt x="634746" y="104412"/>
                    <a:pt x="629307" y="104412"/>
                  </a:cubicBezTo>
                  <a:cubicBezTo>
                    <a:pt x="621147" y="107132"/>
                    <a:pt x="612988" y="107132"/>
                    <a:pt x="607549" y="107132"/>
                  </a:cubicBezTo>
                  <a:cubicBezTo>
                    <a:pt x="604829" y="107132"/>
                    <a:pt x="591231" y="107132"/>
                    <a:pt x="580353" y="107132"/>
                  </a:cubicBezTo>
                  <a:cubicBezTo>
                    <a:pt x="580353" y="109851"/>
                    <a:pt x="583072" y="112571"/>
                    <a:pt x="583072" y="115291"/>
                  </a:cubicBezTo>
                  <a:cubicBezTo>
                    <a:pt x="585792" y="128889"/>
                    <a:pt x="585792" y="142487"/>
                    <a:pt x="588512" y="156086"/>
                  </a:cubicBezTo>
                  <a:cubicBezTo>
                    <a:pt x="591231" y="169684"/>
                    <a:pt x="591231" y="183282"/>
                    <a:pt x="593951" y="196881"/>
                  </a:cubicBezTo>
                  <a:cubicBezTo>
                    <a:pt x="593951" y="207759"/>
                    <a:pt x="599390" y="215918"/>
                    <a:pt x="599390" y="226797"/>
                  </a:cubicBezTo>
                  <a:cubicBezTo>
                    <a:pt x="599390" y="229516"/>
                    <a:pt x="599390" y="229516"/>
                    <a:pt x="599390" y="232236"/>
                  </a:cubicBezTo>
                  <a:cubicBezTo>
                    <a:pt x="599390" y="234956"/>
                    <a:pt x="599390" y="237675"/>
                    <a:pt x="599390" y="240395"/>
                  </a:cubicBezTo>
                  <a:cubicBezTo>
                    <a:pt x="599390" y="251274"/>
                    <a:pt x="599390" y="259433"/>
                    <a:pt x="602110" y="270311"/>
                  </a:cubicBezTo>
                  <a:cubicBezTo>
                    <a:pt x="604829" y="283909"/>
                    <a:pt x="607549" y="294788"/>
                    <a:pt x="607549" y="308386"/>
                  </a:cubicBezTo>
                  <a:cubicBezTo>
                    <a:pt x="607549" y="311106"/>
                    <a:pt x="607549" y="316545"/>
                    <a:pt x="607549" y="319265"/>
                  </a:cubicBezTo>
                  <a:cubicBezTo>
                    <a:pt x="607549" y="324704"/>
                    <a:pt x="610269" y="330144"/>
                    <a:pt x="612988" y="335583"/>
                  </a:cubicBezTo>
                  <a:cubicBezTo>
                    <a:pt x="612988" y="338303"/>
                    <a:pt x="612988" y="343742"/>
                    <a:pt x="612988" y="346462"/>
                  </a:cubicBezTo>
                  <a:cubicBezTo>
                    <a:pt x="612988" y="354620"/>
                    <a:pt x="612988" y="362779"/>
                    <a:pt x="612988" y="370939"/>
                  </a:cubicBezTo>
                  <a:cubicBezTo>
                    <a:pt x="612988" y="379097"/>
                    <a:pt x="612988" y="387256"/>
                    <a:pt x="612988" y="395415"/>
                  </a:cubicBezTo>
                  <a:cubicBezTo>
                    <a:pt x="612988" y="403574"/>
                    <a:pt x="615708" y="414453"/>
                    <a:pt x="615708" y="422612"/>
                  </a:cubicBezTo>
                  <a:cubicBezTo>
                    <a:pt x="618428" y="430771"/>
                    <a:pt x="618428" y="436210"/>
                    <a:pt x="618428" y="441650"/>
                  </a:cubicBezTo>
                  <a:cubicBezTo>
                    <a:pt x="618428" y="444369"/>
                    <a:pt x="618428" y="449808"/>
                    <a:pt x="618428" y="455248"/>
                  </a:cubicBezTo>
                  <a:cubicBezTo>
                    <a:pt x="618428" y="460687"/>
                    <a:pt x="618428" y="460687"/>
                    <a:pt x="621147" y="463407"/>
                  </a:cubicBezTo>
                  <a:cubicBezTo>
                    <a:pt x="623867" y="471566"/>
                    <a:pt x="623867" y="477005"/>
                    <a:pt x="626587" y="482444"/>
                  </a:cubicBezTo>
                  <a:cubicBezTo>
                    <a:pt x="629307" y="493323"/>
                    <a:pt x="629307" y="506921"/>
                    <a:pt x="629307" y="517800"/>
                  </a:cubicBezTo>
                  <a:cubicBezTo>
                    <a:pt x="632026" y="534118"/>
                    <a:pt x="632026" y="547716"/>
                    <a:pt x="634746" y="561314"/>
                  </a:cubicBezTo>
                  <a:cubicBezTo>
                    <a:pt x="634746" y="564034"/>
                    <a:pt x="634746" y="564034"/>
                    <a:pt x="634746" y="566754"/>
                  </a:cubicBezTo>
                  <a:cubicBezTo>
                    <a:pt x="634746" y="572193"/>
                    <a:pt x="634746" y="577632"/>
                    <a:pt x="634746" y="583072"/>
                  </a:cubicBezTo>
                  <a:cubicBezTo>
                    <a:pt x="634746" y="596670"/>
                    <a:pt x="637466" y="602109"/>
                    <a:pt x="637466" y="607548"/>
                  </a:cubicBezTo>
                  <a:cubicBezTo>
                    <a:pt x="637466" y="610268"/>
                    <a:pt x="640185" y="615708"/>
                    <a:pt x="640185" y="618427"/>
                  </a:cubicBezTo>
                  <a:cubicBezTo>
                    <a:pt x="640185" y="623866"/>
                    <a:pt x="640185" y="629306"/>
                    <a:pt x="640185" y="632025"/>
                  </a:cubicBezTo>
                  <a:cubicBezTo>
                    <a:pt x="640185" y="634745"/>
                    <a:pt x="640185" y="637465"/>
                    <a:pt x="640185" y="640184"/>
                  </a:cubicBezTo>
                  <a:cubicBezTo>
                    <a:pt x="640185" y="645624"/>
                    <a:pt x="642905" y="653783"/>
                    <a:pt x="642905" y="659222"/>
                  </a:cubicBezTo>
                  <a:cubicBezTo>
                    <a:pt x="642905" y="661942"/>
                    <a:pt x="642905" y="661942"/>
                    <a:pt x="642905" y="664661"/>
                  </a:cubicBezTo>
                  <a:cubicBezTo>
                    <a:pt x="645624" y="678259"/>
                    <a:pt x="651064" y="678259"/>
                    <a:pt x="653783" y="678259"/>
                  </a:cubicBezTo>
                  <a:lnTo>
                    <a:pt x="653783" y="678259"/>
                  </a:ln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/>
            </a:p>
          </p:txBody>
        </p:sp>
        <p:sp>
          <p:nvSpPr>
            <p:cNvPr id="46" name="Freeform: Shape 45">
              <a:extLst>
                <a:ext uri="{FF2B5EF4-FFF2-40B4-BE49-F238E27FC236}">
                  <a16:creationId xmlns:a16="http://schemas.microsoft.com/office/drawing/2014/main" id="{A832BAE0-D017-4A44-B1FD-B27B15799420}"/>
                </a:ext>
              </a:extLst>
            </p:cNvPr>
            <p:cNvSpPr/>
            <p:nvPr/>
          </p:nvSpPr>
          <p:spPr>
            <a:xfrm>
              <a:off x="6362526" y="4242177"/>
              <a:ext cx="492259" cy="674476"/>
            </a:xfrm>
            <a:custGeom>
              <a:avLst/>
              <a:gdLst>
                <a:gd name="connsiteX0" fmla="*/ 225733 w 492259"/>
                <a:gd name="connsiteY0" fmla="*/ 97907 h 674476"/>
                <a:gd name="connsiteX1" fmla="*/ 209415 w 492259"/>
                <a:gd name="connsiteY1" fmla="*/ 119665 h 674476"/>
                <a:gd name="connsiteX2" fmla="*/ 201256 w 492259"/>
                <a:gd name="connsiteY2" fmla="*/ 152300 h 674476"/>
                <a:gd name="connsiteX3" fmla="*/ 198536 w 492259"/>
                <a:gd name="connsiteY3" fmla="*/ 168618 h 674476"/>
                <a:gd name="connsiteX4" fmla="*/ 195817 w 492259"/>
                <a:gd name="connsiteY4" fmla="*/ 184936 h 674476"/>
                <a:gd name="connsiteX5" fmla="*/ 187658 w 492259"/>
                <a:gd name="connsiteY5" fmla="*/ 220292 h 674476"/>
                <a:gd name="connsiteX6" fmla="*/ 168620 w 492259"/>
                <a:gd name="connsiteY6" fmla="*/ 291003 h 674476"/>
                <a:gd name="connsiteX7" fmla="*/ 160461 w 492259"/>
                <a:gd name="connsiteY7" fmla="*/ 323639 h 674476"/>
                <a:gd name="connsiteX8" fmla="*/ 149582 w 492259"/>
                <a:gd name="connsiteY8" fmla="*/ 361714 h 674476"/>
                <a:gd name="connsiteX9" fmla="*/ 144143 w 492259"/>
                <a:gd name="connsiteY9" fmla="*/ 388910 h 674476"/>
                <a:gd name="connsiteX10" fmla="*/ 149582 w 492259"/>
                <a:gd name="connsiteY10" fmla="*/ 391630 h 674476"/>
                <a:gd name="connsiteX11" fmla="*/ 171340 w 492259"/>
                <a:gd name="connsiteY11" fmla="*/ 391630 h 674476"/>
                <a:gd name="connsiteX12" fmla="*/ 193097 w 492259"/>
                <a:gd name="connsiteY12" fmla="*/ 388910 h 674476"/>
                <a:gd name="connsiteX13" fmla="*/ 212135 w 492259"/>
                <a:gd name="connsiteY13" fmla="*/ 388910 h 674476"/>
                <a:gd name="connsiteX14" fmla="*/ 236611 w 492259"/>
                <a:gd name="connsiteY14" fmla="*/ 388910 h 674476"/>
                <a:gd name="connsiteX15" fmla="*/ 250210 w 492259"/>
                <a:gd name="connsiteY15" fmla="*/ 386191 h 674476"/>
                <a:gd name="connsiteX16" fmla="*/ 258369 w 492259"/>
                <a:gd name="connsiteY16" fmla="*/ 386191 h 674476"/>
                <a:gd name="connsiteX17" fmla="*/ 255649 w 492259"/>
                <a:gd name="connsiteY17" fmla="*/ 367153 h 674476"/>
                <a:gd name="connsiteX18" fmla="*/ 250210 w 492259"/>
                <a:gd name="connsiteY18" fmla="*/ 331797 h 674476"/>
                <a:gd name="connsiteX19" fmla="*/ 247490 w 492259"/>
                <a:gd name="connsiteY19" fmla="*/ 244769 h 674476"/>
                <a:gd name="connsiteX20" fmla="*/ 242051 w 492259"/>
                <a:gd name="connsiteY20" fmla="*/ 203974 h 674476"/>
                <a:gd name="connsiteX21" fmla="*/ 236611 w 492259"/>
                <a:gd name="connsiteY21" fmla="*/ 157740 h 674476"/>
                <a:gd name="connsiteX22" fmla="*/ 233892 w 492259"/>
                <a:gd name="connsiteY22" fmla="*/ 119665 h 674476"/>
                <a:gd name="connsiteX23" fmla="*/ 225733 w 492259"/>
                <a:gd name="connsiteY23" fmla="*/ 97907 h 674476"/>
                <a:gd name="connsiteX24" fmla="*/ 274687 w 492259"/>
                <a:gd name="connsiteY24" fmla="*/ 0 h 674476"/>
                <a:gd name="connsiteX25" fmla="*/ 304603 w 492259"/>
                <a:gd name="connsiteY25" fmla="*/ 5439 h 674476"/>
                <a:gd name="connsiteX26" fmla="*/ 320921 w 492259"/>
                <a:gd name="connsiteY26" fmla="*/ 24477 h 674476"/>
                <a:gd name="connsiteX27" fmla="*/ 334519 w 492259"/>
                <a:gd name="connsiteY27" fmla="*/ 43515 h 674476"/>
                <a:gd name="connsiteX28" fmla="*/ 339959 w 492259"/>
                <a:gd name="connsiteY28" fmla="*/ 65272 h 674476"/>
                <a:gd name="connsiteX29" fmla="*/ 348118 w 492259"/>
                <a:gd name="connsiteY29" fmla="*/ 114226 h 674476"/>
                <a:gd name="connsiteX30" fmla="*/ 361716 w 492259"/>
                <a:gd name="connsiteY30" fmla="*/ 163180 h 674476"/>
                <a:gd name="connsiteX31" fmla="*/ 369875 w 492259"/>
                <a:gd name="connsiteY31" fmla="*/ 220293 h 674476"/>
                <a:gd name="connsiteX32" fmla="*/ 378034 w 492259"/>
                <a:gd name="connsiteY32" fmla="*/ 274686 h 674476"/>
                <a:gd name="connsiteX33" fmla="*/ 383473 w 492259"/>
                <a:gd name="connsiteY33" fmla="*/ 301883 h 674476"/>
                <a:gd name="connsiteX34" fmla="*/ 391632 w 492259"/>
                <a:gd name="connsiteY34" fmla="*/ 337238 h 674476"/>
                <a:gd name="connsiteX35" fmla="*/ 397071 w 492259"/>
                <a:gd name="connsiteY35" fmla="*/ 364435 h 674476"/>
                <a:gd name="connsiteX36" fmla="*/ 405230 w 492259"/>
                <a:gd name="connsiteY36" fmla="*/ 383473 h 674476"/>
                <a:gd name="connsiteX37" fmla="*/ 416109 w 492259"/>
                <a:gd name="connsiteY37" fmla="*/ 386192 h 674476"/>
                <a:gd name="connsiteX38" fmla="*/ 426988 w 492259"/>
                <a:gd name="connsiteY38" fmla="*/ 386192 h 674476"/>
                <a:gd name="connsiteX39" fmla="*/ 454184 w 492259"/>
                <a:gd name="connsiteY39" fmla="*/ 397071 h 674476"/>
                <a:gd name="connsiteX40" fmla="*/ 456904 w 492259"/>
                <a:gd name="connsiteY40" fmla="*/ 405230 h 674476"/>
                <a:gd name="connsiteX41" fmla="*/ 451464 w 492259"/>
                <a:gd name="connsiteY41" fmla="*/ 416108 h 674476"/>
                <a:gd name="connsiteX42" fmla="*/ 432427 w 492259"/>
                <a:gd name="connsiteY42" fmla="*/ 429707 h 674476"/>
                <a:gd name="connsiteX43" fmla="*/ 421548 w 492259"/>
                <a:gd name="connsiteY43" fmla="*/ 432426 h 674476"/>
                <a:gd name="connsiteX44" fmla="*/ 413389 w 492259"/>
                <a:gd name="connsiteY44" fmla="*/ 435146 h 674476"/>
                <a:gd name="connsiteX45" fmla="*/ 413389 w 492259"/>
                <a:gd name="connsiteY45" fmla="*/ 440585 h 674476"/>
                <a:gd name="connsiteX46" fmla="*/ 416109 w 492259"/>
                <a:gd name="connsiteY46" fmla="*/ 451464 h 674476"/>
                <a:gd name="connsiteX47" fmla="*/ 418829 w 492259"/>
                <a:gd name="connsiteY47" fmla="*/ 465062 h 674476"/>
                <a:gd name="connsiteX48" fmla="*/ 418829 w 492259"/>
                <a:gd name="connsiteY48" fmla="*/ 475941 h 674476"/>
                <a:gd name="connsiteX49" fmla="*/ 418829 w 492259"/>
                <a:gd name="connsiteY49" fmla="*/ 486820 h 674476"/>
                <a:gd name="connsiteX50" fmla="*/ 426988 w 492259"/>
                <a:gd name="connsiteY50" fmla="*/ 516736 h 674476"/>
                <a:gd name="connsiteX51" fmla="*/ 432427 w 492259"/>
                <a:gd name="connsiteY51" fmla="*/ 543932 h 674476"/>
                <a:gd name="connsiteX52" fmla="*/ 437866 w 492259"/>
                <a:gd name="connsiteY52" fmla="*/ 573848 h 674476"/>
                <a:gd name="connsiteX53" fmla="*/ 443306 w 492259"/>
                <a:gd name="connsiteY53" fmla="*/ 606484 h 674476"/>
                <a:gd name="connsiteX54" fmla="*/ 446025 w 492259"/>
                <a:gd name="connsiteY54" fmla="*/ 617363 h 674476"/>
                <a:gd name="connsiteX55" fmla="*/ 470502 w 492259"/>
                <a:gd name="connsiteY55" fmla="*/ 617363 h 674476"/>
                <a:gd name="connsiteX56" fmla="*/ 492259 w 492259"/>
                <a:gd name="connsiteY56" fmla="*/ 641840 h 674476"/>
                <a:gd name="connsiteX57" fmla="*/ 484101 w 492259"/>
                <a:gd name="connsiteY57" fmla="*/ 655438 h 674476"/>
                <a:gd name="connsiteX58" fmla="*/ 467782 w 492259"/>
                <a:gd name="connsiteY58" fmla="*/ 663597 h 674476"/>
                <a:gd name="connsiteX59" fmla="*/ 443306 w 492259"/>
                <a:gd name="connsiteY59" fmla="*/ 666317 h 674476"/>
                <a:gd name="connsiteX60" fmla="*/ 421548 w 492259"/>
                <a:gd name="connsiteY60" fmla="*/ 666317 h 674476"/>
                <a:gd name="connsiteX61" fmla="*/ 413389 w 492259"/>
                <a:gd name="connsiteY61" fmla="*/ 666317 h 674476"/>
                <a:gd name="connsiteX62" fmla="*/ 399791 w 492259"/>
                <a:gd name="connsiteY62" fmla="*/ 671756 h 674476"/>
                <a:gd name="connsiteX63" fmla="*/ 383473 w 492259"/>
                <a:gd name="connsiteY63" fmla="*/ 674476 h 674476"/>
                <a:gd name="connsiteX64" fmla="*/ 348118 w 492259"/>
                <a:gd name="connsiteY64" fmla="*/ 669036 h 674476"/>
                <a:gd name="connsiteX65" fmla="*/ 326360 w 492259"/>
                <a:gd name="connsiteY65" fmla="*/ 669036 h 674476"/>
                <a:gd name="connsiteX66" fmla="*/ 277406 w 492259"/>
                <a:gd name="connsiteY66" fmla="*/ 669036 h 674476"/>
                <a:gd name="connsiteX67" fmla="*/ 252930 w 492259"/>
                <a:gd name="connsiteY67" fmla="*/ 663597 h 674476"/>
                <a:gd name="connsiteX68" fmla="*/ 236611 w 492259"/>
                <a:gd name="connsiteY68" fmla="*/ 647279 h 674476"/>
                <a:gd name="connsiteX69" fmla="*/ 261088 w 492259"/>
                <a:gd name="connsiteY69" fmla="*/ 630961 h 674476"/>
                <a:gd name="connsiteX70" fmla="*/ 288285 w 492259"/>
                <a:gd name="connsiteY70" fmla="*/ 628241 h 674476"/>
                <a:gd name="connsiteX71" fmla="*/ 285565 w 492259"/>
                <a:gd name="connsiteY71" fmla="*/ 609204 h 674476"/>
                <a:gd name="connsiteX72" fmla="*/ 282846 w 492259"/>
                <a:gd name="connsiteY72" fmla="*/ 582007 h 674476"/>
                <a:gd name="connsiteX73" fmla="*/ 280126 w 492259"/>
                <a:gd name="connsiteY73" fmla="*/ 568409 h 674476"/>
                <a:gd name="connsiteX74" fmla="*/ 282846 w 492259"/>
                <a:gd name="connsiteY74" fmla="*/ 554811 h 674476"/>
                <a:gd name="connsiteX75" fmla="*/ 277406 w 492259"/>
                <a:gd name="connsiteY75" fmla="*/ 538493 h 674476"/>
                <a:gd name="connsiteX76" fmla="*/ 271967 w 492259"/>
                <a:gd name="connsiteY76" fmla="*/ 505857 h 674476"/>
                <a:gd name="connsiteX77" fmla="*/ 269247 w 492259"/>
                <a:gd name="connsiteY77" fmla="*/ 478660 h 674476"/>
                <a:gd name="connsiteX78" fmla="*/ 266528 w 492259"/>
                <a:gd name="connsiteY78" fmla="*/ 446025 h 674476"/>
                <a:gd name="connsiteX79" fmla="*/ 261088 w 492259"/>
                <a:gd name="connsiteY79" fmla="*/ 437866 h 674476"/>
                <a:gd name="connsiteX80" fmla="*/ 250210 w 492259"/>
                <a:gd name="connsiteY80" fmla="*/ 437866 h 674476"/>
                <a:gd name="connsiteX81" fmla="*/ 220293 w 492259"/>
                <a:gd name="connsiteY81" fmla="*/ 440585 h 674476"/>
                <a:gd name="connsiteX82" fmla="*/ 190377 w 492259"/>
                <a:gd name="connsiteY82" fmla="*/ 443305 h 674476"/>
                <a:gd name="connsiteX83" fmla="*/ 165900 w 492259"/>
                <a:gd name="connsiteY83" fmla="*/ 443305 h 674476"/>
                <a:gd name="connsiteX84" fmla="*/ 144143 w 492259"/>
                <a:gd name="connsiteY84" fmla="*/ 440585 h 674476"/>
                <a:gd name="connsiteX85" fmla="*/ 135984 w 492259"/>
                <a:gd name="connsiteY85" fmla="*/ 454184 h 674476"/>
                <a:gd name="connsiteX86" fmla="*/ 130545 w 492259"/>
                <a:gd name="connsiteY86" fmla="*/ 486820 h 674476"/>
                <a:gd name="connsiteX87" fmla="*/ 119666 w 492259"/>
                <a:gd name="connsiteY87" fmla="*/ 541213 h 674476"/>
                <a:gd name="connsiteX88" fmla="*/ 103348 w 492259"/>
                <a:gd name="connsiteY88" fmla="*/ 614643 h 674476"/>
                <a:gd name="connsiteX89" fmla="*/ 133264 w 492259"/>
                <a:gd name="connsiteY89" fmla="*/ 614643 h 674476"/>
                <a:gd name="connsiteX90" fmla="*/ 168620 w 492259"/>
                <a:gd name="connsiteY90" fmla="*/ 630961 h 674476"/>
                <a:gd name="connsiteX91" fmla="*/ 163181 w 492259"/>
                <a:gd name="connsiteY91" fmla="*/ 647279 h 674476"/>
                <a:gd name="connsiteX92" fmla="*/ 146863 w 492259"/>
                <a:gd name="connsiteY92" fmla="*/ 655438 h 674476"/>
                <a:gd name="connsiteX93" fmla="*/ 127825 w 492259"/>
                <a:gd name="connsiteY93" fmla="*/ 658158 h 674476"/>
                <a:gd name="connsiteX94" fmla="*/ 106068 w 492259"/>
                <a:gd name="connsiteY94" fmla="*/ 658158 h 674476"/>
                <a:gd name="connsiteX95" fmla="*/ 62552 w 492259"/>
                <a:gd name="connsiteY95" fmla="*/ 658158 h 674476"/>
                <a:gd name="connsiteX96" fmla="*/ 40795 w 492259"/>
                <a:gd name="connsiteY96" fmla="*/ 658158 h 674476"/>
                <a:gd name="connsiteX97" fmla="*/ 16318 w 492259"/>
                <a:gd name="connsiteY97" fmla="*/ 652718 h 674476"/>
                <a:gd name="connsiteX98" fmla="*/ 0 w 492259"/>
                <a:gd name="connsiteY98" fmla="*/ 636401 h 674476"/>
                <a:gd name="connsiteX99" fmla="*/ 2720 w 492259"/>
                <a:gd name="connsiteY99" fmla="*/ 628241 h 674476"/>
                <a:gd name="connsiteX100" fmla="*/ 24477 w 492259"/>
                <a:gd name="connsiteY100" fmla="*/ 620082 h 674476"/>
                <a:gd name="connsiteX101" fmla="*/ 62552 w 492259"/>
                <a:gd name="connsiteY101" fmla="*/ 617363 h 674476"/>
                <a:gd name="connsiteX102" fmla="*/ 62552 w 492259"/>
                <a:gd name="connsiteY102" fmla="*/ 614643 h 674476"/>
                <a:gd name="connsiteX103" fmla="*/ 65272 w 492259"/>
                <a:gd name="connsiteY103" fmla="*/ 587447 h 674476"/>
                <a:gd name="connsiteX104" fmla="*/ 76151 w 492259"/>
                <a:gd name="connsiteY104" fmla="*/ 522175 h 674476"/>
                <a:gd name="connsiteX105" fmla="*/ 87029 w 492259"/>
                <a:gd name="connsiteY105" fmla="*/ 470501 h 674476"/>
                <a:gd name="connsiteX106" fmla="*/ 92468 w 492259"/>
                <a:gd name="connsiteY106" fmla="*/ 446025 h 674476"/>
                <a:gd name="connsiteX107" fmla="*/ 65272 w 492259"/>
                <a:gd name="connsiteY107" fmla="*/ 432426 h 674476"/>
                <a:gd name="connsiteX108" fmla="*/ 54393 w 492259"/>
                <a:gd name="connsiteY108" fmla="*/ 421548 h 674476"/>
                <a:gd name="connsiteX109" fmla="*/ 73431 w 492259"/>
                <a:gd name="connsiteY109" fmla="*/ 407949 h 674476"/>
                <a:gd name="connsiteX110" fmla="*/ 100629 w 492259"/>
                <a:gd name="connsiteY110" fmla="*/ 399790 h 674476"/>
                <a:gd name="connsiteX111" fmla="*/ 108788 w 492259"/>
                <a:gd name="connsiteY111" fmla="*/ 369874 h 674476"/>
                <a:gd name="connsiteX112" fmla="*/ 125105 w 492259"/>
                <a:gd name="connsiteY112" fmla="*/ 307322 h 674476"/>
                <a:gd name="connsiteX113" fmla="*/ 141423 w 492259"/>
                <a:gd name="connsiteY113" fmla="*/ 242051 h 674476"/>
                <a:gd name="connsiteX114" fmla="*/ 155022 w 492259"/>
                <a:gd name="connsiteY114" fmla="*/ 179498 h 674476"/>
                <a:gd name="connsiteX115" fmla="*/ 168620 w 492259"/>
                <a:gd name="connsiteY115" fmla="*/ 119665 h 674476"/>
                <a:gd name="connsiteX116" fmla="*/ 193097 w 492259"/>
                <a:gd name="connsiteY116" fmla="*/ 57113 h 674476"/>
                <a:gd name="connsiteX117" fmla="*/ 201256 w 492259"/>
                <a:gd name="connsiteY117" fmla="*/ 38075 h 674476"/>
                <a:gd name="connsiteX118" fmla="*/ 217574 w 492259"/>
                <a:gd name="connsiteY118" fmla="*/ 13598 h 674476"/>
                <a:gd name="connsiteX119" fmla="*/ 274687 w 492259"/>
                <a:gd name="connsiteY119" fmla="*/ 0 h 6744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</a:cxnLst>
              <a:rect l="l" t="t" r="r" b="b"/>
              <a:pathLst>
                <a:path w="492259" h="674476">
                  <a:moveTo>
                    <a:pt x="225733" y="97907"/>
                  </a:moveTo>
                  <a:cubicBezTo>
                    <a:pt x="217574" y="97907"/>
                    <a:pt x="209415" y="114225"/>
                    <a:pt x="209415" y="119665"/>
                  </a:cubicBezTo>
                  <a:cubicBezTo>
                    <a:pt x="206695" y="130543"/>
                    <a:pt x="203976" y="144141"/>
                    <a:pt x="201256" y="152300"/>
                  </a:cubicBezTo>
                  <a:cubicBezTo>
                    <a:pt x="198536" y="157740"/>
                    <a:pt x="198536" y="163179"/>
                    <a:pt x="198536" y="168618"/>
                  </a:cubicBezTo>
                  <a:cubicBezTo>
                    <a:pt x="198536" y="174058"/>
                    <a:pt x="195817" y="179497"/>
                    <a:pt x="195817" y="184936"/>
                  </a:cubicBezTo>
                  <a:cubicBezTo>
                    <a:pt x="193097" y="195815"/>
                    <a:pt x="190377" y="209413"/>
                    <a:pt x="187658" y="220292"/>
                  </a:cubicBezTo>
                  <a:cubicBezTo>
                    <a:pt x="184938" y="244769"/>
                    <a:pt x="176779" y="269246"/>
                    <a:pt x="168620" y="291003"/>
                  </a:cubicBezTo>
                  <a:cubicBezTo>
                    <a:pt x="165900" y="301881"/>
                    <a:pt x="163181" y="312760"/>
                    <a:pt x="160461" y="323639"/>
                  </a:cubicBezTo>
                  <a:cubicBezTo>
                    <a:pt x="157742" y="337237"/>
                    <a:pt x="155022" y="348115"/>
                    <a:pt x="149582" y="361714"/>
                  </a:cubicBezTo>
                  <a:cubicBezTo>
                    <a:pt x="146863" y="367153"/>
                    <a:pt x="144143" y="383471"/>
                    <a:pt x="144143" y="388910"/>
                  </a:cubicBezTo>
                  <a:cubicBezTo>
                    <a:pt x="144143" y="391630"/>
                    <a:pt x="146863" y="391630"/>
                    <a:pt x="149582" y="391630"/>
                  </a:cubicBezTo>
                  <a:cubicBezTo>
                    <a:pt x="155022" y="391630"/>
                    <a:pt x="168620" y="391630"/>
                    <a:pt x="171340" y="391630"/>
                  </a:cubicBezTo>
                  <a:cubicBezTo>
                    <a:pt x="179498" y="391630"/>
                    <a:pt x="187658" y="391630"/>
                    <a:pt x="193097" y="388910"/>
                  </a:cubicBezTo>
                  <a:cubicBezTo>
                    <a:pt x="198536" y="388910"/>
                    <a:pt x="203976" y="388910"/>
                    <a:pt x="212135" y="388910"/>
                  </a:cubicBezTo>
                  <a:cubicBezTo>
                    <a:pt x="217574" y="388910"/>
                    <a:pt x="225733" y="388910"/>
                    <a:pt x="236611" y="388910"/>
                  </a:cubicBezTo>
                  <a:cubicBezTo>
                    <a:pt x="242051" y="388910"/>
                    <a:pt x="247490" y="388910"/>
                    <a:pt x="250210" y="386191"/>
                  </a:cubicBezTo>
                  <a:cubicBezTo>
                    <a:pt x="255649" y="391630"/>
                    <a:pt x="258369" y="388910"/>
                    <a:pt x="258369" y="386191"/>
                  </a:cubicBezTo>
                  <a:cubicBezTo>
                    <a:pt x="258369" y="380751"/>
                    <a:pt x="255649" y="372592"/>
                    <a:pt x="255649" y="367153"/>
                  </a:cubicBezTo>
                  <a:cubicBezTo>
                    <a:pt x="252930" y="353555"/>
                    <a:pt x="250210" y="342676"/>
                    <a:pt x="250210" y="331797"/>
                  </a:cubicBezTo>
                  <a:cubicBezTo>
                    <a:pt x="250210" y="301881"/>
                    <a:pt x="250210" y="274685"/>
                    <a:pt x="247490" y="244769"/>
                  </a:cubicBezTo>
                  <a:cubicBezTo>
                    <a:pt x="247490" y="231170"/>
                    <a:pt x="244771" y="217572"/>
                    <a:pt x="242051" y="203974"/>
                  </a:cubicBezTo>
                  <a:cubicBezTo>
                    <a:pt x="239331" y="187656"/>
                    <a:pt x="236611" y="174058"/>
                    <a:pt x="236611" y="157740"/>
                  </a:cubicBezTo>
                  <a:cubicBezTo>
                    <a:pt x="236611" y="152300"/>
                    <a:pt x="236611" y="133263"/>
                    <a:pt x="233892" y="119665"/>
                  </a:cubicBezTo>
                  <a:cubicBezTo>
                    <a:pt x="233892" y="106066"/>
                    <a:pt x="231172" y="97907"/>
                    <a:pt x="225733" y="97907"/>
                  </a:cubicBezTo>
                  <a:close/>
                  <a:moveTo>
                    <a:pt x="274687" y="0"/>
                  </a:moveTo>
                  <a:cubicBezTo>
                    <a:pt x="288285" y="0"/>
                    <a:pt x="293724" y="2720"/>
                    <a:pt x="304603" y="5439"/>
                  </a:cubicBezTo>
                  <a:cubicBezTo>
                    <a:pt x="315481" y="10879"/>
                    <a:pt x="315481" y="16318"/>
                    <a:pt x="320921" y="24477"/>
                  </a:cubicBezTo>
                  <a:cubicBezTo>
                    <a:pt x="326360" y="29916"/>
                    <a:pt x="331800" y="35356"/>
                    <a:pt x="334519" y="43515"/>
                  </a:cubicBezTo>
                  <a:cubicBezTo>
                    <a:pt x="337239" y="51674"/>
                    <a:pt x="337239" y="57113"/>
                    <a:pt x="339959" y="65272"/>
                  </a:cubicBezTo>
                  <a:cubicBezTo>
                    <a:pt x="345398" y="78870"/>
                    <a:pt x="342678" y="97908"/>
                    <a:pt x="348118" y="114226"/>
                  </a:cubicBezTo>
                  <a:cubicBezTo>
                    <a:pt x="350837" y="130544"/>
                    <a:pt x="358996" y="146863"/>
                    <a:pt x="361716" y="163180"/>
                  </a:cubicBezTo>
                  <a:cubicBezTo>
                    <a:pt x="364435" y="182218"/>
                    <a:pt x="364435" y="201256"/>
                    <a:pt x="369875" y="220293"/>
                  </a:cubicBezTo>
                  <a:cubicBezTo>
                    <a:pt x="375314" y="239331"/>
                    <a:pt x="378034" y="255649"/>
                    <a:pt x="378034" y="274686"/>
                  </a:cubicBezTo>
                  <a:cubicBezTo>
                    <a:pt x="378034" y="282845"/>
                    <a:pt x="380753" y="293724"/>
                    <a:pt x="383473" y="301883"/>
                  </a:cubicBezTo>
                  <a:cubicBezTo>
                    <a:pt x="386193" y="312762"/>
                    <a:pt x="388913" y="326360"/>
                    <a:pt x="391632" y="337238"/>
                  </a:cubicBezTo>
                  <a:cubicBezTo>
                    <a:pt x="391632" y="342678"/>
                    <a:pt x="394352" y="353556"/>
                    <a:pt x="397071" y="364435"/>
                  </a:cubicBezTo>
                  <a:cubicBezTo>
                    <a:pt x="399791" y="372594"/>
                    <a:pt x="402511" y="380753"/>
                    <a:pt x="405230" y="383473"/>
                  </a:cubicBezTo>
                  <a:cubicBezTo>
                    <a:pt x="407950" y="386192"/>
                    <a:pt x="413389" y="386192"/>
                    <a:pt x="416109" y="386192"/>
                  </a:cubicBezTo>
                  <a:cubicBezTo>
                    <a:pt x="418829" y="386192"/>
                    <a:pt x="424268" y="386192"/>
                    <a:pt x="426988" y="386192"/>
                  </a:cubicBezTo>
                  <a:cubicBezTo>
                    <a:pt x="437866" y="386192"/>
                    <a:pt x="448745" y="388912"/>
                    <a:pt x="454184" y="397071"/>
                  </a:cubicBezTo>
                  <a:cubicBezTo>
                    <a:pt x="456904" y="399790"/>
                    <a:pt x="456904" y="402510"/>
                    <a:pt x="456904" y="405230"/>
                  </a:cubicBezTo>
                  <a:cubicBezTo>
                    <a:pt x="456904" y="407949"/>
                    <a:pt x="454184" y="410669"/>
                    <a:pt x="451464" y="416108"/>
                  </a:cubicBezTo>
                  <a:cubicBezTo>
                    <a:pt x="446025" y="421548"/>
                    <a:pt x="440586" y="426987"/>
                    <a:pt x="432427" y="429707"/>
                  </a:cubicBezTo>
                  <a:cubicBezTo>
                    <a:pt x="429707" y="429707"/>
                    <a:pt x="426988" y="432426"/>
                    <a:pt x="421548" y="432426"/>
                  </a:cubicBezTo>
                  <a:cubicBezTo>
                    <a:pt x="418829" y="432426"/>
                    <a:pt x="416109" y="432426"/>
                    <a:pt x="413389" y="435146"/>
                  </a:cubicBezTo>
                  <a:cubicBezTo>
                    <a:pt x="413389" y="435146"/>
                    <a:pt x="413389" y="437866"/>
                    <a:pt x="413389" y="440585"/>
                  </a:cubicBezTo>
                  <a:cubicBezTo>
                    <a:pt x="413389" y="443305"/>
                    <a:pt x="413389" y="448744"/>
                    <a:pt x="416109" y="451464"/>
                  </a:cubicBezTo>
                  <a:cubicBezTo>
                    <a:pt x="416109" y="456903"/>
                    <a:pt x="418829" y="462343"/>
                    <a:pt x="418829" y="465062"/>
                  </a:cubicBezTo>
                  <a:lnTo>
                    <a:pt x="418829" y="475941"/>
                  </a:lnTo>
                  <a:cubicBezTo>
                    <a:pt x="418829" y="481380"/>
                    <a:pt x="418829" y="484100"/>
                    <a:pt x="418829" y="486820"/>
                  </a:cubicBezTo>
                  <a:cubicBezTo>
                    <a:pt x="421548" y="497698"/>
                    <a:pt x="424268" y="505857"/>
                    <a:pt x="426988" y="516736"/>
                  </a:cubicBezTo>
                  <a:cubicBezTo>
                    <a:pt x="426988" y="524895"/>
                    <a:pt x="429707" y="535773"/>
                    <a:pt x="432427" y="543932"/>
                  </a:cubicBezTo>
                  <a:cubicBezTo>
                    <a:pt x="435147" y="554811"/>
                    <a:pt x="437866" y="562970"/>
                    <a:pt x="437866" y="573848"/>
                  </a:cubicBezTo>
                  <a:cubicBezTo>
                    <a:pt x="437866" y="587447"/>
                    <a:pt x="440586" y="595606"/>
                    <a:pt x="443306" y="606484"/>
                  </a:cubicBezTo>
                  <a:cubicBezTo>
                    <a:pt x="443306" y="609204"/>
                    <a:pt x="446025" y="614643"/>
                    <a:pt x="446025" y="617363"/>
                  </a:cubicBezTo>
                  <a:cubicBezTo>
                    <a:pt x="454184" y="617363"/>
                    <a:pt x="462343" y="617363"/>
                    <a:pt x="470502" y="617363"/>
                  </a:cubicBezTo>
                  <a:cubicBezTo>
                    <a:pt x="475942" y="625522"/>
                    <a:pt x="492259" y="630961"/>
                    <a:pt x="492259" y="641840"/>
                  </a:cubicBezTo>
                  <a:cubicBezTo>
                    <a:pt x="492259" y="647279"/>
                    <a:pt x="486820" y="649999"/>
                    <a:pt x="484101" y="655438"/>
                  </a:cubicBezTo>
                  <a:cubicBezTo>
                    <a:pt x="481381" y="660877"/>
                    <a:pt x="473222" y="663597"/>
                    <a:pt x="467782" y="663597"/>
                  </a:cubicBezTo>
                  <a:cubicBezTo>
                    <a:pt x="456904" y="666317"/>
                    <a:pt x="451464" y="666317"/>
                    <a:pt x="443306" y="666317"/>
                  </a:cubicBezTo>
                  <a:cubicBezTo>
                    <a:pt x="437866" y="666317"/>
                    <a:pt x="429707" y="666317"/>
                    <a:pt x="421548" y="666317"/>
                  </a:cubicBezTo>
                  <a:cubicBezTo>
                    <a:pt x="418829" y="666317"/>
                    <a:pt x="416109" y="666317"/>
                    <a:pt x="413389" y="666317"/>
                  </a:cubicBezTo>
                  <a:cubicBezTo>
                    <a:pt x="407950" y="669036"/>
                    <a:pt x="405230" y="669036"/>
                    <a:pt x="399791" y="671756"/>
                  </a:cubicBezTo>
                  <a:cubicBezTo>
                    <a:pt x="394352" y="671756"/>
                    <a:pt x="388913" y="674476"/>
                    <a:pt x="383473" y="674476"/>
                  </a:cubicBezTo>
                  <a:cubicBezTo>
                    <a:pt x="372594" y="674476"/>
                    <a:pt x="358996" y="671756"/>
                    <a:pt x="348118" y="669036"/>
                  </a:cubicBezTo>
                  <a:cubicBezTo>
                    <a:pt x="339959" y="669036"/>
                    <a:pt x="331800" y="669036"/>
                    <a:pt x="326360" y="669036"/>
                  </a:cubicBezTo>
                  <a:cubicBezTo>
                    <a:pt x="304603" y="669036"/>
                    <a:pt x="285565" y="669036"/>
                    <a:pt x="277406" y="669036"/>
                  </a:cubicBezTo>
                  <a:cubicBezTo>
                    <a:pt x="269247" y="669036"/>
                    <a:pt x="258369" y="669036"/>
                    <a:pt x="252930" y="663597"/>
                  </a:cubicBezTo>
                  <a:cubicBezTo>
                    <a:pt x="247490" y="660877"/>
                    <a:pt x="236611" y="655438"/>
                    <a:pt x="236611" y="647279"/>
                  </a:cubicBezTo>
                  <a:cubicBezTo>
                    <a:pt x="236611" y="636401"/>
                    <a:pt x="252930" y="633681"/>
                    <a:pt x="261088" y="630961"/>
                  </a:cubicBezTo>
                  <a:cubicBezTo>
                    <a:pt x="266528" y="630961"/>
                    <a:pt x="274687" y="630961"/>
                    <a:pt x="288285" y="628241"/>
                  </a:cubicBezTo>
                  <a:cubicBezTo>
                    <a:pt x="288285" y="620082"/>
                    <a:pt x="288285" y="614643"/>
                    <a:pt x="285565" y="609204"/>
                  </a:cubicBezTo>
                  <a:cubicBezTo>
                    <a:pt x="285565" y="601045"/>
                    <a:pt x="282846" y="590166"/>
                    <a:pt x="282846" y="582007"/>
                  </a:cubicBezTo>
                  <a:cubicBezTo>
                    <a:pt x="282846" y="576568"/>
                    <a:pt x="280126" y="573848"/>
                    <a:pt x="280126" y="568409"/>
                  </a:cubicBezTo>
                  <a:cubicBezTo>
                    <a:pt x="280126" y="562970"/>
                    <a:pt x="282846" y="557531"/>
                    <a:pt x="282846" y="554811"/>
                  </a:cubicBezTo>
                  <a:cubicBezTo>
                    <a:pt x="282846" y="549371"/>
                    <a:pt x="280126" y="546652"/>
                    <a:pt x="277406" y="538493"/>
                  </a:cubicBezTo>
                  <a:cubicBezTo>
                    <a:pt x="277406" y="527614"/>
                    <a:pt x="271967" y="516736"/>
                    <a:pt x="271967" y="505857"/>
                  </a:cubicBezTo>
                  <a:cubicBezTo>
                    <a:pt x="271967" y="494978"/>
                    <a:pt x="271967" y="486820"/>
                    <a:pt x="269247" y="478660"/>
                  </a:cubicBezTo>
                  <a:cubicBezTo>
                    <a:pt x="266528" y="467782"/>
                    <a:pt x="266528" y="456903"/>
                    <a:pt x="266528" y="446025"/>
                  </a:cubicBezTo>
                  <a:cubicBezTo>
                    <a:pt x="266528" y="440585"/>
                    <a:pt x="263808" y="437866"/>
                    <a:pt x="261088" y="437866"/>
                  </a:cubicBezTo>
                  <a:cubicBezTo>
                    <a:pt x="258369" y="437866"/>
                    <a:pt x="255649" y="437866"/>
                    <a:pt x="250210" y="437866"/>
                  </a:cubicBezTo>
                  <a:cubicBezTo>
                    <a:pt x="239331" y="437866"/>
                    <a:pt x="228452" y="437866"/>
                    <a:pt x="220293" y="440585"/>
                  </a:cubicBezTo>
                  <a:cubicBezTo>
                    <a:pt x="209415" y="440585"/>
                    <a:pt x="201256" y="443305"/>
                    <a:pt x="190377" y="443305"/>
                  </a:cubicBezTo>
                  <a:cubicBezTo>
                    <a:pt x="182218" y="443305"/>
                    <a:pt x="174059" y="443305"/>
                    <a:pt x="165900" y="443305"/>
                  </a:cubicBezTo>
                  <a:cubicBezTo>
                    <a:pt x="163181" y="443305"/>
                    <a:pt x="152302" y="440585"/>
                    <a:pt x="144143" y="440585"/>
                  </a:cubicBezTo>
                  <a:cubicBezTo>
                    <a:pt x="135984" y="440585"/>
                    <a:pt x="135984" y="448744"/>
                    <a:pt x="135984" y="454184"/>
                  </a:cubicBezTo>
                  <a:cubicBezTo>
                    <a:pt x="135984" y="465062"/>
                    <a:pt x="133264" y="475941"/>
                    <a:pt x="130545" y="486820"/>
                  </a:cubicBezTo>
                  <a:cubicBezTo>
                    <a:pt x="127825" y="505857"/>
                    <a:pt x="122386" y="522175"/>
                    <a:pt x="119666" y="541213"/>
                  </a:cubicBezTo>
                  <a:cubicBezTo>
                    <a:pt x="116947" y="560250"/>
                    <a:pt x="108788" y="595606"/>
                    <a:pt x="103348" y="614643"/>
                  </a:cubicBezTo>
                  <a:cubicBezTo>
                    <a:pt x="111507" y="614643"/>
                    <a:pt x="122386" y="614643"/>
                    <a:pt x="133264" y="614643"/>
                  </a:cubicBezTo>
                  <a:cubicBezTo>
                    <a:pt x="146863" y="614643"/>
                    <a:pt x="168620" y="614643"/>
                    <a:pt x="168620" y="630961"/>
                  </a:cubicBezTo>
                  <a:cubicBezTo>
                    <a:pt x="168620" y="639120"/>
                    <a:pt x="165900" y="639120"/>
                    <a:pt x="163181" y="647279"/>
                  </a:cubicBezTo>
                  <a:cubicBezTo>
                    <a:pt x="160461" y="652718"/>
                    <a:pt x="152302" y="655438"/>
                    <a:pt x="146863" y="655438"/>
                  </a:cubicBezTo>
                  <a:cubicBezTo>
                    <a:pt x="138704" y="658158"/>
                    <a:pt x="133264" y="658158"/>
                    <a:pt x="127825" y="658158"/>
                  </a:cubicBezTo>
                  <a:cubicBezTo>
                    <a:pt x="122386" y="658158"/>
                    <a:pt x="116947" y="658158"/>
                    <a:pt x="106068" y="658158"/>
                  </a:cubicBezTo>
                  <a:cubicBezTo>
                    <a:pt x="92468" y="658158"/>
                    <a:pt x="78870" y="658158"/>
                    <a:pt x="62552" y="658158"/>
                  </a:cubicBezTo>
                  <a:cubicBezTo>
                    <a:pt x="54393" y="658158"/>
                    <a:pt x="46234" y="658158"/>
                    <a:pt x="40795" y="658158"/>
                  </a:cubicBezTo>
                  <a:cubicBezTo>
                    <a:pt x="32636" y="658158"/>
                    <a:pt x="21758" y="658158"/>
                    <a:pt x="16318" y="652718"/>
                  </a:cubicBezTo>
                  <a:cubicBezTo>
                    <a:pt x="8159" y="649999"/>
                    <a:pt x="0" y="641840"/>
                    <a:pt x="0" y="636401"/>
                  </a:cubicBezTo>
                  <a:cubicBezTo>
                    <a:pt x="0" y="633681"/>
                    <a:pt x="0" y="630961"/>
                    <a:pt x="2720" y="628241"/>
                  </a:cubicBezTo>
                  <a:cubicBezTo>
                    <a:pt x="8159" y="625522"/>
                    <a:pt x="16318" y="622802"/>
                    <a:pt x="24477" y="620082"/>
                  </a:cubicBezTo>
                  <a:cubicBezTo>
                    <a:pt x="38075" y="617363"/>
                    <a:pt x="48954" y="617363"/>
                    <a:pt x="62552" y="617363"/>
                  </a:cubicBezTo>
                  <a:cubicBezTo>
                    <a:pt x="62552" y="617363"/>
                    <a:pt x="62552" y="614643"/>
                    <a:pt x="62552" y="614643"/>
                  </a:cubicBezTo>
                  <a:cubicBezTo>
                    <a:pt x="62552" y="603765"/>
                    <a:pt x="65272" y="590166"/>
                    <a:pt x="65272" y="587447"/>
                  </a:cubicBezTo>
                  <a:cubicBezTo>
                    <a:pt x="67992" y="565689"/>
                    <a:pt x="73431" y="543932"/>
                    <a:pt x="76151" y="522175"/>
                  </a:cubicBezTo>
                  <a:cubicBezTo>
                    <a:pt x="78870" y="505857"/>
                    <a:pt x="81590" y="486820"/>
                    <a:pt x="87029" y="470501"/>
                  </a:cubicBezTo>
                  <a:cubicBezTo>
                    <a:pt x="87029" y="465062"/>
                    <a:pt x="92468" y="451464"/>
                    <a:pt x="92468" y="446025"/>
                  </a:cubicBezTo>
                  <a:cubicBezTo>
                    <a:pt x="92468" y="437866"/>
                    <a:pt x="73431" y="437866"/>
                    <a:pt x="65272" y="432426"/>
                  </a:cubicBezTo>
                  <a:cubicBezTo>
                    <a:pt x="59833" y="429707"/>
                    <a:pt x="54393" y="426987"/>
                    <a:pt x="54393" y="421548"/>
                  </a:cubicBezTo>
                  <a:cubicBezTo>
                    <a:pt x="54393" y="413389"/>
                    <a:pt x="62552" y="410669"/>
                    <a:pt x="73431" y="407949"/>
                  </a:cubicBezTo>
                  <a:cubicBezTo>
                    <a:pt x="78870" y="407949"/>
                    <a:pt x="92468" y="405230"/>
                    <a:pt x="100629" y="399790"/>
                  </a:cubicBezTo>
                  <a:cubicBezTo>
                    <a:pt x="106068" y="394351"/>
                    <a:pt x="106068" y="378033"/>
                    <a:pt x="108788" y="369874"/>
                  </a:cubicBezTo>
                  <a:cubicBezTo>
                    <a:pt x="114227" y="348117"/>
                    <a:pt x="119666" y="326360"/>
                    <a:pt x="125105" y="307322"/>
                  </a:cubicBezTo>
                  <a:cubicBezTo>
                    <a:pt x="130545" y="285565"/>
                    <a:pt x="135984" y="263808"/>
                    <a:pt x="141423" y="242051"/>
                  </a:cubicBezTo>
                  <a:cubicBezTo>
                    <a:pt x="146863" y="220293"/>
                    <a:pt x="152302" y="198536"/>
                    <a:pt x="155022" y="179498"/>
                  </a:cubicBezTo>
                  <a:cubicBezTo>
                    <a:pt x="157742" y="160461"/>
                    <a:pt x="163181" y="138703"/>
                    <a:pt x="168620" y="119665"/>
                  </a:cubicBezTo>
                  <a:cubicBezTo>
                    <a:pt x="176779" y="100627"/>
                    <a:pt x="182218" y="76150"/>
                    <a:pt x="193097" y="57113"/>
                  </a:cubicBezTo>
                  <a:lnTo>
                    <a:pt x="201256" y="38075"/>
                  </a:lnTo>
                  <a:cubicBezTo>
                    <a:pt x="206695" y="29916"/>
                    <a:pt x="209415" y="19038"/>
                    <a:pt x="217574" y="13598"/>
                  </a:cubicBezTo>
                  <a:cubicBezTo>
                    <a:pt x="231172" y="2720"/>
                    <a:pt x="255649" y="0"/>
                    <a:pt x="274687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/>
            </a:p>
          </p:txBody>
        </p:sp>
        <p:sp>
          <p:nvSpPr>
            <p:cNvPr id="47" name="Freeform: Shape 46">
              <a:extLst>
                <a:ext uri="{FF2B5EF4-FFF2-40B4-BE49-F238E27FC236}">
                  <a16:creationId xmlns:a16="http://schemas.microsoft.com/office/drawing/2014/main" id="{95C4E59D-A8AD-4910-AF39-8DEEF44A00F1}"/>
                </a:ext>
              </a:extLst>
            </p:cNvPr>
            <p:cNvSpPr/>
            <p:nvPr/>
          </p:nvSpPr>
          <p:spPr>
            <a:xfrm>
              <a:off x="6876542" y="4244897"/>
              <a:ext cx="462342" cy="677195"/>
            </a:xfrm>
            <a:custGeom>
              <a:avLst/>
              <a:gdLst>
                <a:gd name="connsiteX0" fmla="*/ 214853 w 462342"/>
                <a:gd name="connsiteY0" fmla="*/ 65272 h 677195"/>
                <a:gd name="connsiteX1" fmla="*/ 195815 w 462342"/>
                <a:gd name="connsiteY1" fmla="*/ 73431 h 677195"/>
                <a:gd name="connsiteX2" fmla="*/ 193096 w 462342"/>
                <a:gd name="connsiteY2" fmla="*/ 125105 h 677195"/>
                <a:gd name="connsiteX3" fmla="*/ 190376 w 462342"/>
                <a:gd name="connsiteY3" fmla="*/ 280125 h 677195"/>
                <a:gd name="connsiteX4" fmla="*/ 190376 w 462342"/>
                <a:gd name="connsiteY4" fmla="*/ 301882 h 677195"/>
                <a:gd name="connsiteX5" fmla="*/ 193096 w 462342"/>
                <a:gd name="connsiteY5" fmla="*/ 342677 h 677195"/>
                <a:gd name="connsiteX6" fmla="*/ 195815 w 462342"/>
                <a:gd name="connsiteY6" fmla="*/ 397070 h 677195"/>
                <a:gd name="connsiteX7" fmla="*/ 195815 w 462342"/>
                <a:gd name="connsiteY7" fmla="*/ 443304 h 677195"/>
                <a:gd name="connsiteX8" fmla="*/ 195815 w 462342"/>
                <a:gd name="connsiteY8" fmla="*/ 530333 h 677195"/>
                <a:gd name="connsiteX9" fmla="*/ 193096 w 462342"/>
                <a:gd name="connsiteY9" fmla="*/ 554810 h 677195"/>
                <a:gd name="connsiteX10" fmla="*/ 190376 w 462342"/>
                <a:gd name="connsiteY10" fmla="*/ 603764 h 677195"/>
                <a:gd name="connsiteX11" fmla="*/ 198535 w 462342"/>
                <a:gd name="connsiteY11" fmla="*/ 611923 h 677195"/>
                <a:gd name="connsiteX12" fmla="*/ 214853 w 462342"/>
                <a:gd name="connsiteY12" fmla="*/ 611923 h 677195"/>
                <a:gd name="connsiteX13" fmla="*/ 236610 w 462342"/>
                <a:gd name="connsiteY13" fmla="*/ 611923 h 677195"/>
                <a:gd name="connsiteX14" fmla="*/ 263807 w 462342"/>
                <a:gd name="connsiteY14" fmla="*/ 598325 h 677195"/>
                <a:gd name="connsiteX15" fmla="*/ 277405 w 462342"/>
                <a:gd name="connsiteY15" fmla="*/ 592885 h 677195"/>
                <a:gd name="connsiteX16" fmla="*/ 291004 w 462342"/>
                <a:gd name="connsiteY16" fmla="*/ 573848 h 677195"/>
                <a:gd name="connsiteX17" fmla="*/ 307322 w 462342"/>
                <a:gd name="connsiteY17" fmla="*/ 543931 h 677195"/>
                <a:gd name="connsiteX18" fmla="*/ 326359 w 462342"/>
                <a:gd name="connsiteY18" fmla="*/ 481379 h 677195"/>
                <a:gd name="connsiteX19" fmla="*/ 337238 w 462342"/>
                <a:gd name="connsiteY19" fmla="*/ 413388 h 677195"/>
                <a:gd name="connsiteX20" fmla="*/ 337238 w 462342"/>
                <a:gd name="connsiteY20" fmla="*/ 350836 h 677195"/>
                <a:gd name="connsiteX21" fmla="*/ 334518 w 462342"/>
                <a:gd name="connsiteY21" fmla="*/ 296443 h 677195"/>
                <a:gd name="connsiteX22" fmla="*/ 329079 w 462342"/>
                <a:gd name="connsiteY22" fmla="*/ 244769 h 677195"/>
                <a:gd name="connsiteX23" fmla="*/ 307322 w 462342"/>
                <a:gd name="connsiteY23" fmla="*/ 135983 h 677195"/>
                <a:gd name="connsiteX24" fmla="*/ 271966 w 462342"/>
                <a:gd name="connsiteY24" fmla="*/ 78870 h 677195"/>
                <a:gd name="connsiteX25" fmla="*/ 214853 w 462342"/>
                <a:gd name="connsiteY25" fmla="*/ 65272 h 677195"/>
                <a:gd name="connsiteX26" fmla="*/ 114226 w 462342"/>
                <a:gd name="connsiteY26" fmla="*/ 0 h 677195"/>
                <a:gd name="connsiteX27" fmla="*/ 127824 w 462342"/>
                <a:gd name="connsiteY27" fmla="*/ 0 h 677195"/>
                <a:gd name="connsiteX28" fmla="*/ 146862 w 462342"/>
                <a:gd name="connsiteY28" fmla="*/ 2720 h 677195"/>
                <a:gd name="connsiteX29" fmla="*/ 174059 w 462342"/>
                <a:gd name="connsiteY29" fmla="*/ 21758 h 677195"/>
                <a:gd name="connsiteX30" fmla="*/ 193096 w 462342"/>
                <a:gd name="connsiteY30" fmla="*/ 21758 h 677195"/>
                <a:gd name="connsiteX31" fmla="*/ 261088 w 462342"/>
                <a:gd name="connsiteY31" fmla="*/ 27197 h 677195"/>
                <a:gd name="connsiteX32" fmla="*/ 310042 w 462342"/>
                <a:gd name="connsiteY32" fmla="*/ 35356 h 677195"/>
                <a:gd name="connsiteX33" fmla="*/ 334518 w 462342"/>
                <a:gd name="connsiteY33" fmla="*/ 40795 h 677195"/>
                <a:gd name="connsiteX34" fmla="*/ 356276 w 462342"/>
                <a:gd name="connsiteY34" fmla="*/ 59833 h 677195"/>
                <a:gd name="connsiteX35" fmla="*/ 372593 w 462342"/>
                <a:gd name="connsiteY35" fmla="*/ 76151 h 677195"/>
                <a:gd name="connsiteX36" fmla="*/ 380752 w 462342"/>
                <a:gd name="connsiteY36" fmla="*/ 95188 h 677195"/>
                <a:gd name="connsiteX37" fmla="*/ 405230 w 462342"/>
                <a:gd name="connsiteY37" fmla="*/ 114226 h 677195"/>
                <a:gd name="connsiteX38" fmla="*/ 416108 w 462342"/>
                <a:gd name="connsiteY38" fmla="*/ 141422 h 677195"/>
                <a:gd name="connsiteX39" fmla="*/ 451464 w 462342"/>
                <a:gd name="connsiteY39" fmla="*/ 201256 h 677195"/>
                <a:gd name="connsiteX40" fmla="*/ 456903 w 462342"/>
                <a:gd name="connsiteY40" fmla="*/ 252929 h 677195"/>
                <a:gd name="connsiteX41" fmla="*/ 456903 w 462342"/>
                <a:gd name="connsiteY41" fmla="*/ 291004 h 677195"/>
                <a:gd name="connsiteX42" fmla="*/ 459623 w 462342"/>
                <a:gd name="connsiteY42" fmla="*/ 318201 h 677195"/>
                <a:gd name="connsiteX43" fmla="*/ 459623 w 462342"/>
                <a:gd name="connsiteY43" fmla="*/ 326360 h 677195"/>
                <a:gd name="connsiteX44" fmla="*/ 459623 w 462342"/>
                <a:gd name="connsiteY44" fmla="*/ 348117 h 677195"/>
                <a:gd name="connsiteX45" fmla="*/ 462342 w 462342"/>
                <a:gd name="connsiteY45" fmla="*/ 367155 h 677195"/>
                <a:gd name="connsiteX46" fmla="*/ 456903 w 462342"/>
                <a:gd name="connsiteY46" fmla="*/ 391632 h 677195"/>
                <a:gd name="connsiteX47" fmla="*/ 456903 w 462342"/>
                <a:gd name="connsiteY47" fmla="*/ 418828 h 677195"/>
                <a:gd name="connsiteX48" fmla="*/ 451464 w 462342"/>
                <a:gd name="connsiteY48" fmla="*/ 437866 h 677195"/>
                <a:gd name="connsiteX49" fmla="*/ 446025 w 462342"/>
                <a:gd name="connsiteY49" fmla="*/ 454184 h 677195"/>
                <a:gd name="connsiteX50" fmla="*/ 440585 w 462342"/>
                <a:gd name="connsiteY50" fmla="*/ 481380 h 677195"/>
                <a:gd name="connsiteX51" fmla="*/ 432426 w 462342"/>
                <a:gd name="connsiteY51" fmla="*/ 508577 h 677195"/>
                <a:gd name="connsiteX52" fmla="*/ 418828 w 462342"/>
                <a:gd name="connsiteY52" fmla="*/ 530334 h 677195"/>
                <a:gd name="connsiteX53" fmla="*/ 410669 w 462342"/>
                <a:gd name="connsiteY53" fmla="*/ 549371 h 677195"/>
                <a:gd name="connsiteX54" fmla="*/ 391631 w 462342"/>
                <a:gd name="connsiteY54" fmla="*/ 579288 h 677195"/>
                <a:gd name="connsiteX55" fmla="*/ 337238 w 462342"/>
                <a:gd name="connsiteY55" fmla="*/ 630961 h 677195"/>
                <a:gd name="connsiteX56" fmla="*/ 301883 w 462342"/>
                <a:gd name="connsiteY56" fmla="*/ 647279 h 677195"/>
                <a:gd name="connsiteX57" fmla="*/ 263807 w 462342"/>
                <a:gd name="connsiteY57" fmla="*/ 652718 h 677195"/>
                <a:gd name="connsiteX58" fmla="*/ 233891 w 462342"/>
                <a:gd name="connsiteY58" fmla="*/ 649999 h 677195"/>
                <a:gd name="connsiteX59" fmla="*/ 187657 w 462342"/>
                <a:gd name="connsiteY59" fmla="*/ 652718 h 677195"/>
                <a:gd name="connsiteX60" fmla="*/ 171339 w 462342"/>
                <a:gd name="connsiteY60" fmla="*/ 669036 h 677195"/>
                <a:gd name="connsiteX61" fmla="*/ 155021 w 462342"/>
                <a:gd name="connsiteY61" fmla="*/ 671756 h 677195"/>
                <a:gd name="connsiteX62" fmla="*/ 138703 w 462342"/>
                <a:gd name="connsiteY62" fmla="*/ 674476 h 677195"/>
                <a:gd name="connsiteX63" fmla="*/ 125105 w 462342"/>
                <a:gd name="connsiteY63" fmla="*/ 677195 h 677195"/>
                <a:gd name="connsiteX64" fmla="*/ 106067 w 462342"/>
                <a:gd name="connsiteY64" fmla="*/ 671756 h 677195"/>
                <a:gd name="connsiteX65" fmla="*/ 87029 w 462342"/>
                <a:gd name="connsiteY65" fmla="*/ 658158 h 677195"/>
                <a:gd name="connsiteX66" fmla="*/ 81590 w 462342"/>
                <a:gd name="connsiteY66" fmla="*/ 652718 h 677195"/>
                <a:gd name="connsiteX67" fmla="*/ 67992 w 462342"/>
                <a:gd name="connsiteY67" fmla="*/ 652718 h 677195"/>
                <a:gd name="connsiteX68" fmla="*/ 43515 w 462342"/>
                <a:gd name="connsiteY68" fmla="*/ 652718 h 677195"/>
                <a:gd name="connsiteX69" fmla="*/ 16318 w 462342"/>
                <a:gd name="connsiteY69" fmla="*/ 647279 h 677195"/>
                <a:gd name="connsiteX70" fmla="*/ 0 w 462342"/>
                <a:gd name="connsiteY70" fmla="*/ 630961 h 677195"/>
                <a:gd name="connsiteX71" fmla="*/ 5439 w 462342"/>
                <a:gd name="connsiteY71" fmla="*/ 620083 h 677195"/>
                <a:gd name="connsiteX72" fmla="*/ 27197 w 462342"/>
                <a:gd name="connsiteY72" fmla="*/ 611924 h 677195"/>
                <a:gd name="connsiteX73" fmla="*/ 65272 w 462342"/>
                <a:gd name="connsiteY73" fmla="*/ 609204 h 677195"/>
                <a:gd name="connsiteX74" fmla="*/ 65272 w 462342"/>
                <a:gd name="connsiteY74" fmla="*/ 584727 h 677195"/>
                <a:gd name="connsiteX75" fmla="*/ 62552 w 462342"/>
                <a:gd name="connsiteY75" fmla="*/ 456903 h 677195"/>
                <a:gd name="connsiteX76" fmla="*/ 65272 w 462342"/>
                <a:gd name="connsiteY76" fmla="*/ 337238 h 677195"/>
                <a:gd name="connsiteX77" fmla="*/ 67992 w 462342"/>
                <a:gd name="connsiteY77" fmla="*/ 203975 h 677195"/>
                <a:gd name="connsiteX78" fmla="*/ 70712 w 462342"/>
                <a:gd name="connsiteY78" fmla="*/ 119665 h 677195"/>
                <a:gd name="connsiteX79" fmla="*/ 73431 w 462342"/>
                <a:gd name="connsiteY79" fmla="*/ 67992 h 677195"/>
                <a:gd name="connsiteX80" fmla="*/ 67992 w 462342"/>
                <a:gd name="connsiteY80" fmla="*/ 67992 h 677195"/>
                <a:gd name="connsiteX81" fmla="*/ 43515 w 462342"/>
                <a:gd name="connsiteY81" fmla="*/ 67992 h 677195"/>
                <a:gd name="connsiteX82" fmla="*/ 16318 w 462342"/>
                <a:gd name="connsiteY82" fmla="*/ 62552 h 677195"/>
                <a:gd name="connsiteX83" fmla="*/ 0 w 462342"/>
                <a:gd name="connsiteY83" fmla="*/ 46234 h 677195"/>
                <a:gd name="connsiteX84" fmla="*/ 5439 w 462342"/>
                <a:gd name="connsiteY84" fmla="*/ 35356 h 677195"/>
                <a:gd name="connsiteX85" fmla="*/ 27197 w 462342"/>
                <a:gd name="connsiteY85" fmla="*/ 27197 h 677195"/>
                <a:gd name="connsiteX86" fmla="*/ 76151 w 462342"/>
                <a:gd name="connsiteY86" fmla="*/ 21758 h 677195"/>
                <a:gd name="connsiteX87" fmla="*/ 81590 w 462342"/>
                <a:gd name="connsiteY87" fmla="*/ 13598 h 677195"/>
                <a:gd name="connsiteX88" fmla="*/ 97908 w 462342"/>
                <a:gd name="connsiteY88" fmla="*/ 5439 h 677195"/>
                <a:gd name="connsiteX89" fmla="*/ 114226 w 462342"/>
                <a:gd name="connsiteY89" fmla="*/ 0 h 6771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</a:cxnLst>
              <a:rect l="l" t="t" r="r" b="b"/>
              <a:pathLst>
                <a:path w="462342" h="677195">
                  <a:moveTo>
                    <a:pt x="214853" y="65272"/>
                  </a:moveTo>
                  <a:cubicBezTo>
                    <a:pt x="203975" y="65272"/>
                    <a:pt x="195815" y="67992"/>
                    <a:pt x="195815" y="73431"/>
                  </a:cubicBezTo>
                  <a:cubicBezTo>
                    <a:pt x="193096" y="78870"/>
                    <a:pt x="193096" y="100628"/>
                    <a:pt x="193096" y="125105"/>
                  </a:cubicBezTo>
                  <a:cubicBezTo>
                    <a:pt x="193096" y="182217"/>
                    <a:pt x="193096" y="266527"/>
                    <a:pt x="190376" y="280125"/>
                  </a:cubicBezTo>
                  <a:cubicBezTo>
                    <a:pt x="190376" y="288284"/>
                    <a:pt x="190376" y="293723"/>
                    <a:pt x="190376" y="301882"/>
                  </a:cubicBezTo>
                  <a:cubicBezTo>
                    <a:pt x="190376" y="315480"/>
                    <a:pt x="190376" y="329079"/>
                    <a:pt x="193096" y="342677"/>
                  </a:cubicBezTo>
                  <a:cubicBezTo>
                    <a:pt x="193096" y="361715"/>
                    <a:pt x="193096" y="378033"/>
                    <a:pt x="195815" y="397070"/>
                  </a:cubicBezTo>
                  <a:cubicBezTo>
                    <a:pt x="195815" y="413388"/>
                    <a:pt x="195815" y="426986"/>
                    <a:pt x="195815" y="443304"/>
                  </a:cubicBezTo>
                  <a:cubicBezTo>
                    <a:pt x="195815" y="465061"/>
                    <a:pt x="198535" y="508576"/>
                    <a:pt x="195815" y="530333"/>
                  </a:cubicBezTo>
                  <a:cubicBezTo>
                    <a:pt x="195815" y="538492"/>
                    <a:pt x="193096" y="546651"/>
                    <a:pt x="193096" y="554810"/>
                  </a:cubicBezTo>
                  <a:cubicBezTo>
                    <a:pt x="193096" y="560249"/>
                    <a:pt x="190376" y="590166"/>
                    <a:pt x="190376" y="603764"/>
                  </a:cubicBezTo>
                  <a:cubicBezTo>
                    <a:pt x="190376" y="609203"/>
                    <a:pt x="190376" y="611923"/>
                    <a:pt x="198535" y="611923"/>
                  </a:cubicBezTo>
                  <a:cubicBezTo>
                    <a:pt x="206694" y="611923"/>
                    <a:pt x="209414" y="611923"/>
                    <a:pt x="214853" y="611923"/>
                  </a:cubicBezTo>
                  <a:cubicBezTo>
                    <a:pt x="223012" y="611923"/>
                    <a:pt x="220293" y="611923"/>
                    <a:pt x="236610" y="611923"/>
                  </a:cubicBezTo>
                  <a:cubicBezTo>
                    <a:pt x="242050" y="611923"/>
                    <a:pt x="258368" y="601044"/>
                    <a:pt x="263807" y="598325"/>
                  </a:cubicBezTo>
                  <a:cubicBezTo>
                    <a:pt x="266527" y="598325"/>
                    <a:pt x="274686" y="592885"/>
                    <a:pt x="277405" y="592885"/>
                  </a:cubicBezTo>
                  <a:cubicBezTo>
                    <a:pt x="285564" y="587446"/>
                    <a:pt x="288284" y="579287"/>
                    <a:pt x="291004" y="573848"/>
                  </a:cubicBezTo>
                  <a:cubicBezTo>
                    <a:pt x="296443" y="562969"/>
                    <a:pt x="301882" y="554810"/>
                    <a:pt x="307322" y="543931"/>
                  </a:cubicBezTo>
                  <a:cubicBezTo>
                    <a:pt x="315481" y="524894"/>
                    <a:pt x="320920" y="524894"/>
                    <a:pt x="326359" y="481379"/>
                  </a:cubicBezTo>
                  <a:cubicBezTo>
                    <a:pt x="329079" y="456903"/>
                    <a:pt x="334518" y="435145"/>
                    <a:pt x="337238" y="413388"/>
                  </a:cubicBezTo>
                  <a:cubicBezTo>
                    <a:pt x="337238" y="391631"/>
                    <a:pt x="337238" y="369873"/>
                    <a:pt x="337238" y="350836"/>
                  </a:cubicBezTo>
                  <a:cubicBezTo>
                    <a:pt x="337238" y="339957"/>
                    <a:pt x="337238" y="320920"/>
                    <a:pt x="334518" y="296443"/>
                  </a:cubicBezTo>
                  <a:cubicBezTo>
                    <a:pt x="331798" y="269246"/>
                    <a:pt x="329079" y="250209"/>
                    <a:pt x="329079" y="244769"/>
                  </a:cubicBezTo>
                  <a:cubicBezTo>
                    <a:pt x="323640" y="206694"/>
                    <a:pt x="318200" y="174058"/>
                    <a:pt x="307322" y="135983"/>
                  </a:cubicBezTo>
                  <a:cubicBezTo>
                    <a:pt x="304602" y="125105"/>
                    <a:pt x="304602" y="108787"/>
                    <a:pt x="271966" y="78870"/>
                  </a:cubicBezTo>
                  <a:cubicBezTo>
                    <a:pt x="263807" y="73431"/>
                    <a:pt x="233891" y="65272"/>
                    <a:pt x="214853" y="65272"/>
                  </a:cubicBezTo>
                  <a:close/>
                  <a:moveTo>
                    <a:pt x="114226" y="0"/>
                  </a:moveTo>
                  <a:cubicBezTo>
                    <a:pt x="119665" y="0"/>
                    <a:pt x="125105" y="0"/>
                    <a:pt x="127824" y="0"/>
                  </a:cubicBezTo>
                  <a:cubicBezTo>
                    <a:pt x="133264" y="0"/>
                    <a:pt x="141422" y="0"/>
                    <a:pt x="146862" y="2720"/>
                  </a:cubicBezTo>
                  <a:cubicBezTo>
                    <a:pt x="157741" y="5439"/>
                    <a:pt x="165900" y="13598"/>
                    <a:pt x="174059" y="21758"/>
                  </a:cubicBezTo>
                  <a:cubicBezTo>
                    <a:pt x="179498" y="21758"/>
                    <a:pt x="187657" y="21758"/>
                    <a:pt x="193096" y="21758"/>
                  </a:cubicBezTo>
                  <a:cubicBezTo>
                    <a:pt x="212134" y="21758"/>
                    <a:pt x="228452" y="27197"/>
                    <a:pt x="261088" y="27197"/>
                  </a:cubicBezTo>
                  <a:cubicBezTo>
                    <a:pt x="277405" y="27197"/>
                    <a:pt x="293723" y="35356"/>
                    <a:pt x="310042" y="35356"/>
                  </a:cubicBezTo>
                  <a:cubicBezTo>
                    <a:pt x="318200" y="35356"/>
                    <a:pt x="329079" y="35356"/>
                    <a:pt x="334518" y="40795"/>
                  </a:cubicBezTo>
                  <a:cubicBezTo>
                    <a:pt x="342677" y="46234"/>
                    <a:pt x="348117" y="54393"/>
                    <a:pt x="356276" y="59833"/>
                  </a:cubicBezTo>
                  <a:cubicBezTo>
                    <a:pt x="361715" y="65272"/>
                    <a:pt x="369874" y="67992"/>
                    <a:pt x="372593" y="76151"/>
                  </a:cubicBezTo>
                  <a:cubicBezTo>
                    <a:pt x="375313" y="81590"/>
                    <a:pt x="378033" y="89749"/>
                    <a:pt x="380752" y="95188"/>
                  </a:cubicBezTo>
                  <a:cubicBezTo>
                    <a:pt x="386192" y="103347"/>
                    <a:pt x="391631" y="106067"/>
                    <a:pt x="405230" y="114226"/>
                  </a:cubicBezTo>
                  <a:cubicBezTo>
                    <a:pt x="413388" y="119665"/>
                    <a:pt x="410669" y="133263"/>
                    <a:pt x="416108" y="141422"/>
                  </a:cubicBezTo>
                  <a:cubicBezTo>
                    <a:pt x="426987" y="160461"/>
                    <a:pt x="446025" y="182218"/>
                    <a:pt x="451464" y="201256"/>
                  </a:cubicBezTo>
                  <a:cubicBezTo>
                    <a:pt x="456903" y="220293"/>
                    <a:pt x="456903" y="236611"/>
                    <a:pt x="456903" y="252929"/>
                  </a:cubicBezTo>
                  <a:cubicBezTo>
                    <a:pt x="456903" y="266527"/>
                    <a:pt x="456903" y="277406"/>
                    <a:pt x="456903" y="291004"/>
                  </a:cubicBezTo>
                  <a:cubicBezTo>
                    <a:pt x="456903" y="299163"/>
                    <a:pt x="456903" y="307322"/>
                    <a:pt x="459623" y="318201"/>
                  </a:cubicBezTo>
                  <a:cubicBezTo>
                    <a:pt x="459623" y="320921"/>
                    <a:pt x="459623" y="323640"/>
                    <a:pt x="459623" y="326360"/>
                  </a:cubicBezTo>
                  <a:cubicBezTo>
                    <a:pt x="462342" y="331799"/>
                    <a:pt x="459623" y="337238"/>
                    <a:pt x="459623" y="348117"/>
                  </a:cubicBezTo>
                  <a:cubicBezTo>
                    <a:pt x="459623" y="350837"/>
                    <a:pt x="462342" y="361715"/>
                    <a:pt x="462342" y="367155"/>
                  </a:cubicBezTo>
                  <a:cubicBezTo>
                    <a:pt x="462342" y="375314"/>
                    <a:pt x="456903" y="383473"/>
                    <a:pt x="456903" y="391632"/>
                  </a:cubicBezTo>
                  <a:cubicBezTo>
                    <a:pt x="456903" y="399790"/>
                    <a:pt x="456903" y="410669"/>
                    <a:pt x="456903" y="418828"/>
                  </a:cubicBezTo>
                  <a:cubicBezTo>
                    <a:pt x="456903" y="421548"/>
                    <a:pt x="454183" y="429707"/>
                    <a:pt x="451464" y="437866"/>
                  </a:cubicBezTo>
                  <a:cubicBezTo>
                    <a:pt x="448744" y="443305"/>
                    <a:pt x="448744" y="451464"/>
                    <a:pt x="446025" y="454184"/>
                  </a:cubicBezTo>
                  <a:cubicBezTo>
                    <a:pt x="443305" y="462343"/>
                    <a:pt x="440585" y="473221"/>
                    <a:pt x="440585" y="481380"/>
                  </a:cubicBezTo>
                  <a:cubicBezTo>
                    <a:pt x="437865" y="489539"/>
                    <a:pt x="437865" y="500418"/>
                    <a:pt x="432426" y="508577"/>
                  </a:cubicBezTo>
                  <a:cubicBezTo>
                    <a:pt x="429706" y="516736"/>
                    <a:pt x="424267" y="522175"/>
                    <a:pt x="418828" y="530334"/>
                  </a:cubicBezTo>
                  <a:cubicBezTo>
                    <a:pt x="416108" y="535773"/>
                    <a:pt x="413388" y="543932"/>
                    <a:pt x="410669" y="549371"/>
                  </a:cubicBezTo>
                  <a:cubicBezTo>
                    <a:pt x="405230" y="557531"/>
                    <a:pt x="397071" y="573848"/>
                    <a:pt x="391631" y="579288"/>
                  </a:cubicBezTo>
                  <a:cubicBezTo>
                    <a:pt x="369874" y="609204"/>
                    <a:pt x="350836" y="620083"/>
                    <a:pt x="337238" y="630961"/>
                  </a:cubicBezTo>
                  <a:cubicBezTo>
                    <a:pt x="326359" y="639120"/>
                    <a:pt x="315481" y="641840"/>
                    <a:pt x="301883" y="647279"/>
                  </a:cubicBezTo>
                  <a:cubicBezTo>
                    <a:pt x="291004" y="649999"/>
                    <a:pt x="277405" y="652718"/>
                    <a:pt x="263807" y="652718"/>
                  </a:cubicBezTo>
                  <a:cubicBezTo>
                    <a:pt x="252929" y="652718"/>
                    <a:pt x="244770" y="649999"/>
                    <a:pt x="233891" y="649999"/>
                  </a:cubicBezTo>
                  <a:cubicBezTo>
                    <a:pt x="206694" y="649999"/>
                    <a:pt x="217573" y="652718"/>
                    <a:pt x="187657" y="652718"/>
                  </a:cubicBezTo>
                  <a:cubicBezTo>
                    <a:pt x="184937" y="660877"/>
                    <a:pt x="179498" y="666317"/>
                    <a:pt x="171339" y="669036"/>
                  </a:cubicBezTo>
                  <a:cubicBezTo>
                    <a:pt x="165900" y="671756"/>
                    <a:pt x="160460" y="671756"/>
                    <a:pt x="155021" y="671756"/>
                  </a:cubicBezTo>
                  <a:cubicBezTo>
                    <a:pt x="149581" y="671756"/>
                    <a:pt x="144142" y="674476"/>
                    <a:pt x="138703" y="674476"/>
                  </a:cubicBezTo>
                  <a:cubicBezTo>
                    <a:pt x="135983" y="674476"/>
                    <a:pt x="127824" y="677195"/>
                    <a:pt x="125105" y="677195"/>
                  </a:cubicBezTo>
                  <a:cubicBezTo>
                    <a:pt x="116946" y="677195"/>
                    <a:pt x="108787" y="671756"/>
                    <a:pt x="106067" y="671756"/>
                  </a:cubicBezTo>
                  <a:cubicBezTo>
                    <a:pt x="100628" y="669036"/>
                    <a:pt x="95188" y="663597"/>
                    <a:pt x="87029" y="658158"/>
                  </a:cubicBezTo>
                  <a:cubicBezTo>
                    <a:pt x="84310" y="655438"/>
                    <a:pt x="81590" y="655438"/>
                    <a:pt x="81590" y="652718"/>
                  </a:cubicBezTo>
                  <a:cubicBezTo>
                    <a:pt x="73431" y="652718"/>
                    <a:pt x="81590" y="652718"/>
                    <a:pt x="67992" y="652718"/>
                  </a:cubicBezTo>
                  <a:cubicBezTo>
                    <a:pt x="59833" y="652718"/>
                    <a:pt x="51674" y="652718"/>
                    <a:pt x="43515" y="652718"/>
                  </a:cubicBezTo>
                  <a:cubicBezTo>
                    <a:pt x="35356" y="652718"/>
                    <a:pt x="24477" y="652718"/>
                    <a:pt x="16318" y="647279"/>
                  </a:cubicBezTo>
                  <a:cubicBezTo>
                    <a:pt x="8159" y="644559"/>
                    <a:pt x="0" y="636401"/>
                    <a:pt x="0" y="630961"/>
                  </a:cubicBezTo>
                  <a:cubicBezTo>
                    <a:pt x="0" y="625522"/>
                    <a:pt x="0" y="622802"/>
                    <a:pt x="5439" y="620083"/>
                  </a:cubicBezTo>
                  <a:cubicBezTo>
                    <a:pt x="10879" y="617363"/>
                    <a:pt x="21758" y="614643"/>
                    <a:pt x="27197" y="611924"/>
                  </a:cubicBezTo>
                  <a:cubicBezTo>
                    <a:pt x="38076" y="609204"/>
                    <a:pt x="54393" y="609204"/>
                    <a:pt x="65272" y="609204"/>
                  </a:cubicBezTo>
                  <a:cubicBezTo>
                    <a:pt x="65272" y="601045"/>
                    <a:pt x="65272" y="592886"/>
                    <a:pt x="65272" y="584727"/>
                  </a:cubicBezTo>
                  <a:cubicBezTo>
                    <a:pt x="65272" y="541213"/>
                    <a:pt x="62552" y="500418"/>
                    <a:pt x="62552" y="456903"/>
                  </a:cubicBezTo>
                  <a:cubicBezTo>
                    <a:pt x="62552" y="440585"/>
                    <a:pt x="65272" y="397071"/>
                    <a:pt x="65272" y="337238"/>
                  </a:cubicBezTo>
                  <a:cubicBezTo>
                    <a:pt x="65272" y="293724"/>
                    <a:pt x="67992" y="247490"/>
                    <a:pt x="67992" y="203975"/>
                  </a:cubicBezTo>
                  <a:cubicBezTo>
                    <a:pt x="67992" y="179498"/>
                    <a:pt x="67992" y="149582"/>
                    <a:pt x="70712" y="119665"/>
                  </a:cubicBezTo>
                  <a:cubicBezTo>
                    <a:pt x="70712" y="103347"/>
                    <a:pt x="73431" y="84309"/>
                    <a:pt x="73431" y="67992"/>
                  </a:cubicBezTo>
                  <a:cubicBezTo>
                    <a:pt x="73431" y="67992"/>
                    <a:pt x="70712" y="67992"/>
                    <a:pt x="67992" y="67992"/>
                  </a:cubicBezTo>
                  <a:cubicBezTo>
                    <a:pt x="59833" y="67992"/>
                    <a:pt x="51674" y="67992"/>
                    <a:pt x="43515" y="67992"/>
                  </a:cubicBezTo>
                  <a:cubicBezTo>
                    <a:pt x="35356" y="67992"/>
                    <a:pt x="24477" y="67992"/>
                    <a:pt x="16318" y="62552"/>
                  </a:cubicBezTo>
                  <a:cubicBezTo>
                    <a:pt x="8159" y="59833"/>
                    <a:pt x="0" y="51674"/>
                    <a:pt x="0" y="46234"/>
                  </a:cubicBezTo>
                  <a:cubicBezTo>
                    <a:pt x="0" y="43515"/>
                    <a:pt x="0" y="38075"/>
                    <a:pt x="5439" y="35356"/>
                  </a:cubicBezTo>
                  <a:cubicBezTo>
                    <a:pt x="10879" y="32636"/>
                    <a:pt x="21758" y="29916"/>
                    <a:pt x="27197" y="27197"/>
                  </a:cubicBezTo>
                  <a:cubicBezTo>
                    <a:pt x="46234" y="24477"/>
                    <a:pt x="65272" y="21758"/>
                    <a:pt x="76151" y="21758"/>
                  </a:cubicBezTo>
                  <a:cubicBezTo>
                    <a:pt x="76151" y="19038"/>
                    <a:pt x="78871" y="16318"/>
                    <a:pt x="81590" y="13598"/>
                  </a:cubicBezTo>
                  <a:cubicBezTo>
                    <a:pt x="84310" y="10879"/>
                    <a:pt x="92469" y="5439"/>
                    <a:pt x="97908" y="5439"/>
                  </a:cubicBezTo>
                  <a:cubicBezTo>
                    <a:pt x="103347" y="2720"/>
                    <a:pt x="108787" y="0"/>
                    <a:pt x="114226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/>
            </a:p>
          </p:txBody>
        </p:sp>
        <p:sp>
          <p:nvSpPr>
            <p:cNvPr id="48" name="Freeform: Shape 47">
              <a:extLst>
                <a:ext uri="{FF2B5EF4-FFF2-40B4-BE49-F238E27FC236}">
                  <a16:creationId xmlns:a16="http://schemas.microsoft.com/office/drawing/2014/main" id="{A81B5D9D-89FB-4D2F-A78D-73AF9AEC196D}"/>
                </a:ext>
              </a:extLst>
            </p:cNvPr>
            <p:cNvSpPr/>
            <p:nvPr/>
          </p:nvSpPr>
          <p:spPr>
            <a:xfrm>
              <a:off x="7310622" y="4197597"/>
              <a:ext cx="489539" cy="761503"/>
            </a:xfrm>
            <a:custGeom>
              <a:avLst/>
              <a:gdLst>
                <a:gd name="connsiteX0" fmla="*/ 433491 w 489538"/>
                <a:gd name="connsiteY0" fmla="*/ 651063 h 761503"/>
                <a:gd name="connsiteX1" fmla="*/ 438930 w 489538"/>
                <a:gd name="connsiteY1" fmla="*/ 661942 h 761503"/>
                <a:gd name="connsiteX2" fmla="*/ 425332 w 489538"/>
                <a:gd name="connsiteY2" fmla="*/ 683699 h 761503"/>
                <a:gd name="connsiteX3" fmla="*/ 400855 w 489538"/>
                <a:gd name="connsiteY3" fmla="*/ 691858 h 761503"/>
                <a:gd name="connsiteX4" fmla="*/ 343742 w 489538"/>
                <a:gd name="connsiteY4" fmla="*/ 700017 h 761503"/>
                <a:gd name="connsiteX5" fmla="*/ 316546 w 489538"/>
                <a:gd name="connsiteY5" fmla="*/ 705456 h 761503"/>
                <a:gd name="connsiteX6" fmla="*/ 275751 w 489538"/>
                <a:gd name="connsiteY6" fmla="*/ 705456 h 761503"/>
                <a:gd name="connsiteX7" fmla="*/ 264872 w 489538"/>
                <a:gd name="connsiteY7" fmla="*/ 708176 h 761503"/>
                <a:gd name="connsiteX8" fmla="*/ 253994 w 489538"/>
                <a:gd name="connsiteY8" fmla="*/ 708176 h 761503"/>
                <a:gd name="connsiteX9" fmla="*/ 240395 w 489538"/>
                <a:gd name="connsiteY9" fmla="*/ 719054 h 761503"/>
                <a:gd name="connsiteX10" fmla="*/ 224077 w 489538"/>
                <a:gd name="connsiteY10" fmla="*/ 721774 h 761503"/>
                <a:gd name="connsiteX11" fmla="*/ 205040 w 489538"/>
                <a:gd name="connsiteY11" fmla="*/ 724494 h 761503"/>
                <a:gd name="connsiteX12" fmla="*/ 191441 w 489538"/>
                <a:gd name="connsiteY12" fmla="*/ 727213 h 761503"/>
                <a:gd name="connsiteX13" fmla="*/ 169684 w 489538"/>
                <a:gd name="connsiteY13" fmla="*/ 721774 h 761503"/>
                <a:gd name="connsiteX14" fmla="*/ 150646 w 489538"/>
                <a:gd name="connsiteY14" fmla="*/ 708176 h 761503"/>
                <a:gd name="connsiteX15" fmla="*/ 139768 w 489538"/>
                <a:gd name="connsiteY15" fmla="*/ 708176 h 761503"/>
                <a:gd name="connsiteX16" fmla="*/ 120730 w 489538"/>
                <a:gd name="connsiteY16" fmla="*/ 708176 h 761503"/>
                <a:gd name="connsiteX17" fmla="*/ 98973 w 489538"/>
                <a:gd name="connsiteY17" fmla="*/ 708176 h 761503"/>
                <a:gd name="connsiteX18" fmla="*/ 74496 w 489538"/>
                <a:gd name="connsiteY18" fmla="*/ 702736 h 761503"/>
                <a:gd name="connsiteX19" fmla="*/ 58178 w 489538"/>
                <a:gd name="connsiteY19" fmla="*/ 683699 h 761503"/>
                <a:gd name="connsiteX20" fmla="*/ 63617 w 489538"/>
                <a:gd name="connsiteY20" fmla="*/ 675540 h 761503"/>
                <a:gd name="connsiteX21" fmla="*/ 85375 w 489538"/>
                <a:gd name="connsiteY21" fmla="*/ 667381 h 761503"/>
                <a:gd name="connsiteX22" fmla="*/ 128889 w 489538"/>
                <a:gd name="connsiteY22" fmla="*/ 661942 h 761503"/>
                <a:gd name="connsiteX23" fmla="*/ 128889 w 489538"/>
                <a:gd name="connsiteY23" fmla="*/ 602109 h 761503"/>
                <a:gd name="connsiteX24" fmla="*/ 126170 w 489538"/>
                <a:gd name="connsiteY24" fmla="*/ 523239 h 761503"/>
                <a:gd name="connsiteX25" fmla="*/ 126170 w 489538"/>
                <a:gd name="connsiteY25" fmla="*/ 468846 h 761503"/>
                <a:gd name="connsiteX26" fmla="*/ 123450 w 489538"/>
                <a:gd name="connsiteY26" fmla="*/ 409014 h 761503"/>
                <a:gd name="connsiteX27" fmla="*/ 123450 w 489538"/>
                <a:gd name="connsiteY27" fmla="*/ 384537 h 761503"/>
                <a:gd name="connsiteX28" fmla="*/ 126170 w 489538"/>
                <a:gd name="connsiteY28" fmla="*/ 349181 h 761503"/>
                <a:gd name="connsiteX29" fmla="*/ 126170 w 489538"/>
                <a:gd name="connsiteY29" fmla="*/ 324704 h 761503"/>
                <a:gd name="connsiteX30" fmla="*/ 128889 w 489538"/>
                <a:gd name="connsiteY30" fmla="*/ 292068 h 761503"/>
                <a:gd name="connsiteX31" fmla="*/ 134329 w 489538"/>
                <a:gd name="connsiteY31" fmla="*/ 234956 h 761503"/>
                <a:gd name="connsiteX32" fmla="*/ 134329 w 489538"/>
                <a:gd name="connsiteY32" fmla="*/ 172404 h 761503"/>
                <a:gd name="connsiteX33" fmla="*/ 137048 w 489538"/>
                <a:gd name="connsiteY33" fmla="*/ 123450 h 761503"/>
                <a:gd name="connsiteX34" fmla="*/ 123450 w 489538"/>
                <a:gd name="connsiteY34" fmla="*/ 123450 h 761503"/>
                <a:gd name="connsiteX35" fmla="*/ 101693 w 489538"/>
                <a:gd name="connsiteY35" fmla="*/ 123450 h 761503"/>
                <a:gd name="connsiteX36" fmla="*/ 77216 w 489538"/>
                <a:gd name="connsiteY36" fmla="*/ 118011 h 761503"/>
                <a:gd name="connsiteX37" fmla="*/ 60898 w 489538"/>
                <a:gd name="connsiteY37" fmla="*/ 98973 h 761503"/>
                <a:gd name="connsiteX38" fmla="*/ 66337 w 489538"/>
                <a:gd name="connsiteY38" fmla="*/ 90814 h 761503"/>
                <a:gd name="connsiteX39" fmla="*/ 88094 w 489538"/>
                <a:gd name="connsiteY39" fmla="*/ 82655 h 761503"/>
                <a:gd name="connsiteX40" fmla="*/ 145207 w 489538"/>
                <a:gd name="connsiteY40" fmla="*/ 77216 h 761503"/>
                <a:gd name="connsiteX41" fmla="*/ 145207 w 489538"/>
                <a:gd name="connsiteY41" fmla="*/ 77216 h 761503"/>
                <a:gd name="connsiteX42" fmla="*/ 153366 w 489538"/>
                <a:gd name="connsiteY42" fmla="*/ 69057 h 761503"/>
                <a:gd name="connsiteX43" fmla="*/ 177843 w 489538"/>
                <a:gd name="connsiteY43" fmla="*/ 60898 h 761503"/>
                <a:gd name="connsiteX44" fmla="*/ 196881 w 489538"/>
                <a:gd name="connsiteY44" fmla="*/ 58178 h 761503"/>
                <a:gd name="connsiteX45" fmla="*/ 205040 w 489538"/>
                <a:gd name="connsiteY45" fmla="*/ 58178 h 761503"/>
                <a:gd name="connsiteX46" fmla="*/ 215919 w 489538"/>
                <a:gd name="connsiteY46" fmla="*/ 63617 h 761503"/>
                <a:gd name="connsiteX47" fmla="*/ 229517 w 489538"/>
                <a:gd name="connsiteY47" fmla="*/ 69057 h 761503"/>
                <a:gd name="connsiteX48" fmla="*/ 256713 w 489538"/>
                <a:gd name="connsiteY48" fmla="*/ 77216 h 761503"/>
                <a:gd name="connsiteX49" fmla="*/ 264872 w 489538"/>
                <a:gd name="connsiteY49" fmla="*/ 77216 h 761503"/>
                <a:gd name="connsiteX50" fmla="*/ 281190 w 489538"/>
                <a:gd name="connsiteY50" fmla="*/ 77216 h 761503"/>
                <a:gd name="connsiteX51" fmla="*/ 330144 w 489538"/>
                <a:gd name="connsiteY51" fmla="*/ 77216 h 761503"/>
                <a:gd name="connsiteX52" fmla="*/ 357341 w 489538"/>
                <a:gd name="connsiteY52" fmla="*/ 79935 h 761503"/>
                <a:gd name="connsiteX53" fmla="*/ 387257 w 489538"/>
                <a:gd name="connsiteY53" fmla="*/ 82655 h 761503"/>
                <a:gd name="connsiteX54" fmla="*/ 406295 w 489538"/>
                <a:gd name="connsiteY54" fmla="*/ 85375 h 761503"/>
                <a:gd name="connsiteX55" fmla="*/ 417173 w 489538"/>
                <a:gd name="connsiteY55" fmla="*/ 79935 h 761503"/>
                <a:gd name="connsiteX56" fmla="*/ 425332 w 489538"/>
                <a:gd name="connsiteY56" fmla="*/ 85375 h 761503"/>
                <a:gd name="connsiteX57" fmla="*/ 433491 w 489538"/>
                <a:gd name="connsiteY57" fmla="*/ 104412 h 761503"/>
                <a:gd name="connsiteX58" fmla="*/ 436211 w 489538"/>
                <a:gd name="connsiteY58" fmla="*/ 137048 h 761503"/>
                <a:gd name="connsiteX59" fmla="*/ 438930 w 489538"/>
                <a:gd name="connsiteY59" fmla="*/ 183282 h 761503"/>
                <a:gd name="connsiteX60" fmla="*/ 422612 w 489538"/>
                <a:gd name="connsiteY60" fmla="*/ 218638 h 761503"/>
                <a:gd name="connsiteX61" fmla="*/ 406295 w 489538"/>
                <a:gd name="connsiteY61" fmla="*/ 213198 h 761503"/>
                <a:gd name="connsiteX62" fmla="*/ 398136 w 489538"/>
                <a:gd name="connsiteY62" fmla="*/ 196881 h 761503"/>
                <a:gd name="connsiteX63" fmla="*/ 395416 w 489538"/>
                <a:gd name="connsiteY63" fmla="*/ 175123 h 761503"/>
                <a:gd name="connsiteX64" fmla="*/ 395416 w 489538"/>
                <a:gd name="connsiteY64" fmla="*/ 153366 h 761503"/>
                <a:gd name="connsiteX65" fmla="*/ 395416 w 489538"/>
                <a:gd name="connsiteY65" fmla="*/ 126170 h 761503"/>
                <a:gd name="connsiteX66" fmla="*/ 370939 w 489538"/>
                <a:gd name="connsiteY66" fmla="*/ 128889 h 761503"/>
                <a:gd name="connsiteX67" fmla="*/ 338303 w 489538"/>
                <a:gd name="connsiteY67" fmla="*/ 131609 h 761503"/>
                <a:gd name="connsiteX68" fmla="*/ 286629 w 489538"/>
                <a:gd name="connsiteY68" fmla="*/ 134328 h 761503"/>
                <a:gd name="connsiteX69" fmla="*/ 273031 w 489538"/>
                <a:gd name="connsiteY69" fmla="*/ 137048 h 761503"/>
                <a:gd name="connsiteX70" fmla="*/ 262153 w 489538"/>
                <a:gd name="connsiteY70" fmla="*/ 142487 h 761503"/>
                <a:gd name="connsiteX71" fmla="*/ 259433 w 489538"/>
                <a:gd name="connsiteY71" fmla="*/ 153366 h 761503"/>
                <a:gd name="connsiteX72" fmla="*/ 262153 w 489538"/>
                <a:gd name="connsiteY72" fmla="*/ 166964 h 761503"/>
                <a:gd name="connsiteX73" fmla="*/ 262153 w 489538"/>
                <a:gd name="connsiteY73" fmla="*/ 196881 h 761503"/>
                <a:gd name="connsiteX74" fmla="*/ 262153 w 489538"/>
                <a:gd name="connsiteY74" fmla="*/ 215918 h 761503"/>
                <a:gd name="connsiteX75" fmla="*/ 262153 w 489538"/>
                <a:gd name="connsiteY75" fmla="*/ 251274 h 761503"/>
                <a:gd name="connsiteX76" fmla="*/ 259433 w 489538"/>
                <a:gd name="connsiteY76" fmla="*/ 278470 h 761503"/>
                <a:gd name="connsiteX77" fmla="*/ 259433 w 489538"/>
                <a:gd name="connsiteY77" fmla="*/ 308386 h 761503"/>
                <a:gd name="connsiteX78" fmla="*/ 259433 w 489538"/>
                <a:gd name="connsiteY78" fmla="*/ 321985 h 761503"/>
                <a:gd name="connsiteX79" fmla="*/ 259433 w 489538"/>
                <a:gd name="connsiteY79" fmla="*/ 332863 h 761503"/>
                <a:gd name="connsiteX80" fmla="*/ 267592 w 489538"/>
                <a:gd name="connsiteY80" fmla="*/ 335583 h 761503"/>
                <a:gd name="connsiteX81" fmla="*/ 281190 w 489538"/>
                <a:gd name="connsiteY81" fmla="*/ 335583 h 761503"/>
                <a:gd name="connsiteX82" fmla="*/ 327424 w 489538"/>
                <a:gd name="connsiteY82" fmla="*/ 338303 h 761503"/>
                <a:gd name="connsiteX83" fmla="*/ 351901 w 489538"/>
                <a:gd name="connsiteY83" fmla="*/ 341022 h 761503"/>
                <a:gd name="connsiteX84" fmla="*/ 351901 w 489538"/>
                <a:gd name="connsiteY84" fmla="*/ 335583 h 761503"/>
                <a:gd name="connsiteX85" fmla="*/ 351901 w 489538"/>
                <a:gd name="connsiteY85" fmla="*/ 313826 h 761503"/>
                <a:gd name="connsiteX86" fmla="*/ 357341 w 489538"/>
                <a:gd name="connsiteY86" fmla="*/ 289349 h 761503"/>
                <a:gd name="connsiteX87" fmla="*/ 373658 w 489538"/>
                <a:gd name="connsiteY87" fmla="*/ 273031 h 761503"/>
                <a:gd name="connsiteX88" fmla="*/ 381817 w 489538"/>
                <a:gd name="connsiteY88" fmla="*/ 278470 h 761503"/>
                <a:gd name="connsiteX89" fmla="*/ 389977 w 489538"/>
                <a:gd name="connsiteY89" fmla="*/ 300228 h 761503"/>
                <a:gd name="connsiteX90" fmla="*/ 395416 w 489538"/>
                <a:gd name="connsiteY90" fmla="*/ 351901 h 761503"/>
                <a:gd name="connsiteX91" fmla="*/ 398136 w 489538"/>
                <a:gd name="connsiteY91" fmla="*/ 409014 h 761503"/>
                <a:gd name="connsiteX92" fmla="*/ 381817 w 489538"/>
                <a:gd name="connsiteY92" fmla="*/ 444369 h 761503"/>
                <a:gd name="connsiteX93" fmla="*/ 365500 w 489538"/>
                <a:gd name="connsiteY93" fmla="*/ 438930 h 761503"/>
                <a:gd name="connsiteX94" fmla="*/ 357341 w 489538"/>
                <a:gd name="connsiteY94" fmla="*/ 422612 h 761503"/>
                <a:gd name="connsiteX95" fmla="*/ 354621 w 489538"/>
                <a:gd name="connsiteY95" fmla="*/ 400855 h 761503"/>
                <a:gd name="connsiteX96" fmla="*/ 354621 w 489538"/>
                <a:gd name="connsiteY96" fmla="*/ 381817 h 761503"/>
                <a:gd name="connsiteX97" fmla="*/ 270312 w 489538"/>
                <a:gd name="connsiteY97" fmla="*/ 381817 h 761503"/>
                <a:gd name="connsiteX98" fmla="*/ 256713 w 489538"/>
                <a:gd name="connsiteY98" fmla="*/ 395415 h 761503"/>
                <a:gd name="connsiteX99" fmla="*/ 253994 w 489538"/>
                <a:gd name="connsiteY99" fmla="*/ 422612 h 761503"/>
                <a:gd name="connsiteX100" fmla="*/ 253994 w 489538"/>
                <a:gd name="connsiteY100" fmla="*/ 433490 h 761503"/>
                <a:gd name="connsiteX101" fmla="*/ 253994 w 489538"/>
                <a:gd name="connsiteY101" fmla="*/ 449809 h 761503"/>
                <a:gd name="connsiteX102" fmla="*/ 256713 w 489538"/>
                <a:gd name="connsiteY102" fmla="*/ 474285 h 761503"/>
                <a:gd name="connsiteX103" fmla="*/ 256713 w 489538"/>
                <a:gd name="connsiteY103" fmla="*/ 496043 h 761503"/>
                <a:gd name="connsiteX104" fmla="*/ 259433 w 489538"/>
                <a:gd name="connsiteY104" fmla="*/ 534118 h 761503"/>
                <a:gd name="connsiteX105" fmla="*/ 259433 w 489538"/>
                <a:gd name="connsiteY105" fmla="*/ 591231 h 761503"/>
                <a:gd name="connsiteX106" fmla="*/ 262153 w 489538"/>
                <a:gd name="connsiteY106" fmla="*/ 618427 h 761503"/>
                <a:gd name="connsiteX107" fmla="*/ 267592 w 489538"/>
                <a:gd name="connsiteY107" fmla="*/ 648343 h 761503"/>
                <a:gd name="connsiteX108" fmla="*/ 292069 w 489538"/>
                <a:gd name="connsiteY108" fmla="*/ 651063 h 761503"/>
                <a:gd name="connsiteX109" fmla="*/ 327424 w 489538"/>
                <a:gd name="connsiteY109" fmla="*/ 651063 h 761503"/>
                <a:gd name="connsiteX110" fmla="*/ 362780 w 489538"/>
                <a:gd name="connsiteY110" fmla="*/ 653783 h 761503"/>
                <a:gd name="connsiteX111" fmla="*/ 395416 w 489538"/>
                <a:gd name="connsiteY111" fmla="*/ 648343 h 761503"/>
                <a:gd name="connsiteX112" fmla="*/ 395416 w 489538"/>
                <a:gd name="connsiteY112" fmla="*/ 618427 h 761503"/>
                <a:gd name="connsiteX113" fmla="*/ 395416 w 489538"/>
                <a:gd name="connsiteY113" fmla="*/ 596670 h 761503"/>
                <a:gd name="connsiteX114" fmla="*/ 398136 w 489538"/>
                <a:gd name="connsiteY114" fmla="*/ 574913 h 761503"/>
                <a:gd name="connsiteX115" fmla="*/ 406295 w 489538"/>
                <a:gd name="connsiteY115" fmla="*/ 558595 h 761503"/>
                <a:gd name="connsiteX116" fmla="*/ 422612 w 489538"/>
                <a:gd name="connsiteY116" fmla="*/ 553155 h 761503"/>
                <a:gd name="connsiteX117" fmla="*/ 438930 w 489538"/>
                <a:gd name="connsiteY117" fmla="*/ 588511 h 761503"/>
                <a:gd name="connsiteX118" fmla="*/ 436211 w 489538"/>
                <a:gd name="connsiteY118" fmla="*/ 645624 h 761503"/>
                <a:gd name="connsiteX119" fmla="*/ 433491 w 489538"/>
                <a:gd name="connsiteY119" fmla="*/ 651063 h 761503"/>
                <a:gd name="connsiteX120" fmla="*/ 433491 w 489538"/>
                <a:gd name="connsiteY120" fmla="*/ 651063 h 761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</a:cxnLst>
              <a:rect l="l" t="t" r="r" b="b"/>
              <a:pathLst>
                <a:path w="489538" h="761503">
                  <a:moveTo>
                    <a:pt x="433491" y="651063"/>
                  </a:moveTo>
                  <a:cubicBezTo>
                    <a:pt x="436211" y="653783"/>
                    <a:pt x="438930" y="656502"/>
                    <a:pt x="438930" y="661942"/>
                  </a:cubicBezTo>
                  <a:cubicBezTo>
                    <a:pt x="438930" y="670101"/>
                    <a:pt x="433491" y="678259"/>
                    <a:pt x="425332" y="683699"/>
                  </a:cubicBezTo>
                  <a:cubicBezTo>
                    <a:pt x="417173" y="689138"/>
                    <a:pt x="409014" y="689138"/>
                    <a:pt x="400855" y="691858"/>
                  </a:cubicBezTo>
                  <a:cubicBezTo>
                    <a:pt x="381817" y="694578"/>
                    <a:pt x="362780" y="694578"/>
                    <a:pt x="343742" y="700017"/>
                  </a:cubicBezTo>
                  <a:cubicBezTo>
                    <a:pt x="335583" y="702736"/>
                    <a:pt x="324705" y="702736"/>
                    <a:pt x="316546" y="705456"/>
                  </a:cubicBezTo>
                  <a:cubicBezTo>
                    <a:pt x="308387" y="705456"/>
                    <a:pt x="289349" y="705456"/>
                    <a:pt x="275751" y="705456"/>
                  </a:cubicBezTo>
                  <a:cubicBezTo>
                    <a:pt x="270312" y="705456"/>
                    <a:pt x="267592" y="708176"/>
                    <a:pt x="264872" y="708176"/>
                  </a:cubicBezTo>
                  <a:cubicBezTo>
                    <a:pt x="264872" y="708176"/>
                    <a:pt x="259433" y="708176"/>
                    <a:pt x="253994" y="708176"/>
                  </a:cubicBezTo>
                  <a:cubicBezTo>
                    <a:pt x="251274" y="713615"/>
                    <a:pt x="245835" y="716335"/>
                    <a:pt x="240395" y="719054"/>
                  </a:cubicBezTo>
                  <a:cubicBezTo>
                    <a:pt x="234956" y="721774"/>
                    <a:pt x="229517" y="721774"/>
                    <a:pt x="224077" y="721774"/>
                  </a:cubicBezTo>
                  <a:cubicBezTo>
                    <a:pt x="218638" y="721774"/>
                    <a:pt x="213199" y="724494"/>
                    <a:pt x="205040" y="724494"/>
                  </a:cubicBezTo>
                  <a:cubicBezTo>
                    <a:pt x="202320" y="724494"/>
                    <a:pt x="194161" y="727213"/>
                    <a:pt x="191441" y="727213"/>
                  </a:cubicBezTo>
                  <a:cubicBezTo>
                    <a:pt x="183282" y="727213"/>
                    <a:pt x="172404" y="721774"/>
                    <a:pt x="169684" y="721774"/>
                  </a:cubicBezTo>
                  <a:cubicBezTo>
                    <a:pt x="164245" y="719054"/>
                    <a:pt x="156086" y="713615"/>
                    <a:pt x="150646" y="708176"/>
                  </a:cubicBezTo>
                  <a:cubicBezTo>
                    <a:pt x="145207" y="708176"/>
                    <a:pt x="139768" y="708176"/>
                    <a:pt x="139768" y="708176"/>
                  </a:cubicBezTo>
                  <a:cubicBezTo>
                    <a:pt x="126170" y="708176"/>
                    <a:pt x="137048" y="708176"/>
                    <a:pt x="120730" y="708176"/>
                  </a:cubicBezTo>
                  <a:cubicBezTo>
                    <a:pt x="112571" y="708176"/>
                    <a:pt x="104412" y="708176"/>
                    <a:pt x="98973" y="708176"/>
                  </a:cubicBezTo>
                  <a:cubicBezTo>
                    <a:pt x="90814" y="708176"/>
                    <a:pt x="79936" y="708176"/>
                    <a:pt x="74496" y="702736"/>
                  </a:cubicBezTo>
                  <a:cubicBezTo>
                    <a:pt x="66337" y="700017"/>
                    <a:pt x="58178" y="689138"/>
                    <a:pt x="58178" y="683699"/>
                  </a:cubicBezTo>
                  <a:cubicBezTo>
                    <a:pt x="58178" y="680979"/>
                    <a:pt x="58178" y="678259"/>
                    <a:pt x="63617" y="675540"/>
                  </a:cubicBezTo>
                  <a:cubicBezTo>
                    <a:pt x="69057" y="672820"/>
                    <a:pt x="77216" y="670101"/>
                    <a:pt x="85375" y="667381"/>
                  </a:cubicBezTo>
                  <a:cubicBezTo>
                    <a:pt x="98973" y="664661"/>
                    <a:pt x="115291" y="664661"/>
                    <a:pt x="128889" y="661942"/>
                  </a:cubicBezTo>
                  <a:cubicBezTo>
                    <a:pt x="128889" y="645624"/>
                    <a:pt x="128889" y="623866"/>
                    <a:pt x="128889" y="602109"/>
                  </a:cubicBezTo>
                  <a:cubicBezTo>
                    <a:pt x="128889" y="566754"/>
                    <a:pt x="128889" y="531398"/>
                    <a:pt x="126170" y="523239"/>
                  </a:cubicBezTo>
                  <a:cubicBezTo>
                    <a:pt x="126170" y="517800"/>
                    <a:pt x="126170" y="487884"/>
                    <a:pt x="126170" y="468846"/>
                  </a:cubicBezTo>
                  <a:cubicBezTo>
                    <a:pt x="126170" y="449809"/>
                    <a:pt x="123450" y="430771"/>
                    <a:pt x="123450" y="409014"/>
                  </a:cubicBezTo>
                  <a:cubicBezTo>
                    <a:pt x="123450" y="400855"/>
                    <a:pt x="123450" y="392696"/>
                    <a:pt x="123450" y="384537"/>
                  </a:cubicBezTo>
                  <a:cubicBezTo>
                    <a:pt x="123450" y="373658"/>
                    <a:pt x="126170" y="360060"/>
                    <a:pt x="126170" y="349181"/>
                  </a:cubicBezTo>
                  <a:cubicBezTo>
                    <a:pt x="126170" y="341022"/>
                    <a:pt x="126170" y="332863"/>
                    <a:pt x="126170" y="324704"/>
                  </a:cubicBezTo>
                  <a:cubicBezTo>
                    <a:pt x="126170" y="313826"/>
                    <a:pt x="126170" y="302947"/>
                    <a:pt x="128889" y="292068"/>
                  </a:cubicBezTo>
                  <a:cubicBezTo>
                    <a:pt x="131609" y="273031"/>
                    <a:pt x="134329" y="253993"/>
                    <a:pt x="134329" y="234956"/>
                  </a:cubicBezTo>
                  <a:cubicBezTo>
                    <a:pt x="134329" y="213198"/>
                    <a:pt x="134329" y="191441"/>
                    <a:pt x="134329" y="172404"/>
                  </a:cubicBezTo>
                  <a:cubicBezTo>
                    <a:pt x="134329" y="156086"/>
                    <a:pt x="134329" y="139768"/>
                    <a:pt x="137048" y="123450"/>
                  </a:cubicBezTo>
                  <a:cubicBezTo>
                    <a:pt x="131609" y="123450"/>
                    <a:pt x="134329" y="123450"/>
                    <a:pt x="123450" y="123450"/>
                  </a:cubicBezTo>
                  <a:cubicBezTo>
                    <a:pt x="115291" y="123450"/>
                    <a:pt x="107132" y="123450"/>
                    <a:pt x="101693" y="123450"/>
                  </a:cubicBezTo>
                  <a:cubicBezTo>
                    <a:pt x="93534" y="123450"/>
                    <a:pt x="82655" y="123450"/>
                    <a:pt x="77216" y="118011"/>
                  </a:cubicBezTo>
                  <a:cubicBezTo>
                    <a:pt x="69057" y="115291"/>
                    <a:pt x="60898" y="101693"/>
                    <a:pt x="60898" y="98973"/>
                  </a:cubicBezTo>
                  <a:cubicBezTo>
                    <a:pt x="60898" y="96253"/>
                    <a:pt x="60898" y="93534"/>
                    <a:pt x="66337" y="90814"/>
                  </a:cubicBezTo>
                  <a:cubicBezTo>
                    <a:pt x="71777" y="88094"/>
                    <a:pt x="79936" y="85375"/>
                    <a:pt x="88094" y="82655"/>
                  </a:cubicBezTo>
                  <a:cubicBezTo>
                    <a:pt x="104412" y="79935"/>
                    <a:pt x="131609" y="77216"/>
                    <a:pt x="145207" y="77216"/>
                  </a:cubicBezTo>
                  <a:cubicBezTo>
                    <a:pt x="145207" y="77216"/>
                    <a:pt x="145207" y="77216"/>
                    <a:pt x="145207" y="77216"/>
                  </a:cubicBezTo>
                  <a:cubicBezTo>
                    <a:pt x="145207" y="74496"/>
                    <a:pt x="150646" y="71776"/>
                    <a:pt x="153366" y="69057"/>
                  </a:cubicBezTo>
                  <a:cubicBezTo>
                    <a:pt x="161525" y="63617"/>
                    <a:pt x="169684" y="63617"/>
                    <a:pt x="177843" y="60898"/>
                  </a:cubicBezTo>
                  <a:cubicBezTo>
                    <a:pt x="183282" y="58178"/>
                    <a:pt x="191441" y="58178"/>
                    <a:pt x="196881" y="58178"/>
                  </a:cubicBezTo>
                  <a:cubicBezTo>
                    <a:pt x="199600" y="58178"/>
                    <a:pt x="202320" y="58178"/>
                    <a:pt x="205040" y="58178"/>
                  </a:cubicBezTo>
                  <a:cubicBezTo>
                    <a:pt x="207759" y="58178"/>
                    <a:pt x="213199" y="60898"/>
                    <a:pt x="215919" y="63617"/>
                  </a:cubicBezTo>
                  <a:cubicBezTo>
                    <a:pt x="221358" y="66337"/>
                    <a:pt x="224077" y="66337"/>
                    <a:pt x="229517" y="69057"/>
                  </a:cubicBezTo>
                  <a:cubicBezTo>
                    <a:pt x="237675" y="71776"/>
                    <a:pt x="245835" y="77216"/>
                    <a:pt x="256713" y="77216"/>
                  </a:cubicBezTo>
                  <a:cubicBezTo>
                    <a:pt x="259433" y="77216"/>
                    <a:pt x="262153" y="77216"/>
                    <a:pt x="264872" y="77216"/>
                  </a:cubicBezTo>
                  <a:cubicBezTo>
                    <a:pt x="270312" y="77216"/>
                    <a:pt x="275751" y="77216"/>
                    <a:pt x="281190" y="77216"/>
                  </a:cubicBezTo>
                  <a:cubicBezTo>
                    <a:pt x="292069" y="77216"/>
                    <a:pt x="321985" y="77216"/>
                    <a:pt x="330144" y="77216"/>
                  </a:cubicBezTo>
                  <a:cubicBezTo>
                    <a:pt x="338303" y="77216"/>
                    <a:pt x="349182" y="77216"/>
                    <a:pt x="357341" y="79935"/>
                  </a:cubicBezTo>
                  <a:cubicBezTo>
                    <a:pt x="368219" y="79935"/>
                    <a:pt x="379098" y="82655"/>
                    <a:pt x="387257" y="82655"/>
                  </a:cubicBezTo>
                  <a:cubicBezTo>
                    <a:pt x="392696" y="82655"/>
                    <a:pt x="400855" y="85375"/>
                    <a:pt x="406295" y="85375"/>
                  </a:cubicBezTo>
                  <a:cubicBezTo>
                    <a:pt x="409014" y="82655"/>
                    <a:pt x="414453" y="79935"/>
                    <a:pt x="417173" y="79935"/>
                  </a:cubicBezTo>
                  <a:cubicBezTo>
                    <a:pt x="419893" y="79935"/>
                    <a:pt x="422612" y="79935"/>
                    <a:pt x="425332" y="85375"/>
                  </a:cubicBezTo>
                  <a:cubicBezTo>
                    <a:pt x="428052" y="90814"/>
                    <a:pt x="433491" y="98973"/>
                    <a:pt x="433491" y="104412"/>
                  </a:cubicBezTo>
                  <a:cubicBezTo>
                    <a:pt x="436211" y="131609"/>
                    <a:pt x="436211" y="120730"/>
                    <a:pt x="436211" y="137048"/>
                  </a:cubicBezTo>
                  <a:cubicBezTo>
                    <a:pt x="438930" y="158805"/>
                    <a:pt x="438930" y="158805"/>
                    <a:pt x="438930" y="183282"/>
                  </a:cubicBezTo>
                  <a:cubicBezTo>
                    <a:pt x="438930" y="194161"/>
                    <a:pt x="438930" y="218638"/>
                    <a:pt x="422612" y="218638"/>
                  </a:cubicBezTo>
                  <a:cubicBezTo>
                    <a:pt x="414453" y="218638"/>
                    <a:pt x="411734" y="215918"/>
                    <a:pt x="406295" y="213198"/>
                  </a:cubicBezTo>
                  <a:cubicBezTo>
                    <a:pt x="400855" y="210479"/>
                    <a:pt x="398136" y="202320"/>
                    <a:pt x="398136" y="196881"/>
                  </a:cubicBezTo>
                  <a:cubicBezTo>
                    <a:pt x="395416" y="188722"/>
                    <a:pt x="395416" y="183282"/>
                    <a:pt x="395416" y="175123"/>
                  </a:cubicBezTo>
                  <a:cubicBezTo>
                    <a:pt x="395416" y="169684"/>
                    <a:pt x="395416" y="164245"/>
                    <a:pt x="395416" y="153366"/>
                  </a:cubicBezTo>
                  <a:cubicBezTo>
                    <a:pt x="395416" y="145207"/>
                    <a:pt x="395416" y="134328"/>
                    <a:pt x="395416" y="126170"/>
                  </a:cubicBezTo>
                  <a:cubicBezTo>
                    <a:pt x="387257" y="128889"/>
                    <a:pt x="379098" y="128889"/>
                    <a:pt x="370939" y="128889"/>
                  </a:cubicBezTo>
                  <a:cubicBezTo>
                    <a:pt x="360060" y="128889"/>
                    <a:pt x="349182" y="128889"/>
                    <a:pt x="338303" y="131609"/>
                  </a:cubicBezTo>
                  <a:cubicBezTo>
                    <a:pt x="327424" y="131609"/>
                    <a:pt x="319265" y="134328"/>
                    <a:pt x="286629" y="134328"/>
                  </a:cubicBezTo>
                  <a:cubicBezTo>
                    <a:pt x="281190" y="134328"/>
                    <a:pt x="278470" y="134328"/>
                    <a:pt x="273031" y="137048"/>
                  </a:cubicBezTo>
                  <a:cubicBezTo>
                    <a:pt x="270312" y="137048"/>
                    <a:pt x="264872" y="137048"/>
                    <a:pt x="262153" y="142487"/>
                  </a:cubicBezTo>
                  <a:cubicBezTo>
                    <a:pt x="259433" y="145207"/>
                    <a:pt x="259433" y="150647"/>
                    <a:pt x="259433" y="153366"/>
                  </a:cubicBezTo>
                  <a:cubicBezTo>
                    <a:pt x="259433" y="158805"/>
                    <a:pt x="259433" y="164245"/>
                    <a:pt x="262153" y="166964"/>
                  </a:cubicBezTo>
                  <a:cubicBezTo>
                    <a:pt x="262153" y="177843"/>
                    <a:pt x="262153" y="186002"/>
                    <a:pt x="262153" y="196881"/>
                  </a:cubicBezTo>
                  <a:cubicBezTo>
                    <a:pt x="262153" y="202320"/>
                    <a:pt x="262153" y="210479"/>
                    <a:pt x="262153" y="215918"/>
                  </a:cubicBezTo>
                  <a:cubicBezTo>
                    <a:pt x="262153" y="229516"/>
                    <a:pt x="262153" y="240395"/>
                    <a:pt x="262153" y="251274"/>
                  </a:cubicBezTo>
                  <a:cubicBezTo>
                    <a:pt x="262153" y="259433"/>
                    <a:pt x="259433" y="270311"/>
                    <a:pt x="259433" y="278470"/>
                  </a:cubicBezTo>
                  <a:cubicBezTo>
                    <a:pt x="259433" y="289349"/>
                    <a:pt x="259433" y="297508"/>
                    <a:pt x="259433" y="308386"/>
                  </a:cubicBezTo>
                  <a:cubicBezTo>
                    <a:pt x="259433" y="313826"/>
                    <a:pt x="259433" y="319265"/>
                    <a:pt x="259433" y="321985"/>
                  </a:cubicBezTo>
                  <a:cubicBezTo>
                    <a:pt x="259433" y="324704"/>
                    <a:pt x="259433" y="330144"/>
                    <a:pt x="259433" y="332863"/>
                  </a:cubicBezTo>
                  <a:cubicBezTo>
                    <a:pt x="262153" y="335583"/>
                    <a:pt x="264872" y="335583"/>
                    <a:pt x="267592" y="335583"/>
                  </a:cubicBezTo>
                  <a:cubicBezTo>
                    <a:pt x="273031" y="335583"/>
                    <a:pt x="275751" y="335583"/>
                    <a:pt x="281190" y="335583"/>
                  </a:cubicBezTo>
                  <a:cubicBezTo>
                    <a:pt x="311107" y="335583"/>
                    <a:pt x="319265" y="335583"/>
                    <a:pt x="327424" y="338303"/>
                  </a:cubicBezTo>
                  <a:cubicBezTo>
                    <a:pt x="335583" y="341022"/>
                    <a:pt x="343742" y="341022"/>
                    <a:pt x="351901" y="341022"/>
                  </a:cubicBezTo>
                  <a:cubicBezTo>
                    <a:pt x="351901" y="338303"/>
                    <a:pt x="351901" y="338303"/>
                    <a:pt x="351901" y="335583"/>
                  </a:cubicBezTo>
                  <a:cubicBezTo>
                    <a:pt x="351901" y="327424"/>
                    <a:pt x="351901" y="319265"/>
                    <a:pt x="351901" y="313826"/>
                  </a:cubicBezTo>
                  <a:cubicBezTo>
                    <a:pt x="351901" y="305667"/>
                    <a:pt x="351901" y="294788"/>
                    <a:pt x="357341" y="289349"/>
                  </a:cubicBezTo>
                  <a:cubicBezTo>
                    <a:pt x="360060" y="281190"/>
                    <a:pt x="368219" y="273031"/>
                    <a:pt x="373658" y="273031"/>
                  </a:cubicBezTo>
                  <a:cubicBezTo>
                    <a:pt x="376378" y="273031"/>
                    <a:pt x="379098" y="273031"/>
                    <a:pt x="381817" y="278470"/>
                  </a:cubicBezTo>
                  <a:cubicBezTo>
                    <a:pt x="384537" y="283909"/>
                    <a:pt x="387257" y="292068"/>
                    <a:pt x="389977" y="300228"/>
                  </a:cubicBezTo>
                  <a:cubicBezTo>
                    <a:pt x="392696" y="316545"/>
                    <a:pt x="392696" y="335583"/>
                    <a:pt x="395416" y="351901"/>
                  </a:cubicBezTo>
                  <a:cubicBezTo>
                    <a:pt x="398136" y="373658"/>
                    <a:pt x="398136" y="384537"/>
                    <a:pt x="398136" y="409014"/>
                  </a:cubicBezTo>
                  <a:cubicBezTo>
                    <a:pt x="398136" y="422612"/>
                    <a:pt x="398136" y="444369"/>
                    <a:pt x="381817" y="444369"/>
                  </a:cubicBezTo>
                  <a:cubicBezTo>
                    <a:pt x="373658" y="444369"/>
                    <a:pt x="370939" y="441650"/>
                    <a:pt x="365500" y="438930"/>
                  </a:cubicBezTo>
                  <a:cubicBezTo>
                    <a:pt x="360060" y="436210"/>
                    <a:pt x="357341" y="428051"/>
                    <a:pt x="357341" y="422612"/>
                  </a:cubicBezTo>
                  <a:cubicBezTo>
                    <a:pt x="354621" y="414453"/>
                    <a:pt x="354621" y="409014"/>
                    <a:pt x="354621" y="400855"/>
                  </a:cubicBezTo>
                  <a:cubicBezTo>
                    <a:pt x="354621" y="395415"/>
                    <a:pt x="354621" y="389976"/>
                    <a:pt x="354621" y="381817"/>
                  </a:cubicBezTo>
                  <a:cubicBezTo>
                    <a:pt x="335583" y="381817"/>
                    <a:pt x="308387" y="384537"/>
                    <a:pt x="270312" y="381817"/>
                  </a:cubicBezTo>
                  <a:cubicBezTo>
                    <a:pt x="262153" y="381817"/>
                    <a:pt x="256713" y="387256"/>
                    <a:pt x="256713" y="395415"/>
                  </a:cubicBezTo>
                  <a:cubicBezTo>
                    <a:pt x="256713" y="403574"/>
                    <a:pt x="256713" y="414453"/>
                    <a:pt x="253994" y="422612"/>
                  </a:cubicBezTo>
                  <a:cubicBezTo>
                    <a:pt x="253994" y="425332"/>
                    <a:pt x="253994" y="430771"/>
                    <a:pt x="253994" y="433490"/>
                  </a:cubicBezTo>
                  <a:cubicBezTo>
                    <a:pt x="253994" y="438930"/>
                    <a:pt x="253994" y="444369"/>
                    <a:pt x="253994" y="449809"/>
                  </a:cubicBezTo>
                  <a:cubicBezTo>
                    <a:pt x="253994" y="457967"/>
                    <a:pt x="256713" y="466126"/>
                    <a:pt x="256713" y="474285"/>
                  </a:cubicBezTo>
                  <a:cubicBezTo>
                    <a:pt x="256713" y="482444"/>
                    <a:pt x="256713" y="490603"/>
                    <a:pt x="256713" y="496043"/>
                  </a:cubicBezTo>
                  <a:cubicBezTo>
                    <a:pt x="256713" y="509641"/>
                    <a:pt x="259433" y="520520"/>
                    <a:pt x="259433" y="534118"/>
                  </a:cubicBezTo>
                  <a:cubicBezTo>
                    <a:pt x="259433" y="553155"/>
                    <a:pt x="259433" y="572193"/>
                    <a:pt x="259433" y="591231"/>
                  </a:cubicBezTo>
                  <a:cubicBezTo>
                    <a:pt x="259433" y="602109"/>
                    <a:pt x="262153" y="610268"/>
                    <a:pt x="262153" y="618427"/>
                  </a:cubicBezTo>
                  <a:cubicBezTo>
                    <a:pt x="264872" y="626586"/>
                    <a:pt x="262153" y="642904"/>
                    <a:pt x="267592" y="648343"/>
                  </a:cubicBezTo>
                  <a:cubicBezTo>
                    <a:pt x="270312" y="651063"/>
                    <a:pt x="275751" y="651063"/>
                    <a:pt x="292069" y="651063"/>
                  </a:cubicBezTo>
                  <a:cubicBezTo>
                    <a:pt x="305667" y="651063"/>
                    <a:pt x="319265" y="651063"/>
                    <a:pt x="327424" y="651063"/>
                  </a:cubicBezTo>
                  <a:cubicBezTo>
                    <a:pt x="338303" y="651063"/>
                    <a:pt x="351901" y="653783"/>
                    <a:pt x="362780" y="653783"/>
                  </a:cubicBezTo>
                  <a:cubicBezTo>
                    <a:pt x="376378" y="653783"/>
                    <a:pt x="384537" y="651063"/>
                    <a:pt x="395416" y="648343"/>
                  </a:cubicBezTo>
                  <a:cubicBezTo>
                    <a:pt x="395416" y="637465"/>
                    <a:pt x="395416" y="629306"/>
                    <a:pt x="395416" y="618427"/>
                  </a:cubicBezTo>
                  <a:cubicBezTo>
                    <a:pt x="395416" y="610268"/>
                    <a:pt x="395416" y="602109"/>
                    <a:pt x="395416" y="596670"/>
                  </a:cubicBezTo>
                  <a:cubicBezTo>
                    <a:pt x="395416" y="591231"/>
                    <a:pt x="395416" y="585791"/>
                    <a:pt x="398136" y="574913"/>
                  </a:cubicBezTo>
                  <a:cubicBezTo>
                    <a:pt x="400855" y="569473"/>
                    <a:pt x="400855" y="564034"/>
                    <a:pt x="406295" y="558595"/>
                  </a:cubicBezTo>
                  <a:cubicBezTo>
                    <a:pt x="411734" y="553155"/>
                    <a:pt x="414453" y="553155"/>
                    <a:pt x="422612" y="553155"/>
                  </a:cubicBezTo>
                  <a:cubicBezTo>
                    <a:pt x="436211" y="553155"/>
                    <a:pt x="438930" y="577632"/>
                    <a:pt x="438930" y="588511"/>
                  </a:cubicBezTo>
                  <a:cubicBezTo>
                    <a:pt x="438930" y="612988"/>
                    <a:pt x="438930" y="623866"/>
                    <a:pt x="436211" y="645624"/>
                  </a:cubicBezTo>
                  <a:cubicBezTo>
                    <a:pt x="433491" y="648343"/>
                    <a:pt x="433491" y="648343"/>
                    <a:pt x="433491" y="651063"/>
                  </a:cubicBezTo>
                  <a:lnTo>
                    <a:pt x="433491" y="651063"/>
                  </a:ln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/>
            </a:p>
          </p:txBody>
        </p:sp>
        <p:sp>
          <p:nvSpPr>
            <p:cNvPr id="49" name="Freeform: Shape 48">
              <a:extLst>
                <a:ext uri="{FF2B5EF4-FFF2-40B4-BE49-F238E27FC236}">
                  <a16:creationId xmlns:a16="http://schemas.microsoft.com/office/drawing/2014/main" id="{DBFAFEDA-92A7-430B-864D-95B664E05370}"/>
                </a:ext>
              </a:extLst>
            </p:cNvPr>
            <p:cNvSpPr/>
            <p:nvPr/>
          </p:nvSpPr>
          <p:spPr>
            <a:xfrm>
              <a:off x="7912732" y="4250336"/>
              <a:ext cx="465062" cy="658157"/>
            </a:xfrm>
            <a:custGeom>
              <a:avLst/>
              <a:gdLst>
                <a:gd name="connsiteX0" fmla="*/ 193096 w 465062"/>
                <a:gd name="connsiteY0" fmla="*/ 59832 h 658157"/>
                <a:gd name="connsiteX1" fmla="*/ 193096 w 465062"/>
                <a:gd name="connsiteY1" fmla="*/ 114226 h 658157"/>
                <a:gd name="connsiteX2" fmla="*/ 198536 w 465062"/>
                <a:gd name="connsiteY2" fmla="*/ 209414 h 658157"/>
                <a:gd name="connsiteX3" fmla="*/ 201255 w 465062"/>
                <a:gd name="connsiteY3" fmla="*/ 282845 h 658157"/>
                <a:gd name="connsiteX4" fmla="*/ 203975 w 465062"/>
                <a:gd name="connsiteY4" fmla="*/ 315481 h 658157"/>
                <a:gd name="connsiteX5" fmla="*/ 203975 w 465062"/>
                <a:gd name="connsiteY5" fmla="*/ 320920 h 658157"/>
                <a:gd name="connsiteX6" fmla="*/ 212134 w 465062"/>
                <a:gd name="connsiteY6" fmla="*/ 329079 h 658157"/>
                <a:gd name="connsiteX7" fmla="*/ 223013 w 465062"/>
                <a:gd name="connsiteY7" fmla="*/ 329079 h 658157"/>
                <a:gd name="connsiteX8" fmla="*/ 239331 w 465062"/>
                <a:gd name="connsiteY8" fmla="*/ 329079 h 658157"/>
                <a:gd name="connsiteX9" fmla="*/ 280126 w 465062"/>
                <a:gd name="connsiteY9" fmla="*/ 312761 h 658157"/>
                <a:gd name="connsiteX10" fmla="*/ 296443 w 465062"/>
                <a:gd name="connsiteY10" fmla="*/ 288284 h 658157"/>
                <a:gd name="connsiteX11" fmla="*/ 304602 w 465062"/>
                <a:gd name="connsiteY11" fmla="*/ 258368 h 658157"/>
                <a:gd name="connsiteX12" fmla="*/ 312761 w 465062"/>
                <a:gd name="connsiteY12" fmla="*/ 225732 h 658157"/>
                <a:gd name="connsiteX13" fmla="*/ 315481 w 465062"/>
                <a:gd name="connsiteY13" fmla="*/ 195816 h 658157"/>
                <a:gd name="connsiteX14" fmla="*/ 318201 w 465062"/>
                <a:gd name="connsiteY14" fmla="*/ 168619 h 658157"/>
                <a:gd name="connsiteX15" fmla="*/ 312761 w 465062"/>
                <a:gd name="connsiteY15" fmla="*/ 135983 h 658157"/>
                <a:gd name="connsiteX16" fmla="*/ 312761 w 465062"/>
                <a:gd name="connsiteY16" fmla="*/ 122385 h 658157"/>
                <a:gd name="connsiteX17" fmla="*/ 293724 w 465062"/>
                <a:gd name="connsiteY17" fmla="*/ 84309 h 658157"/>
                <a:gd name="connsiteX18" fmla="*/ 280126 w 465062"/>
                <a:gd name="connsiteY18" fmla="*/ 73430 h 658157"/>
                <a:gd name="connsiteX19" fmla="*/ 258368 w 465062"/>
                <a:gd name="connsiteY19" fmla="*/ 62552 h 658157"/>
                <a:gd name="connsiteX20" fmla="*/ 217573 w 465062"/>
                <a:gd name="connsiteY20" fmla="*/ 59832 h 658157"/>
                <a:gd name="connsiteX21" fmla="*/ 111506 w 465062"/>
                <a:gd name="connsiteY21" fmla="*/ 0 h 658157"/>
                <a:gd name="connsiteX22" fmla="*/ 127824 w 465062"/>
                <a:gd name="connsiteY22" fmla="*/ 0 h 658157"/>
                <a:gd name="connsiteX23" fmla="*/ 157741 w 465062"/>
                <a:gd name="connsiteY23" fmla="*/ 5440 h 658157"/>
                <a:gd name="connsiteX24" fmla="*/ 179497 w 465062"/>
                <a:gd name="connsiteY24" fmla="*/ 16318 h 658157"/>
                <a:gd name="connsiteX25" fmla="*/ 209414 w 465062"/>
                <a:gd name="connsiteY25" fmla="*/ 16318 h 658157"/>
                <a:gd name="connsiteX26" fmla="*/ 247489 w 465062"/>
                <a:gd name="connsiteY26" fmla="*/ 16318 h 658157"/>
                <a:gd name="connsiteX27" fmla="*/ 266527 w 465062"/>
                <a:gd name="connsiteY27" fmla="*/ 16318 h 658157"/>
                <a:gd name="connsiteX28" fmla="*/ 312761 w 465062"/>
                <a:gd name="connsiteY28" fmla="*/ 27197 h 658157"/>
                <a:gd name="connsiteX29" fmla="*/ 337238 w 465062"/>
                <a:gd name="connsiteY29" fmla="*/ 38075 h 658157"/>
                <a:gd name="connsiteX30" fmla="*/ 364434 w 465062"/>
                <a:gd name="connsiteY30" fmla="*/ 54393 h 658157"/>
                <a:gd name="connsiteX31" fmla="*/ 386192 w 465062"/>
                <a:gd name="connsiteY31" fmla="*/ 73431 h 658157"/>
                <a:gd name="connsiteX32" fmla="*/ 407949 w 465062"/>
                <a:gd name="connsiteY32" fmla="*/ 103347 h 658157"/>
                <a:gd name="connsiteX33" fmla="*/ 416108 w 465062"/>
                <a:gd name="connsiteY33" fmla="*/ 141422 h 658157"/>
                <a:gd name="connsiteX34" fmla="*/ 418828 w 465062"/>
                <a:gd name="connsiteY34" fmla="*/ 163179 h 658157"/>
                <a:gd name="connsiteX35" fmla="*/ 418828 w 465062"/>
                <a:gd name="connsiteY35" fmla="*/ 171339 h 658157"/>
                <a:gd name="connsiteX36" fmla="*/ 421547 w 465062"/>
                <a:gd name="connsiteY36" fmla="*/ 187656 h 658157"/>
                <a:gd name="connsiteX37" fmla="*/ 418828 w 465062"/>
                <a:gd name="connsiteY37" fmla="*/ 206694 h 658157"/>
                <a:gd name="connsiteX38" fmla="*/ 416108 w 465062"/>
                <a:gd name="connsiteY38" fmla="*/ 233891 h 658157"/>
                <a:gd name="connsiteX39" fmla="*/ 405229 w 465062"/>
                <a:gd name="connsiteY39" fmla="*/ 263807 h 658157"/>
                <a:gd name="connsiteX40" fmla="*/ 394351 w 465062"/>
                <a:gd name="connsiteY40" fmla="*/ 274686 h 658157"/>
                <a:gd name="connsiteX41" fmla="*/ 388912 w 465062"/>
                <a:gd name="connsiteY41" fmla="*/ 285564 h 658157"/>
                <a:gd name="connsiteX42" fmla="*/ 369874 w 465062"/>
                <a:gd name="connsiteY42" fmla="*/ 304602 h 658157"/>
                <a:gd name="connsiteX43" fmla="*/ 358995 w 465062"/>
                <a:gd name="connsiteY43" fmla="*/ 310041 h 658157"/>
                <a:gd name="connsiteX44" fmla="*/ 348117 w 465062"/>
                <a:gd name="connsiteY44" fmla="*/ 320920 h 658157"/>
                <a:gd name="connsiteX45" fmla="*/ 326359 w 465062"/>
                <a:gd name="connsiteY45" fmla="*/ 339957 h 658157"/>
                <a:gd name="connsiteX46" fmla="*/ 312761 w 465062"/>
                <a:gd name="connsiteY46" fmla="*/ 353555 h 658157"/>
                <a:gd name="connsiteX47" fmla="*/ 337238 w 465062"/>
                <a:gd name="connsiteY47" fmla="*/ 380752 h 658157"/>
                <a:gd name="connsiteX48" fmla="*/ 358995 w 465062"/>
                <a:gd name="connsiteY48" fmla="*/ 421547 h 658157"/>
                <a:gd name="connsiteX49" fmla="*/ 372593 w 465062"/>
                <a:gd name="connsiteY49" fmla="*/ 459622 h 658157"/>
                <a:gd name="connsiteX50" fmla="*/ 386192 w 465062"/>
                <a:gd name="connsiteY50" fmla="*/ 514015 h 658157"/>
                <a:gd name="connsiteX51" fmla="*/ 407949 w 465062"/>
                <a:gd name="connsiteY51" fmla="*/ 568408 h 658157"/>
                <a:gd name="connsiteX52" fmla="*/ 421547 w 465062"/>
                <a:gd name="connsiteY52" fmla="*/ 598324 h 658157"/>
                <a:gd name="connsiteX53" fmla="*/ 451463 w 465062"/>
                <a:gd name="connsiteY53" fmla="*/ 628241 h 658157"/>
                <a:gd name="connsiteX54" fmla="*/ 465062 w 465062"/>
                <a:gd name="connsiteY54" fmla="*/ 644559 h 658157"/>
                <a:gd name="connsiteX55" fmla="*/ 462342 w 465062"/>
                <a:gd name="connsiteY55" fmla="*/ 649998 h 658157"/>
                <a:gd name="connsiteX56" fmla="*/ 437865 w 465062"/>
                <a:gd name="connsiteY56" fmla="*/ 658157 h 658157"/>
                <a:gd name="connsiteX57" fmla="*/ 361715 w 465062"/>
                <a:gd name="connsiteY57" fmla="*/ 622801 h 658157"/>
                <a:gd name="connsiteX58" fmla="*/ 320920 w 465062"/>
                <a:gd name="connsiteY58" fmla="*/ 565689 h 658157"/>
                <a:gd name="connsiteX59" fmla="*/ 304602 w 465062"/>
                <a:gd name="connsiteY59" fmla="*/ 530333 h 658157"/>
                <a:gd name="connsiteX60" fmla="*/ 293723 w 465062"/>
                <a:gd name="connsiteY60" fmla="*/ 497697 h 658157"/>
                <a:gd name="connsiteX61" fmla="*/ 282845 w 465062"/>
                <a:gd name="connsiteY61" fmla="*/ 462342 h 658157"/>
                <a:gd name="connsiteX62" fmla="*/ 269246 w 465062"/>
                <a:gd name="connsiteY62" fmla="*/ 424267 h 658157"/>
                <a:gd name="connsiteX63" fmla="*/ 255648 w 465062"/>
                <a:gd name="connsiteY63" fmla="*/ 391631 h 658157"/>
                <a:gd name="connsiteX64" fmla="*/ 236610 w 465062"/>
                <a:gd name="connsiteY64" fmla="*/ 367154 h 658157"/>
                <a:gd name="connsiteX65" fmla="*/ 217573 w 465062"/>
                <a:gd name="connsiteY65" fmla="*/ 361714 h 658157"/>
                <a:gd name="connsiteX66" fmla="*/ 201255 w 465062"/>
                <a:gd name="connsiteY66" fmla="*/ 361714 h 658157"/>
                <a:gd name="connsiteX67" fmla="*/ 198535 w 465062"/>
                <a:gd name="connsiteY67" fmla="*/ 367154 h 658157"/>
                <a:gd name="connsiteX68" fmla="*/ 201255 w 465062"/>
                <a:gd name="connsiteY68" fmla="*/ 388911 h 658157"/>
                <a:gd name="connsiteX69" fmla="*/ 198535 w 465062"/>
                <a:gd name="connsiteY69" fmla="*/ 426986 h 658157"/>
                <a:gd name="connsiteX70" fmla="*/ 203975 w 465062"/>
                <a:gd name="connsiteY70" fmla="*/ 478660 h 658157"/>
                <a:gd name="connsiteX71" fmla="*/ 198535 w 465062"/>
                <a:gd name="connsiteY71" fmla="*/ 552090 h 658157"/>
                <a:gd name="connsiteX72" fmla="*/ 195816 w 465062"/>
                <a:gd name="connsiteY72" fmla="*/ 576567 h 658157"/>
                <a:gd name="connsiteX73" fmla="*/ 198535 w 465062"/>
                <a:gd name="connsiteY73" fmla="*/ 592885 h 658157"/>
                <a:gd name="connsiteX74" fmla="*/ 233891 w 465062"/>
                <a:gd name="connsiteY74" fmla="*/ 592885 h 658157"/>
                <a:gd name="connsiteX75" fmla="*/ 271966 w 465062"/>
                <a:gd name="connsiteY75" fmla="*/ 611923 h 658157"/>
                <a:gd name="connsiteX76" fmla="*/ 266527 w 465062"/>
                <a:gd name="connsiteY76" fmla="*/ 628241 h 658157"/>
                <a:gd name="connsiteX77" fmla="*/ 250209 w 465062"/>
                <a:gd name="connsiteY77" fmla="*/ 636400 h 658157"/>
                <a:gd name="connsiteX78" fmla="*/ 228451 w 465062"/>
                <a:gd name="connsiteY78" fmla="*/ 639119 h 658157"/>
                <a:gd name="connsiteX79" fmla="*/ 187657 w 465062"/>
                <a:gd name="connsiteY79" fmla="*/ 639119 h 658157"/>
                <a:gd name="connsiteX80" fmla="*/ 152301 w 465062"/>
                <a:gd name="connsiteY80" fmla="*/ 652717 h 658157"/>
                <a:gd name="connsiteX81" fmla="*/ 133263 w 465062"/>
                <a:gd name="connsiteY81" fmla="*/ 655437 h 658157"/>
                <a:gd name="connsiteX82" fmla="*/ 122385 w 465062"/>
                <a:gd name="connsiteY82" fmla="*/ 652717 h 658157"/>
                <a:gd name="connsiteX83" fmla="*/ 97908 w 465062"/>
                <a:gd name="connsiteY83" fmla="*/ 639119 h 658157"/>
                <a:gd name="connsiteX84" fmla="*/ 70711 w 465062"/>
                <a:gd name="connsiteY84" fmla="*/ 639119 h 658157"/>
                <a:gd name="connsiteX85" fmla="*/ 46234 w 465062"/>
                <a:gd name="connsiteY85" fmla="*/ 639119 h 658157"/>
                <a:gd name="connsiteX86" fmla="*/ 19038 w 465062"/>
                <a:gd name="connsiteY86" fmla="*/ 630960 h 658157"/>
                <a:gd name="connsiteX87" fmla="*/ 2720 w 465062"/>
                <a:gd name="connsiteY87" fmla="*/ 614642 h 658157"/>
                <a:gd name="connsiteX88" fmla="*/ 8159 w 465062"/>
                <a:gd name="connsiteY88" fmla="*/ 606483 h 658157"/>
                <a:gd name="connsiteX89" fmla="*/ 29916 w 465062"/>
                <a:gd name="connsiteY89" fmla="*/ 598324 h 658157"/>
                <a:gd name="connsiteX90" fmla="*/ 76151 w 465062"/>
                <a:gd name="connsiteY90" fmla="*/ 592885 h 658157"/>
                <a:gd name="connsiteX91" fmla="*/ 73431 w 465062"/>
                <a:gd name="connsiteY91" fmla="*/ 573848 h 658157"/>
                <a:gd name="connsiteX92" fmla="*/ 70711 w 465062"/>
                <a:gd name="connsiteY92" fmla="*/ 500417 h 658157"/>
                <a:gd name="connsiteX93" fmla="*/ 73431 w 465062"/>
                <a:gd name="connsiteY93" fmla="*/ 437865 h 658157"/>
                <a:gd name="connsiteX94" fmla="*/ 70711 w 465062"/>
                <a:gd name="connsiteY94" fmla="*/ 369873 h 658157"/>
                <a:gd name="connsiteX95" fmla="*/ 70711 w 465062"/>
                <a:gd name="connsiteY95" fmla="*/ 293723 h 658157"/>
                <a:gd name="connsiteX96" fmla="*/ 73431 w 465062"/>
                <a:gd name="connsiteY96" fmla="*/ 212133 h 658157"/>
                <a:gd name="connsiteX97" fmla="*/ 76151 w 465062"/>
                <a:gd name="connsiteY97" fmla="*/ 155021 h 658157"/>
                <a:gd name="connsiteX98" fmla="*/ 76151 w 465062"/>
                <a:gd name="connsiteY98" fmla="*/ 119665 h 658157"/>
                <a:gd name="connsiteX99" fmla="*/ 78870 w 465062"/>
                <a:gd name="connsiteY99" fmla="*/ 84310 h 658157"/>
                <a:gd name="connsiteX100" fmla="*/ 76151 w 465062"/>
                <a:gd name="connsiteY100" fmla="*/ 62552 h 658157"/>
                <a:gd name="connsiteX101" fmla="*/ 67992 w 465062"/>
                <a:gd name="connsiteY101" fmla="*/ 62552 h 658157"/>
                <a:gd name="connsiteX102" fmla="*/ 43515 w 465062"/>
                <a:gd name="connsiteY102" fmla="*/ 62552 h 658157"/>
                <a:gd name="connsiteX103" fmla="*/ 16318 w 465062"/>
                <a:gd name="connsiteY103" fmla="*/ 57113 h 658157"/>
                <a:gd name="connsiteX104" fmla="*/ 0 w 465062"/>
                <a:gd name="connsiteY104" fmla="*/ 40795 h 658157"/>
                <a:gd name="connsiteX105" fmla="*/ 5439 w 465062"/>
                <a:gd name="connsiteY105" fmla="*/ 32636 h 658157"/>
                <a:gd name="connsiteX106" fmla="*/ 27197 w 465062"/>
                <a:gd name="connsiteY106" fmla="*/ 24477 h 658157"/>
                <a:gd name="connsiteX107" fmla="*/ 76151 w 465062"/>
                <a:gd name="connsiteY107" fmla="*/ 19038 h 658157"/>
                <a:gd name="connsiteX108" fmla="*/ 78870 w 465062"/>
                <a:gd name="connsiteY108" fmla="*/ 13598 h 658157"/>
                <a:gd name="connsiteX109" fmla="*/ 95188 w 465062"/>
                <a:gd name="connsiteY109" fmla="*/ 5440 h 658157"/>
                <a:gd name="connsiteX110" fmla="*/ 111506 w 465062"/>
                <a:gd name="connsiteY110" fmla="*/ 0 h 6581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</a:cxnLst>
              <a:rect l="l" t="t" r="r" b="b"/>
              <a:pathLst>
                <a:path w="465062" h="658157">
                  <a:moveTo>
                    <a:pt x="193096" y="59832"/>
                  </a:moveTo>
                  <a:cubicBezTo>
                    <a:pt x="193096" y="73430"/>
                    <a:pt x="193096" y="89748"/>
                    <a:pt x="193096" y="114226"/>
                  </a:cubicBezTo>
                  <a:cubicBezTo>
                    <a:pt x="193096" y="144142"/>
                    <a:pt x="195816" y="176778"/>
                    <a:pt x="198536" y="209414"/>
                  </a:cubicBezTo>
                  <a:cubicBezTo>
                    <a:pt x="198536" y="247489"/>
                    <a:pt x="201255" y="277406"/>
                    <a:pt x="201255" y="282845"/>
                  </a:cubicBezTo>
                  <a:cubicBezTo>
                    <a:pt x="201255" y="293723"/>
                    <a:pt x="203975" y="304602"/>
                    <a:pt x="203975" y="315481"/>
                  </a:cubicBezTo>
                  <a:cubicBezTo>
                    <a:pt x="203975" y="318200"/>
                    <a:pt x="203975" y="318200"/>
                    <a:pt x="203975" y="320920"/>
                  </a:cubicBezTo>
                  <a:cubicBezTo>
                    <a:pt x="203975" y="326359"/>
                    <a:pt x="206695" y="329079"/>
                    <a:pt x="212134" y="329079"/>
                  </a:cubicBezTo>
                  <a:cubicBezTo>
                    <a:pt x="214854" y="329079"/>
                    <a:pt x="220293" y="329079"/>
                    <a:pt x="223013" y="329079"/>
                  </a:cubicBezTo>
                  <a:cubicBezTo>
                    <a:pt x="228452" y="329079"/>
                    <a:pt x="233891" y="329079"/>
                    <a:pt x="239331" y="329079"/>
                  </a:cubicBezTo>
                  <a:cubicBezTo>
                    <a:pt x="252929" y="329079"/>
                    <a:pt x="271967" y="323640"/>
                    <a:pt x="280126" y="312761"/>
                  </a:cubicBezTo>
                  <a:cubicBezTo>
                    <a:pt x="288284" y="304602"/>
                    <a:pt x="291004" y="299163"/>
                    <a:pt x="296443" y="288284"/>
                  </a:cubicBezTo>
                  <a:cubicBezTo>
                    <a:pt x="299163" y="277406"/>
                    <a:pt x="301883" y="269247"/>
                    <a:pt x="304602" y="258368"/>
                  </a:cubicBezTo>
                  <a:cubicBezTo>
                    <a:pt x="307322" y="244770"/>
                    <a:pt x="310042" y="239330"/>
                    <a:pt x="312761" y="225732"/>
                  </a:cubicBezTo>
                  <a:cubicBezTo>
                    <a:pt x="315481" y="212134"/>
                    <a:pt x="315481" y="209414"/>
                    <a:pt x="315481" y="195816"/>
                  </a:cubicBezTo>
                  <a:cubicBezTo>
                    <a:pt x="315481" y="179498"/>
                    <a:pt x="315481" y="184937"/>
                    <a:pt x="318201" y="168619"/>
                  </a:cubicBezTo>
                  <a:cubicBezTo>
                    <a:pt x="312761" y="152302"/>
                    <a:pt x="312761" y="149582"/>
                    <a:pt x="312761" y="135983"/>
                  </a:cubicBezTo>
                  <a:cubicBezTo>
                    <a:pt x="312761" y="133264"/>
                    <a:pt x="312761" y="127825"/>
                    <a:pt x="312761" y="122385"/>
                  </a:cubicBezTo>
                  <a:cubicBezTo>
                    <a:pt x="312761" y="111507"/>
                    <a:pt x="301883" y="95188"/>
                    <a:pt x="293724" y="84309"/>
                  </a:cubicBezTo>
                  <a:cubicBezTo>
                    <a:pt x="288284" y="78870"/>
                    <a:pt x="285565" y="76150"/>
                    <a:pt x="280126" y="73430"/>
                  </a:cubicBezTo>
                  <a:cubicBezTo>
                    <a:pt x="271967" y="67991"/>
                    <a:pt x="266527" y="65271"/>
                    <a:pt x="258368" y="62552"/>
                  </a:cubicBezTo>
                  <a:cubicBezTo>
                    <a:pt x="244770" y="59832"/>
                    <a:pt x="228452" y="59832"/>
                    <a:pt x="217573" y="59832"/>
                  </a:cubicBezTo>
                  <a:close/>
                  <a:moveTo>
                    <a:pt x="111506" y="0"/>
                  </a:moveTo>
                  <a:cubicBezTo>
                    <a:pt x="114226" y="0"/>
                    <a:pt x="122385" y="0"/>
                    <a:pt x="127824" y="0"/>
                  </a:cubicBezTo>
                  <a:cubicBezTo>
                    <a:pt x="135983" y="0"/>
                    <a:pt x="146862" y="2720"/>
                    <a:pt x="157741" y="5440"/>
                  </a:cubicBezTo>
                  <a:cubicBezTo>
                    <a:pt x="168619" y="8159"/>
                    <a:pt x="176778" y="10879"/>
                    <a:pt x="179497" y="16318"/>
                  </a:cubicBezTo>
                  <a:cubicBezTo>
                    <a:pt x="193096" y="16318"/>
                    <a:pt x="201255" y="16318"/>
                    <a:pt x="209414" y="16318"/>
                  </a:cubicBezTo>
                  <a:cubicBezTo>
                    <a:pt x="220292" y="16318"/>
                    <a:pt x="231171" y="16318"/>
                    <a:pt x="247489" y="16318"/>
                  </a:cubicBezTo>
                  <a:cubicBezTo>
                    <a:pt x="250209" y="16318"/>
                    <a:pt x="258368" y="16318"/>
                    <a:pt x="266527" y="16318"/>
                  </a:cubicBezTo>
                  <a:cubicBezTo>
                    <a:pt x="277405" y="16318"/>
                    <a:pt x="291004" y="21758"/>
                    <a:pt x="312761" y="27197"/>
                  </a:cubicBezTo>
                  <a:cubicBezTo>
                    <a:pt x="320920" y="29917"/>
                    <a:pt x="329079" y="35356"/>
                    <a:pt x="337238" y="38075"/>
                  </a:cubicBezTo>
                  <a:cubicBezTo>
                    <a:pt x="342677" y="40795"/>
                    <a:pt x="353556" y="48954"/>
                    <a:pt x="364434" y="54393"/>
                  </a:cubicBezTo>
                  <a:cubicBezTo>
                    <a:pt x="375313" y="62552"/>
                    <a:pt x="386192" y="67992"/>
                    <a:pt x="386192" y="73431"/>
                  </a:cubicBezTo>
                  <a:cubicBezTo>
                    <a:pt x="391631" y="84310"/>
                    <a:pt x="402510" y="92469"/>
                    <a:pt x="407949" y="103347"/>
                  </a:cubicBezTo>
                  <a:cubicBezTo>
                    <a:pt x="413388" y="116945"/>
                    <a:pt x="416108" y="130544"/>
                    <a:pt x="416108" y="141422"/>
                  </a:cubicBezTo>
                  <a:cubicBezTo>
                    <a:pt x="416108" y="152301"/>
                    <a:pt x="418828" y="157740"/>
                    <a:pt x="418828" y="163179"/>
                  </a:cubicBezTo>
                  <a:cubicBezTo>
                    <a:pt x="418828" y="165899"/>
                    <a:pt x="418828" y="168619"/>
                    <a:pt x="418828" y="171339"/>
                  </a:cubicBezTo>
                  <a:cubicBezTo>
                    <a:pt x="418828" y="174058"/>
                    <a:pt x="421547" y="182217"/>
                    <a:pt x="421547" y="187656"/>
                  </a:cubicBezTo>
                  <a:cubicBezTo>
                    <a:pt x="421547" y="193096"/>
                    <a:pt x="418828" y="201255"/>
                    <a:pt x="418828" y="206694"/>
                  </a:cubicBezTo>
                  <a:cubicBezTo>
                    <a:pt x="418828" y="217573"/>
                    <a:pt x="418828" y="223012"/>
                    <a:pt x="416108" y="233891"/>
                  </a:cubicBezTo>
                  <a:cubicBezTo>
                    <a:pt x="413388" y="244769"/>
                    <a:pt x="410668" y="255648"/>
                    <a:pt x="405229" y="263807"/>
                  </a:cubicBezTo>
                  <a:cubicBezTo>
                    <a:pt x="402510" y="269246"/>
                    <a:pt x="397070" y="269246"/>
                    <a:pt x="394351" y="274686"/>
                  </a:cubicBezTo>
                  <a:cubicBezTo>
                    <a:pt x="391631" y="277405"/>
                    <a:pt x="391631" y="282844"/>
                    <a:pt x="388912" y="285564"/>
                  </a:cubicBezTo>
                  <a:cubicBezTo>
                    <a:pt x="383472" y="291003"/>
                    <a:pt x="375313" y="301882"/>
                    <a:pt x="369874" y="304602"/>
                  </a:cubicBezTo>
                  <a:cubicBezTo>
                    <a:pt x="367154" y="307321"/>
                    <a:pt x="361715" y="307321"/>
                    <a:pt x="358995" y="310041"/>
                  </a:cubicBezTo>
                  <a:cubicBezTo>
                    <a:pt x="356275" y="312761"/>
                    <a:pt x="350836" y="318200"/>
                    <a:pt x="348117" y="320920"/>
                  </a:cubicBezTo>
                  <a:cubicBezTo>
                    <a:pt x="339958" y="326359"/>
                    <a:pt x="334518" y="334518"/>
                    <a:pt x="326359" y="339957"/>
                  </a:cubicBezTo>
                  <a:cubicBezTo>
                    <a:pt x="320920" y="342677"/>
                    <a:pt x="312761" y="342677"/>
                    <a:pt x="312761" y="353555"/>
                  </a:cubicBezTo>
                  <a:cubicBezTo>
                    <a:pt x="312761" y="361714"/>
                    <a:pt x="334518" y="372593"/>
                    <a:pt x="337238" y="380752"/>
                  </a:cubicBezTo>
                  <a:cubicBezTo>
                    <a:pt x="345397" y="394350"/>
                    <a:pt x="353556" y="407948"/>
                    <a:pt x="358995" y="421547"/>
                  </a:cubicBezTo>
                  <a:cubicBezTo>
                    <a:pt x="364434" y="435145"/>
                    <a:pt x="367154" y="446024"/>
                    <a:pt x="372593" y="459622"/>
                  </a:cubicBezTo>
                  <a:cubicBezTo>
                    <a:pt x="378033" y="478660"/>
                    <a:pt x="383472" y="494978"/>
                    <a:pt x="386192" y="514015"/>
                  </a:cubicBezTo>
                  <a:cubicBezTo>
                    <a:pt x="391631" y="533053"/>
                    <a:pt x="402510" y="549371"/>
                    <a:pt x="407949" y="568408"/>
                  </a:cubicBezTo>
                  <a:cubicBezTo>
                    <a:pt x="410668" y="579287"/>
                    <a:pt x="416108" y="590165"/>
                    <a:pt x="421547" y="598324"/>
                  </a:cubicBezTo>
                  <a:cubicBezTo>
                    <a:pt x="435146" y="614642"/>
                    <a:pt x="443305" y="622801"/>
                    <a:pt x="451463" y="628241"/>
                  </a:cubicBezTo>
                  <a:cubicBezTo>
                    <a:pt x="456903" y="630960"/>
                    <a:pt x="465062" y="636400"/>
                    <a:pt x="465062" y="644559"/>
                  </a:cubicBezTo>
                  <a:cubicBezTo>
                    <a:pt x="465062" y="647278"/>
                    <a:pt x="465062" y="647278"/>
                    <a:pt x="462342" y="649998"/>
                  </a:cubicBezTo>
                  <a:cubicBezTo>
                    <a:pt x="456903" y="655437"/>
                    <a:pt x="446024" y="658157"/>
                    <a:pt x="437865" y="658157"/>
                  </a:cubicBezTo>
                  <a:cubicBezTo>
                    <a:pt x="413388" y="658157"/>
                    <a:pt x="378033" y="641839"/>
                    <a:pt x="361715" y="622801"/>
                  </a:cubicBezTo>
                  <a:cubicBezTo>
                    <a:pt x="345397" y="606483"/>
                    <a:pt x="334518" y="584726"/>
                    <a:pt x="320920" y="565689"/>
                  </a:cubicBezTo>
                  <a:cubicBezTo>
                    <a:pt x="315480" y="554810"/>
                    <a:pt x="310041" y="543931"/>
                    <a:pt x="304602" y="530333"/>
                  </a:cubicBezTo>
                  <a:cubicBezTo>
                    <a:pt x="299163" y="519454"/>
                    <a:pt x="296443" y="508576"/>
                    <a:pt x="293723" y="497697"/>
                  </a:cubicBezTo>
                  <a:cubicBezTo>
                    <a:pt x="291004" y="486819"/>
                    <a:pt x="288284" y="473220"/>
                    <a:pt x="282845" y="462342"/>
                  </a:cubicBezTo>
                  <a:cubicBezTo>
                    <a:pt x="280125" y="448743"/>
                    <a:pt x="274686" y="437865"/>
                    <a:pt x="269246" y="424267"/>
                  </a:cubicBezTo>
                  <a:cubicBezTo>
                    <a:pt x="266527" y="416108"/>
                    <a:pt x="261087" y="402509"/>
                    <a:pt x="255648" y="391631"/>
                  </a:cubicBezTo>
                  <a:cubicBezTo>
                    <a:pt x="250209" y="380752"/>
                    <a:pt x="244770" y="375313"/>
                    <a:pt x="236610" y="367154"/>
                  </a:cubicBezTo>
                  <a:cubicBezTo>
                    <a:pt x="231171" y="361714"/>
                    <a:pt x="223012" y="361714"/>
                    <a:pt x="217573" y="361714"/>
                  </a:cubicBezTo>
                  <a:cubicBezTo>
                    <a:pt x="212134" y="361714"/>
                    <a:pt x="206694" y="361714"/>
                    <a:pt x="201255" y="361714"/>
                  </a:cubicBezTo>
                  <a:cubicBezTo>
                    <a:pt x="198535" y="361714"/>
                    <a:pt x="198535" y="364434"/>
                    <a:pt x="198535" y="367154"/>
                  </a:cubicBezTo>
                  <a:cubicBezTo>
                    <a:pt x="198535" y="375313"/>
                    <a:pt x="201255" y="386191"/>
                    <a:pt x="201255" y="388911"/>
                  </a:cubicBezTo>
                  <a:cubicBezTo>
                    <a:pt x="201255" y="402509"/>
                    <a:pt x="198535" y="413388"/>
                    <a:pt x="198535" y="426986"/>
                  </a:cubicBezTo>
                  <a:cubicBezTo>
                    <a:pt x="198535" y="446024"/>
                    <a:pt x="203975" y="456902"/>
                    <a:pt x="203975" y="478660"/>
                  </a:cubicBezTo>
                  <a:cubicBezTo>
                    <a:pt x="203975" y="503136"/>
                    <a:pt x="201255" y="527613"/>
                    <a:pt x="198535" y="552090"/>
                  </a:cubicBezTo>
                  <a:cubicBezTo>
                    <a:pt x="198535" y="560249"/>
                    <a:pt x="195816" y="568408"/>
                    <a:pt x="195816" y="576567"/>
                  </a:cubicBezTo>
                  <a:cubicBezTo>
                    <a:pt x="195816" y="582006"/>
                    <a:pt x="195816" y="587446"/>
                    <a:pt x="198535" y="592885"/>
                  </a:cubicBezTo>
                  <a:cubicBezTo>
                    <a:pt x="212134" y="592885"/>
                    <a:pt x="225732" y="592885"/>
                    <a:pt x="233891" y="592885"/>
                  </a:cubicBezTo>
                  <a:cubicBezTo>
                    <a:pt x="247489" y="592885"/>
                    <a:pt x="271966" y="592885"/>
                    <a:pt x="271966" y="611923"/>
                  </a:cubicBezTo>
                  <a:cubicBezTo>
                    <a:pt x="271966" y="620082"/>
                    <a:pt x="269246" y="622801"/>
                    <a:pt x="266527" y="628241"/>
                  </a:cubicBezTo>
                  <a:cubicBezTo>
                    <a:pt x="261087" y="633680"/>
                    <a:pt x="255648" y="636400"/>
                    <a:pt x="250209" y="636400"/>
                  </a:cubicBezTo>
                  <a:cubicBezTo>
                    <a:pt x="239330" y="639119"/>
                    <a:pt x="233891" y="639119"/>
                    <a:pt x="228451" y="639119"/>
                  </a:cubicBezTo>
                  <a:cubicBezTo>
                    <a:pt x="223012" y="639119"/>
                    <a:pt x="206694" y="639119"/>
                    <a:pt x="187657" y="639119"/>
                  </a:cubicBezTo>
                  <a:cubicBezTo>
                    <a:pt x="176778" y="647278"/>
                    <a:pt x="163180" y="649998"/>
                    <a:pt x="152301" y="652717"/>
                  </a:cubicBezTo>
                  <a:cubicBezTo>
                    <a:pt x="146862" y="652717"/>
                    <a:pt x="138703" y="655437"/>
                    <a:pt x="133263" y="655437"/>
                  </a:cubicBezTo>
                  <a:cubicBezTo>
                    <a:pt x="130544" y="655437"/>
                    <a:pt x="125104" y="655437"/>
                    <a:pt x="122385" y="652717"/>
                  </a:cubicBezTo>
                  <a:cubicBezTo>
                    <a:pt x="114226" y="649998"/>
                    <a:pt x="103347" y="644559"/>
                    <a:pt x="97908" y="639119"/>
                  </a:cubicBezTo>
                  <a:cubicBezTo>
                    <a:pt x="87029" y="639119"/>
                    <a:pt x="78870" y="639119"/>
                    <a:pt x="70711" y="639119"/>
                  </a:cubicBezTo>
                  <a:cubicBezTo>
                    <a:pt x="62552" y="639119"/>
                    <a:pt x="54393" y="639119"/>
                    <a:pt x="46234" y="639119"/>
                  </a:cubicBezTo>
                  <a:cubicBezTo>
                    <a:pt x="38075" y="639119"/>
                    <a:pt x="27197" y="633680"/>
                    <a:pt x="19038" y="630960"/>
                  </a:cubicBezTo>
                  <a:cubicBezTo>
                    <a:pt x="10879" y="628241"/>
                    <a:pt x="2720" y="620082"/>
                    <a:pt x="2720" y="614642"/>
                  </a:cubicBezTo>
                  <a:cubicBezTo>
                    <a:pt x="2720" y="611923"/>
                    <a:pt x="2720" y="609203"/>
                    <a:pt x="8159" y="606483"/>
                  </a:cubicBezTo>
                  <a:cubicBezTo>
                    <a:pt x="13599" y="603764"/>
                    <a:pt x="24477" y="601044"/>
                    <a:pt x="29916" y="598324"/>
                  </a:cubicBezTo>
                  <a:cubicBezTo>
                    <a:pt x="43515" y="595605"/>
                    <a:pt x="62552" y="595605"/>
                    <a:pt x="76151" y="592885"/>
                  </a:cubicBezTo>
                  <a:cubicBezTo>
                    <a:pt x="76151" y="587446"/>
                    <a:pt x="73431" y="582006"/>
                    <a:pt x="73431" y="573848"/>
                  </a:cubicBezTo>
                  <a:cubicBezTo>
                    <a:pt x="73431" y="565689"/>
                    <a:pt x="70711" y="516735"/>
                    <a:pt x="70711" y="500417"/>
                  </a:cubicBezTo>
                  <a:cubicBezTo>
                    <a:pt x="70711" y="481379"/>
                    <a:pt x="73431" y="456902"/>
                    <a:pt x="73431" y="437865"/>
                  </a:cubicBezTo>
                  <a:cubicBezTo>
                    <a:pt x="73431" y="416108"/>
                    <a:pt x="70711" y="391631"/>
                    <a:pt x="70711" y="369873"/>
                  </a:cubicBezTo>
                  <a:cubicBezTo>
                    <a:pt x="70711" y="345397"/>
                    <a:pt x="70711" y="318200"/>
                    <a:pt x="70711" y="293723"/>
                  </a:cubicBezTo>
                  <a:cubicBezTo>
                    <a:pt x="70711" y="266526"/>
                    <a:pt x="73431" y="239330"/>
                    <a:pt x="73431" y="212133"/>
                  </a:cubicBezTo>
                  <a:cubicBezTo>
                    <a:pt x="73431" y="187656"/>
                    <a:pt x="76151" y="179498"/>
                    <a:pt x="76151" y="155021"/>
                  </a:cubicBezTo>
                  <a:cubicBezTo>
                    <a:pt x="76151" y="144142"/>
                    <a:pt x="76151" y="130544"/>
                    <a:pt x="76151" y="119665"/>
                  </a:cubicBezTo>
                  <a:cubicBezTo>
                    <a:pt x="76151" y="106067"/>
                    <a:pt x="78870" y="95188"/>
                    <a:pt x="78870" y="84310"/>
                  </a:cubicBezTo>
                  <a:cubicBezTo>
                    <a:pt x="78870" y="78870"/>
                    <a:pt x="78870" y="70711"/>
                    <a:pt x="76151" y="62552"/>
                  </a:cubicBezTo>
                  <a:cubicBezTo>
                    <a:pt x="76151" y="62552"/>
                    <a:pt x="73431" y="62552"/>
                    <a:pt x="67992" y="62552"/>
                  </a:cubicBezTo>
                  <a:cubicBezTo>
                    <a:pt x="59833" y="62552"/>
                    <a:pt x="51674" y="62552"/>
                    <a:pt x="43515" y="62552"/>
                  </a:cubicBezTo>
                  <a:cubicBezTo>
                    <a:pt x="35356" y="62552"/>
                    <a:pt x="24477" y="59833"/>
                    <a:pt x="16318" y="57113"/>
                  </a:cubicBezTo>
                  <a:cubicBezTo>
                    <a:pt x="8159" y="54393"/>
                    <a:pt x="0" y="43515"/>
                    <a:pt x="0" y="40795"/>
                  </a:cubicBezTo>
                  <a:cubicBezTo>
                    <a:pt x="0" y="38075"/>
                    <a:pt x="0" y="35356"/>
                    <a:pt x="5439" y="32636"/>
                  </a:cubicBezTo>
                  <a:cubicBezTo>
                    <a:pt x="10879" y="29917"/>
                    <a:pt x="21758" y="27197"/>
                    <a:pt x="27197" y="24477"/>
                  </a:cubicBezTo>
                  <a:cubicBezTo>
                    <a:pt x="46234" y="21758"/>
                    <a:pt x="62552" y="19038"/>
                    <a:pt x="76151" y="19038"/>
                  </a:cubicBezTo>
                  <a:cubicBezTo>
                    <a:pt x="76151" y="16318"/>
                    <a:pt x="78870" y="16318"/>
                    <a:pt x="78870" y="13598"/>
                  </a:cubicBezTo>
                  <a:cubicBezTo>
                    <a:pt x="84309" y="10879"/>
                    <a:pt x="89749" y="8159"/>
                    <a:pt x="95188" y="5440"/>
                  </a:cubicBezTo>
                  <a:cubicBezTo>
                    <a:pt x="100628" y="2720"/>
                    <a:pt x="106067" y="0"/>
                    <a:pt x="111506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/>
            </a:p>
          </p:txBody>
        </p:sp>
        <p:sp>
          <p:nvSpPr>
            <p:cNvPr id="50" name="Freeform: Shape 49">
              <a:extLst>
                <a:ext uri="{FF2B5EF4-FFF2-40B4-BE49-F238E27FC236}">
                  <a16:creationId xmlns:a16="http://schemas.microsoft.com/office/drawing/2014/main" id="{74C54477-D660-4214-9D6F-AF9A7F0C3099}"/>
                </a:ext>
              </a:extLst>
            </p:cNvPr>
            <p:cNvSpPr/>
            <p:nvPr/>
          </p:nvSpPr>
          <p:spPr>
            <a:xfrm>
              <a:off x="8346812" y="4186718"/>
              <a:ext cx="353556" cy="761503"/>
            </a:xfrm>
            <a:custGeom>
              <a:avLst/>
              <a:gdLst>
                <a:gd name="connsiteX0" fmla="*/ 283910 w 353555"/>
                <a:gd name="connsiteY0" fmla="*/ 672820 h 761503"/>
                <a:gd name="connsiteX1" fmla="*/ 321985 w 353555"/>
                <a:gd name="connsiteY1" fmla="*/ 689138 h 761503"/>
                <a:gd name="connsiteX2" fmla="*/ 316546 w 353555"/>
                <a:gd name="connsiteY2" fmla="*/ 705456 h 761503"/>
                <a:gd name="connsiteX3" fmla="*/ 300228 w 353555"/>
                <a:gd name="connsiteY3" fmla="*/ 713615 h 761503"/>
                <a:gd name="connsiteX4" fmla="*/ 278471 w 353555"/>
                <a:gd name="connsiteY4" fmla="*/ 716335 h 761503"/>
                <a:gd name="connsiteX5" fmla="*/ 237676 w 353555"/>
                <a:gd name="connsiteY5" fmla="*/ 716335 h 761503"/>
                <a:gd name="connsiteX6" fmla="*/ 180563 w 353555"/>
                <a:gd name="connsiteY6" fmla="*/ 719054 h 761503"/>
                <a:gd name="connsiteX7" fmla="*/ 126170 w 353555"/>
                <a:gd name="connsiteY7" fmla="*/ 719054 h 761503"/>
                <a:gd name="connsiteX8" fmla="*/ 101693 w 353555"/>
                <a:gd name="connsiteY8" fmla="*/ 719054 h 761503"/>
                <a:gd name="connsiteX9" fmla="*/ 74496 w 353555"/>
                <a:gd name="connsiteY9" fmla="*/ 713615 h 761503"/>
                <a:gd name="connsiteX10" fmla="*/ 58178 w 353555"/>
                <a:gd name="connsiteY10" fmla="*/ 697297 h 761503"/>
                <a:gd name="connsiteX11" fmla="*/ 63618 w 353555"/>
                <a:gd name="connsiteY11" fmla="*/ 689138 h 761503"/>
                <a:gd name="connsiteX12" fmla="*/ 85375 w 353555"/>
                <a:gd name="connsiteY12" fmla="*/ 680979 h 761503"/>
                <a:gd name="connsiteX13" fmla="*/ 131609 w 353555"/>
                <a:gd name="connsiteY13" fmla="*/ 675540 h 761503"/>
                <a:gd name="connsiteX14" fmla="*/ 142488 w 353555"/>
                <a:gd name="connsiteY14" fmla="*/ 675540 h 761503"/>
                <a:gd name="connsiteX15" fmla="*/ 131609 w 353555"/>
                <a:gd name="connsiteY15" fmla="*/ 653783 h 761503"/>
                <a:gd name="connsiteX16" fmla="*/ 128890 w 353555"/>
                <a:gd name="connsiteY16" fmla="*/ 640184 h 761503"/>
                <a:gd name="connsiteX17" fmla="*/ 128890 w 353555"/>
                <a:gd name="connsiteY17" fmla="*/ 629306 h 761503"/>
                <a:gd name="connsiteX18" fmla="*/ 128890 w 353555"/>
                <a:gd name="connsiteY18" fmla="*/ 621147 h 761503"/>
                <a:gd name="connsiteX19" fmla="*/ 128890 w 353555"/>
                <a:gd name="connsiteY19" fmla="*/ 593950 h 761503"/>
                <a:gd name="connsiteX20" fmla="*/ 128890 w 353555"/>
                <a:gd name="connsiteY20" fmla="*/ 583072 h 761503"/>
                <a:gd name="connsiteX21" fmla="*/ 128890 w 353555"/>
                <a:gd name="connsiteY21" fmla="*/ 436210 h 761503"/>
                <a:gd name="connsiteX22" fmla="*/ 128890 w 353555"/>
                <a:gd name="connsiteY22" fmla="*/ 357340 h 761503"/>
                <a:gd name="connsiteX23" fmla="*/ 131609 w 353555"/>
                <a:gd name="connsiteY23" fmla="*/ 289349 h 761503"/>
                <a:gd name="connsiteX24" fmla="*/ 131609 w 353555"/>
                <a:gd name="connsiteY24" fmla="*/ 251274 h 761503"/>
                <a:gd name="connsiteX25" fmla="*/ 131609 w 353555"/>
                <a:gd name="connsiteY25" fmla="*/ 205040 h 761503"/>
                <a:gd name="connsiteX26" fmla="*/ 131609 w 353555"/>
                <a:gd name="connsiteY26" fmla="*/ 139768 h 761503"/>
                <a:gd name="connsiteX27" fmla="*/ 131609 w 353555"/>
                <a:gd name="connsiteY27" fmla="*/ 128889 h 761503"/>
                <a:gd name="connsiteX28" fmla="*/ 126170 w 353555"/>
                <a:gd name="connsiteY28" fmla="*/ 128889 h 761503"/>
                <a:gd name="connsiteX29" fmla="*/ 101693 w 353555"/>
                <a:gd name="connsiteY29" fmla="*/ 128889 h 761503"/>
                <a:gd name="connsiteX30" fmla="*/ 74496 w 353555"/>
                <a:gd name="connsiteY30" fmla="*/ 123450 h 761503"/>
                <a:gd name="connsiteX31" fmla="*/ 58178 w 353555"/>
                <a:gd name="connsiteY31" fmla="*/ 107132 h 761503"/>
                <a:gd name="connsiteX32" fmla="*/ 60898 w 353555"/>
                <a:gd name="connsiteY32" fmla="*/ 98973 h 761503"/>
                <a:gd name="connsiteX33" fmla="*/ 82655 w 353555"/>
                <a:gd name="connsiteY33" fmla="*/ 93534 h 761503"/>
                <a:gd name="connsiteX34" fmla="*/ 131609 w 353555"/>
                <a:gd name="connsiteY34" fmla="*/ 88094 h 761503"/>
                <a:gd name="connsiteX35" fmla="*/ 131609 w 353555"/>
                <a:gd name="connsiteY35" fmla="*/ 82655 h 761503"/>
                <a:gd name="connsiteX36" fmla="*/ 134329 w 353555"/>
                <a:gd name="connsiteY36" fmla="*/ 71776 h 761503"/>
                <a:gd name="connsiteX37" fmla="*/ 147927 w 353555"/>
                <a:gd name="connsiteY37" fmla="*/ 63617 h 761503"/>
                <a:gd name="connsiteX38" fmla="*/ 164245 w 353555"/>
                <a:gd name="connsiteY38" fmla="*/ 58178 h 761503"/>
                <a:gd name="connsiteX39" fmla="*/ 177843 w 353555"/>
                <a:gd name="connsiteY39" fmla="*/ 58178 h 761503"/>
                <a:gd name="connsiteX40" fmla="*/ 196881 w 353555"/>
                <a:gd name="connsiteY40" fmla="*/ 60898 h 761503"/>
                <a:gd name="connsiteX41" fmla="*/ 232237 w 353555"/>
                <a:gd name="connsiteY41" fmla="*/ 88094 h 761503"/>
                <a:gd name="connsiteX42" fmla="*/ 278471 w 353555"/>
                <a:gd name="connsiteY42" fmla="*/ 88094 h 761503"/>
                <a:gd name="connsiteX43" fmla="*/ 316546 w 353555"/>
                <a:gd name="connsiteY43" fmla="*/ 104412 h 761503"/>
                <a:gd name="connsiteX44" fmla="*/ 311107 w 353555"/>
                <a:gd name="connsiteY44" fmla="*/ 120730 h 761503"/>
                <a:gd name="connsiteX45" fmla="*/ 294789 w 353555"/>
                <a:gd name="connsiteY45" fmla="*/ 128889 h 761503"/>
                <a:gd name="connsiteX46" fmla="*/ 273032 w 353555"/>
                <a:gd name="connsiteY46" fmla="*/ 131609 h 761503"/>
                <a:gd name="connsiteX47" fmla="*/ 243115 w 353555"/>
                <a:gd name="connsiteY47" fmla="*/ 131609 h 761503"/>
                <a:gd name="connsiteX48" fmla="*/ 243115 w 353555"/>
                <a:gd name="connsiteY48" fmla="*/ 134329 h 761503"/>
                <a:gd name="connsiteX49" fmla="*/ 248554 w 353555"/>
                <a:gd name="connsiteY49" fmla="*/ 169684 h 761503"/>
                <a:gd name="connsiteX50" fmla="*/ 251274 w 353555"/>
                <a:gd name="connsiteY50" fmla="*/ 205040 h 761503"/>
                <a:gd name="connsiteX51" fmla="*/ 251274 w 353555"/>
                <a:gd name="connsiteY51" fmla="*/ 240395 h 761503"/>
                <a:gd name="connsiteX52" fmla="*/ 251274 w 353555"/>
                <a:gd name="connsiteY52" fmla="*/ 256713 h 761503"/>
                <a:gd name="connsiteX53" fmla="*/ 253994 w 353555"/>
                <a:gd name="connsiteY53" fmla="*/ 270311 h 761503"/>
                <a:gd name="connsiteX54" fmla="*/ 259433 w 353555"/>
                <a:gd name="connsiteY54" fmla="*/ 343742 h 761503"/>
                <a:gd name="connsiteX55" fmla="*/ 262153 w 353555"/>
                <a:gd name="connsiteY55" fmla="*/ 425332 h 761503"/>
                <a:gd name="connsiteX56" fmla="*/ 264872 w 353555"/>
                <a:gd name="connsiteY56" fmla="*/ 490603 h 761503"/>
                <a:gd name="connsiteX57" fmla="*/ 270312 w 353555"/>
                <a:gd name="connsiteY57" fmla="*/ 564034 h 761503"/>
                <a:gd name="connsiteX58" fmla="*/ 270312 w 353555"/>
                <a:gd name="connsiteY58" fmla="*/ 599390 h 761503"/>
                <a:gd name="connsiteX59" fmla="*/ 270312 w 353555"/>
                <a:gd name="connsiteY59" fmla="*/ 637465 h 761503"/>
                <a:gd name="connsiteX60" fmla="*/ 264872 w 353555"/>
                <a:gd name="connsiteY60" fmla="*/ 670101 h 761503"/>
                <a:gd name="connsiteX61" fmla="*/ 283910 w 353555"/>
                <a:gd name="connsiteY61" fmla="*/ 672820 h 761503"/>
                <a:gd name="connsiteX62" fmla="*/ 283910 w 353555"/>
                <a:gd name="connsiteY62" fmla="*/ 672820 h 761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</a:cxnLst>
              <a:rect l="l" t="t" r="r" b="b"/>
              <a:pathLst>
                <a:path w="353555" h="761503">
                  <a:moveTo>
                    <a:pt x="283910" y="672820"/>
                  </a:moveTo>
                  <a:cubicBezTo>
                    <a:pt x="297508" y="672820"/>
                    <a:pt x="321985" y="672820"/>
                    <a:pt x="321985" y="689138"/>
                  </a:cubicBezTo>
                  <a:cubicBezTo>
                    <a:pt x="321985" y="697297"/>
                    <a:pt x="319266" y="697297"/>
                    <a:pt x="316546" y="705456"/>
                  </a:cubicBezTo>
                  <a:cubicBezTo>
                    <a:pt x="311107" y="710895"/>
                    <a:pt x="305667" y="713615"/>
                    <a:pt x="300228" y="713615"/>
                  </a:cubicBezTo>
                  <a:cubicBezTo>
                    <a:pt x="292069" y="716335"/>
                    <a:pt x="283910" y="716335"/>
                    <a:pt x="278471" y="716335"/>
                  </a:cubicBezTo>
                  <a:cubicBezTo>
                    <a:pt x="275751" y="716335"/>
                    <a:pt x="256713" y="716335"/>
                    <a:pt x="237676" y="716335"/>
                  </a:cubicBezTo>
                  <a:cubicBezTo>
                    <a:pt x="213199" y="716335"/>
                    <a:pt x="186003" y="719054"/>
                    <a:pt x="180563" y="719054"/>
                  </a:cubicBezTo>
                  <a:cubicBezTo>
                    <a:pt x="166965" y="719054"/>
                    <a:pt x="142488" y="719054"/>
                    <a:pt x="126170" y="719054"/>
                  </a:cubicBezTo>
                  <a:cubicBezTo>
                    <a:pt x="118011" y="719054"/>
                    <a:pt x="109852" y="719054"/>
                    <a:pt x="101693" y="719054"/>
                  </a:cubicBezTo>
                  <a:cubicBezTo>
                    <a:pt x="93534" y="719054"/>
                    <a:pt x="82655" y="719054"/>
                    <a:pt x="74496" y="713615"/>
                  </a:cubicBezTo>
                  <a:cubicBezTo>
                    <a:pt x="66337" y="710895"/>
                    <a:pt x="58178" y="702736"/>
                    <a:pt x="58178" y="697297"/>
                  </a:cubicBezTo>
                  <a:cubicBezTo>
                    <a:pt x="58178" y="694578"/>
                    <a:pt x="58178" y="691858"/>
                    <a:pt x="63618" y="689138"/>
                  </a:cubicBezTo>
                  <a:cubicBezTo>
                    <a:pt x="69057" y="686418"/>
                    <a:pt x="79936" y="683699"/>
                    <a:pt x="85375" y="680979"/>
                  </a:cubicBezTo>
                  <a:cubicBezTo>
                    <a:pt x="104413" y="678260"/>
                    <a:pt x="123450" y="675540"/>
                    <a:pt x="131609" y="675540"/>
                  </a:cubicBezTo>
                  <a:cubicBezTo>
                    <a:pt x="134329" y="675540"/>
                    <a:pt x="137049" y="675540"/>
                    <a:pt x="142488" y="675540"/>
                  </a:cubicBezTo>
                  <a:cubicBezTo>
                    <a:pt x="134329" y="670101"/>
                    <a:pt x="131609" y="661942"/>
                    <a:pt x="131609" y="653783"/>
                  </a:cubicBezTo>
                  <a:cubicBezTo>
                    <a:pt x="131609" y="648343"/>
                    <a:pt x="131609" y="642904"/>
                    <a:pt x="128890" y="640184"/>
                  </a:cubicBezTo>
                  <a:cubicBezTo>
                    <a:pt x="128890" y="637465"/>
                    <a:pt x="128890" y="634745"/>
                    <a:pt x="128890" y="629306"/>
                  </a:cubicBezTo>
                  <a:cubicBezTo>
                    <a:pt x="128890" y="626586"/>
                    <a:pt x="128890" y="623867"/>
                    <a:pt x="128890" y="621147"/>
                  </a:cubicBezTo>
                  <a:cubicBezTo>
                    <a:pt x="128890" y="612988"/>
                    <a:pt x="128890" y="604829"/>
                    <a:pt x="128890" y="593950"/>
                  </a:cubicBezTo>
                  <a:cubicBezTo>
                    <a:pt x="128890" y="591231"/>
                    <a:pt x="128890" y="585791"/>
                    <a:pt x="128890" y="583072"/>
                  </a:cubicBezTo>
                  <a:cubicBezTo>
                    <a:pt x="128890" y="534118"/>
                    <a:pt x="131609" y="485164"/>
                    <a:pt x="128890" y="436210"/>
                  </a:cubicBezTo>
                  <a:cubicBezTo>
                    <a:pt x="128890" y="409014"/>
                    <a:pt x="128890" y="384537"/>
                    <a:pt x="128890" y="357340"/>
                  </a:cubicBezTo>
                  <a:cubicBezTo>
                    <a:pt x="128890" y="335583"/>
                    <a:pt x="131609" y="313826"/>
                    <a:pt x="131609" y="289349"/>
                  </a:cubicBezTo>
                  <a:cubicBezTo>
                    <a:pt x="131609" y="275751"/>
                    <a:pt x="131609" y="264872"/>
                    <a:pt x="131609" y="251274"/>
                  </a:cubicBezTo>
                  <a:cubicBezTo>
                    <a:pt x="131609" y="234956"/>
                    <a:pt x="131609" y="221357"/>
                    <a:pt x="131609" y="205040"/>
                  </a:cubicBezTo>
                  <a:cubicBezTo>
                    <a:pt x="131609" y="183282"/>
                    <a:pt x="131609" y="161525"/>
                    <a:pt x="131609" y="139768"/>
                  </a:cubicBezTo>
                  <a:cubicBezTo>
                    <a:pt x="131609" y="137048"/>
                    <a:pt x="131609" y="134329"/>
                    <a:pt x="131609" y="128889"/>
                  </a:cubicBezTo>
                  <a:cubicBezTo>
                    <a:pt x="128890" y="128889"/>
                    <a:pt x="126170" y="128889"/>
                    <a:pt x="126170" y="128889"/>
                  </a:cubicBezTo>
                  <a:cubicBezTo>
                    <a:pt x="118011" y="128889"/>
                    <a:pt x="109852" y="128889"/>
                    <a:pt x="101693" y="128889"/>
                  </a:cubicBezTo>
                  <a:cubicBezTo>
                    <a:pt x="93534" y="128889"/>
                    <a:pt x="82655" y="128889"/>
                    <a:pt x="74496" y="123450"/>
                  </a:cubicBezTo>
                  <a:cubicBezTo>
                    <a:pt x="66337" y="120730"/>
                    <a:pt x="58178" y="112571"/>
                    <a:pt x="58178" y="107132"/>
                  </a:cubicBezTo>
                  <a:cubicBezTo>
                    <a:pt x="58178" y="104412"/>
                    <a:pt x="58178" y="101693"/>
                    <a:pt x="60898" y="98973"/>
                  </a:cubicBezTo>
                  <a:cubicBezTo>
                    <a:pt x="63618" y="96253"/>
                    <a:pt x="77216" y="93534"/>
                    <a:pt x="82655" y="93534"/>
                  </a:cubicBezTo>
                  <a:cubicBezTo>
                    <a:pt x="98973" y="90814"/>
                    <a:pt x="123450" y="88094"/>
                    <a:pt x="131609" y="88094"/>
                  </a:cubicBezTo>
                  <a:cubicBezTo>
                    <a:pt x="131609" y="85375"/>
                    <a:pt x="131609" y="85375"/>
                    <a:pt x="131609" y="82655"/>
                  </a:cubicBezTo>
                  <a:cubicBezTo>
                    <a:pt x="131609" y="77216"/>
                    <a:pt x="131609" y="74496"/>
                    <a:pt x="134329" y="71776"/>
                  </a:cubicBezTo>
                  <a:cubicBezTo>
                    <a:pt x="137049" y="69057"/>
                    <a:pt x="145208" y="66337"/>
                    <a:pt x="147927" y="63617"/>
                  </a:cubicBezTo>
                  <a:cubicBezTo>
                    <a:pt x="153366" y="60898"/>
                    <a:pt x="158806" y="58178"/>
                    <a:pt x="164245" y="58178"/>
                  </a:cubicBezTo>
                  <a:cubicBezTo>
                    <a:pt x="169684" y="58178"/>
                    <a:pt x="175124" y="58178"/>
                    <a:pt x="177843" y="58178"/>
                  </a:cubicBezTo>
                  <a:cubicBezTo>
                    <a:pt x="183283" y="58178"/>
                    <a:pt x="191442" y="58178"/>
                    <a:pt x="196881" y="60898"/>
                  </a:cubicBezTo>
                  <a:cubicBezTo>
                    <a:pt x="213199" y="63617"/>
                    <a:pt x="224078" y="74496"/>
                    <a:pt x="232237" y="88094"/>
                  </a:cubicBezTo>
                  <a:cubicBezTo>
                    <a:pt x="253994" y="88094"/>
                    <a:pt x="270312" y="88094"/>
                    <a:pt x="278471" y="88094"/>
                  </a:cubicBezTo>
                  <a:cubicBezTo>
                    <a:pt x="292069" y="88094"/>
                    <a:pt x="316546" y="88094"/>
                    <a:pt x="316546" y="104412"/>
                  </a:cubicBezTo>
                  <a:cubicBezTo>
                    <a:pt x="316546" y="112571"/>
                    <a:pt x="313826" y="112571"/>
                    <a:pt x="311107" y="120730"/>
                  </a:cubicBezTo>
                  <a:cubicBezTo>
                    <a:pt x="305667" y="126170"/>
                    <a:pt x="300228" y="128889"/>
                    <a:pt x="294789" y="128889"/>
                  </a:cubicBezTo>
                  <a:cubicBezTo>
                    <a:pt x="286630" y="131609"/>
                    <a:pt x="278471" y="131609"/>
                    <a:pt x="273032" y="131609"/>
                  </a:cubicBezTo>
                  <a:cubicBezTo>
                    <a:pt x="270312" y="131609"/>
                    <a:pt x="259433" y="131609"/>
                    <a:pt x="243115" y="131609"/>
                  </a:cubicBezTo>
                  <a:lnTo>
                    <a:pt x="243115" y="134329"/>
                  </a:lnTo>
                  <a:cubicBezTo>
                    <a:pt x="245835" y="145207"/>
                    <a:pt x="245835" y="158805"/>
                    <a:pt x="248554" y="169684"/>
                  </a:cubicBezTo>
                  <a:cubicBezTo>
                    <a:pt x="251274" y="180563"/>
                    <a:pt x="251274" y="194161"/>
                    <a:pt x="251274" y="205040"/>
                  </a:cubicBezTo>
                  <a:cubicBezTo>
                    <a:pt x="251274" y="215918"/>
                    <a:pt x="251274" y="226797"/>
                    <a:pt x="251274" y="240395"/>
                  </a:cubicBezTo>
                  <a:cubicBezTo>
                    <a:pt x="251274" y="245834"/>
                    <a:pt x="251274" y="251274"/>
                    <a:pt x="251274" y="256713"/>
                  </a:cubicBezTo>
                  <a:cubicBezTo>
                    <a:pt x="251274" y="262152"/>
                    <a:pt x="251274" y="267592"/>
                    <a:pt x="253994" y="270311"/>
                  </a:cubicBezTo>
                  <a:cubicBezTo>
                    <a:pt x="256713" y="294788"/>
                    <a:pt x="256713" y="319265"/>
                    <a:pt x="259433" y="343742"/>
                  </a:cubicBezTo>
                  <a:cubicBezTo>
                    <a:pt x="259433" y="370939"/>
                    <a:pt x="262153" y="398135"/>
                    <a:pt x="262153" y="425332"/>
                  </a:cubicBezTo>
                  <a:cubicBezTo>
                    <a:pt x="262153" y="447089"/>
                    <a:pt x="262153" y="468846"/>
                    <a:pt x="264872" y="490603"/>
                  </a:cubicBezTo>
                  <a:cubicBezTo>
                    <a:pt x="264872" y="515080"/>
                    <a:pt x="270312" y="539557"/>
                    <a:pt x="270312" y="564034"/>
                  </a:cubicBezTo>
                  <a:cubicBezTo>
                    <a:pt x="270312" y="574913"/>
                    <a:pt x="270312" y="588511"/>
                    <a:pt x="270312" y="599390"/>
                  </a:cubicBezTo>
                  <a:cubicBezTo>
                    <a:pt x="270312" y="612988"/>
                    <a:pt x="270312" y="623867"/>
                    <a:pt x="270312" y="637465"/>
                  </a:cubicBezTo>
                  <a:cubicBezTo>
                    <a:pt x="270312" y="648343"/>
                    <a:pt x="270312" y="661942"/>
                    <a:pt x="264872" y="670101"/>
                  </a:cubicBezTo>
                  <a:cubicBezTo>
                    <a:pt x="273032" y="672820"/>
                    <a:pt x="278471" y="672820"/>
                    <a:pt x="283910" y="672820"/>
                  </a:cubicBezTo>
                  <a:lnTo>
                    <a:pt x="283910" y="672820"/>
                  </a:ln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/>
            </a:p>
          </p:txBody>
        </p:sp>
        <p:sp>
          <p:nvSpPr>
            <p:cNvPr id="51" name="Freeform: Shape 50">
              <a:extLst>
                <a:ext uri="{FF2B5EF4-FFF2-40B4-BE49-F238E27FC236}">
                  <a16:creationId xmlns:a16="http://schemas.microsoft.com/office/drawing/2014/main" id="{7AB18A07-F054-4F36-97CA-4DBDC6B271F5}"/>
                </a:ext>
              </a:extLst>
            </p:cNvPr>
            <p:cNvSpPr/>
            <p:nvPr/>
          </p:nvSpPr>
          <p:spPr>
            <a:xfrm>
              <a:off x="8652924" y="4192158"/>
              <a:ext cx="516735" cy="788700"/>
            </a:xfrm>
            <a:custGeom>
              <a:avLst/>
              <a:gdLst>
                <a:gd name="connsiteX0" fmla="*/ 464616 w 516735"/>
                <a:gd name="connsiteY0" fmla="*/ 436210 h 788699"/>
                <a:gd name="connsiteX1" fmla="*/ 445578 w 516735"/>
                <a:gd name="connsiteY1" fmla="*/ 455248 h 788699"/>
                <a:gd name="connsiteX2" fmla="*/ 404783 w 516735"/>
                <a:gd name="connsiteY2" fmla="*/ 466126 h 788699"/>
                <a:gd name="connsiteX3" fmla="*/ 385746 w 516735"/>
                <a:gd name="connsiteY3" fmla="*/ 479725 h 788699"/>
                <a:gd name="connsiteX4" fmla="*/ 388466 w 516735"/>
                <a:gd name="connsiteY4" fmla="*/ 512361 h 788699"/>
                <a:gd name="connsiteX5" fmla="*/ 388466 w 516735"/>
                <a:gd name="connsiteY5" fmla="*/ 544997 h 788699"/>
                <a:gd name="connsiteX6" fmla="*/ 388466 w 516735"/>
                <a:gd name="connsiteY6" fmla="*/ 566754 h 788699"/>
                <a:gd name="connsiteX7" fmla="*/ 391185 w 516735"/>
                <a:gd name="connsiteY7" fmla="*/ 632026 h 788699"/>
                <a:gd name="connsiteX8" fmla="*/ 393905 w 516735"/>
                <a:gd name="connsiteY8" fmla="*/ 683699 h 788699"/>
                <a:gd name="connsiteX9" fmla="*/ 377587 w 516735"/>
                <a:gd name="connsiteY9" fmla="*/ 724494 h 788699"/>
                <a:gd name="connsiteX10" fmla="*/ 361269 w 516735"/>
                <a:gd name="connsiteY10" fmla="*/ 719054 h 788699"/>
                <a:gd name="connsiteX11" fmla="*/ 353110 w 516735"/>
                <a:gd name="connsiteY11" fmla="*/ 702737 h 788699"/>
                <a:gd name="connsiteX12" fmla="*/ 350390 w 516735"/>
                <a:gd name="connsiteY12" fmla="*/ 686419 h 788699"/>
                <a:gd name="connsiteX13" fmla="*/ 353110 w 516735"/>
                <a:gd name="connsiteY13" fmla="*/ 659222 h 788699"/>
                <a:gd name="connsiteX14" fmla="*/ 353110 w 516735"/>
                <a:gd name="connsiteY14" fmla="*/ 656502 h 788699"/>
                <a:gd name="connsiteX15" fmla="*/ 317754 w 516735"/>
                <a:gd name="connsiteY15" fmla="*/ 708176 h 788699"/>
                <a:gd name="connsiteX16" fmla="*/ 241604 w 516735"/>
                <a:gd name="connsiteY16" fmla="*/ 735372 h 788699"/>
                <a:gd name="connsiteX17" fmla="*/ 187211 w 516735"/>
                <a:gd name="connsiteY17" fmla="*/ 727214 h 788699"/>
                <a:gd name="connsiteX18" fmla="*/ 135537 w 516735"/>
                <a:gd name="connsiteY18" fmla="*/ 694578 h 788699"/>
                <a:gd name="connsiteX19" fmla="*/ 86583 w 516735"/>
                <a:gd name="connsiteY19" fmla="*/ 621147 h 788699"/>
                <a:gd name="connsiteX20" fmla="*/ 67546 w 516735"/>
                <a:gd name="connsiteY20" fmla="*/ 555875 h 788699"/>
                <a:gd name="connsiteX21" fmla="*/ 59387 w 516735"/>
                <a:gd name="connsiteY21" fmla="*/ 509641 h 788699"/>
                <a:gd name="connsiteX22" fmla="*/ 59387 w 516735"/>
                <a:gd name="connsiteY22" fmla="*/ 468846 h 788699"/>
                <a:gd name="connsiteX23" fmla="*/ 86583 w 516735"/>
                <a:gd name="connsiteY23" fmla="*/ 302947 h 788699"/>
                <a:gd name="connsiteX24" fmla="*/ 108341 w 516735"/>
                <a:gd name="connsiteY24" fmla="*/ 224077 h 788699"/>
                <a:gd name="connsiteX25" fmla="*/ 146416 w 516735"/>
                <a:gd name="connsiteY25" fmla="*/ 145207 h 788699"/>
                <a:gd name="connsiteX26" fmla="*/ 198090 w 516735"/>
                <a:gd name="connsiteY26" fmla="*/ 85375 h 788699"/>
                <a:gd name="connsiteX27" fmla="*/ 228006 w 516735"/>
                <a:gd name="connsiteY27" fmla="*/ 69057 h 788699"/>
                <a:gd name="connsiteX28" fmla="*/ 268801 w 516735"/>
                <a:gd name="connsiteY28" fmla="*/ 58178 h 788699"/>
                <a:gd name="connsiteX29" fmla="*/ 274240 w 516735"/>
                <a:gd name="connsiteY29" fmla="*/ 58178 h 788699"/>
                <a:gd name="connsiteX30" fmla="*/ 295997 w 516735"/>
                <a:gd name="connsiteY30" fmla="*/ 60898 h 788699"/>
                <a:gd name="connsiteX31" fmla="*/ 331353 w 516735"/>
                <a:gd name="connsiteY31" fmla="*/ 71776 h 788699"/>
                <a:gd name="connsiteX32" fmla="*/ 350390 w 516735"/>
                <a:gd name="connsiteY32" fmla="*/ 93534 h 788699"/>
                <a:gd name="connsiteX33" fmla="*/ 353110 w 516735"/>
                <a:gd name="connsiteY33" fmla="*/ 74496 h 788699"/>
                <a:gd name="connsiteX34" fmla="*/ 358549 w 516735"/>
                <a:gd name="connsiteY34" fmla="*/ 63618 h 788699"/>
                <a:gd name="connsiteX35" fmla="*/ 366708 w 516735"/>
                <a:gd name="connsiteY35" fmla="*/ 58178 h 788699"/>
                <a:gd name="connsiteX36" fmla="*/ 374867 w 516735"/>
                <a:gd name="connsiteY36" fmla="*/ 63618 h 788699"/>
                <a:gd name="connsiteX37" fmla="*/ 383027 w 516735"/>
                <a:gd name="connsiteY37" fmla="*/ 82655 h 788699"/>
                <a:gd name="connsiteX38" fmla="*/ 385746 w 516735"/>
                <a:gd name="connsiteY38" fmla="*/ 126170 h 788699"/>
                <a:gd name="connsiteX39" fmla="*/ 388466 w 516735"/>
                <a:gd name="connsiteY39" fmla="*/ 186002 h 788699"/>
                <a:gd name="connsiteX40" fmla="*/ 391185 w 516735"/>
                <a:gd name="connsiteY40" fmla="*/ 237676 h 788699"/>
                <a:gd name="connsiteX41" fmla="*/ 374867 w 516735"/>
                <a:gd name="connsiteY41" fmla="*/ 278470 h 788699"/>
                <a:gd name="connsiteX42" fmla="*/ 358549 w 516735"/>
                <a:gd name="connsiteY42" fmla="*/ 273031 h 788699"/>
                <a:gd name="connsiteX43" fmla="*/ 350390 w 516735"/>
                <a:gd name="connsiteY43" fmla="*/ 256713 h 788699"/>
                <a:gd name="connsiteX44" fmla="*/ 347671 w 516735"/>
                <a:gd name="connsiteY44" fmla="*/ 240395 h 788699"/>
                <a:gd name="connsiteX45" fmla="*/ 347671 w 516735"/>
                <a:gd name="connsiteY45" fmla="*/ 213199 h 788699"/>
                <a:gd name="connsiteX46" fmla="*/ 344951 w 516735"/>
                <a:gd name="connsiteY46" fmla="*/ 194161 h 788699"/>
                <a:gd name="connsiteX47" fmla="*/ 339512 w 516735"/>
                <a:gd name="connsiteY47" fmla="*/ 150647 h 788699"/>
                <a:gd name="connsiteX48" fmla="*/ 323194 w 516735"/>
                <a:gd name="connsiteY48" fmla="*/ 112571 h 788699"/>
                <a:gd name="connsiteX49" fmla="*/ 293278 w 516735"/>
                <a:gd name="connsiteY49" fmla="*/ 101693 h 788699"/>
                <a:gd name="connsiteX50" fmla="*/ 263361 w 516735"/>
                <a:gd name="connsiteY50" fmla="*/ 120730 h 788699"/>
                <a:gd name="connsiteX51" fmla="*/ 241604 w 516735"/>
                <a:gd name="connsiteY51" fmla="*/ 153366 h 788699"/>
                <a:gd name="connsiteX52" fmla="*/ 233445 w 516735"/>
                <a:gd name="connsiteY52" fmla="*/ 194161 h 788699"/>
                <a:gd name="connsiteX53" fmla="*/ 225286 w 516735"/>
                <a:gd name="connsiteY53" fmla="*/ 232236 h 788699"/>
                <a:gd name="connsiteX54" fmla="*/ 217127 w 516735"/>
                <a:gd name="connsiteY54" fmla="*/ 275751 h 788699"/>
                <a:gd name="connsiteX55" fmla="*/ 211688 w 516735"/>
                <a:gd name="connsiteY55" fmla="*/ 316545 h 788699"/>
                <a:gd name="connsiteX56" fmla="*/ 206249 w 516735"/>
                <a:gd name="connsiteY56" fmla="*/ 354621 h 788699"/>
                <a:gd name="connsiteX57" fmla="*/ 200809 w 516735"/>
                <a:gd name="connsiteY57" fmla="*/ 398135 h 788699"/>
                <a:gd name="connsiteX58" fmla="*/ 195370 w 516735"/>
                <a:gd name="connsiteY58" fmla="*/ 438930 h 788699"/>
                <a:gd name="connsiteX59" fmla="*/ 192650 w 516735"/>
                <a:gd name="connsiteY59" fmla="*/ 474286 h 788699"/>
                <a:gd name="connsiteX60" fmla="*/ 195370 w 516735"/>
                <a:gd name="connsiteY60" fmla="*/ 525959 h 788699"/>
                <a:gd name="connsiteX61" fmla="*/ 208968 w 516735"/>
                <a:gd name="connsiteY61" fmla="*/ 596670 h 788699"/>
                <a:gd name="connsiteX62" fmla="*/ 214407 w 516735"/>
                <a:gd name="connsiteY62" fmla="*/ 623867 h 788699"/>
                <a:gd name="connsiteX63" fmla="*/ 228006 w 516735"/>
                <a:gd name="connsiteY63" fmla="*/ 656502 h 788699"/>
                <a:gd name="connsiteX64" fmla="*/ 271520 w 516735"/>
                <a:gd name="connsiteY64" fmla="*/ 689138 h 788699"/>
                <a:gd name="connsiteX65" fmla="*/ 306876 w 516735"/>
                <a:gd name="connsiteY65" fmla="*/ 664661 h 788699"/>
                <a:gd name="connsiteX66" fmla="*/ 331353 w 516735"/>
                <a:gd name="connsiteY66" fmla="*/ 602109 h 788699"/>
                <a:gd name="connsiteX67" fmla="*/ 336792 w 516735"/>
                <a:gd name="connsiteY67" fmla="*/ 544997 h 788699"/>
                <a:gd name="connsiteX68" fmla="*/ 336792 w 516735"/>
                <a:gd name="connsiteY68" fmla="*/ 498762 h 788699"/>
                <a:gd name="connsiteX69" fmla="*/ 336792 w 516735"/>
                <a:gd name="connsiteY69" fmla="*/ 490603 h 788699"/>
                <a:gd name="connsiteX70" fmla="*/ 320474 w 516735"/>
                <a:gd name="connsiteY70" fmla="*/ 477005 h 788699"/>
                <a:gd name="connsiteX71" fmla="*/ 282399 w 516735"/>
                <a:gd name="connsiteY71" fmla="*/ 479725 h 788699"/>
                <a:gd name="connsiteX72" fmla="*/ 252483 w 516735"/>
                <a:gd name="connsiteY72" fmla="*/ 474286 h 788699"/>
                <a:gd name="connsiteX73" fmla="*/ 247044 w 516735"/>
                <a:gd name="connsiteY73" fmla="*/ 466126 h 788699"/>
                <a:gd name="connsiteX74" fmla="*/ 249763 w 516735"/>
                <a:gd name="connsiteY74" fmla="*/ 457968 h 788699"/>
                <a:gd name="connsiteX75" fmla="*/ 268801 w 516735"/>
                <a:gd name="connsiteY75" fmla="*/ 447089 h 788699"/>
                <a:gd name="connsiteX76" fmla="*/ 312315 w 516735"/>
                <a:gd name="connsiteY76" fmla="*/ 436210 h 788699"/>
                <a:gd name="connsiteX77" fmla="*/ 353110 w 516735"/>
                <a:gd name="connsiteY77" fmla="*/ 430771 h 788699"/>
                <a:gd name="connsiteX78" fmla="*/ 385746 w 516735"/>
                <a:gd name="connsiteY78" fmla="*/ 430771 h 788699"/>
                <a:gd name="connsiteX79" fmla="*/ 437420 w 516735"/>
                <a:gd name="connsiteY79" fmla="*/ 428051 h 788699"/>
                <a:gd name="connsiteX80" fmla="*/ 464616 w 516735"/>
                <a:gd name="connsiteY80" fmla="*/ 436210 h 7886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</a:cxnLst>
              <a:rect l="l" t="t" r="r" b="b"/>
              <a:pathLst>
                <a:path w="516735" h="788699">
                  <a:moveTo>
                    <a:pt x="464616" y="436210"/>
                  </a:moveTo>
                  <a:cubicBezTo>
                    <a:pt x="464616" y="447089"/>
                    <a:pt x="453738" y="452528"/>
                    <a:pt x="445578" y="455248"/>
                  </a:cubicBezTo>
                  <a:cubicBezTo>
                    <a:pt x="434700" y="460687"/>
                    <a:pt x="415662" y="463407"/>
                    <a:pt x="404783" y="466126"/>
                  </a:cubicBezTo>
                  <a:cubicBezTo>
                    <a:pt x="393905" y="466126"/>
                    <a:pt x="385746" y="468846"/>
                    <a:pt x="385746" y="479725"/>
                  </a:cubicBezTo>
                  <a:cubicBezTo>
                    <a:pt x="385746" y="487884"/>
                    <a:pt x="388466" y="506921"/>
                    <a:pt x="388466" y="512361"/>
                  </a:cubicBezTo>
                  <a:cubicBezTo>
                    <a:pt x="388466" y="515080"/>
                    <a:pt x="388466" y="539557"/>
                    <a:pt x="388466" y="544997"/>
                  </a:cubicBezTo>
                  <a:cubicBezTo>
                    <a:pt x="388466" y="550436"/>
                    <a:pt x="388466" y="558595"/>
                    <a:pt x="388466" y="566754"/>
                  </a:cubicBezTo>
                  <a:cubicBezTo>
                    <a:pt x="388466" y="591231"/>
                    <a:pt x="388466" y="621147"/>
                    <a:pt x="391185" y="632026"/>
                  </a:cubicBezTo>
                  <a:cubicBezTo>
                    <a:pt x="393905" y="653783"/>
                    <a:pt x="393905" y="661942"/>
                    <a:pt x="393905" y="683699"/>
                  </a:cubicBezTo>
                  <a:cubicBezTo>
                    <a:pt x="393905" y="694578"/>
                    <a:pt x="393905" y="724494"/>
                    <a:pt x="377587" y="724494"/>
                  </a:cubicBezTo>
                  <a:cubicBezTo>
                    <a:pt x="369428" y="724494"/>
                    <a:pt x="366708" y="721774"/>
                    <a:pt x="361269" y="719054"/>
                  </a:cubicBezTo>
                  <a:cubicBezTo>
                    <a:pt x="355830" y="716335"/>
                    <a:pt x="353110" y="708176"/>
                    <a:pt x="353110" y="702737"/>
                  </a:cubicBezTo>
                  <a:cubicBezTo>
                    <a:pt x="350390" y="694578"/>
                    <a:pt x="350390" y="689138"/>
                    <a:pt x="350390" y="686419"/>
                  </a:cubicBezTo>
                  <a:cubicBezTo>
                    <a:pt x="350390" y="678260"/>
                    <a:pt x="353110" y="672820"/>
                    <a:pt x="353110" y="659222"/>
                  </a:cubicBezTo>
                  <a:lnTo>
                    <a:pt x="353110" y="656502"/>
                  </a:lnTo>
                  <a:cubicBezTo>
                    <a:pt x="347671" y="675540"/>
                    <a:pt x="334073" y="694578"/>
                    <a:pt x="317754" y="708176"/>
                  </a:cubicBezTo>
                  <a:cubicBezTo>
                    <a:pt x="293278" y="727214"/>
                    <a:pt x="274240" y="735372"/>
                    <a:pt x="241604" y="735372"/>
                  </a:cubicBezTo>
                  <a:cubicBezTo>
                    <a:pt x="222566" y="735372"/>
                    <a:pt x="203529" y="732653"/>
                    <a:pt x="187211" y="727214"/>
                  </a:cubicBezTo>
                  <a:cubicBezTo>
                    <a:pt x="165454" y="719054"/>
                    <a:pt x="149136" y="708176"/>
                    <a:pt x="135537" y="694578"/>
                  </a:cubicBezTo>
                  <a:cubicBezTo>
                    <a:pt x="113780" y="672820"/>
                    <a:pt x="100182" y="648343"/>
                    <a:pt x="86583" y="621147"/>
                  </a:cubicBezTo>
                  <a:cubicBezTo>
                    <a:pt x="75705" y="599390"/>
                    <a:pt x="70266" y="580352"/>
                    <a:pt x="67546" y="555875"/>
                  </a:cubicBezTo>
                  <a:cubicBezTo>
                    <a:pt x="64826" y="539557"/>
                    <a:pt x="62107" y="525959"/>
                    <a:pt x="59387" y="509641"/>
                  </a:cubicBezTo>
                  <a:cubicBezTo>
                    <a:pt x="56667" y="493323"/>
                    <a:pt x="59387" y="485164"/>
                    <a:pt x="59387" y="468846"/>
                  </a:cubicBezTo>
                  <a:cubicBezTo>
                    <a:pt x="59387" y="414453"/>
                    <a:pt x="72985" y="362780"/>
                    <a:pt x="86583" y="302947"/>
                  </a:cubicBezTo>
                  <a:cubicBezTo>
                    <a:pt x="92023" y="275751"/>
                    <a:pt x="100182" y="248554"/>
                    <a:pt x="108341" y="224077"/>
                  </a:cubicBezTo>
                  <a:cubicBezTo>
                    <a:pt x="116500" y="196881"/>
                    <a:pt x="130098" y="169684"/>
                    <a:pt x="146416" y="145207"/>
                  </a:cubicBezTo>
                  <a:cubicBezTo>
                    <a:pt x="160014" y="123450"/>
                    <a:pt x="176332" y="101693"/>
                    <a:pt x="198090" y="85375"/>
                  </a:cubicBezTo>
                  <a:cubicBezTo>
                    <a:pt x="206249" y="77216"/>
                    <a:pt x="217127" y="71776"/>
                    <a:pt x="228006" y="69057"/>
                  </a:cubicBezTo>
                  <a:cubicBezTo>
                    <a:pt x="241604" y="63618"/>
                    <a:pt x="255202" y="58178"/>
                    <a:pt x="268801" y="58178"/>
                  </a:cubicBezTo>
                  <a:cubicBezTo>
                    <a:pt x="271520" y="58178"/>
                    <a:pt x="274240" y="58178"/>
                    <a:pt x="274240" y="58178"/>
                  </a:cubicBezTo>
                  <a:cubicBezTo>
                    <a:pt x="279679" y="58178"/>
                    <a:pt x="285119" y="58178"/>
                    <a:pt x="295997" y="60898"/>
                  </a:cubicBezTo>
                  <a:cubicBezTo>
                    <a:pt x="309595" y="63618"/>
                    <a:pt x="320474" y="66337"/>
                    <a:pt x="331353" y="71776"/>
                  </a:cubicBezTo>
                  <a:cubicBezTo>
                    <a:pt x="339512" y="77216"/>
                    <a:pt x="347671" y="85375"/>
                    <a:pt x="350390" y="93534"/>
                  </a:cubicBezTo>
                  <a:cubicBezTo>
                    <a:pt x="350390" y="88095"/>
                    <a:pt x="353110" y="79936"/>
                    <a:pt x="353110" y="74496"/>
                  </a:cubicBezTo>
                  <a:cubicBezTo>
                    <a:pt x="355830" y="71776"/>
                    <a:pt x="355830" y="69057"/>
                    <a:pt x="358549" y="63618"/>
                  </a:cubicBezTo>
                  <a:cubicBezTo>
                    <a:pt x="361269" y="60898"/>
                    <a:pt x="363989" y="58178"/>
                    <a:pt x="366708" y="58178"/>
                  </a:cubicBezTo>
                  <a:cubicBezTo>
                    <a:pt x="369428" y="58178"/>
                    <a:pt x="372148" y="60898"/>
                    <a:pt x="374867" y="63618"/>
                  </a:cubicBezTo>
                  <a:cubicBezTo>
                    <a:pt x="377587" y="69057"/>
                    <a:pt x="380307" y="77216"/>
                    <a:pt x="383027" y="82655"/>
                  </a:cubicBezTo>
                  <a:cubicBezTo>
                    <a:pt x="383027" y="90814"/>
                    <a:pt x="385746" y="107132"/>
                    <a:pt x="385746" y="126170"/>
                  </a:cubicBezTo>
                  <a:cubicBezTo>
                    <a:pt x="385746" y="150647"/>
                    <a:pt x="385746" y="177843"/>
                    <a:pt x="388466" y="186002"/>
                  </a:cubicBezTo>
                  <a:cubicBezTo>
                    <a:pt x="391185" y="207759"/>
                    <a:pt x="391185" y="215918"/>
                    <a:pt x="391185" y="237676"/>
                  </a:cubicBezTo>
                  <a:cubicBezTo>
                    <a:pt x="391185" y="248554"/>
                    <a:pt x="391185" y="278470"/>
                    <a:pt x="374867" y="278470"/>
                  </a:cubicBezTo>
                  <a:cubicBezTo>
                    <a:pt x="366708" y="278470"/>
                    <a:pt x="363989" y="275751"/>
                    <a:pt x="358549" y="273031"/>
                  </a:cubicBezTo>
                  <a:cubicBezTo>
                    <a:pt x="353110" y="270311"/>
                    <a:pt x="350390" y="262152"/>
                    <a:pt x="350390" y="256713"/>
                  </a:cubicBezTo>
                  <a:cubicBezTo>
                    <a:pt x="350390" y="251274"/>
                    <a:pt x="347671" y="245834"/>
                    <a:pt x="347671" y="240395"/>
                  </a:cubicBezTo>
                  <a:cubicBezTo>
                    <a:pt x="347671" y="232236"/>
                    <a:pt x="347671" y="224077"/>
                    <a:pt x="347671" y="213199"/>
                  </a:cubicBezTo>
                  <a:cubicBezTo>
                    <a:pt x="347671" y="207759"/>
                    <a:pt x="347671" y="199600"/>
                    <a:pt x="344951" y="194161"/>
                  </a:cubicBezTo>
                  <a:cubicBezTo>
                    <a:pt x="342232" y="180563"/>
                    <a:pt x="342232" y="164245"/>
                    <a:pt x="339512" y="150647"/>
                  </a:cubicBezTo>
                  <a:cubicBezTo>
                    <a:pt x="336792" y="137048"/>
                    <a:pt x="331353" y="123450"/>
                    <a:pt x="323194" y="112571"/>
                  </a:cubicBezTo>
                  <a:cubicBezTo>
                    <a:pt x="317754" y="104412"/>
                    <a:pt x="304156" y="101693"/>
                    <a:pt x="293278" y="101693"/>
                  </a:cubicBezTo>
                  <a:cubicBezTo>
                    <a:pt x="279679" y="101693"/>
                    <a:pt x="271520" y="109852"/>
                    <a:pt x="263361" y="120730"/>
                  </a:cubicBezTo>
                  <a:cubicBezTo>
                    <a:pt x="257922" y="131609"/>
                    <a:pt x="247044" y="139768"/>
                    <a:pt x="241604" y="153366"/>
                  </a:cubicBezTo>
                  <a:cubicBezTo>
                    <a:pt x="236165" y="166964"/>
                    <a:pt x="233445" y="180563"/>
                    <a:pt x="233445" y="194161"/>
                  </a:cubicBezTo>
                  <a:cubicBezTo>
                    <a:pt x="233445" y="207759"/>
                    <a:pt x="230725" y="218638"/>
                    <a:pt x="225286" y="232236"/>
                  </a:cubicBezTo>
                  <a:cubicBezTo>
                    <a:pt x="219847" y="245834"/>
                    <a:pt x="219847" y="262152"/>
                    <a:pt x="217127" y="275751"/>
                  </a:cubicBezTo>
                  <a:cubicBezTo>
                    <a:pt x="214407" y="289349"/>
                    <a:pt x="214407" y="302947"/>
                    <a:pt x="211688" y="316545"/>
                  </a:cubicBezTo>
                  <a:cubicBezTo>
                    <a:pt x="211688" y="330144"/>
                    <a:pt x="206249" y="341022"/>
                    <a:pt x="206249" y="354621"/>
                  </a:cubicBezTo>
                  <a:cubicBezTo>
                    <a:pt x="203529" y="368219"/>
                    <a:pt x="203529" y="381817"/>
                    <a:pt x="200809" y="398135"/>
                  </a:cubicBezTo>
                  <a:cubicBezTo>
                    <a:pt x="198090" y="411733"/>
                    <a:pt x="198090" y="425332"/>
                    <a:pt x="195370" y="438930"/>
                  </a:cubicBezTo>
                  <a:cubicBezTo>
                    <a:pt x="195370" y="449809"/>
                    <a:pt x="192650" y="463407"/>
                    <a:pt x="192650" y="474286"/>
                  </a:cubicBezTo>
                  <a:cubicBezTo>
                    <a:pt x="192650" y="490603"/>
                    <a:pt x="195370" y="509641"/>
                    <a:pt x="195370" y="525959"/>
                  </a:cubicBezTo>
                  <a:cubicBezTo>
                    <a:pt x="195370" y="550436"/>
                    <a:pt x="203529" y="572193"/>
                    <a:pt x="208968" y="596670"/>
                  </a:cubicBezTo>
                  <a:cubicBezTo>
                    <a:pt x="211688" y="604829"/>
                    <a:pt x="211688" y="615708"/>
                    <a:pt x="214407" y="623867"/>
                  </a:cubicBezTo>
                  <a:cubicBezTo>
                    <a:pt x="217127" y="634745"/>
                    <a:pt x="222566" y="645624"/>
                    <a:pt x="228006" y="656502"/>
                  </a:cubicBezTo>
                  <a:cubicBezTo>
                    <a:pt x="236165" y="670101"/>
                    <a:pt x="252483" y="689138"/>
                    <a:pt x="271520" y="689138"/>
                  </a:cubicBezTo>
                  <a:cubicBezTo>
                    <a:pt x="287838" y="689138"/>
                    <a:pt x="298717" y="675540"/>
                    <a:pt x="306876" y="664661"/>
                  </a:cubicBezTo>
                  <a:cubicBezTo>
                    <a:pt x="320474" y="645624"/>
                    <a:pt x="325914" y="623867"/>
                    <a:pt x="331353" y="602109"/>
                  </a:cubicBezTo>
                  <a:cubicBezTo>
                    <a:pt x="334073" y="583072"/>
                    <a:pt x="336792" y="564034"/>
                    <a:pt x="336792" y="544997"/>
                  </a:cubicBezTo>
                  <a:cubicBezTo>
                    <a:pt x="336792" y="531398"/>
                    <a:pt x="336792" y="512361"/>
                    <a:pt x="336792" y="498762"/>
                  </a:cubicBezTo>
                  <a:cubicBezTo>
                    <a:pt x="336792" y="496043"/>
                    <a:pt x="336792" y="493323"/>
                    <a:pt x="336792" y="490603"/>
                  </a:cubicBezTo>
                  <a:cubicBezTo>
                    <a:pt x="336792" y="479725"/>
                    <a:pt x="336792" y="477005"/>
                    <a:pt x="320474" y="477005"/>
                  </a:cubicBezTo>
                  <a:cubicBezTo>
                    <a:pt x="309595" y="477005"/>
                    <a:pt x="295997" y="479725"/>
                    <a:pt x="282399" y="479725"/>
                  </a:cubicBezTo>
                  <a:cubicBezTo>
                    <a:pt x="271520" y="479725"/>
                    <a:pt x="260642" y="479725"/>
                    <a:pt x="252483" y="474286"/>
                  </a:cubicBezTo>
                  <a:cubicBezTo>
                    <a:pt x="249763" y="471566"/>
                    <a:pt x="247044" y="468846"/>
                    <a:pt x="247044" y="466126"/>
                  </a:cubicBezTo>
                  <a:cubicBezTo>
                    <a:pt x="247044" y="463407"/>
                    <a:pt x="247044" y="460687"/>
                    <a:pt x="249763" y="457968"/>
                  </a:cubicBezTo>
                  <a:cubicBezTo>
                    <a:pt x="255202" y="452528"/>
                    <a:pt x="260642" y="449809"/>
                    <a:pt x="268801" y="447089"/>
                  </a:cubicBezTo>
                  <a:cubicBezTo>
                    <a:pt x="282399" y="441650"/>
                    <a:pt x="295997" y="438930"/>
                    <a:pt x="312315" y="436210"/>
                  </a:cubicBezTo>
                  <a:cubicBezTo>
                    <a:pt x="325914" y="433491"/>
                    <a:pt x="339512" y="433491"/>
                    <a:pt x="353110" y="430771"/>
                  </a:cubicBezTo>
                  <a:cubicBezTo>
                    <a:pt x="363989" y="430771"/>
                    <a:pt x="374867" y="430771"/>
                    <a:pt x="385746" y="430771"/>
                  </a:cubicBezTo>
                  <a:cubicBezTo>
                    <a:pt x="402064" y="430771"/>
                    <a:pt x="426541" y="428051"/>
                    <a:pt x="437420" y="428051"/>
                  </a:cubicBezTo>
                  <a:cubicBezTo>
                    <a:pt x="451018" y="422612"/>
                    <a:pt x="464616" y="425332"/>
                    <a:pt x="464616" y="436210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/>
            </a:p>
          </p:txBody>
        </p:sp>
        <p:sp>
          <p:nvSpPr>
            <p:cNvPr id="52" name="Freeform: Shape 51">
              <a:extLst>
                <a:ext uri="{FF2B5EF4-FFF2-40B4-BE49-F238E27FC236}">
                  <a16:creationId xmlns:a16="http://schemas.microsoft.com/office/drawing/2014/main" id="{FD1E386E-E3EA-4515-B634-C0D94651C931}"/>
                </a:ext>
              </a:extLst>
            </p:cNvPr>
            <p:cNvSpPr/>
            <p:nvPr/>
          </p:nvSpPr>
          <p:spPr>
            <a:xfrm>
              <a:off x="9053923" y="4178559"/>
              <a:ext cx="625521" cy="788700"/>
            </a:xfrm>
            <a:custGeom>
              <a:avLst/>
              <a:gdLst>
                <a:gd name="connsiteX0" fmla="*/ 536838 w 625521"/>
                <a:gd name="connsiteY0" fmla="*/ 680979 h 788699"/>
                <a:gd name="connsiteX1" fmla="*/ 574913 w 625521"/>
                <a:gd name="connsiteY1" fmla="*/ 697297 h 788699"/>
                <a:gd name="connsiteX2" fmla="*/ 566755 w 625521"/>
                <a:gd name="connsiteY2" fmla="*/ 713615 h 788699"/>
                <a:gd name="connsiteX3" fmla="*/ 550437 w 625521"/>
                <a:gd name="connsiteY3" fmla="*/ 721774 h 788699"/>
                <a:gd name="connsiteX4" fmla="*/ 528680 w 625521"/>
                <a:gd name="connsiteY4" fmla="*/ 724494 h 788699"/>
                <a:gd name="connsiteX5" fmla="*/ 417174 w 625521"/>
                <a:gd name="connsiteY5" fmla="*/ 724494 h 788699"/>
                <a:gd name="connsiteX6" fmla="*/ 398136 w 625521"/>
                <a:gd name="connsiteY6" fmla="*/ 724494 h 788699"/>
                <a:gd name="connsiteX7" fmla="*/ 373659 w 625521"/>
                <a:gd name="connsiteY7" fmla="*/ 724494 h 788699"/>
                <a:gd name="connsiteX8" fmla="*/ 346462 w 625521"/>
                <a:gd name="connsiteY8" fmla="*/ 719054 h 788699"/>
                <a:gd name="connsiteX9" fmla="*/ 330144 w 625521"/>
                <a:gd name="connsiteY9" fmla="*/ 702737 h 788699"/>
                <a:gd name="connsiteX10" fmla="*/ 335584 w 625521"/>
                <a:gd name="connsiteY10" fmla="*/ 694578 h 788699"/>
                <a:gd name="connsiteX11" fmla="*/ 357341 w 625521"/>
                <a:gd name="connsiteY11" fmla="*/ 686419 h 788699"/>
                <a:gd name="connsiteX12" fmla="*/ 395416 w 625521"/>
                <a:gd name="connsiteY12" fmla="*/ 680979 h 788699"/>
                <a:gd name="connsiteX13" fmla="*/ 381817 w 625521"/>
                <a:gd name="connsiteY13" fmla="*/ 656502 h 788699"/>
                <a:gd name="connsiteX14" fmla="*/ 379098 w 625521"/>
                <a:gd name="connsiteY14" fmla="*/ 585791 h 788699"/>
                <a:gd name="connsiteX15" fmla="*/ 379098 w 625521"/>
                <a:gd name="connsiteY15" fmla="*/ 517800 h 788699"/>
                <a:gd name="connsiteX16" fmla="*/ 379098 w 625521"/>
                <a:gd name="connsiteY16" fmla="*/ 474286 h 788699"/>
                <a:gd name="connsiteX17" fmla="*/ 379098 w 625521"/>
                <a:gd name="connsiteY17" fmla="*/ 430771 h 788699"/>
                <a:gd name="connsiteX18" fmla="*/ 381817 w 625521"/>
                <a:gd name="connsiteY18" fmla="*/ 411733 h 788699"/>
                <a:gd name="connsiteX19" fmla="*/ 379098 w 625521"/>
                <a:gd name="connsiteY19" fmla="*/ 400855 h 788699"/>
                <a:gd name="connsiteX20" fmla="*/ 370939 w 625521"/>
                <a:gd name="connsiteY20" fmla="*/ 398135 h 788699"/>
                <a:gd name="connsiteX21" fmla="*/ 338304 w 625521"/>
                <a:gd name="connsiteY21" fmla="*/ 400855 h 788699"/>
                <a:gd name="connsiteX22" fmla="*/ 289349 w 625521"/>
                <a:gd name="connsiteY22" fmla="*/ 403575 h 788699"/>
                <a:gd name="connsiteX23" fmla="*/ 264872 w 625521"/>
                <a:gd name="connsiteY23" fmla="*/ 400855 h 788699"/>
                <a:gd name="connsiteX24" fmla="*/ 259433 w 625521"/>
                <a:gd name="connsiteY24" fmla="*/ 406294 h 788699"/>
                <a:gd name="connsiteX25" fmla="*/ 259433 w 625521"/>
                <a:gd name="connsiteY25" fmla="*/ 425332 h 788699"/>
                <a:gd name="connsiteX26" fmla="*/ 259433 w 625521"/>
                <a:gd name="connsiteY26" fmla="*/ 449809 h 788699"/>
                <a:gd name="connsiteX27" fmla="*/ 259433 w 625521"/>
                <a:gd name="connsiteY27" fmla="*/ 471566 h 788699"/>
                <a:gd name="connsiteX28" fmla="*/ 259433 w 625521"/>
                <a:gd name="connsiteY28" fmla="*/ 504202 h 788699"/>
                <a:gd name="connsiteX29" fmla="*/ 259433 w 625521"/>
                <a:gd name="connsiteY29" fmla="*/ 509641 h 788699"/>
                <a:gd name="connsiteX30" fmla="*/ 256714 w 625521"/>
                <a:gd name="connsiteY30" fmla="*/ 542277 h 788699"/>
                <a:gd name="connsiteX31" fmla="*/ 256714 w 625521"/>
                <a:gd name="connsiteY31" fmla="*/ 577632 h 788699"/>
                <a:gd name="connsiteX32" fmla="*/ 256714 w 625521"/>
                <a:gd name="connsiteY32" fmla="*/ 612988 h 788699"/>
                <a:gd name="connsiteX33" fmla="*/ 253994 w 625521"/>
                <a:gd name="connsiteY33" fmla="*/ 656502 h 788699"/>
                <a:gd name="connsiteX34" fmla="*/ 256714 w 625521"/>
                <a:gd name="connsiteY34" fmla="*/ 678260 h 788699"/>
                <a:gd name="connsiteX35" fmla="*/ 286629 w 625521"/>
                <a:gd name="connsiteY35" fmla="*/ 694578 h 788699"/>
                <a:gd name="connsiteX36" fmla="*/ 281191 w 625521"/>
                <a:gd name="connsiteY36" fmla="*/ 710895 h 788699"/>
                <a:gd name="connsiteX37" fmla="*/ 264872 w 625521"/>
                <a:gd name="connsiteY37" fmla="*/ 719054 h 788699"/>
                <a:gd name="connsiteX38" fmla="*/ 243116 w 625521"/>
                <a:gd name="connsiteY38" fmla="*/ 721774 h 788699"/>
                <a:gd name="connsiteX39" fmla="*/ 243116 w 625521"/>
                <a:gd name="connsiteY39" fmla="*/ 721774 h 788699"/>
                <a:gd name="connsiteX40" fmla="*/ 232236 w 625521"/>
                <a:gd name="connsiteY40" fmla="*/ 727214 h 788699"/>
                <a:gd name="connsiteX41" fmla="*/ 224078 w 625521"/>
                <a:gd name="connsiteY41" fmla="*/ 735372 h 788699"/>
                <a:gd name="connsiteX42" fmla="*/ 213199 w 625521"/>
                <a:gd name="connsiteY42" fmla="*/ 738092 h 788699"/>
                <a:gd name="connsiteX43" fmla="*/ 183283 w 625521"/>
                <a:gd name="connsiteY43" fmla="*/ 727214 h 788699"/>
                <a:gd name="connsiteX44" fmla="*/ 175124 w 625521"/>
                <a:gd name="connsiteY44" fmla="*/ 719054 h 788699"/>
                <a:gd name="connsiteX45" fmla="*/ 145208 w 625521"/>
                <a:gd name="connsiteY45" fmla="*/ 719054 h 788699"/>
                <a:gd name="connsiteX46" fmla="*/ 126170 w 625521"/>
                <a:gd name="connsiteY46" fmla="*/ 719054 h 788699"/>
                <a:gd name="connsiteX47" fmla="*/ 101693 w 625521"/>
                <a:gd name="connsiteY47" fmla="*/ 719054 h 788699"/>
                <a:gd name="connsiteX48" fmla="*/ 74496 w 625521"/>
                <a:gd name="connsiteY48" fmla="*/ 713615 h 788699"/>
                <a:gd name="connsiteX49" fmla="*/ 58178 w 625521"/>
                <a:gd name="connsiteY49" fmla="*/ 697297 h 788699"/>
                <a:gd name="connsiteX50" fmla="*/ 63618 w 625521"/>
                <a:gd name="connsiteY50" fmla="*/ 689138 h 788699"/>
                <a:gd name="connsiteX51" fmla="*/ 85375 w 625521"/>
                <a:gd name="connsiteY51" fmla="*/ 680979 h 788699"/>
                <a:gd name="connsiteX52" fmla="*/ 131609 w 625521"/>
                <a:gd name="connsiteY52" fmla="*/ 675540 h 788699"/>
                <a:gd name="connsiteX53" fmla="*/ 131609 w 625521"/>
                <a:gd name="connsiteY53" fmla="*/ 667381 h 788699"/>
                <a:gd name="connsiteX54" fmla="*/ 131609 w 625521"/>
                <a:gd name="connsiteY54" fmla="*/ 651063 h 788699"/>
                <a:gd name="connsiteX55" fmla="*/ 131609 w 625521"/>
                <a:gd name="connsiteY55" fmla="*/ 618427 h 788699"/>
                <a:gd name="connsiteX56" fmla="*/ 131609 w 625521"/>
                <a:gd name="connsiteY56" fmla="*/ 580352 h 788699"/>
                <a:gd name="connsiteX57" fmla="*/ 131609 w 625521"/>
                <a:gd name="connsiteY57" fmla="*/ 531398 h 788699"/>
                <a:gd name="connsiteX58" fmla="*/ 131609 w 625521"/>
                <a:gd name="connsiteY58" fmla="*/ 466126 h 788699"/>
                <a:gd name="connsiteX59" fmla="*/ 131609 w 625521"/>
                <a:gd name="connsiteY59" fmla="*/ 422612 h 788699"/>
                <a:gd name="connsiteX60" fmla="*/ 131609 w 625521"/>
                <a:gd name="connsiteY60" fmla="*/ 411733 h 788699"/>
                <a:gd name="connsiteX61" fmla="*/ 131609 w 625521"/>
                <a:gd name="connsiteY61" fmla="*/ 398135 h 788699"/>
                <a:gd name="connsiteX62" fmla="*/ 126170 w 625521"/>
                <a:gd name="connsiteY62" fmla="*/ 389976 h 788699"/>
                <a:gd name="connsiteX63" fmla="*/ 101693 w 625521"/>
                <a:gd name="connsiteY63" fmla="*/ 387257 h 788699"/>
                <a:gd name="connsiteX64" fmla="*/ 77216 w 625521"/>
                <a:gd name="connsiteY64" fmla="*/ 376378 h 788699"/>
                <a:gd name="connsiteX65" fmla="*/ 82655 w 625521"/>
                <a:gd name="connsiteY65" fmla="*/ 368219 h 788699"/>
                <a:gd name="connsiteX66" fmla="*/ 98973 w 625521"/>
                <a:gd name="connsiteY66" fmla="*/ 360060 h 788699"/>
                <a:gd name="connsiteX67" fmla="*/ 118011 w 625521"/>
                <a:gd name="connsiteY67" fmla="*/ 357340 h 788699"/>
                <a:gd name="connsiteX68" fmla="*/ 131609 w 625521"/>
                <a:gd name="connsiteY68" fmla="*/ 351901 h 788699"/>
                <a:gd name="connsiteX69" fmla="*/ 131609 w 625521"/>
                <a:gd name="connsiteY69" fmla="*/ 343742 h 788699"/>
                <a:gd name="connsiteX70" fmla="*/ 131609 w 625521"/>
                <a:gd name="connsiteY70" fmla="*/ 270311 h 788699"/>
                <a:gd name="connsiteX71" fmla="*/ 137048 w 625521"/>
                <a:gd name="connsiteY71" fmla="*/ 145207 h 788699"/>
                <a:gd name="connsiteX72" fmla="*/ 139768 w 625521"/>
                <a:gd name="connsiteY72" fmla="*/ 123450 h 788699"/>
                <a:gd name="connsiteX73" fmla="*/ 123450 w 625521"/>
                <a:gd name="connsiteY73" fmla="*/ 123450 h 788699"/>
                <a:gd name="connsiteX74" fmla="*/ 118011 w 625521"/>
                <a:gd name="connsiteY74" fmla="*/ 123450 h 788699"/>
                <a:gd name="connsiteX75" fmla="*/ 101693 w 625521"/>
                <a:gd name="connsiteY75" fmla="*/ 123450 h 788699"/>
                <a:gd name="connsiteX76" fmla="*/ 74496 w 625521"/>
                <a:gd name="connsiteY76" fmla="*/ 118011 h 788699"/>
                <a:gd name="connsiteX77" fmla="*/ 58178 w 625521"/>
                <a:gd name="connsiteY77" fmla="*/ 101693 h 788699"/>
                <a:gd name="connsiteX78" fmla="*/ 63618 w 625521"/>
                <a:gd name="connsiteY78" fmla="*/ 93534 h 788699"/>
                <a:gd name="connsiteX79" fmla="*/ 85375 w 625521"/>
                <a:gd name="connsiteY79" fmla="*/ 85375 h 788699"/>
                <a:gd name="connsiteX80" fmla="*/ 137048 w 625521"/>
                <a:gd name="connsiteY80" fmla="*/ 82655 h 788699"/>
                <a:gd name="connsiteX81" fmla="*/ 147927 w 625521"/>
                <a:gd name="connsiteY81" fmla="*/ 82655 h 788699"/>
                <a:gd name="connsiteX82" fmla="*/ 186003 w 625521"/>
                <a:gd name="connsiteY82" fmla="*/ 58178 h 788699"/>
                <a:gd name="connsiteX83" fmla="*/ 226797 w 625521"/>
                <a:gd name="connsiteY83" fmla="*/ 79936 h 788699"/>
                <a:gd name="connsiteX84" fmla="*/ 253994 w 625521"/>
                <a:gd name="connsiteY84" fmla="*/ 79936 h 788699"/>
                <a:gd name="connsiteX85" fmla="*/ 294789 w 625521"/>
                <a:gd name="connsiteY85" fmla="*/ 96253 h 788699"/>
                <a:gd name="connsiteX86" fmla="*/ 283910 w 625521"/>
                <a:gd name="connsiteY86" fmla="*/ 112571 h 788699"/>
                <a:gd name="connsiteX87" fmla="*/ 267592 w 625521"/>
                <a:gd name="connsiteY87" fmla="*/ 120730 h 788699"/>
                <a:gd name="connsiteX88" fmla="*/ 245835 w 625521"/>
                <a:gd name="connsiteY88" fmla="*/ 123450 h 788699"/>
                <a:gd name="connsiteX89" fmla="*/ 237676 w 625521"/>
                <a:gd name="connsiteY89" fmla="*/ 123450 h 788699"/>
                <a:gd name="connsiteX90" fmla="*/ 240396 w 625521"/>
                <a:gd name="connsiteY90" fmla="*/ 128889 h 788699"/>
                <a:gd name="connsiteX91" fmla="*/ 251274 w 625521"/>
                <a:gd name="connsiteY91" fmla="*/ 177843 h 788699"/>
                <a:gd name="connsiteX92" fmla="*/ 256714 w 625521"/>
                <a:gd name="connsiteY92" fmla="*/ 226797 h 788699"/>
                <a:gd name="connsiteX93" fmla="*/ 262153 w 625521"/>
                <a:gd name="connsiteY93" fmla="*/ 273031 h 788699"/>
                <a:gd name="connsiteX94" fmla="*/ 262153 w 625521"/>
                <a:gd name="connsiteY94" fmla="*/ 289349 h 788699"/>
                <a:gd name="connsiteX95" fmla="*/ 262153 w 625521"/>
                <a:gd name="connsiteY95" fmla="*/ 297508 h 788699"/>
                <a:gd name="connsiteX96" fmla="*/ 264872 w 625521"/>
                <a:gd name="connsiteY96" fmla="*/ 321985 h 788699"/>
                <a:gd name="connsiteX97" fmla="*/ 270312 w 625521"/>
                <a:gd name="connsiteY97" fmla="*/ 335583 h 788699"/>
                <a:gd name="connsiteX98" fmla="*/ 270312 w 625521"/>
                <a:gd name="connsiteY98" fmla="*/ 338303 h 788699"/>
                <a:gd name="connsiteX99" fmla="*/ 270312 w 625521"/>
                <a:gd name="connsiteY99" fmla="*/ 346462 h 788699"/>
                <a:gd name="connsiteX100" fmla="*/ 278471 w 625521"/>
                <a:gd name="connsiteY100" fmla="*/ 354621 h 788699"/>
                <a:gd name="connsiteX101" fmla="*/ 338304 w 625521"/>
                <a:gd name="connsiteY101" fmla="*/ 349181 h 788699"/>
                <a:gd name="connsiteX102" fmla="*/ 365500 w 625521"/>
                <a:gd name="connsiteY102" fmla="*/ 349181 h 788699"/>
                <a:gd name="connsiteX103" fmla="*/ 381817 w 625521"/>
                <a:gd name="connsiteY103" fmla="*/ 349181 h 788699"/>
                <a:gd name="connsiteX104" fmla="*/ 392697 w 625521"/>
                <a:gd name="connsiteY104" fmla="*/ 338303 h 788699"/>
                <a:gd name="connsiteX105" fmla="*/ 389977 w 625521"/>
                <a:gd name="connsiteY105" fmla="*/ 313826 h 788699"/>
                <a:gd name="connsiteX106" fmla="*/ 392697 w 625521"/>
                <a:gd name="connsiteY106" fmla="*/ 262152 h 788699"/>
                <a:gd name="connsiteX107" fmla="*/ 395416 w 625521"/>
                <a:gd name="connsiteY107" fmla="*/ 224077 h 788699"/>
                <a:gd name="connsiteX108" fmla="*/ 398136 w 625521"/>
                <a:gd name="connsiteY108" fmla="*/ 177843 h 788699"/>
                <a:gd name="connsiteX109" fmla="*/ 395416 w 625521"/>
                <a:gd name="connsiteY109" fmla="*/ 153366 h 788699"/>
                <a:gd name="connsiteX110" fmla="*/ 395416 w 625521"/>
                <a:gd name="connsiteY110" fmla="*/ 137048 h 788699"/>
                <a:gd name="connsiteX111" fmla="*/ 379098 w 625521"/>
                <a:gd name="connsiteY111" fmla="*/ 137048 h 788699"/>
                <a:gd name="connsiteX112" fmla="*/ 351902 w 625521"/>
                <a:gd name="connsiteY112" fmla="*/ 131609 h 788699"/>
                <a:gd name="connsiteX113" fmla="*/ 338304 w 625521"/>
                <a:gd name="connsiteY113" fmla="*/ 115291 h 788699"/>
                <a:gd name="connsiteX114" fmla="*/ 343742 w 625521"/>
                <a:gd name="connsiteY114" fmla="*/ 107132 h 788699"/>
                <a:gd name="connsiteX115" fmla="*/ 362780 w 625521"/>
                <a:gd name="connsiteY115" fmla="*/ 98973 h 788699"/>
                <a:gd name="connsiteX116" fmla="*/ 395416 w 625521"/>
                <a:gd name="connsiteY116" fmla="*/ 96253 h 788699"/>
                <a:gd name="connsiteX117" fmla="*/ 403575 w 625521"/>
                <a:gd name="connsiteY117" fmla="*/ 90814 h 788699"/>
                <a:gd name="connsiteX118" fmla="*/ 422612 w 625521"/>
                <a:gd name="connsiteY118" fmla="*/ 88095 h 788699"/>
                <a:gd name="connsiteX119" fmla="*/ 428052 w 625521"/>
                <a:gd name="connsiteY119" fmla="*/ 88095 h 788699"/>
                <a:gd name="connsiteX120" fmla="*/ 447090 w 625521"/>
                <a:gd name="connsiteY120" fmla="*/ 90814 h 788699"/>
                <a:gd name="connsiteX121" fmla="*/ 455249 w 625521"/>
                <a:gd name="connsiteY121" fmla="*/ 96253 h 788699"/>
                <a:gd name="connsiteX122" fmla="*/ 525960 w 625521"/>
                <a:gd name="connsiteY122" fmla="*/ 93534 h 788699"/>
                <a:gd name="connsiteX123" fmla="*/ 561315 w 625521"/>
                <a:gd name="connsiteY123" fmla="*/ 109852 h 788699"/>
                <a:gd name="connsiteX124" fmla="*/ 555876 w 625521"/>
                <a:gd name="connsiteY124" fmla="*/ 126170 h 788699"/>
                <a:gd name="connsiteX125" fmla="*/ 539558 w 625521"/>
                <a:gd name="connsiteY125" fmla="*/ 134329 h 788699"/>
                <a:gd name="connsiteX126" fmla="*/ 517800 w 625521"/>
                <a:gd name="connsiteY126" fmla="*/ 137048 h 788699"/>
                <a:gd name="connsiteX127" fmla="*/ 477006 w 625521"/>
                <a:gd name="connsiteY127" fmla="*/ 137048 h 788699"/>
                <a:gd name="connsiteX128" fmla="*/ 485165 w 625521"/>
                <a:gd name="connsiteY128" fmla="*/ 161525 h 788699"/>
                <a:gd name="connsiteX129" fmla="*/ 496043 w 625521"/>
                <a:gd name="connsiteY129" fmla="*/ 210479 h 788699"/>
                <a:gd name="connsiteX130" fmla="*/ 501483 w 625521"/>
                <a:gd name="connsiteY130" fmla="*/ 251274 h 788699"/>
                <a:gd name="connsiteX131" fmla="*/ 506922 w 625521"/>
                <a:gd name="connsiteY131" fmla="*/ 292069 h 788699"/>
                <a:gd name="connsiteX132" fmla="*/ 506922 w 625521"/>
                <a:gd name="connsiteY132" fmla="*/ 321985 h 788699"/>
                <a:gd name="connsiteX133" fmla="*/ 509642 w 625521"/>
                <a:gd name="connsiteY133" fmla="*/ 341022 h 788699"/>
                <a:gd name="connsiteX134" fmla="*/ 509642 w 625521"/>
                <a:gd name="connsiteY134" fmla="*/ 343742 h 788699"/>
                <a:gd name="connsiteX135" fmla="*/ 517800 w 625521"/>
                <a:gd name="connsiteY135" fmla="*/ 349181 h 788699"/>
                <a:gd name="connsiteX136" fmla="*/ 528680 w 625521"/>
                <a:gd name="connsiteY136" fmla="*/ 349181 h 788699"/>
                <a:gd name="connsiteX137" fmla="*/ 550437 w 625521"/>
                <a:gd name="connsiteY137" fmla="*/ 357340 h 788699"/>
                <a:gd name="connsiteX138" fmla="*/ 550437 w 625521"/>
                <a:gd name="connsiteY138" fmla="*/ 362780 h 788699"/>
                <a:gd name="connsiteX139" fmla="*/ 534119 w 625521"/>
                <a:gd name="connsiteY139" fmla="*/ 384537 h 788699"/>
                <a:gd name="connsiteX140" fmla="*/ 520520 w 625521"/>
                <a:gd name="connsiteY140" fmla="*/ 389976 h 788699"/>
                <a:gd name="connsiteX141" fmla="*/ 512362 w 625521"/>
                <a:gd name="connsiteY141" fmla="*/ 395415 h 788699"/>
                <a:gd name="connsiteX142" fmla="*/ 512362 w 625521"/>
                <a:gd name="connsiteY142" fmla="*/ 398135 h 788699"/>
                <a:gd name="connsiteX143" fmla="*/ 512362 w 625521"/>
                <a:gd name="connsiteY143" fmla="*/ 409014 h 788699"/>
                <a:gd name="connsiteX144" fmla="*/ 512362 w 625521"/>
                <a:gd name="connsiteY144" fmla="*/ 414453 h 788699"/>
                <a:gd name="connsiteX145" fmla="*/ 512362 w 625521"/>
                <a:gd name="connsiteY145" fmla="*/ 438930 h 788699"/>
                <a:gd name="connsiteX146" fmla="*/ 515081 w 625521"/>
                <a:gd name="connsiteY146" fmla="*/ 504202 h 788699"/>
                <a:gd name="connsiteX147" fmla="*/ 520520 w 625521"/>
                <a:gd name="connsiteY147" fmla="*/ 572193 h 788699"/>
                <a:gd name="connsiteX148" fmla="*/ 517800 w 625521"/>
                <a:gd name="connsiteY148" fmla="*/ 604829 h 788699"/>
                <a:gd name="connsiteX149" fmla="*/ 512362 w 625521"/>
                <a:gd name="connsiteY149" fmla="*/ 661942 h 788699"/>
                <a:gd name="connsiteX150" fmla="*/ 509642 w 625521"/>
                <a:gd name="connsiteY150" fmla="*/ 670101 h 788699"/>
                <a:gd name="connsiteX151" fmla="*/ 512362 w 625521"/>
                <a:gd name="connsiteY151" fmla="*/ 680979 h 788699"/>
                <a:gd name="connsiteX152" fmla="*/ 512362 w 625521"/>
                <a:gd name="connsiteY152" fmla="*/ 686419 h 788699"/>
                <a:gd name="connsiteX153" fmla="*/ 536838 w 625521"/>
                <a:gd name="connsiteY153" fmla="*/ 680979 h 788699"/>
                <a:gd name="connsiteX154" fmla="*/ 536838 w 625521"/>
                <a:gd name="connsiteY154" fmla="*/ 680979 h 7886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</a:cxnLst>
              <a:rect l="l" t="t" r="r" b="b"/>
              <a:pathLst>
                <a:path w="625521" h="788699">
                  <a:moveTo>
                    <a:pt x="536838" y="680979"/>
                  </a:moveTo>
                  <a:cubicBezTo>
                    <a:pt x="550437" y="680979"/>
                    <a:pt x="574913" y="680979"/>
                    <a:pt x="574913" y="697297"/>
                  </a:cubicBezTo>
                  <a:cubicBezTo>
                    <a:pt x="574913" y="705456"/>
                    <a:pt x="572194" y="708176"/>
                    <a:pt x="566755" y="713615"/>
                  </a:cubicBezTo>
                  <a:cubicBezTo>
                    <a:pt x="561315" y="719054"/>
                    <a:pt x="555876" y="721774"/>
                    <a:pt x="550437" y="721774"/>
                  </a:cubicBezTo>
                  <a:cubicBezTo>
                    <a:pt x="539558" y="724494"/>
                    <a:pt x="534119" y="724494"/>
                    <a:pt x="528680" y="724494"/>
                  </a:cubicBezTo>
                  <a:cubicBezTo>
                    <a:pt x="517800" y="724494"/>
                    <a:pt x="428052" y="724494"/>
                    <a:pt x="417174" y="724494"/>
                  </a:cubicBezTo>
                  <a:cubicBezTo>
                    <a:pt x="403575" y="724494"/>
                    <a:pt x="414454" y="724494"/>
                    <a:pt x="398136" y="724494"/>
                  </a:cubicBezTo>
                  <a:cubicBezTo>
                    <a:pt x="389977" y="724494"/>
                    <a:pt x="381817" y="724494"/>
                    <a:pt x="373659" y="724494"/>
                  </a:cubicBezTo>
                  <a:cubicBezTo>
                    <a:pt x="365500" y="724494"/>
                    <a:pt x="354621" y="721774"/>
                    <a:pt x="346462" y="719054"/>
                  </a:cubicBezTo>
                  <a:cubicBezTo>
                    <a:pt x="338304" y="716335"/>
                    <a:pt x="330144" y="708176"/>
                    <a:pt x="330144" y="702737"/>
                  </a:cubicBezTo>
                  <a:cubicBezTo>
                    <a:pt x="330144" y="700017"/>
                    <a:pt x="330144" y="697297"/>
                    <a:pt x="335584" y="694578"/>
                  </a:cubicBezTo>
                  <a:cubicBezTo>
                    <a:pt x="341023" y="691858"/>
                    <a:pt x="351902" y="689138"/>
                    <a:pt x="357341" y="686419"/>
                  </a:cubicBezTo>
                  <a:cubicBezTo>
                    <a:pt x="373659" y="683699"/>
                    <a:pt x="387257" y="680979"/>
                    <a:pt x="395416" y="680979"/>
                  </a:cubicBezTo>
                  <a:cubicBezTo>
                    <a:pt x="387257" y="675540"/>
                    <a:pt x="384537" y="670101"/>
                    <a:pt x="381817" y="656502"/>
                  </a:cubicBezTo>
                  <a:cubicBezTo>
                    <a:pt x="379098" y="632026"/>
                    <a:pt x="379098" y="610268"/>
                    <a:pt x="379098" y="585791"/>
                  </a:cubicBezTo>
                  <a:cubicBezTo>
                    <a:pt x="379098" y="564034"/>
                    <a:pt x="379098" y="542277"/>
                    <a:pt x="379098" y="517800"/>
                  </a:cubicBezTo>
                  <a:cubicBezTo>
                    <a:pt x="379098" y="504202"/>
                    <a:pt x="379098" y="487884"/>
                    <a:pt x="379098" y="474286"/>
                  </a:cubicBezTo>
                  <a:cubicBezTo>
                    <a:pt x="379098" y="457968"/>
                    <a:pt x="376379" y="444369"/>
                    <a:pt x="379098" y="430771"/>
                  </a:cubicBezTo>
                  <a:cubicBezTo>
                    <a:pt x="379098" y="425332"/>
                    <a:pt x="381817" y="417173"/>
                    <a:pt x="381817" y="411733"/>
                  </a:cubicBezTo>
                  <a:cubicBezTo>
                    <a:pt x="381817" y="406294"/>
                    <a:pt x="381817" y="403575"/>
                    <a:pt x="379098" y="400855"/>
                  </a:cubicBezTo>
                  <a:cubicBezTo>
                    <a:pt x="376379" y="400855"/>
                    <a:pt x="373659" y="398135"/>
                    <a:pt x="370939" y="398135"/>
                  </a:cubicBezTo>
                  <a:cubicBezTo>
                    <a:pt x="360061" y="398135"/>
                    <a:pt x="343742" y="400855"/>
                    <a:pt x="338304" y="400855"/>
                  </a:cubicBezTo>
                  <a:cubicBezTo>
                    <a:pt x="330144" y="400855"/>
                    <a:pt x="319266" y="403575"/>
                    <a:pt x="289349" y="403575"/>
                  </a:cubicBezTo>
                  <a:cubicBezTo>
                    <a:pt x="275751" y="403575"/>
                    <a:pt x="267592" y="400855"/>
                    <a:pt x="264872" y="400855"/>
                  </a:cubicBezTo>
                  <a:cubicBezTo>
                    <a:pt x="262153" y="400855"/>
                    <a:pt x="259433" y="400855"/>
                    <a:pt x="259433" y="406294"/>
                  </a:cubicBezTo>
                  <a:cubicBezTo>
                    <a:pt x="259433" y="414453"/>
                    <a:pt x="259433" y="419892"/>
                    <a:pt x="259433" y="425332"/>
                  </a:cubicBezTo>
                  <a:cubicBezTo>
                    <a:pt x="259433" y="433491"/>
                    <a:pt x="259433" y="441650"/>
                    <a:pt x="259433" y="449809"/>
                  </a:cubicBezTo>
                  <a:cubicBezTo>
                    <a:pt x="259433" y="457968"/>
                    <a:pt x="259433" y="463407"/>
                    <a:pt x="259433" y="471566"/>
                  </a:cubicBezTo>
                  <a:cubicBezTo>
                    <a:pt x="259433" y="482445"/>
                    <a:pt x="259433" y="493323"/>
                    <a:pt x="259433" y="504202"/>
                  </a:cubicBezTo>
                  <a:cubicBezTo>
                    <a:pt x="259433" y="506921"/>
                    <a:pt x="259433" y="506921"/>
                    <a:pt x="259433" y="509641"/>
                  </a:cubicBezTo>
                  <a:cubicBezTo>
                    <a:pt x="259433" y="520520"/>
                    <a:pt x="256714" y="531398"/>
                    <a:pt x="256714" y="542277"/>
                  </a:cubicBezTo>
                  <a:cubicBezTo>
                    <a:pt x="256714" y="553156"/>
                    <a:pt x="256714" y="566754"/>
                    <a:pt x="256714" y="577632"/>
                  </a:cubicBezTo>
                  <a:cubicBezTo>
                    <a:pt x="256714" y="588511"/>
                    <a:pt x="256714" y="599390"/>
                    <a:pt x="256714" y="612988"/>
                  </a:cubicBezTo>
                  <a:cubicBezTo>
                    <a:pt x="256714" y="629306"/>
                    <a:pt x="253994" y="642904"/>
                    <a:pt x="253994" y="656502"/>
                  </a:cubicBezTo>
                  <a:cubicBezTo>
                    <a:pt x="253994" y="664661"/>
                    <a:pt x="256714" y="672820"/>
                    <a:pt x="256714" y="678260"/>
                  </a:cubicBezTo>
                  <a:cubicBezTo>
                    <a:pt x="270312" y="678260"/>
                    <a:pt x="286629" y="680979"/>
                    <a:pt x="286629" y="694578"/>
                  </a:cubicBezTo>
                  <a:cubicBezTo>
                    <a:pt x="286629" y="702737"/>
                    <a:pt x="283910" y="705456"/>
                    <a:pt x="281191" y="710895"/>
                  </a:cubicBezTo>
                  <a:cubicBezTo>
                    <a:pt x="275751" y="716335"/>
                    <a:pt x="270312" y="719054"/>
                    <a:pt x="264872" y="719054"/>
                  </a:cubicBezTo>
                  <a:cubicBezTo>
                    <a:pt x="256714" y="721774"/>
                    <a:pt x="248554" y="721774"/>
                    <a:pt x="243116" y="721774"/>
                  </a:cubicBezTo>
                  <a:cubicBezTo>
                    <a:pt x="243116" y="721774"/>
                    <a:pt x="243116" y="721774"/>
                    <a:pt x="243116" y="721774"/>
                  </a:cubicBezTo>
                  <a:cubicBezTo>
                    <a:pt x="237676" y="724494"/>
                    <a:pt x="237676" y="724494"/>
                    <a:pt x="232236" y="727214"/>
                  </a:cubicBezTo>
                  <a:cubicBezTo>
                    <a:pt x="229517" y="729933"/>
                    <a:pt x="229517" y="732653"/>
                    <a:pt x="224078" y="735372"/>
                  </a:cubicBezTo>
                  <a:cubicBezTo>
                    <a:pt x="221358" y="738092"/>
                    <a:pt x="215919" y="738092"/>
                    <a:pt x="213199" y="738092"/>
                  </a:cubicBezTo>
                  <a:cubicBezTo>
                    <a:pt x="199601" y="738092"/>
                    <a:pt x="188722" y="735372"/>
                    <a:pt x="183283" y="727214"/>
                  </a:cubicBezTo>
                  <a:cubicBezTo>
                    <a:pt x="180563" y="724494"/>
                    <a:pt x="177843" y="721774"/>
                    <a:pt x="175124" y="719054"/>
                  </a:cubicBezTo>
                  <a:cubicBezTo>
                    <a:pt x="161526" y="719054"/>
                    <a:pt x="150646" y="719054"/>
                    <a:pt x="145208" y="719054"/>
                  </a:cubicBezTo>
                  <a:cubicBezTo>
                    <a:pt x="131609" y="719054"/>
                    <a:pt x="142488" y="719054"/>
                    <a:pt x="126170" y="719054"/>
                  </a:cubicBezTo>
                  <a:cubicBezTo>
                    <a:pt x="118011" y="719054"/>
                    <a:pt x="109852" y="719054"/>
                    <a:pt x="101693" y="719054"/>
                  </a:cubicBezTo>
                  <a:cubicBezTo>
                    <a:pt x="93534" y="719054"/>
                    <a:pt x="82655" y="719054"/>
                    <a:pt x="74496" y="713615"/>
                  </a:cubicBezTo>
                  <a:cubicBezTo>
                    <a:pt x="66338" y="710895"/>
                    <a:pt x="58178" y="702737"/>
                    <a:pt x="58178" y="697297"/>
                  </a:cubicBezTo>
                  <a:cubicBezTo>
                    <a:pt x="58178" y="694578"/>
                    <a:pt x="58178" y="691858"/>
                    <a:pt x="63618" y="689138"/>
                  </a:cubicBezTo>
                  <a:cubicBezTo>
                    <a:pt x="69057" y="686419"/>
                    <a:pt x="79936" y="683699"/>
                    <a:pt x="85375" y="680979"/>
                  </a:cubicBezTo>
                  <a:cubicBezTo>
                    <a:pt x="98973" y="678260"/>
                    <a:pt x="118011" y="678260"/>
                    <a:pt x="131609" y="675540"/>
                  </a:cubicBezTo>
                  <a:cubicBezTo>
                    <a:pt x="131609" y="672820"/>
                    <a:pt x="131609" y="670101"/>
                    <a:pt x="131609" y="667381"/>
                  </a:cubicBezTo>
                  <a:cubicBezTo>
                    <a:pt x="131609" y="661942"/>
                    <a:pt x="131609" y="656502"/>
                    <a:pt x="131609" y="651063"/>
                  </a:cubicBezTo>
                  <a:cubicBezTo>
                    <a:pt x="131609" y="640184"/>
                    <a:pt x="131609" y="629306"/>
                    <a:pt x="131609" y="618427"/>
                  </a:cubicBezTo>
                  <a:cubicBezTo>
                    <a:pt x="131609" y="604829"/>
                    <a:pt x="131609" y="593950"/>
                    <a:pt x="131609" y="580352"/>
                  </a:cubicBezTo>
                  <a:cubicBezTo>
                    <a:pt x="131609" y="564034"/>
                    <a:pt x="131609" y="547716"/>
                    <a:pt x="131609" y="531398"/>
                  </a:cubicBezTo>
                  <a:cubicBezTo>
                    <a:pt x="131609" y="509641"/>
                    <a:pt x="131609" y="487884"/>
                    <a:pt x="131609" y="466126"/>
                  </a:cubicBezTo>
                  <a:cubicBezTo>
                    <a:pt x="131609" y="452528"/>
                    <a:pt x="131609" y="436210"/>
                    <a:pt x="131609" y="422612"/>
                  </a:cubicBezTo>
                  <a:cubicBezTo>
                    <a:pt x="131609" y="419892"/>
                    <a:pt x="131609" y="414453"/>
                    <a:pt x="131609" y="411733"/>
                  </a:cubicBezTo>
                  <a:cubicBezTo>
                    <a:pt x="131609" y="409014"/>
                    <a:pt x="131609" y="400855"/>
                    <a:pt x="131609" y="398135"/>
                  </a:cubicBezTo>
                  <a:cubicBezTo>
                    <a:pt x="131609" y="392696"/>
                    <a:pt x="131609" y="392696"/>
                    <a:pt x="126170" y="389976"/>
                  </a:cubicBezTo>
                  <a:cubicBezTo>
                    <a:pt x="123450" y="389976"/>
                    <a:pt x="109852" y="387257"/>
                    <a:pt x="101693" y="387257"/>
                  </a:cubicBezTo>
                  <a:cubicBezTo>
                    <a:pt x="90814" y="384537"/>
                    <a:pt x="77216" y="381817"/>
                    <a:pt x="77216" y="376378"/>
                  </a:cubicBezTo>
                  <a:cubicBezTo>
                    <a:pt x="77216" y="373658"/>
                    <a:pt x="79936" y="370939"/>
                    <a:pt x="82655" y="368219"/>
                  </a:cubicBezTo>
                  <a:cubicBezTo>
                    <a:pt x="88095" y="365499"/>
                    <a:pt x="93534" y="362780"/>
                    <a:pt x="98973" y="360060"/>
                  </a:cubicBezTo>
                  <a:cubicBezTo>
                    <a:pt x="104413" y="360060"/>
                    <a:pt x="112571" y="357340"/>
                    <a:pt x="118011" y="357340"/>
                  </a:cubicBezTo>
                  <a:cubicBezTo>
                    <a:pt x="126170" y="354621"/>
                    <a:pt x="128890" y="357340"/>
                    <a:pt x="131609" y="351901"/>
                  </a:cubicBezTo>
                  <a:cubicBezTo>
                    <a:pt x="131609" y="349181"/>
                    <a:pt x="131609" y="346462"/>
                    <a:pt x="131609" y="343742"/>
                  </a:cubicBezTo>
                  <a:cubicBezTo>
                    <a:pt x="131609" y="319265"/>
                    <a:pt x="131609" y="294788"/>
                    <a:pt x="131609" y="270311"/>
                  </a:cubicBezTo>
                  <a:cubicBezTo>
                    <a:pt x="131609" y="226797"/>
                    <a:pt x="131609" y="186002"/>
                    <a:pt x="137048" y="145207"/>
                  </a:cubicBezTo>
                  <a:cubicBezTo>
                    <a:pt x="137048" y="139768"/>
                    <a:pt x="137048" y="131609"/>
                    <a:pt x="139768" y="123450"/>
                  </a:cubicBezTo>
                  <a:cubicBezTo>
                    <a:pt x="134329" y="123450"/>
                    <a:pt x="137048" y="123450"/>
                    <a:pt x="123450" y="123450"/>
                  </a:cubicBezTo>
                  <a:cubicBezTo>
                    <a:pt x="120731" y="123450"/>
                    <a:pt x="120731" y="123450"/>
                    <a:pt x="118011" y="123450"/>
                  </a:cubicBezTo>
                  <a:cubicBezTo>
                    <a:pt x="112571" y="123450"/>
                    <a:pt x="107133" y="123450"/>
                    <a:pt x="101693" y="123450"/>
                  </a:cubicBezTo>
                  <a:cubicBezTo>
                    <a:pt x="93534" y="123450"/>
                    <a:pt x="82655" y="120730"/>
                    <a:pt x="74496" y="118011"/>
                  </a:cubicBezTo>
                  <a:cubicBezTo>
                    <a:pt x="66338" y="115291"/>
                    <a:pt x="58178" y="107132"/>
                    <a:pt x="58178" y="101693"/>
                  </a:cubicBezTo>
                  <a:cubicBezTo>
                    <a:pt x="58178" y="98973"/>
                    <a:pt x="58178" y="96253"/>
                    <a:pt x="63618" y="93534"/>
                  </a:cubicBezTo>
                  <a:cubicBezTo>
                    <a:pt x="66338" y="90814"/>
                    <a:pt x="77216" y="88095"/>
                    <a:pt x="85375" y="85375"/>
                  </a:cubicBezTo>
                  <a:cubicBezTo>
                    <a:pt x="104413" y="82655"/>
                    <a:pt x="128890" y="82655"/>
                    <a:pt x="137048" y="82655"/>
                  </a:cubicBezTo>
                  <a:cubicBezTo>
                    <a:pt x="139768" y="82655"/>
                    <a:pt x="142488" y="82655"/>
                    <a:pt x="147927" y="82655"/>
                  </a:cubicBezTo>
                  <a:cubicBezTo>
                    <a:pt x="153366" y="69057"/>
                    <a:pt x="164245" y="58178"/>
                    <a:pt x="186003" y="58178"/>
                  </a:cubicBezTo>
                  <a:cubicBezTo>
                    <a:pt x="202321" y="58178"/>
                    <a:pt x="215919" y="66337"/>
                    <a:pt x="226797" y="79936"/>
                  </a:cubicBezTo>
                  <a:cubicBezTo>
                    <a:pt x="237676" y="79936"/>
                    <a:pt x="248554" y="79936"/>
                    <a:pt x="253994" y="79936"/>
                  </a:cubicBezTo>
                  <a:cubicBezTo>
                    <a:pt x="267592" y="79936"/>
                    <a:pt x="294789" y="79936"/>
                    <a:pt x="294789" y="96253"/>
                  </a:cubicBezTo>
                  <a:cubicBezTo>
                    <a:pt x="294789" y="104412"/>
                    <a:pt x="289349" y="107132"/>
                    <a:pt x="283910" y="112571"/>
                  </a:cubicBezTo>
                  <a:cubicBezTo>
                    <a:pt x="278471" y="118011"/>
                    <a:pt x="273031" y="120730"/>
                    <a:pt x="267592" y="120730"/>
                  </a:cubicBezTo>
                  <a:cubicBezTo>
                    <a:pt x="259433" y="123450"/>
                    <a:pt x="251274" y="123450"/>
                    <a:pt x="245835" y="123450"/>
                  </a:cubicBezTo>
                  <a:cubicBezTo>
                    <a:pt x="245835" y="123450"/>
                    <a:pt x="243116" y="123450"/>
                    <a:pt x="237676" y="123450"/>
                  </a:cubicBezTo>
                  <a:cubicBezTo>
                    <a:pt x="237676" y="126170"/>
                    <a:pt x="237676" y="126170"/>
                    <a:pt x="240396" y="128889"/>
                  </a:cubicBezTo>
                  <a:cubicBezTo>
                    <a:pt x="245835" y="145207"/>
                    <a:pt x="248554" y="161525"/>
                    <a:pt x="251274" y="177843"/>
                  </a:cubicBezTo>
                  <a:cubicBezTo>
                    <a:pt x="253994" y="194161"/>
                    <a:pt x="253994" y="210479"/>
                    <a:pt x="256714" y="226797"/>
                  </a:cubicBezTo>
                  <a:cubicBezTo>
                    <a:pt x="259433" y="243115"/>
                    <a:pt x="262153" y="256713"/>
                    <a:pt x="262153" y="273031"/>
                  </a:cubicBezTo>
                  <a:cubicBezTo>
                    <a:pt x="262153" y="278470"/>
                    <a:pt x="262153" y="283910"/>
                    <a:pt x="262153" y="289349"/>
                  </a:cubicBezTo>
                  <a:lnTo>
                    <a:pt x="262153" y="297508"/>
                  </a:lnTo>
                  <a:cubicBezTo>
                    <a:pt x="262153" y="305667"/>
                    <a:pt x="262153" y="313826"/>
                    <a:pt x="264872" y="321985"/>
                  </a:cubicBezTo>
                  <a:cubicBezTo>
                    <a:pt x="264872" y="327424"/>
                    <a:pt x="270312" y="330144"/>
                    <a:pt x="270312" y="335583"/>
                  </a:cubicBezTo>
                  <a:cubicBezTo>
                    <a:pt x="270312" y="335583"/>
                    <a:pt x="270312" y="338303"/>
                    <a:pt x="270312" y="338303"/>
                  </a:cubicBezTo>
                  <a:cubicBezTo>
                    <a:pt x="270312" y="341022"/>
                    <a:pt x="270312" y="343742"/>
                    <a:pt x="270312" y="346462"/>
                  </a:cubicBezTo>
                  <a:cubicBezTo>
                    <a:pt x="270312" y="351901"/>
                    <a:pt x="273031" y="354621"/>
                    <a:pt x="278471" y="354621"/>
                  </a:cubicBezTo>
                  <a:cubicBezTo>
                    <a:pt x="289349" y="354621"/>
                    <a:pt x="335584" y="351901"/>
                    <a:pt x="338304" y="349181"/>
                  </a:cubicBezTo>
                  <a:cubicBezTo>
                    <a:pt x="346462" y="349181"/>
                    <a:pt x="357341" y="349181"/>
                    <a:pt x="365500" y="349181"/>
                  </a:cubicBezTo>
                  <a:cubicBezTo>
                    <a:pt x="370939" y="349181"/>
                    <a:pt x="376379" y="349181"/>
                    <a:pt x="381817" y="349181"/>
                  </a:cubicBezTo>
                  <a:cubicBezTo>
                    <a:pt x="387257" y="349181"/>
                    <a:pt x="392697" y="346462"/>
                    <a:pt x="392697" y="338303"/>
                  </a:cubicBezTo>
                  <a:cubicBezTo>
                    <a:pt x="392697" y="330144"/>
                    <a:pt x="389977" y="316545"/>
                    <a:pt x="389977" y="313826"/>
                  </a:cubicBezTo>
                  <a:cubicBezTo>
                    <a:pt x="389977" y="294788"/>
                    <a:pt x="389977" y="278470"/>
                    <a:pt x="392697" y="262152"/>
                  </a:cubicBezTo>
                  <a:cubicBezTo>
                    <a:pt x="392697" y="259433"/>
                    <a:pt x="395416" y="243115"/>
                    <a:pt x="395416" y="224077"/>
                  </a:cubicBezTo>
                  <a:cubicBezTo>
                    <a:pt x="395416" y="207759"/>
                    <a:pt x="398136" y="188722"/>
                    <a:pt x="398136" y="177843"/>
                  </a:cubicBezTo>
                  <a:cubicBezTo>
                    <a:pt x="398136" y="169684"/>
                    <a:pt x="395416" y="158806"/>
                    <a:pt x="395416" y="153366"/>
                  </a:cubicBezTo>
                  <a:cubicBezTo>
                    <a:pt x="395416" y="145207"/>
                    <a:pt x="395416" y="142488"/>
                    <a:pt x="395416" y="137048"/>
                  </a:cubicBezTo>
                  <a:cubicBezTo>
                    <a:pt x="389977" y="137048"/>
                    <a:pt x="384537" y="137048"/>
                    <a:pt x="379098" y="137048"/>
                  </a:cubicBezTo>
                  <a:cubicBezTo>
                    <a:pt x="370939" y="137048"/>
                    <a:pt x="360061" y="134329"/>
                    <a:pt x="351902" y="131609"/>
                  </a:cubicBezTo>
                  <a:cubicBezTo>
                    <a:pt x="343742" y="128889"/>
                    <a:pt x="338304" y="120730"/>
                    <a:pt x="338304" y="115291"/>
                  </a:cubicBezTo>
                  <a:cubicBezTo>
                    <a:pt x="338304" y="112571"/>
                    <a:pt x="338304" y="109852"/>
                    <a:pt x="343742" y="107132"/>
                  </a:cubicBezTo>
                  <a:cubicBezTo>
                    <a:pt x="349182" y="104412"/>
                    <a:pt x="357341" y="101693"/>
                    <a:pt x="362780" y="98973"/>
                  </a:cubicBezTo>
                  <a:cubicBezTo>
                    <a:pt x="373659" y="96253"/>
                    <a:pt x="387257" y="96253"/>
                    <a:pt x="395416" y="96253"/>
                  </a:cubicBezTo>
                  <a:cubicBezTo>
                    <a:pt x="398136" y="93534"/>
                    <a:pt x="400855" y="90814"/>
                    <a:pt x="403575" y="90814"/>
                  </a:cubicBezTo>
                  <a:cubicBezTo>
                    <a:pt x="411734" y="90814"/>
                    <a:pt x="419893" y="88095"/>
                    <a:pt x="422612" y="88095"/>
                  </a:cubicBezTo>
                  <a:cubicBezTo>
                    <a:pt x="425332" y="88095"/>
                    <a:pt x="425332" y="88095"/>
                    <a:pt x="428052" y="88095"/>
                  </a:cubicBezTo>
                  <a:cubicBezTo>
                    <a:pt x="433492" y="88095"/>
                    <a:pt x="441650" y="88095"/>
                    <a:pt x="447090" y="90814"/>
                  </a:cubicBezTo>
                  <a:cubicBezTo>
                    <a:pt x="449809" y="90814"/>
                    <a:pt x="452529" y="93534"/>
                    <a:pt x="455249" y="96253"/>
                  </a:cubicBezTo>
                  <a:cubicBezTo>
                    <a:pt x="482445" y="96253"/>
                    <a:pt x="509642" y="93534"/>
                    <a:pt x="525960" y="93534"/>
                  </a:cubicBezTo>
                  <a:cubicBezTo>
                    <a:pt x="539558" y="93534"/>
                    <a:pt x="561315" y="93534"/>
                    <a:pt x="561315" y="109852"/>
                  </a:cubicBezTo>
                  <a:cubicBezTo>
                    <a:pt x="561315" y="118011"/>
                    <a:pt x="561315" y="120730"/>
                    <a:pt x="555876" y="126170"/>
                  </a:cubicBezTo>
                  <a:cubicBezTo>
                    <a:pt x="550437" y="131609"/>
                    <a:pt x="544997" y="134329"/>
                    <a:pt x="539558" y="134329"/>
                  </a:cubicBezTo>
                  <a:cubicBezTo>
                    <a:pt x="531399" y="137048"/>
                    <a:pt x="523240" y="137048"/>
                    <a:pt x="517800" y="137048"/>
                  </a:cubicBezTo>
                  <a:cubicBezTo>
                    <a:pt x="515081" y="137048"/>
                    <a:pt x="498763" y="137048"/>
                    <a:pt x="477006" y="137048"/>
                  </a:cubicBezTo>
                  <a:cubicBezTo>
                    <a:pt x="479725" y="145207"/>
                    <a:pt x="485165" y="153366"/>
                    <a:pt x="485165" y="161525"/>
                  </a:cubicBezTo>
                  <a:cubicBezTo>
                    <a:pt x="487885" y="177843"/>
                    <a:pt x="493324" y="194161"/>
                    <a:pt x="496043" y="210479"/>
                  </a:cubicBezTo>
                  <a:cubicBezTo>
                    <a:pt x="498763" y="224077"/>
                    <a:pt x="498763" y="237676"/>
                    <a:pt x="501483" y="251274"/>
                  </a:cubicBezTo>
                  <a:cubicBezTo>
                    <a:pt x="504202" y="264872"/>
                    <a:pt x="506922" y="275751"/>
                    <a:pt x="506922" y="292069"/>
                  </a:cubicBezTo>
                  <a:cubicBezTo>
                    <a:pt x="506922" y="302947"/>
                    <a:pt x="506922" y="311106"/>
                    <a:pt x="506922" y="321985"/>
                  </a:cubicBezTo>
                  <a:cubicBezTo>
                    <a:pt x="506922" y="327424"/>
                    <a:pt x="509642" y="335583"/>
                    <a:pt x="509642" y="341022"/>
                  </a:cubicBezTo>
                  <a:cubicBezTo>
                    <a:pt x="509642" y="343742"/>
                    <a:pt x="509642" y="343742"/>
                    <a:pt x="509642" y="343742"/>
                  </a:cubicBezTo>
                  <a:cubicBezTo>
                    <a:pt x="509642" y="349181"/>
                    <a:pt x="515081" y="349181"/>
                    <a:pt x="517800" y="349181"/>
                  </a:cubicBezTo>
                  <a:cubicBezTo>
                    <a:pt x="520520" y="349181"/>
                    <a:pt x="523240" y="349181"/>
                    <a:pt x="528680" y="349181"/>
                  </a:cubicBezTo>
                  <a:cubicBezTo>
                    <a:pt x="536838" y="349181"/>
                    <a:pt x="547717" y="349181"/>
                    <a:pt x="550437" y="357340"/>
                  </a:cubicBezTo>
                  <a:cubicBezTo>
                    <a:pt x="550437" y="360060"/>
                    <a:pt x="550437" y="360060"/>
                    <a:pt x="550437" y="362780"/>
                  </a:cubicBezTo>
                  <a:cubicBezTo>
                    <a:pt x="550437" y="370939"/>
                    <a:pt x="539558" y="381817"/>
                    <a:pt x="534119" y="384537"/>
                  </a:cubicBezTo>
                  <a:cubicBezTo>
                    <a:pt x="531399" y="387257"/>
                    <a:pt x="523240" y="387257"/>
                    <a:pt x="520520" y="389976"/>
                  </a:cubicBezTo>
                  <a:cubicBezTo>
                    <a:pt x="515081" y="389976"/>
                    <a:pt x="512362" y="392696"/>
                    <a:pt x="512362" y="395415"/>
                  </a:cubicBezTo>
                  <a:cubicBezTo>
                    <a:pt x="512362" y="395415"/>
                    <a:pt x="512362" y="398135"/>
                    <a:pt x="512362" y="398135"/>
                  </a:cubicBezTo>
                  <a:cubicBezTo>
                    <a:pt x="512362" y="400855"/>
                    <a:pt x="512362" y="406294"/>
                    <a:pt x="512362" y="409014"/>
                  </a:cubicBezTo>
                  <a:cubicBezTo>
                    <a:pt x="512362" y="411733"/>
                    <a:pt x="512362" y="411733"/>
                    <a:pt x="512362" y="414453"/>
                  </a:cubicBezTo>
                  <a:cubicBezTo>
                    <a:pt x="512362" y="422612"/>
                    <a:pt x="512362" y="430771"/>
                    <a:pt x="512362" y="438930"/>
                  </a:cubicBezTo>
                  <a:cubicBezTo>
                    <a:pt x="512362" y="460687"/>
                    <a:pt x="512362" y="482445"/>
                    <a:pt x="515081" y="504202"/>
                  </a:cubicBezTo>
                  <a:cubicBezTo>
                    <a:pt x="517800" y="525959"/>
                    <a:pt x="520520" y="550436"/>
                    <a:pt x="520520" y="572193"/>
                  </a:cubicBezTo>
                  <a:cubicBezTo>
                    <a:pt x="520520" y="583072"/>
                    <a:pt x="520520" y="593950"/>
                    <a:pt x="517800" y="604829"/>
                  </a:cubicBezTo>
                  <a:cubicBezTo>
                    <a:pt x="515081" y="623867"/>
                    <a:pt x="515081" y="642904"/>
                    <a:pt x="512362" y="661942"/>
                  </a:cubicBezTo>
                  <a:cubicBezTo>
                    <a:pt x="512362" y="664661"/>
                    <a:pt x="509642" y="667381"/>
                    <a:pt x="509642" y="670101"/>
                  </a:cubicBezTo>
                  <a:cubicBezTo>
                    <a:pt x="509642" y="672820"/>
                    <a:pt x="512362" y="678260"/>
                    <a:pt x="512362" y="680979"/>
                  </a:cubicBezTo>
                  <a:cubicBezTo>
                    <a:pt x="512362" y="683699"/>
                    <a:pt x="512362" y="686419"/>
                    <a:pt x="512362" y="686419"/>
                  </a:cubicBezTo>
                  <a:cubicBezTo>
                    <a:pt x="517800" y="680979"/>
                    <a:pt x="528680" y="680979"/>
                    <a:pt x="536838" y="680979"/>
                  </a:cubicBezTo>
                  <a:lnTo>
                    <a:pt x="536838" y="680979"/>
                  </a:ln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/>
            </a:p>
          </p:txBody>
        </p:sp>
        <p:sp>
          <p:nvSpPr>
            <p:cNvPr id="53" name="Freeform: Shape 52">
              <a:extLst>
                <a:ext uri="{FF2B5EF4-FFF2-40B4-BE49-F238E27FC236}">
                  <a16:creationId xmlns:a16="http://schemas.microsoft.com/office/drawing/2014/main" id="{A4566A92-B6AE-4D30-A8A5-6CAEA783F9AC}"/>
                </a:ext>
              </a:extLst>
            </p:cNvPr>
            <p:cNvSpPr/>
            <p:nvPr/>
          </p:nvSpPr>
          <p:spPr>
            <a:xfrm>
              <a:off x="9592416" y="4192158"/>
              <a:ext cx="516735" cy="761503"/>
            </a:xfrm>
            <a:custGeom>
              <a:avLst/>
              <a:gdLst>
                <a:gd name="connsiteX0" fmla="*/ 463407 w 516735"/>
                <a:gd name="connsiteY0" fmla="*/ 194161 h 761503"/>
                <a:gd name="connsiteX1" fmla="*/ 447089 w 516735"/>
                <a:gd name="connsiteY1" fmla="*/ 226797 h 761503"/>
                <a:gd name="connsiteX2" fmla="*/ 430771 w 516735"/>
                <a:gd name="connsiteY2" fmla="*/ 221357 h 761503"/>
                <a:gd name="connsiteX3" fmla="*/ 422612 w 516735"/>
                <a:gd name="connsiteY3" fmla="*/ 207759 h 761503"/>
                <a:gd name="connsiteX4" fmla="*/ 419893 w 516735"/>
                <a:gd name="connsiteY4" fmla="*/ 188722 h 761503"/>
                <a:gd name="connsiteX5" fmla="*/ 419893 w 516735"/>
                <a:gd name="connsiteY5" fmla="*/ 139768 h 761503"/>
                <a:gd name="connsiteX6" fmla="*/ 419893 w 516735"/>
                <a:gd name="connsiteY6" fmla="*/ 120730 h 761503"/>
                <a:gd name="connsiteX7" fmla="*/ 395416 w 516735"/>
                <a:gd name="connsiteY7" fmla="*/ 120730 h 761503"/>
                <a:gd name="connsiteX8" fmla="*/ 370939 w 516735"/>
                <a:gd name="connsiteY8" fmla="*/ 120730 h 761503"/>
                <a:gd name="connsiteX9" fmla="*/ 346461 w 516735"/>
                <a:gd name="connsiteY9" fmla="*/ 123450 h 761503"/>
                <a:gd name="connsiteX10" fmla="*/ 335583 w 516735"/>
                <a:gd name="connsiteY10" fmla="*/ 123450 h 761503"/>
                <a:gd name="connsiteX11" fmla="*/ 335583 w 516735"/>
                <a:gd name="connsiteY11" fmla="*/ 123450 h 761503"/>
                <a:gd name="connsiteX12" fmla="*/ 324704 w 516735"/>
                <a:gd name="connsiteY12" fmla="*/ 128889 h 761503"/>
                <a:gd name="connsiteX13" fmla="*/ 327424 w 516735"/>
                <a:gd name="connsiteY13" fmla="*/ 139768 h 761503"/>
                <a:gd name="connsiteX14" fmla="*/ 330144 w 516735"/>
                <a:gd name="connsiteY14" fmla="*/ 175123 h 761503"/>
                <a:gd name="connsiteX15" fmla="*/ 330144 w 516735"/>
                <a:gd name="connsiteY15" fmla="*/ 199600 h 761503"/>
                <a:gd name="connsiteX16" fmla="*/ 327424 w 516735"/>
                <a:gd name="connsiteY16" fmla="*/ 224077 h 761503"/>
                <a:gd name="connsiteX17" fmla="*/ 330144 w 516735"/>
                <a:gd name="connsiteY17" fmla="*/ 251274 h 761503"/>
                <a:gd name="connsiteX18" fmla="*/ 327424 w 516735"/>
                <a:gd name="connsiteY18" fmla="*/ 278470 h 761503"/>
                <a:gd name="connsiteX19" fmla="*/ 327424 w 516735"/>
                <a:gd name="connsiteY19" fmla="*/ 332864 h 761503"/>
                <a:gd name="connsiteX20" fmla="*/ 330144 w 516735"/>
                <a:gd name="connsiteY20" fmla="*/ 357340 h 761503"/>
                <a:gd name="connsiteX21" fmla="*/ 330144 w 516735"/>
                <a:gd name="connsiteY21" fmla="*/ 368219 h 761503"/>
                <a:gd name="connsiteX22" fmla="*/ 332863 w 516735"/>
                <a:gd name="connsiteY22" fmla="*/ 387257 h 761503"/>
                <a:gd name="connsiteX23" fmla="*/ 332863 w 516735"/>
                <a:gd name="connsiteY23" fmla="*/ 433491 h 761503"/>
                <a:gd name="connsiteX24" fmla="*/ 332863 w 516735"/>
                <a:gd name="connsiteY24" fmla="*/ 487884 h 761503"/>
                <a:gd name="connsiteX25" fmla="*/ 330144 w 516735"/>
                <a:gd name="connsiteY25" fmla="*/ 512361 h 761503"/>
                <a:gd name="connsiteX26" fmla="*/ 330144 w 516735"/>
                <a:gd name="connsiteY26" fmla="*/ 539557 h 761503"/>
                <a:gd name="connsiteX27" fmla="*/ 332863 w 516735"/>
                <a:gd name="connsiteY27" fmla="*/ 593950 h 761503"/>
                <a:gd name="connsiteX28" fmla="*/ 332863 w 516735"/>
                <a:gd name="connsiteY28" fmla="*/ 648343 h 761503"/>
                <a:gd name="connsiteX29" fmla="*/ 332863 w 516735"/>
                <a:gd name="connsiteY29" fmla="*/ 656502 h 761503"/>
                <a:gd name="connsiteX30" fmla="*/ 357341 w 516735"/>
                <a:gd name="connsiteY30" fmla="*/ 656502 h 761503"/>
                <a:gd name="connsiteX31" fmla="*/ 395416 w 516735"/>
                <a:gd name="connsiteY31" fmla="*/ 675540 h 761503"/>
                <a:gd name="connsiteX32" fmla="*/ 389976 w 516735"/>
                <a:gd name="connsiteY32" fmla="*/ 691858 h 761503"/>
                <a:gd name="connsiteX33" fmla="*/ 373658 w 516735"/>
                <a:gd name="connsiteY33" fmla="*/ 700017 h 761503"/>
                <a:gd name="connsiteX34" fmla="*/ 351901 w 516735"/>
                <a:gd name="connsiteY34" fmla="*/ 702737 h 761503"/>
                <a:gd name="connsiteX35" fmla="*/ 319265 w 516735"/>
                <a:gd name="connsiteY35" fmla="*/ 702737 h 761503"/>
                <a:gd name="connsiteX36" fmla="*/ 311106 w 516735"/>
                <a:gd name="connsiteY36" fmla="*/ 708176 h 761503"/>
                <a:gd name="connsiteX37" fmla="*/ 289349 w 516735"/>
                <a:gd name="connsiteY37" fmla="*/ 713615 h 761503"/>
                <a:gd name="connsiteX38" fmla="*/ 270311 w 516735"/>
                <a:gd name="connsiteY38" fmla="*/ 713615 h 761503"/>
                <a:gd name="connsiteX39" fmla="*/ 243115 w 516735"/>
                <a:gd name="connsiteY39" fmla="*/ 705456 h 761503"/>
                <a:gd name="connsiteX40" fmla="*/ 237675 w 516735"/>
                <a:gd name="connsiteY40" fmla="*/ 702737 h 761503"/>
                <a:gd name="connsiteX41" fmla="*/ 199600 w 516735"/>
                <a:gd name="connsiteY41" fmla="*/ 702737 h 761503"/>
                <a:gd name="connsiteX42" fmla="*/ 175123 w 516735"/>
                <a:gd name="connsiteY42" fmla="*/ 702737 h 761503"/>
                <a:gd name="connsiteX43" fmla="*/ 147927 w 516735"/>
                <a:gd name="connsiteY43" fmla="*/ 697297 h 761503"/>
                <a:gd name="connsiteX44" fmla="*/ 131609 w 516735"/>
                <a:gd name="connsiteY44" fmla="*/ 678260 h 761503"/>
                <a:gd name="connsiteX45" fmla="*/ 137048 w 516735"/>
                <a:gd name="connsiteY45" fmla="*/ 670101 h 761503"/>
                <a:gd name="connsiteX46" fmla="*/ 158805 w 516735"/>
                <a:gd name="connsiteY46" fmla="*/ 661942 h 761503"/>
                <a:gd name="connsiteX47" fmla="*/ 199600 w 516735"/>
                <a:gd name="connsiteY47" fmla="*/ 659222 h 761503"/>
                <a:gd name="connsiteX48" fmla="*/ 199600 w 516735"/>
                <a:gd name="connsiteY48" fmla="*/ 659222 h 761503"/>
                <a:gd name="connsiteX49" fmla="*/ 196880 w 516735"/>
                <a:gd name="connsiteY49" fmla="*/ 629306 h 761503"/>
                <a:gd name="connsiteX50" fmla="*/ 199600 w 516735"/>
                <a:gd name="connsiteY50" fmla="*/ 574913 h 761503"/>
                <a:gd name="connsiteX51" fmla="*/ 202320 w 516735"/>
                <a:gd name="connsiteY51" fmla="*/ 523239 h 761503"/>
                <a:gd name="connsiteX52" fmla="*/ 205040 w 516735"/>
                <a:gd name="connsiteY52" fmla="*/ 460687 h 761503"/>
                <a:gd name="connsiteX53" fmla="*/ 205040 w 516735"/>
                <a:gd name="connsiteY53" fmla="*/ 417173 h 761503"/>
                <a:gd name="connsiteX54" fmla="*/ 207759 w 516735"/>
                <a:gd name="connsiteY54" fmla="*/ 392696 h 761503"/>
                <a:gd name="connsiteX55" fmla="*/ 210478 w 516735"/>
                <a:gd name="connsiteY55" fmla="*/ 368219 h 761503"/>
                <a:gd name="connsiteX56" fmla="*/ 210478 w 516735"/>
                <a:gd name="connsiteY56" fmla="*/ 313826 h 761503"/>
                <a:gd name="connsiteX57" fmla="*/ 210478 w 516735"/>
                <a:gd name="connsiteY57" fmla="*/ 259433 h 761503"/>
                <a:gd name="connsiteX58" fmla="*/ 210478 w 516735"/>
                <a:gd name="connsiteY58" fmla="*/ 213199 h 761503"/>
                <a:gd name="connsiteX59" fmla="*/ 210478 w 516735"/>
                <a:gd name="connsiteY59" fmla="*/ 145207 h 761503"/>
                <a:gd name="connsiteX60" fmla="*/ 213198 w 516735"/>
                <a:gd name="connsiteY60" fmla="*/ 131609 h 761503"/>
                <a:gd name="connsiteX61" fmla="*/ 205040 w 516735"/>
                <a:gd name="connsiteY61" fmla="*/ 123450 h 761503"/>
                <a:gd name="connsiteX62" fmla="*/ 161525 w 516735"/>
                <a:gd name="connsiteY62" fmla="*/ 123450 h 761503"/>
                <a:gd name="connsiteX63" fmla="*/ 112571 w 516735"/>
                <a:gd name="connsiteY63" fmla="*/ 120730 h 761503"/>
                <a:gd name="connsiteX64" fmla="*/ 104412 w 516735"/>
                <a:gd name="connsiteY64" fmla="*/ 118011 h 761503"/>
                <a:gd name="connsiteX65" fmla="*/ 107132 w 516735"/>
                <a:gd name="connsiteY65" fmla="*/ 191441 h 761503"/>
                <a:gd name="connsiteX66" fmla="*/ 90814 w 516735"/>
                <a:gd name="connsiteY66" fmla="*/ 224077 h 761503"/>
                <a:gd name="connsiteX67" fmla="*/ 74496 w 516735"/>
                <a:gd name="connsiteY67" fmla="*/ 218638 h 761503"/>
                <a:gd name="connsiteX68" fmla="*/ 66337 w 516735"/>
                <a:gd name="connsiteY68" fmla="*/ 205040 h 761503"/>
                <a:gd name="connsiteX69" fmla="*/ 63617 w 516735"/>
                <a:gd name="connsiteY69" fmla="*/ 186002 h 761503"/>
                <a:gd name="connsiteX70" fmla="*/ 63617 w 516735"/>
                <a:gd name="connsiteY70" fmla="*/ 145207 h 761503"/>
                <a:gd name="connsiteX71" fmla="*/ 63617 w 516735"/>
                <a:gd name="connsiteY71" fmla="*/ 109852 h 761503"/>
                <a:gd name="connsiteX72" fmla="*/ 58178 w 516735"/>
                <a:gd name="connsiteY72" fmla="*/ 96253 h 761503"/>
                <a:gd name="connsiteX73" fmla="*/ 66337 w 516735"/>
                <a:gd name="connsiteY73" fmla="*/ 85375 h 761503"/>
                <a:gd name="connsiteX74" fmla="*/ 93533 w 516735"/>
                <a:gd name="connsiteY74" fmla="*/ 77216 h 761503"/>
                <a:gd name="connsiteX75" fmla="*/ 115290 w 516735"/>
                <a:gd name="connsiteY75" fmla="*/ 77216 h 761503"/>
                <a:gd name="connsiteX76" fmla="*/ 169684 w 516735"/>
                <a:gd name="connsiteY76" fmla="*/ 74496 h 761503"/>
                <a:gd name="connsiteX77" fmla="*/ 194161 w 516735"/>
                <a:gd name="connsiteY77" fmla="*/ 71776 h 761503"/>
                <a:gd name="connsiteX78" fmla="*/ 196880 w 516735"/>
                <a:gd name="connsiteY78" fmla="*/ 71776 h 761503"/>
                <a:gd name="connsiteX79" fmla="*/ 210478 w 516735"/>
                <a:gd name="connsiteY79" fmla="*/ 71776 h 761503"/>
                <a:gd name="connsiteX80" fmla="*/ 218638 w 516735"/>
                <a:gd name="connsiteY80" fmla="*/ 71776 h 761503"/>
                <a:gd name="connsiteX81" fmla="*/ 237675 w 516735"/>
                <a:gd name="connsiteY81" fmla="*/ 60898 h 761503"/>
                <a:gd name="connsiteX82" fmla="*/ 253993 w 516735"/>
                <a:gd name="connsiteY82" fmla="*/ 58178 h 761503"/>
                <a:gd name="connsiteX83" fmla="*/ 283910 w 516735"/>
                <a:gd name="connsiteY83" fmla="*/ 60898 h 761503"/>
                <a:gd name="connsiteX84" fmla="*/ 294788 w 516735"/>
                <a:gd name="connsiteY84" fmla="*/ 66337 h 761503"/>
                <a:gd name="connsiteX85" fmla="*/ 305667 w 516735"/>
                <a:gd name="connsiteY85" fmla="*/ 74496 h 761503"/>
                <a:gd name="connsiteX86" fmla="*/ 313826 w 516735"/>
                <a:gd name="connsiteY86" fmla="*/ 74496 h 761503"/>
                <a:gd name="connsiteX87" fmla="*/ 327424 w 516735"/>
                <a:gd name="connsiteY87" fmla="*/ 74496 h 761503"/>
                <a:gd name="connsiteX88" fmla="*/ 354621 w 516735"/>
                <a:gd name="connsiteY88" fmla="*/ 74496 h 761503"/>
                <a:gd name="connsiteX89" fmla="*/ 422612 w 516735"/>
                <a:gd name="connsiteY89" fmla="*/ 74496 h 761503"/>
                <a:gd name="connsiteX90" fmla="*/ 455248 w 516735"/>
                <a:gd name="connsiteY90" fmla="*/ 79936 h 761503"/>
                <a:gd name="connsiteX91" fmla="*/ 466127 w 516735"/>
                <a:gd name="connsiteY91" fmla="*/ 98973 h 761503"/>
                <a:gd name="connsiteX92" fmla="*/ 463407 w 516735"/>
                <a:gd name="connsiteY92" fmla="*/ 109852 h 761503"/>
                <a:gd name="connsiteX93" fmla="*/ 463407 w 516735"/>
                <a:gd name="connsiteY93" fmla="*/ 120730 h 761503"/>
                <a:gd name="connsiteX94" fmla="*/ 463407 w 516735"/>
                <a:gd name="connsiteY94" fmla="*/ 194161 h 761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</a:cxnLst>
              <a:rect l="l" t="t" r="r" b="b"/>
              <a:pathLst>
                <a:path w="516735" h="761503">
                  <a:moveTo>
                    <a:pt x="463407" y="194161"/>
                  </a:moveTo>
                  <a:cubicBezTo>
                    <a:pt x="463407" y="205040"/>
                    <a:pt x="463407" y="226797"/>
                    <a:pt x="447089" y="226797"/>
                  </a:cubicBezTo>
                  <a:cubicBezTo>
                    <a:pt x="438930" y="226797"/>
                    <a:pt x="436211" y="226797"/>
                    <a:pt x="430771" y="221357"/>
                  </a:cubicBezTo>
                  <a:cubicBezTo>
                    <a:pt x="425332" y="218638"/>
                    <a:pt x="422612" y="210479"/>
                    <a:pt x="422612" y="207759"/>
                  </a:cubicBezTo>
                  <a:cubicBezTo>
                    <a:pt x="419893" y="199600"/>
                    <a:pt x="419893" y="194161"/>
                    <a:pt x="419893" y="188722"/>
                  </a:cubicBezTo>
                  <a:cubicBezTo>
                    <a:pt x="419893" y="183282"/>
                    <a:pt x="419893" y="147927"/>
                    <a:pt x="419893" y="139768"/>
                  </a:cubicBezTo>
                  <a:cubicBezTo>
                    <a:pt x="419893" y="134329"/>
                    <a:pt x="419893" y="128889"/>
                    <a:pt x="419893" y="120730"/>
                  </a:cubicBezTo>
                  <a:cubicBezTo>
                    <a:pt x="411734" y="120730"/>
                    <a:pt x="403574" y="120730"/>
                    <a:pt x="395416" y="120730"/>
                  </a:cubicBezTo>
                  <a:cubicBezTo>
                    <a:pt x="387256" y="120730"/>
                    <a:pt x="379098" y="120730"/>
                    <a:pt x="370939" y="120730"/>
                  </a:cubicBezTo>
                  <a:cubicBezTo>
                    <a:pt x="362780" y="120730"/>
                    <a:pt x="354621" y="123450"/>
                    <a:pt x="346461" y="123450"/>
                  </a:cubicBezTo>
                  <a:cubicBezTo>
                    <a:pt x="343742" y="123450"/>
                    <a:pt x="341023" y="123450"/>
                    <a:pt x="335583" y="123450"/>
                  </a:cubicBezTo>
                  <a:cubicBezTo>
                    <a:pt x="335583" y="123450"/>
                    <a:pt x="335583" y="123450"/>
                    <a:pt x="335583" y="123450"/>
                  </a:cubicBezTo>
                  <a:cubicBezTo>
                    <a:pt x="327424" y="123450"/>
                    <a:pt x="324704" y="126170"/>
                    <a:pt x="324704" y="128889"/>
                  </a:cubicBezTo>
                  <a:cubicBezTo>
                    <a:pt x="324704" y="131609"/>
                    <a:pt x="324704" y="137048"/>
                    <a:pt x="327424" y="139768"/>
                  </a:cubicBezTo>
                  <a:cubicBezTo>
                    <a:pt x="330144" y="147927"/>
                    <a:pt x="330144" y="166964"/>
                    <a:pt x="330144" y="175123"/>
                  </a:cubicBezTo>
                  <a:cubicBezTo>
                    <a:pt x="330144" y="183282"/>
                    <a:pt x="330144" y="191441"/>
                    <a:pt x="330144" y="199600"/>
                  </a:cubicBezTo>
                  <a:cubicBezTo>
                    <a:pt x="330144" y="207759"/>
                    <a:pt x="327424" y="215918"/>
                    <a:pt x="327424" y="224077"/>
                  </a:cubicBezTo>
                  <a:cubicBezTo>
                    <a:pt x="327424" y="232236"/>
                    <a:pt x="330144" y="243115"/>
                    <a:pt x="330144" y="251274"/>
                  </a:cubicBezTo>
                  <a:cubicBezTo>
                    <a:pt x="330144" y="259433"/>
                    <a:pt x="330144" y="267592"/>
                    <a:pt x="327424" y="278470"/>
                  </a:cubicBezTo>
                  <a:cubicBezTo>
                    <a:pt x="327424" y="294788"/>
                    <a:pt x="327424" y="313826"/>
                    <a:pt x="327424" y="332864"/>
                  </a:cubicBezTo>
                  <a:cubicBezTo>
                    <a:pt x="327424" y="341022"/>
                    <a:pt x="327424" y="349181"/>
                    <a:pt x="330144" y="357340"/>
                  </a:cubicBezTo>
                  <a:cubicBezTo>
                    <a:pt x="330144" y="360060"/>
                    <a:pt x="330144" y="365499"/>
                    <a:pt x="330144" y="368219"/>
                  </a:cubicBezTo>
                  <a:cubicBezTo>
                    <a:pt x="330144" y="373658"/>
                    <a:pt x="332863" y="384537"/>
                    <a:pt x="332863" y="387257"/>
                  </a:cubicBezTo>
                  <a:cubicBezTo>
                    <a:pt x="332863" y="406294"/>
                    <a:pt x="332863" y="414453"/>
                    <a:pt x="332863" y="433491"/>
                  </a:cubicBezTo>
                  <a:cubicBezTo>
                    <a:pt x="332863" y="452528"/>
                    <a:pt x="335583" y="468846"/>
                    <a:pt x="332863" y="487884"/>
                  </a:cubicBezTo>
                  <a:cubicBezTo>
                    <a:pt x="332863" y="496043"/>
                    <a:pt x="330144" y="504202"/>
                    <a:pt x="330144" y="512361"/>
                  </a:cubicBezTo>
                  <a:cubicBezTo>
                    <a:pt x="330144" y="520520"/>
                    <a:pt x="330144" y="531398"/>
                    <a:pt x="330144" y="539557"/>
                  </a:cubicBezTo>
                  <a:cubicBezTo>
                    <a:pt x="330144" y="558595"/>
                    <a:pt x="330144" y="574913"/>
                    <a:pt x="332863" y="593950"/>
                  </a:cubicBezTo>
                  <a:cubicBezTo>
                    <a:pt x="332863" y="610268"/>
                    <a:pt x="332863" y="632026"/>
                    <a:pt x="332863" y="648343"/>
                  </a:cubicBezTo>
                  <a:cubicBezTo>
                    <a:pt x="332863" y="651063"/>
                    <a:pt x="332863" y="653783"/>
                    <a:pt x="332863" y="656502"/>
                  </a:cubicBezTo>
                  <a:cubicBezTo>
                    <a:pt x="343742" y="656502"/>
                    <a:pt x="351901" y="656502"/>
                    <a:pt x="357341" y="656502"/>
                  </a:cubicBezTo>
                  <a:cubicBezTo>
                    <a:pt x="370939" y="656502"/>
                    <a:pt x="395416" y="659222"/>
                    <a:pt x="395416" y="675540"/>
                  </a:cubicBezTo>
                  <a:cubicBezTo>
                    <a:pt x="395416" y="683699"/>
                    <a:pt x="392696" y="686419"/>
                    <a:pt x="389976" y="691858"/>
                  </a:cubicBezTo>
                  <a:cubicBezTo>
                    <a:pt x="384537" y="697297"/>
                    <a:pt x="379098" y="700017"/>
                    <a:pt x="373658" y="700017"/>
                  </a:cubicBezTo>
                  <a:cubicBezTo>
                    <a:pt x="365499" y="702737"/>
                    <a:pt x="357341" y="702737"/>
                    <a:pt x="351901" y="702737"/>
                  </a:cubicBezTo>
                  <a:cubicBezTo>
                    <a:pt x="349181" y="702737"/>
                    <a:pt x="335583" y="702737"/>
                    <a:pt x="319265" y="702737"/>
                  </a:cubicBezTo>
                  <a:cubicBezTo>
                    <a:pt x="316546" y="705456"/>
                    <a:pt x="313826" y="705456"/>
                    <a:pt x="311106" y="708176"/>
                  </a:cubicBezTo>
                  <a:cubicBezTo>
                    <a:pt x="302948" y="713615"/>
                    <a:pt x="297508" y="713615"/>
                    <a:pt x="289349" y="713615"/>
                  </a:cubicBezTo>
                  <a:cubicBezTo>
                    <a:pt x="283910" y="713615"/>
                    <a:pt x="278470" y="713615"/>
                    <a:pt x="270311" y="713615"/>
                  </a:cubicBezTo>
                  <a:cubicBezTo>
                    <a:pt x="259433" y="713615"/>
                    <a:pt x="251273" y="710895"/>
                    <a:pt x="243115" y="705456"/>
                  </a:cubicBezTo>
                  <a:cubicBezTo>
                    <a:pt x="240395" y="705456"/>
                    <a:pt x="237675" y="702737"/>
                    <a:pt x="237675" y="702737"/>
                  </a:cubicBezTo>
                  <a:cubicBezTo>
                    <a:pt x="224077" y="702737"/>
                    <a:pt x="213198" y="702737"/>
                    <a:pt x="199600" y="702737"/>
                  </a:cubicBezTo>
                  <a:cubicBezTo>
                    <a:pt x="191441" y="702737"/>
                    <a:pt x="183282" y="702737"/>
                    <a:pt x="175123" y="702737"/>
                  </a:cubicBezTo>
                  <a:cubicBezTo>
                    <a:pt x="166965" y="702737"/>
                    <a:pt x="156085" y="702737"/>
                    <a:pt x="147927" y="697297"/>
                  </a:cubicBezTo>
                  <a:cubicBezTo>
                    <a:pt x="139768" y="694578"/>
                    <a:pt x="131609" y="680979"/>
                    <a:pt x="131609" y="678260"/>
                  </a:cubicBezTo>
                  <a:cubicBezTo>
                    <a:pt x="131609" y="675540"/>
                    <a:pt x="131609" y="672820"/>
                    <a:pt x="137048" y="670101"/>
                  </a:cubicBezTo>
                  <a:cubicBezTo>
                    <a:pt x="142487" y="667381"/>
                    <a:pt x="153366" y="664661"/>
                    <a:pt x="158805" y="661942"/>
                  </a:cubicBezTo>
                  <a:cubicBezTo>
                    <a:pt x="175123" y="659222"/>
                    <a:pt x="191441" y="659222"/>
                    <a:pt x="199600" y="659222"/>
                  </a:cubicBezTo>
                  <a:lnTo>
                    <a:pt x="199600" y="659222"/>
                  </a:lnTo>
                  <a:cubicBezTo>
                    <a:pt x="199600" y="648343"/>
                    <a:pt x="196880" y="640184"/>
                    <a:pt x="196880" y="629306"/>
                  </a:cubicBezTo>
                  <a:cubicBezTo>
                    <a:pt x="196880" y="612988"/>
                    <a:pt x="196880" y="591231"/>
                    <a:pt x="199600" y="574913"/>
                  </a:cubicBezTo>
                  <a:cubicBezTo>
                    <a:pt x="199600" y="558595"/>
                    <a:pt x="199600" y="539557"/>
                    <a:pt x="202320" y="523239"/>
                  </a:cubicBezTo>
                  <a:cubicBezTo>
                    <a:pt x="202320" y="501482"/>
                    <a:pt x="205040" y="482445"/>
                    <a:pt x="205040" y="460687"/>
                  </a:cubicBezTo>
                  <a:cubicBezTo>
                    <a:pt x="205040" y="447089"/>
                    <a:pt x="205040" y="430771"/>
                    <a:pt x="205040" y="417173"/>
                  </a:cubicBezTo>
                  <a:cubicBezTo>
                    <a:pt x="205040" y="409014"/>
                    <a:pt x="207759" y="400855"/>
                    <a:pt x="207759" y="392696"/>
                  </a:cubicBezTo>
                  <a:cubicBezTo>
                    <a:pt x="207759" y="384537"/>
                    <a:pt x="210478" y="376378"/>
                    <a:pt x="210478" y="368219"/>
                  </a:cubicBezTo>
                  <a:cubicBezTo>
                    <a:pt x="210478" y="351901"/>
                    <a:pt x="210478" y="332864"/>
                    <a:pt x="210478" y="313826"/>
                  </a:cubicBezTo>
                  <a:cubicBezTo>
                    <a:pt x="210478" y="294788"/>
                    <a:pt x="210478" y="275751"/>
                    <a:pt x="210478" y="259433"/>
                  </a:cubicBezTo>
                  <a:cubicBezTo>
                    <a:pt x="210478" y="243115"/>
                    <a:pt x="210478" y="226797"/>
                    <a:pt x="210478" y="213199"/>
                  </a:cubicBezTo>
                  <a:cubicBezTo>
                    <a:pt x="210478" y="194161"/>
                    <a:pt x="210478" y="164245"/>
                    <a:pt x="210478" y="145207"/>
                  </a:cubicBezTo>
                  <a:cubicBezTo>
                    <a:pt x="210478" y="139768"/>
                    <a:pt x="213198" y="134329"/>
                    <a:pt x="213198" y="131609"/>
                  </a:cubicBezTo>
                  <a:cubicBezTo>
                    <a:pt x="213198" y="126170"/>
                    <a:pt x="207759" y="123450"/>
                    <a:pt x="205040" y="123450"/>
                  </a:cubicBezTo>
                  <a:cubicBezTo>
                    <a:pt x="199600" y="123450"/>
                    <a:pt x="166965" y="123450"/>
                    <a:pt x="161525" y="123450"/>
                  </a:cubicBezTo>
                  <a:cubicBezTo>
                    <a:pt x="145207" y="123450"/>
                    <a:pt x="128889" y="123450"/>
                    <a:pt x="112571" y="120730"/>
                  </a:cubicBezTo>
                  <a:cubicBezTo>
                    <a:pt x="109852" y="120730"/>
                    <a:pt x="107132" y="120730"/>
                    <a:pt x="104412" y="118011"/>
                  </a:cubicBezTo>
                  <a:cubicBezTo>
                    <a:pt x="107132" y="137048"/>
                    <a:pt x="107132" y="172404"/>
                    <a:pt x="107132" y="191441"/>
                  </a:cubicBezTo>
                  <a:cubicBezTo>
                    <a:pt x="107132" y="202320"/>
                    <a:pt x="107132" y="224077"/>
                    <a:pt x="90814" y="224077"/>
                  </a:cubicBezTo>
                  <a:cubicBezTo>
                    <a:pt x="82655" y="224077"/>
                    <a:pt x="79935" y="221357"/>
                    <a:pt x="74496" y="218638"/>
                  </a:cubicBezTo>
                  <a:cubicBezTo>
                    <a:pt x="69057" y="215918"/>
                    <a:pt x="66337" y="210479"/>
                    <a:pt x="66337" y="205040"/>
                  </a:cubicBezTo>
                  <a:cubicBezTo>
                    <a:pt x="63617" y="196881"/>
                    <a:pt x="63617" y="191441"/>
                    <a:pt x="63617" y="186002"/>
                  </a:cubicBezTo>
                  <a:cubicBezTo>
                    <a:pt x="63617" y="180563"/>
                    <a:pt x="63617" y="153366"/>
                    <a:pt x="63617" y="145207"/>
                  </a:cubicBezTo>
                  <a:cubicBezTo>
                    <a:pt x="63617" y="134329"/>
                    <a:pt x="63617" y="120730"/>
                    <a:pt x="63617" y="109852"/>
                  </a:cubicBezTo>
                  <a:cubicBezTo>
                    <a:pt x="60897" y="104412"/>
                    <a:pt x="58178" y="101693"/>
                    <a:pt x="58178" y="96253"/>
                  </a:cubicBezTo>
                  <a:cubicBezTo>
                    <a:pt x="58178" y="93534"/>
                    <a:pt x="60897" y="88095"/>
                    <a:pt x="66337" y="85375"/>
                  </a:cubicBezTo>
                  <a:cubicBezTo>
                    <a:pt x="74496" y="79936"/>
                    <a:pt x="77215" y="77216"/>
                    <a:pt x="93533" y="77216"/>
                  </a:cubicBezTo>
                  <a:cubicBezTo>
                    <a:pt x="101692" y="77216"/>
                    <a:pt x="109852" y="77216"/>
                    <a:pt x="115290" y="77216"/>
                  </a:cubicBezTo>
                  <a:cubicBezTo>
                    <a:pt x="134328" y="77216"/>
                    <a:pt x="150646" y="77216"/>
                    <a:pt x="169684" y="74496"/>
                  </a:cubicBezTo>
                  <a:cubicBezTo>
                    <a:pt x="177843" y="74496"/>
                    <a:pt x="186002" y="71776"/>
                    <a:pt x="194161" y="71776"/>
                  </a:cubicBezTo>
                  <a:cubicBezTo>
                    <a:pt x="194161" y="71776"/>
                    <a:pt x="196880" y="71776"/>
                    <a:pt x="196880" y="71776"/>
                  </a:cubicBezTo>
                  <a:cubicBezTo>
                    <a:pt x="199600" y="71776"/>
                    <a:pt x="205040" y="71776"/>
                    <a:pt x="210478" y="71776"/>
                  </a:cubicBezTo>
                  <a:cubicBezTo>
                    <a:pt x="213198" y="71776"/>
                    <a:pt x="215918" y="71776"/>
                    <a:pt x="218638" y="71776"/>
                  </a:cubicBezTo>
                  <a:cubicBezTo>
                    <a:pt x="224077" y="69057"/>
                    <a:pt x="229516" y="63618"/>
                    <a:pt x="237675" y="60898"/>
                  </a:cubicBezTo>
                  <a:cubicBezTo>
                    <a:pt x="243115" y="58178"/>
                    <a:pt x="248554" y="58178"/>
                    <a:pt x="253993" y="58178"/>
                  </a:cubicBezTo>
                  <a:cubicBezTo>
                    <a:pt x="264872" y="58178"/>
                    <a:pt x="273031" y="58178"/>
                    <a:pt x="283910" y="60898"/>
                  </a:cubicBezTo>
                  <a:cubicBezTo>
                    <a:pt x="286629" y="60898"/>
                    <a:pt x="292068" y="63618"/>
                    <a:pt x="294788" y="66337"/>
                  </a:cubicBezTo>
                  <a:cubicBezTo>
                    <a:pt x="297508" y="69057"/>
                    <a:pt x="302948" y="71776"/>
                    <a:pt x="305667" y="74496"/>
                  </a:cubicBezTo>
                  <a:cubicBezTo>
                    <a:pt x="308386" y="74496"/>
                    <a:pt x="311106" y="74496"/>
                    <a:pt x="313826" y="74496"/>
                  </a:cubicBezTo>
                  <a:cubicBezTo>
                    <a:pt x="319265" y="74496"/>
                    <a:pt x="321985" y="74496"/>
                    <a:pt x="327424" y="74496"/>
                  </a:cubicBezTo>
                  <a:cubicBezTo>
                    <a:pt x="335583" y="74496"/>
                    <a:pt x="346461" y="74496"/>
                    <a:pt x="354621" y="74496"/>
                  </a:cubicBezTo>
                  <a:cubicBezTo>
                    <a:pt x="376378" y="74496"/>
                    <a:pt x="400855" y="74496"/>
                    <a:pt x="422612" y="74496"/>
                  </a:cubicBezTo>
                  <a:cubicBezTo>
                    <a:pt x="433491" y="74496"/>
                    <a:pt x="447089" y="74496"/>
                    <a:pt x="455248" y="79936"/>
                  </a:cubicBezTo>
                  <a:cubicBezTo>
                    <a:pt x="460687" y="82655"/>
                    <a:pt x="466127" y="90814"/>
                    <a:pt x="466127" y="98973"/>
                  </a:cubicBezTo>
                  <a:cubicBezTo>
                    <a:pt x="466127" y="101693"/>
                    <a:pt x="466127" y="107132"/>
                    <a:pt x="463407" y="109852"/>
                  </a:cubicBezTo>
                  <a:cubicBezTo>
                    <a:pt x="463407" y="112571"/>
                    <a:pt x="463407" y="112571"/>
                    <a:pt x="463407" y="120730"/>
                  </a:cubicBezTo>
                  <a:cubicBezTo>
                    <a:pt x="463407" y="142488"/>
                    <a:pt x="463407" y="172404"/>
                    <a:pt x="463407" y="194161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/>
            </a:p>
          </p:txBody>
        </p:sp>
      </p:grp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41BC387F-0885-43F6-85BD-C73BA9398781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381000" y="1384628"/>
            <a:ext cx="11430000" cy="463517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776520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E6CF7A3-C01B-4858-95E5-B008688EC04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8C0B5B2-035E-4875-9E0B-65D7693B97EB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381001" y="914400"/>
            <a:ext cx="5610221" cy="51054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t>Click to add text or choose an icon below to insert other content</a:t>
            </a:r>
          </a:p>
          <a:p>
            <a:pPr lvl="1"/>
            <a:r>
              <a:t>Second level</a:t>
            </a:r>
          </a:p>
          <a:p>
            <a:pPr lvl="2"/>
            <a:r>
              <a:t>Third level</a:t>
            </a:r>
          </a:p>
          <a:p>
            <a:pPr lvl="3"/>
            <a:r>
              <a:t>Fourth level</a:t>
            </a:r>
          </a:p>
          <a:p>
            <a:pPr lvl="4"/>
            <a:r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51C9F57-0475-48B8-B2C4-3C1B844EB79F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6200774" y="914401"/>
            <a:ext cx="5610221" cy="51054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t>Click to add text or choose an icon below to insert other content</a:t>
            </a:r>
          </a:p>
          <a:p>
            <a:pPr lvl="1"/>
            <a:r>
              <a:t>Second level</a:t>
            </a:r>
          </a:p>
          <a:p>
            <a:pPr lvl="2"/>
            <a:r>
              <a:t>Third level</a:t>
            </a:r>
          </a:p>
          <a:p>
            <a:pPr lvl="3"/>
            <a:r>
              <a:t>Fourth level</a:t>
            </a:r>
          </a:p>
          <a:p>
            <a:pPr lvl="4"/>
            <a:r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38D6859-D53D-4387-B548-092AE96646A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055389" y="6307159"/>
            <a:ext cx="914400" cy="158954"/>
          </a:xfrm>
          <a:prstGeom prst="rect">
            <a:avLst/>
          </a:prstGeom>
        </p:spPr>
        <p:txBody>
          <a:bodyPr/>
          <a:lstStyle/>
          <a:p>
            <a:fld id="{B73FEB38-5A4E-45E5-A640-26D00BC1F3AB}" type="datetimeFigureOut">
              <a:rPr lang="en-US"/>
              <a:t>3/17/2025</a:t>
            </a:fld>
            <a:endParaRPr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9800914-2B16-461D-99E1-47F26402478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32534" y="6307159"/>
            <a:ext cx="7104770" cy="158954"/>
          </a:xfrm>
          <a:prstGeom prst="rect">
            <a:avLst/>
          </a:prstGeom>
        </p:spPr>
        <p:txBody>
          <a:bodyPr/>
          <a:lstStyle/>
          <a:p>
            <a:endParaRPr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A110C2F-EFB2-4168-86BE-C3ABA04BA60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F95A1E-4E3E-4AAD-A517-7DAD9580D6B2}" type="slidenum">
              <a:rPr/>
              <a:t>‹N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4775768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1081126-3DF6-4AE2-A8AE-6034E9AA396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DE021F4-C37C-4B7E-96F0-1DCC6296730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055389" y="6307159"/>
            <a:ext cx="914400" cy="158954"/>
          </a:xfrm>
          <a:prstGeom prst="rect">
            <a:avLst/>
          </a:prstGeom>
        </p:spPr>
        <p:txBody>
          <a:bodyPr/>
          <a:lstStyle/>
          <a:p>
            <a:fld id="{2EB1475D-EF5B-48A6-8CCB-3BD08F726926}" type="datetimeFigureOut">
              <a:rPr lang="en-US"/>
              <a:pPr/>
              <a:t>3/17/2025</a:t>
            </a:fld>
            <a:endParaRPr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343FD06-8A80-436E-AAD0-0B4CC79FEF8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32534" y="6307159"/>
            <a:ext cx="7104770" cy="158954"/>
          </a:xfrm>
          <a:prstGeom prst="rect">
            <a:avLst/>
          </a:prstGeom>
        </p:spPr>
        <p:txBody>
          <a:bodyPr/>
          <a:lstStyle/>
          <a:p>
            <a:endParaRPr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B54BFCC-9FE5-4526-91E6-920CEB6231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5A54F4-DB31-4FC5-B748-3F06867349C3}" type="slidenum">
              <a:rPr/>
              <a:pPr/>
              <a:t>‹N›</a:t>
            </a:fld>
            <a:endParaRPr dirty="0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45AA6A50-CF51-470A-8339-2A98B2291152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381000" y="914400"/>
            <a:ext cx="3733800" cy="51054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t>Click to add text or choose an icon below to insert other content</a:t>
            </a:r>
          </a:p>
          <a:p>
            <a:pPr lvl="1"/>
            <a:r>
              <a:t>Second level</a:t>
            </a:r>
          </a:p>
          <a:p>
            <a:pPr lvl="2"/>
            <a:r>
              <a:t>Third level</a:t>
            </a:r>
          </a:p>
          <a:p>
            <a:pPr lvl="3"/>
            <a:r>
              <a:t>Fourth level</a:t>
            </a:r>
          </a:p>
          <a:p>
            <a:pPr lvl="4"/>
            <a:r>
              <a:t>Fifth level</a:t>
            </a:r>
          </a:p>
        </p:txBody>
      </p:sp>
      <p:sp>
        <p:nvSpPr>
          <p:cNvPr id="8" name="Content Placeholder 6">
            <a:extLst>
              <a:ext uri="{FF2B5EF4-FFF2-40B4-BE49-F238E27FC236}">
                <a16:creationId xmlns:a16="http://schemas.microsoft.com/office/drawing/2014/main" id="{EC50042C-8E0C-40C9-A488-3584EFC873E7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4229100" y="914400"/>
            <a:ext cx="3733800" cy="51054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t>Click to add text or choose an icon below to insert other content</a:t>
            </a:r>
          </a:p>
          <a:p>
            <a:pPr lvl="1"/>
            <a:r>
              <a:t>Second level</a:t>
            </a:r>
          </a:p>
          <a:p>
            <a:pPr lvl="2"/>
            <a:r>
              <a:t>Third level</a:t>
            </a:r>
          </a:p>
          <a:p>
            <a:pPr lvl="3"/>
            <a:r>
              <a:t>Fourth level</a:t>
            </a:r>
          </a:p>
          <a:p>
            <a:pPr lvl="4"/>
            <a:r>
              <a:t>Fifth level</a:t>
            </a:r>
          </a:p>
        </p:txBody>
      </p:sp>
      <p:sp>
        <p:nvSpPr>
          <p:cNvPr id="9" name="Content Placeholder 6">
            <a:extLst>
              <a:ext uri="{FF2B5EF4-FFF2-40B4-BE49-F238E27FC236}">
                <a16:creationId xmlns:a16="http://schemas.microsoft.com/office/drawing/2014/main" id="{E85AC529-F215-45F0-A438-817CEBA3DFFA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8077200" y="914400"/>
            <a:ext cx="3733800" cy="51054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t>Click to add text or choose an icon below to insert other content</a:t>
            </a:r>
          </a:p>
          <a:p>
            <a:pPr lvl="1"/>
            <a:r>
              <a:t>Second level</a:t>
            </a:r>
          </a:p>
          <a:p>
            <a:pPr lvl="2"/>
            <a:r>
              <a:t>Third level</a:t>
            </a:r>
          </a:p>
          <a:p>
            <a:pPr lvl="3"/>
            <a:r>
              <a:t>Fourth level</a:t>
            </a:r>
          </a:p>
          <a:p>
            <a:pPr lvl="4"/>
            <a:r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9097550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DD82B1C-9D1C-470A-8DAC-872C6F3CE1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CDE704-6759-4C07-BC57-03EACFFCB1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F95A1E-4E3E-4AAD-A517-7DAD9580D6B2}" type="slidenum">
              <a:rPr/>
              <a:t>‹N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6050832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C182308-D8FD-4D2D-A4A4-0AB7B426134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5C24ADA-2B35-4506-BCFE-28F2ED617C2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055389" y="6307159"/>
            <a:ext cx="914400" cy="158954"/>
          </a:xfrm>
          <a:prstGeom prst="rect">
            <a:avLst/>
          </a:prstGeom>
        </p:spPr>
        <p:txBody>
          <a:bodyPr/>
          <a:lstStyle/>
          <a:p>
            <a:fld id="{2EB1475D-EF5B-48A6-8CCB-3BD08F726926}" type="datetimeFigureOut">
              <a:rPr lang="en-US"/>
              <a:pPr/>
              <a:t>3/17/2025</a:t>
            </a:fld>
            <a:endParaRPr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2EABF83-04BE-4745-A7CD-9BF29745610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32534" y="6307159"/>
            <a:ext cx="7104770" cy="158954"/>
          </a:xfrm>
          <a:prstGeom prst="rect">
            <a:avLst/>
          </a:prstGeom>
        </p:spPr>
        <p:txBody>
          <a:bodyPr/>
          <a:lstStyle/>
          <a:p>
            <a:endParaRPr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1FB1B30-07A6-4897-BFAA-775293B4CC0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5A54F4-DB31-4FC5-B748-3F06867349C3}" type="slidenum">
              <a:rPr/>
              <a:pPr/>
              <a:t>‹N›</a:t>
            </a:fld>
            <a:endParaRPr dirty="0"/>
          </a:p>
        </p:txBody>
      </p:sp>
      <p:sp>
        <p:nvSpPr>
          <p:cNvPr id="6" name="Text Placeholder 53">
            <a:extLst>
              <a:ext uri="{FF2B5EF4-FFF2-40B4-BE49-F238E27FC236}">
                <a16:creationId xmlns:a16="http://schemas.microsoft.com/office/drawing/2014/main" id="{AC1DD188-8160-4400-A56B-985CF10D490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1000" y="731530"/>
            <a:ext cx="11429998" cy="365739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2000">
                <a:solidFill>
                  <a:srgbClr val="724D8D"/>
                </a:solidFill>
              </a:defRPr>
            </a:lvl1pPr>
            <a:lvl2pPr marL="0" indent="0">
              <a:spcBef>
                <a:spcPts val="0"/>
              </a:spcBef>
              <a:buNone/>
              <a:defRPr sz="2000">
                <a:solidFill>
                  <a:srgbClr val="724D8D"/>
                </a:solidFill>
              </a:defRPr>
            </a:lvl2pPr>
            <a:lvl3pPr marL="0" indent="0">
              <a:spcBef>
                <a:spcPts val="0"/>
              </a:spcBef>
              <a:buNone/>
              <a:defRPr sz="2000">
                <a:solidFill>
                  <a:srgbClr val="724D8D"/>
                </a:solidFill>
              </a:defRPr>
            </a:lvl3pPr>
            <a:lvl4pPr marL="0" indent="0">
              <a:spcBef>
                <a:spcPts val="0"/>
              </a:spcBef>
              <a:buNone/>
              <a:defRPr sz="2000">
                <a:solidFill>
                  <a:srgbClr val="724D8D"/>
                </a:solidFill>
              </a:defRPr>
            </a:lvl4pPr>
            <a:lvl5pPr marL="0" indent="0">
              <a:spcBef>
                <a:spcPts val="0"/>
              </a:spcBef>
              <a:buNone/>
              <a:defRPr sz="2000">
                <a:solidFill>
                  <a:srgbClr val="724D8D"/>
                </a:solidFill>
              </a:defRPr>
            </a:lvl5pPr>
            <a:lvl6pPr marL="0" indent="0">
              <a:spcBef>
                <a:spcPts val="0"/>
              </a:spcBef>
              <a:buNone/>
              <a:defRPr sz="2000">
                <a:solidFill>
                  <a:srgbClr val="724D8D"/>
                </a:solidFill>
              </a:defRPr>
            </a:lvl6pPr>
            <a:lvl7pPr marL="0" indent="0">
              <a:spcBef>
                <a:spcPts val="0"/>
              </a:spcBef>
              <a:buNone/>
              <a:defRPr sz="2000">
                <a:solidFill>
                  <a:srgbClr val="724D8D"/>
                </a:solidFill>
              </a:defRPr>
            </a:lvl7pPr>
            <a:lvl8pPr marL="0" indent="0">
              <a:spcBef>
                <a:spcPts val="0"/>
              </a:spcBef>
              <a:buNone/>
              <a:defRPr sz="2000">
                <a:solidFill>
                  <a:srgbClr val="724D8D"/>
                </a:solidFill>
              </a:defRPr>
            </a:lvl8pPr>
            <a:lvl9pPr marL="0" indent="0">
              <a:spcBef>
                <a:spcPts val="0"/>
              </a:spcBef>
              <a:buNone/>
              <a:defRPr sz="2000">
                <a:solidFill>
                  <a:srgbClr val="724D8D"/>
                </a:solidFill>
              </a:defRPr>
            </a:lvl9pPr>
          </a:lstStyle>
          <a:p>
            <a:pPr lvl="0"/>
            <a:r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34273604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Hexago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: Shape 7">
            <a:extLst>
              <a:ext uri="{FF2B5EF4-FFF2-40B4-BE49-F238E27FC236}">
                <a16:creationId xmlns:a16="http://schemas.microsoft.com/office/drawing/2014/main" id="{F4730513-B885-49F0-9C17-F45E71DFE844}"/>
              </a:ext>
            </a:extLst>
          </p:cNvPr>
          <p:cNvSpPr/>
          <p:nvPr/>
        </p:nvSpPr>
        <p:spPr bwMode="white">
          <a:xfrm>
            <a:off x="0" y="0"/>
            <a:ext cx="6003366" cy="6105046"/>
          </a:xfrm>
          <a:custGeom>
            <a:avLst/>
            <a:gdLst>
              <a:gd name="connsiteX0" fmla="*/ 0 w 6003366"/>
              <a:gd name="connsiteY0" fmla="*/ 0 h 6105046"/>
              <a:gd name="connsiteX1" fmla="*/ 4639238 w 6003366"/>
              <a:gd name="connsiteY1" fmla="*/ 0 h 6105046"/>
              <a:gd name="connsiteX2" fmla="*/ 4663657 w 6003366"/>
              <a:gd name="connsiteY2" fmla="*/ 38495 h 6105046"/>
              <a:gd name="connsiteX3" fmla="*/ 5718321 w 6003366"/>
              <a:gd name="connsiteY3" fmla="*/ 1734501 h 6105046"/>
              <a:gd name="connsiteX4" fmla="*/ 6003366 w 6003366"/>
              <a:gd name="connsiteY4" fmla="*/ 2432867 h 6105046"/>
              <a:gd name="connsiteX5" fmla="*/ 5775330 w 6003366"/>
              <a:gd name="connsiteY5" fmla="*/ 3131218 h 6105046"/>
              <a:gd name="connsiteX6" fmla="*/ 4449866 w 6003366"/>
              <a:gd name="connsiteY6" fmla="*/ 5696617 h 6105046"/>
              <a:gd name="connsiteX7" fmla="*/ 4250335 w 6003366"/>
              <a:gd name="connsiteY7" fmla="*/ 5981661 h 6105046"/>
              <a:gd name="connsiteX8" fmla="*/ 3780019 w 6003366"/>
              <a:gd name="connsiteY8" fmla="*/ 6095679 h 6105046"/>
              <a:gd name="connsiteX9" fmla="*/ 1171855 w 6003366"/>
              <a:gd name="connsiteY9" fmla="*/ 6081434 h 6105046"/>
              <a:gd name="connsiteX10" fmla="*/ 459244 w 6003366"/>
              <a:gd name="connsiteY10" fmla="*/ 5967416 h 6105046"/>
              <a:gd name="connsiteX11" fmla="*/ 58904 w 6003366"/>
              <a:gd name="connsiteY11" fmla="*/ 5687075 h 6105046"/>
              <a:gd name="connsiteX12" fmla="*/ 0 w 6003366"/>
              <a:gd name="connsiteY12" fmla="*/ 5620135 h 61050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6003366" h="6105046">
                <a:moveTo>
                  <a:pt x="0" y="0"/>
                </a:moveTo>
                <a:lnTo>
                  <a:pt x="4639238" y="0"/>
                </a:lnTo>
                <a:lnTo>
                  <a:pt x="4663657" y="38495"/>
                </a:lnTo>
                <a:cubicBezTo>
                  <a:pt x="5019955" y="608583"/>
                  <a:pt x="5362008" y="1164412"/>
                  <a:pt x="5718321" y="1734501"/>
                </a:cubicBezTo>
                <a:cubicBezTo>
                  <a:pt x="5860843" y="1948291"/>
                  <a:pt x="5989106" y="2176327"/>
                  <a:pt x="6003366" y="2432867"/>
                </a:cubicBezTo>
                <a:cubicBezTo>
                  <a:pt x="6003366" y="2675147"/>
                  <a:pt x="5889348" y="2917442"/>
                  <a:pt x="5775330" y="3131218"/>
                </a:cubicBezTo>
                <a:cubicBezTo>
                  <a:pt x="5333504" y="3986351"/>
                  <a:pt x="4891692" y="4841484"/>
                  <a:pt x="4449866" y="5696617"/>
                </a:cubicBezTo>
                <a:cubicBezTo>
                  <a:pt x="4392857" y="5810634"/>
                  <a:pt x="4335848" y="5910407"/>
                  <a:pt x="4250335" y="5981661"/>
                </a:cubicBezTo>
                <a:cubicBezTo>
                  <a:pt x="4122072" y="6081434"/>
                  <a:pt x="3951046" y="6095679"/>
                  <a:pt x="3780019" y="6095679"/>
                </a:cubicBezTo>
                <a:cubicBezTo>
                  <a:pt x="2910626" y="6109938"/>
                  <a:pt x="2041248" y="6109938"/>
                  <a:pt x="1171855" y="6081434"/>
                </a:cubicBezTo>
                <a:cubicBezTo>
                  <a:pt x="929574" y="6067174"/>
                  <a:pt x="687279" y="6067174"/>
                  <a:pt x="459244" y="5967416"/>
                </a:cubicBezTo>
                <a:cubicBezTo>
                  <a:pt x="304254" y="5903281"/>
                  <a:pt x="173312" y="5805074"/>
                  <a:pt x="58904" y="5687075"/>
                </a:cubicBezTo>
                <a:lnTo>
                  <a:pt x="0" y="5620135"/>
                </a:lnTo>
                <a:close/>
              </a:path>
            </a:pathLst>
          </a:custGeom>
          <a:solidFill>
            <a:srgbClr val="4F2170"/>
          </a:solidFill>
          <a:ln w="9525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>
              <a:lnSpc>
                <a:spcPct val="90000"/>
              </a:lnSpc>
            </a:pPr>
            <a:endParaRPr dirty="0">
              <a:solidFill>
                <a:schemeClr val="bg1"/>
              </a:solidFill>
            </a:endParaRPr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BC95E134-4758-4A15-97D4-E85BCD1919D8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1" cy="6858000"/>
          </a:xfrm>
          <a:custGeom>
            <a:avLst/>
            <a:gdLst>
              <a:gd name="connsiteX0" fmla="*/ 4639238 w 12192001"/>
              <a:gd name="connsiteY0" fmla="*/ 0 h 6858000"/>
              <a:gd name="connsiteX1" fmla="*/ 12192001 w 12192001"/>
              <a:gd name="connsiteY1" fmla="*/ 0 h 6858000"/>
              <a:gd name="connsiteX2" fmla="*/ 12192001 w 12192001"/>
              <a:gd name="connsiteY2" fmla="*/ 6858000 h 6858000"/>
              <a:gd name="connsiteX3" fmla="*/ 0 w 12192001"/>
              <a:gd name="connsiteY3" fmla="*/ 6858000 h 6858000"/>
              <a:gd name="connsiteX4" fmla="*/ 0 w 12192001"/>
              <a:gd name="connsiteY4" fmla="*/ 5620135 h 6858000"/>
              <a:gd name="connsiteX5" fmla="*/ 58904 w 12192001"/>
              <a:gd name="connsiteY5" fmla="*/ 5687075 h 6858000"/>
              <a:gd name="connsiteX6" fmla="*/ 459244 w 12192001"/>
              <a:gd name="connsiteY6" fmla="*/ 5967416 h 6858000"/>
              <a:gd name="connsiteX7" fmla="*/ 1171855 w 12192001"/>
              <a:gd name="connsiteY7" fmla="*/ 6081434 h 6858000"/>
              <a:gd name="connsiteX8" fmla="*/ 3780019 w 12192001"/>
              <a:gd name="connsiteY8" fmla="*/ 6095679 h 6858000"/>
              <a:gd name="connsiteX9" fmla="*/ 4250335 w 12192001"/>
              <a:gd name="connsiteY9" fmla="*/ 5981661 h 6858000"/>
              <a:gd name="connsiteX10" fmla="*/ 4449866 w 12192001"/>
              <a:gd name="connsiteY10" fmla="*/ 5696617 h 6858000"/>
              <a:gd name="connsiteX11" fmla="*/ 5775330 w 12192001"/>
              <a:gd name="connsiteY11" fmla="*/ 3131218 h 6858000"/>
              <a:gd name="connsiteX12" fmla="*/ 6003366 w 12192001"/>
              <a:gd name="connsiteY12" fmla="*/ 2432867 h 6858000"/>
              <a:gd name="connsiteX13" fmla="*/ 5718321 w 12192001"/>
              <a:gd name="connsiteY13" fmla="*/ 1734501 h 6858000"/>
              <a:gd name="connsiteX14" fmla="*/ 4663657 w 12192001"/>
              <a:gd name="connsiteY14" fmla="*/ 38495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12192001" h="6858000">
                <a:moveTo>
                  <a:pt x="4639238" y="0"/>
                </a:moveTo>
                <a:lnTo>
                  <a:pt x="12192001" y="0"/>
                </a:lnTo>
                <a:lnTo>
                  <a:pt x="12192001" y="6858000"/>
                </a:lnTo>
                <a:lnTo>
                  <a:pt x="0" y="6858000"/>
                </a:lnTo>
                <a:lnTo>
                  <a:pt x="0" y="5620135"/>
                </a:lnTo>
                <a:lnTo>
                  <a:pt x="58904" y="5687075"/>
                </a:lnTo>
                <a:cubicBezTo>
                  <a:pt x="173312" y="5805074"/>
                  <a:pt x="304254" y="5903281"/>
                  <a:pt x="459244" y="5967416"/>
                </a:cubicBezTo>
                <a:cubicBezTo>
                  <a:pt x="687279" y="6067174"/>
                  <a:pt x="929574" y="6067174"/>
                  <a:pt x="1171855" y="6081434"/>
                </a:cubicBezTo>
                <a:cubicBezTo>
                  <a:pt x="2041248" y="6109938"/>
                  <a:pt x="2910626" y="6109938"/>
                  <a:pt x="3780019" y="6095679"/>
                </a:cubicBezTo>
                <a:cubicBezTo>
                  <a:pt x="3951046" y="6095679"/>
                  <a:pt x="4122072" y="6081434"/>
                  <a:pt x="4250335" y="5981661"/>
                </a:cubicBezTo>
                <a:cubicBezTo>
                  <a:pt x="4335848" y="5910407"/>
                  <a:pt x="4392857" y="5810634"/>
                  <a:pt x="4449866" y="5696617"/>
                </a:cubicBezTo>
                <a:cubicBezTo>
                  <a:pt x="4891692" y="4841484"/>
                  <a:pt x="5333504" y="3986351"/>
                  <a:pt x="5775330" y="3131218"/>
                </a:cubicBezTo>
                <a:cubicBezTo>
                  <a:pt x="5889348" y="2917442"/>
                  <a:pt x="6003366" y="2675147"/>
                  <a:pt x="6003366" y="2432867"/>
                </a:cubicBezTo>
                <a:cubicBezTo>
                  <a:pt x="5989106" y="2176327"/>
                  <a:pt x="5860843" y="1948291"/>
                  <a:pt x="5718321" y="1734501"/>
                </a:cubicBezTo>
                <a:cubicBezTo>
                  <a:pt x="5362008" y="1164412"/>
                  <a:pt x="5019956" y="608583"/>
                  <a:pt x="4663657" y="38495"/>
                </a:cubicBezTo>
                <a:close/>
              </a:path>
            </a:pathLst>
          </a:custGeom>
          <a:solidFill>
            <a:srgbClr val="D9D9D9"/>
          </a:solidFill>
        </p:spPr>
        <p:txBody>
          <a:bodyPr wrap="square" lIns="6400800" tIns="0" anchor="ctr" anchorCtr="0">
            <a:noAutofit/>
          </a:bodyPr>
          <a:lstStyle>
            <a:lvl1pPr marL="0" indent="0" algn="l">
              <a:spcBef>
                <a:spcPts val="0"/>
              </a:spcBef>
              <a:buNone/>
              <a:defRPr sz="1600">
                <a:solidFill>
                  <a:schemeClr val="bg1"/>
                </a:solidFill>
              </a:defRPr>
            </a:lvl1pPr>
          </a:lstStyle>
          <a:p>
            <a:r>
              <a:rPr dirty="0"/>
              <a:t>Click icon to insert picture</a:t>
            </a:r>
            <a:br>
              <a:rPr dirty="0"/>
            </a:br>
            <a:r>
              <a:rPr dirty="0"/>
              <a:t>(minimum recommended size for </a:t>
            </a:r>
            <a:br>
              <a:rPr dirty="0"/>
            </a:br>
            <a:r>
              <a:rPr dirty="0"/>
              <a:t>full slide image is 1280 x 720 pixels)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A6AAFD9-7181-4BA5-A2B7-821424B513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9147" y="1729409"/>
            <a:ext cx="5021431" cy="3052798"/>
          </a:xfrm>
        </p:spPr>
        <p:txBody>
          <a:bodyPr tIns="91440" anchor="ctr" anchorCtr="0"/>
          <a:lstStyle>
            <a:lvl1pPr algn="ctr"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dirty="0"/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DE43BC88-3D50-46EF-94E8-C14B09B702AC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543135" y="618625"/>
            <a:ext cx="2078206" cy="800271"/>
            <a:chOff x="2078951" y="1888610"/>
            <a:chExt cx="8030200" cy="3092248"/>
          </a:xfrm>
          <a:solidFill>
            <a:srgbClr val="FFFFFF"/>
          </a:solidFill>
        </p:grpSpPr>
        <p:sp>
          <p:nvSpPr>
            <p:cNvPr id="10" name="Freeform: Shape 9">
              <a:extLst>
                <a:ext uri="{FF2B5EF4-FFF2-40B4-BE49-F238E27FC236}">
                  <a16:creationId xmlns:a16="http://schemas.microsoft.com/office/drawing/2014/main" id="{95A0BD43-EFB6-4FAF-B450-A0C99E6F7539}"/>
                </a:ext>
              </a:extLst>
            </p:cNvPr>
            <p:cNvSpPr/>
            <p:nvPr/>
          </p:nvSpPr>
          <p:spPr>
            <a:xfrm>
              <a:off x="2078951" y="2872694"/>
              <a:ext cx="951880" cy="652717"/>
            </a:xfrm>
            <a:custGeom>
              <a:avLst/>
              <a:gdLst>
                <a:gd name="connsiteX0" fmla="*/ 903041 w 951880"/>
                <a:gd name="connsiteY0" fmla="*/ 330574 h 652717"/>
                <a:gd name="connsiteX1" fmla="*/ 780656 w 951880"/>
                <a:gd name="connsiteY1" fmla="*/ 379528 h 652717"/>
                <a:gd name="connsiteX2" fmla="*/ 598439 w 951880"/>
                <a:gd name="connsiteY2" fmla="*/ 311537 h 652717"/>
                <a:gd name="connsiteX3" fmla="*/ 505970 w 951880"/>
                <a:gd name="connsiteY3" fmla="*/ 164675 h 652717"/>
                <a:gd name="connsiteX4" fmla="*/ 266640 w 951880"/>
                <a:gd name="connsiteY4" fmla="*/ 61329 h 652717"/>
                <a:gd name="connsiteX5" fmla="*/ 103461 w 951880"/>
                <a:gd name="connsiteY5" fmla="*/ 458398 h 652717"/>
                <a:gd name="connsiteX6" fmla="*/ 756179 w 951880"/>
                <a:gd name="connsiteY6" fmla="*/ 485595 h 652717"/>
                <a:gd name="connsiteX7" fmla="*/ 903041 w 951880"/>
                <a:gd name="connsiteY7" fmla="*/ 330574 h 6527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51880" h="652717">
                  <a:moveTo>
                    <a:pt x="903041" y="330574"/>
                  </a:moveTo>
                  <a:cubicBezTo>
                    <a:pt x="867685" y="363210"/>
                    <a:pt x="813292" y="374089"/>
                    <a:pt x="780656" y="379528"/>
                  </a:cubicBezTo>
                  <a:cubicBezTo>
                    <a:pt x="712664" y="387687"/>
                    <a:pt x="641953" y="365930"/>
                    <a:pt x="598439" y="311537"/>
                  </a:cubicBezTo>
                  <a:cubicBezTo>
                    <a:pt x="563083" y="268022"/>
                    <a:pt x="544046" y="210910"/>
                    <a:pt x="505970" y="164675"/>
                  </a:cubicBezTo>
                  <a:cubicBezTo>
                    <a:pt x="448858" y="93964"/>
                    <a:pt x="359109" y="45011"/>
                    <a:pt x="266640" y="61329"/>
                  </a:cubicBezTo>
                  <a:cubicBezTo>
                    <a:pt x="81704" y="93964"/>
                    <a:pt x="114" y="308817"/>
                    <a:pt x="103461" y="458398"/>
                  </a:cubicBezTo>
                  <a:cubicBezTo>
                    <a:pt x="253042" y="670531"/>
                    <a:pt x="584840" y="635176"/>
                    <a:pt x="756179" y="485595"/>
                  </a:cubicBezTo>
                  <a:cubicBezTo>
                    <a:pt x="813292" y="442080"/>
                    <a:pt x="862246" y="390407"/>
                    <a:pt x="903041" y="330574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/>
            </a:p>
          </p:txBody>
        </p:sp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602128A7-AAF8-437B-BCBE-674AE861379B}"/>
                </a:ext>
              </a:extLst>
            </p:cNvPr>
            <p:cNvSpPr/>
            <p:nvPr/>
          </p:nvSpPr>
          <p:spPr>
            <a:xfrm>
              <a:off x="9151831" y="2872694"/>
              <a:ext cx="951880" cy="652717"/>
            </a:xfrm>
            <a:custGeom>
              <a:avLst/>
              <a:gdLst>
                <a:gd name="connsiteX0" fmla="*/ 58178 w 951880"/>
                <a:gd name="connsiteY0" fmla="*/ 330574 h 652717"/>
                <a:gd name="connsiteX1" fmla="*/ 180563 w 951880"/>
                <a:gd name="connsiteY1" fmla="*/ 379528 h 652717"/>
                <a:gd name="connsiteX2" fmla="*/ 362780 w 951880"/>
                <a:gd name="connsiteY2" fmla="*/ 311537 h 652717"/>
                <a:gd name="connsiteX3" fmla="*/ 455249 w 951880"/>
                <a:gd name="connsiteY3" fmla="*/ 164675 h 652717"/>
                <a:gd name="connsiteX4" fmla="*/ 694578 w 951880"/>
                <a:gd name="connsiteY4" fmla="*/ 61329 h 652717"/>
                <a:gd name="connsiteX5" fmla="*/ 857758 w 951880"/>
                <a:gd name="connsiteY5" fmla="*/ 458398 h 652717"/>
                <a:gd name="connsiteX6" fmla="*/ 205040 w 951880"/>
                <a:gd name="connsiteY6" fmla="*/ 485595 h 652717"/>
                <a:gd name="connsiteX7" fmla="*/ 58178 w 951880"/>
                <a:gd name="connsiteY7" fmla="*/ 330574 h 6527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51880" h="652717">
                  <a:moveTo>
                    <a:pt x="58178" y="330574"/>
                  </a:moveTo>
                  <a:cubicBezTo>
                    <a:pt x="96253" y="363210"/>
                    <a:pt x="147927" y="374089"/>
                    <a:pt x="180563" y="379528"/>
                  </a:cubicBezTo>
                  <a:cubicBezTo>
                    <a:pt x="248554" y="387687"/>
                    <a:pt x="319266" y="365930"/>
                    <a:pt x="362780" y="311537"/>
                  </a:cubicBezTo>
                  <a:cubicBezTo>
                    <a:pt x="398136" y="268022"/>
                    <a:pt x="417174" y="210910"/>
                    <a:pt x="455249" y="164675"/>
                  </a:cubicBezTo>
                  <a:cubicBezTo>
                    <a:pt x="512362" y="93964"/>
                    <a:pt x="602110" y="45011"/>
                    <a:pt x="694578" y="61329"/>
                  </a:cubicBezTo>
                  <a:cubicBezTo>
                    <a:pt x="879515" y="93964"/>
                    <a:pt x="961105" y="308817"/>
                    <a:pt x="857758" y="458398"/>
                  </a:cubicBezTo>
                  <a:cubicBezTo>
                    <a:pt x="708176" y="670531"/>
                    <a:pt x="376379" y="635176"/>
                    <a:pt x="205040" y="485595"/>
                  </a:cubicBezTo>
                  <a:cubicBezTo>
                    <a:pt x="150646" y="442080"/>
                    <a:pt x="101693" y="390407"/>
                    <a:pt x="58178" y="330574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/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E7401378-95E9-42B7-8521-C3B605932C14}"/>
                </a:ext>
              </a:extLst>
            </p:cNvPr>
            <p:cNvSpPr/>
            <p:nvPr/>
          </p:nvSpPr>
          <p:spPr>
            <a:xfrm>
              <a:off x="8001294" y="2010994"/>
              <a:ext cx="734308" cy="299162"/>
            </a:xfrm>
            <a:custGeom>
              <a:avLst/>
              <a:gdLst>
                <a:gd name="connsiteX0" fmla="*/ 596792 w 734307"/>
                <a:gd name="connsiteY0" fmla="*/ 58178 h 299162"/>
                <a:gd name="connsiteX1" fmla="*/ 148048 w 734307"/>
                <a:gd name="connsiteY1" fmla="*/ 58178 h 299162"/>
                <a:gd name="connsiteX2" fmla="*/ 58299 w 734307"/>
                <a:gd name="connsiteY2" fmla="*/ 150646 h 299162"/>
                <a:gd name="connsiteX3" fmla="*/ 148048 w 734307"/>
                <a:gd name="connsiteY3" fmla="*/ 251274 h 299162"/>
                <a:gd name="connsiteX4" fmla="*/ 596792 w 734307"/>
                <a:gd name="connsiteY4" fmla="*/ 251274 h 299162"/>
                <a:gd name="connsiteX5" fmla="*/ 686541 w 734307"/>
                <a:gd name="connsiteY5" fmla="*/ 158805 h 299162"/>
                <a:gd name="connsiteX6" fmla="*/ 596792 w 734307"/>
                <a:gd name="connsiteY6" fmla="*/ 58178 h 2991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34307" h="299162">
                  <a:moveTo>
                    <a:pt x="596792" y="58178"/>
                  </a:moveTo>
                  <a:cubicBezTo>
                    <a:pt x="591353" y="58178"/>
                    <a:pt x="153487" y="58178"/>
                    <a:pt x="148048" y="58178"/>
                  </a:cubicBezTo>
                  <a:cubicBezTo>
                    <a:pt x="99094" y="60898"/>
                    <a:pt x="61019" y="104412"/>
                    <a:pt x="58299" y="150646"/>
                  </a:cubicBezTo>
                  <a:cubicBezTo>
                    <a:pt x="55580" y="199600"/>
                    <a:pt x="99094" y="248554"/>
                    <a:pt x="148048" y="251274"/>
                  </a:cubicBezTo>
                  <a:cubicBezTo>
                    <a:pt x="153487" y="251274"/>
                    <a:pt x="591353" y="251274"/>
                    <a:pt x="596792" y="251274"/>
                  </a:cubicBezTo>
                  <a:cubicBezTo>
                    <a:pt x="645746" y="248554"/>
                    <a:pt x="683821" y="205040"/>
                    <a:pt x="686541" y="158805"/>
                  </a:cubicBezTo>
                  <a:cubicBezTo>
                    <a:pt x="689260" y="109852"/>
                    <a:pt x="648465" y="60898"/>
                    <a:pt x="596792" y="58178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80971E62-622B-4346-887C-0642B098E8BA}"/>
                </a:ext>
              </a:extLst>
            </p:cNvPr>
            <p:cNvSpPr/>
            <p:nvPr/>
          </p:nvSpPr>
          <p:spPr>
            <a:xfrm>
              <a:off x="4920042" y="2277520"/>
              <a:ext cx="1006274" cy="951879"/>
            </a:xfrm>
            <a:custGeom>
              <a:avLst/>
              <a:gdLst>
                <a:gd name="connsiteX0" fmla="*/ 884954 w 1006273"/>
                <a:gd name="connsiteY0" fmla="*/ 746251 h 951879"/>
                <a:gd name="connsiteX1" fmla="*/ 874076 w 1006273"/>
                <a:gd name="connsiteY1" fmla="*/ 670101 h 951879"/>
                <a:gd name="connsiteX2" fmla="*/ 874076 w 1006273"/>
                <a:gd name="connsiteY2" fmla="*/ 536837 h 951879"/>
                <a:gd name="connsiteX3" fmla="*/ 689139 w 1006273"/>
                <a:gd name="connsiteY3" fmla="*/ 88094 h 951879"/>
                <a:gd name="connsiteX4" fmla="*/ 428052 w 1006273"/>
                <a:gd name="connsiteY4" fmla="*/ 253993 h 951879"/>
                <a:gd name="connsiteX5" fmla="*/ 196881 w 1006273"/>
                <a:gd name="connsiteY5" fmla="*/ 58178 h 951879"/>
                <a:gd name="connsiteX6" fmla="*/ 58178 w 1006273"/>
                <a:gd name="connsiteY6" fmla="*/ 128889 h 951879"/>
                <a:gd name="connsiteX7" fmla="*/ 142488 w 1006273"/>
                <a:gd name="connsiteY7" fmla="*/ 273031 h 951879"/>
                <a:gd name="connsiteX8" fmla="*/ 142488 w 1006273"/>
                <a:gd name="connsiteY8" fmla="*/ 757130 h 951879"/>
                <a:gd name="connsiteX9" fmla="*/ 283910 w 1006273"/>
                <a:gd name="connsiteY9" fmla="*/ 895832 h 951879"/>
                <a:gd name="connsiteX10" fmla="*/ 428052 w 1006273"/>
                <a:gd name="connsiteY10" fmla="*/ 757130 h 951879"/>
                <a:gd name="connsiteX11" fmla="*/ 428052 w 1006273"/>
                <a:gd name="connsiteY11" fmla="*/ 400855 h 951879"/>
                <a:gd name="connsiteX12" fmla="*/ 523240 w 1006273"/>
                <a:gd name="connsiteY12" fmla="*/ 283910 h 951879"/>
                <a:gd name="connsiteX13" fmla="*/ 591231 w 1006273"/>
                <a:gd name="connsiteY13" fmla="*/ 354621 h 951879"/>
                <a:gd name="connsiteX14" fmla="*/ 591231 w 1006273"/>
                <a:gd name="connsiteY14" fmla="*/ 697297 h 951879"/>
                <a:gd name="connsiteX15" fmla="*/ 593951 w 1006273"/>
                <a:gd name="connsiteY15" fmla="*/ 729933 h 951879"/>
                <a:gd name="connsiteX16" fmla="*/ 610269 w 1006273"/>
                <a:gd name="connsiteY16" fmla="*/ 778887 h 951879"/>
                <a:gd name="connsiteX17" fmla="*/ 822402 w 1006273"/>
                <a:gd name="connsiteY17" fmla="*/ 893112 h 951879"/>
                <a:gd name="connsiteX18" fmla="*/ 961105 w 1006273"/>
                <a:gd name="connsiteY18" fmla="*/ 822401 h 951879"/>
                <a:gd name="connsiteX19" fmla="*/ 884954 w 1006273"/>
                <a:gd name="connsiteY19" fmla="*/ 746251 h 9518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006273" h="951879">
                  <a:moveTo>
                    <a:pt x="884954" y="746251"/>
                  </a:moveTo>
                  <a:cubicBezTo>
                    <a:pt x="879515" y="721774"/>
                    <a:pt x="876795" y="694578"/>
                    <a:pt x="874076" y="670101"/>
                  </a:cubicBezTo>
                  <a:cubicBezTo>
                    <a:pt x="874076" y="634745"/>
                    <a:pt x="874076" y="583072"/>
                    <a:pt x="874076" y="536837"/>
                  </a:cubicBezTo>
                  <a:cubicBezTo>
                    <a:pt x="879515" y="373658"/>
                    <a:pt x="909431" y="88094"/>
                    <a:pt x="689139" y="88094"/>
                  </a:cubicBezTo>
                  <a:cubicBezTo>
                    <a:pt x="539558" y="88094"/>
                    <a:pt x="452529" y="213199"/>
                    <a:pt x="428052" y="253993"/>
                  </a:cubicBezTo>
                  <a:cubicBezTo>
                    <a:pt x="425332" y="139768"/>
                    <a:pt x="335583" y="58178"/>
                    <a:pt x="196881" y="58178"/>
                  </a:cubicBezTo>
                  <a:cubicBezTo>
                    <a:pt x="109852" y="58178"/>
                    <a:pt x="58178" y="128889"/>
                    <a:pt x="58178" y="128889"/>
                  </a:cubicBezTo>
                  <a:cubicBezTo>
                    <a:pt x="58178" y="128889"/>
                    <a:pt x="142488" y="158805"/>
                    <a:pt x="142488" y="273031"/>
                  </a:cubicBezTo>
                  <a:cubicBezTo>
                    <a:pt x="142488" y="354621"/>
                    <a:pt x="142488" y="757130"/>
                    <a:pt x="142488" y="757130"/>
                  </a:cubicBezTo>
                  <a:cubicBezTo>
                    <a:pt x="145207" y="827841"/>
                    <a:pt x="194161" y="895832"/>
                    <a:pt x="283910" y="895832"/>
                  </a:cubicBezTo>
                  <a:cubicBezTo>
                    <a:pt x="373659" y="895832"/>
                    <a:pt x="428052" y="827841"/>
                    <a:pt x="428052" y="757130"/>
                  </a:cubicBezTo>
                  <a:lnTo>
                    <a:pt x="428052" y="400855"/>
                  </a:lnTo>
                  <a:cubicBezTo>
                    <a:pt x="441650" y="343742"/>
                    <a:pt x="474286" y="283910"/>
                    <a:pt x="523240" y="283910"/>
                  </a:cubicBezTo>
                  <a:cubicBezTo>
                    <a:pt x="585792" y="283910"/>
                    <a:pt x="591231" y="354621"/>
                    <a:pt x="591231" y="354621"/>
                  </a:cubicBezTo>
                  <a:lnTo>
                    <a:pt x="591231" y="697297"/>
                  </a:lnTo>
                  <a:cubicBezTo>
                    <a:pt x="591231" y="708176"/>
                    <a:pt x="593951" y="719054"/>
                    <a:pt x="593951" y="729933"/>
                  </a:cubicBezTo>
                  <a:cubicBezTo>
                    <a:pt x="596671" y="748971"/>
                    <a:pt x="602110" y="765289"/>
                    <a:pt x="610269" y="778887"/>
                  </a:cubicBezTo>
                  <a:cubicBezTo>
                    <a:pt x="645624" y="846878"/>
                    <a:pt x="719055" y="893112"/>
                    <a:pt x="822402" y="893112"/>
                  </a:cubicBezTo>
                  <a:cubicBezTo>
                    <a:pt x="909431" y="893112"/>
                    <a:pt x="961105" y="822401"/>
                    <a:pt x="961105" y="822401"/>
                  </a:cubicBezTo>
                  <a:cubicBezTo>
                    <a:pt x="961105" y="822401"/>
                    <a:pt x="909431" y="808803"/>
                    <a:pt x="884954" y="746251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40491816-0989-40C2-8D03-25B1EE568178}"/>
                </a:ext>
              </a:extLst>
            </p:cNvPr>
            <p:cNvSpPr/>
            <p:nvPr/>
          </p:nvSpPr>
          <p:spPr>
            <a:xfrm>
              <a:off x="7552331" y="1888610"/>
              <a:ext cx="489539" cy="1332631"/>
            </a:xfrm>
            <a:custGeom>
              <a:avLst/>
              <a:gdLst>
                <a:gd name="connsiteX0" fmla="*/ 368560 w 489538"/>
                <a:gd name="connsiteY0" fmla="*/ 1135162 h 1332630"/>
                <a:gd name="connsiteX1" fmla="*/ 357681 w 489538"/>
                <a:gd name="connsiteY1" fmla="*/ 1059011 h 1332630"/>
                <a:gd name="connsiteX2" fmla="*/ 357681 w 489538"/>
                <a:gd name="connsiteY2" fmla="*/ 207759 h 1332630"/>
                <a:gd name="connsiteX3" fmla="*/ 208099 w 489538"/>
                <a:gd name="connsiteY3" fmla="*/ 58178 h 1332630"/>
                <a:gd name="connsiteX4" fmla="*/ 58518 w 489538"/>
                <a:gd name="connsiteY4" fmla="*/ 207759 h 1332630"/>
                <a:gd name="connsiteX5" fmla="*/ 58518 w 489538"/>
                <a:gd name="connsiteY5" fmla="*/ 961104 h 1332630"/>
                <a:gd name="connsiteX6" fmla="*/ 85715 w 489538"/>
                <a:gd name="connsiteY6" fmla="*/ 1159639 h 1332630"/>
                <a:gd name="connsiteX7" fmla="*/ 306007 w 489538"/>
                <a:gd name="connsiteY7" fmla="*/ 1282023 h 1332630"/>
                <a:gd name="connsiteX8" fmla="*/ 444710 w 489538"/>
                <a:gd name="connsiteY8" fmla="*/ 1211312 h 1332630"/>
                <a:gd name="connsiteX9" fmla="*/ 368560 w 489538"/>
                <a:gd name="connsiteY9" fmla="*/ 1135162 h 13326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89538" h="1332630">
                  <a:moveTo>
                    <a:pt x="368560" y="1135162"/>
                  </a:moveTo>
                  <a:cubicBezTo>
                    <a:pt x="363120" y="1110685"/>
                    <a:pt x="357681" y="1083488"/>
                    <a:pt x="357681" y="1059011"/>
                  </a:cubicBezTo>
                  <a:lnTo>
                    <a:pt x="357681" y="207759"/>
                  </a:lnTo>
                  <a:cubicBezTo>
                    <a:pt x="357681" y="126170"/>
                    <a:pt x="289689" y="58178"/>
                    <a:pt x="208099" y="58178"/>
                  </a:cubicBezTo>
                  <a:cubicBezTo>
                    <a:pt x="126510" y="58178"/>
                    <a:pt x="58518" y="126170"/>
                    <a:pt x="58518" y="207759"/>
                  </a:cubicBezTo>
                  <a:lnTo>
                    <a:pt x="58518" y="961104"/>
                  </a:lnTo>
                  <a:cubicBezTo>
                    <a:pt x="58518" y="1029095"/>
                    <a:pt x="53079" y="1097086"/>
                    <a:pt x="85715" y="1159639"/>
                  </a:cubicBezTo>
                  <a:cubicBezTo>
                    <a:pt x="118351" y="1227630"/>
                    <a:pt x="202660" y="1282023"/>
                    <a:pt x="306007" y="1282023"/>
                  </a:cubicBezTo>
                  <a:cubicBezTo>
                    <a:pt x="393036" y="1282023"/>
                    <a:pt x="444710" y="1211312"/>
                    <a:pt x="444710" y="1211312"/>
                  </a:cubicBezTo>
                  <a:cubicBezTo>
                    <a:pt x="444710" y="1211312"/>
                    <a:pt x="393036" y="1197714"/>
                    <a:pt x="368560" y="1135162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502E61D4-9A8D-4D92-9091-7511D7E6779F}"/>
                </a:ext>
              </a:extLst>
            </p:cNvPr>
            <p:cNvSpPr/>
            <p:nvPr/>
          </p:nvSpPr>
          <p:spPr>
            <a:xfrm>
              <a:off x="4162324" y="2357456"/>
              <a:ext cx="815899" cy="815898"/>
            </a:xfrm>
            <a:custGeom>
              <a:avLst/>
              <a:gdLst>
                <a:gd name="connsiteX0" fmla="*/ 407949 w 815899"/>
                <a:gd name="connsiteY0" fmla="*/ 174058 h 815898"/>
                <a:gd name="connsiteX1" fmla="*/ 293723 w 815899"/>
                <a:gd name="connsiteY1" fmla="*/ 407950 h 815898"/>
                <a:gd name="connsiteX2" fmla="*/ 410669 w 815899"/>
                <a:gd name="connsiteY2" fmla="*/ 641840 h 815898"/>
                <a:gd name="connsiteX3" fmla="*/ 522175 w 815899"/>
                <a:gd name="connsiteY3" fmla="*/ 407950 h 815898"/>
                <a:gd name="connsiteX4" fmla="*/ 407949 w 815899"/>
                <a:gd name="connsiteY4" fmla="*/ 174058 h 815898"/>
                <a:gd name="connsiteX5" fmla="*/ 407950 w 815899"/>
                <a:gd name="connsiteY5" fmla="*/ 0 h 815898"/>
                <a:gd name="connsiteX6" fmla="*/ 815899 w 815899"/>
                <a:gd name="connsiteY6" fmla="*/ 407949 h 815898"/>
                <a:gd name="connsiteX7" fmla="*/ 407950 w 815899"/>
                <a:gd name="connsiteY7" fmla="*/ 815898 h 815898"/>
                <a:gd name="connsiteX8" fmla="*/ 0 w 815899"/>
                <a:gd name="connsiteY8" fmla="*/ 407949 h 815898"/>
                <a:gd name="connsiteX9" fmla="*/ 407950 w 815899"/>
                <a:gd name="connsiteY9" fmla="*/ 0 h 815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15899" h="815898">
                  <a:moveTo>
                    <a:pt x="407949" y="174058"/>
                  </a:moveTo>
                  <a:cubicBezTo>
                    <a:pt x="342677" y="174058"/>
                    <a:pt x="293723" y="263807"/>
                    <a:pt x="293723" y="407950"/>
                  </a:cubicBezTo>
                  <a:cubicBezTo>
                    <a:pt x="293723" y="552091"/>
                    <a:pt x="331799" y="639120"/>
                    <a:pt x="410669" y="641840"/>
                  </a:cubicBezTo>
                  <a:cubicBezTo>
                    <a:pt x="489539" y="641840"/>
                    <a:pt x="527614" y="552091"/>
                    <a:pt x="522175" y="407950"/>
                  </a:cubicBezTo>
                  <a:cubicBezTo>
                    <a:pt x="522175" y="263807"/>
                    <a:pt x="473221" y="176778"/>
                    <a:pt x="407949" y="174058"/>
                  </a:cubicBezTo>
                  <a:close/>
                  <a:moveTo>
                    <a:pt x="407950" y="0"/>
                  </a:moveTo>
                  <a:cubicBezTo>
                    <a:pt x="633682" y="0"/>
                    <a:pt x="815899" y="182217"/>
                    <a:pt x="815899" y="407949"/>
                  </a:cubicBezTo>
                  <a:cubicBezTo>
                    <a:pt x="815899" y="633681"/>
                    <a:pt x="633682" y="815898"/>
                    <a:pt x="407950" y="815898"/>
                  </a:cubicBezTo>
                  <a:cubicBezTo>
                    <a:pt x="182218" y="815898"/>
                    <a:pt x="0" y="633681"/>
                    <a:pt x="0" y="407949"/>
                  </a:cubicBezTo>
                  <a:cubicBezTo>
                    <a:pt x="0" y="182217"/>
                    <a:pt x="182218" y="0"/>
                    <a:pt x="407950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8E715622-9D65-4832-8B46-7B8A17C38F26}"/>
                </a:ext>
              </a:extLst>
            </p:cNvPr>
            <p:cNvSpPr/>
            <p:nvPr/>
          </p:nvSpPr>
          <p:spPr>
            <a:xfrm>
              <a:off x="5884871" y="1946788"/>
              <a:ext cx="912802" cy="1223846"/>
            </a:xfrm>
            <a:custGeom>
              <a:avLst/>
              <a:gdLst>
                <a:gd name="connsiteX0" fmla="*/ 387907 w 912802"/>
                <a:gd name="connsiteY0" fmla="*/ 620081 h 1223846"/>
                <a:gd name="connsiteX1" fmla="*/ 273681 w 912802"/>
                <a:gd name="connsiteY1" fmla="*/ 824055 h 1223846"/>
                <a:gd name="connsiteX2" fmla="*/ 390627 w 912802"/>
                <a:gd name="connsiteY2" fmla="*/ 1028029 h 1223846"/>
                <a:gd name="connsiteX3" fmla="*/ 502132 w 912802"/>
                <a:gd name="connsiteY3" fmla="*/ 824055 h 1223846"/>
                <a:gd name="connsiteX4" fmla="*/ 387907 w 912802"/>
                <a:gd name="connsiteY4" fmla="*/ 620081 h 1223846"/>
                <a:gd name="connsiteX5" fmla="*/ 676192 w 912802"/>
                <a:gd name="connsiteY5" fmla="*/ 0 h 1223846"/>
                <a:gd name="connsiteX6" fmla="*/ 825773 w 912802"/>
                <a:gd name="connsiteY6" fmla="*/ 149581 h 1223846"/>
                <a:gd name="connsiteX7" fmla="*/ 825773 w 912802"/>
                <a:gd name="connsiteY7" fmla="*/ 1000834 h 1223846"/>
                <a:gd name="connsiteX8" fmla="*/ 836651 w 912802"/>
                <a:gd name="connsiteY8" fmla="*/ 1076985 h 1223846"/>
                <a:gd name="connsiteX9" fmla="*/ 912802 w 912802"/>
                <a:gd name="connsiteY9" fmla="*/ 1150415 h 1223846"/>
                <a:gd name="connsiteX10" fmla="*/ 774099 w 912802"/>
                <a:gd name="connsiteY10" fmla="*/ 1221126 h 1223846"/>
                <a:gd name="connsiteX11" fmla="*/ 553807 w 912802"/>
                <a:gd name="connsiteY11" fmla="*/ 1098742 h 1223846"/>
                <a:gd name="connsiteX12" fmla="*/ 548367 w 912802"/>
                <a:gd name="connsiteY12" fmla="*/ 1085144 h 1223846"/>
                <a:gd name="connsiteX13" fmla="*/ 398786 w 912802"/>
                <a:gd name="connsiteY13" fmla="*/ 1212967 h 1223846"/>
                <a:gd name="connsiteX14" fmla="*/ 156736 w 912802"/>
                <a:gd name="connsiteY14" fmla="*/ 1180332 h 1223846"/>
                <a:gd name="connsiteX15" fmla="*/ 287280 w 912802"/>
                <a:gd name="connsiteY15" fmla="*/ 416107 h 1223846"/>
                <a:gd name="connsiteX16" fmla="*/ 526611 w 912802"/>
                <a:gd name="connsiteY16" fmla="*/ 552091 h 1223846"/>
                <a:gd name="connsiteX17" fmla="*/ 526611 w 912802"/>
                <a:gd name="connsiteY17" fmla="*/ 149581 h 1223846"/>
                <a:gd name="connsiteX18" fmla="*/ 676192 w 912802"/>
                <a:gd name="connsiteY18" fmla="*/ 0 h 1223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912802" h="1223846">
                  <a:moveTo>
                    <a:pt x="387907" y="620081"/>
                  </a:moveTo>
                  <a:cubicBezTo>
                    <a:pt x="322635" y="620081"/>
                    <a:pt x="273681" y="698951"/>
                    <a:pt x="273681" y="824055"/>
                  </a:cubicBezTo>
                  <a:cubicBezTo>
                    <a:pt x="273681" y="949160"/>
                    <a:pt x="311756" y="1028029"/>
                    <a:pt x="390627" y="1028029"/>
                  </a:cubicBezTo>
                  <a:cubicBezTo>
                    <a:pt x="466777" y="1025310"/>
                    <a:pt x="504852" y="949160"/>
                    <a:pt x="502132" y="824055"/>
                  </a:cubicBezTo>
                  <a:cubicBezTo>
                    <a:pt x="502132" y="698951"/>
                    <a:pt x="455898" y="622801"/>
                    <a:pt x="387907" y="620081"/>
                  </a:cubicBezTo>
                  <a:close/>
                  <a:moveTo>
                    <a:pt x="676192" y="0"/>
                  </a:moveTo>
                  <a:cubicBezTo>
                    <a:pt x="757781" y="0"/>
                    <a:pt x="825773" y="67992"/>
                    <a:pt x="825773" y="149581"/>
                  </a:cubicBezTo>
                  <a:lnTo>
                    <a:pt x="825773" y="1000834"/>
                  </a:lnTo>
                  <a:cubicBezTo>
                    <a:pt x="828492" y="1025311"/>
                    <a:pt x="831212" y="1052508"/>
                    <a:pt x="836651" y="1076985"/>
                  </a:cubicBezTo>
                  <a:cubicBezTo>
                    <a:pt x="861128" y="1139537"/>
                    <a:pt x="912802" y="1150415"/>
                    <a:pt x="912802" y="1150415"/>
                  </a:cubicBezTo>
                  <a:cubicBezTo>
                    <a:pt x="912802" y="1150415"/>
                    <a:pt x="861128" y="1221126"/>
                    <a:pt x="774099" y="1221126"/>
                  </a:cubicBezTo>
                  <a:cubicBezTo>
                    <a:pt x="670752" y="1221126"/>
                    <a:pt x="589162" y="1166733"/>
                    <a:pt x="553807" y="1098742"/>
                  </a:cubicBezTo>
                  <a:cubicBezTo>
                    <a:pt x="551087" y="1093303"/>
                    <a:pt x="551087" y="1090583"/>
                    <a:pt x="548367" y="1085144"/>
                  </a:cubicBezTo>
                  <a:cubicBezTo>
                    <a:pt x="534769" y="1147696"/>
                    <a:pt x="450460" y="1199369"/>
                    <a:pt x="398786" y="1212967"/>
                  </a:cubicBezTo>
                  <a:cubicBezTo>
                    <a:pt x="322636" y="1234725"/>
                    <a:pt x="222008" y="1223846"/>
                    <a:pt x="156736" y="1180332"/>
                  </a:cubicBezTo>
                  <a:cubicBezTo>
                    <a:pt x="-79874" y="1028031"/>
                    <a:pt x="-58117" y="416107"/>
                    <a:pt x="287280" y="416107"/>
                  </a:cubicBezTo>
                  <a:cubicBezTo>
                    <a:pt x="412385" y="416107"/>
                    <a:pt x="491255" y="503137"/>
                    <a:pt x="526611" y="552091"/>
                  </a:cubicBezTo>
                  <a:lnTo>
                    <a:pt x="526611" y="149581"/>
                  </a:lnTo>
                  <a:cubicBezTo>
                    <a:pt x="526611" y="67992"/>
                    <a:pt x="594602" y="0"/>
                    <a:pt x="676192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F3A1975F-7C02-48CB-8D59-F7DFAE427701}"/>
                </a:ext>
              </a:extLst>
            </p:cNvPr>
            <p:cNvSpPr/>
            <p:nvPr/>
          </p:nvSpPr>
          <p:spPr>
            <a:xfrm>
              <a:off x="6789513" y="2362895"/>
              <a:ext cx="747906" cy="810458"/>
            </a:xfrm>
            <a:custGeom>
              <a:avLst/>
              <a:gdLst>
                <a:gd name="connsiteX0" fmla="*/ 394818 w 747906"/>
                <a:gd name="connsiteY0" fmla="*/ 163222 h 810458"/>
                <a:gd name="connsiteX1" fmla="*/ 356275 w 747906"/>
                <a:gd name="connsiteY1" fmla="*/ 174058 h 810458"/>
                <a:gd name="connsiteX2" fmla="*/ 274685 w 747906"/>
                <a:gd name="connsiteY2" fmla="*/ 356275 h 810458"/>
                <a:gd name="connsiteX3" fmla="*/ 375313 w 747906"/>
                <a:gd name="connsiteY3" fmla="*/ 358994 h 810458"/>
                <a:gd name="connsiteX4" fmla="*/ 473220 w 747906"/>
                <a:gd name="connsiteY4" fmla="*/ 239329 h 810458"/>
                <a:gd name="connsiteX5" fmla="*/ 394818 w 747906"/>
                <a:gd name="connsiteY5" fmla="*/ 163222 h 810458"/>
                <a:gd name="connsiteX6" fmla="*/ 386192 w 747906"/>
                <a:gd name="connsiteY6" fmla="*/ 0 h 810458"/>
                <a:gd name="connsiteX7" fmla="*/ 747906 w 747906"/>
                <a:gd name="connsiteY7" fmla="*/ 266526 h 810458"/>
                <a:gd name="connsiteX8" fmla="*/ 291004 w 747906"/>
                <a:gd name="connsiteY8" fmla="*/ 484100 h 810458"/>
                <a:gd name="connsiteX9" fmla="*/ 497698 w 747906"/>
                <a:gd name="connsiteY9" fmla="*/ 617363 h 810458"/>
                <a:gd name="connsiteX10" fmla="*/ 712551 w 747906"/>
                <a:gd name="connsiteY10" fmla="*/ 557530 h 810458"/>
                <a:gd name="connsiteX11" fmla="*/ 388912 w 747906"/>
                <a:gd name="connsiteY11" fmla="*/ 810458 h 810458"/>
                <a:gd name="connsiteX12" fmla="*/ 0 w 747906"/>
                <a:gd name="connsiteY12" fmla="*/ 413389 h 810458"/>
                <a:gd name="connsiteX13" fmla="*/ 386192 w 747906"/>
                <a:gd name="connsiteY13" fmla="*/ 0 h 8104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747906" h="810458">
                  <a:moveTo>
                    <a:pt x="394818" y="163222"/>
                  </a:moveTo>
                  <a:cubicBezTo>
                    <a:pt x="381772" y="163179"/>
                    <a:pt x="368514" y="166579"/>
                    <a:pt x="356275" y="174058"/>
                  </a:cubicBezTo>
                  <a:cubicBezTo>
                    <a:pt x="299162" y="212133"/>
                    <a:pt x="282844" y="291003"/>
                    <a:pt x="274685" y="356275"/>
                  </a:cubicBezTo>
                  <a:cubicBezTo>
                    <a:pt x="274685" y="364434"/>
                    <a:pt x="369873" y="358994"/>
                    <a:pt x="375313" y="358994"/>
                  </a:cubicBezTo>
                  <a:cubicBezTo>
                    <a:pt x="432425" y="345396"/>
                    <a:pt x="473220" y="301881"/>
                    <a:pt x="473220" y="239329"/>
                  </a:cubicBezTo>
                  <a:cubicBezTo>
                    <a:pt x="471181" y="194455"/>
                    <a:pt x="433956" y="163349"/>
                    <a:pt x="394818" y="163222"/>
                  </a:cubicBezTo>
                  <a:close/>
                  <a:moveTo>
                    <a:pt x="386192" y="0"/>
                  </a:moveTo>
                  <a:cubicBezTo>
                    <a:pt x="519455" y="0"/>
                    <a:pt x="747906" y="65272"/>
                    <a:pt x="747906" y="266526"/>
                  </a:cubicBezTo>
                  <a:cubicBezTo>
                    <a:pt x="747906" y="467782"/>
                    <a:pt x="538493" y="484100"/>
                    <a:pt x="291004" y="484100"/>
                  </a:cubicBezTo>
                  <a:cubicBezTo>
                    <a:pt x="291004" y="484100"/>
                    <a:pt x="326359" y="617363"/>
                    <a:pt x="497698" y="617363"/>
                  </a:cubicBezTo>
                  <a:cubicBezTo>
                    <a:pt x="669036" y="617363"/>
                    <a:pt x="712551" y="557530"/>
                    <a:pt x="712551" y="557530"/>
                  </a:cubicBezTo>
                  <a:cubicBezTo>
                    <a:pt x="712551" y="557530"/>
                    <a:pt x="696233" y="810458"/>
                    <a:pt x="388912" y="810458"/>
                  </a:cubicBezTo>
                  <a:cubicBezTo>
                    <a:pt x="212134" y="810458"/>
                    <a:pt x="0" y="677195"/>
                    <a:pt x="0" y="413389"/>
                  </a:cubicBezTo>
                  <a:cubicBezTo>
                    <a:pt x="0" y="176778"/>
                    <a:pt x="163180" y="0"/>
                    <a:pt x="386192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FA80F85C-7E32-43D0-9885-E38ABE2A44CB}"/>
                </a:ext>
              </a:extLst>
            </p:cNvPr>
            <p:cNvSpPr/>
            <p:nvPr/>
          </p:nvSpPr>
          <p:spPr>
            <a:xfrm>
              <a:off x="7988882" y="2362895"/>
              <a:ext cx="747906" cy="810458"/>
            </a:xfrm>
            <a:custGeom>
              <a:avLst/>
              <a:gdLst>
                <a:gd name="connsiteX0" fmla="*/ 394818 w 747906"/>
                <a:gd name="connsiteY0" fmla="*/ 163222 h 810458"/>
                <a:gd name="connsiteX1" fmla="*/ 356275 w 747906"/>
                <a:gd name="connsiteY1" fmla="*/ 174058 h 810458"/>
                <a:gd name="connsiteX2" fmla="*/ 274685 w 747906"/>
                <a:gd name="connsiteY2" fmla="*/ 356275 h 810458"/>
                <a:gd name="connsiteX3" fmla="*/ 375313 w 747906"/>
                <a:gd name="connsiteY3" fmla="*/ 358994 h 810458"/>
                <a:gd name="connsiteX4" fmla="*/ 473220 w 747906"/>
                <a:gd name="connsiteY4" fmla="*/ 239329 h 810458"/>
                <a:gd name="connsiteX5" fmla="*/ 394818 w 747906"/>
                <a:gd name="connsiteY5" fmla="*/ 163222 h 810458"/>
                <a:gd name="connsiteX6" fmla="*/ 386192 w 747906"/>
                <a:gd name="connsiteY6" fmla="*/ 0 h 810458"/>
                <a:gd name="connsiteX7" fmla="*/ 747906 w 747906"/>
                <a:gd name="connsiteY7" fmla="*/ 266526 h 810458"/>
                <a:gd name="connsiteX8" fmla="*/ 291004 w 747906"/>
                <a:gd name="connsiteY8" fmla="*/ 484100 h 810458"/>
                <a:gd name="connsiteX9" fmla="*/ 497697 w 747906"/>
                <a:gd name="connsiteY9" fmla="*/ 617363 h 810458"/>
                <a:gd name="connsiteX10" fmla="*/ 712551 w 747906"/>
                <a:gd name="connsiteY10" fmla="*/ 557530 h 810458"/>
                <a:gd name="connsiteX11" fmla="*/ 388911 w 747906"/>
                <a:gd name="connsiteY11" fmla="*/ 810458 h 810458"/>
                <a:gd name="connsiteX12" fmla="*/ 0 w 747906"/>
                <a:gd name="connsiteY12" fmla="*/ 413389 h 810458"/>
                <a:gd name="connsiteX13" fmla="*/ 386192 w 747906"/>
                <a:gd name="connsiteY13" fmla="*/ 0 h 8104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747906" h="810458">
                  <a:moveTo>
                    <a:pt x="394818" y="163222"/>
                  </a:moveTo>
                  <a:cubicBezTo>
                    <a:pt x="381772" y="163179"/>
                    <a:pt x="368514" y="166579"/>
                    <a:pt x="356275" y="174058"/>
                  </a:cubicBezTo>
                  <a:cubicBezTo>
                    <a:pt x="299162" y="212133"/>
                    <a:pt x="282844" y="291003"/>
                    <a:pt x="274685" y="356275"/>
                  </a:cubicBezTo>
                  <a:cubicBezTo>
                    <a:pt x="274685" y="364434"/>
                    <a:pt x="369873" y="358994"/>
                    <a:pt x="375313" y="358994"/>
                  </a:cubicBezTo>
                  <a:cubicBezTo>
                    <a:pt x="432426" y="345396"/>
                    <a:pt x="473220" y="301881"/>
                    <a:pt x="473220" y="239329"/>
                  </a:cubicBezTo>
                  <a:cubicBezTo>
                    <a:pt x="471181" y="194455"/>
                    <a:pt x="433955" y="163349"/>
                    <a:pt x="394818" y="163222"/>
                  </a:cubicBezTo>
                  <a:close/>
                  <a:moveTo>
                    <a:pt x="386192" y="0"/>
                  </a:moveTo>
                  <a:cubicBezTo>
                    <a:pt x="519455" y="0"/>
                    <a:pt x="747906" y="65272"/>
                    <a:pt x="747906" y="266526"/>
                  </a:cubicBezTo>
                  <a:cubicBezTo>
                    <a:pt x="747906" y="467782"/>
                    <a:pt x="538492" y="484100"/>
                    <a:pt x="291004" y="484100"/>
                  </a:cubicBezTo>
                  <a:cubicBezTo>
                    <a:pt x="291004" y="484100"/>
                    <a:pt x="326359" y="617363"/>
                    <a:pt x="497697" y="617363"/>
                  </a:cubicBezTo>
                  <a:cubicBezTo>
                    <a:pt x="669036" y="617363"/>
                    <a:pt x="712551" y="557530"/>
                    <a:pt x="712551" y="557530"/>
                  </a:cubicBezTo>
                  <a:cubicBezTo>
                    <a:pt x="712551" y="557530"/>
                    <a:pt x="696233" y="810458"/>
                    <a:pt x="388911" y="810458"/>
                  </a:cubicBezTo>
                  <a:cubicBezTo>
                    <a:pt x="212133" y="810458"/>
                    <a:pt x="0" y="677195"/>
                    <a:pt x="0" y="413389"/>
                  </a:cubicBezTo>
                  <a:cubicBezTo>
                    <a:pt x="0" y="176778"/>
                    <a:pt x="163180" y="0"/>
                    <a:pt x="386192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9DB6B1AE-A85D-4AC8-9DA0-FB59FB12B972}"/>
                </a:ext>
              </a:extLst>
            </p:cNvPr>
            <p:cNvSpPr/>
            <p:nvPr/>
          </p:nvSpPr>
          <p:spPr>
            <a:xfrm>
              <a:off x="8683414" y="2274801"/>
              <a:ext cx="897487" cy="951879"/>
            </a:xfrm>
            <a:custGeom>
              <a:avLst/>
              <a:gdLst>
                <a:gd name="connsiteX0" fmla="*/ 580988 w 897487"/>
                <a:gd name="connsiteY0" fmla="*/ 667381 h 951879"/>
                <a:gd name="connsiteX1" fmla="*/ 409649 w 897487"/>
                <a:gd name="connsiteY1" fmla="*/ 667381 h 951879"/>
                <a:gd name="connsiteX2" fmla="*/ 591866 w 897487"/>
                <a:gd name="connsiteY2" fmla="*/ 525959 h 951879"/>
                <a:gd name="connsiteX3" fmla="*/ 842075 w 897487"/>
                <a:gd name="connsiteY3" fmla="*/ 123450 h 951879"/>
                <a:gd name="connsiteX4" fmla="*/ 842075 w 897487"/>
                <a:gd name="connsiteY4" fmla="*/ 123450 h 951879"/>
                <a:gd name="connsiteX5" fmla="*/ 798560 w 897487"/>
                <a:gd name="connsiteY5" fmla="*/ 58178 h 951879"/>
                <a:gd name="connsiteX6" fmla="*/ 746887 w 897487"/>
                <a:gd name="connsiteY6" fmla="*/ 107132 h 951879"/>
                <a:gd name="connsiteX7" fmla="*/ 697933 w 897487"/>
                <a:gd name="connsiteY7" fmla="*/ 115291 h 951879"/>
                <a:gd name="connsiteX8" fmla="*/ 219273 w 897487"/>
                <a:gd name="connsiteY8" fmla="*/ 115291 h 951879"/>
                <a:gd name="connsiteX9" fmla="*/ 102328 w 897487"/>
                <a:gd name="connsiteY9" fmla="*/ 224077 h 951879"/>
                <a:gd name="connsiteX10" fmla="*/ 213834 w 897487"/>
                <a:gd name="connsiteY10" fmla="*/ 332863 h 951879"/>
                <a:gd name="connsiteX11" fmla="*/ 485800 w 897487"/>
                <a:gd name="connsiteY11" fmla="*/ 335583 h 951879"/>
                <a:gd name="connsiteX12" fmla="*/ 134964 w 897487"/>
                <a:gd name="connsiteY12" fmla="*/ 615708 h 951879"/>
                <a:gd name="connsiteX13" fmla="*/ 61533 w 897487"/>
                <a:gd name="connsiteY13" fmla="*/ 884953 h 951879"/>
                <a:gd name="connsiteX14" fmla="*/ 398771 w 897487"/>
                <a:gd name="connsiteY14" fmla="*/ 806083 h 951879"/>
                <a:gd name="connsiteX15" fmla="*/ 529314 w 897487"/>
                <a:gd name="connsiteY15" fmla="*/ 863196 h 951879"/>
                <a:gd name="connsiteX16" fmla="*/ 782242 w 897487"/>
                <a:gd name="connsiteY16" fmla="*/ 607549 h 951879"/>
                <a:gd name="connsiteX17" fmla="*/ 580988 w 897487"/>
                <a:gd name="connsiteY17" fmla="*/ 667381 h 9518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897487" h="951879">
                  <a:moveTo>
                    <a:pt x="580988" y="667381"/>
                  </a:moveTo>
                  <a:lnTo>
                    <a:pt x="409649" y="667381"/>
                  </a:lnTo>
                  <a:cubicBezTo>
                    <a:pt x="423248" y="667381"/>
                    <a:pt x="548352" y="561314"/>
                    <a:pt x="591866" y="525959"/>
                  </a:cubicBezTo>
                  <a:cubicBezTo>
                    <a:pt x="700653" y="433491"/>
                    <a:pt x="899188" y="297508"/>
                    <a:pt x="842075" y="123450"/>
                  </a:cubicBezTo>
                  <a:lnTo>
                    <a:pt x="842075" y="123450"/>
                  </a:lnTo>
                  <a:cubicBezTo>
                    <a:pt x="831197" y="82655"/>
                    <a:pt x="798560" y="58178"/>
                    <a:pt x="798560" y="58178"/>
                  </a:cubicBezTo>
                  <a:cubicBezTo>
                    <a:pt x="798560" y="58178"/>
                    <a:pt x="787682" y="90814"/>
                    <a:pt x="746887" y="107132"/>
                  </a:cubicBezTo>
                  <a:cubicBezTo>
                    <a:pt x="730569" y="109852"/>
                    <a:pt x="714251" y="115291"/>
                    <a:pt x="697933" y="115291"/>
                  </a:cubicBezTo>
                  <a:cubicBezTo>
                    <a:pt x="684334" y="115291"/>
                    <a:pt x="219273" y="115291"/>
                    <a:pt x="219273" y="115291"/>
                  </a:cubicBezTo>
                  <a:cubicBezTo>
                    <a:pt x="156721" y="115291"/>
                    <a:pt x="105048" y="166964"/>
                    <a:pt x="102328" y="224077"/>
                  </a:cubicBezTo>
                  <a:cubicBezTo>
                    <a:pt x="102328" y="283910"/>
                    <a:pt x="151282" y="332863"/>
                    <a:pt x="213834" y="332863"/>
                  </a:cubicBezTo>
                  <a:lnTo>
                    <a:pt x="485800" y="335583"/>
                  </a:lnTo>
                  <a:cubicBezTo>
                    <a:pt x="360695" y="406294"/>
                    <a:pt x="211114" y="487884"/>
                    <a:pt x="134964" y="615708"/>
                  </a:cubicBezTo>
                  <a:cubicBezTo>
                    <a:pt x="91449" y="689138"/>
                    <a:pt x="45215" y="800644"/>
                    <a:pt x="61533" y="884953"/>
                  </a:cubicBezTo>
                  <a:cubicBezTo>
                    <a:pt x="121366" y="830560"/>
                    <a:pt x="279106" y="778887"/>
                    <a:pt x="398771" y="806083"/>
                  </a:cubicBezTo>
                  <a:cubicBezTo>
                    <a:pt x="445005" y="814242"/>
                    <a:pt x="491239" y="838719"/>
                    <a:pt x="529314" y="863196"/>
                  </a:cubicBezTo>
                  <a:cubicBezTo>
                    <a:pt x="755046" y="1004618"/>
                    <a:pt x="891029" y="727213"/>
                    <a:pt x="782242" y="607549"/>
                  </a:cubicBezTo>
                  <a:cubicBezTo>
                    <a:pt x="784962" y="607549"/>
                    <a:pt x="722410" y="667381"/>
                    <a:pt x="580988" y="667381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/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CB19621C-3CF9-4D27-A3E9-6652395A80D0}"/>
                </a:ext>
              </a:extLst>
            </p:cNvPr>
            <p:cNvSpPr/>
            <p:nvPr/>
          </p:nvSpPr>
          <p:spPr>
            <a:xfrm>
              <a:off x="2624650" y="1948442"/>
              <a:ext cx="1903761" cy="1577400"/>
            </a:xfrm>
            <a:custGeom>
              <a:avLst/>
              <a:gdLst>
                <a:gd name="connsiteX0" fmla="*/ 1559430 w 1903760"/>
                <a:gd name="connsiteY0" fmla="*/ 1165078 h 1577399"/>
                <a:gd name="connsiteX1" fmla="*/ 1369054 w 1903760"/>
                <a:gd name="connsiteY1" fmla="*/ 593950 h 1577399"/>
                <a:gd name="connsiteX2" fmla="*/ 1483279 w 1903760"/>
                <a:gd name="connsiteY2" fmla="*/ 126170 h 1577399"/>
                <a:gd name="connsiteX3" fmla="*/ 1311941 w 1903760"/>
                <a:gd name="connsiteY3" fmla="*/ 58178 h 1577399"/>
                <a:gd name="connsiteX4" fmla="*/ 1078050 w 1903760"/>
                <a:gd name="connsiteY4" fmla="*/ 205040 h 1577399"/>
                <a:gd name="connsiteX5" fmla="*/ 846879 w 1903760"/>
                <a:gd name="connsiteY5" fmla="*/ 523239 h 1577399"/>
                <a:gd name="connsiteX6" fmla="*/ 645624 w 1903760"/>
                <a:gd name="connsiteY6" fmla="*/ 210479 h 1577399"/>
                <a:gd name="connsiteX7" fmla="*/ 455248 w 1903760"/>
                <a:gd name="connsiteY7" fmla="*/ 63617 h 1577399"/>
                <a:gd name="connsiteX8" fmla="*/ 234956 w 1903760"/>
                <a:gd name="connsiteY8" fmla="*/ 137048 h 1577399"/>
                <a:gd name="connsiteX9" fmla="*/ 316546 w 1903760"/>
                <a:gd name="connsiteY9" fmla="*/ 588511 h 1577399"/>
                <a:gd name="connsiteX10" fmla="*/ 58178 w 1903760"/>
                <a:gd name="connsiteY10" fmla="*/ 1072610 h 1577399"/>
                <a:gd name="connsiteX11" fmla="*/ 474286 w 1903760"/>
                <a:gd name="connsiteY11" fmla="*/ 1020936 h 1577399"/>
                <a:gd name="connsiteX12" fmla="*/ 555876 w 1903760"/>
                <a:gd name="connsiteY12" fmla="*/ 572193 h 1577399"/>
                <a:gd name="connsiteX13" fmla="*/ 830561 w 1903760"/>
                <a:gd name="connsiteY13" fmla="*/ 993740 h 1577399"/>
                <a:gd name="connsiteX14" fmla="*/ 1140602 w 1903760"/>
                <a:gd name="connsiteY14" fmla="*/ 574913 h 1577399"/>
                <a:gd name="connsiteX15" fmla="*/ 1567589 w 1903760"/>
                <a:gd name="connsiteY15" fmla="*/ 1526792 h 1577399"/>
                <a:gd name="connsiteX16" fmla="*/ 1866751 w 1903760"/>
                <a:gd name="connsiteY16" fmla="*/ 1322818 h 1577399"/>
                <a:gd name="connsiteX17" fmla="*/ 1559430 w 1903760"/>
                <a:gd name="connsiteY17" fmla="*/ 1165078 h 15773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903760" h="1577399">
                  <a:moveTo>
                    <a:pt x="1559430" y="1165078"/>
                  </a:moveTo>
                  <a:cubicBezTo>
                    <a:pt x="1420727" y="1012777"/>
                    <a:pt x="1377213" y="762569"/>
                    <a:pt x="1369054" y="593950"/>
                  </a:cubicBezTo>
                  <a:cubicBezTo>
                    <a:pt x="1360895" y="449809"/>
                    <a:pt x="1369054" y="199600"/>
                    <a:pt x="1483279" y="126170"/>
                  </a:cubicBezTo>
                  <a:cubicBezTo>
                    <a:pt x="1445204" y="77216"/>
                    <a:pt x="1369054" y="58178"/>
                    <a:pt x="1311941" y="58178"/>
                  </a:cubicBezTo>
                  <a:cubicBezTo>
                    <a:pt x="1184117" y="58178"/>
                    <a:pt x="1121565" y="142488"/>
                    <a:pt x="1078050" y="205040"/>
                  </a:cubicBezTo>
                  <a:cubicBezTo>
                    <a:pt x="1064452" y="224077"/>
                    <a:pt x="846879" y="523239"/>
                    <a:pt x="846879" y="523239"/>
                  </a:cubicBezTo>
                  <a:cubicBezTo>
                    <a:pt x="846879" y="523239"/>
                    <a:pt x="667382" y="243115"/>
                    <a:pt x="645624" y="210479"/>
                  </a:cubicBezTo>
                  <a:cubicBezTo>
                    <a:pt x="615708" y="164245"/>
                    <a:pt x="555876" y="77216"/>
                    <a:pt x="455248" y="63617"/>
                  </a:cubicBezTo>
                  <a:cubicBezTo>
                    <a:pt x="411734" y="58178"/>
                    <a:pt x="297508" y="52739"/>
                    <a:pt x="234956" y="137048"/>
                  </a:cubicBezTo>
                  <a:cubicBezTo>
                    <a:pt x="341023" y="221357"/>
                    <a:pt x="338303" y="438930"/>
                    <a:pt x="316546" y="588511"/>
                  </a:cubicBezTo>
                  <a:cubicBezTo>
                    <a:pt x="248554" y="1031815"/>
                    <a:pt x="58178" y="1072610"/>
                    <a:pt x="58178" y="1072610"/>
                  </a:cubicBezTo>
                  <a:cubicBezTo>
                    <a:pt x="156086" y="1333696"/>
                    <a:pt x="403575" y="1230350"/>
                    <a:pt x="474286" y="1020936"/>
                  </a:cubicBezTo>
                  <a:cubicBezTo>
                    <a:pt x="520520" y="884953"/>
                    <a:pt x="550436" y="713615"/>
                    <a:pt x="555876" y="572193"/>
                  </a:cubicBezTo>
                  <a:lnTo>
                    <a:pt x="830561" y="993740"/>
                  </a:lnTo>
                  <a:cubicBezTo>
                    <a:pt x="830561" y="993740"/>
                    <a:pt x="1140602" y="574913"/>
                    <a:pt x="1140602" y="574913"/>
                  </a:cubicBezTo>
                  <a:cubicBezTo>
                    <a:pt x="1088929" y="1314659"/>
                    <a:pt x="1344577" y="1526792"/>
                    <a:pt x="1567589" y="1526792"/>
                  </a:cubicBezTo>
                  <a:cubicBezTo>
                    <a:pt x="1790601" y="1526792"/>
                    <a:pt x="1866751" y="1322818"/>
                    <a:pt x="1866751" y="1322818"/>
                  </a:cubicBezTo>
                  <a:cubicBezTo>
                    <a:pt x="1744367" y="1314659"/>
                    <a:pt x="1641019" y="1252107"/>
                    <a:pt x="1559430" y="1165078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F7391DFE-9D62-4B61-8409-C752842052B4}"/>
                </a:ext>
              </a:extLst>
            </p:cNvPr>
            <p:cNvSpPr/>
            <p:nvPr/>
          </p:nvSpPr>
          <p:spPr>
            <a:xfrm>
              <a:off x="4792218" y="3234839"/>
              <a:ext cx="271966" cy="652717"/>
            </a:xfrm>
            <a:custGeom>
              <a:avLst/>
              <a:gdLst>
                <a:gd name="connsiteX0" fmla="*/ 88095 w 271965"/>
                <a:gd name="connsiteY0" fmla="*/ 120730 h 652717"/>
                <a:gd name="connsiteX1" fmla="*/ 93534 w 271965"/>
                <a:gd name="connsiteY1" fmla="*/ 153366 h 652717"/>
                <a:gd name="connsiteX2" fmla="*/ 93534 w 271965"/>
                <a:gd name="connsiteY2" fmla="*/ 544997 h 652717"/>
                <a:gd name="connsiteX3" fmla="*/ 156086 w 271965"/>
                <a:gd name="connsiteY3" fmla="*/ 604829 h 652717"/>
                <a:gd name="connsiteX4" fmla="*/ 221358 w 271965"/>
                <a:gd name="connsiteY4" fmla="*/ 544997 h 652717"/>
                <a:gd name="connsiteX5" fmla="*/ 221358 w 271965"/>
                <a:gd name="connsiteY5" fmla="*/ 194161 h 652717"/>
                <a:gd name="connsiteX6" fmla="*/ 210479 w 271965"/>
                <a:gd name="connsiteY6" fmla="*/ 109852 h 652717"/>
                <a:gd name="connsiteX7" fmla="*/ 118011 w 271965"/>
                <a:gd name="connsiteY7" fmla="*/ 58178 h 652717"/>
                <a:gd name="connsiteX8" fmla="*/ 58178 w 271965"/>
                <a:gd name="connsiteY8" fmla="*/ 88094 h 652717"/>
                <a:gd name="connsiteX9" fmla="*/ 88095 w 271965"/>
                <a:gd name="connsiteY9" fmla="*/ 120730 h 6527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71965" h="652717">
                  <a:moveTo>
                    <a:pt x="88095" y="120730"/>
                  </a:moveTo>
                  <a:cubicBezTo>
                    <a:pt x="90814" y="131609"/>
                    <a:pt x="90814" y="142487"/>
                    <a:pt x="93534" y="153366"/>
                  </a:cubicBezTo>
                  <a:cubicBezTo>
                    <a:pt x="93534" y="156086"/>
                    <a:pt x="93534" y="542277"/>
                    <a:pt x="93534" y="544997"/>
                  </a:cubicBezTo>
                  <a:cubicBezTo>
                    <a:pt x="93534" y="577632"/>
                    <a:pt x="123450" y="604829"/>
                    <a:pt x="156086" y="604829"/>
                  </a:cubicBezTo>
                  <a:cubicBezTo>
                    <a:pt x="188722" y="607548"/>
                    <a:pt x="221358" y="577632"/>
                    <a:pt x="221358" y="544997"/>
                  </a:cubicBezTo>
                  <a:cubicBezTo>
                    <a:pt x="221358" y="539557"/>
                    <a:pt x="221358" y="194161"/>
                    <a:pt x="221358" y="194161"/>
                  </a:cubicBezTo>
                  <a:cubicBezTo>
                    <a:pt x="221358" y="164245"/>
                    <a:pt x="224078" y="134329"/>
                    <a:pt x="210479" y="109852"/>
                  </a:cubicBezTo>
                  <a:cubicBezTo>
                    <a:pt x="196881" y="79935"/>
                    <a:pt x="158806" y="58178"/>
                    <a:pt x="118011" y="58178"/>
                  </a:cubicBezTo>
                  <a:cubicBezTo>
                    <a:pt x="79936" y="58178"/>
                    <a:pt x="58178" y="88094"/>
                    <a:pt x="58178" y="88094"/>
                  </a:cubicBezTo>
                  <a:cubicBezTo>
                    <a:pt x="58178" y="88094"/>
                    <a:pt x="77216" y="93534"/>
                    <a:pt x="88095" y="120730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5FAD3A82-7B29-42F5-AB59-E5A4CA9E2BD1}"/>
                </a:ext>
              </a:extLst>
            </p:cNvPr>
            <p:cNvSpPr/>
            <p:nvPr/>
          </p:nvSpPr>
          <p:spPr>
            <a:xfrm>
              <a:off x="8751819" y="3234667"/>
              <a:ext cx="271966" cy="652717"/>
            </a:xfrm>
            <a:custGeom>
              <a:avLst/>
              <a:gdLst>
                <a:gd name="connsiteX0" fmla="*/ 191663 w 271965"/>
                <a:gd name="connsiteY0" fmla="*/ 542449 h 652717"/>
                <a:gd name="connsiteX1" fmla="*/ 186224 w 271965"/>
                <a:gd name="connsiteY1" fmla="*/ 509813 h 652717"/>
                <a:gd name="connsiteX2" fmla="*/ 186224 w 271965"/>
                <a:gd name="connsiteY2" fmla="*/ 118183 h 652717"/>
                <a:gd name="connsiteX3" fmla="*/ 123672 w 271965"/>
                <a:gd name="connsiteY3" fmla="*/ 58350 h 652717"/>
                <a:gd name="connsiteX4" fmla="*/ 58400 w 271965"/>
                <a:gd name="connsiteY4" fmla="*/ 118183 h 652717"/>
                <a:gd name="connsiteX5" fmla="*/ 58400 w 271965"/>
                <a:gd name="connsiteY5" fmla="*/ 469018 h 652717"/>
                <a:gd name="connsiteX6" fmla="*/ 69279 w 271965"/>
                <a:gd name="connsiteY6" fmla="*/ 553328 h 652717"/>
                <a:gd name="connsiteX7" fmla="*/ 161747 w 271965"/>
                <a:gd name="connsiteY7" fmla="*/ 605001 h 652717"/>
                <a:gd name="connsiteX8" fmla="*/ 221580 w 271965"/>
                <a:gd name="connsiteY8" fmla="*/ 575085 h 652717"/>
                <a:gd name="connsiteX9" fmla="*/ 191663 w 271965"/>
                <a:gd name="connsiteY9" fmla="*/ 542449 h 6527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71965" h="652717">
                  <a:moveTo>
                    <a:pt x="191663" y="542449"/>
                  </a:moveTo>
                  <a:cubicBezTo>
                    <a:pt x="188944" y="531570"/>
                    <a:pt x="186224" y="520692"/>
                    <a:pt x="186224" y="509813"/>
                  </a:cubicBezTo>
                  <a:cubicBezTo>
                    <a:pt x="186224" y="507093"/>
                    <a:pt x="186224" y="120902"/>
                    <a:pt x="186224" y="118183"/>
                  </a:cubicBezTo>
                  <a:cubicBezTo>
                    <a:pt x="186224" y="85547"/>
                    <a:pt x="156308" y="58350"/>
                    <a:pt x="123672" y="58350"/>
                  </a:cubicBezTo>
                  <a:cubicBezTo>
                    <a:pt x="91036" y="55631"/>
                    <a:pt x="58400" y="85547"/>
                    <a:pt x="58400" y="118183"/>
                  </a:cubicBezTo>
                  <a:cubicBezTo>
                    <a:pt x="58400" y="123622"/>
                    <a:pt x="58400" y="469018"/>
                    <a:pt x="58400" y="469018"/>
                  </a:cubicBezTo>
                  <a:cubicBezTo>
                    <a:pt x="58400" y="498934"/>
                    <a:pt x="55680" y="528851"/>
                    <a:pt x="69279" y="553328"/>
                  </a:cubicBezTo>
                  <a:cubicBezTo>
                    <a:pt x="82877" y="583244"/>
                    <a:pt x="120953" y="605001"/>
                    <a:pt x="161747" y="605001"/>
                  </a:cubicBezTo>
                  <a:cubicBezTo>
                    <a:pt x="199822" y="605001"/>
                    <a:pt x="221580" y="575085"/>
                    <a:pt x="221580" y="575085"/>
                  </a:cubicBezTo>
                  <a:cubicBezTo>
                    <a:pt x="221580" y="575085"/>
                    <a:pt x="202542" y="566926"/>
                    <a:pt x="191663" y="542449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5CE88A3E-3408-4633-BC8C-32A679628985}"/>
                </a:ext>
              </a:extLst>
            </p:cNvPr>
            <p:cNvSpPr/>
            <p:nvPr/>
          </p:nvSpPr>
          <p:spPr>
            <a:xfrm>
              <a:off x="6320666" y="3416868"/>
              <a:ext cx="435145" cy="462341"/>
            </a:xfrm>
            <a:custGeom>
              <a:avLst/>
              <a:gdLst>
                <a:gd name="connsiteX0" fmla="*/ 302948 w 435145"/>
                <a:gd name="connsiteY0" fmla="*/ 74684 h 462341"/>
                <a:gd name="connsiteX1" fmla="*/ 186003 w 435145"/>
                <a:gd name="connsiteY1" fmla="*/ 148115 h 462341"/>
                <a:gd name="connsiteX2" fmla="*/ 186003 w 435145"/>
                <a:gd name="connsiteY2" fmla="*/ 148115 h 462341"/>
                <a:gd name="connsiteX3" fmla="*/ 186003 w 435145"/>
                <a:gd name="connsiteY3" fmla="*/ 115479 h 462341"/>
                <a:gd name="connsiteX4" fmla="*/ 123450 w 435145"/>
                <a:gd name="connsiteY4" fmla="*/ 58366 h 462341"/>
                <a:gd name="connsiteX5" fmla="*/ 58178 w 435145"/>
                <a:gd name="connsiteY5" fmla="*/ 115479 h 462341"/>
                <a:gd name="connsiteX6" fmla="*/ 58178 w 435145"/>
                <a:gd name="connsiteY6" fmla="*/ 362967 h 462341"/>
                <a:gd name="connsiteX7" fmla="*/ 120730 w 435145"/>
                <a:gd name="connsiteY7" fmla="*/ 422800 h 462341"/>
                <a:gd name="connsiteX8" fmla="*/ 186003 w 435145"/>
                <a:gd name="connsiteY8" fmla="*/ 362967 h 462341"/>
                <a:gd name="connsiteX9" fmla="*/ 186003 w 435145"/>
                <a:gd name="connsiteY9" fmla="*/ 213386 h 462341"/>
                <a:gd name="connsiteX10" fmla="*/ 186003 w 435145"/>
                <a:gd name="connsiteY10" fmla="*/ 213386 h 462341"/>
                <a:gd name="connsiteX11" fmla="*/ 229517 w 435145"/>
                <a:gd name="connsiteY11" fmla="*/ 161713 h 462341"/>
                <a:gd name="connsiteX12" fmla="*/ 259433 w 435145"/>
                <a:gd name="connsiteY12" fmla="*/ 194349 h 462341"/>
                <a:gd name="connsiteX13" fmla="*/ 259433 w 435145"/>
                <a:gd name="connsiteY13" fmla="*/ 362967 h 462341"/>
                <a:gd name="connsiteX14" fmla="*/ 321985 w 435145"/>
                <a:gd name="connsiteY14" fmla="*/ 422800 h 462341"/>
                <a:gd name="connsiteX15" fmla="*/ 387257 w 435145"/>
                <a:gd name="connsiteY15" fmla="*/ 362967 h 462341"/>
                <a:gd name="connsiteX16" fmla="*/ 387257 w 435145"/>
                <a:gd name="connsiteY16" fmla="*/ 273219 h 462341"/>
                <a:gd name="connsiteX17" fmla="*/ 302948 w 435145"/>
                <a:gd name="connsiteY17" fmla="*/ 74684 h 4623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435145" h="462341">
                  <a:moveTo>
                    <a:pt x="302948" y="74684"/>
                  </a:moveTo>
                  <a:cubicBezTo>
                    <a:pt x="234956" y="74684"/>
                    <a:pt x="196881" y="131797"/>
                    <a:pt x="186003" y="148115"/>
                  </a:cubicBezTo>
                  <a:lnTo>
                    <a:pt x="186003" y="148115"/>
                  </a:lnTo>
                  <a:cubicBezTo>
                    <a:pt x="186003" y="129077"/>
                    <a:pt x="186003" y="115479"/>
                    <a:pt x="186003" y="115479"/>
                  </a:cubicBezTo>
                  <a:cubicBezTo>
                    <a:pt x="186003" y="82843"/>
                    <a:pt x="156086" y="58366"/>
                    <a:pt x="123450" y="58366"/>
                  </a:cubicBezTo>
                  <a:cubicBezTo>
                    <a:pt x="90814" y="55646"/>
                    <a:pt x="58178" y="82843"/>
                    <a:pt x="58178" y="115479"/>
                  </a:cubicBezTo>
                  <a:cubicBezTo>
                    <a:pt x="58178" y="120918"/>
                    <a:pt x="58178" y="360248"/>
                    <a:pt x="58178" y="362967"/>
                  </a:cubicBezTo>
                  <a:cubicBezTo>
                    <a:pt x="58178" y="395603"/>
                    <a:pt x="88095" y="422800"/>
                    <a:pt x="120730" y="422800"/>
                  </a:cubicBezTo>
                  <a:cubicBezTo>
                    <a:pt x="153366" y="425519"/>
                    <a:pt x="186003" y="395603"/>
                    <a:pt x="186003" y="362967"/>
                  </a:cubicBezTo>
                  <a:cubicBezTo>
                    <a:pt x="186003" y="360248"/>
                    <a:pt x="186003" y="281378"/>
                    <a:pt x="186003" y="213386"/>
                  </a:cubicBezTo>
                  <a:lnTo>
                    <a:pt x="186003" y="213386"/>
                  </a:lnTo>
                  <a:cubicBezTo>
                    <a:pt x="191442" y="186190"/>
                    <a:pt x="205040" y="161713"/>
                    <a:pt x="229517" y="161713"/>
                  </a:cubicBezTo>
                  <a:cubicBezTo>
                    <a:pt x="259433" y="161713"/>
                    <a:pt x="259433" y="194349"/>
                    <a:pt x="259433" y="194349"/>
                  </a:cubicBezTo>
                  <a:lnTo>
                    <a:pt x="259433" y="362967"/>
                  </a:lnTo>
                  <a:cubicBezTo>
                    <a:pt x="259433" y="395603"/>
                    <a:pt x="289349" y="422800"/>
                    <a:pt x="321985" y="422800"/>
                  </a:cubicBezTo>
                  <a:cubicBezTo>
                    <a:pt x="354621" y="425519"/>
                    <a:pt x="387257" y="395603"/>
                    <a:pt x="387257" y="362967"/>
                  </a:cubicBezTo>
                  <a:lnTo>
                    <a:pt x="387257" y="273219"/>
                  </a:lnTo>
                  <a:cubicBezTo>
                    <a:pt x="387257" y="183470"/>
                    <a:pt x="395416" y="71964"/>
                    <a:pt x="302948" y="74684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580A9FC5-C13B-4672-BA36-9F14275EABCC}"/>
                </a:ext>
              </a:extLst>
            </p:cNvPr>
            <p:cNvSpPr/>
            <p:nvPr/>
          </p:nvSpPr>
          <p:spPr>
            <a:xfrm>
              <a:off x="7960620" y="3416868"/>
              <a:ext cx="435145" cy="462341"/>
            </a:xfrm>
            <a:custGeom>
              <a:avLst/>
              <a:gdLst>
                <a:gd name="connsiteX0" fmla="*/ 302948 w 435145"/>
                <a:gd name="connsiteY0" fmla="*/ 74684 h 462341"/>
                <a:gd name="connsiteX1" fmla="*/ 186002 w 435145"/>
                <a:gd name="connsiteY1" fmla="*/ 148115 h 462341"/>
                <a:gd name="connsiteX2" fmla="*/ 186002 w 435145"/>
                <a:gd name="connsiteY2" fmla="*/ 148115 h 462341"/>
                <a:gd name="connsiteX3" fmla="*/ 186002 w 435145"/>
                <a:gd name="connsiteY3" fmla="*/ 115479 h 462341"/>
                <a:gd name="connsiteX4" fmla="*/ 123450 w 435145"/>
                <a:gd name="connsiteY4" fmla="*/ 58366 h 462341"/>
                <a:gd name="connsiteX5" fmla="*/ 58178 w 435145"/>
                <a:gd name="connsiteY5" fmla="*/ 115479 h 462341"/>
                <a:gd name="connsiteX6" fmla="*/ 58178 w 435145"/>
                <a:gd name="connsiteY6" fmla="*/ 362967 h 462341"/>
                <a:gd name="connsiteX7" fmla="*/ 120730 w 435145"/>
                <a:gd name="connsiteY7" fmla="*/ 422800 h 462341"/>
                <a:gd name="connsiteX8" fmla="*/ 186002 w 435145"/>
                <a:gd name="connsiteY8" fmla="*/ 362967 h 462341"/>
                <a:gd name="connsiteX9" fmla="*/ 186002 w 435145"/>
                <a:gd name="connsiteY9" fmla="*/ 213386 h 462341"/>
                <a:gd name="connsiteX10" fmla="*/ 186002 w 435145"/>
                <a:gd name="connsiteY10" fmla="*/ 213386 h 462341"/>
                <a:gd name="connsiteX11" fmla="*/ 229517 w 435145"/>
                <a:gd name="connsiteY11" fmla="*/ 161713 h 462341"/>
                <a:gd name="connsiteX12" fmla="*/ 259433 w 435145"/>
                <a:gd name="connsiteY12" fmla="*/ 194349 h 462341"/>
                <a:gd name="connsiteX13" fmla="*/ 259433 w 435145"/>
                <a:gd name="connsiteY13" fmla="*/ 362967 h 462341"/>
                <a:gd name="connsiteX14" fmla="*/ 321985 w 435145"/>
                <a:gd name="connsiteY14" fmla="*/ 422800 h 462341"/>
                <a:gd name="connsiteX15" fmla="*/ 387257 w 435145"/>
                <a:gd name="connsiteY15" fmla="*/ 362967 h 462341"/>
                <a:gd name="connsiteX16" fmla="*/ 387257 w 435145"/>
                <a:gd name="connsiteY16" fmla="*/ 273219 h 462341"/>
                <a:gd name="connsiteX17" fmla="*/ 302948 w 435145"/>
                <a:gd name="connsiteY17" fmla="*/ 74684 h 4623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435145" h="462341">
                  <a:moveTo>
                    <a:pt x="302948" y="74684"/>
                  </a:moveTo>
                  <a:cubicBezTo>
                    <a:pt x="234956" y="74684"/>
                    <a:pt x="196881" y="131797"/>
                    <a:pt x="186002" y="148115"/>
                  </a:cubicBezTo>
                  <a:lnTo>
                    <a:pt x="186002" y="148115"/>
                  </a:lnTo>
                  <a:cubicBezTo>
                    <a:pt x="186002" y="129077"/>
                    <a:pt x="186002" y="115479"/>
                    <a:pt x="186002" y="115479"/>
                  </a:cubicBezTo>
                  <a:cubicBezTo>
                    <a:pt x="186002" y="82843"/>
                    <a:pt x="156086" y="58366"/>
                    <a:pt x="123450" y="58366"/>
                  </a:cubicBezTo>
                  <a:cubicBezTo>
                    <a:pt x="90814" y="55646"/>
                    <a:pt x="58178" y="82843"/>
                    <a:pt x="58178" y="115479"/>
                  </a:cubicBezTo>
                  <a:cubicBezTo>
                    <a:pt x="58178" y="120918"/>
                    <a:pt x="58178" y="360248"/>
                    <a:pt x="58178" y="362967"/>
                  </a:cubicBezTo>
                  <a:cubicBezTo>
                    <a:pt x="58178" y="395603"/>
                    <a:pt x="88095" y="422800"/>
                    <a:pt x="120730" y="422800"/>
                  </a:cubicBezTo>
                  <a:cubicBezTo>
                    <a:pt x="153366" y="425519"/>
                    <a:pt x="186002" y="395603"/>
                    <a:pt x="186002" y="362967"/>
                  </a:cubicBezTo>
                  <a:cubicBezTo>
                    <a:pt x="186002" y="360248"/>
                    <a:pt x="186002" y="281378"/>
                    <a:pt x="186002" y="213386"/>
                  </a:cubicBezTo>
                  <a:lnTo>
                    <a:pt x="186002" y="213386"/>
                  </a:lnTo>
                  <a:cubicBezTo>
                    <a:pt x="191442" y="186190"/>
                    <a:pt x="205040" y="161713"/>
                    <a:pt x="229517" y="161713"/>
                  </a:cubicBezTo>
                  <a:cubicBezTo>
                    <a:pt x="259433" y="161713"/>
                    <a:pt x="259433" y="194349"/>
                    <a:pt x="259433" y="194349"/>
                  </a:cubicBezTo>
                  <a:lnTo>
                    <a:pt x="259433" y="362967"/>
                  </a:lnTo>
                  <a:cubicBezTo>
                    <a:pt x="259433" y="395603"/>
                    <a:pt x="289349" y="422800"/>
                    <a:pt x="321985" y="422800"/>
                  </a:cubicBezTo>
                  <a:cubicBezTo>
                    <a:pt x="354621" y="425519"/>
                    <a:pt x="387257" y="395603"/>
                    <a:pt x="387257" y="362967"/>
                  </a:cubicBezTo>
                  <a:lnTo>
                    <a:pt x="387257" y="273219"/>
                  </a:lnTo>
                  <a:cubicBezTo>
                    <a:pt x="384537" y="183470"/>
                    <a:pt x="395416" y="71964"/>
                    <a:pt x="302948" y="74684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FD073DF8-71CB-42CE-B3A0-43E01F346048}"/>
                </a:ext>
              </a:extLst>
            </p:cNvPr>
            <p:cNvSpPr/>
            <p:nvPr/>
          </p:nvSpPr>
          <p:spPr>
            <a:xfrm>
              <a:off x="5020669" y="3416868"/>
              <a:ext cx="435145" cy="462341"/>
            </a:xfrm>
            <a:custGeom>
              <a:avLst/>
              <a:gdLst>
                <a:gd name="connsiteX0" fmla="*/ 302948 w 435145"/>
                <a:gd name="connsiteY0" fmla="*/ 74684 h 462341"/>
                <a:gd name="connsiteX1" fmla="*/ 186002 w 435145"/>
                <a:gd name="connsiteY1" fmla="*/ 148115 h 462341"/>
                <a:gd name="connsiteX2" fmla="*/ 186002 w 435145"/>
                <a:gd name="connsiteY2" fmla="*/ 148115 h 462341"/>
                <a:gd name="connsiteX3" fmla="*/ 186002 w 435145"/>
                <a:gd name="connsiteY3" fmla="*/ 115479 h 462341"/>
                <a:gd name="connsiteX4" fmla="*/ 123450 w 435145"/>
                <a:gd name="connsiteY4" fmla="*/ 58366 h 462341"/>
                <a:gd name="connsiteX5" fmla="*/ 58178 w 435145"/>
                <a:gd name="connsiteY5" fmla="*/ 115479 h 462341"/>
                <a:gd name="connsiteX6" fmla="*/ 58178 w 435145"/>
                <a:gd name="connsiteY6" fmla="*/ 362967 h 462341"/>
                <a:gd name="connsiteX7" fmla="*/ 120730 w 435145"/>
                <a:gd name="connsiteY7" fmla="*/ 422800 h 462341"/>
                <a:gd name="connsiteX8" fmla="*/ 186002 w 435145"/>
                <a:gd name="connsiteY8" fmla="*/ 362967 h 462341"/>
                <a:gd name="connsiteX9" fmla="*/ 186002 w 435145"/>
                <a:gd name="connsiteY9" fmla="*/ 213386 h 462341"/>
                <a:gd name="connsiteX10" fmla="*/ 186002 w 435145"/>
                <a:gd name="connsiteY10" fmla="*/ 213386 h 462341"/>
                <a:gd name="connsiteX11" fmla="*/ 229517 w 435145"/>
                <a:gd name="connsiteY11" fmla="*/ 161713 h 462341"/>
                <a:gd name="connsiteX12" fmla="*/ 259433 w 435145"/>
                <a:gd name="connsiteY12" fmla="*/ 194349 h 462341"/>
                <a:gd name="connsiteX13" fmla="*/ 259433 w 435145"/>
                <a:gd name="connsiteY13" fmla="*/ 362967 h 462341"/>
                <a:gd name="connsiteX14" fmla="*/ 321985 w 435145"/>
                <a:gd name="connsiteY14" fmla="*/ 422800 h 462341"/>
                <a:gd name="connsiteX15" fmla="*/ 387257 w 435145"/>
                <a:gd name="connsiteY15" fmla="*/ 362967 h 462341"/>
                <a:gd name="connsiteX16" fmla="*/ 387257 w 435145"/>
                <a:gd name="connsiteY16" fmla="*/ 273219 h 462341"/>
                <a:gd name="connsiteX17" fmla="*/ 302948 w 435145"/>
                <a:gd name="connsiteY17" fmla="*/ 74684 h 4623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435145" h="462341">
                  <a:moveTo>
                    <a:pt x="302948" y="74684"/>
                  </a:moveTo>
                  <a:cubicBezTo>
                    <a:pt x="234956" y="74684"/>
                    <a:pt x="196881" y="131797"/>
                    <a:pt x="186002" y="148115"/>
                  </a:cubicBezTo>
                  <a:lnTo>
                    <a:pt x="186002" y="148115"/>
                  </a:lnTo>
                  <a:cubicBezTo>
                    <a:pt x="186002" y="129077"/>
                    <a:pt x="186002" y="115479"/>
                    <a:pt x="186002" y="115479"/>
                  </a:cubicBezTo>
                  <a:cubicBezTo>
                    <a:pt x="186002" y="82843"/>
                    <a:pt x="156086" y="58366"/>
                    <a:pt x="123450" y="58366"/>
                  </a:cubicBezTo>
                  <a:cubicBezTo>
                    <a:pt x="90814" y="55646"/>
                    <a:pt x="58178" y="82843"/>
                    <a:pt x="58178" y="115479"/>
                  </a:cubicBezTo>
                  <a:cubicBezTo>
                    <a:pt x="58178" y="120918"/>
                    <a:pt x="58178" y="360248"/>
                    <a:pt x="58178" y="362967"/>
                  </a:cubicBezTo>
                  <a:cubicBezTo>
                    <a:pt x="58178" y="395603"/>
                    <a:pt x="88094" y="422800"/>
                    <a:pt x="120730" y="422800"/>
                  </a:cubicBezTo>
                  <a:cubicBezTo>
                    <a:pt x="153366" y="425519"/>
                    <a:pt x="186002" y="395603"/>
                    <a:pt x="186002" y="362967"/>
                  </a:cubicBezTo>
                  <a:cubicBezTo>
                    <a:pt x="186002" y="360248"/>
                    <a:pt x="186002" y="281378"/>
                    <a:pt x="186002" y="213386"/>
                  </a:cubicBezTo>
                  <a:lnTo>
                    <a:pt x="186002" y="213386"/>
                  </a:lnTo>
                  <a:cubicBezTo>
                    <a:pt x="191442" y="186190"/>
                    <a:pt x="205040" y="161713"/>
                    <a:pt x="229517" y="161713"/>
                  </a:cubicBezTo>
                  <a:cubicBezTo>
                    <a:pt x="259433" y="161713"/>
                    <a:pt x="259433" y="194349"/>
                    <a:pt x="259433" y="194349"/>
                  </a:cubicBezTo>
                  <a:lnTo>
                    <a:pt x="259433" y="362967"/>
                  </a:lnTo>
                  <a:cubicBezTo>
                    <a:pt x="259433" y="395603"/>
                    <a:pt x="289349" y="422800"/>
                    <a:pt x="321985" y="422800"/>
                  </a:cubicBezTo>
                  <a:cubicBezTo>
                    <a:pt x="354621" y="425519"/>
                    <a:pt x="387257" y="395603"/>
                    <a:pt x="387257" y="362967"/>
                  </a:cubicBezTo>
                  <a:lnTo>
                    <a:pt x="387257" y="273219"/>
                  </a:lnTo>
                  <a:cubicBezTo>
                    <a:pt x="384537" y="183470"/>
                    <a:pt x="395416" y="71964"/>
                    <a:pt x="302948" y="74684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1B5EF34B-CBDB-4653-B2E6-2D21C2C672ED}"/>
                </a:ext>
              </a:extLst>
            </p:cNvPr>
            <p:cNvSpPr/>
            <p:nvPr/>
          </p:nvSpPr>
          <p:spPr>
            <a:xfrm>
              <a:off x="7616289" y="3475234"/>
              <a:ext cx="364436" cy="364434"/>
            </a:xfrm>
            <a:custGeom>
              <a:avLst/>
              <a:gdLst>
                <a:gd name="connsiteX0" fmla="*/ 182218 w 364436"/>
                <a:gd name="connsiteY0" fmla="*/ 73431 h 364434"/>
                <a:gd name="connsiteX1" fmla="*/ 130544 w 364436"/>
                <a:gd name="connsiteY1" fmla="*/ 179499 h 364434"/>
                <a:gd name="connsiteX2" fmla="*/ 182218 w 364436"/>
                <a:gd name="connsiteY2" fmla="*/ 285565 h 364434"/>
                <a:gd name="connsiteX3" fmla="*/ 233891 w 364436"/>
                <a:gd name="connsiteY3" fmla="*/ 179499 h 364434"/>
                <a:gd name="connsiteX4" fmla="*/ 182218 w 364436"/>
                <a:gd name="connsiteY4" fmla="*/ 73431 h 364434"/>
                <a:gd name="connsiteX5" fmla="*/ 182219 w 364436"/>
                <a:gd name="connsiteY5" fmla="*/ 0 h 364434"/>
                <a:gd name="connsiteX6" fmla="*/ 364436 w 364436"/>
                <a:gd name="connsiteY6" fmla="*/ 182217 h 364434"/>
                <a:gd name="connsiteX7" fmla="*/ 182219 w 364436"/>
                <a:gd name="connsiteY7" fmla="*/ 364434 h 364434"/>
                <a:gd name="connsiteX8" fmla="*/ 0 w 364436"/>
                <a:gd name="connsiteY8" fmla="*/ 182217 h 364434"/>
                <a:gd name="connsiteX9" fmla="*/ 182219 w 364436"/>
                <a:gd name="connsiteY9" fmla="*/ 0 h 3644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64436" h="364434">
                  <a:moveTo>
                    <a:pt x="182218" y="73431"/>
                  </a:moveTo>
                  <a:cubicBezTo>
                    <a:pt x="152302" y="76151"/>
                    <a:pt x="130544" y="114226"/>
                    <a:pt x="130544" y="179499"/>
                  </a:cubicBezTo>
                  <a:cubicBezTo>
                    <a:pt x="130544" y="244770"/>
                    <a:pt x="146862" y="285565"/>
                    <a:pt x="182218" y="285565"/>
                  </a:cubicBezTo>
                  <a:cubicBezTo>
                    <a:pt x="217573" y="285565"/>
                    <a:pt x="233891" y="247490"/>
                    <a:pt x="233891" y="179499"/>
                  </a:cubicBezTo>
                  <a:cubicBezTo>
                    <a:pt x="233891" y="114226"/>
                    <a:pt x="212134" y="73431"/>
                    <a:pt x="182218" y="73431"/>
                  </a:cubicBezTo>
                  <a:close/>
                  <a:moveTo>
                    <a:pt x="182219" y="0"/>
                  </a:moveTo>
                  <a:cubicBezTo>
                    <a:pt x="282846" y="0"/>
                    <a:pt x="364436" y="81590"/>
                    <a:pt x="364436" y="182217"/>
                  </a:cubicBezTo>
                  <a:cubicBezTo>
                    <a:pt x="364436" y="282844"/>
                    <a:pt x="282846" y="364434"/>
                    <a:pt x="182219" y="364434"/>
                  </a:cubicBezTo>
                  <a:cubicBezTo>
                    <a:pt x="81591" y="364434"/>
                    <a:pt x="0" y="282844"/>
                    <a:pt x="0" y="182217"/>
                  </a:cubicBezTo>
                  <a:cubicBezTo>
                    <a:pt x="0" y="81590"/>
                    <a:pt x="81591" y="0"/>
                    <a:pt x="182219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/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EA20B6E3-C128-4BA6-B5C8-253D027E691E}"/>
                </a:ext>
              </a:extLst>
            </p:cNvPr>
            <p:cNvSpPr/>
            <p:nvPr/>
          </p:nvSpPr>
          <p:spPr>
            <a:xfrm>
              <a:off x="6743101" y="3464184"/>
              <a:ext cx="372773" cy="375657"/>
            </a:xfrm>
            <a:custGeom>
              <a:avLst/>
              <a:gdLst>
                <a:gd name="connsiteX0" fmla="*/ 176958 w 372773"/>
                <a:gd name="connsiteY0" fmla="*/ 98080 h 375657"/>
                <a:gd name="connsiteX1" fmla="*/ 125284 w 372773"/>
                <a:gd name="connsiteY1" fmla="*/ 190548 h 375657"/>
                <a:gd name="connsiteX2" fmla="*/ 176958 w 372773"/>
                <a:gd name="connsiteY2" fmla="*/ 283017 h 375657"/>
                <a:gd name="connsiteX3" fmla="*/ 228631 w 372773"/>
                <a:gd name="connsiteY3" fmla="*/ 190548 h 375657"/>
                <a:gd name="connsiteX4" fmla="*/ 176958 w 372773"/>
                <a:gd name="connsiteY4" fmla="*/ 98080 h 375657"/>
                <a:gd name="connsiteX5" fmla="*/ 307501 w 372773"/>
                <a:gd name="connsiteY5" fmla="*/ 172 h 375657"/>
                <a:gd name="connsiteX6" fmla="*/ 372773 w 372773"/>
                <a:gd name="connsiteY6" fmla="*/ 62724 h 375657"/>
                <a:gd name="connsiteX7" fmla="*/ 372773 w 372773"/>
                <a:gd name="connsiteY7" fmla="*/ 312934 h 375657"/>
                <a:gd name="connsiteX8" fmla="*/ 302061 w 372773"/>
                <a:gd name="connsiteY8" fmla="*/ 375486 h 375657"/>
                <a:gd name="connsiteX9" fmla="*/ 239509 w 372773"/>
                <a:gd name="connsiteY9" fmla="*/ 326532 h 375657"/>
                <a:gd name="connsiteX10" fmla="*/ 179677 w 372773"/>
                <a:gd name="connsiteY10" fmla="*/ 370046 h 375657"/>
                <a:gd name="connsiteX11" fmla="*/ 70890 w 372773"/>
                <a:gd name="connsiteY11" fmla="*/ 353728 h 375657"/>
                <a:gd name="connsiteX12" fmla="*/ 128003 w 372773"/>
                <a:gd name="connsiteY12" fmla="*/ 11051 h 375657"/>
                <a:gd name="connsiteX13" fmla="*/ 236790 w 372773"/>
                <a:gd name="connsiteY13" fmla="*/ 70883 h 375657"/>
                <a:gd name="connsiteX14" fmla="*/ 236790 w 372773"/>
                <a:gd name="connsiteY14" fmla="*/ 62724 h 375657"/>
                <a:gd name="connsiteX15" fmla="*/ 307501 w 372773"/>
                <a:gd name="connsiteY15" fmla="*/ 172 h 3756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72773" h="375657">
                  <a:moveTo>
                    <a:pt x="176958" y="98080"/>
                  </a:moveTo>
                  <a:cubicBezTo>
                    <a:pt x="147042" y="100800"/>
                    <a:pt x="125284" y="133436"/>
                    <a:pt x="125284" y="190548"/>
                  </a:cubicBezTo>
                  <a:cubicBezTo>
                    <a:pt x="125284" y="247661"/>
                    <a:pt x="141602" y="283017"/>
                    <a:pt x="176958" y="283017"/>
                  </a:cubicBezTo>
                  <a:cubicBezTo>
                    <a:pt x="212314" y="283017"/>
                    <a:pt x="228631" y="247661"/>
                    <a:pt x="228631" y="190548"/>
                  </a:cubicBezTo>
                  <a:cubicBezTo>
                    <a:pt x="228631" y="133436"/>
                    <a:pt x="206874" y="98080"/>
                    <a:pt x="176958" y="98080"/>
                  </a:cubicBezTo>
                  <a:close/>
                  <a:moveTo>
                    <a:pt x="307501" y="172"/>
                  </a:moveTo>
                  <a:cubicBezTo>
                    <a:pt x="340137" y="172"/>
                    <a:pt x="372773" y="30088"/>
                    <a:pt x="372773" y="62724"/>
                  </a:cubicBezTo>
                  <a:cubicBezTo>
                    <a:pt x="372773" y="65444"/>
                    <a:pt x="372773" y="307494"/>
                    <a:pt x="372773" y="312934"/>
                  </a:cubicBezTo>
                  <a:cubicBezTo>
                    <a:pt x="370053" y="348289"/>
                    <a:pt x="337417" y="378205"/>
                    <a:pt x="302061" y="375486"/>
                  </a:cubicBezTo>
                  <a:cubicBezTo>
                    <a:pt x="274865" y="372766"/>
                    <a:pt x="247668" y="353728"/>
                    <a:pt x="239509" y="326532"/>
                  </a:cubicBezTo>
                  <a:cubicBezTo>
                    <a:pt x="225911" y="348289"/>
                    <a:pt x="198715" y="364607"/>
                    <a:pt x="179677" y="370046"/>
                  </a:cubicBezTo>
                  <a:cubicBezTo>
                    <a:pt x="147041" y="378205"/>
                    <a:pt x="100807" y="372766"/>
                    <a:pt x="70890" y="353728"/>
                  </a:cubicBezTo>
                  <a:cubicBezTo>
                    <a:pt x="-35177" y="285737"/>
                    <a:pt x="-27018" y="11051"/>
                    <a:pt x="128003" y="11051"/>
                  </a:cubicBezTo>
                  <a:cubicBezTo>
                    <a:pt x="185116" y="11051"/>
                    <a:pt x="220471" y="49126"/>
                    <a:pt x="236790" y="70883"/>
                  </a:cubicBezTo>
                  <a:cubicBezTo>
                    <a:pt x="236790" y="70883"/>
                    <a:pt x="236790" y="65444"/>
                    <a:pt x="236790" y="62724"/>
                  </a:cubicBezTo>
                  <a:cubicBezTo>
                    <a:pt x="239509" y="27369"/>
                    <a:pt x="272145" y="-2547"/>
                    <a:pt x="307501" y="172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134B159F-A1D0-4326-A5AA-77C5E83EC753}"/>
                </a:ext>
              </a:extLst>
            </p:cNvPr>
            <p:cNvSpPr/>
            <p:nvPr/>
          </p:nvSpPr>
          <p:spPr>
            <a:xfrm>
              <a:off x="8380335" y="3464184"/>
              <a:ext cx="372772" cy="375657"/>
            </a:xfrm>
            <a:custGeom>
              <a:avLst/>
              <a:gdLst>
                <a:gd name="connsiteX0" fmla="*/ 176957 w 372772"/>
                <a:gd name="connsiteY0" fmla="*/ 98080 h 375657"/>
                <a:gd name="connsiteX1" fmla="*/ 125282 w 372772"/>
                <a:gd name="connsiteY1" fmla="*/ 190548 h 375657"/>
                <a:gd name="connsiteX2" fmla="*/ 176957 w 372772"/>
                <a:gd name="connsiteY2" fmla="*/ 283017 h 375657"/>
                <a:gd name="connsiteX3" fmla="*/ 228630 w 372772"/>
                <a:gd name="connsiteY3" fmla="*/ 190548 h 375657"/>
                <a:gd name="connsiteX4" fmla="*/ 176957 w 372772"/>
                <a:gd name="connsiteY4" fmla="*/ 98080 h 375657"/>
                <a:gd name="connsiteX5" fmla="*/ 307501 w 372772"/>
                <a:gd name="connsiteY5" fmla="*/ 172 h 375657"/>
                <a:gd name="connsiteX6" fmla="*/ 372772 w 372772"/>
                <a:gd name="connsiteY6" fmla="*/ 62724 h 375657"/>
                <a:gd name="connsiteX7" fmla="*/ 372772 w 372772"/>
                <a:gd name="connsiteY7" fmla="*/ 312934 h 375657"/>
                <a:gd name="connsiteX8" fmla="*/ 302062 w 372772"/>
                <a:gd name="connsiteY8" fmla="*/ 375486 h 375657"/>
                <a:gd name="connsiteX9" fmla="*/ 239509 w 372772"/>
                <a:gd name="connsiteY9" fmla="*/ 326532 h 375657"/>
                <a:gd name="connsiteX10" fmla="*/ 179677 w 372772"/>
                <a:gd name="connsiteY10" fmla="*/ 370046 h 375657"/>
                <a:gd name="connsiteX11" fmla="*/ 70890 w 372772"/>
                <a:gd name="connsiteY11" fmla="*/ 353728 h 375657"/>
                <a:gd name="connsiteX12" fmla="*/ 128002 w 372772"/>
                <a:gd name="connsiteY12" fmla="*/ 11051 h 375657"/>
                <a:gd name="connsiteX13" fmla="*/ 236790 w 372772"/>
                <a:gd name="connsiteY13" fmla="*/ 70883 h 375657"/>
                <a:gd name="connsiteX14" fmla="*/ 236790 w 372772"/>
                <a:gd name="connsiteY14" fmla="*/ 62724 h 375657"/>
                <a:gd name="connsiteX15" fmla="*/ 307501 w 372772"/>
                <a:gd name="connsiteY15" fmla="*/ 172 h 3756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72772" h="375657">
                  <a:moveTo>
                    <a:pt x="176957" y="98080"/>
                  </a:moveTo>
                  <a:cubicBezTo>
                    <a:pt x="147039" y="100800"/>
                    <a:pt x="125282" y="133436"/>
                    <a:pt x="125282" y="190548"/>
                  </a:cubicBezTo>
                  <a:cubicBezTo>
                    <a:pt x="125282" y="247661"/>
                    <a:pt x="141600" y="283017"/>
                    <a:pt x="176957" y="283017"/>
                  </a:cubicBezTo>
                  <a:cubicBezTo>
                    <a:pt x="212312" y="283017"/>
                    <a:pt x="228630" y="247661"/>
                    <a:pt x="228630" y="190548"/>
                  </a:cubicBezTo>
                  <a:cubicBezTo>
                    <a:pt x="228630" y="133436"/>
                    <a:pt x="206873" y="98080"/>
                    <a:pt x="176957" y="98080"/>
                  </a:cubicBezTo>
                  <a:close/>
                  <a:moveTo>
                    <a:pt x="307501" y="172"/>
                  </a:moveTo>
                  <a:cubicBezTo>
                    <a:pt x="340137" y="172"/>
                    <a:pt x="372772" y="30088"/>
                    <a:pt x="372772" y="62724"/>
                  </a:cubicBezTo>
                  <a:cubicBezTo>
                    <a:pt x="372772" y="65444"/>
                    <a:pt x="372772" y="307494"/>
                    <a:pt x="372772" y="312934"/>
                  </a:cubicBezTo>
                  <a:cubicBezTo>
                    <a:pt x="370053" y="348289"/>
                    <a:pt x="337417" y="378205"/>
                    <a:pt x="302062" y="375486"/>
                  </a:cubicBezTo>
                  <a:cubicBezTo>
                    <a:pt x="274865" y="372766"/>
                    <a:pt x="247668" y="353728"/>
                    <a:pt x="239509" y="326532"/>
                  </a:cubicBezTo>
                  <a:cubicBezTo>
                    <a:pt x="228630" y="348289"/>
                    <a:pt x="198714" y="364607"/>
                    <a:pt x="179677" y="370046"/>
                  </a:cubicBezTo>
                  <a:cubicBezTo>
                    <a:pt x="147040" y="378205"/>
                    <a:pt x="100806" y="372766"/>
                    <a:pt x="70890" y="353728"/>
                  </a:cubicBezTo>
                  <a:cubicBezTo>
                    <a:pt x="-35177" y="285737"/>
                    <a:pt x="-27018" y="11051"/>
                    <a:pt x="128002" y="11051"/>
                  </a:cubicBezTo>
                  <a:cubicBezTo>
                    <a:pt x="185116" y="11051"/>
                    <a:pt x="220472" y="49126"/>
                    <a:pt x="236790" y="70883"/>
                  </a:cubicBezTo>
                  <a:cubicBezTo>
                    <a:pt x="236790" y="70883"/>
                    <a:pt x="236790" y="65444"/>
                    <a:pt x="236790" y="62724"/>
                  </a:cubicBezTo>
                  <a:cubicBezTo>
                    <a:pt x="239509" y="27369"/>
                    <a:pt x="272145" y="-2547"/>
                    <a:pt x="307501" y="172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9D722E4C-A425-43B8-9989-B241FB088992}"/>
                </a:ext>
              </a:extLst>
            </p:cNvPr>
            <p:cNvSpPr/>
            <p:nvPr/>
          </p:nvSpPr>
          <p:spPr>
            <a:xfrm>
              <a:off x="7389492" y="3444253"/>
              <a:ext cx="217573" cy="435145"/>
            </a:xfrm>
            <a:custGeom>
              <a:avLst/>
              <a:gdLst>
                <a:gd name="connsiteX0" fmla="*/ 186002 w 217572"/>
                <a:gd name="connsiteY0" fmla="*/ 118011 h 435144"/>
                <a:gd name="connsiteX1" fmla="*/ 128890 w 217572"/>
                <a:gd name="connsiteY1" fmla="*/ 58178 h 435144"/>
                <a:gd name="connsiteX2" fmla="*/ 123450 w 217572"/>
                <a:gd name="connsiteY2" fmla="*/ 58178 h 435144"/>
                <a:gd name="connsiteX3" fmla="*/ 58178 w 217572"/>
                <a:gd name="connsiteY3" fmla="*/ 115291 h 435144"/>
                <a:gd name="connsiteX4" fmla="*/ 58178 w 217572"/>
                <a:gd name="connsiteY4" fmla="*/ 232236 h 435144"/>
                <a:gd name="connsiteX5" fmla="*/ 58178 w 217572"/>
                <a:gd name="connsiteY5" fmla="*/ 232236 h 435144"/>
                <a:gd name="connsiteX6" fmla="*/ 58178 w 217572"/>
                <a:gd name="connsiteY6" fmla="*/ 335583 h 435144"/>
                <a:gd name="connsiteX7" fmla="*/ 115291 w 217572"/>
                <a:gd name="connsiteY7" fmla="*/ 395415 h 435144"/>
                <a:gd name="connsiteX8" fmla="*/ 120730 w 217572"/>
                <a:gd name="connsiteY8" fmla="*/ 395415 h 435144"/>
                <a:gd name="connsiteX9" fmla="*/ 186002 w 217572"/>
                <a:gd name="connsiteY9" fmla="*/ 338303 h 435144"/>
                <a:gd name="connsiteX10" fmla="*/ 186002 w 217572"/>
                <a:gd name="connsiteY10" fmla="*/ 240395 h 435144"/>
                <a:gd name="connsiteX11" fmla="*/ 186002 w 217572"/>
                <a:gd name="connsiteY11" fmla="*/ 240395 h 435144"/>
                <a:gd name="connsiteX12" fmla="*/ 186002 w 217572"/>
                <a:gd name="connsiteY12" fmla="*/ 118011 h 4351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17572" h="435144">
                  <a:moveTo>
                    <a:pt x="186002" y="118011"/>
                  </a:moveTo>
                  <a:cubicBezTo>
                    <a:pt x="183283" y="85375"/>
                    <a:pt x="158806" y="60898"/>
                    <a:pt x="128890" y="58178"/>
                  </a:cubicBezTo>
                  <a:cubicBezTo>
                    <a:pt x="126170" y="58178"/>
                    <a:pt x="126170" y="58178"/>
                    <a:pt x="123450" y="58178"/>
                  </a:cubicBezTo>
                  <a:cubicBezTo>
                    <a:pt x="96254" y="58178"/>
                    <a:pt x="58178" y="82655"/>
                    <a:pt x="58178" y="115291"/>
                  </a:cubicBezTo>
                  <a:lnTo>
                    <a:pt x="58178" y="232236"/>
                  </a:lnTo>
                  <a:lnTo>
                    <a:pt x="58178" y="232236"/>
                  </a:lnTo>
                  <a:cubicBezTo>
                    <a:pt x="58178" y="270311"/>
                    <a:pt x="58178" y="335583"/>
                    <a:pt x="58178" y="335583"/>
                  </a:cubicBezTo>
                  <a:cubicBezTo>
                    <a:pt x="60898" y="368219"/>
                    <a:pt x="85375" y="392696"/>
                    <a:pt x="115291" y="395415"/>
                  </a:cubicBezTo>
                  <a:cubicBezTo>
                    <a:pt x="118011" y="395415"/>
                    <a:pt x="118011" y="395415"/>
                    <a:pt x="120730" y="395415"/>
                  </a:cubicBezTo>
                  <a:cubicBezTo>
                    <a:pt x="147927" y="395415"/>
                    <a:pt x="186002" y="370938"/>
                    <a:pt x="186002" y="338303"/>
                  </a:cubicBezTo>
                  <a:lnTo>
                    <a:pt x="186002" y="240395"/>
                  </a:lnTo>
                  <a:lnTo>
                    <a:pt x="186002" y="240395"/>
                  </a:lnTo>
                  <a:cubicBezTo>
                    <a:pt x="186002" y="202320"/>
                    <a:pt x="186002" y="118011"/>
                    <a:pt x="186002" y="118011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/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DCF82A65-C2A1-40B6-AA90-1046E5393036}"/>
                </a:ext>
              </a:extLst>
            </p:cNvPr>
            <p:cNvSpPr/>
            <p:nvPr/>
          </p:nvSpPr>
          <p:spPr>
            <a:xfrm>
              <a:off x="7392212" y="3280901"/>
              <a:ext cx="217573" cy="217572"/>
            </a:xfrm>
            <a:custGeom>
              <a:avLst/>
              <a:gdLst>
                <a:gd name="connsiteX0" fmla="*/ 183282 w 217572"/>
                <a:gd name="connsiteY0" fmla="*/ 120902 h 217572"/>
                <a:gd name="connsiteX1" fmla="*/ 120730 w 217572"/>
                <a:gd name="connsiteY1" fmla="*/ 183454 h 217572"/>
                <a:gd name="connsiteX2" fmla="*/ 58178 w 217572"/>
                <a:gd name="connsiteY2" fmla="*/ 120902 h 217572"/>
                <a:gd name="connsiteX3" fmla="*/ 120730 w 217572"/>
                <a:gd name="connsiteY3" fmla="*/ 58350 h 217572"/>
                <a:gd name="connsiteX4" fmla="*/ 183282 w 217572"/>
                <a:gd name="connsiteY4" fmla="*/ 120902 h 2175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17572" h="217572">
                  <a:moveTo>
                    <a:pt x="183282" y="120902"/>
                  </a:moveTo>
                  <a:cubicBezTo>
                    <a:pt x="183282" y="156258"/>
                    <a:pt x="156086" y="183454"/>
                    <a:pt x="120730" y="183454"/>
                  </a:cubicBezTo>
                  <a:cubicBezTo>
                    <a:pt x="85375" y="183454"/>
                    <a:pt x="58178" y="156258"/>
                    <a:pt x="58178" y="120902"/>
                  </a:cubicBezTo>
                  <a:cubicBezTo>
                    <a:pt x="58178" y="85547"/>
                    <a:pt x="85375" y="58350"/>
                    <a:pt x="120730" y="58350"/>
                  </a:cubicBezTo>
                  <a:cubicBezTo>
                    <a:pt x="153366" y="55630"/>
                    <a:pt x="183282" y="85547"/>
                    <a:pt x="183282" y="120902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/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AD58E66E-A021-4678-9BBF-57AD3B6F11F2}"/>
                </a:ext>
              </a:extLst>
            </p:cNvPr>
            <p:cNvSpPr/>
            <p:nvPr/>
          </p:nvSpPr>
          <p:spPr>
            <a:xfrm>
              <a:off x="6005186" y="3416884"/>
              <a:ext cx="380752" cy="462341"/>
            </a:xfrm>
            <a:custGeom>
              <a:avLst/>
              <a:gdLst>
                <a:gd name="connsiteX0" fmla="*/ 270312 w 380752"/>
                <a:gd name="connsiteY0" fmla="*/ 69229 h 462341"/>
                <a:gd name="connsiteX1" fmla="*/ 188722 w 380752"/>
                <a:gd name="connsiteY1" fmla="*/ 134501 h 462341"/>
                <a:gd name="connsiteX2" fmla="*/ 188722 w 380752"/>
                <a:gd name="connsiteY2" fmla="*/ 118183 h 462341"/>
                <a:gd name="connsiteX3" fmla="*/ 126170 w 380752"/>
                <a:gd name="connsiteY3" fmla="*/ 58350 h 462341"/>
                <a:gd name="connsiteX4" fmla="*/ 58178 w 380752"/>
                <a:gd name="connsiteY4" fmla="*/ 118183 h 462341"/>
                <a:gd name="connsiteX5" fmla="*/ 58178 w 380752"/>
                <a:gd name="connsiteY5" fmla="*/ 210651 h 462341"/>
                <a:gd name="connsiteX6" fmla="*/ 58178 w 380752"/>
                <a:gd name="connsiteY6" fmla="*/ 365671 h 462341"/>
                <a:gd name="connsiteX7" fmla="*/ 58178 w 380752"/>
                <a:gd name="connsiteY7" fmla="*/ 365671 h 462341"/>
                <a:gd name="connsiteX8" fmla="*/ 120730 w 380752"/>
                <a:gd name="connsiteY8" fmla="*/ 425504 h 462341"/>
                <a:gd name="connsiteX9" fmla="*/ 186002 w 380752"/>
                <a:gd name="connsiteY9" fmla="*/ 365671 h 462341"/>
                <a:gd name="connsiteX10" fmla="*/ 186002 w 380752"/>
                <a:gd name="connsiteY10" fmla="*/ 365671 h 462341"/>
                <a:gd name="connsiteX11" fmla="*/ 186002 w 380752"/>
                <a:gd name="connsiteY11" fmla="*/ 210651 h 462341"/>
                <a:gd name="connsiteX12" fmla="*/ 215919 w 380752"/>
                <a:gd name="connsiteY12" fmla="*/ 158978 h 462341"/>
                <a:gd name="connsiteX13" fmla="*/ 275751 w 380752"/>
                <a:gd name="connsiteY13" fmla="*/ 221530 h 462341"/>
                <a:gd name="connsiteX14" fmla="*/ 270312 w 380752"/>
                <a:gd name="connsiteY14" fmla="*/ 69229 h 4623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80752" h="462341">
                  <a:moveTo>
                    <a:pt x="270312" y="69229"/>
                  </a:moveTo>
                  <a:cubicBezTo>
                    <a:pt x="232236" y="71949"/>
                    <a:pt x="213199" y="99145"/>
                    <a:pt x="188722" y="134501"/>
                  </a:cubicBezTo>
                  <a:cubicBezTo>
                    <a:pt x="188722" y="134501"/>
                    <a:pt x="188722" y="118183"/>
                    <a:pt x="188722" y="118183"/>
                  </a:cubicBezTo>
                  <a:cubicBezTo>
                    <a:pt x="188722" y="85547"/>
                    <a:pt x="158806" y="58350"/>
                    <a:pt x="126170" y="58350"/>
                  </a:cubicBezTo>
                  <a:cubicBezTo>
                    <a:pt x="93534" y="55631"/>
                    <a:pt x="60898" y="85547"/>
                    <a:pt x="58178" y="118183"/>
                  </a:cubicBezTo>
                  <a:lnTo>
                    <a:pt x="58178" y="210651"/>
                  </a:lnTo>
                  <a:lnTo>
                    <a:pt x="58178" y="365671"/>
                  </a:lnTo>
                  <a:lnTo>
                    <a:pt x="58178" y="365671"/>
                  </a:lnTo>
                  <a:cubicBezTo>
                    <a:pt x="58178" y="398307"/>
                    <a:pt x="88094" y="425504"/>
                    <a:pt x="120730" y="425504"/>
                  </a:cubicBezTo>
                  <a:cubicBezTo>
                    <a:pt x="153366" y="428224"/>
                    <a:pt x="186002" y="398307"/>
                    <a:pt x="186002" y="365671"/>
                  </a:cubicBezTo>
                  <a:lnTo>
                    <a:pt x="186002" y="365671"/>
                  </a:lnTo>
                  <a:lnTo>
                    <a:pt x="186002" y="210651"/>
                  </a:lnTo>
                  <a:cubicBezTo>
                    <a:pt x="188722" y="188894"/>
                    <a:pt x="196881" y="158978"/>
                    <a:pt x="215919" y="158978"/>
                  </a:cubicBezTo>
                  <a:cubicBezTo>
                    <a:pt x="243115" y="158978"/>
                    <a:pt x="215919" y="221530"/>
                    <a:pt x="275751" y="221530"/>
                  </a:cubicBezTo>
                  <a:cubicBezTo>
                    <a:pt x="362780" y="221530"/>
                    <a:pt x="373658" y="63790"/>
                    <a:pt x="270312" y="69229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/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DED22516-0C38-450D-AF43-39635D60CC65}"/>
                </a:ext>
              </a:extLst>
            </p:cNvPr>
            <p:cNvSpPr/>
            <p:nvPr/>
          </p:nvSpPr>
          <p:spPr>
            <a:xfrm>
              <a:off x="5693490" y="3475234"/>
              <a:ext cx="337238" cy="364434"/>
            </a:xfrm>
            <a:custGeom>
              <a:avLst/>
              <a:gdLst>
                <a:gd name="connsiteX0" fmla="*/ 180433 w 337238"/>
                <a:gd name="connsiteY0" fmla="*/ 73984 h 364434"/>
                <a:gd name="connsiteX1" fmla="*/ 163180 w 337238"/>
                <a:gd name="connsiteY1" fmla="*/ 78870 h 364434"/>
                <a:gd name="connsiteX2" fmla="*/ 125105 w 337238"/>
                <a:gd name="connsiteY2" fmla="*/ 160461 h 364434"/>
                <a:gd name="connsiteX3" fmla="*/ 171339 w 337238"/>
                <a:gd name="connsiteY3" fmla="*/ 163180 h 364434"/>
                <a:gd name="connsiteX4" fmla="*/ 214854 w 337238"/>
                <a:gd name="connsiteY4" fmla="*/ 108787 h 364434"/>
                <a:gd name="connsiteX5" fmla="*/ 180433 w 337238"/>
                <a:gd name="connsiteY5" fmla="*/ 73984 h 364434"/>
                <a:gd name="connsiteX6" fmla="*/ 174059 w 337238"/>
                <a:gd name="connsiteY6" fmla="*/ 0 h 364434"/>
                <a:gd name="connsiteX7" fmla="*/ 337238 w 337238"/>
                <a:gd name="connsiteY7" fmla="*/ 119665 h 364434"/>
                <a:gd name="connsiteX8" fmla="*/ 133264 w 337238"/>
                <a:gd name="connsiteY8" fmla="*/ 217573 h 364434"/>
                <a:gd name="connsiteX9" fmla="*/ 225732 w 337238"/>
                <a:gd name="connsiteY9" fmla="*/ 277405 h 364434"/>
                <a:gd name="connsiteX10" fmla="*/ 320920 w 337238"/>
                <a:gd name="connsiteY10" fmla="*/ 250208 h 364434"/>
                <a:gd name="connsiteX11" fmla="*/ 174059 w 337238"/>
                <a:gd name="connsiteY11" fmla="*/ 364434 h 364434"/>
                <a:gd name="connsiteX12" fmla="*/ 0 w 337238"/>
                <a:gd name="connsiteY12" fmla="*/ 184937 h 364434"/>
                <a:gd name="connsiteX13" fmla="*/ 174059 w 337238"/>
                <a:gd name="connsiteY13" fmla="*/ 0 h 3644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37238" h="364434">
                  <a:moveTo>
                    <a:pt x="180433" y="73984"/>
                  </a:moveTo>
                  <a:cubicBezTo>
                    <a:pt x="174569" y="73941"/>
                    <a:pt x="168620" y="75471"/>
                    <a:pt x="163180" y="78870"/>
                  </a:cubicBezTo>
                  <a:cubicBezTo>
                    <a:pt x="135984" y="95189"/>
                    <a:pt x="127825" y="130544"/>
                    <a:pt x="125105" y="160461"/>
                  </a:cubicBezTo>
                  <a:cubicBezTo>
                    <a:pt x="125105" y="163180"/>
                    <a:pt x="168620" y="160461"/>
                    <a:pt x="171339" y="163180"/>
                  </a:cubicBezTo>
                  <a:cubicBezTo>
                    <a:pt x="195816" y="157741"/>
                    <a:pt x="214854" y="135984"/>
                    <a:pt x="214854" y="108787"/>
                  </a:cubicBezTo>
                  <a:cubicBezTo>
                    <a:pt x="214854" y="88389"/>
                    <a:pt x="198026" y="74111"/>
                    <a:pt x="180433" y="73984"/>
                  </a:cubicBezTo>
                  <a:close/>
                  <a:moveTo>
                    <a:pt x="174059" y="0"/>
                  </a:moveTo>
                  <a:cubicBezTo>
                    <a:pt x="233891" y="0"/>
                    <a:pt x="337238" y="29916"/>
                    <a:pt x="337238" y="119665"/>
                  </a:cubicBezTo>
                  <a:cubicBezTo>
                    <a:pt x="337238" y="209414"/>
                    <a:pt x="244770" y="217573"/>
                    <a:pt x="133264" y="217573"/>
                  </a:cubicBezTo>
                  <a:cubicBezTo>
                    <a:pt x="133264" y="217573"/>
                    <a:pt x="149581" y="277405"/>
                    <a:pt x="225732" y="277405"/>
                  </a:cubicBezTo>
                  <a:cubicBezTo>
                    <a:pt x="301883" y="277405"/>
                    <a:pt x="320920" y="250208"/>
                    <a:pt x="320920" y="250208"/>
                  </a:cubicBezTo>
                  <a:cubicBezTo>
                    <a:pt x="320920" y="250208"/>
                    <a:pt x="315481" y="364434"/>
                    <a:pt x="174059" y="364434"/>
                  </a:cubicBezTo>
                  <a:cubicBezTo>
                    <a:pt x="95188" y="364434"/>
                    <a:pt x="0" y="304602"/>
                    <a:pt x="0" y="184937"/>
                  </a:cubicBezTo>
                  <a:cubicBezTo>
                    <a:pt x="0" y="78870"/>
                    <a:pt x="73431" y="0"/>
                    <a:pt x="174059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/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91ABF674-C5D9-45A4-A0AB-B9C499386462}"/>
                </a:ext>
              </a:extLst>
            </p:cNvPr>
            <p:cNvSpPr/>
            <p:nvPr/>
          </p:nvSpPr>
          <p:spPr>
            <a:xfrm>
              <a:off x="5376945" y="3338014"/>
              <a:ext cx="353556" cy="543931"/>
            </a:xfrm>
            <a:custGeom>
              <a:avLst/>
              <a:gdLst>
                <a:gd name="connsiteX0" fmla="*/ 311107 w 353555"/>
                <a:gd name="connsiteY0" fmla="*/ 433663 h 543931"/>
                <a:gd name="connsiteX1" fmla="*/ 215919 w 353555"/>
                <a:gd name="connsiteY1" fmla="*/ 501654 h 543931"/>
                <a:gd name="connsiteX2" fmla="*/ 98973 w 353555"/>
                <a:gd name="connsiteY2" fmla="*/ 392868 h 543931"/>
                <a:gd name="connsiteX3" fmla="*/ 98973 w 353555"/>
                <a:gd name="connsiteY3" fmla="*/ 221530 h 543931"/>
                <a:gd name="connsiteX4" fmla="*/ 82655 w 353555"/>
                <a:gd name="connsiteY4" fmla="*/ 221530 h 543931"/>
                <a:gd name="connsiteX5" fmla="*/ 58178 w 353555"/>
                <a:gd name="connsiteY5" fmla="*/ 191614 h 543931"/>
                <a:gd name="connsiteX6" fmla="*/ 85375 w 353555"/>
                <a:gd name="connsiteY6" fmla="*/ 164417 h 543931"/>
                <a:gd name="connsiteX7" fmla="*/ 101693 w 353555"/>
                <a:gd name="connsiteY7" fmla="*/ 164417 h 543931"/>
                <a:gd name="connsiteX8" fmla="*/ 101693 w 353555"/>
                <a:gd name="connsiteY8" fmla="*/ 118183 h 543931"/>
                <a:gd name="connsiteX9" fmla="*/ 166965 w 353555"/>
                <a:gd name="connsiteY9" fmla="*/ 58350 h 543931"/>
                <a:gd name="connsiteX10" fmla="*/ 229517 w 353555"/>
                <a:gd name="connsiteY10" fmla="*/ 118183 h 543931"/>
                <a:gd name="connsiteX11" fmla="*/ 229517 w 353555"/>
                <a:gd name="connsiteY11" fmla="*/ 118183 h 543931"/>
                <a:gd name="connsiteX12" fmla="*/ 229517 w 353555"/>
                <a:gd name="connsiteY12" fmla="*/ 164417 h 543931"/>
                <a:gd name="connsiteX13" fmla="*/ 283910 w 353555"/>
                <a:gd name="connsiteY13" fmla="*/ 164417 h 543931"/>
                <a:gd name="connsiteX14" fmla="*/ 308387 w 353555"/>
                <a:gd name="connsiteY14" fmla="*/ 194333 h 543931"/>
                <a:gd name="connsiteX15" fmla="*/ 281190 w 353555"/>
                <a:gd name="connsiteY15" fmla="*/ 221530 h 543931"/>
                <a:gd name="connsiteX16" fmla="*/ 229517 w 353555"/>
                <a:gd name="connsiteY16" fmla="*/ 221530 h 543931"/>
                <a:gd name="connsiteX17" fmla="*/ 229517 w 353555"/>
                <a:gd name="connsiteY17" fmla="*/ 365671 h 543931"/>
                <a:gd name="connsiteX18" fmla="*/ 311107 w 353555"/>
                <a:gd name="connsiteY18" fmla="*/ 433663 h 5439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353555" h="543931">
                  <a:moveTo>
                    <a:pt x="311107" y="433663"/>
                  </a:moveTo>
                  <a:cubicBezTo>
                    <a:pt x="311107" y="433663"/>
                    <a:pt x="278471" y="501654"/>
                    <a:pt x="215919" y="501654"/>
                  </a:cubicBezTo>
                  <a:cubicBezTo>
                    <a:pt x="164245" y="501654"/>
                    <a:pt x="101693" y="458140"/>
                    <a:pt x="98973" y="392868"/>
                  </a:cubicBezTo>
                  <a:cubicBezTo>
                    <a:pt x="98973" y="392868"/>
                    <a:pt x="98973" y="297680"/>
                    <a:pt x="98973" y="221530"/>
                  </a:cubicBezTo>
                  <a:lnTo>
                    <a:pt x="82655" y="221530"/>
                  </a:lnTo>
                  <a:cubicBezTo>
                    <a:pt x="74496" y="221530"/>
                    <a:pt x="58178" y="216090"/>
                    <a:pt x="58178" y="191614"/>
                  </a:cubicBezTo>
                  <a:cubicBezTo>
                    <a:pt x="58178" y="167137"/>
                    <a:pt x="77216" y="164417"/>
                    <a:pt x="85375" y="164417"/>
                  </a:cubicBezTo>
                  <a:lnTo>
                    <a:pt x="101693" y="164417"/>
                  </a:lnTo>
                  <a:cubicBezTo>
                    <a:pt x="101693" y="137220"/>
                    <a:pt x="101693" y="118183"/>
                    <a:pt x="101693" y="118183"/>
                  </a:cubicBezTo>
                  <a:cubicBezTo>
                    <a:pt x="104413" y="85547"/>
                    <a:pt x="134329" y="55631"/>
                    <a:pt x="166965" y="58350"/>
                  </a:cubicBezTo>
                  <a:cubicBezTo>
                    <a:pt x="196881" y="61070"/>
                    <a:pt x="229517" y="85547"/>
                    <a:pt x="229517" y="118183"/>
                  </a:cubicBezTo>
                  <a:lnTo>
                    <a:pt x="229517" y="118183"/>
                  </a:lnTo>
                  <a:lnTo>
                    <a:pt x="229517" y="164417"/>
                  </a:lnTo>
                  <a:lnTo>
                    <a:pt x="283910" y="164417"/>
                  </a:lnTo>
                  <a:cubicBezTo>
                    <a:pt x="292069" y="164417"/>
                    <a:pt x="308387" y="169856"/>
                    <a:pt x="308387" y="194333"/>
                  </a:cubicBezTo>
                  <a:cubicBezTo>
                    <a:pt x="308387" y="218810"/>
                    <a:pt x="292069" y="221530"/>
                    <a:pt x="281190" y="221530"/>
                  </a:cubicBezTo>
                  <a:lnTo>
                    <a:pt x="229517" y="221530"/>
                  </a:lnTo>
                  <a:lnTo>
                    <a:pt x="229517" y="365671"/>
                  </a:lnTo>
                  <a:cubicBezTo>
                    <a:pt x="226797" y="409186"/>
                    <a:pt x="267592" y="433663"/>
                    <a:pt x="311107" y="433663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/>
            </a:p>
          </p:txBody>
        </p:sp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id="{146A22D8-20FF-4586-B20C-4D3C45620C85}"/>
                </a:ext>
              </a:extLst>
            </p:cNvPr>
            <p:cNvSpPr/>
            <p:nvPr/>
          </p:nvSpPr>
          <p:spPr>
            <a:xfrm>
              <a:off x="7090329" y="3338014"/>
              <a:ext cx="353556" cy="543931"/>
            </a:xfrm>
            <a:custGeom>
              <a:avLst/>
              <a:gdLst>
                <a:gd name="connsiteX0" fmla="*/ 311107 w 353555"/>
                <a:gd name="connsiteY0" fmla="*/ 433663 h 543931"/>
                <a:gd name="connsiteX1" fmla="*/ 215919 w 353555"/>
                <a:gd name="connsiteY1" fmla="*/ 501654 h 543931"/>
                <a:gd name="connsiteX2" fmla="*/ 98973 w 353555"/>
                <a:gd name="connsiteY2" fmla="*/ 392868 h 543931"/>
                <a:gd name="connsiteX3" fmla="*/ 98973 w 353555"/>
                <a:gd name="connsiteY3" fmla="*/ 221530 h 543931"/>
                <a:gd name="connsiteX4" fmla="*/ 82655 w 353555"/>
                <a:gd name="connsiteY4" fmla="*/ 221530 h 543931"/>
                <a:gd name="connsiteX5" fmla="*/ 58178 w 353555"/>
                <a:gd name="connsiteY5" fmla="*/ 191614 h 543931"/>
                <a:gd name="connsiteX6" fmla="*/ 85375 w 353555"/>
                <a:gd name="connsiteY6" fmla="*/ 164417 h 543931"/>
                <a:gd name="connsiteX7" fmla="*/ 101693 w 353555"/>
                <a:gd name="connsiteY7" fmla="*/ 164417 h 543931"/>
                <a:gd name="connsiteX8" fmla="*/ 101693 w 353555"/>
                <a:gd name="connsiteY8" fmla="*/ 118183 h 543931"/>
                <a:gd name="connsiteX9" fmla="*/ 166965 w 353555"/>
                <a:gd name="connsiteY9" fmla="*/ 58350 h 543931"/>
                <a:gd name="connsiteX10" fmla="*/ 229517 w 353555"/>
                <a:gd name="connsiteY10" fmla="*/ 118183 h 543931"/>
                <a:gd name="connsiteX11" fmla="*/ 229517 w 353555"/>
                <a:gd name="connsiteY11" fmla="*/ 118183 h 543931"/>
                <a:gd name="connsiteX12" fmla="*/ 229517 w 353555"/>
                <a:gd name="connsiteY12" fmla="*/ 164417 h 543931"/>
                <a:gd name="connsiteX13" fmla="*/ 283910 w 353555"/>
                <a:gd name="connsiteY13" fmla="*/ 164417 h 543931"/>
                <a:gd name="connsiteX14" fmla="*/ 308387 w 353555"/>
                <a:gd name="connsiteY14" fmla="*/ 194333 h 543931"/>
                <a:gd name="connsiteX15" fmla="*/ 281190 w 353555"/>
                <a:gd name="connsiteY15" fmla="*/ 221530 h 543931"/>
                <a:gd name="connsiteX16" fmla="*/ 229517 w 353555"/>
                <a:gd name="connsiteY16" fmla="*/ 221530 h 543931"/>
                <a:gd name="connsiteX17" fmla="*/ 229517 w 353555"/>
                <a:gd name="connsiteY17" fmla="*/ 365671 h 543931"/>
                <a:gd name="connsiteX18" fmla="*/ 311107 w 353555"/>
                <a:gd name="connsiteY18" fmla="*/ 433663 h 5439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353555" h="543931">
                  <a:moveTo>
                    <a:pt x="311107" y="433663"/>
                  </a:moveTo>
                  <a:cubicBezTo>
                    <a:pt x="311107" y="433663"/>
                    <a:pt x="278471" y="501654"/>
                    <a:pt x="215919" y="501654"/>
                  </a:cubicBezTo>
                  <a:cubicBezTo>
                    <a:pt x="164245" y="501654"/>
                    <a:pt x="101693" y="458140"/>
                    <a:pt x="98973" y="392868"/>
                  </a:cubicBezTo>
                  <a:cubicBezTo>
                    <a:pt x="98973" y="392868"/>
                    <a:pt x="98973" y="297680"/>
                    <a:pt x="98973" y="221530"/>
                  </a:cubicBezTo>
                  <a:lnTo>
                    <a:pt x="82655" y="221530"/>
                  </a:lnTo>
                  <a:cubicBezTo>
                    <a:pt x="74496" y="221530"/>
                    <a:pt x="58178" y="216090"/>
                    <a:pt x="58178" y="191614"/>
                  </a:cubicBezTo>
                  <a:cubicBezTo>
                    <a:pt x="58178" y="167137"/>
                    <a:pt x="77216" y="164417"/>
                    <a:pt x="85375" y="164417"/>
                  </a:cubicBezTo>
                  <a:lnTo>
                    <a:pt x="101693" y="164417"/>
                  </a:lnTo>
                  <a:cubicBezTo>
                    <a:pt x="101693" y="137220"/>
                    <a:pt x="101693" y="118183"/>
                    <a:pt x="101693" y="118183"/>
                  </a:cubicBezTo>
                  <a:cubicBezTo>
                    <a:pt x="104412" y="85547"/>
                    <a:pt x="134329" y="55631"/>
                    <a:pt x="166965" y="58350"/>
                  </a:cubicBezTo>
                  <a:cubicBezTo>
                    <a:pt x="196881" y="61070"/>
                    <a:pt x="229517" y="85547"/>
                    <a:pt x="229517" y="118183"/>
                  </a:cubicBezTo>
                  <a:lnTo>
                    <a:pt x="229517" y="118183"/>
                  </a:lnTo>
                  <a:lnTo>
                    <a:pt x="229517" y="164417"/>
                  </a:lnTo>
                  <a:lnTo>
                    <a:pt x="283910" y="164417"/>
                  </a:lnTo>
                  <a:cubicBezTo>
                    <a:pt x="292069" y="164417"/>
                    <a:pt x="308387" y="169856"/>
                    <a:pt x="308387" y="194333"/>
                  </a:cubicBezTo>
                  <a:cubicBezTo>
                    <a:pt x="308387" y="218810"/>
                    <a:pt x="292069" y="221530"/>
                    <a:pt x="281190" y="221530"/>
                  </a:cubicBezTo>
                  <a:lnTo>
                    <a:pt x="229517" y="221530"/>
                  </a:lnTo>
                  <a:lnTo>
                    <a:pt x="229517" y="365671"/>
                  </a:lnTo>
                  <a:cubicBezTo>
                    <a:pt x="229517" y="409186"/>
                    <a:pt x="270312" y="433663"/>
                    <a:pt x="311107" y="433663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/>
            </a:p>
          </p:txBody>
        </p:sp>
        <p:sp>
          <p:nvSpPr>
            <p:cNvPr id="35" name="Freeform: Shape 34">
              <a:extLst>
                <a:ext uri="{FF2B5EF4-FFF2-40B4-BE49-F238E27FC236}">
                  <a16:creationId xmlns:a16="http://schemas.microsoft.com/office/drawing/2014/main" id="{3CD4C8B1-9237-4AA8-9512-1F6860653830}"/>
                </a:ext>
              </a:extLst>
            </p:cNvPr>
            <p:cNvSpPr/>
            <p:nvPr/>
          </p:nvSpPr>
          <p:spPr>
            <a:xfrm>
              <a:off x="2080719" y="4178559"/>
              <a:ext cx="462342" cy="788700"/>
            </a:xfrm>
            <a:custGeom>
              <a:avLst/>
              <a:gdLst>
                <a:gd name="connsiteX0" fmla="*/ 403575 w 462341"/>
                <a:gd name="connsiteY0" fmla="*/ 583072 h 788699"/>
                <a:gd name="connsiteX1" fmla="*/ 406295 w 462341"/>
                <a:gd name="connsiteY1" fmla="*/ 596670 h 788699"/>
                <a:gd name="connsiteX2" fmla="*/ 400855 w 462341"/>
                <a:gd name="connsiteY2" fmla="*/ 610268 h 788699"/>
                <a:gd name="connsiteX3" fmla="*/ 389977 w 462341"/>
                <a:gd name="connsiteY3" fmla="*/ 626586 h 788699"/>
                <a:gd name="connsiteX4" fmla="*/ 354621 w 462341"/>
                <a:gd name="connsiteY4" fmla="*/ 675540 h 788699"/>
                <a:gd name="connsiteX5" fmla="*/ 327424 w 462341"/>
                <a:gd name="connsiteY5" fmla="*/ 691858 h 788699"/>
                <a:gd name="connsiteX6" fmla="*/ 292069 w 462341"/>
                <a:gd name="connsiteY6" fmla="*/ 713615 h 788699"/>
                <a:gd name="connsiteX7" fmla="*/ 251274 w 462341"/>
                <a:gd name="connsiteY7" fmla="*/ 724494 h 788699"/>
                <a:gd name="connsiteX8" fmla="*/ 221358 w 462341"/>
                <a:gd name="connsiteY8" fmla="*/ 721774 h 788699"/>
                <a:gd name="connsiteX9" fmla="*/ 191442 w 462341"/>
                <a:gd name="connsiteY9" fmla="*/ 721774 h 788699"/>
                <a:gd name="connsiteX10" fmla="*/ 153366 w 462341"/>
                <a:gd name="connsiteY10" fmla="*/ 713615 h 788699"/>
                <a:gd name="connsiteX11" fmla="*/ 104412 w 462341"/>
                <a:gd name="connsiteY11" fmla="*/ 675540 h 788699"/>
                <a:gd name="connsiteX12" fmla="*/ 104412 w 462341"/>
                <a:gd name="connsiteY12" fmla="*/ 689138 h 788699"/>
                <a:gd name="connsiteX13" fmla="*/ 101693 w 462341"/>
                <a:gd name="connsiteY13" fmla="*/ 710895 h 788699"/>
                <a:gd name="connsiteX14" fmla="*/ 85375 w 462341"/>
                <a:gd name="connsiteY14" fmla="*/ 732653 h 788699"/>
                <a:gd name="connsiteX15" fmla="*/ 69057 w 462341"/>
                <a:gd name="connsiteY15" fmla="*/ 727214 h 788699"/>
                <a:gd name="connsiteX16" fmla="*/ 60898 w 462341"/>
                <a:gd name="connsiteY16" fmla="*/ 710895 h 788699"/>
                <a:gd name="connsiteX17" fmla="*/ 58178 w 462341"/>
                <a:gd name="connsiteY17" fmla="*/ 691858 h 788699"/>
                <a:gd name="connsiteX18" fmla="*/ 60898 w 462341"/>
                <a:gd name="connsiteY18" fmla="*/ 664661 h 788699"/>
                <a:gd name="connsiteX19" fmla="*/ 60898 w 462341"/>
                <a:gd name="connsiteY19" fmla="*/ 607549 h 788699"/>
                <a:gd name="connsiteX20" fmla="*/ 63618 w 462341"/>
                <a:gd name="connsiteY20" fmla="*/ 528679 h 788699"/>
                <a:gd name="connsiteX21" fmla="*/ 69057 w 462341"/>
                <a:gd name="connsiteY21" fmla="*/ 504202 h 788699"/>
                <a:gd name="connsiteX22" fmla="*/ 74496 w 462341"/>
                <a:gd name="connsiteY22" fmla="*/ 493323 h 788699"/>
                <a:gd name="connsiteX23" fmla="*/ 82655 w 462341"/>
                <a:gd name="connsiteY23" fmla="*/ 487884 h 788699"/>
                <a:gd name="connsiteX24" fmla="*/ 90814 w 462341"/>
                <a:gd name="connsiteY24" fmla="*/ 493323 h 788699"/>
                <a:gd name="connsiteX25" fmla="*/ 98973 w 462341"/>
                <a:gd name="connsiteY25" fmla="*/ 512361 h 788699"/>
                <a:gd name="connsiteX26" fmla="*/ 101693 w 462341"/>
                <a:gd name="connsiteY26" fmla="*/ 555875 h 788699"/>
                <a:gd name="connsiteX27" fmla="*/ 101693 w 462341"/>
                <a:gd name="connsiteY27" fmla="*/ 596670 h 788699"/>
                <a:gd name="connsiteX28" fmla="*/ 109852 w 462341"/>
                <a:gd name="connsiteY28" fmla="*/ 626586 h 788699"/>
                <a:gd name="connsiteX29" fmla="*/ 128889 w 462341"/>
                <a:gd name="connsiteY29" fmla="*/ 651063 h 788699"/>
                <a:gd name="connsiteX30" fmla="*/ 153366 w 462341"/>
                <a:gd name="connsiteY30" fmla="*/ 670101 h 788699"/>
                <a:gd name="connsiteX31" fmla="*/ 196881 w 462341"/>
                <a:gd name="connsiteY31" fmla="*/ 678260 h 788699"/>
                <a:gd name="connsiteX32" fmla="*/ 221358 w 462341"/>
                <a:gd name="connsiteY32" fmla="*/ 667381 h 788699"/>
                <a:gd name="connsiteX33" fmla="*/ 253994 w 462341"/>
                <a:gd name="connsiteY33" fmla="*/ 659222 h 788699"/>
                <a:gd name="connsiteX34" fmla="*/ 275751 w 462341"/>
                <a:gd name="connsiteY34" fmla="*/ 637465 h 788699"/>
                <a:gd name="connsiteX35" fmla="*/ 281190 w 462341"/>
                <a:gd name="connsiteY35" fmla="*/ 615708 h 788699"/>
                <a:gd name="connsiteX36" fmla="*/ 278471 w 462341"/>
                <a:gd name="connsiteY36" fmla="*/ 602109 h 788699"/>
                <a:gd name="connsiteX37" fmla="*/ 262153 w 462341"/>
                <a:gd name="connsiteY37" fmla="*/ 572193 h 788699"/>
                <a:gd name="connsiteX38" fmla="*/ 245835 w 462341"/>
                <a:gd name="connsiteY38" fmla="*/ 536838 h 788699"/>
                <a:gd name="connsiteX39" fmla="*/ 196881 w 462341"/>
                <a:gd name="connsiteY39" fmla="*/ 477005 h 788699"/>
                <a:gd name="connsiteX40" fmla="*/ 145207 w 462341"/>
                <a:gd name="connsiteY40" fmla="*/ 419892 h 788699"/>
                <a:gd name="connsiteX41" fmla="*/ 93534 w 462341"/>
                <a:gd name="connsiteY41" fmla="*/ 357340 h 788699"/>
                <a:gd name="connsiteX42" fmla="*/ 66337 w 462341"/>
                <a:gd name="connsiteY42" fmla="*/ 283910 h 788699"/>
                <a:gd name="connsiteX43" fmla="*/ 58178 w 462341"/>
                <a:gd name="connsiteY43" fmla="*/ 224077 h 788699"/>
                <a:gd name="connsiteX44" fmla="*/ 82655 w 462341"/>
                <a:gd name="connsiteY44" fmla="*/ 150647 h 788699"/>
                <a:gd name="connsiteX45" fmla="*/ 137048 w 462341"/>
                <a:gd name="connsiteY45" fmla="*/ 96253 h 788699"/>
                <a:gd name="connsiteX46" fmla="*/ 196881 w 462341"/>
                <a:gd name="connsiteY46" fmla="*/ 77216 h 788699"/>
                <a:gd name="connsiteX47" fmla="*/ 232236 w 462341"/>
                <a:gd name="connsiteY47" fmla="*/ 69057 h 788699"/>
                <a:gd name="connsiteX48" fmla="*/ 262153 w 462341"/>
                <a:gd name="connsiteY48" fmla="*/ 74496 h 788699"/>
                <a:gd name="connsiteX49" fmla="*/ 294789 w 462341"/>
                <a:gd name="connsiteY49" fmla="*/ 85375 h 788699"/>
                <a:gd name="connsiteX50" fmla="*/ 327424 w 462341"/>
                <a:gd name="connsiteY50" fmla="*/ 104412 h 788699"/>
                <a:gd name="connsiteX51" fmla="*/ 332864 w 462341"/>
                <a:gd name="connsiteY51" fmla="*/ 74496 h 788699"/>
                <a:gd name="connsiteX52" fmla="*/ 338303 w 462341"/>
                <a:gd name="connsiteY52" fmla="*/ 63618 h 788699"/>
                <a:gd name="connsiteX53" fmla="*/ 349182 w 462341"/>
                <a:gd name="connsiteY53" fmla="*/ 58178 h 788699"/>
                <a:gd name="connsiteX54" fmla="*/ 357341 w 462341"/>
                <a:gd name="connsiteY54" fmla="*/ 63618 h 788699"/>
                <a:gd name="connsiteX55" fmla="*/ 365500 w 462341"/>
                <a:gd name="connsiteY55" fmla="*/ 82655 h 788699"/>
                <a:gd name="connsiteX56" fmla="*/ 368219 w 462341"/>
                <a:gd name="connsiteY56" fmla="*/ 142488 h 788699"/>
                <a:gd name="connsiteX57" fmla="*/ 368219 w 462341"/>
                <a:gd name="connsiteY57" fmla="*/ 188722 h 788699"/>
                <a:gd name="connsiteX58" fmla="*/ 370939 w 462341"/>
                <a:gd name="connsiteY58" fmla="*/ 245834 h 788699"/>
                <a:gd name="connsiteX59" fmla="*/ 354621 w 462341"/>
                <a:gd name="connsiteY59" fmla="*/ 286629 h 788699"/>
                <a:gd name="connsiteX60" fmla="*/ 338303 w 462341"/>
                <a:gd name="connsiteY60" fmla="*/ 281190 h 788699"/>
                <a:gd name="connsiteX61" fmla="*/ 330144 w 462341"/>
                <a:gd name="connsiteY61" fmla="*/ 264872 h 788699"/>
                <a:gd name="connsiteX62" fmla="*/ 327424 w 462341"/>
                <a:gd name="connsiteY62" fmla="*/ 248554 h 788699"/>
                <a:gd name="connsiteX63" fmla="*/ 330144 w 462341"/>
                <a:gd name="connsiteY63" fmla="*/ 221357 h 788699"/>
                <a:gd name="connsiteX64" fmla="*/ 330144 w 462341"/>
                <a:gd name="connsiteY64" fmla="*/ 188722 h 788699"/>
                <a:gd name="connsiteX65" fmla="*/ 327424 w 462341"/>
                <a:gd name="connsiteY65" fmla="*/ 164245 h 788699"/>
                <a:gd name="connsiteX66" fmla="*/ 311107 w 462341"/>
                <a:gd name="connsiteY66" fmla="*/ 134329 h 788699"/>
                <a:gd name="connsiteX67" fmla="*/ 283910 w 462341"/>
                <a:gd name="connsiteY67" fmla="*/ 118011 h 788699"/>
                <a:gd name="connsiteX68" fmla="*/ 251274 w 462341"/>
                <a:gd name="connsiteY68" fmla="*/ 112571 h 788699"/>
                <a:gd name="connsiteX69" fmla="*/ 215918 w 462341"/>
                <a:gd name="connsiteY69" fmla="*/ 123450 h 788699"/>
                <a:gd name="connsiteX70" fmla="*/ 202320 w 462341"/>
                <a:gd name="connsiteY70" fmla="*/ 147927 h 788699"/>
                <a:gd name="connsiteX71" fmla="*/ 188722 w 462341"/>
                <a:gd name="connsiteY71" fmla="*/ 180563 h 788699"/>
                <a:gd name="connsiteX72" fmla="*/ 183283 w 462341"/>
                <a:gd name="connsiteY72" fmla="*/ 210479 h 788699"/>
                <a:gd name="connsiteX73" fmla="*/ 188722 w 462341"/>
                <a:gd name="connsiteY73" fmla="*/ 226797 h 788699"/>
                <a:gd name="connsiteX74" fmla="*/ 188722 w 462341"/>
                <a:gd name="connsiteY74" fmla="*/ 248554 h 788699"/>
                <a:gd name="connsiteX75" fmla="*/ 210479 w 462341"/>
                <a:gd name="connsiteY75" fmla="*/ 273031 h 788699"/>
                <a:gd name="connsiteX76" fmla="*/ 226797 w 462341"/>
                <a:gd name="connsiteY76" fmla="*/ 300228 h 788699"/>
                <a:gd name="connsiteX77" fmla="*/ 256713 w 462341"/>
                <a:gd name="connsiteY77" fmla="*/ 332864 h 788699"/>
                <a:gd name="connsiteX78" fmla="*/ 275751 w 462341"/>
                <a:gd name="connsiteY78" fmla="*/ 351901 h 788699"/>
                <a:gd name="connsiteX79" fmla="*/ 324705 w 462341"/>
                <a:gd name="connsiteY79" fmla="*/ 400855 h 788699"/>
                <a:gd name="connsiteX80" fmla="*/ 343742 w 462341"/>
                <a:gd name="connsiteY80" fmla="*/ 428051 h 788699"/>
                <a:gd name="connsiteX81" fmla="*/ 351901 w 462341"/>
                <a:gd name="connsiteY81" fmla="*/ 433491 h 788699"/>
                <a:gd name="connsiteX82" fmla="*/ 360060 w 462341"/>
                <a:gd name="connsiteY82" fmla="*/ 447089 h 788699"/>
                <a:gd name="connsiteX83" fmla="*/ 384537 w 462341"/>
                <a:gd name="connsiteY83" fmla="*/ 474286 h 788699"/>
                <a:gd name="connsiteX84" fmla="*/ 395416 w 462341"/>
                <a:gd name="connsiteY84" fmla="*/ 506921 h 788699"/>
                <a:gd name="connsiteX85" fmla="*/ 406295 w 462341"/>
                <a:gd name="connsiteY85" fmla="*/ 536838 h 788699"/>
                <a:gd name="connsiteX86" fmla="*/ 409014 w 462341"/>
                <a:gd name="connsiteY86" fmla="*/ 547716 h 788699"/>
                <a:gd name="connsiteX87" fmla="*/ 406295 w 462341"/>
                <a:gd name="connsiteY87" fmla="*/ 569473 h 788699"/>
                <a:gd name="connsiteX88" fmla="*/ 403575 w 462341"/>
                <a:gd name="connsiteY88" fmla="*/ 583072 h 788699"/>
                <a:gd name="connsiteX89" fmla="*/ 403575 w 462341"/>
                <a:gd name="connsiteY89" fmla="*/ 583072 h 7886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</a:cxnLst>
              <a:rect l="l" t="t" r="r" b="b"/>
              <a:pathLst>
                <a:path w="462341" h="788699">
                  <a:moveTo>
                    <a:pt x="403575" y="583072"/>
                  </a:moveTo>
                  <a:cubicBezTo>
                    <a:pt x="403575" y="588511"/>
                    <a:pt x="406295" y="591231"/>
                    <a:pt x="406295" y="596670"/>
                  </a:cubicBezTo>
                  <a:cubicBezTo>
                    <a:pt x="406295" y="602109"/>
                    <a:pt x="403575" y="604829"/>
                    <a:pt x="400855" y="610268"/>
                  </a:cubicBezTo>
                  <a:cubicBezTo>
                    <a:pt x="398136" y="615708"/>
                    <a:pt x="392696" y="621147"/>
                    <a:pt x="389977" y="626586"/>
                  </a:cubicBezTo>
                  <a:cubicBezTo>
                    <a:pt x="381818" y="645624"/>
                    <a:pt x="368219" y="661942"/>
                    <a:pt x="354621" y="675540"/>
                  </a:cubicBezTo>
                  <a:cubicBezTo>
                    <a:pt x="346462" y="683699"/>
                    <a:pt x="338303" y="686419"/>
                    <a:pt x="327424" y="691858"/>
                  </a:cubicBezTo>
                  <a:cubicBezTo>
                    <a:pt x="316546" y="700017"/>
                    <a:pt x="302948" y="708176"/>
                    <a:pt x="292069" y="713615"/>
                  </a:cubicBezTo>
                  <a:cubicBezTo>
                    <a:pt x="281190" y="719054"/>
                    <a:pt x="264872" y="724494"/>
                    <a:pt x="251274" y="724494"/>
                  </a:cubicBezTo>
                  <a:cubicBezTo>
                    <a:pt x="240395" y="724494"/>
                    <a:pt x="229517" y="721774"/>
                    <a:pt x="221358" y="721774"/>
                  </a:cubicBezTo>
                  <a:cubicBezTo>
                    <a:pt x="213199" y="721774"/>
                    <a:pt x="202320" y="721774"/>
                    <a:pt x="191442" y="721774"/>
                  </a:cubicBezTo>
                  <a:cubicBezTo>
                    <a:pt x="172404" y="721774"/>
                    <a:pt x="172404" y="721774"/>
                    <a:pt x="153366" y="713615"/>
                  </a:cubicBezTo>
                  <a:cubicBezTo>
                    <a:pt x="134329" y="708176"/>
                    <a:pt x="118011" y="691858"/>
                    <a:pt x="104412" y="675540"/>
                  </a:cubicBezTo>
                  <a:cubicBezTo>
                    <a:pt x="104412" y="678260"/>
                    <a:pt x="104412" y="680979"/>
                    <a:pt x="104412" y="689138"/>
                  </a:cubicBezTo>
                  <a:cubicBezTo>
                    <a:pt x="104412" y="694578"/>
                    <a:pt x="104412" y="702737"/>
                    <a:pt x="101693" y="710895"/>
                  </a:cubicBezTo>
                  <a:cubicBezTo>
                    <a:pt x="101693" y="721774"/>
                    <a:pt x="96253" y="732653"/>
                    <a:pt x="85375" y="732653"/>
                  </a:cubicBezTo>
                  <a:cubicBezTo>
                    <a:pt x="77216" y="732653"/>
                    <a:pt x="74496" y="729933"/>
                    <a:pt x="69057" y="727214"/>
                  </a:cubicBezTo>
                  <a:cubicBezTo>
                    <a:pt x="63618" y="724494"/>
                    <a:pt x="60898" y="716335"/>
                    <a:pt x="60898" y="710895"/>
                  </a:cubicBezTo>
                  <a:cubicBezTo>
                    <a:pt x="58178" y="702737"/>
                    <a:pt x="58178" y="697297"/>
                    <a:pt x="58178" y="691858"/>
                  </a:cubicBezTo>
                  <a:cubicBezTo>
                    <a:pt x="58178" y="683699"/>
                    <a:pt x="60898" y="678260"/>
                    <a:pt x="60898" y="664661"/>
                  </a:cubicBezTo>
                  <a:cubicBezTo>
                    <a:pt x="60898" y="656502"/>
                    <a:pt x="60898" y="632026"/>
                    <a:pt x="60898" y="607549"/>
                  </a:cubicBezTo>
                  <a:cubicBezTo>
                    <a:pt x="60898" y="574913"/>
                    <a:pt x="60898" y="542277"/>
                    <a:pt x="63618" y="528679"/>
                  </a:cubicBezTo>
                  <a:cubicBezTo>
                    <a:pt x="63618" y="520520"/>
                    <a:pt x="63618" y="509641"/>
                    <a:pt x="69057" y="504202"/>
                  </a:cubicBezTo>
                  <a:cubicBezTo>
                    <a:pt x="71777" y="501482"/>
                    <a:pt x="71777" y="498762"/>
                    <a:pt x="74496" y="493323"/>
                  </a:cubicBezTo>
                  <a:cubicBezTo>
                    <a:pt x="77216" y="490603"/>
                    <a:pt x="79936" y="487884"/>
                    <a:pt x="82655" y="487884"/>
                  </a:cubicBezTo>
                  <a:cubicBezTo>
                    <a:pt x="85375" y="487884"/>
                    <a:pt x="90814" y="490603"/>
                    <a:pt x="90814" y="493323"/>
                  </a:cubicBezTo>
                  <a:cubicBezTo>
                    <a:pt x="93534" y="498762"/>
                    <a:pt x="98973" y="506921"/>
                    <a:pt x="98973" y="512361"/>
                  </a:cubicBezTo>
                  <a:cubicBezTo>
                    <a:pt x="98973" y="520520"/>
                    <a:pt x="101693" y="536838"/>
                    <a:pt x="101693" y="555875"/>
                  </a:cubicBezTo>
                  <a:cubicBezTo>
                    <a:pt x="101693" y="569473"/>
                    <a:pt x="101693" y="583072"/>
                    <a:pt x="101693" y="596670"/>
                  </a:cubicBezTo>
                  <a:cubicBezTo>
                    <a:pt x="101693" y="607549"/>
                    <a:pt x="104412" y="618427"/>
                    <a:pt x="109852" y="626586"/>
                  </a:cubicBezTo>
                  <a:cubicBezTo>
                    <a:pt x="115291" y="637465"/>
                    <a:pt x="123450" y="642904"/>
                    <a:pt x="128889" y="651063"/>
                  </a:cubicBezTo>
                  <a:cubicBezTo>
                    <a:pt x="137048" y="661942"/>
                    <a:pt x="139768" y="667381"/>
                    <a:pt x="153366" y="670101"/>
                  </a:cubicBezTo>
                  <a:cubicBezTo>
                    <a:pt x="161525" y="670101"/>
                    <a:pt x="183283" y="678260"/>
                    <a:pt x="196881" y="678260"/>
                  </a:cubicBezTo>
                  <a:cubicBezTo>
                    <a:pt x="207759" y="678260"/>
                    <a:pt x="210479" y="672820"/>
                    <a:pt x="221358" y="667381"/>
                  </a:cubicBezTo>
                  <a:cubicBezTo>
                    <a:pt x="232236" y="661942"/>
                    <a:pt x="245835" y="664661"/>
                    <a:pt x="253994" y="659222"/>
                  </a:cubicBezTo>
                  <a:cubicBezTo>
                    <a:pt x="262153" y="653783"/>
                    <a:pt x="273031" y="645624"/>
                    <a:pt x="275751" y="637465"/>
                  </a:cubicBezTo>
                  <a:cubicBezTo>
                    <a:pt x="281190" y="629306"/>
                    <a:pt x="281190" y="621147"/>
                    <a:pt x="281190" y="615708"/>
                  </a:cubicBezTo>
                  <a:cubicBezTo>
                    <a:pt x="281190" y="610268"/>
                    <a:pt x="281190" y="607549"/>
                    <a:pt x="278471" y="602109"/>
                  </a:cubicBezTo>
                  <a:cubicBezTo>
                    <a:pt x="275751" y="591231"/>
                    <a:pt x="267592" y="583072"/>
                    <a:pt x="262153" y="572193"/>
                  </a:cubicBezTo>
                  <a:cubicBezTo>
                    <a:pt x="256713" y="561314"/>
                    <a:pt x="253994" y="547716"/>
                    <a:pt x="245835" y="536838"/>
                  </a:cubicBezTo>
                  <a:cubicBezTo>
                    <a:pt x="232236" y="515080"/>
                    <a:pt x="213199" y="498762"/>
                    <a:pt x="196881" y="477005"/>
                  </a:cubicBezTo>
                  <a:cubicBezTo>
                    <a:pt x="180563" y="457968"/>
                    <a:pt x="164245" y="438930"/>
                    <a:pt x="145207" y="419892"/>
                  </a:cubicBezTo>
                  <a:cubicBezTo>
                    <a:pt x="126170" y="400855"/>
                    <a:pt x="109852" y="379098"/>
                    <a:pt x="93534" y="357340"/>
                  </a:cubicBezTo>
                  <a:cubicBezTo>
                    <a:pt x="77216" y="335583"/>
                    <a:pt x="71777" y="308387"/>
                    <a:pt x="66337" y="283910"/>
                  </a:cubicBezTo>
                  <a:cubicBezTo>
                    <a:pt x="63618" y="267592"/>
                    <a:pt x="58178" y="245834"/>
                    <a:pt x="58178" y="224077"/>
                  </a:cubicBezTo>
                  <a:cubicBezTo>
                    <a:pt x="58178" y="194161"/>
                    <a:pt x="69057" y="175123"/>
                    <a:pt x="82655" y="150647"/>
                  </a:cubicBezTo>
                  <a:cubicBezTo>
                    <a:pt x="96253" y="128889"/>
                    <a:pt x="115291" y="109852"/>
                    <a:pt x="137048" y="96253"/>
                  </a:cubicBezTo>
                  <a:cubicBezTo>
                    <a:pt x="158806" y="82655"/>
                    <a:pt x="172404" y="79936"/>
                    <a:pt x="196881" y="77216"/>
                  </a:cubicBezTo>
                  <a:cubicBezTo>
                    <a:pt x="210479" y="77216"/>
                    <a:pt x="215918" y="69057"/>
                    <a:pt x="232236" y="69057"/>
                  </a:cubicBezTo>
                  <a:cubicBezTo>
                    <a:pt x="243115" y="69057"/>
                    <a:pt x="251274" y="71776"/>
                    <a:pt x="262153" y="74496"/>
                  </a:cubicBezTo>
                  <a:cubicBezTo>
                    <a:pt x="273031" y="77216"/>
                    <a:pt x="283910" y="82655"/>
                    <a:pt x="294789" y="85375"/>
                  </a:cubicBezTo>
                  <a:cubicBezTo>
                    <a:pt x="308387" y="90814"/>
                    <a:pt x="319265" y="96253"/>
                    <a:pt x="327424" y="104412"/>
                  </a:cubicBezTo>
                  <a:cubicBezTo>
                    <a:pt x="327424" y="90814"/>
                    <a:pt x="327424" y="79936"/>
                    <a:pt x="332864" y="74496"/>
                  </a:cubicBezTo>
                  <a:cubicBezTo>
                    <a:pt x="335583" y="71776"/>
                    <a:pt x="335583" y="69057"/>
                    <a:pt x="338303" y="63618"/>
                  </a:cubicBezTo>
                  <a:cubicBezTo>
                    <a:pt x="341023" y="60898"/>
                    <a:pt x="346462" y="58178"/>
                    <a:pt x="349182" y="58178"/>
                  </a:cubicBezTo>
                  <a:cubicBezTo>
                    <a:pt x="351901" y="58178"/>
                    <a:pt x="357341" y="60898"/>
                    <a:pt x="357341" y="63618"/>
                  </a:cubicBezTo>
                  <a:cubicBezTo>
                    <a:pt x="360060" y="69057"/>
                    <a:pt x="365500" y="77216"/>
                    <a:pt x="365500" y="82655"/>
                  </a:cubicBezTo>
                  <a:cubicBezTo>
                    <a:pt x="365500" y="90814"/>
                    <a:pt x="368219" y="123450"/>
                    <a:pt x="368219" y="142488"/>
                  </a:cubicBezTo>
                  <a:cubicBezTo>
                    <a:pt x="368219" y="158806"/>
                    <a:pt x="368219" y="177843"/>
                    <a:pt x="368219" y="188722"/>
                  </a:cubicBezTo>
                  <a:cubicBezTo>
                    <a:pt x="368219" y="213199"/>
                    <a:pt x="370939" y="224077"/>
                    <a:pt x="370939" y="245834"/>
                  </a:cubicBezTo>
                  <a:cubicBezTo>
                    <a:pt x="370939" y="256713"/>
                    <a:pt x="370939" y="286629"/>
                    <a:pt x="354621" y="286629"/>
                  </a:cubicBezTo>
                  <a:cubicBezTo>
                    <a:pt x="346462" y="286629"/>
                    <a:pt x="343742" y="283910"/>
                    <a:pt x="338303" y="281190"/>
                  </a:cubicBezTo>
                  <a:cubicBezTo>
                    <a:pt x="332864" y="278470"/>
                    <a:pt x="330144" y="270311"/>
                    <a:pt x="330144" y="264872"/>
                  </a:cubicBezTo>
                  <a:cubicBezTo>
                    <a:pt x="327424" y="256713"/>
                    <a:pt x="327424" y="251274"/>
                    <a:pt x="327424" y="248554"/>
                  </a:cubicBezTo>
                  <a:cubicBezTo>
                    <a:pt x="327424" y="240395"/>
                    <a:pt x="330144" y="234956"/>
                    <a:pt x="330144" y="221357"/>
                  </a:cubicBezTo>
                  <a:cubicBezTo>
                    <a:pt x="330144" y="213199"/>
                    <a:pt x="330144" y="202320"/>
                    <a:pt x="330144" y="188722"/>
                  </a:cubicBezTo>
                  <a:cubicBezTo>
                    <a:pt x="330144" y="180563"/>
                    <a:pt x="327424" y="172404"/>
                    <a:pt x="327424" y="164245"/>
                  </a:cubicBezTo>
                  <a:cubicBezTo>
                    <a:pt x="324705" y="153366"/>
                    <a:pt x="319265" y="142488"/>
                    <a:pt x="311107" y="134329"/>
                  </a:cubicBezTo>
                  <a:cubicBezTo>
                    <a:pt x="302948" y="126170"/>
                    <a:pt x="294789" y="120730"/>
                    <a:pt x="283910" y="118011"/>
                  </a:cubicBezTo>
                  <a:cubicBezTo>
                    <a:pt x="275751" y="115291"/>
                    <a:pt x="262153" y="112571"/>
                    <a:pt x="251274" y="112571"/>
                  </a:cubicBezTo>
                  <a:cubicBezTo>
                    <a:pt x="237676" y="112571"/>
                    <a:pt x="224077" y="115291"/>
                    <a:pt x="215918" y="123450"/>
                  </a:cubicBezTo>
                  <a:cubicBezTo>
                    <a:pt x="207759" y="128889"/>
                    <a:pt x="205040" y="139768"/>
                    <a:pt x="202320" y="147927"/>
                  </a:cubicBezTo>
                  <a:cubicBezTo>
                    <a:pt x="196881" y="158806"/>
                    <a:pt x="191442" y="166964"/>
                    <a:pt x="188722" y="180563"/>
                  </a:cubicBezTo>
                  <a:cubicBezTo>
                    <a:pt x="186002" y="191441"/>
                    <a:pt x="183283" y="199600"/>
                    <a:pt x="183283" y="210479"/>
                  </a:cubicBezTo>
                  <a:cubicBezTo>
                    <a:pt x="183283" y="215918"/>
                    <a:pt x="186002" y="221357"/>
                    <a:pt x="188722" y="226797"/>
                  </a:cubicBezTo>
                  <a:cubicBezTo>
                    <a:pt x="191442" y="234956"/>
                    <a:pt x="188722" y="243115"/>
                    <a:pt x="188722" y="248554"/>
                  </a:cubicBezTo>
                  <a:cubicBezTo>
                    <a:pt x="191442" y="259433"/>
                    <a:pt x="202320" y="264872"/>
                    <a:pt x="210479" y="273031"/>
                  </a:cubicBezTo>
                  <a:cubicBezTo>
                    <a:pt x="218638" y="281190"/>
                    <a:pt x="221358" y="292069"/>
                    <a:pt x="226797" y="300228"/>
                  </a:cubicBezTo>
                  <a:cubicBezTo>
                    <a:pt x="234956" y="311106"/>
                    <a:pt x="245835" y="321985"/>
                    <a:pt x="256713" y="332864"/>
                  </a:cubicBezTo>
                  <a:cubicBezTo>
                    <a:pt x="259433" y="338303"/>
                    <a:pt x="267592" y="343742"/>
                    <a:pt x="275751" y="351901"/>
                  </a:cubicBezTo>
                  <a:cubicBezTo>
                    <a:pt x="292069" y="368219"/>
                    <a:pt x="311107" y="384537"/>
                    <a:pt x="324705" y="400855"/>
                  </a:cubicBezTo>
                  <a:cubicBezTo>
                    <a:pt x="332864" y="409014"/>
                    <a:pt x="335583" y="419892"/>
                    <a:pt x="343742" y="428051"/>
                  </a:cubicBezTo>
                  <a:cubicBezTo>
                    <a:pt x="346462" y="430771"/>
                    <a:pt x="349182" y="430771"/>
                    <a:pt x="351901" y="433491"/>
                  </a:cubicBezTo>
                  <a:cubicBezTo>
                    <a:pt x="354621" y="436210"/>
                    <a:pt x="357341" y="441650"/>
                    <a:pt x="360060" y="447089"/>
                  </a:cubicBezTo>
                  <a:cubicBezTo>
                    <a:pt x="368219" y="455248"/>
                    <a:pt x="376378" y="463407"/>
                    <a:pt x="384537" y="474286"/>
                  </a:cubicBezTo>
                  <a:cubicBezTo>
                    <a:pt x="389977" y="482445"/>
                    <a:pt x="392696" y="496043"/>
                    <a:pt x="395416" y="506921"/>
                  </a:cubicBezTo>
                  <a:cubicBezTo>
                    <a:pt x="400855" y="517800"/>
                    <a:pt x="400855" y="528679"/>
                    <a:pt x="406295" y="536838"/>
                  </a:cubicBezTo>
                  <a:cubicBezTo>
                    <a:pt x="409014" y="539557"/>
                    <a:pt x="409014" y="544997"/>
                    <a:pt x="409014" y="547716"/>
                  </a:cubicBezTo>
                  <a:cubicBezTo>
                    <a:pt x="409014" y="555875"/>
                    <a:pt x="406295" y="561314"/>
                    <a:pt x="406295" y="569473"/>
                  </a:cubicBezTo>
                  <a:cubicBezTo>
                    <a:pt x="406295" y="574913"/>
                    <a:pt x="403575" y="577632"/>
                    <a:pt x="403575" y="583072"/>
                  </a:cubicBezTo>
                  <a:lnTo>
                    <a:pt x="403575" y="583072"/>
                  </a:ln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/>
            </a:p>
          </p:txBody>
        </p:sp>
        <p:sp>
          <p:nvSpPr>
            <p:cNvPr id="36" name="Freeform: Shape 35">
              <a:extLst>
                <a:ext uri="{FF2B5EF4-FFF2-40B4-BE49-F238E27FC236}">
                  <a16:creationId xmlns:a16="http://schemas.microsoft.com/office/drawing/2014/main" id="{D29ABEF3-305F-4221-AFD4-5FAD1F7F9B5A}"/>
                </a:ext>
              </a:extLst>
            </p:cNvPr>
            <p:cNvSpPr/>
            <p:nvPr/>
          </p:nvSpPr>
          <p:spPr>
            <a:xfrm>
              <a:off x="2456032" y="4192158"/>
              <a:ext cx="571128" cy="761503"/>
            </a:xfrm>
            <a:custGeom>
              <a:avLst/>
              <a:gdLst>
                <a:gd name="connsiteX0" fmla="*/ 512361 w 571128"/>
                <a:gd name="connsiteY0" fmla="*/ 79936 h 761503"/>
                <a:gd name="connsiteX1" fmla="*/ 539558 w 571128"/>
                <a:gd name="connsiteY1" fmla="*/ 96253 h 761503"/>
                <a:gd name="connsiteX2" fmla="*/ 534118 w 571128"/>
                <a:gd name="connsiteY2" fmla="*/ 112571 h 761503"/>
                <a:gd name="connsiteX3" fmla="*/ 523240 w 571128"/>
                <a:gd name="connsiteY3" fmla="*/ 120730 h 761503"/>
                <a:gd name="connsiteX4" fmla="*/ 506922 w 571128"/>
                <a:gd name="connsiteY4" fmla="*/ 123450 h 761503"/>
                <a:gd name="connsiteX5" fmla="*/ 477006 w 571128"/>
                <a:gd name="connsiteY5" fmla="*/ 123450 h 761503"/>
                <a:gd name="connsiteX6" fmla="*/ 479725 w 571128"/>
                <a:gd name="connsiteY6" fmla="*/ 145207 h 761503"/>
                <a:gd name="connsiteX7" fmla="*/ 477006 w 571128"/>
                <a:gd name="connsiteY7" fmla="*/ 180563 h 761503"/>
                <a:gd name="connsiteX8" fmla="*/ 482445 w 571128"/>
                <a:gd name="connsiteY8" fmla="*/ 232236 h 761503"/>
                <a:gd name="connsiteX9" fmla="*/ 485165 w 571128"/>
                <a:gd name="connsiteY9" fmla="*/ 283910 h 761503"/>
                <a:gd name="connsiteX10" fmla="*/ 485165 w 571128"/>
                <a:gd name="connsiteY10" fmla="*/ 327424 h 761503"/>
                <a:gd name="connsiteX11" fmla="*/ 487884 w 571128"/>
                <a:gd name="connsiteY11" fmla="*/ 373658 h 761503"/>
                <a:gd name="connsiteX12" fmla="*/ 485165 w 571128"/>
                <a:gd name="connsiteY12" fmla="*/ 419892 h 761503"/>
                <a:gd name="connsiteX13" fmla="*/ 485165 w 571128"/>
                <a:gd name="connsiteY13" fmla="*/ 463407 h 761503"/>
                <a:gd name="connsiteX14" fmla="*/ 482445 w 571128"/>
                <a:gd name="connsiteY14" fmla="*/ 515080 h 761503"/>
                <a:gd name="connsiteX15" fmla="*/ 482445 w 571128"/>
                <a:gd name="connsiteY15" fmla="*/ 558595 h 761503"/>
                <a:gd name="connsiteX16" fmla="*/ 479725 w 571128"/>
                <a:gd name="connsiteY16" fmla="*/ 602109 h 761503"/>
                <a:gd name="connsiteX17" fmla="*/ 485165 w 571128"/>
                <a:gd name="connsiteY17" fmla="*/ 648343 h 761503"/>
                <a:gd name="connsiteX18" fmla="*/ 474286 w 571128"/>
                <a:gd name="connsiteY18" fmla="*/ 675540 h 761503"/>
                <a:gd name="connsiteX19" fmla="*/ 428052 w 571128"/>
                <a:gd name="connsiteY19" fmla="*/ 691858 h 761503"/>
                <a:gd name="connsiteX20" fmla="*/ 387257 w 571128"/>
                <a:gd name="connsiteY20" fmla="*/ 683699 h 761503"/>
                <a:gd name="connsiteX21" fmla="*/ 351901 w 571128"/>
                <a:gd name="connsiteY21" fmla="*/ 664661 h 761503"/>
                <a:gd name="connsiteX22" fmla="*/ 305667 w 571128"/>
                <a:gd name="connsiteY22" fmla="*/ 596670 h 761503"/>
                <a:gd name="connsiteX23" fmla="*/ 270312 w 571128"/>
                <a:gd name="connsiteY23" fmla="*/ 509641 h 761503"/>
                <a:gd name="connsiteX24" fmla="*/ 251274 w 571128"/>
                <a:gd name="connsiteY24" fmla="*/ 460687 h 761503"/>
                <a:gd name="connsiteX25" fmla="*/ 224077 w 571128"/>
                <a:gd name="connsiteY25" fmla="*/ 381817 h 761503"/>
                <a:gd name="connsiteX26" fmla="*/ 207759 w 571128"/>
                <a:gd name="connsiteY26" fmla="*/ 330144 h 761503"/>
                <a:gd name="connsiteX27" fmla="*/ 191442 w 571128"/>
                <a:gd name="connsiteY27" fmla="*/ 286629 h 761503"/>
                <a:gd name="connsiteX28" fmla="*/ 183283 w 571128"/>
                <a:gd name="connsiteY28" fmla="*/ 278470 h 761503"/>
                <a:gd name="connsiteX29" fmla="*/ 180563 w 571128"/>
                <a:gd name="connsiteY29" fmla="*/ 292069 h 761503"/>
                <a:gd name="connsiteX30" fmla="*/ 180563 w 571128"/>
                <a:gd name="connsiteY30" fmla="*/ 305667 h 761503"/>
                <a:gd name="connsiteX31" fmla="*/ 183283 w 571128"/>
                <a:gd name="connsiteY31" fmla="*/ 354621 h 761503"/>
                <a:gd name="connsiteX32" fmla="*/ 188722 w 571128"/>
                <a:gd name="connsiteY32" fmla="*/ 449809 h 761503"/>
                <a:gd name="connsiteX33" fmla="*/ 188722 w 571128"/>
                <a:gd name="connsiteY33" fmla="*/ 479725 h 761503"/>
                <a:gd name="connsiteX34" fmla="*/ 188722 w 571128"/>
                <a:gd name="connsiteY34" fmla="*/ 542277 h 761503"/>
                <a:gd name="connsiteX35" fmla="*/ 186002 w 571128"/>
                <a:gd name="connsiteY35" fmla="*/ 615708 h 761503"/>
                <a:gd name="connsiteX36" fmla="*/ 186002 w 571128"/>
                <a:gd name="connsiteY36" fmla="*/ 637465 h 761503"/>
                <a:gd name="connsiteX37" fmla="*/ 183283 w 571128"/>
                <a:gd name="connsiteY37" fmla="*/ 664661 h 761503"/>
                <a:gd name="connsiteX38" fmla="*/ 226797 w 571128"/>
                <a:gd name="connsiteY38" fmla="*/ 664661 h 761503"/>
                <a:gd name="connsiteX39" fmla="*/ 253994 w 571128"/>
                <a:gd name="connsiteY39" fmla="*/ 680979 h 761503"/>
                <a:gd name="connsiteX40" fmla="*/ 248554 w 571128"/>
                <a:gd name="connsiteY40" fmla="*/ 697297 h 761503"/>
                <a:gd name="connsiteX41" fmla="*/ 234956 w 571128"/>
                <a:gd name="connsiteY41" fmla="*/ 705456 h 761503"/>
                <a:gd name="connsiteX42" fmla="*/ 218638 w 571128"/>
                <a:gd name="connsiteY42" fmla="*/ 708176 h 761503"/>
                <a:gd name="connsiteX43" fmla="*/ 183283 w 571128"/>
                <a:gd name="connsiteY43" fmla="*/ 708176 h 761503"/>
                <a:gd name="connsiteX44" fmla="*/ 150647 w 571128"/>
                <a:gd name="connsiteY44" fmla="*/ 708176 h 761503"/>
                <a:gd name="connsiteX45" fmla="*/ 107132 w 571128"/>
                <a:gd name="connsiteY45" fmla="*/ 708176 h 761503"/>
                <a:gd name="connsiteX46" fmla="*/ 88094 w 571128"/>
                <a:gd name="connsiteY46" fmla="*/ 708176 h 761503"/>
                <a:gd name="connsiteX47" fmla="*/ 69057 w 571128"/>
                <a:gd name="connsiteY47" fmla="*/ 702737 h 761503"/>
                <a:gd name="connsiteX48" fmla="*/ 58178 w 571128"/>
                <a:gd name="connsiteY48" fmla="*/ 686419 h 761503"/>
                <a:gd name="connsiteX49" fmla="*/ 60898 w 571128"/>
                <a:gd name="connsiteY49" fmla="*/ 678260 h 761503"/>
                <a:gd name="connsiteX50" fmla="*/ 77216 w 571128"/>
                <a:gd name="connsiteY50" fmla="*/ 670101 h 761503"/>
                <a:gd name="connsiteX51" fmla="*/ 120730 w 571128"/>
                <a:gd name="connsiteY51" fmla="*/ 664661 h 761503"/>
                <a:gd name="connsiteX52" fmla="*/ 131609 w 571128"/>
                <a:gd name="connsiteY52" fmla="*/ 664661 h 761503"/>
                <a:gd name="connsiteX53" fmla="*/ 134329 w 571128"/>
                <a:gd name="connsiteY53" fmla="*/ 539557 h 761503"/>
                <a:gd name="connsiteX54" fmla="*/ 134329 w 571128"/>
                <a:gd name="connsiteY54" fmla="*/ 504202 h 761503"/>
                <a:gd name="connsiteX55" fmla="*/ 131609 w 571128"/>
                <a:gd name="connsiteY55" fmla="*/ 376378 h 761503"/>
                <a:gd name="connsiteX56" fmla="*/ 131609 w 571128"/>
                <a:gd name="connsiteY56" fmla="*/ 302947 h 761503"/>
                <a:gd name="connsiteX57" fmla="*/ 134329 w 571128"/>
                <a:gd name="connsiteY57" fmla="*/ 221357 h 761503"/>
                <a:gd name="connsiteX58" fmla="*/ 137048 w 571128"/>
                <a:gd name="connsiteY58" fmla="*/ 123450 h 761503"/>
                <a:gd name="connsiteX59" fmla="*/ 107132 w 571128"/>
                <a:gd name="connsiteY59" fmla="*/ 123450 h 761503"/>
                <a:gd name="connsiteX60" fmla="*/ 88094 w 571128"/>
                <a:gd name="connsiteY60" fmla="*/ 123450 h 761503"/>
                <a:gd name="connsiteX61" fmla="*/ 69057 w 571128"/>
                <a:gd name="connsiteY61" fmla="*/ 118011 h 761503"/>
                <a:gd name="connsiteX62" fmla="*/ 58178 w 571128"/>
                <a:gd name="connsiteY62" fmla="*/ 101693 h 761503"/>
                <a:gd name="connsiteX63" fmla="*/ 60898 w 571128"/>
                <a:gd name="connsiteY63" fmla="*/ 93534 h 761503"/>
                <a:gd name="connsiteX64" fmla="*/ 77216 w 571128"/>
                <a:gd name="connsiteY64" fmla="*/ 85375 h 761503"/>
                <a:gd name="connsiteX65" fmla="*/ 131609 w 571128"/>
                <a:gd name="connsiteY65" fmla="*/ 79936 h 761503"/>
                <a:gd name="connsiteX66" fmla="*/ 161525 w 571128"/>
                <a:gd name="connsiteY66" fmla="*/ 79936 h 761503"/>
                <a:gd name="connsiteX67" fmla="*/ 177843 w 571128"/>
                <a:gd name="connsiteY67" fmla="*/ 66337 h 761503"/>
                <a:gd name="connsiteX68" fmla="*/ 202320 w 571128"/>
                <a:gd name="connsiteY68" fmla="*/ 58178 h 761503"/>
                <a:gd name="connsiteX69" fmla="*/ 234956 w 571128"/>
                <a:gd name="connsiteY69" fmla="*/ 77216 h 761503"/>
                <a:gd name="connsiteX70" fmla="*/ 251274 w 571128"/>
                <a:gd name="connsiteY70" fmla="*/ 107132 h 761503"/>
                <a:gd name="connsiteX71" fmla="*/ 267592 w 571128"/>
                <a:gd name="connsiteY71" fmla="*/ 147927 h 761503"/>
                <a:gd name="connsiteX72" fmla="*/ 281190 w 571128"/>
                <a:gd name="connsiteY72" fmla="*/ 183282 h 761503"/>
                <a:gd name="connsiteX73" fmla="*/ 297508 w 571128"/>
                <a:gd name="connsiteY73" fmla="*/ 224077 h 761503"/>
                <a:gd name="connsiteX74" fmla="*/ 308387 w 571128"/>
                <a:gd name="connsiteY74" fmla="*/ 264872 h 761503"/>
                <a:gd name="connsiteX75" fmla="*/ 319265 w 571128"/>
                <a:gd name="connsiteY75" fmla="*/ 300228 h 761503"/>
                <a:gd name="connsiteX76" fmla="*/ 351901 w 571128"/>
                <a:gd name="connsiteY76" fmla="*/ 379098 h 761503"/>
                <a:gd name="connsiteX77" fmla="*/ 365500 w 571128"/>
                <a:gd name="connsiteY77" fmla="*/ 417173 h 761503"/>
                <a:gd name="connsiteX78" fmla="*/ 379098 w 571128"/>
                <a:gd name="connsiteY78" fmla="*/ 457968 h 761503"/>
                <a:gd name="connsiteX79" fmla="*/ 395416 w 571128"/>
                <a:gd name="connsiteY79" fmla="*/ 496043 h 761503"/>
                <a:gd name="connsiteX80" fmla="*/ 406295 w 571128"/>
                <a:gd name="connsiteY80" fmla="*/ 512361 h 761503"/>
                <a:gd name="connsiteX81" fmla="*/ 411734 w 571128"/>
                <a:gd name="connsiteY81" fmla="*/ 531398 h 761503"/>
                <a:gd name="connsiteX82" fmla="*/ 419893 w 571128"/>
                <a:gd name="connsiteY82" fmla="*/ 558595 h 761503"/>
                <a:gd name="connsiteX83" fmla="*/ 425332 w 571128"/>
                <a:gd name="connsiteY83" fmla="*/ 564034 h 761503"/>
                <a:gd name="connsiteX84" fmla="*/ 430771 w 571128"/>
                <a:gd name="connsiteY84" fmla="*/ 558595 h 761503"/>
                <a:gd name="connsiteX85" fmla="*/ 430771 w 571128"/>
                <a:gd name="connsiteY85" fmla="*/ 550436 h 761503"/>
                <a:gd name="connsiteX86" fmla="*/ 430771 w 571128"/>
                <a:gd name="connsiteY86" fmla="*/ 501482 h 761503"/>
                <a:gd name="connsiteX87" fmla="*/ 430771 w 571128"/>
                <a:gd name="connsiteY87" fmla="*/ 403575 h 761503"/>
                <a:gd name="connsiteX88" fmla="*/ 425332 w 571128"/>
                <a:gd name="connsiteY88" fmla="*/ 313826 h 761503"/>
                <a:gd name="connsiteX89" fmla="*/ 425332 w 571128"/>
                <a:gd name="connsiteY89" fmla="*/ 248554 h 761503"/>
                <a:gd name="connsiteX90" fmla="*/ 425332 w 571128"/>
                <a:gd name="connsiteY90" fmla="*/ 210479 h 761503"/>
                <a:gd name="connsiteX91" fmla="*/ 422613 w 571128"/>
                <a:gd name="connsiteY91" fmla="*/ 153366 h 761503"/>
                <a:gd name="connsiteX92" fmla="*/ 425332 w 571128"/>
                <a:gd name="connsiteY92" fmla="*/ 123450 h 761503"/>
                <a:gd name="connsiteX93" fmla="*/ 398136 w 571128"/>
                <a:gd name="connsiteY93" fmla="*/ 123450 h 761503"/>
                <a:gd name="connsiteX94" fmla="*/ 379098 w 571128"/>
                <a:gd name="connsiteY94" fmla="*/ 123450 h 761503"/>
                <a:gd name="connsiteX95" fmla="*/ 360060 w 571128"/>
                <a:gd name="connsiteY95" fmla="*/ 118011 h 761503"/>
                <a:gd name="connsiteX96" fmla="*/ 349182 w 571128"/>
                <a:gd name="connsiteY96" fmla="*/ 101693 h 761503"/>
                <a:gd name="connsiteX97" fmla="*/ 351901 w 571128"/>
                <a:gd name="connsiteY97" fmla="*/ 93534 h 761503"/>
                <a:gd name="connsiteX98" fmla="*/ 368219 w 571128"/>
                <a:gd name="connsiteY98" fmla="*/ 85375 h 761503"/>
                <a:gd name="connsiteX99" fmla="*/ 422613 w 571128"/>
                <a:gd name="connsiteY99" fmla="*/ 79936 h 761503"/>
                <a:gd name="connsiteX100" fmla="*/ 444370 w 571128"/>
                <a:gd name="connsiteY100" fmla="*/ 79936 h 761503"/>
                <a:gd name="connsiteX101" fmla="*/ 463407 w 571128"/>
                <a:gd name="connsiteY101" fmla="*/ 71776 h 761503"/>
                <a:gd name="connsiteX102" fmla="*/ 477006 w 571128"/>
                <a:gd name="connsiteY102" fmla="*/ 79936 h 761503"/>
                <a:gd name="connsiteX103" fmla="*/ 512361 w 571128"/>
                <a:gd name="connsiteY103" fmla="*/ 79936 h 761503"/>
                <a:gd name="connsiteX104" fmla="*/ 512361 w 571128"/>
                <a:gd name="connsiteY104" fmla="*/ 79936 h 761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</a:cxnLst>
              <a:rect l="l" t="t" r="r" b="b"/>
              <a:pathLst>
                <a:path w="571128" h="761503">
                  <a:moveTo>
                    <a:pt x="512361" y="79936"/>
                  </a:moveTo>
                  <a:cubicBezTo>
                    <a:pt x="520520" y="79936"/>
                    <a:pt x="539558" y="79936"/>
                    <a:pt x="539558" y="96253"/>
                  </a:cubicBezTo>
                  <a:cubicBezTo>
                    <a:pt x="539558" y="104412"/>
                    <a:pt x="539558" y="107132"/>
                    <a:pt x="534118" y="112571"/>
                  </a:cubicBezTo>
                  <a:cubicBezTo>
                    <a:pt x="531399" y="118011"/>
                    <a:pt x="525960" y="120730"/>
                    <a:pt x="523240" y="120730"/>
                  </a:cubicBezTo>
                  <a:cubicBezTo>
                    <a:pt x="515081" y="123450"/>
                    <a:pt x="512361" y="123450"/>
                    <a:pt x="506922" y="123450"/>
                  </a:cubicBezTo>
                  <a:cubicBezTo>
                    <a:pt x="504202" y="123450"/>
                    <a:pt x="490604" y="123450"/>
                    <a:pt x="477006" y="123450"/>
                  </a:cubicBezTo>
                  <a:cubicBezTo>
                    <a:pt x="477006" y="131609"/>
                    <a:pt x="479725" y="137048"/>
                    <a:pt x="479725" y="145207"/>
                  </a:cubicBezTo>
                  <a:cubicBezTo>
                    <a:pt x="479725" y="156086"/>
                    <a:pt x="477006" y="166964"/>
                    <a:pt x="477006" y="180563"/>
                  </a:cubicBezTo>
                  <a:cubicBezTo>
                    <a:pt x="477006" y="196881"/>
                    <a:pt x="479725" y="215918"/>
                    <a:pt x="482445" y="232236"/>
                  </a:cubicBezTo>
                  <a:cubicBezTo>
                    <a:pt x="485165" y="248554"/>
                    <a:pt x="485165" y="267592"/>
                    <a:pt x="485165" y="283910"/>
                  </a:cubicBezTo>
                  <a:cubicBezTo>
                    <a:pt x="485165" y="297508"/>
                    <a:pt x="485165" y="313826"/>
                    <a:pt x="485165" y="327424"/>
                  </a:cubicBezTo>
                  <a:cubicBezTo>
                    <a:pt x="485165" y="343742"/>
                    <a:pt x="487884" y="357340"/>
                    <a:pt x="487884" y="373658"/>
                  </a:cubicBezTo>
                  <a:cubicBezTo>
                    <a:pt x="487884" y="389976"/>
                    <a:pt x="485165" y="403575"/>
                    <a:pt x="485165" y="419892"/>
                  </a:cubicBezTo>
                  <a:cubicBezTo>
                    <a:pt x="485165" y="436210"/>
                    <a:pt x="485165" y="449809"/>
                    <a:pt x="485165" y="463407"/>
                  </a:cubicBezTo>
                  <a:cubicBezTo>
                    <a:pt x="485165" y="479725"/>
                    <a:pt x="485165" y="498762"/>
                    <a:pt x="482445" y="515080"/>
                  </a:cubicBezTo>
                  <a:cubicBezTo>
                    <a:pt x="482445" y="528679"/>
                    <a:pt x="482445" y="542277"/>
                    <a:pt x="482445" y="558595"/>
                  </a:cubicBezTo>
                  <a:cubicBezTo>
                    <a:pt x="482445" y="572193"/>
                    <a:pt x="479725" y="588511"/>
                    <a:pt x="479725" y="602109"/>
                  </a:cubicBezTo>
                  <a:cubicBezTo>
                    <a:pt x="479725" y="615708"/>
                    <a:pt x="485165" y="632026"/>
                    <a:pt x="485165" y="648343"/>
                  </a:cubicBezTo>
                  <a:cubicBezTo>
                    <a:pt x="485165" y="659222"/>
                    <a:pt x="482445" y="670101"/>
                    <a:pt x="474286" y="675540"/>
                  </a:cubicBezTo>
                  <a:cubicBezTo>
                    <a:pt x="460688" y="686419"/>
                    <a:pt x="444370" y="691858"/>
                    <a:pt x="428052" y="691858"/>
                  </a:cubicBezTo>
                  <a:cubicBezTo>
                    <a:pt x="414454" y="691858"/>
                    <a:pt x="400855" y="689138"/>
                    <a:pt x="387257" y="683699"/>
                  </a:cubicBezTo>
                  <a:cubicBezTo>
                    <a:pt x="373659" y="678260"/>
                    <a:pt x="360060" y="672820"/>
                    <a:pt x="351901" y="664661"/>
                  </a:cubicBezTo>
                  <a:cubicBezTo>
                    <a:pt x="330144" y="645624"/>
                    <a:pt x="316546" y="621147"/>
                    <a:pt x="305667" y="596670"/>
                  </a:cubicBezTo>
                  <a:cubicBezTo>
                    <a:pt x="292069" y="569473"/>
                    <a:pt x="281190" y="539557"/>
                    <a:pt x="270312" y="509641"/>
                  </a:cubicBezTo>
                  <a:cubicBezTo>
                    <a:pt x="264872" y="493323"/>
                    <a:pt x="256713" y="477005"/>
                    <a:pt x="251274" y="460687"/>
                  </a:cubicBezTo>
                  <a:cubicBezTo>
                    <a:pt x="240395" y="433491"/>
                    <a:pt x="232236" y="409014"/>
                    <a:pt x="224077" y="381817"/>
                  </a:cubicBezTo>
                  <a:cubicBezTo>
                    <a:pt x="218638" y="365499"/>
                    <a:pt x="213199" y="346462"/>
                    <a:pt x="207759" y="330144"/>
                  </a:cubicBezTo>
                  <a:cubicBezTo>
                    <a:pt x="202320" y="316545"/>
                    <a:pt x="196881" y="300228"/>
                    <a:pt x="191442" y="286629"/>
                  </a:cubicBezTo>
                  <a:cubicBezTo>
                    <a:pt x="188722" y="281190"/>
                    <a:pt x="186002" y="278470"/>
                    <a:pt x="183283" y="278470"/>
                  </a:cubicBezTo>
                  <a:cubicBezTo>
                    <a:pt x="180563" y="278470"/>
                    <a:pt x="180563" y="286629"/>
                    <a:pt x="180563" y="292069"/>
                  </a:cubicBezTo>
                  <a:cubicBezTo>
                    <a:pt x="180563" y="297508"/>
                    <a:pt x="180563" y="302947"/>
                    <a:pt x="180563" y="305667"/>
                  </a:cubicBezTo>
                  <a:cubicBezTo>
                    <a:pt x="180563" y="321985"/>
                    <a:pt x="183283" y="338303"/>
                    <a:pt x="183283" y="354621"/>
                  </a:cubicBezTo>
                  <a:cubicBezTo>
                    <a:pt x="183283" y="387257"/>
                    <a:pt x="186002" y="417173"/>
                    <a:pt x="188722" y="449809"/>
                  </a:cubicBezTo>
                  <a:cubicBezTo>
                    <a:pt x="188722" y="460687"/>
                    <a:pt x="188722" y="468846"/>
                    <a:pt x="188722" y="479725"/>
                  </a:cubicBezTo>
                  <a:cubicBezTo>
                    <a:pt x="188722" y="501482"/>
                    <a:pt x="188722" y="523239"/>
                    <a:pt x="188722" y="542277"/>
                  </a:cubicBezTo>
                  <a:cubicBezTo>
                    <a:pt x="188722" y="566754"/>
                    <a:pt x="186002" y="591231"/>
                    <a:pt x="186002" y="615708"/>
                  </a:cubicBezTo>
                  <a:cubicBezTo>
                    <a:pt x="186002" y="623867"/>
                    <a:pt x="186002" y="632026"/>
                    <a:pt x="186002" y="637465"/>
                  </a:cubicBezTo>
                  <a:cubicBezTo>
                    <a:pt x="186002" y="645624"/>
                    <a:pt x="183283" y="656502"/>
                    <a:pt x="183283" y="664661"/>
                  </a:cubicBezTo>
                  <a:cubicBezTo>
                    <a:pt x="202320" y="664661"/>
                    <a:pt x="218638" y="664661"/>
                    <a:pt x="226797" y="664661"/>
                  </a:cubicBezTo>
                  <a:cubicBezTo>
                    <a:pt x="234956" y="664661"/>
                    <a:pt x="253994" y="664661"/>
                    <a:pt x="253994" y="680979"/>
                  </a:cubicBezTo>
                  <a:cubicBezTo>
                    <a:pt x="253994" y="689138"/>
                    <a:pt x="253994" y="691858"/>
                    <a:pt x="248554" y="697297"/>
                  </a:cubicBezTo>
                  <a:cubicBezTo>
                    <a:pt x="245835" y="702737"/>
                    <a:pt x="240395" y="705456"/>
                    <a:pt x="234956" y="705456"/>
                  </a:cubicBezTo>
                  <a:cubicBezTo>
                    <a:pt x="226797" y="708176"/>
                    <a:pt x="224077" y="708176"/>
                    <a:pt x="218638" y="708176"/>
                  </a:cubicBezTo>
                  <a:cubicBezTo>
                    <a:pt x="215918" y="708176"/>
                    <a:pt x="199600" y="708176"/>
                    <a:pt x="183283" y="708176"/>
                  </a:cubicBezTo>
                  <a:cubicBezTo>
                    <a:pt x="166965" y="708176"/>
                    <a:pt x="153366" y="708176"/>
                    <a:pt x="150647" y="708176"/>
                  </a:cubicBezTo>
                  <a:cubicBezTo>
                    <a:pt x="139768" y="708176"/>
                    <a:pt x="120730" y="708176"/>
                    <a:pt x="107132" y="708176"/>
                  </a:cubicBezTo>
                  <a:cubicBezTo>
                    <a:pt x="101693" y="708176"/>
                    <a:pt x="96253" y="708176"/>
                    <a:pt x="88094" y="708176"/>
                  </a:cubicBezTo>
                  <a:cubicBezTo>
                    <a:pt x="82655" y="708176"/>
                    <a:pt x="74496" y="708176"/>
                    <a:pt x="69057" y="702737"/>
                  </a:cubicBezTo>
                  <a:cubicBezTo>
                    <a:pt x="63618" y="700017"/>
                    <a:pt x="58178" y="691858"/>
                    <a:pt x="58178" y="686419"/>
                  </a:cubicBezTo>
                  <a:cubicBezTo>
                    <a:pt x="58178" y="683699"/>
                    <a:pt x="58178" y="680979"/>
                    <a:pt x="60898" y="678260"/>
                  </a:cubicBezTo>
                  <a:cubicBezTo>
                    <a:pt x="63618" y="675540"/>
                    <a:pt x="71777" y="672820"/>
                    <a:pt x="77216" y="670101"/>
                  </a:cubicBezTo>
                  <a:cubicBezTo>
                    <a:pt x="90814" y="667381"/>
                    <a:pt x="115291" y="664661"/>
                    <a:pt x="120730" y="664661"/>
                  </a:cubicBezTo>
                  <a:cubicBezTo>
                    <a:pt x="123450" y="664661"/>
                    <a:pt x="126170" y="664661"/>
                    <a:pt x="131609" y="664661"/>
                  </a:cubicBezTo>
                  <a:cubicBezTo>
                    <a:pt x="131609" y="623867"/>
                    <a:pt x="134329" y="583072"/>
                    <a:pt x="134329" y="539557"/>
                  </a:cubicBezTo>
                  <a:cubicBezTo>
                    <a:pt x="134329" y="528679"/>
                    <a:pt x="134329" y="515080"/>
                    <a:pt x="134329" y="504202"/>
                  </a:cubicBezTo>
                  <a:cubicBezTo>
                    <a:pt x="131609" y="460687"/>
                    <a:pt x="131609" y="417173"/>
                    <a:pt x="131609" y="376378"/>
                  </a:cubicBezTo>
                  <a:cubicBezTo>
                    <a:pt x="131609" y="351901"/>
                    <a:pt x="131609" y="327424"/>
                    <a:pt x="131609" y="302947"/>
                  </a:cubicBezTo>
                  <a:cubicBezTo>
                    <a:pt x="131609" y="275751"/>
                    <a:pt x="131609" y="248554"/>
                    <a:pt x="134329" y="221357"/>
                  </a:cubicBezTo>
                  <a:cubicBezTo>
                    <a:pt x="134329" y="188722"/>
                    <a:pt x="137048" y="156086"/>
                    <a:pt x="137048" y="123450"/>
                  </a:cubicBezTo>
                  <a:cubicBezTo>
                    <a:pt x="126170" y="123450"/>
                    <a:pt x="115291" y="123450"/>
                    <a:pt x="107132" y="123450"/>
                  </a:cubicBezTo>
                  <a:cubicBezTo>
                    <a:pt x="101693" y="123450"/>
                    <a:pt x="96253" y="123450"/>
                    <a:pt x="88094" y="123450"/>
                  </a:cubicBezTo>
                  <a:cubicBezTo>
                    <a:pt x="82655" y="123450"/>
                    <a:pt x="74496" y="120730"/>
                    <a:pt x="69057" y="118011"/>
                  </a:cubicBezTo>
                  <a:cubicBezTo>
                    <a:pt x="63618" y="115291"/>
                    <a:pt x="58178" y="107132"/>
                    <a:pt x="58178" y="101693"/>
                  </a:cubicBezTo>
                  <a:cubicBezTo>
                    <a:pt x="58178" y="98973"/>
                    <a:pt x="58178" y="96253"/>
                    <a:pt x="60898" y="93534"/>
                  </a:cubicBezTo>
                  <a:cubicBezTo>
                    <a:pt x="63618" y="90814"/>
                    <a:pt x="71777" y="88095"/>
                    <a:pt x="77216" y="85375"/>
                  </a:cubicBezTo>
                  <a:cubicBezTo>
                    <a:pt x="90814" y="82655"/>
                    <a:pt x="126170" y="79936"/>
                    <a:pt x="131609" y="79936"/>
                  </a:cubicBezTo>
                  <a:cubicBezTo>
                    <a:pt x="137048" y="79936"/>
                    <a:pt x="147927" y="79936"/>
                    <a:pt x="161525" y="79936"/>
                  </a:cubicBezTo>
                  <a:cubicBezTo>
                    <a:pt x="166965" y="74496"/>
                    <a:pt x="172404" y="71776"/>
                    <a:pt x="177843" y="66337"/>
                  </a:cubicBezTo>
                  <a:cubicBezTo>
                    <a:pt x="186002" y="60898"/>
                    <a:pt x="194161" y="58178"/>
                    <a:pt x="202320" y="58178"/>
                  </a:cubicBezTo>
                  <a:cubicBezTo>
                    <a:pt x="215918" y="58178"/>
                    <a:pt x="226797" y="63618"/>
                    <a:pt x="234956" y="77216"/>
                  </a:cubicBezTo>
                  <a:cubicBezTo>
                    <a:pt x="240395" y="88095"/>
                    <a:pt x="248554" y="96253"/>
                    <a:pt x="251274" y="107132"/>
                  </a:cubicBezTo>
                  <a:cubicBezTo>
                    <a:pt x="256713" y="120730"/>
                    <a:pt x="259433" y="134329"/>
                    <a:pt x="267592" y="147927"/>
                  </a:cubicBezTo>
                  <a:cubicBezTo>
                    <a:pt x="273031" y="158806"/>
                    <a:pt x="275751" y="172404"/>
                    <a:pt x="281190" y="183282"/>
                  </a:cubicBezTo>
                  <a:cubicBezTo>
                    <a:pt x="286630" y="196881"/>
                    <a:pt x="292069" y="210479"/>
                    <a:pt x="297508" y="224077"/>
                  </a:cubicBezTo>
                  <a:cubicBezTo>
                    <a:pt x="300228" y="237676"/>
                    <a:pt x="305667" y="251274"/>
                    <a:pt x="308387" y="264872"/>
                  </a:cubicBezTo>
                  <a:cubicBezTo>
                    <a:pt x="311107" y="278470"/>
                    <a:pt x="311107" y="289349"/>
                    <a:pt x="319265" y="300228"/>
                  </a:cubicBezTo>
                  <a:cubicBezTo>
                    <a:pt x="332864" y="324704"/>
                    <a:pt x="346462" y="351901"/>
                    <a:pt x="351901" y="379098"/>
                  </a:cubicBezTo>
                  <a:cubicBezTo>
                    <a:pt x="354621" y="392696"/>
                    <a:pt x="360060" y="403575"/>
                    <a:pt x="365500" y="417173"/>
                  </a:cubicBezTo>
                  <a:cubicBezTo>
                    <a:pt x="373659" y="430771"/>
                    <a:pt x="373659" y="444369"/>
                    <a:pt x="379098" y="457968"/>
                  </a:cubicBezTo>
                  <a:cubicBezTo>
                    <a:pt x="381818" y="471566"/>
                    <a:pt x="387257" y="482445"/>
                    <a:pt x="395416" y="496043"/>
                  </a:cubicBezTo>
                  <a:cubicBezTo>
                    <a:pt x="398136" y="501482"/>
                    <a:pt x="403575" y="506921"/>
                    <a:pt x="406295" y="512361"/>
                  </a:cubicBezTo>
                  <a:cubicBezTo>
                    <a:pt x="409014" y="517800"/>
                    <a:pt x="409014" y="525959"/>
                    <a:pt x="411734" y="531398"/>
                  </a:cubicBezTo>
                  <a:cubicBezTo>
                    <a:pt x="414454" y="539557"/>
                    <a:pt x="417173" y="550436"/>
                    <a:pt x="419893" y="558595"/>
                  </a:cubicBezTo>
                  <a:cubicBezTo>
                    <a:pt x="422613" y="561314"/>
                    <a:pt x="422613" y="564034"/>
                    <a:pt x="425332" y="564034"/>
                  </a:cubicBezTo>
                  <a:cubicBezTo>
                    <a:pt x="428052" y="564034"/>
                    <a:pt x="428052" y="561314"/>
                    <a:pt x="430771" y="558595"/>
                  </a:cubicBezTo>
                  <a:cubicBezTo>
                    <a:pt x="430771" y="555875"/>
                    <a:pt x="430771" y="553156"/>
                    <a:pt x="430771" y="550436"/>
                  </a:cubicBezTo>
                  <a:cubicBezTo>
                    <a:pt x="430771" y="534118"/>
                    <a:pt x="430771" y="517800"/>
                    <a:pt x="430771" y="501482"/>
                  </a:cubicBezTo>
                  <a:cubicBezTo>
                    <a:pt x="430771" y="468846"/>
                    <a:pt x="433491" y="436210"/>
                    <a:pt x="430771" y="403575"/>
                  </a:cubicBezTo>
                  <a:cubicBezTo>
                    <a:pt x="430771" y="373658"/>
                    <a:pt x="425332" y="343742"/>
                    <a:pt x="425332" y="313826"/>
                  </a:cubicBezTo>
                  <a:cubicBezTo>
                    <a:pt x="425332" y="292069"/>
                    <a:pt x="425332" y="270311"/>
                    <a:pt x="425332" y="248554"/>
                  </a:cubicBezTo>
                  <a:cubicBezTo>
                    <a:pt x="425332" y="234956"/>
                    <a:pt x="425332" y="224077"/>
                    <a:pt x="425332" y="210479"/>
                  </a:cubicBezTo>
                  <a:cubicBezTo>
                    <a:pt x="425332" y="191441"/>
                    <a:pt x="422613" y="172404"/>
                    <a:pt x="422613" y="153366"/>
                  </a:cubicBezTo>
                  <a:cubicBezTo>
                    <a:pt x="422613" y="142488"/>
                    <a:pt x="422613" y="134329"/>
                    <a:pt x="425332" y="123450"/>
                  </a:cubicBezTo>
                  <a:cubicBezTo>
                    <a:pt x="417173" y="123450"/>
                    <a:pt x="406295" y="123450"/>
                    <a:pt x="398136" y="123450"/>
                  </a:cubicBezTo>
                  <a:cubicBezTo>
                    <a:pt x="392696" y="123450"/>
                    <a:pt x="387257" y="123450"/>
                    <a:pt x="379098" y="123450"/>
                  </a:cubicBezTo>
                  <a:cubicBezTo>
                    <a:pt x="373659" y="123450"/>
                    <a:pt x="365500" y="120730"/>
                    <a:pt x="360060" y="118011"/>
                  </a:cubicBezTo>
                  <a:cubicBezTo>
                    <a:pt x="354621" y="115291"/>
                    <a:pt x="349182" y="107132"/>
                    <a:pt x="349182" y="101693"/>
                  </a:cubicBezTo>
                  <a:cubicBezTo>
                    <a:pt x="349182" y="98973"/>
                    <a:pt x="349182" y="96253"/>
                    <a:pt x="351901" y="93534"/>
                  </a:cubicBezTo>
                  <a:cubicBezTo>
                    <a:pt x="354621" y="90814"/>
                    <a:pt x="362780" y="88095"/>
                    <a:pt x="368219" y="85375"/>
                  </a:cubicBezTo>
                  <a:cubicBezTo>
                    <a:pt x="381818" y="82655"/>
                    <a:pt x="417173" y="79936"/>
                    <a:pt x="422613" y="79936"/>
                  </a:cubicBezTo>
                  <a:cubicBezTo>
                    <a:pt x="428052" y="79936"/>
                    <a:pt x="433491" y="79936"/>
                    <a:pt x="444370" y="79936"/>
                  </a:cubicBezTo>
                  <a:cubicBezTo>
                    <a:pt x="449809" y="74496"/>
                    <a:pt x="455248" y="71776"/>
                    <a:pt x="463407" y="71776"/>
                  </a:cubicBezTo>
                  <a:cubicBezTo>
                    <a:pt x="471566" y="71776"/>
                    <a:pt x="477006" y="74496"/>
                    <a:pt x="477006" y="79936"/>
                  </a:cubicBezTo>
                  <a:cubicBezTo>
                    <a:pt x="490604" y="82655"/>
                    <a:pt x="504202" y="79936"/>
                    <a:pt x="512361" y="79936"/>
                  </a:cubicBezTo>
                  <a:lnTo>
                    <a:pt x="512361" y="79936"/>
                  </a:ln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/>
            </a:p>
          </p:txBody>
        </p:sp>
        <p:sp>
          <p:nvSpPr>
            <p:cNvPr id="37" name="Freeform: Shape 36">
              <a:extLst>
                <a:ext uri="{FF2B5EF4-FFF2-40B4-BE49-F238E27FC236}">
                  <a16:creationId xmlns:a16="http://schemas.microsoft.com/office/drawing/2014/main" id="{1FB732A4-DF40-4791-8A3D-2572B1C39D5B}"/>
                </a:ext>
              </a:extLst>
            </p:cNvPr>
            <p:cNvSpPr/>
            <p:nvPr/>
          </p:nvSpPr>
          <p:spPr>
            <a:xfrm>
              <a:off x="2987430" y="4242177"/>
              <a:ext cx="494979" cy="674476"/>
            </a:xfrm>
            <a:custGeom>
              <a:avLst/>
              <a:gdLst>
                <a:gd name="connsiteX0" fmla="*/ 228453 w 494979"/>
                <a:gd name="connsiteY0" fmla="*/ 97907 h 674476"/>
                <a:gd name="connsiteX1" fmla="*/ 212135 w 494979"/>
                <a:gd name="connsiteY1" fmla="*/ 119665 h 674476"/>
                <a:gd name="connsiteX2" fmla="*/ 203976 w 494979"/>
                <a:gd name="connsiteY2" fmla="*/ 152300 h 674476"/>
                <a:gd name="connsiteX3" fmla="*/ 201256 w 494979"/>
                <a:gd name="connsiteY3" fmla="*/ 168618 h 674476"/>
                <a:gd name="connsiteX4" fmla="*/ 198537 w 494979"/>
                <a:gd name="connsiteY4" fmla="*/ 184936 h 674476"/>
                <a:gd name="connsiteX5" fmla="*/ 190378 w 494979"/>
                <a:gd name="connsiteY5" fmla="*/ 220292 h 674476"/>
                <a:gd name="connsiteX6" fmla="*/ 171340 w 494979"/>
                <a:gd name="connsiteY6" fmla="*/ 291003 h 674476"/>
                <a:gd name="connsiteX7" fmla="*/ 163180 w 494979"/>
                <a:gd name="connsiteY7" fmla="*/ 323639 h 674476"/>
                <a:gd name="connsiteX8" fmla="*/ 152302 w 494979"/>
                <a:gd name="connsiteY8" fmla="*/ 361714 h 674476"/>
                <a:gd name="connsiteX9" fmla="*/ 146862 w 494979"/>
                <a:gd name="connsiteY9" fmla="*/ 388910 h 674476"/>
                <a:gd name="connsiteX10" fmla="*/ 152302 w 494979"/>
                <a:gd name="connsiteY10" fmla="*/ 391630 h 674476"/>
                <a:gd name="connsiteX11" fmla="*/ 174060 w 494979"/>
                <a:gd name="connsiteY11" fmla="*/ 391630 h 674476"/>
                <a:gd name="connsiteX12" fmla="*/ 195817 w 494979"/>
                <a:gd name="connsiteY12" fmla="*/ 388910 h 674476"/>
                <a:gd name="connsiteX13" fmla="*/ 214855 w 494979"/>
                <a:gd name="connsiteY13" fmla="*/ 388910 h 674476"/>
                <a:gd name="connsiteX14" fmla="*/ 239332 w 494979"/>
                <a:gd name="connsiteY14" fmla="*/ 388910 h 674476"/>
                <a:gd name="connsiteX15" fmla="*/ 252930 w 494979"/>
                <a:gd name="connsiteY15" fmla="*/ 386191 h 674476"/>
                <a:gd name="connsiteX16" fmla="*/ 261089 w 494979"/>
                <a:gd name="connsiteY16" fmla="*/ 386191 h 674476"/>
                <a:gd name="connsiteX17" fmla="*/ 258369 w 494979"/>
                <a:gd name="connsiteY17" fmla="*/ 367153 h 674476"/>
                <a:gd name="connsiteX18" fmla="*/ 252930 w 494979"/>
                <a:gd name="connsiteY18" fmla="*/ 331797 h 674476"/>
                <a:gd name="connsiteX19" fmla="*/ 250210 w 494979"/>
                <a:gd name="connsiteY19" fmla="*/ 244769 h 674476"/>
                <a:gd name="connsiteX20" fmla="*/ 244771 w 494979"/>
                <a:gd name="connsiteY20" fmla="*/ 203974 h 674476"/>
                <a:gd name="connsiteX21" fmla="*/ 239332 w 494979"/>
                <a:gd name="connsiteY21" fmla="*/ 157740 h 674476"/>
                <a:gd name="connsiteX22" fmla="*/ 236612 w 494979"/>
                <a:gd name="connsiteY22" fmla="*/ 119665 h 674476"/>
                <a:gd name="connsiteX23" fmla="*/ 228453 w 494979"/>
                <a:gd name="connsiteY23" fmla="*/ 97907 h 674476"/>
                <a:gd name="connsiteX24" fmla="*/ 274687 w 494979"/>
                <a:gd name="connsiteY24" fmla="*/ 0 h 674476"/>
                <a:gd name="connsiteX25" fmla="*/ 304603 w 494979"/>
                <a:gd name="connsiteY25" fmla="*/ 5439 h 674476"/>
                <a:gd name="connsiteX26" fmla="*/ 320921 w 494979"/>
                <a:gd name="connsiteY26" fmla="*/ 24477 h 674476"/>
                <a:gd name="connsiteX27" fmla="*/ 334519 w 494979"/>
                <a:gd name="connsiteY27" fmla="*/ 43515 h 674476"/>
                <a:gd name="connsiteX28" fmla="*/ 339959 w 494979"/>
                <a:gd name="connsiteY28" fmla="*/ 65272 h 674476"/>
                <a:gd name="connsiteX29" fmla="*/ 348118 w 494979"/>
                <a:gd name="connsiteY29" fmla="*/ 114226 h 674476"/>
                <a:gd name="connsiteX30" fmla="*/ 361716 w 494979"/>
                <a:gd name="connsiteY30" fmla="*/ 163180 h 674476"/>
                <a:gd name="connsiteX31" fmla="*/ 369875 w 494979"/>
                <a:gd name="connsiteY31" fmla="*/ 220293 h 674476"/>
                <a:gd name="connsiteX32" fmla="*/ 378034 w 494979"/>
                <a:gd name="connsiteY32" fmla="*/ 274686 h 674476"/>
                <a:gd name="connsiteX33" fmla="*/ 383473 w 494979"/>
                <a:gd name="connsiteY33" fmla="*/ 301883 h 674476"/>
                <a:gd name="connsiteX34" fmla="*/ 391632 w 494979"/>
                <a:gd name="connsiteY34" fmla="*/ 337238 h 674476"/>
                <a:gd name="connsiteX35" fmla="*/ 397071 w 494979"/>
                <a:gd name="connsiteY35" fmla="*/ 364435 h 674476"/>
                <a:gd name="connsiteX36" fmla="*/ 405230 w 494979"/>
                <a:gd name="connsiteY36" fmla="*/ 383473 h 674476"/>
                <a:gd name="connsiteX37" fmla="*/ 416109 w 494979"/>
                <a:gd name="connsiteY37" fmla="*/ 386192 h 674476"/>
                <a:gd name="connsiteX38" fmla="*/ 426988 w 494979"/>
                <a:gd name="connsiteY38" fmla="*/ 386192 h 674476"/>
                <a:gd name="connsiteX39" fmla="*/ 454184 w 494979"/>
                <a:gd name="connsiteY39" fmla="*/ 397071 h 674476"/>
                <a:gd name="connsiteX40" fmla="*/ 456904 w 494979"/>
                <a:gd name="connsiteY40" fmla="*/ 405230 h 674476"/>
                <a:gd name="connsiteX41" fmla="*/ 451465 w 494979"/>
                <a:gd name="connsiteY41" fmla="*/ 416108 h 674476"/>
                <a:gd name="connsiteX42" fmla="*/ 432427 w 494979"/>
                <a:gd name="connsiteY42" fmla="*/ 429707 h 674476"/>
                <a:gd name="connsiteX43" fmla="*/ 421548 w 494979"/>
                <a:gd name="connsiteY43" fmla="*/ 432426 h 674476"/>
                <a:gd name="connsiteX44" fmla="*/ 413389 w 494979"/>
                <a:gd name="connsiteY44" fmla="*/ 435146 h 674476"/>
                <a:gd name="connsiteX45" fmla="*/ 413389 w 494979"/>
                <a:gd name="connsiteY45" fmla="*/ 440585 h 674476"/>
                <a:gd name="connsiteX46" fmla="*/ 416109 w 494979"/>
                <a:gd name="connsiteY46" fmla="*/ 451464 h 674476"/>
                <a:gd name="connsiteX47" fmla="*/ 418829 w 494979"/>
                <a:gd name="connsiteY47" fmla="*/ 465062 h 674476"/>
                <a:gd name="connsiteX48" fmla="*/ 418829 w 494979"/>
                <a:gd name="connsiteY48" fmla="*/ 475941 h 674476"/>
                <a:gd name="connsiteX49" fmla="*/ 418829 w 494979"/>
                <a:gd name="connsiteY49" fmla="*/ 486820 h 674476"/>
                <a:gd name="connsiteX50" fmla="*/ 426988 w 494979"/>
                <a:gd name="connsiteY50" fmla="*/ 516736 h 674476"/>
                <a:gd name="connsiteX51" fmla="*/ 432427 w 494979"/>
                <a:gd name="connsiteY51" fmla="*/ 543932 h 674476"/>
                <a:gd name="connsiteX52" fmla="*/ 437866 w 494979"/>
                <a:gd name="connsiteY52" fmla="*/ 573848 h 674476"/>
                <a:gd name="connsiteX53" fmla="*/ 443306 w 494979"/>
                <a:gd name="connsiteY53" fmla="*/ 606484 h 674476"/>
                <a:gd name="connsiteX54" fmla="*/ 446025 w 494979"/>
                <a:gd name="connsiteY54" fmla="*/ 617363 h 674476"/>
                <a:gd name="connsiteX55" fmla="*/ 470502 w 494979"/>
                <a:gd name="connsiteY55" fmla="*/ 617363 h 674476"/>
                <a:gd name="connsiteX56" fmla="*/ 494979 w 494979"/>
                <a:gd name="connsiteY56" fmla="*/ 641840 h 674476"/>
                <a:gd name="connsiteX57" fmla="*/ 486820 w 494979"/>
                <a:gd name="connsiteY57" fmla="*/ 655438 h 674476"/>
                <a:gd name="connsiteX58" fmla="*/ 470502 w 494979"/>
                <a:gd name="connsiteY58" fmla="*/ 663597 h 674476"/>
                <a:gd name="connsiteX59" fmla="*/ 446025 w 494979"/>
                <a:gd name="connsiteY59" fmla="*/ 666317 h 674476"/>
                <a:gd name="connsiteX60" fmla="*/ 424268 w 494979"/>
                <a:gd name="connsiteY60" fmla="*/ 666317 h 674476"/>
                <a:gd name="connsiteX61" fmla="*/ 416109 w 494979"/>
                <a:gd name="connsiteY61" fmla="*/ 666317 h 674476"/>
                <a:gd name="connsiteX62" fmla="*/ 402511 w 494979"/>
                <a:gd name="connsiteY62" fmla="*/ 671756 h 674476"/>
                <a:gd name="connsiteX63" fmla="*/ 386193 w 494979"/>
                <a:gd name="connsiteY63" fmla="*/ 674476 h 674476"/>
                <a:gd name="connsiteX64" fmla="*/ 350837 w 494979"/>
                <a:gd name="connsiteY64" fmla="*/ 669036 h 674476"/>
                <a:gd name="connsiteX65" fmla="*/ 329080 w 494979"/>
                <a:gd name="connsiteY65" fmla="*/ 669036 h 674476"/>
                <a:gd name="connsiteX66" fmla="*/ 280126 w 494979"/>
                <a:gd name="connsiteY66" fmla="*/ 669036 h 674476"/>
                <a:gd name="connsiteX67" fmla="*/ 255649 w 494979"/>
                <a:gd name="connsiteY67" fmla="*/ 663597 h 674476"/>
                <a:gd name="connsiteX68" fmla="*/ 239331 w 494979"/>
                <a:gd name="connsiteY68" fmla="*/ 647279 h 674476"/>
                <a:gd name="connsiteX69" fmla="*/ 263808 w 494979"/>
                <a:gd name="connsiteY69" fmla="*/ 630961 h 674476"/>
                <a:gd name="connsiteX70" fmla="*/ 291005 w 494979"/>
                <a:gd name="connsiteY70" fmla="*/ 628241 h 674476"/>
                <a:gd name="connsiteX71" fmla="*/ 288285 w 494979"/>
                <a:gd name="connsiteY71" fmla="*/ 609204 h 674476"/>
                <a:gd name="connsiteX72" fmla="*/ 285565 w 494979"/>
                <a:gd name="connsiteY72" fmla="*/ 582007 h 674476"/>
                <a:gd name="connsiteX73" fmla="*/ 282846 w 494979"/>
                <a:gd name="connsiteY73" fmla="*/ 568409 h 674476"/>
                <a:gd name="connsiteX74" fmla="*/ 285565 w 494979"/>
                <a:gd name="connsiteY74" fmla="*/ 554811 h 674476"/>
                <a:gd name="connsiteX75" fmla="*/ 280126 w 494979"/>
                <a:gd name="connsiteY75" fmla="*/ 538493 h 674476"/>
                <a:gd name="connsiteX76" fmla="*/ 274687 w 494979"/>
                <a:gd name="connsiteY76" fmla="*/ 505857 h 674476"/>
                <a:gd name="connsiteX77" fmla="*/ 271967 w 494979"/>
                <a:gd name="connsiteY77" fmla="*/ 478660 h 674476"/>
                <a:gd name="connsiteX78" fmla="*/ 269247 w 494979"/>
                <a:gd name="connsiteY78" fmla="*/ 446025 h 674476"/>
                <a:gd name="connsiteX79" fmla="*/ 263808 w 494979"/>
                <a:gd name="connsiteY79" fmla="*/ 437866 h 674476"/>
                <a:gd name="connsiteX80" fmla="*/ 252929 w 494979"/>
                <a:gd name="connsiteY80" fmla="*/ 437866 h 674476"/>
                <a:gd name="connsiteX81" fmla="*/ 223013 w 494979"/>
                <a:gd name="connsiteY81" fmla="*/ 440585 h 674476"/>
                <a:gd name="connsiteX82" fmla="*/ 193097 w 494979"/>
                <a:gd name="connsiteY82" fmla="*/ 443305 h 674476"/>
                <a:gd name="connsiteX83" fmla="*/ 168620 w 494979"/>
                <a:gd name="connsiteY83" fmla="*/ 443305 h 674476"/>
                <a:gd name="connsiteX84" fmla="*/ 146862 w 494979"/>
                <a:gd name="connsiteY84" fmla="*/ 440585 h 674476"/>
                <a:gd name="connsiteX85" fmla="*/ 138703 w 494979"/>
                <a:gd name="connsiteY85" fmla="*/ 454184 h 674476"/>
                <a:gd name="connsiteX86" fmla="*/ 133263 w 494979"/>
                <a:gd name="connsiteY86" fmla="*/ 486820 h 674476"/>
                <a:gd name="connsiteX87" fmla="*/ 122385 w 494979"/>
                <a:gd name="connsiteY87" fmla="*/ 541213 h 674476"/>
                <a:gd name="connsiteX88" fmla="*/ 106067 w 494979"/>
                <a:gd name="connsiteY88" fmla="*/ 614643 h 674476"/>
                <a:gd name="connsiteX89" fmla="*/ 135983 w 494979"/>
                <a:gd name="connsiteY89" fmla="*/ 614643 h 674476"/>
                <a:gd name="connsiteX90" fmla="*/ 171340 w 494979"/>
                <a:gd name="connsiteY90" fmla="*/ 630961 h 674476"/>
                <a:gd name="connsiteX91" fmla="*/ 165900 w 494979"/>
                <a:gd name="connsiteY91" fmla="*/ 647279 h 674476"/>
                <a:gd name="connsiteX92" fmla="*/ 149581 w 494979"/>
                <a:gd name="connsiteY92" fmla="*/ 655438 h 674476"/>
                <a:gd name="connsiteX93" fmla="*/ 127824 w 494979"/>
                <a:gd name="connsiteY93" fmla="*/ 658158 h 674476"/>
                <a:gd name="connsiteX94" fmla="*/ 106067 w 494979"/>
                <a:gd name="connsiteY94" fmla="*/ 658158 h 674476"/>
                <a:gd name="connsiteX95" fmla="*/ 62552 w 494979"/>
                <a:gd name="connsiteY95" fmla="*/ 658158 h 674476"/>
                <a:gd name="connsiteX96" fmla="*/ 40795 w 494979"/>
                <a:gd name="connsiteY96" fmla="*/ 658158 h 674476"/>
                <a:gd name="connsiteX97" fmla="*/ 16318 w 494979"/>
                <a:gd name="connsiteY97" fmla="*/ 652718 h 674476"/>
                <a:gd name="connsiteX98" fmla="*/ 0 w 494979"/>
                <a:gd name="connsiteY98" fmla="*/ 636401 h 674476"/>
                <a:gd name="connsiteX99" fmla="*/ 2720 w 494979"/>
                <a:gd name="connsiteY99" fmla="*/ 628241 h 674476"/>
                <a:gd name="connsiteX100" fmla="*/ 24477 w 494979"/>
                <a:gd name="connsiteY100" fmla="*/ 620082 h 674476"/>
                <a:gd name="connsiteX101" fmla="*/ 62552 w 494979"/>
                <a:gd name="connsiteY101" fmla="*/ 617363 h 674476"/>
                <a:gd name="connsiteX102" fmla="*/ 62552 w 494979"/>
                <a:gd name="connsiteY102" fmla="*/ 614643 h 674476"/>
                <a:gd name="connsiteX103" fmla="*/ 65272 w 494979"/>
                <a:gd name="connsiteY103" fmla="*/ 587447 h 674476"/>
                <a:gd name="connsiteX104" fmla="*/ 76151 w 494979"/>
                <a:gd name="connsiteY104" fmla="*/ 522175 h 674476"/>
                <a:gd name="connsiteX105" fmla="*/ 87029 w 494979"/>
                <a:gd name="connsiteY105" fmla="*/ 470501 h 674476"/>
                <a:gd name="connsiteX106" fmla="*/ 92469 w 494979"/>
                <a:gd name="connsiteY106" fmla="*/ 446025 h 674476"/>
                <a:gd name="connsiteX107" fmla="*/ 65272 w 494979"/>
                <a:gd name="connsiteY107" fmla="*/ 432426 h 674476"/>
                <a:gd name="connsiteX108" fmla="*/ 54393 w 494979"/>
                <a:gd name="connsiteY108" fmla="*/ 421548 h 674476"/>
                <a:gd name="connsiteX109" fmla="*/ 73431 w 494979"/>
                <a:gd name="connsiteY109" fmla="*/ 407949 h 674476"/>
                <a:gd name="connsiteX110" fmla="*/ 100628 w 494979"/>
                <a:gd name="connsiteY110" fmla="*/ 399790 h 674476"/>
                <a:gd name="connsiteX111" fmla="*/ 108787 w 494979"/>
                <a:gd name="connsiteY111" fmla="*/ 369874 h 674476"/>
                <a:gd name="connsiteX112" fmla="*/ 125105 w 494979"/>
                <a:gd name="connsiteY112" fmla="*/ 307322 h 674476"/>
                <a:gd name="connsiteX113" fmla="*/ 141423 w 494979"/>
                <a:gd name="connsiteY113" fmla="*/ 242051 h 674476"/>
                <a:gd name="connsiteX114" fmla="*/ 155021 w 494979"/>
                <a:gd name="connsiteY114" fmla="*/ 179498 h 674476"/>
                <a:gd name="connsiteX115" fmla="*/ 168620 w 494979"/>
                <a:gd name="connsiteY115" fmla="*/ 119665 h 674476"/>
                <a:gd name="connsiteX116" fmla="*/ 193097 w 494979"/>
                <a:gd name="connsiteY116" fmla="*/ 57113 h 674476"/>
                <a:gd name="connsiteX117" fmla="*/ 201256 w 494979"/>
                <a:gd name="connsiteY117" fmla="*/ 38075 h 674476"/>
                <a:gd name="connsiteX118" fmla="*/ 217574 w 494979"/>
                <a:gd name="connsiteY118" fmla="*/ 13598 h 674476"/>
                <a:gd name="connsiteX119" fmla="*/ 274687 w 494979"/>
                <a:gd name="connsiteY119" fmla="*/ 0 h 6744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</a:cxnLst>
              <a:rect l="l" t="t" r="r" b="b"/>
              <a:pathLst>
                <a:path w="494979" h="674476">
                  <a:moveTo>
                    <a:pt x="228453" y="97907"/>
                  </a:moveTo>
                  <a:cubicBezTo>
                    <a:pt x="220294" y="97907"/>
                    <a:pt x="212135" y="114225"/>
                    <a:pt x="212135" y="119665"/>
                  </a:cubicBezTo>
                  <a:cubicBezTo>
                    <a:pt x="209415" y="130543"/>
                    <a:pt x="206696" y="144141"/>
                    <a:pt x="203976" y="152300"/>
                  </a:cubicBezTo>
                  <a:cubicBezTo>
                    <a:pt x="201256" y="157740"/>
                    <a:pt x="201256" y="163179"/>
                    <a:pt x="201256" y="168618"/>
                  </a:cubicBezTo>
                  <a:cubicBezTo>
                    <a:pt x="201256" y="174058"/>
                    <a:pt x="198537" y="179497"/>
                    <a:pt x="198537" y="184936"/>
                  </a:cubicBezTo>
                  <a:cubicBezTo>
                    <a:pt x="195817" y="195815"/>
                    <a:pt x="193097" y="209413"/>
                    <a:pt x="190378" y="220292"/>
                  </a:cubicBezTo>
                  <a:cubicBezTo>
                    <a:pt x="187658" y="244769"/>
                    <a:pt x="179499" y="269246"/>
                    <a:pt x="171340" y="291003"/>
                  </a:cubicBezTo>
                  <a:cubicBezTo>
                    <a:pt x="168620" y="301881"/>
                    <a:pt x="165900" y="312760"/>
                    <a:pt x="163180" y="323639"/>
                  </a:cubicBezTo>
                  <a:cubicBezTo>
                    <a:pt x="160461" y="337237"/>
                    <a:pt x="157741" y="348115"/>
                    <a:pt x="152302" y="361714"/>
                  </a:cubicBezTo>
                  <a:cubicBezTo>
                    <a:pt x="149582" y="367153"/>
                    <a:pt x="146862" y="383471"/>
                    <a:pt x="146862" y="388910"/>
                  </a:cubicBezTo>
                  <a:cubicBezTo>
                    <a:pt x="146862" y="391630"/>
                    <a:pt x="149582" y="391630"/>
                    <a:pt x="152302" y="391630"/>
                  </a:cubicBezTo>
                  <a:cubicBezTo>
                    <a:pt x="157741" y="391630"/>
                    <a:pt x="171340" y="391630"/>
                    <a:pt x="174060" y="391630"/>
                  </a:cubicBezTo>
                  <a:cubicBezTo>
                    <a:pt x="182219" y="391630"/>
                    <a:pt x="190378" y="391630"/>
                    <a:pt x="195817" y="388910"/>
                  </a:cubicBezTo>
                  <a:cubicBezTo>
                    <a:pt x="201256" y="388910"/>
                    <a:pt x="206696" y="388910"/>
                    <a:pt x="214855" y="388910"/>
                  </a:cubicBezTo>
                  <a:cubicBezTo>
                    <a:pt x="220294" y="388910"/>
                    <a:pt x="228453" y="388910"/>
                    <a:pt x="239332" y="388910"/>
                  </a:cubicBezTo>
                  <a:cubicBezTo>
                    <a:pt x="244771" y="388910"/>
                    <a:pt x="250210" y="388910"/>
                    <a:pt x="252930" y="386191"/>
                  </a:cubicBezTo>
                  <a:cubicBezTo>
                    <a:pt x="258369" y="391630"/>
                    <a:pt x="261089" y="388910"/>
                    <a:pt x="261089" y="386191"/>
                  </a:cubicBezTo>
                  <a:cubicBezTo>
                    <a:pt x="261089" y="380751"/>
                    <a:pt x="258369" y="372592"/>
                    <a:pt x="258369" y="367153"/>
                  </a:cubicBezTo>
                  <a:cubicBezTo>
                    <a:pt x="255650" y="353555"/>
                    <a:pt x="252930" y="342676"/>
                    <a:pt x="252930" y="331797"/>
                  </a:cubicBezTo>
                  <a:cubicBezTo>
                    <a:pt x="252930" y="301881"/>
                    <a:pt x="252930" y="274685"/>
                    <a:pt x="250210" y="244769"/>
                  </a:cubicBezTo>
                  <a:cubicBezTo>
                    <a:pt x="250210" y="231170"/>
                    <a:pt x="247491" y="217572"/>
                    <a:pt x="244771" y="203974"/>
                  </a:cubicBezTo>
                  <a:cubicBezTo>
                    <a:pt x="242051" y="187656"/>
                    <a:pt x="239332" y="174058"/>
                    <a:pt x="239332" y="157740"/>
                  </a:cubicBezTo>
                  <a:cubicBezTo>
                    <a:pt x="239332" y="152300"/>
                    <a:pt x="239332" y="133263"/>
                    <a:pt x="236612" y="119665"/>
                  </a:cubicBezTo>
                  <a:cubicBezTo>
                    <a:pt x="236612" y="106066"/>
                    <a:pt x="233892" y="97907"/>
                    <a:pt x="228453" y="97907"/>
                  </a:cubicBezTo>
                  <a:close/>
                  <a:moveTo>
                    <a:pt x="274687" y="0"/>
                  </a:moveTo>
                  <a:cubicBezTo>
                    <a:pt x="288285" y="0"/>
                    <a:pt x="293724" y="2720"/>
                    <a:pt x="304603" y="5439"/>
                  </a:cubicBezTo>
                  <a:cubicBezTo>
                    <a:pt x="315482" y="10879"/>
                    <a:pt x="315482" y="16318"/>
                    <a:pt x="320921" y="24477"/>
                  </a:cubicBezTo>
                  <a:cubicBezTo>
                    <a:pt x="326360" y="29916"/>
                    <a:pt x="331800" y="35356"/>
                    <a:pt x="334519" y="43515"/>
                  </a:cubicBezTo>
                  <a:cubicBezTo>
                    <a:pt x="337239" y="51674"/>
                    <a:pt x="337239" y="57113"/>
                    <a:pt x="339959" y="65272"/>
                  </a:cubicBezTo>
                  <a:cubicBezTo>
                    <a:pt x="345398" y="78870"/>
                    <a:pt x="342678" y="97908"/>
                    <a:pt x="348118" y="114226"/>
                  </a:cubicBezTo>
                  <a:cubicBezTo>
                    <a:pt x="350837" y="130544"/>
                    <a:pt x="358996" y="146863"/>
                    <a:pt x="361716" y="163180"/>
                  </a:cubicBezTo>
                  <a:cubicBezTo>
                    <a:pt x="364435" y="182218"/>
                    <a:pt x="364435" y="201256"/>
                    <a:pt x="369875" y="220293"/>
                  </a:cubicBezTo>
                  <a:cubicBezTo>
                    <a:pt x="375314" y="239331"/>
                    <a:pt x="378034" y="255649"/>
                    <a:pt x="378034" y="274686"/>
                  </a:cubicBezTo>
                  <a:cubicBezTo>
                    <a:pt x="378034" y="282845"/>
                    <a:pt x="380753" y="293724"/>
                    <a:pt x="383473" y="301883"/>
                  </a:cubicBezTo>
                  <a:cubicBezTo>
                    <a:pt x="386193" y="312762"/>
                    <a:pt x="388912" y="326360"/>
                    <a:pt x="391632" y="337238"/>
                  </a:cubicBezTo>
                  <a:cubicBezTo>
                    <a:pt x="391632" y="342678"/>
                    <a:pt x="394352" y="353556"/>
                    <a:pt x="397071" y="364435"/>
                  </a:cubicBezTo>
                  <a:cubicBezTo>
                    <a:pt x="399791" y="372594"/>
                    <a:pt x="402511" y="380753"/>
                    <a:pt x="405230" y="383473"/>
                  </a:cubicBezTo>
                  <a:cubicBezTo>
                    <a:pt x="407950" y="386192"/>
                    <a:pt x="413389" y="386192"/>
                    <a:pt x="416109" y="386192"/>
                  </a:cubicBezTo>
                  <a:cubicBezTo>
                    <a:pt x="418829" y="386192"/>
                    <a:pt x="424268" y="386192"/>
                    <a:pt x="426988" y="386192"/>
                  </a:cubicBezTo>
                  <a:cubicBezTo>
                    <a:pt x="437866" y="386192"/>
                    <a:pt x="448745" y="388912"/>
                    <a:pt x="454184" y="397071"/>
                  </a:cubicBezTo>
                  <a:cubicBezTo>
                    <a:pt x="456904" y="399790"/>
                    <a:pt x="456904" y="402510"/>
                    <a:pt x="456904" y="405230"/>
                  </a:cubicBezTo>
                  <a:cubicBezTo>
                    <a:pt x="456904" y="407949"/>
                    <a:pt x="454184" y="410669"/>
                    <a:pt x="451465" y="416108"/>
                  </a:cubicBezTo>
                  <a:cubicBezTo>
                    <a:pt x="446025" y="421548"/>
                    <a:pt x="440586" y="426987"/>
                    <a:pt x="432427" y="429707"/>
                  </a:cubicBezTo>
                  <a:cubicBezTo>
                    <a:pt x="429707" y="429707"/>
                    <a:pt x="426988" y="432426"/>
                    <a:pt x="421548" y="432426"/>
                  </a:cubicBezTo>
                  <a:cubicBezTo>
                    <a:pt x="418829" y="432426"/>
                    <a:pt x="416109" y="432426"/>
                    <a:pt x="413389" y="435146"/>
                  </a:cubicBezTo>
                  <a:cubicBezTo>
                    <a:pt x="413389" y="435146"/>
                    <a:pt x="413389" y="437866"/>
                    <a:pt x="413389" y="440585"/>
                  </a:cubicBezTo>
                  <a:cubicBezTo>
                    <a:pt x="413389" y="443305"/>
                    <a:pt x="413389" y="448744"/>
                    <a:pt x="416109" y="451464"/>
                  </a:cubicBezTo>
                  <a:cubicBezTo>
                    <a:pt x="416109" y="456903"/>
                    <a:pt x="418829" y="462343"/>
                    <a:pt x="418829" y="465062"/>
                  </a:cubicBezTo>
                  <a:lnTo>
                    <a:pt x="418829" y="475941"/>
                  </a:lnTo>
                  <a:cubicBezTo>
                    <a:pt x="418829" y="481380"/>
                    <a:pt x="418829" y="484100"/>
                    <a:pt x="418829" y="486820"/>
                  </a:cubicBezTo>
                  <a:cubicBezTo>
                    <a:pt x="421548" y="497698"/>
                    <a:pt x="424268" y="505857"/>
                    <a:pt x="426988" y="516736"/>
                  </a:cubicBezTo>
                  <a:cubicBezTo>
                    <a:pt x="426988" y="524895"/>
                    <a:pt x="429707" y="535773"/>
                    <a:pt x="432427" y="543932"/>
                  </a:cubicBezTo>
                  <a:cubicBezTo>
                    <a:pt x="435147" y="554811"/>
                    <a:pt x="437866" y="562970"/>
                    <a:pt x="437866" y="573848"/>
                  </a:cubicBezTo>
                  <a:cubicBezTo>
                    <a:pt x="437866" y="587447"/>
                    <a:pt x="440586" y="595606"/>
                    <a:pt x="443306" y="606484"/>
                  </a:cubicBezTo>
                  <a:cubicBezTo>
                    <a:pt x="443306" y="609204"/>
                    <a:pt x="446025" y="614643"/>
                    <a:pt x="446025" y="617363"/>
                  </a:cubicBezTo>
                  <a:cubicBezTo>
                    <a:pt x="454184" y="617363"/>
                    <a:pt x="462343" y="617363"/>
                    <a:pt x="470502" y="617363"/>
                  </a:cubicBezTo>
                  <a:cubicBezTo>
                    <a:pt x="478661" y="625522"/>
                    <a:pt x="492259" y="630961"/>
                    <a:pt x="494979" y="641840"/>
                  </a:cubicBezTo>
                  <a:cubicBezTo>
                    <a:pt x="494979" y="647279"/>
                    <a:pt x="489540" y="649999"/>
                    <a:pt x="486820" y="655438"/>
                  </a:cubicBezTo>
                  <a:cubicBezTo>
                    <a:pt x="484100" y="660877"/>
                    <a:pt x="475942" y="663597"/>
                    <a:pt x="470502" y="663597"/>
                  </a:cubicBezTo>
                  <a:cubicBezTo>
                    <a:pt x="459623" y="666317"/>
                    <a:pt x="454184" y="666317"/>
                    <a:pt x="446025" y="666317"/>
                  </a:cubicBezTo>
                  <a:cubicBezTo>
                    <a:pt x="440586" y="666317"/>
                    <a:pt x="432427" y="666317"/>
                    <a:pt x="424268" y="666317"/>
                  </a:cubicBezTo>
                  <a:cubicBezTo>
                    <a:pt x="421548" y="666317"/>
                    <a:pt x="418829" y="666317"/>
                    <a:pt x="416109" y="666317"/>
                  </a:cubicBezTo>
                  <a:cubicBezTo>
                    <a:pt x="410670" y="669036"/>
                    <a:pt x="407950" y="669036"/>
                    <a:pt x="402511" y="671756"/>
                  </a:cubicBezTo>
                  <a:cubicBezTo>
                    <a:pt x="397071" y="671756"/>
                    <a:pt x="391632" y="674476"/>
                    <a:pt x="386193" y="674476"/>
                  </a:cubicBezTo>
                  <a:cubicBezTo>
                    <a:pt x="375314" y="674476"/>
                    <a:pt x="361716" y="671756"/>
                    <a:pt x="350837" y="669036"/>
                  </a:cubicBezTo>
                  <a:cubicBezTo>
                    <a:pt x="342678" y="669036"/>
                    <a:pt x="334519" y="669036"/>
                    <a:pt x="329080" y="669036"/>
                  </a:cubicBezTo>
                  <a:cubicBezTo>
                    <a:pt x="307323" y="669036"/>
                    <a:pt x="288285" y="669036"/>
                    <a:pt x="280126" y="669036"/>
                  </a:cubicBezTo>
                  <a:cubicBezTo>
                    <a:pt x="271967" y="669036"/>
                    <a:pt x="261088" y="669036"/>
                    <a:pt x="255649" y="663597"/>
                  </a:cubicBezTo>
                  <a:cubicBezTo>
                    <a:pt x="250210" y="660877"/>
                    <a:pt x="239331" y="655438"/>
                    <a:pt x="239331" y="647279"/>
                  </a:cubicBezTo>
                  <a:cubicBezTo>
                    <a:pt x="239331" y="636401"/>
                    <a:pt x="255649" y="633681"/>
                    <a:pt x="263808" y="630961"/>
                  </a:cubicBezTo>
                  <a:cubicBezTo>
                    <a:pt x="269247" y="630961"/>
                    <a:pt x="277406" y="630961"/>
                    <a:pt x="291005" y="628241"/>
                  </a:cubicBezTo>
                  <a:cubicBezTo>
                    <a:pt x="291005" y="620082"/>
                    <a:pt x="291005" y="614643"/>
                    <a:pt x="288285" y="609204"/>
                  </a:cubicBezTo>
                  <a:cubicBezTo>
                    <a:pt x="288285" y="601045"/>
                    <a:pt x="285565" y="590166"/>
                    <a:pt x="285565" y="582007"/>
                  </a:cubicBezTo>
                  <a:cubicBezTo>
                    <a:pt x="285565" y="576568"/>
                    <a:pt x="282846" y="573848"/>
                    <a:pt x="282846" y="568409"/>
                  </a:cubicBezTo>
                  <a:cubicBezTo>
                    <a:pt x="282846" y="562970"/>
                    <a:pt x="285565" y="557531"/>
                    <a:pt x="285565" y="554811"/>
                  </a:cubicBezTo>
                  <a:cubicBezTo>
                    <a:pt x="285565" y="549371"/>
                    <a:pt x="282846" y="546652"/>
                    <a:pt x="280126" y="538493"/>
                  </a:cubicBezTo>
                  <a:cubicBezTo>
                    <a:pt x="280126" y="527614"/>
                    <a:pt x="274687" y="516736"/>
                    <a:pt x="274687" y="505857"/>
                  </a:cubicBezTo>
                  <a:cubicBezTo>
                    <a:pt x="274687" y="494978"/>
                    <a:pt x="274687" y="486820"/>
                    <a:pt x="271967" y="478660"/>
                  </a:cubicBezTo>
                  <a:cubicBezTo>
                    <a:pt x="269247" y="467782"/>
                    <a:pt x="269247" y="456903"/>
                    <a:pt x="269247" y="446025"/>
                  </a:cubicBezTo>
                  <a:cubicBezTo>
                    <a:pt x="269247" y="440585"/>
                    <a:pt x="266528" y="437866"/>
                    <a:pt x="263808" y="437866"/>
                  </a:cubicBezTo>
                  <a:cubicBezTo>
                    <a:pt x="261088" y="437866"/>
                    <a:pt x="258369" y="437866"/>
                    <a:pt x="252929" y="437866"/>
                  </a:cubicBezTo>
                  <a:cubicBezTo>
                    <a:pt x="242051" y="437866"/>
                    <a:pt x="231172" y="437866"/>
                    <a:pt x="223013" y="440585"/>
                  </a:cubicBezTo>
                  <a:cubicBezTo>
                    <a:pt x="212135" y="440585"/>
                    <a:pt x="203976" y="443305"/>
                    <a:pt x="193097" y="443305"/>
                  </a:cubicBezTo>
                  <a:cubicBezTo>
                    <a:pt x="184938" y="443305"/>
                    <a:pt x="176779" y="443305"/>
                    <a:pt x="168620" y="443305"/>
                  </a:cubicBezTo>
                  <a:cubicBezTo>
                    <a:pt x="165900" y="443305"/>
                    <a:pt x="155021" y="440585"/>
                    <a:pt x="146862" y="440585"/>
                  </a:cubicBezTo>
                  <a:cubicBezTo>
                    <a:pt x="138703" y="440585"/>
                    <a:pt x="138703" y="448744"/>
                    <a:pt x="138703" y="454184"/>
                  </a:cubicBezTo>
                  <a:cubicBezTo>
                    <a:pt x="138703" y="465062"/>
                    <a:pt x="135983" y="475941"/>
                    <a:pt x="133263" y="486820"/>
                  </a:cubicBezTo>
                  <a:cubicBezTo>
                    <a:pt x="130544" y="505857"/>
                    <a:pt x="125105" y="522175"/>
                    <a:pt x="122385" y="541213"/>
                  </a:cubicBezTo>
                  <a:cubicBezTo>
                    <a:pt x="119665" y="560250"/>
                    <a:pt x="111506" y="595606"/>
                    <a:pt x="106067" y="614643"/>
                  </a:cubicBezTo>
                  <a:cubicBezTo>
                    <a:pt x="114226" y="614643"/>
                    <a:pt x="125105" y="614643"/>
                    <a:pt x="135983" y="614643"/>
                  </a:cubicBezTo>
                  <a:cubicBezTo>
                    <a:pt x="149581" y="614643"/>
                    <a:pt x="171340" y="614643"/>
                    <a:pt x="171340" y="630961"/>
                  </a:cubicBezTo>
                  <a:cubicBezTo>
                    <a:pt x="171340" y="639120"/>
                    <a:pt x="168620" y="639120"/>
                    <a:pt x="165900" y="647279"/>
                  </a:cubicBezTo>
                  <a:cubicBezTo>
                    <a:pt x="163181" y="652718"/>
                    <a:pt x="155021" y="655438"/>
                    <a:pt x="149581" y="655438"/>
                  </a:cubicBezTo>
                  <a:cubicBezTo>
                    <a:pt x="141423" y="658158"/>
                    <a:pt x="135983" y="658158"/>
                    <a:pt x="127824" y="658158"/>
                  </a:cubicBezTo>
                  <a:cubicBezTo>
                    <a:pt x="122385" y="658158"/>
                    <a:pt x="116946" y="658158"/>
                    <a:pt x="106067" y="658158"/>
                  </a:cubicBezTo>
                  <a:cubicBezTo>
                    <a:pt x="92469" y="658158"/>
                    <a:pt x="78870" y="658158"/>
                    <a:pt x="62552" y="658158"/>
                  </a:cubicBezTo>
                  <a:cubicBezTo>
                    <a:pt x="54393" y="658158"/>
                    <a:pt x="46234" y="658158"/>
                    <a:pt x="40795" y="658158"/>
                  </a:cubicBezTo>
                  <a:cubicBezTo>
                    <a:pt x="32636" y="658158"/>
                    <a:pt x="21758" y="658158"/>
                    <a:pt x="16318" y="652718"/>
                  </a:cubicBezTo>
                  <a:cubicBezTo>
                    <a:pt x="8159" y="649999"/>
                    <a:pt x="0" y="641840"/>
                    <a:pt x="0" y="636401"/>
                  </a:cubicBezTo>
                  <a:cubicBezTo>
                    <a:pt x="0" y="633681"/>
                    <a:pt x="0" y="630961"/>
                    <a:pt x="2720" y="628241"/>
                  </a:cubicBezTo>
                  <a:cubicBezTo>
                    <a:pt x="8159" y="625522"/>
                    <a:pt x="16318" y="622802"/>
                    <a:pt x="24477" y="620082"/>
                  </a:cubicBezTo>
                  <a:cubicBezTo>
                    <a:pt x="38075" y="617363"/>
                    <a:pt x="48954" y="617363"/>
                    <a:pt x="62552" y="617363"/>
                  </a:cubicBezTo>
                  <a:cubicBezTo>
                    <a:pt x="62552" y="617363"/>
                    <a:pt x="62552" y="614643"/>
                    <a:pt x="62552" y="614643"/>
                  </a:cubicBezTo>
                  <a:cubicBezTo>
                    <a:pt x="62552" y="603765"/>
                    <a:pt x="65272" y="590166"/>
                    <a:pt x="65272" y="587447"/>
                  </a:cubicBezTo>
                  <a:cubicBezTo>
                    <a:pt x="67992" y="565689"/>
                    <a:pt x="73431" y="543932"/>
                    <a:pt x="76151" y="522175"/>
                  </a:cubicBezTo>
                  <a:cubicBezTo>
                    <a:pt x="78870" y="505857"/>
                    <a:pt x="81590" y="486820"/>
                    <a:pt x="87029" y="470501"/>
                  </a:cubicBezTo>
                  <a:cubicBezTo>
                    <a:pt x="87029" y="465062"/>
                    <a:pt x="92469" y="451464"/>
                    <a:pt x="92469" y="446025"/>
                  </a:cubicBezTo>
                  <a:cubicBezTo>
                    <a:pt x="92469" y="437866"/>
                    <a:pt x="73431" y="437866"/>
                    <a:pt x="65272" y="432426"/>
                  </a:cubicBezTo>
                  <a:cubicBezTo>
                    <a:pt x="59833" y="429707"/>
                    <a:pt x="54393" y="426987"/>
                    <a:pt x="54393" y="421548"/>
                  </a:cubicBezTo>
                  <a:cubicBezTo>
                    <a:pt x="54393" y="413389"/>
                    <a:pt x="62552" y="410669"/>
                    <a:pt x="73431" y="407949"/>
                  </a:cubicBezTo>
                  <a:cubicBezTo>
                    <a:pt x="78870" y="407949"/>
                    <a:pt x="92469" y="405230"/>
                    <a:pt x="100628" y="399790"/>
                  </a:cubicBezTo>
                  <a:cubicBezTo>
                    <a:pt x="106067" y="394351"/>
                    <a:pt x="106067" y="378033"/>
                    <a:pt x="108787" y="369874"/>
                  </a:cubicBezTo>
                  <a:cubicBezTo>
                    <a:pt x="114226" y="348117"/>
                    <a:pt x="119665" y="326360"/>
                    <a:pt x="125105" y="307322"/>
                  </a:cubicBezTo>
                  <a:cubicBezTo>
                    <a:pt x="130544" y="285565"/>
                    <a:pt x="135983" y="263808"/>
                    <a:pt x="141423" y="242051"/>
                  </a:cubicBezTo>
                  <a:cubicBezTo>
                    <a:pt x="146862" y="220293"/>
                    <a:pt x="152301" y="198536"/>
                    <a:pt x="155021" y="179498"/>
                  </a:cubicBezTo>
                  <a:cubicBezTo>
                    <a:pt x="157740" y="160461"/>
                    <a:pt x="163181" y="138703"/>
                    <a:pt x="168620" y="119665"/>
                  </a:cubicBezTo>
                  <a:cubicBezTo>
                    <a:pt x="176779" y="100627"/>
                    <a:pt x="182218" y="76150"/>
                    <a:pt x="193097" y="57113"/>
                  </a:cubicBezTo>
                  <a:lnTo>
                    <a:pt x="201256" y="38075"/>
                  </a:lnTo>
                  <a:cubicBezTo>
                    <a:pt x="206695" y="29916"/>
                    <a:pt x="209415" y="19038"/>
                    <a:pt x="217574" y="13598"/>
                  </a:cubicBezTo>
                  <a:cubicBezTo>
                    <a:pt x="231172" y="2720"/>
                    <a:pt x="255649" y="0"/>
                    <a:pt x="274687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/>
            </a:p>
          </p:txBody>
        </p:sp>
        <p:sp>
          <p:nvSpPr>
            <p:cNvPr id="38" name="Freeform: Shape 37">
              <a:extLst>
                <a:ext uri="{FF2B5EF4-FFF2-40B4-BE49-F238E27FC236}">
                  <a16:creationId xmlns:a16="http://schemas.microsoft.com/office/drawing/2014/main" id="{48B6E76D-59B5-48EC-B6D3-A1D98B0A1345}"/>
                </a:ext>
              </a:extLst>
            </p:cNvPr>
            <p:cNvSpPr/>
            <p:nvPr/>
          </p:nvSpPr>
          <p:spPr>
            <a:xfrm>
              <a:off x="3443268" y="4186718"/>
              <a:ext cx="435145" cy="761503"/>
            </a:xfrm>
            <a:custGeom>
              <a:avLst/>
              <a:gdLst>
                <a:gd name="connsiteX0" fmla="*/ 400855 w 435145"/>
                <a:gd name="connsiteY0" fmla="*/ 678260 h 761503"/>
                <a:gd name="connsiteX1" fmla="*/ 384537 w 435145"/>
                <a:gd name="connsiteY1" fmla="*/ 719054 h 761503"/>
                <a:gd name="connsiteX2" fmla="*/ 368219 w 435145"/>
                <a:gd name="connsiteY2" fmla="*/ 713615 h 761503"/>
                <a:gd name="connsiteX3" fmla="*/ 360060 w 435145"/>
                <a:gd name="connsiteY3" fmla="*/ 697297 h 761503"/>
                <a:gd name="connsiteX4" fmla="*/ 360060 w 435145"/>
                <a:gd name="connsiteY4" fmla="*/ 651063 h 761503"/>
                <a:gd name="connsiteX5" fmla="*/ 332864 w 435145"/>
                <a:gd name="connsiteY5" fmla="*/ 686418 h 761503"/>
                <a:gd name="connsiteX6" fmla="*/ 251274 w 435145"/>
                <a:gd name="connsiteY6" fmla="*/ 721774 h 761503"/>
                <a:gd name="connsiteX7" fmla="*/ 229517 w 435145"/>
                <a:gd name="connsiteY7" fmla="*/ 719054 h 761503"/>
                <a:gd name="connsiteX8" fmla="*/ 158806 w 435145"/>
                <a:gd name="connsiteY8" fmla="*/ 694578 h 761503"/>
                <a:gd name="connsiteX9" fmla="*/ 112571 w 435145"/>
                <a:gd name="connsiteY9" fmla="*/ 659222 h 761503"/>
                <a:gd name="connsiteX10" fmla="*/ 79936 w 435145"/>
                <a:gd name="connsiteY10" fmla="*/ 607548 h 761503"/>
                <a:gd name="connsiteX11" fmla="*/ 63618 w 435145"/>
                <a:gd name="connsiteY11" fmla="*/ 542277 h 761503"/>
                <a:gd name="connsiteX12" fmla="*/ 58178 w 435145"/>
                <a:gd name="connsiteY12" fmla="*/ 471566 h 761503"/>
                <a:gd name="connsiteX13" fmla="*/ 60898 w 435145"/>
                <a:gd name="connsiteY13" fmla="*/ 400855 h 761503"/>
                <a:gd name="connsiteX14" fmla="*/ 66337 w 435145"/>
                <a:gd name="connsiteY14" fmla="*/ 335583 h 761503"/>
                <a:gd name="connsiteX15" fmla="*/ 85375 w 435145"/>
                <a:gd name="connsiteY15" fmla="*/ 267592 h 761503"/>
                <a:gd name="connsiteX16" fmla="*/ 109852 w 435145"/>
                <a:gd name="connsiteY16" fmla="*/ 199600 h 761503"/>
                <a:gd name="connsiteX17" fmla="*/ 145207 w 435145"/>
                <a:gd name="connsiteY17" fmla="*/ 145207 h 761503"/>
                <a:gd name="connsiteX18" fmla="*/ 188722 w 435145"/>
                <a:gd name="connsiteY18" fmla="*/ 96253 h 761503"/>
                <a:gd name="connsiteX19" fmla="*/ 243115 w 435145"/>
                <a:gd name="connsiteY19" fmla="*/ 71776 h 761503"/>
                <a:gd name="connsiteX20" fmla="*/ 286630 w 435145"/>
                <a:gd name="connsiteY20" fmla="*/ 63617 h 761503"/>
                <a:gd name="connsiteX21" fmla="*/ 305667 w 435145"/>
                <a:gd name="connsiteY21" fmla="*/ 66337 h 761503"/>
                <a:gd name="connsiteX22" fmla="*/ 324705 w 435145"/>
                <a:gd name="connsiteY22" fmla="*/ 79936 h 761503"/>
                <a:gd name="connsiteX23" fmla="*/ 341023 w 435145"/>
                <a:gd name="connsiteY23" fmla="*/ 101693 h 761503"/>
                <a:gd name="connsiteX24" fmla="*/ 354621 w 435145"/>
                <a:gd name="connsiteY24" fmla="*/ 123450 h 761503"/>
                <a:gd name="connsiteX25" fmla="*/ 354621 w 435145"/>
                <a:gd name="connsiteY25" fmla="*/ 98973 h 761503"/>
                <a:gd name="connsiteX26" fmla="*/ 360060 w 435145"/>
                <a:gd name="connsiteY26" fmla="*/ 74496 h 761503"/>
                <a:gd name="connsiteX27" fmla="*/ 365500 w 435145"/>
                <a:gd name="connsiteY27" fmla="*/ 63617 h 761503"/>
                <a:gd name="connsiteX28" fmla="*/ 373659 w 435145"/>
                <a:gd name="connsiteY28" fmla="*/ 58178 h 761503"/>
                <a:gd name="connsiteX29" fmla="*/ 381818 w 435145"/>
                <a:gd name="connsiteY29" fmla="*/ 63617 h 761503"/>
                <a:gd name="connsiteX30" fmla="*/ 389977 w 435145"/>
                <a:gd name="connsiteY30" fmla="*/ 82655 h 761503"/>
                <a:gd name="connsiteX31" fmla="*/ 392696 w 435145"/>
                <a:gd name="connsiteY31" fmla="*/ 126170 h 761503"/>
                <a:gd name="connsiteX32" fmla="*/ 395416 w 435145"/>
                <a:gd name="connsiteY32" fmla="*/ 186002 h 761503"/>
                <a:gd name="connsiteX33" fmla="*/ 398136 w 435145"/>
                <a:gd name="connsiteY33" fmla="*/ 237675 h 761503"/>
                <a:gd name="connsiteX34" fmla="*/ 398136 w 435145"/>
                <a:gd name="connsiteY34" fmla="*/ 243115 h 761503"/>
                <a:gd name="connsiteX35" fmla="*/ 395416 w 435145"/>
                <a:gd name="connsiteY35" fmla="*/ 256713 h 761503"/>
                <a:gd name="connsiteX36" fmla="*/ 379098 w 435145"/>
                <a:gd name="connsiteY36" fmla="*/ 278470 h 761503"/>
                <a:gd name="connsiteX37" fmla="*/ 362780 w 435145"/>
                <a:gd name="connsiteY37" fmla="*/ 273031 h 761503"/>
                <a:gd name="connsiteX38" fmla="*/ 354621 w 435145"/>
                <a:gd name="connsiteY38" fmla="*/ 256713 h 761503"/>
                <a:gd name="connsiteX39" fmla="*/ 354621 w 435145"/>
                <a:gd name="connsiteY39" fmla="*/ 213198 h 761503"/>
                <a:gd name="connsiteX40" fmla="*/ 354621 w 435145"/>
                <a:gd name="connsiteY40" fmla="*/ 205040 h 761503"/>
                <a:gd name="connsiteX41" fmla="*/ 338303 w 435145"/>
                <a:gd name="connsiteY41" fmla="*/ 147927 h 761503"/>
                <a:gd name="connsiteX42" fmla="*/ 292069 w 435145"/>
                <a:gd name="connsiteY42" fmla="*/ 107132 h 761503"/>
                <a:gd name="connsiteX43" fmla="*/ 262153 w 435145"/>
                <a:gd name="connsiteY43" fmla="*/ 120730 h 761503"/>
                <a:gd name="connsiteX44" fmla="*/ 251274 w 435145"/>
                <a:gd name="connsiteY44" fmla="*/ 131609 h 761503"/>
                <a:gd name="connsiteX45" fmla="*/ 240395 w 435145"/>
                <a:gd name="connsiteY45" fmla="*/ 139768 h 761503"/>
                <a:gd name="connsiteX46" fmla="*/ 237676 w 435145"/>
                <a:gd name="connsiteY46" fmla="*/ 164245 h 761503"/>
                <a:gd name="connsiteX47" fmla="*/ 226797 w 435145"/>
                <a:gd name="connsiteY47" fmla="*/ 196881 h 761503"/>
                <a:gd name="connsiteX48" fmla="*/ 213199 w 435145"/>
                <a:gd name="connsiteY48" fmla="*/ 259433 h 761503"/>
                <a:gd name="connsiteX49" fmla="*/ 207759 w 435145"/>
                <a:gd name="connsiteY49" fmla="*/ 324704 h 761503"/>
                <a:gd name="connsiteX50" fmla="*/ 207759 w 435145"/>
                <a:gd name="connsiteY50" fmla="*/ 335583 h 761503"/>
                <a:gd name="connsiteX51" fmla="*/ 205040 w 435145"/>
                <a:gd name="connsiteY51" fmla="*/ 349181 h 761503"/>
                <a:gd name="connsiteX52" fmla="*/ 207759 w 435145"/>
                <a:gd name="connsiteY52" fmla="*/ 368219 h 761503"/>
                <a:gd name="connsiteX53" fmla="*/ 207759 w 435145"/>
                <a:gd name="connsiteY53" fmla="*/ 376378 h 761503"/>
                <a:gd name="connsiteX54" fmla="*/ 205040 w 435145"/>
                <a:gd name="connsiteY54" fmla="*/ 387256 h 761503"/>
                <a:gd name="connsiteX55" fmla="*/ 205040 w 435145"/>
                <a:gd name="connsiteY55" fmla="*/ 395415 h 761503"/>
                <a:gd name="connsiteX56" fmla="*/ 205040 w 435145"/>
                <a:gd name="connsiteY56" fmla="*/ 406294 h 761503"/>
                <a:gd name="connsiteX57" fmla="*/ 205040 w 435145"/>
                <a:gd name="connsiteY57" fmla="*/ 425332 h 761503"/>
                <a:gd name="connsiteX58" fmla="*/ 213199 w 435145"/>
                <a:gd name="connsiteY58" fmla="*/ 493323 h 761503"/>
                <a:gd name="connsiteX59" fmla="*/ 221358 w 435145"/>
                <a:gd name="connsiteY59" fmla="*/ 561314 h 761503"/>
                <a:gd name="connsiteX60" fmla="*/ 226797 w 435145"/>
                <a:gd name="connsiteY60" fmla="*/ 591231 h 761503"/>
                <a:gd name="connsiteX61" fmla="*/ 240395 w 435145"/>
                <a:gd name="connsiteY61" fmla="*/ 618427 h 761503"/>
                <a:gd name="connsiteX62" fmla="*/ 283910 w 435145"/>
                <a:gd name="connsiteY62" fmla="*/ 651063 h 761503"/>
                <a:gd name="connsiteX63" fmla="*/ 338303 w 435145"/>
                <a:gd name="connsiteY63" fmla="*/ 612988 h 761503"/>
                <a:gd name="connsiteX64" fmla="*/ 354621 w 435145"/>
                <a:gd name="connsiteY64" fmla="*/ 577632 h 761503"/>
                <a:gd name="connsiteX65" fmla="*/ 357341 w 435145"/>
                <a:gd name="connsiteY65" fmla="*/ 509641 h 761503"/>
                <a:gd name="connsiteX66" fmla="*/ 362780 w 435145"/>
                <a:gd name="connsiteY66" fmla="*/ 485164 h 761503"/>
                <a:gd name="connsiteX67" fmla="*/ 368219 w 435145"/>
                <a:gd name="connsiteY67" fmla="*/ 474286 h 761503"/>
                <a:gd name="connsiteX68" fmla="*/ 376378 w 435145"/>
                <a:gd name="connsiteY68" fmla="*/ 468846 h 761503"/>
                <a:gd name="connsiteX69" fmla="*/ 384537 w 435145"/>
                <a:gd name="connsiteY69" fmla="*/ 474286 h 761503"/>
                <a:gd name="connsiteX70" fmla="*/ 392696 w 435145"/>
                <a:gd name="connsiteY70" fmla="*/ 493323 h 761503"/>
                <a:gd name="connsiteX71" fmla="*/ 395416 w 435145"/>
                <a:gd name="connsiteY71" fmla="*/ 558595 h 761503"/>
                <a:gd name="connsiteX72" fmla="*/ 398136 w 435145"/>
                <a:gd name="connsiteY72" fmla="*/ 618427 h 761503"/>
                <a:gd name="connsiteX73" fmla="*/ 400855 w 435145"/>
                <a:gd name="connsiteY73" fmla="*/ 678260 h 761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</a:cxnLst>
              <a:rect l="l" t="t" r="r" b="b"/>
              <a:pathLst>
                <a:path w="435145" h="761503">
                  <a:moveTo>
                    <a:pt x="400855" y="678260"/>
                  </a:moveTo>
                  <a:cubicBezTo>
                    <a:pt x="400855" y="689138"/>
                    <a:pt x="400855" y="719054"/>
                    <a:pt x="384537" y="719054"/>
                  </a:cubicBezTo>
                  <a:cubicBezTo>
                    <a:pt x="376378" y="719054"/>
                    <a:pt x="373659" y="716335"/>
                    <a:pt x="368219" y="713615"/>
                  </a:cubicBezTo>
                  <a:cubicBezTo>
                    <a:pt x="362780" y="710895"/>
                    <a:pt x="360060" y="702736"/>
                    <a:pt x="360060" y="697297"/>
                  </a:cubicBezTo>
                  <a:cubicBezTo>
                    <a:pt x="357341" y="680979"/>
                    <a:pt x="357341" y="664661"/>
                    <a:pt x="360060" y="651063"/>
                  </a:cubicBezTo>
                  <a:cubicBezTo>
                    <a:pt x="354621" y="659222"/>
                    <a:pt x="341023" y="678260"/>
                    <a:pt x="332864" y="686418"/>
                  </a:cubicBezTo>
                  <a:cubicBezTo>
                    <a:pt x="311107" y="708176"/>
                    <a:pt x="283910" y="721774"/>
                    <a:pt x="251274" y="721774"/>
                  </a:cubicBezTo>
                  <a:cubicBezTo>
                    <a:pt x="243115" y="721774"/>
                    <a:pt x="237676" y="721774"/>
                    <a:pt x="229517" y="719054"/>
                  </a:cubicBezTo>
                  <a:cubicBezTo>
                    <a:pt x="207759" y="716335"/>
                    <a:pt x="183283" y="708176"/>
                    <a:pt x="158806" y="694578"/>
                  </a:cubicBezTo>
                  <a:cubicBezTo>
                    <a:pt x="142488" y="686418"/>
                    <a:pt x="126170" y="672820"/>
                    <a:pt x="112571" y="659222"/>
                  </a:cubicBezTo>
                  <a:cubicBezTo>
                    <a:pt x="98973" y="642904"/>
                    <a:pt x="88095" y="626586"/>
                    <a:pt x="79936" y="607548"/>
                  </a:cubicBezTo>
                  <a:cubicBezTo>
                    <a:pt x="71777" y="585791"/>
                    <a:pt x="66337" y="566754"/>
                    <a:pt x="63618" y="542277"/>
                  </a:cubicBezTo>
                  <a:cubicBezTo>
                    <a:pt x="60898" y="517800"/>
                    <a:pt x="58178" y="493323"/>
                    <a:pt x="58178" y="471566"/>
                  </a:cubicBezTo>
                  <a:cubicBezTo>
                    <a:pt x="58178" y="447089"/>
                    <a:pt x="58178" y="425332"/>
                    <a:pt x="60898" y="400855"/>
                  </a:cubicBezTo>
                  <a:cubicBezTo>
                    <a:pt x="63618" y="379098"/>
                    <a:pt x="60898" y="357340"/>
                    <a:pt x="66337" y="335583"/>
                  </a:cubicBezTo>
                  <a:cubicBezTo>
                    <a:pt x="69057" y="313826"/>
                    <a:pt x="77216" y="289349"/>
                    <a:pt x="85375" y="267592"/>
                  </a:cubicBezTo>
                  <a:cubicBezTo>
                    <a:pt x="93534" y="243115"/>
                    <a:pt x="98973" y="221357"/>
                    <a:pt x="109852" y="199600"/>
                  </a:cubicBezTo>
                  <a:cubicBezTo>
                    <a:pt x="118011" y="177843"/>
                    <a:pt x="131609" y="161525"/>
                    <a:pt x="145207" y="145207"/>
                  </a:cubicBezTo>
                  <a:cubicBezTo>
                    <a:pt x="158806" y="128889"/>
                    <a:pt x="172404" y="109852"/>
                    <a:pt x="188722" y="96253"/>
                  </a:cubicBezTo>
                  <a:cubicBezTo>
                    <a:pt x="205040" y="82655"/>
                    <a:pt x="224077" y="77216"/>
                    <a:pt x="243115" y="71776"/>
                  </a:cubicBezTo>
                  <a:cubicBezTo>
                    <a:pt x="256713" y="69057"/>
                    <a:pt x="273031" y="63617"/>
                    <a:pt x="286630" y="63617"/>
                  </a:cubicBezTo>
                  <a:cubicBezTo>
                    <a:pt x="292069" y="63617"/>
                    <a:pt x="297508" y="63617"/>
                    <a:pt x="305667" y="66337"/>
                  </a:cubicBezTo>
                  <a:cubicBezTo>
                    <a:pt x="313826" y="69057"/>
                    <a:pt x="319266" y="74496"/>
                    <a:pt x="324705" y="79936"/>
                  </a:cubicBezTo>
                  <a:cubicBezTo>
                    <a:pt x="332864" y="85375"/>
                    <a:pt x="332864" y="93534"/>
                    <a:pt x="341023" y="101693"/>
                  </a:cubicBezTo>
                  <a:cubicBezTo>
                    <a:pt x="346462" y="107132"/>
                    <a:pt x="349182" y="118011"/>
                    <a:pt x="354621" y="123450"/>
                  </a:cubicBezTo>
                  <a:cubicBezTo>
                    <a:pt x="354621" y="115291"/>
                    <a:pt x="354621" y="101693"/>
                    <a:pt x="354621" y="98973"/>
                  </a:cubicBezTo>
                  <a:cubicBezTo>
                    <a:pt x="354621" y="90814"/>
                    <a:pt x="354621" y="79936"/>
                    <a:pt x="360060" y="74496"/>
                  </a:cubicBezTo>
                  <a:cubicBezTo>
                    <a:pt x="362780" y="71776"/>
                    <a:pt x="362780" y="69057"/>
                    <a:pt x="365500" y="63617"/>
                  </a:cubicBezTo>
                  <a:cubicBezTo>
                    <a:pt x="368219" y="60898"/>
                    <a:pt x="370939" y="58178"/>
                    <a:pt x="373659" y="58178"/>
                  </a:cubicBezTo>
                  <a:cubicBezTo>
                    <a:pt x="376378" y="58178"/>
                    <a:pt x="379098" y="60898"/>
                    <a:pt x="381818" y="63617"/>
                  </a:cubicBezTo>
                  <a:cubicBezTo>
                    <a:pt x="384537" y="69057"/>
                    <a:pt x="387257" y="77216"/>
                    <a:pt x="389977" y="82655"/>
                  </a:cubicBezTo>
                  <a:cubicBezTo>
                    <a:pt x="389977" y="90814"/>
                    <a:pt x="392696" y="107132"/>
                    <a:pt x="392696" y="126170"/>
                  </a:cubicBezTo>
                  <a:cubicBezTo>
                    <a:pt x="392696" y="150647"/>
                    <a:pt x="392696" y="177843"/>
                    <a:pt x="395416" y="186002"/>
                  </a:cubicBezTo>
                  <a:cubicBezTo>
                    <a:pt x="398136" y="205040"/>
                    <a:pt x="398136" y="215918"/>
                    <a:pt x="398136" y="237675"/>
                  </a:cubicBezTo>
                  <a:cubicBezTo>
                    <a:pt x="398136" y="240395"/>
                    <a:pt x="398136" y="243115"/>
                    <a:pt x="398136" y="243115"/>
                  </a:cubicBezTo>
                  <a:cubicBezTo>
                    <a:pt x="398136" y="248554"/>
                    <a:pt x="398136" y="251274"/>
                    <a:pt x="395416" y="256713"/>
                  </a:cubicBezTo>
                  <a:cubicBezTo>
                    <a:pt x="392696" y="267592"/>
                    <a:pt x="389977" y="278470"/>
                    <a:pt x="379098" y="278470"/>
                  </a:cubicBezTo>
                  <a:cubicBezTo>
                    <a:pt x="370939" y="278470"/>
                    <a:pt x="368219" y="275751"/>
                    <a:pt x="362780" y="273031"/>
                  </a:cubicBezTo>
                  <a:cubicBezTo>
                    <a:pt x="357341" y="270311"/>
                    <a:pt x="354621" y="262152"/>
                    <a:pt x="354621" y="256713"/>
                  </a:cubicBezTo>
                  <a:cubicBezTo>
                    <a:pt x="349182" y="237675"/>
                    <a:pt x="354621" y="232236"/>
                    <a:pt x="354621" y="213198"/>
                  </a:cubicBezTo>
                  <a:cubicBezTo>
                    <a:pt x="354621" y="210479"/>
                    <a:pt x="354621" y="207759"/>
                    <a:pt x="354621" y="205040"/>
                  </a:cubicBezTo>
                  <a:cubicBezTo>
                    <a:pt x="349182" y="186002"/>
                    <a:pt x="343742" y="169684"/>
                    <a:pt x="338303" y="147927"/>
                  </a:cubicBezTo>
                  <a:cubicBezTo>
                    <a:pt x="332864" y="131609"/>
                    <a:pt x="311107" y="107132"/>
                    <a:pt x="292069" y="107132"/>
                  </a:cubicBezTo>
                  <a:cubicBezTo>
                    <a:pt x="281190" y="107132"/>
                    <a:pt x="270312" y="115291"/>
                    <a:pt x="262153" y="120730"/>
                  </a:cubicBezTo>
                  <a:cubicBezTo>
                    <a:pt x="259433" y="123450"/>
                    <a:pt x="256713" y="126170"/>
                    <a:pt x="251274" y="131609"/>
                  </a:cubicBezTo>
                  <a:cubicBezTo>
                    <a:pt x="248554" y="134329"/>
                    <a:pt x="243115" y="137048"/>
                    <a:pt x="240395" y="139768"/>
                  </a:cubicBezTo>
                  <a:cubicBezTo>
                    <a:pt x="237676" y="145207"/>
                    <a:pt x="240395" y="156086"/>
                    <a:pt x="237676" y="164245"/>
                  </a:cubicBezTo>
                  <a:cubicBezTo>
                    <a:pt x="232236" y="175123"/>
                    <a:pt x="229517" y="186002"/>
                    <a:pt x="226797" y="196881"/>
                  </a:cubicBezTo>
                  <a:cubicBezTo>
                    <a:pt x="221358" y="218638"/>
                    <a:pt x="218638" y="237675"/>
                    <a:pt x="213199" y="259433"/>
                  </a:cubicBezTo>
                  <a:cubicBezTo>
                    <a:pt x="210479" y="281190"/>
                    <a:pt x="207759" y="302947"/>
                    <a:pt x="207759" y="324704"/>
                  </a:cubicBezTo>
                  <a:cubicBezTo>
                    <a:pt x="207759" y="327424"/>
                    <a:pt x="207759" y="332863"/>
                    <a:pt x="207759" y="335583"/>
                  </a:cubicBezTo>
                  <a:cubicBezTo>
                    <a:pt x="207759" y="341022"/>
                    <a:pt x="205040" y="343742"/>
                    <a:pt x="205040" y="349181"/>
                  </a:cubicBezTo>
                  <a:cubicBezTo>
                    <a:pt x="205040" y="354621"/>
                    <a:pt x="207759" y="362779"/>
                    <a:pt x="207759" y="368219"/>
                  </a:cubicBezTo>
                  <a:cubicBezTo>
                    <a:pt x="207759" y="370939"/>
                    <a:pt x="207759" y="373658"/>
                    <a:pt x="207759" y="376378"/>
                  </a:cubicBezTo>
                  <a:cubicBezTo>
                    <a:pt x="205040" y="381817"/>
                    <a:pt x="205040" y="384537"/>
                    <a:pt x="205040" y="387256"/>
                  </a:cubicBezTo>
                  <a:cubicBezTo>
                    <a:pt x="205040" y="389976"/>
                    <a:pt x="205040" y="392696"/>
                    <a:pt x="205040" y="395415"/>
                  </a:cubicBezTo>
                  <a:cubicBezTo>
                    <a:pt x="205040" y="398135"/>
                    <a:pt x="205040" y="403574"/>
                    <a:pt x="205040" y="406294"/>
                  </a:cubicBezTo>
                  <a:cubicBezTo>
                    <a:pt x="205040" y="411733"/>
                    <a:pt x="205040" y="417173"/>
                    <a:pt x="205040" y="425332"/>
                  </a:cubicBezTo>
                  <a:cubicBezTo>
                    <a:pt x="205040" y="449809"/>
                    <a:pt x="213199" y="471566"/>
                    <a:pt x="213199" y="493323"/>
                  </a:cubicBezTo>
                  <a:cubicBezTo>
                    <a:pt x="213199" y="517800"/>
                    <a:pt x="215919" y="539557"/>
                    <a:pt x="221358" y="561314"/>
                  </a:cubicBezTo>
                  <a:cubicBezTo>
                    <a:pt x="224077" y="572193"/>
                    <a:pt x="224077" y="580352"/>
                    <a:pt x="226797" y="591231"/>
                  </a:cubicBezTo>
                  <a:cubicBezTo>
                    <a:pt x="229517" y="599390"/>
                    <a:pt x="237676" y="607548"/>
                    <a:pt x="240395" y="618427"/>
                  </a:cubicBezTo>
                  <a:cubicBezTo>
                    <a:pt x="248554" y="637465"/>
                    <a:pt x="262153" y="651063"/>
                    <a:pt x="283910" y="651063"/>
                  </a:cubicBezTo>
                  <a:cubicBezTo>
                    <a:pt x="302948" y="651063"/>
                    <a:pt x="330144" y="629306"/>
                    <a:pt x="338303" y="612988"/>
                  </a:cubicBezTo>
                  <a:cubicBezTo>
                    <a:pt x="346462" y="599390"/>
                    <a:pt x="351901" y="591231"/>
                    <a:pt x="354621" y="577632"/>
                  </a:cubicBezTo>
                  <a:cubicBezTo>
                    <a:pt x="354621" y="550436"/>
                    <a:pt x="354621" y="517800"/>
                    <a:pt x="357341" y="509641"/>
                  </a:cubicBezTo>
                  <a:cubicBezTo>
                    <a:pt x="357341" y="501482"/>
                    <a:pt x="357341" y="490603"/>
                    <a:pt x="362780" y="485164"/>
                  </a:cubicBezTo>
                  <a:cubicBezTo>
                    <a:pt x="365500" y="482444"/>
                    <a:pt x="365500" y="479725"/>
                    <a:pt x="368219" y="474286"/>
                  </a:cubicBezTo>
                  <a:cubicBezTo>
                    <a:pt x="370939" y="471566"/>
                    <a:pt x="373659" y="468846"/>
                    <a:pt x="376378" y="468846"/>
                  </a:cubicBezTo>
                  <a:cubicBezTo>
                    <a:pt x="379098" y="468846"/>
                    <a:pt x="381818" y="471566"/>
                    <a:pt x="384537" y="474286"/>
                  </a:cubicBezTo>
                  <a:cubicBezTo>
                    <a:pt x="387257" y="479725"/>
                    <a:pt x="389977" y="487884"/>
                    <a:pt x="392696" y="493323"/>
                  </a:cubicBezTo>
                  <a:cubicBezTo>
                    <a:pt x="392696" y="501482"/>
                    <a:pt x="395416" y="539557"/>
                    <a:pt x="395416" y="558595"/>
                  </a:cubicBezTo>
                  <a:cubicBezTo>
                    <a:pt x="395416" y="583072"/>
                    <a:pt x="395416" y="610268"/>
                    <a:pt x="398136" y="618427"/>
                  </a:cubicBezTo>
                  <a:cubicBezTo>
                    <a:pt x="398136" y="648343"/>
                    <a:pt x="400855" y="659222"/>
                    <a:pt x="400855" y="678260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/>
            </a:p>
          </p:txBody>
        </p:sp>
        <p:sp>
          <p:nvSpPr>
            <p:cNvPr id="39" name="Freeform: Shape 38">
              <a:extLst>
                <a:ext uri="{FF2B5EF4-FFF2-40B4-BE49-F238E27FC236}">
                  <a16:creationId xmlns:a16="http://schemas.microsoft.com/office/drawing/2014/main" id="{150AC809-CAFD-4318-A0EC-16251C0817B3}"/>
                </a:ext>
              </a:extLst>
            </p:cNvPr>
            <p:cNvSpPr/>
            <p:nvPr/>
          </p:nvSpPr>
          <p:spPr>
            <a:xfrm>
              <a:off x="3829459" y="4200317"/>
              <a:ext cx="598325" cy="761503"/>
            </a:xfrm>
            <a:custGeom>
              <a:avLst/>
              <a:gdLst>
                <a:gd name="connsiteX0" fmla="*/ 360060 w 598324"/>
                <a:gd name="connsiteY0" fmla="*/ 332863 h 761503"/>
                <a:gd name="connsiteX1" fmla="*/ 341023 w 598324"/>
                <a:gd name="connsiteY1" fmla="*/ 370939 h 761503"/>
                <a:gd name="connsiteX2" fmla="*/ 376378 w 598324"/>
                <a:gd name="connsiteY2" fmla="*/ 389976 h 761503"/>
                <a:gd name="connsiteX3" fmla="*/ 425332 w 598324"/>
                <a:gd name="connsiteY3" fmla="*/ 433491 h 761503"/>
                <a:gd name="connsiteX4" fmla="*/ 438930 w 598324"/>
                <a:gd name="connsiteY4" fmla="*/ 463407 h 761503"/>
                <a:gd name="connsiteX5" fmla="*/ 449809 w 598324"/>
                <a:gd name="connsiteY5" fmla="*/ 498762 h 761503"/>
                <a:gd name="connsiteX6" fmla="*/ 457968 w 598324"/>
                <a:gd name="connsiteY6" fmla="*/ 528679 h 761503"/>
                <a:gd name="connsiteX7" fmla="*/ 466127 w 598324"/>
                <a:gd name="connsiteY7" fmla="*/ 564034 h 761503"/>
                <a:gd name="connsiteX8" fmla="*/ 471566 w 598324"/>
                <a:gd name="connsiteY8" fmla="*/ 593950 h 761503"/>
                <a:gd name="connsiteX9" fmla="*/ 479725 w 598324"/>
                <a:gd name="connsiteY9" fmla="*/ 607548 h 761503"/>
                <a:gd name="connsiteX10" fmla="*/ 487884 w 598324"/>
                <a:gd name="connsiteY10" fmla="*/ 623867 h 761503"/>
                <a:gd name="connsiteX11" fmla="*/ 501482 w 598324"/>
                <a:gd name="connsiteY11" fmla="*/ 651063 h 761503"/>
                <a:gd name="connsiteX12" fmla="*/ 523240 w 598324"/>
                <a:gd name="connsiteY12" fmla="*/ 670101 h 761503"/>
                <a:gd name="connsiteX13" fmla="*/ 534119 w 598324"/>
                <a:gd name="connsiteY13" fmla="*/ 686418 h 761503"/>
                <a:gd name="connsiteX14" fmla="*/ 531399 w 598324"/>
                <a:gd name="connsiteY14" fmla="*/ 694578 h 761503"/>
                <a:gd name="connsiteX15" fmla="*/ 498763 w 598324"/>
                <a:gd name="connsiteY15" fmla="*/ 708176 h 761503"/>
                <a:gd name="connsiteX16" fmla="*/ 449809 w 598324"/>
                <a:gd name="connsiteY16" fmla="*/ 700017 h 761503"/>
                <a:gd name="connsiteX17" fmla="*/ 400855 w 598324"/>
                <a:gd name="connsiteY17" fmla="*/ 667381 h 761503"/>
                <a:gd name="connsiteX18" fmla="*/ 381817 w 598324"/>
                <a:gd name="connsiteY18" fmla="*/ 642904 h 761503"/>
                <a:gd name="connsiteX19" fmla="*/ 368219 w 598324"/>
                <a:gd name="connsiteY19" fmla="*/ 610268 h 761503"/>
                <a:gd name="connsiteX20" fmla="*/ 349182 w 598324"/>
                <a:gd name="connsiteY20" fmla="*/ 550436 h 761503"/>
                <a:gd name="connsiteX21" fmla="*/ 338303 w 598324"/>
                <a:gd name="connsiteY21" fmla="*/ 504202 h 761503"/>
                <a:gd name="connsiteX22" fmla="*/ 330144 w 598324"/>
                <a:gd name="connsiteY22" fmla="*/ 477005 h 761503"/>
                <a:gd name="connsiteX23" fmla="*/ 321985 w 598324"/>
                <a:gd name="connsiteY23" fmla="*/ 455248 h 761503"/>
                <a:gd name="connsiteX24" fmla="*/ 305667 w 598324"/>
                <a:gd name="connsiteY24" fmla="*/ 436210 h 761503"/>
                <a:gd name="connsiteX25" fmla="*/ 294788 w 598324"/>
                <a:gd name="connsiteY25" fmla="*/ 441650 h 761503"/>
                <a:gd name="connsiteX26" fmla="*/ 278471 w 598324"/>
                <a:gd name="connsiteY26" fmla="*/ 463407 h 761503"/>
                <a:gd name="connsiteX27" fmla="*/ 264872 w 598324"/>
                <a:gd name="connsiteY27" fmla="*/ 496043 h 761503"/>
                <a:gd name="connsiteX28" fmla="*/ 262153 w 598324"/>
                <a:gd name="connsiteY28" fmla="*/ 517800 h 761503"/>
                <a:gd name="connsiteX29" fmla="*/ 262153 w 598324"/>
                <a:gd name="connsiteY29" fmla="*/ 523239 h 761503"/>
                <a:gd name="connsiteX30" fmla="*/ 262153 w 598324"/>
                <a:gd name="connsiteY30" fmla="*/ 553155 h 761503"/>
                <a:gd name="connsiteX31" fmla="*/ 262153 w 598324"/>
                <a:gd name="connsiteY31" fmla="*/ 629306 h 761503"/>
                <a:gd name="connsiteX32" fmla="*/ 259433 w 598324"/>
                <a:gd name="connsiteY32" fmla="*/ 659222 h 761503"/>
                <a:gd name="connsiteX33" fmla="*/ 283910 w 598324"/>
                <a:gd name="connsiteY33" fmla="*/ 659222 h 761503"/>
                <a:gd name="connsiteX34" fmla="*/ 321985 w 598324"/>
                <a:gd name="connsiteY34" fmla="*/ 675540 h 761503"/>
                <a:gd name="connsiteX35" fmla="*/ 316546 w 598324"/>
                <a:gd name="connsiteY35" fmla="*/ 691858 h 761503"/>
                <a:gd name="connsiteX36" fmla="*/ 300228 w 598324"/>
                <a:gd name="connsiteY36" fmla="*/ 700017 h 761503"/>
                <a:gd name="connsiteX37" fmla="*/ 278471 w 598324"/>
                <a:gd name="connsiteY37" fmla="*/ 702736 h 761503"/>
                <a:gd name="connsiteX38" fmla="*/ 243115 w 598324"/>
                <a:gd name="connsiteY38" fmla="*/ 702736 h 761503"/>
                <a:gd name="connsiteX39" fmla="*/ 221358 w 598324"/>
                <a:gd name="connsiteY39" fmla="*/ 710895 h 761503"/>
                <a:gd name="connsiteX40" fmla="*/ 194161 w 598324"/>
                <a:gd name="connsiteY40" fmla="*/ 702736 h 761503"/>
                <a:gd name="connsiteX41" fmla="*/ 177843 w 598324"/>
                <a:gd name="connsiteY41" fmla="*/ 702736 h 761503"/>
                <a:gd name="connsiteX42" fmla="*/ 126170 w 598324"/>
                <a:gd name="connsiteY42" fmla="*/ 702736 h 761503"/>
                <a:gd name="connsiteX43" fmla="*/ 101693 w 598324"/>
                <a:gd name="connsiteY43" fmla="*/ 702736 h 761503"/>
                <a:gd name="connsiteX44" fmla="*/ 74496 w 598324"/>
                <a:gd name="connsiteY44" fmla="*/ 697297 h 761503"/>
                <a:gd name="connsiteX45" fmla="*/ 58178 w 598324"/>
                <a:gd name="connsiteY45" fmla="*/ 680979 h 761503"/>
                <a:gd name="connsiteX46" fmla="*/ 63617 w 598324"/>
                <a:gd name="connsiteY46" fmla="*/ 672820 h 761503"/>
                <a:gd name="connsiteX47" fmla="*/ 85375 w 598324"/>
                <a:gd name="connsiteY47" fmla="*/ 664661 h 761503"/>
                <a:gd name="connsiteX48" fmla="*/ 128889 w 598324"/>
                <a:gd name="connsiteY48" fmla="*/ 659222 h 761503"/>
                <a:gd name="connsiteX49" fmla="*/ 147927 w 598324"/>
                <a:gd name="connsiteY49" fmla="*/ 659222 h 761503"/>
                <a:gd name="connsiteX50" fmla="*/ 145207 w 598324"/>
                <a:gd name="connsiteY50" fmla="*/ 653783 h 761503"/>
                <a:gd name="connsiteX51" fmla="*/ 131609 w 598324"/>
                <a:gd name="connsiteY51" fmla="*/ 585791 h 761503"/>
                <a:gd name="connsiteX52" fmla="*/ 134329 w 598324"/>
                <a:gd name="connsiteY52" fmla="*/ 498762 h 761503"/>
                <a:gd name="connsiteX53" fmla="*/ 137048 w 598324"/>
                <a:gd name="connsiteY53" fmla="*/ 406294 h 761503"/>
                <a:gd name="connsiteX54" fmla="*/ 134329 w 598324"/>
                <a:gd name="connsiteY54" fmla="*/ 327424 h 761503"/>
                <a:gd name="connsiteX55" fmla="*/ 137048 w 598324"/>
                <a:gd name="connsiteY55" fmla="*/ 253993 h 761503"/>
                <a:gd name="connsiteX56" fmla="*/ 139768 w 598324"/>
                <a:gd name="connsiteY56" fmla="*/ 207759 h 761503"/>
                <a:gd name="connsiteX57" fmla="*/ 137048 w 598324"/>
                <a:gd name="connsiteY57" fmla="*/ 172404 h 761503"/>
                <a:gd name="connsiteX58" fmla="*/ 137048 w 598324"/>
                <a:gd name="connsiteY58" fmla="*/ 112571 h 761503"/>
                <a:gd name="connsiteX59" fmla="*/ 126170 w 598324"/>
                <a:gd name="connsiteY59" fmla="*/ 112571 h 761503"/>
                <a:gd name="connsiteX60" fmla="*/ 101693 w 598324"/>
                <a:gd name="connsiteY60" fmla="*/ 112571 h 761503"/>
                <a:gd name="connsiteX61" fmla="*/ 74496 w 598324"/>
                <a:gd name="connsiteY61" fmla="*/ 107132 h 761503"/>
                <a:gd name="connsiteX62" fmla="*/ 58178 w 598324"/>
                <a:gd name="connsiteY62" fmla="*/ 90814 h 761503"/>
                <a:gd name="connsiteX63" fmla="*/ 63617 w 598324"/>
                <a:gd name="connsiteY63" fmla="*/ 82655 h 761503"/>
                <a:gd name="connsiteX64" fmla="*/ 85375 w 598324"/>
                <a:gd name="connsiteY64" fmla="*/ 74496 h 761503"/>
                <a:gd name="connsiteX65" fmla="*/ 137048 w 598324"/>
                <a:gd name="connsiteY65" fmla="*/ 69057 h 761503"/>
                <a:gd name="connsiteX66" fmla="*/ 145207 w 598324"/>
                <a:gd name="connsiteY66" fmla="*/ 69057 h 761503"/>
                <a:gd name="connsiteX67" fmla="*/ 169684 w 598324"/>
                <a:gd name="connsiteY67" fmla="*/ 58178 h 761503"/>
                <a:gd name="connsiteX68" fmla="*/ 177843 w 598324"/>
                <a:gd name="connsiteY68" fmla="*/ 58178 h 761503"/>
                <a:gd name="connsiteX69" fmla="*/ 205040 w 598324"/>
                <a:gd name="connsiteY69" fmla="*/ 66337 h 761503"/>
                <a:gd name="connsiteX70" fmla="*/ 286629 w 598324"/>
                <a:gd name="connsiteY70" fmla="*/ 63617 h 761503"/>
                <a:gd name="connsiteX71" fmla="*/ 324705 w 598324"/>
                <a:gd name="connsiteY71" fmla="*/ 79936 h 761503"/>
                <a:gd name="connsiteX72" fmla="*/ 319265 w 598324"/>
                <a:gd name="connsiteY72" fmla="*/ 96253 h 761503"/>
                <a:gd name="connsiteX73" fmla="*/ 302948 w 598324"/>
                <a:gd name="connsiteY73" fmla="*/ 104412 h 761503"/>
                <a:gd name="connsiteX74" fmla="*/ 278471 w 598324"/>
                <a:gd name="connsiteY74" fmla="*/ 112571 h 761503"/>
                <a:gd name="connsiteX75" fmla="*/ 232236 w 598324"/>
                <a:gd name="connsiteY75" fmla="*/ 112571 h 761503"/>
                <a:gd name="connsiteX76" fmla="*/ 240395 w 598324"/>
                <a:gd name="connsiteY76" fmla="*/ 137048 h 761503"/>
                <a:gd name="connsiteX77" fmla="*/ 240395 w 598324"/>
                <a:gd name="connsiteY77" fmla="*/ 150647 h 761503"/>
                <a:gd name="connsiteX78" fmla="*/ 243115 w 598324"/>
                <a:gd name="connsiteY78" fmla="*/ 158805 h 761503"/>
                <a:gd name="connsiteX79" fmla="*/ 248554 w 598324"/>
                <a:gd name="connsiteY79" fmla="*/ 188722 h 761503"/>
                <a:gd name="connsiteX80" fmla="*/ 248554 w 598324"/>
                <a:gd name="connsiteY80" fmla="*/ 199600 h 761503"/>
                <a:gd name="connsiteX81" fmla="*/ 248554 w 598324"/>
                <a:gd name="connsiteY81" fmla="*/ 221357 h 761503"/>
                <a:gd name="connsiteX82" fmla="*/ 253994 w 598324"/>
                <a:gd name="connsiteY82" fmla="*/ 264872 h 761503"/>
                <a:gd name="connsiteX83" fmla="*/ 262153 w 598324"/>
                <a:gd name="connsiteY83" fmla="*/ 297508 h 761503"/>
                <a:gd name="connsiteX84" fmla="*/ 264872 w 598324"/>
                <a:gd name="connsiteY84" fmla="*/ 324704 h 761503"/>
                <a:gd name="connsiteX85" fmla="*/ 264872 w 598324"/>
                <a:gd name="connsiteY85" fmla="*/ 332863 h 761503"/>
                <a:gd name="connsiteX86" fmla="*/ 264872 w 598324"/>
                <a:gd name="connsiteY86" fmla="*/ 351901 h 761503"/>
                <a:gd name="connsiteX87" fmla="*/ 262153 w 598324"/>
                <a:gd name="connsiteY87" fmla="*/ 370939 h 761503"/>
                <a:gd name="connsiteX88" fmla="*/ 267592 w 598324"/>
                <a:gd name="connsiteY88" fmla="*/ 384537 h 761503"/>
                <a:gd name="connsiteX89" fmla="*/ 278471 w 598324"/>
                <a:gd name="connsiteY89" fmla="*/ 370939 h 761503"/>
                <a:gd name="connsiteX90" fmla="*/ 297508 w 598324"/>
                <a:gd name="connsiteY90" fmla="*/ 332863 h 761503"/>
                <a:gd name="connsiteX91" fmla="*/ 311106 w 598324"/>
                <a:gd name="connsiteY91" fmla="*/ 305667 h 761503"/>
                <a:gd name="connsiteX92" fmla="*/ 335583 w 598324"/>
                <a:gd name="connsiteY92" fmla="*/ 259433 h 761503"/>
                <a:gd name="connsiteX93" fmla="*/ 354621 w 598324"/>
                <a:gd name="connsiteY93" fmla="*/ 224077 h 761503"/>
                <a:gd name="connsiteX94" fmla="*/ 381817 w 598324"/>
                <a:gd name="connsiteY94" fmla="*/ 172404 h 761503"/>
                <a:gd name="connsiteX95" fmla="*/ 409014 w 598324"/>
                <a:gd name="connsiteY95" fmla="*/ 118011 h 761503"/>
                <a:gd name="connsiteX96" fmla="*/ 411734 w 598324"/>
                <a:gd name="connsiteY96" fmla="*/ 115291 h 761503"/>
                <a:gd name="connsiteX97" fmla="*/ 398136 w 598324"/>
                <a:gd name="connsiteY97" fmla="*/ 115291 h 761503"/>
                <a:gd name="connsiteX98" fmla="*/ 379098 w 598324"/>
                <a:gd name="connsiteY98" fmla="*/ 109852 h 761503"/>
                <a:gd name="connsiteX99" fmla="*/ 368219 w 598324"/>
                <a:gd name="connsiteY99" fmla="*/ 93534 h 761503"/>
                <a:gd name="connsiteX100" fmla="*/ 370939 w 598324"/>
                <a:gd name="connsiteY100" fmla="*/ 85375 h 761503"/>
                <a:gd name="connsiteX101" fmla="*/ 387257 w 598324"/>
                <a:gd name="connsiteY101" fmla="*/ 77216 h 761503"/>
                <a:gd name="connsiteX102" fmla="*/ 422612 w 598324"/>
                <a:gd name="connsiteY102" fmla="*/ 71776 h 761503"/>
                <a:gd name="connsiteX103" fmla="*/ 436211 w 598324"/>
                <a:gd name="connsiteY103" fmla="*/ 71776 h 761503"/>
                <a:gd name="connsiteX104" fmla="*/ 438930 w 598324"/>
                <a:gd name="connsiteY104" fmla="*/ 69057 h 761503"/>
                <a:gd name="connsiteX105" fmla="*/ 452529 w 598324"/>
                <a:gd name="connsiteY105" fmla="*/ 66337 h 761503"/>
                <a:gd name="connsiteX106" fmla="*/ 466127 w 598324"/>
                <a:gd name="connsiteY106" fmla="*/ 69057 h 761503"/>
                <a:gd name="connsiteX107" fmla="*/ 471566 w 598324"/>
                <a:gd name="connsiteY107" fmla="*/ 71776 h 761503"/>
                <a:gd name="connsiteX108" fmla="*/ 515081 w 598324"/>
                <a:gd name="connsiteY108" fmla="*/ 71776 h 761503"/>
                <a:gd name="connsiteX109" fmla="*/ 542277 w 598324"/>
                <a:gd name="connsiteY109" fmla="*/ 88094 h 761503"/>
                <a:gd name="connsiteX110" fmla="*/ 536838 w 598324"/>
                <a:gd name="connsiteY110" fmla="*/ 104412 h 761503"/>
                <a:gd name="connsiteX111" fmla="*/ 525959 w 598324"/>
                <a:gd name="connsiteY111" fmla="*/ 112571 h 761503"/>
                <a:gd name="connsiteX112" fmla="*/ 509642 w 598324"/>
                <a:gd name="connsiteY112" fmla="*/ 115291 h 761503"/>
                <a:gd name="connsiteX113" fmla="*/ 468847 w 598324"/>
                <a:gd name="connsiteY113" fmla="*/ 115291 h 761503"/>
                <a:gd name="connsiteX114" fmla="*/ 457968 w 598324"/>
                <a:gd name="connsiteY114" fmla="*/ 137048 h 761503"/>
                <a:gd name="connsiteX115" fmla="*/ 430771 w 598324"/>
                <a:gd name="connsiteY115" fmla="*/ 194161 h 761503"/>
                <a:gd name="connsiteX116" fmla="*/ 400855 w 598324"/>
                <a:gd name="connsiteY116" fmla="*/ 262152 h 761503"/>
                <a:gd name="connsiteX117" fmla="*/ 360060 w 598324"/>
                <a:gd name="connsiteY117" fmla="*/ 332863 h 761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</a:cxnLst>
              <a:rect l="l" t="t" r="r" b="b"/>
              <a:pathLst>
                <a:path w="598324" h="761503">
                  <a:moveTo>
                    <a:pt x="360060" y="332863"/>
                  </a:moveTo>
                  <a:cubicBezTo>
                    <a:pt x="351901" y="343742"/>
                    <a:pt x="341023" y="357340"/>
                    <a:pt x="341023" y="370939"/>
                  </a:cubicBezTo>
                  <a:cubicBezTo>
                    <a:pt x="341023" y="379098"/>
                    <a:pt x="357341" y="381817"/>
                    <a:pt x="376378" y="389976"/>
                  </a:cubicBezTo>
                  <a:cubicBezTo>
                    <a:pt x="395416" y="398135"/>
                    <a:pt x="417173" y="417173"/>
                    <a:pt x="425332" y="433491"/>
                  </a:cubicBezTo>
                  <a:cubicBezTo>
                    <a:pt x="430771" y="444369"/>
                    <a:pt x="436211" y="452528"/>
                    <a:pt x="438930" y="463407"/>
                  </a:cubicBezTo>
                  <a:cubicBezTo>
                    <a:pt x="444370" y="474286"/>
                    <a:pt x="447089" y="487884"/>
                    <a:pt x="449809" y="498762"/>
                  </a:cubicBezTo>
                  <a:cubicBezTo>
                    <a:pt x="452529" y="512361"/>
                    <a:pt x="452529" y="517800"/>
                    <a:pt x="457968" y="528679"/>
                  </a:cubicBezTo>
                  <a:cubicBezTo>
                    <a:pt x="463407" y="539557"/>
                    <a:pt x="463407" y="553155"/>
                    <a:pt x="466127" y="564034"/>
                  </a:cubicBezTo>
                  <a:cubicBezTo>
                    <a:pt x="468847" y="572193"/>
                    <a:pt x="468847" y="585791"/>
                    <a:pt x="471566" y="593950"/>
                  </a:cubicBezTo>
                  <a:cubicBezTo>
                    <a:pt x="474286" y="599390"/>
                    <a:pt x="477006" y="602109"/>
                    <a:pt x="479725" y="607548"/>
                  </a:cubicBezTo>
                  <a:cubicBezTo>
                    <a:pt x="482445" y="612988"/>
                    <a:pt x="487884" y="618427"/>
                    <a:pt x="487884" y="623867"/>
                  </a:cubicBezTo>
                  <a:cubicBezTo>
                    <a:pt x="490604" y="634745"/>
                    <a:pt x="496043" y="642904"/>
                    <a:pt x="501482" y="651063"/>
                  </a:cubicBezTo>
                  <a:cubicBezTo>
                    <a:pt x="506922" y="661942"/>
                    <a:pt x="512361" y="664661"/>
                    <a:pt x="523240" y="670101"/>
                  </a:cubicBezTo>
                  <a:cubicBezTo>
                    <a:pt x="528679" y="672820"/>
                    <a:pt x="534119" y="680979"/>
                    <a:pt x="534119" y="686418"/>
                  </a:cubicBezTo>
                  <a:cubicBezTo>
                    <a:pt x="534119" y="689138"/>
                    <a:pt x="534119" y="691858"/>
                    <a:pt x="531399" y="694578"/>
                  </a:cubicBezTo>
                  <a:cubicBezTo>
                    <a:pt x="525959" y="702736"/>
                    <a:pt x="512361" y="708176"/>
                    <a:pt x="498763" y="708176"/>
                  </a:cubicBezTo>
                  <a:cubicBezTo>
                    <a:pt x="485165" y="708176"/>
                    <a:pt x="466127" y="705456"/>
                    <a:pt x="449809" y="700017"/>
                  </a:cubicBezTo>
                  <a:cubicBezTo>
                    <a:pt x="430771" y="694578"/>
                    <a:pt x="409014" y="675540"/>
                    <a:pt x="400855" y="667381"/>
                  </a:cubicBezTo>
                  <a:cubicBezTo>
                    <a:pt x="392696" y="659222"/>
                    <a:pt x="387257" y="651063"/>
                    <a:pt x="381817" y="642904"/>
                  </a:cubicBezTo>
                  <a:cubicBezTo>
                    <a:pt x="376378" y="632025"/>
                    <a:pt x="370939" y="623867"/>
                    <a:pt x="368219" y="610268"/>
                  </a:cubicBezTo>
                  <a:cubicBezTo>
                    <a:pt x="360060" y="588511"/>
                    <a:pt x="357341" y="574913"/>
                    <a:pt x="349182" y="550436"/>
                  </a:cubicBezTo>
                  <a:cubicBezTo>
                    <a:pt x="343742" y="534118"/>
                    <a:pt x="341023" y="520520"/>
                    <a:pt x="338303" y="504202"/>
                  </a:cubicBezTo>
                  <a:cubicBezTo>
                    <a:pt x="335583" y="493323"/>
                    <a:pt x="332864" y="485164"/>
                    <a:pt x="330144" y="477005"/>
                  </a:cubicBezTo>
                  <a:cubicBezTo>
                    <a:pt x="327424" y="471566"/>
                    <a:pt x="324705" y="463407"/>
                    <a:pt x="321985" y="455248"/>
                  </a:cubicBezTo>
                  <a:cubicBezTo>
                    <a:pt x="316546" y="444369"/>
                    <a:pt x="311106" y="436210"/>
                    <a:pt x="305667" y="436210"/>
                  </a:cubicBezTo>
                  <a:cubicBezTo>
                    <a:pt x="302948" y="436210"/>
                    <a:pt x="300228" y="438930"/>
                    <a:pt x="294788" y="441650"/>
                  </a:cubicBezTo>
                  <a:cubicBezTo>
                    <a:pt x="289349" y="447089"/>
                    <a:pt x="283910" y="455248"/>
                    <a:pt x="278471" y="463407"/>
                  </a:cubicBezTo>
                  <a:cubicBezTo>
                    <a:pt x="270312" y="474286"/>
                    <a:pt x="267592" y="485164"/>
                    <a:pt x="264872" y="496043"/>
                  </a:cubicBezTo>
                  <a:cubicBezTo>
                    <a:pt x="264872" y="504202"/>
                    <a:pt x="262153" y="512361"/>
                    <a:pt x="262153" y="517800"/>
                  </a:cubicBezTo>
                  <a:cubicBezTo>
                    <a:pt x="262153" y="520520"/>
                    <a:pt x="262153" y="520520"/>
                    <a:pt x="262153" y="523239"/>
                  </a:cubicBezTo>
                  <a:cubicBezTo>
                    <a:pt x="262153" y="528679"/>
                    <a:pt x="262153" y="544997"/>
                    <a:pt x="262153" y="553155"/>
                  </a:cubicBezTo>
                  <a:cubicBezTo>
                    <a:pt x="262153" y="583072"/>
                    <a:pt x="264872" y="599390"/>
                    <a:pt x="262153" y="629306"/>
                  </a:cubicBezTo>
                  <a:cubicBezTo>
                    <a:pt x="262153" y="640184"/>
                    <a:pt x="262153" y="648343"/>
                    <a:pt x="259433" y="659222"/>
                  </a:cubicBezTo>
                  <a:cubicBezTo>
                    <a:pt x="270312" y="659222"/>
                    <a:pt x="278471" y="659222"/>
                    <a:pt x="283910" y="659222"/>
                  </a:cubicBezTo>
                  <a:cubicBezTo>
                    <a:pt x="297508" y="659222"/>
                    <a:pt x="321985" y="659222"/>
                    <a:pt x="321985" y="675540"/>
                  </a:cubicBezTo>
                  <a:cubicBezTo>
                    <a:pt x="321985" y="683699"/>
                    <a:pt x="319265" y="686418"/>
                    <a:pt x="316546" y="691858"/>
                  </a:cubicBezTo>
                  <a:cubicBezTo>
                    <a:pt x="311106" y="697297"/>
                    <a:pt x="305667" y="700017"/>
                    <a:pt x="300228" y="700017"/>
                  </a:cubicBezTo>
                  <a:cubicBezTo>
                    <a:pt x="292069" y="702736"/>
                    <a:pt x="283910" y="702736"/>
                    <a:pt x="278471" y="702736"/>
                  </a:cubicBezTo>
                  <a:cubicBezTo>
                    <a:pt x="275751" y="702736"/>
                    <a:pt x="259433" y="702736"/>
                    <a:pt x="243115" y="702736"/>
                  </a:cubicBezTo>
                  <a:cubicBezTo>
                    <a:pt x="237676" y="708176"/>
                    <a:pt x="229517" y="710895"/>
                    <a:pt x="221358" y="710895"/>
                  </a:cubicBezTo>
                  <a:cubicBezTo>
                    <a:pt x="213199" y="710895"/>
                    <a:pt x="202320" y="708176"/>
                    <a:pt x="194161" y="702736"/>
                  </a:cubicBezTo>
                  <a:cubicBezTo>
                    <a:pt x="186002" y="702736"/>
                    <a:pt x="180563" y="702736"/>
                    <a:pt x="177843" y="702736"/>
                  </a:cubicBezTo>
                  <a:cubicBezTo>
                    <a:pt x="164245" y="702736"/>
                    <a:pt x="139768" y="702736"/>
                    <a:pt x="126170" y="702736"/>
                  </a:cubicBezTo>
                  <a:cubicBezTo>
                    <a:pt x="118011" y="702736"/>
                    <a:pt x="109852" y="702736"/>
                    <a:pt x="101693" y="702736"/>
                  </a:cubicBezTo>
                  <a:cubicBezTo>
                    <a:pt x="93534" y="702736"/>
                    <a:pt x="82655" y="702736"/>
                    <a:pt x="74496" y="697297"/>
                  </a:cubicBezTo>
                  <a:cubicBezTo>
                    <a:pt x="66337" y="694578"/>
                    <a:pt x="58178" y="686418"/>
                    <a:pt x="58178" y="680979"/>
                  </a:cubicBezTo>
                  <a:cubicBezTo>
                    <a:pt x="58178" y="678260"/>
                    <a:pt x="58178" y="675540"/>
                    <a:pt x="63617" y="672820"/>
                  </a:cubicBezTo>
                  <a:cubicBezTo>
                    <a:pt x="69057" y="670101"/>
                    <a:pt x="79935" y="667381"/>
                    <a:pt x="85375" y="664661"/>
                  </a:cubicBezTo>
                  <a:cubicBezTo>
                    <a:pt x="104412" y="661942"/>
                    <a:pt x="123450" y="659222"/>
                    <a:pt x="128889" y="659222"/>
                  </a:cubicBezTo>
                  <a:cubicBezTo>
                    <a:pt x="134329" y="659222"/>
                    <a:pt x="139768" y="659222"/>
                    <a:pt x="147927" y="659222"/>
                  </a:cubicBezTo>
                  <a:cubicBezTo>
                    <a:pt x="147927" y="656502"/>
                    <a:pt x="145207" y="653783"/>
                    <a:pt x="145207" y="653783"/>
                  </a:cubicBezTo>
                  <a:cubicBezTo>
                    <a:pt x="131609" y="632025"/>
                    <a:pt x="131609" y="610268"/>
                    <a:pt x="131609" y="585791"/>
                  </a:cubicBezTo>
                  <a:cubicBezTo>
                    <a:pt x="131609" y="555875"/>
                    <a:pt x="131609" y="528679"/>
                    <a:pt x="134329" y="498762"/>
                  </a:cubicBezTo>
                  <a:cubicBezTo>
                    <a:pt x="134329" y="468846"/>
                    <a:pt x="137048" y="436210"/>
                    <a:pt x="137048" y="406294"/>
                  </a:cubicBezTo>
                  <a:cubicBezTo>
                    <a:pt x="137048" y="379098"/>
                    <a:pt x="134329" y="354621"/>
                    <a:pt x="134329" y="327424"/>
                  </a:cubicBezTo>
                  <a:cubicBezTo>
                    <a:pt x="134329" y="302947"/>
                    <a:pt x="137048" y="278470"/>
                    <a:pt x="137048" y="253993"/>
                  </a:cubicBezTo>
                  <a:cubicBezTo>
                    <a:pt x="137048" y="237675"/>
                    <a:pt x="139768" y="224077"/>
                    <a:pt x="139768" y="207759"/>
                  </a:cubicBezTo>
                  <a:cubicBezTo>
                    <a:pt x="139768" y="196881"/>
                    <a:pt x="137048" y="183282"/>
                    <a:pt x="137048" y="172404"/>
                  </a:cubicBezTo>
                  <a:cubicBezTo>
                    <a:pt x="137048" y="150647"/>
                    <a:pt x="137048" y="131609"/>
                    <a:pt x="137048" y="112571"/>
                  </a:cubicBezTo>
                  <a:cubicBezTo>
                    <a:pt x="134329" y="112571"/>
                    <a:pt x="137048" y="112571"/>
                    <a:pt x="126170" y="112571"/>
                  </a:cubicBezTo>
                  <a:cubicBezTo>
                    <a:pt x="118011" y="112571"/>
                    <a:pt x="109852" y="112571"/>
                    <a:pt x="101693" y="112571"/>
                  </a:cubicBezTo>
                  <a:cubicBezTo>
                    <a:pt x="93534" y="112571"/>
                    <a:pt x="82655" y="109852"/>
                    <a:pt x="74496" y="107132"/>
                  </a:cubicBezTo>
                  <a:cubicBezTo>
                    <a:pt x="66337" y="104412"/>
                    <a:pt x="58178" y="96253"/>
                    <a:pt x="58178" y="90814"/>
                  </a:cubicBezTo>
                  <a:cubicBezTo>
                    <a:pt x="58178" y="88094"/>
                    <a:pt x="58178" y="85375"/>
                    <a:pt x="63617" y="82655"/>
                  </a:cubicBezTo>
                  <a:cubicBezTo>
                    <a:pt x="69057" y="79936"/>
                    <a:pt x="79935" y="77216"/>
                    <a:pt x="85375" y="74496"/>
                  </a:cubicBezTo>
                  <a:cubicBezTo>
                    <a:pt x="104412" y="71776"/>
                    <a:pt x="128889" y="69057"/>
                    <a:pt x="137048" y="69057"/>
                  </a:cubicBezTo>
                  <a:cubicBezTo>
                    <a:pt x="137048" y="69057"/>
                    <a:pt x="139768" y="69057"/>
                    <a:pt x="145207" y="69057"/>
                  </a:cubicBezTo>
                  <a:cubicBezTo>
                    <a:pt x="150646" y="60898"/>
                    <a:pt x="158806" y="58178"/>
                    <a:pt x="169684" y="58178"/>
                  </a:cubicBezTo>
                  <a:cubicBezTo>
                    <a:pt x="172404" y="58178"/>
                    <a:pt x="175123" y="58178"/>
                    <a:pt x="177843" y="58178"/>
                  </a:cubicBezTo>
                  <a:cubicBezTo>
                    <a:pt x="186002" y="58178"/>
                    <a:pt x="196881" y="63617"/>
                    <a:pt x="205040" y="66337"/>
                  </a:cubicBezTo>
                  <a:cubicBezTo>
                    <a:pt x="237676" y="66337"/>
                    <a:pt x="273031" y="63617"/>
                    <a:pt x="286629" y="63617"/>
                  </a:cubicBezTo>
                  <a:cubicBezTo>
                    <a:pt x="300228" y="63617"/>
                    <a:pt x="324705" y="63617"/>
                    <a:pt x="324705" y="79936"/>
                  </a:cubicBezTo>
                  <a:cubicBezTo>
                    <a:pt x="324705" y="88094"/>
                    <a:pt x="321985" y="90814"/>
                    <a:pt x="319265" y="96253"/>
                  </a:cubicBezTo>
                  <a:cubicBezTo>
                    <a:pt x="313826" y="101693"/>
                    <a:pt x="308387" y="104412"/>
                    <a:pt x="302948" y="104412"/>
                  </a:cubicBezTo>
                  <a:cubicBezTo>
                    <a:pt x="289349" y="112571"/>
                    <a:pt x="283910" y="112571"/>
                    <a:pt x="278471" y="112571"/>
                  </a:cubicBezTo>
                  <a:cubicBezTo>
                    <a:pt x="273031" y="112571"/>
                    <a:pt x="253994" y="112571"/>
                    <a:pt x="232236" y="112571"/>
                  </a:cubicBezTo>
                  <a:cubicBezTo>
                    <a:pt x="237676" y="120730"/>
                    <a:pt x="240395" y="128889"/>
                    <a:pt x="240395" y="137048"/>
                  </a:cubicBezTo>
                  <a:cubicBezTo>
                    <a:pt x="240395" y="142487"/>
                    <a:pt x="240395" y="145207"/>
                    <a:pt x="240395" y="150647"/>
                  </a:cubicBezTo>
                  <a:cubicBezTo>
                    <a:pt x="240395" y="153366"/>
                    <a:pt x="240395" y="156086"/>
                    <a:pt x="243115" y="158805"/>
                  </a:cubicBezTo>
                  <a:cubicBezTo>
                    <a:pt x="245835" y="169684"/>
                    <a:pt x="245835" y="180563"/>
                    <a:pt x="248554" y="188722"/>
                  </a:cubicBezTo>
                  <a:cubicBezTo>
                    <a:pt x="248554" y="191441"/>
                    <a:pt x="248554" y="194161"/>
                    <a:pt x="248554" y="199600"/>
                  </a:cubicBezTo>
                  <a:cubicBezTo>
                    <a:pt x="248554" y="207759"/>
                    <a:pt x="248554" y="213198"/>
                    <a:pt x="248554" y="221357"/>
                  </a:cubicBezTo>
                  <a:cubicBezTo>
                    <a:pt x="248554" y="234956"/>
                    <a:pt x="251274" y="248554"/>
                    <a:pt x="253994" y="264872"/>
                  </a:cubicBezTo>
                  <a:cubicBezTo>
                    <a:pt x="256713" y="275751"/>
                    <a:pt x="259433" y="286629"/>
                    <a:pt x="262153" y="297508"/>
                  </a:cubicBezTo>
                  <a:cubicBezTo>
                    <a:pt x="264872" y="305667"/>
                    <a:pt x="264872" y="313826"/>
                    <a:pt x="264872" y="324704"/>
                  </a:cubicBezTo>
                  <a:cubicBezTo>
                    <a:pt x="264872" y="327424"/>
                    <a:pt x="264872" y="330144"/>
                    <a:pt x="264872" y="332863"/>
                  </a:cubicBezTo>
                  <a:cubicBezTo>
                    <a:pt x="264872" y="338303"/>
                    <a:pt x="264872" y="346462"/>
                    <a:pt x="264872" y="351901"/>
                  </a:cubicBezTo>
                  <a:cubicBezTo>
                    <a:pt x="264872" y="357340"/>
                    <a:pt x="262153" y="365499"/>
                    <a:pt x="262153" y="370939"/>
                  </a:cubicBezTo>
                  <a:cubicBezTo>
                    <a:pt x="262153" y="376378"/>
                    <a:pt x="264872" y="384537"/>
                    <a:pt x="267592" y="384537"/>
                  </a:cubicBezTo>
                  <a:cubicBezTo>
                    <a:pt x="273031" y="384537"/>
                    <a:pt x="275751" y="376378"/>
                    <a:pt x="278471" y="370939"/>
                  </a:cubicBezTo>
                  <a:cubicBezTo>
                    <a:pt x="283910" y="360060"/>
                    <a:pt x="289349" y="346462"/>
                    <a:pt x="297508" y="332863"/>
                  </a:cubicBezTo>
                  <a:cubicBezTo>
                    <a:pt x="302948" y="324704"/>
                    <a:pt x="305667" y="313826"/>
                    <a:pt x="311106" y="305667"/>
                  </a:cubicBezTo>
                  <a:cubicBezTo>
                    <a:pt x="319265" y="289349"/>
                    <a:pt x="327424" y="275751"/>
                    <a:pt x="335583" y="259433"/>
                  </a:cubicBezTo>
                  <a:cubicBezTo>
                    <a:pt x="341023" y="248554"/>
                    <a:pt x="349182" y="234956"/>
                    <a:pt x="354621" y="224077"/>
                  </a:cubicBezTo>
                  <a:cubicBezTo>
                    <a:pt x="362780" y="207759"/>
                    <a:pt x="370939" y="191441"/>
                    <a:pt x="381817" y="172404"/>
                  </a:cubicBezTo>
                  <a:cubicBezTo>
                    <a:pt x="389977" y="153366"/>
                    <a:pt x="400855" y="134329"/>
                    <a:pt x="409014" y="118011"/>
                  </a:cubicBezTo>
                  <a:cubicBezTo>
                    <a:pt x="409014" y="115291"/>
                    <a:pt x="409014" y="115291"/>
                    <a:pt x="411734" y="115291"/>
                  </a:cubicBezTo>
                  <a:cubicBezTo>
                    <a:pt x="406294" y="115291"/>
                    <a:pt x="400855" y="115291"/>
                    <a:pt x="398136" y="115291"/>
                  </a:cubicBezTo>
                  <a:cubicBezTo>
                    <a:pt x="392696" y="115291"/>
                    <a:pt x="384537" y="115291"/>
                    <a:pt x="379098" y="109852"/>
                  </a:cubicBezTo>
                  <a:cubicBezTo>
                    <a:pt x="373659" y="107132"/>
                    <a:pt x="368219" y="98973"/>
                    <a:pt x="368219" y="93534"/>
                  </a:cubicBezTo>
                  <a:cubicBezTo>
                    <a:pt x="368219" y="90814"/>
                    <a:pt x="368219" y="88094"/>
                    <a:pt x="370939" y="85375"/>
                  </a:cubicBezTo>
                  <a:cubicBezTo>
                    <a:pt x="373659" y="82655"/>
                    <a:pt x="381817" y="79936"/>
                    <a:pt x="387257" y="77216"/>
                  </a:cubicBezTo>
                  <a:cubicBezTo>
                    <a:pt x="400855" y="74496"/>
                    <a:pt x="414453" y="71776"/>
                    <a:pt x="422612" y="71776"/>
                  </a:cubicBezTo>
                  <a:cubicBezTo>
                    <a:pt x="425332" y="71776"/>
                    <a:pt x="430771" y="71776"/>
                    <a:pt x="436211" y="71776"/>
                  </a:cubicBezTo>
                  <a:cubicBezTo>
                    <a:pt x="436211" y="71776"/>
                    <a:pt x="438930" y="69057"/>
                    <a:pt x="438930" y="69057"/>
                  </a:cubicBezTo>
                  <a:cubicBezTo>
                    <a:pt x="444370" y="66337"/>
                    <a:pt x="447089" y="66337"/>
                    <a:pt x="452529" y="66337"/>
                  </a:cubicBezTo>
                  <a:cubicBezTo>
                    <a:pt x="457968" y="66337"/>
                    <a:pt x="460688" y="66337"/>
                    <a:pt x="466127" y="69057"/>
                  </a:cubicBezTo>
                  <a:cubicBezTo>
                    <a:pt x="468847" y="69057"/>
                    <a:pt x="471566" y="71776"/>
                    <a:pt x="471566" y="71776"/>
                  </a:cubicBezTo>
                  <a:cubicBezTo>
                    <a:pt x="490604" y="71776"/>
                    <a:pt x="506922" y="71776"/>
                    <a:pt x="515081" y="71776"/>
                  </a:cubicBezTo>
                  <a:cubicBezTo>
                    <a:pt x="523240" y="71776"/>
                    <a:pt x="542277" y="71776"/>
                    <a:pt x="542277" y="88094"/>
                  </a:cubicBezTo>
                  <a:cubicBezTo>
                    <a:pt x="542277" y="96253"/>
                    <a:pt x="542277" y="98973"/>
                    <a:pt x="536838" y="104412"/>
                  </a:cubicBezTo>
                  <a:cubicBezTo>
                    <a:pt x="534119" y="109852"/>
                    <a:pt x="528679" y="112571"/>
                    <a:pt x="525959" y="112571"/>
                  </a:cubicBezTo>
                  <a:cubicBezTo>
                    <a:pt x="520520" y="115291"/>
                    <a:pt x="515081" y="115291"/>
                    <a:pt x="509642" y="115291"/>
                  </a:cubicBezTo>
                  <a:cubicBezTo>
                    <a:pt x="506922" y="115291"/>
                    <a:pt x="487884" y="115291"/>
                    <a:pt x="468847" y="115291"/>
                  </a:cubicBezTo>
                  <a:cubicBezTo>
                    <a:pt x="466127" y="123450"/>
                    <a:pt x="460688" y="128889"/>
                    <a:pt x="457968" y="137048"/>
                  </a:cubicBezTo>
                  <a:cubicBezTo>
                    <a:pt x="447089" y="156086"/>
                    <a:pt x="438930" y="175123"/>
                    <a:pt x="430771" y="194161"/>
                  </a:cubicBezTo>
                  <a:cubicBezTo>
                    <a:pt x="419893" y="215918"/>
                    <a:pt x="411734" y="240395"/>
                    <a:pt x="400855" y="262152"/>
                  </a:cubicBezTo>
                  <a:cubicBezTo>
                    <a:pt x="387257" y="289349"/>
                    <a:pt x="373659" y="311106"/>
                    <a:pt x="360060" y="332863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/>
            </a:p>
          </p:txBody>
        </p:sp>
        <p:sp>
          <p:nvSpPr>
            <p:cNvPr id="40" name="Freeform: Shape 39">
              <a:extLst>
                <a:ext uri="{FF2B5EF4-FFF2-40B4-BE49-F238E27FC236}">
                  <a16:creationId xmlns:a16="http://schemas.microsoft.com/office/drawing/2014/main" id="{38DECDD7-0C64-4AFE-9410-0E448F76D614}"/>
                </a:ext>
              </a:extLst>
            </p:cNvPr>
            <p:cNvSpPr/>
            <p:nvPr/>
          </p:nvSpPr>
          <p:spPr>
            <a:xfrm>
              <a:off x="4335316" y="4186718"/>
              <a:ext cx="353556" cy="761503"/>
            </a:xfrm>
            <a:custGeom>
              <a:avLst/>
              <a:gdLst>
                <a:gd name="connsiteX0" fmla="*/ 283910 w 353555"/>
                <a:gd name="connsiteY0" fmla="*/ 672820 h 761503"/>
                <a:gd name="connsiteX1" fmla="*/ 321985 w 353555"/>
                <a:gd name="connsiteY1" fmla="*/ 689138 h 761503"/>
                <a:gd name="connsiteX2" fmla="*/ 316546 w 353555"/>
                <a:gd name="connsiteY2" fmla="*/ 705456 h 761503"/>
                <a:gd name="connsiteX3" fmla="*/ 300228 w 353555"/>
                <a:gd name="connsiteY3" fmla="*/ 713615 h 761503"/>
                <a:gd name="connsiteX4" fmla="*/ 278471 w 353555"/>
                <a:gd name="connsiteY4" fmla="*/ 716335 h 761503"/>
                <a:gd name="connsiteX5" fmla="*/ 237676 w 353555"/>
                <a:gd name="connsiteY5" fmla="*/ 716335 h 761503"/>
                <a:gd name="connsiteX6" fmla="*/ 180563 w 353555"/>
                <a:gd name="connsiteY6" fmla="*/ 719054 h 761503"/>
                <a:gd name="connsiteX7" fmla="*/ 126170 w 353555"/>
                <a:gd name="connsiteY7" fmla="*/ 719054 h 761503"/>
                <a:gd name="connsiteX8" fmla="*/ 101693 w 353555"/>
                <a:gd name="connsiteY8" fmla="*/ 719054 h 761503"/>
                <a:gd name="connsiteX9" fmla="*/ 74496 w 353555"/>
                <a:gd name="connsiteY9" fmla="*/ 713615 h 761503"/>
                <a:gd name="connsiteX10" fmla="*/ 58178 w 353555"/>
                <a:gd name="connsiteY10" fmla="*/ 697297 h 761503"/>
                <a:gd name="connsiteX11" fmla="*/ 63617 w 353555"/>
                <a:gd name="connsiteY11" fmla="*/ 689138 h 761503"/>
                <a:gd name="connsiteX12" fmla="*/ 85375 w 353555"/>
                <a:gd name="connsiteY12" fmla="*/ 680979 h 761503"/>
                <a:gd name="connsiteX13" fmla="*/ 131609 w 353555"/>
                <a:gd name="connsiteY13" fmla="*/ 675540 h 761503"/>
                <a:gd name="connsiteX14" fmla="*/ 142488 w 353555"/>
                <a:gd name="connsiteY14" fmla="*/ 675540 h 761503"/>
                <a:gd name="connsiteX15" fmla="*/ 131609 w 353555"/>
                <a:gd name="connsiteY15" fmla="*/ 653783 h 761503"/>
                <a:gd name="connsiteX16" fmla="*/ 128889 w 353555"/>
                <a:gd name="connsiteY16" fmla="*/ 640184 h 761503"/>
                <a:gd name="connsiteX17" fmla="*/ 128889 w 353555"/>
                <a:gd name="connsiteY17" fmla="*/ 629306 h 761503"/>
                <a:gd name="connsiteX18" fmla="*/ 128889 w 353555"/>
                <a:gd name="connsiteY18" fmla="*/ 621147 h 761503"/>
                <a:gd name="connsiteX19" fmla="*/ 128889 w 353555"/>
                <a:gd name="connsiteY19" fmla="*/ 593950 h 761503"/>
                <a:gd name="connsiteX20" fmla="*/ 128889 w 353555"/>
                <a:gd name="connsiteY20" fmla="*/ 583072 h 761503"/>
                <a:gd name="connsiteX21" fmla="*/ 128889 w 353555"/>
                <a:gd name="connsiteY21" fmla="*/ 436210 h 761503"/>
                <a:gd name="connsiteX22" fmla="*/ 128889 w 353555"/>
                <a:gd name="connsiteY22" fmla="*/ 357340 h 761503"/>
                <a:gd name="connsiteX23" fmla="*/ 131609 w 353555"/>
                <a:gd name="connsiteY23" fmla="*/ 289349 h 761503"/>
                <a:gd name="connsiteX24" fmla="*/ 131609 w 353555"/>
                <a:gd name="connsiteY24" fmla="*/ 251274 h 761503"/>
                <a:gd name="connsiteX25" fmla="*/ 131609 w 353555"/>
                <a:gd name="connsiteY25" fmla="*/ 205040 h 761503"/>
                <a:gd name="connsiteX26" fmla="*/ 131609 w 353555"/>
                <a:gd name="connsiteY26" fmla="*/ 139768 h 761503"/>
                <a:gd name="connsiteX27" fmla="*/ 131609 w 353555"/>
                <a:gd name="connsiteY27" fmla="*/ 128889 h 761503"/>
                <a:gd name="connsiteX28" fmla="*/ 126170 w 353555"/>
                <a:gd name="connsiteY28" fmla="*/ 128889 h 761503"/>
                <a:gd name="connsiteX29" fmla="*/ 101693 w 353555"/>
                <a:gd name="connsiteY29" fmla="*/ 128889 h 761503"/>
                <a:gd name="connsiteX30" fmla="*/ 74496 w 353555"/>
                <a:gd name="connsiteY30" fmla="*/ 123450 h 761503"/>
                <a:gd name="connsiteX31" fmla="*/ 58178 w 353555"/>
                <a:gd name="connsiteY31" fmla="*/ 107132 h 761503"/>
                <a:gd name="connsiteX32" fmla="*/ 60898 w 353555"/>
                <a:gd name="connsiteY32" fmla="*/ 98973 h 761503"/>
                <a:gd name="connsiteX33" fmla="*/ 82655 w 353555"/>
                <a:gd name="connsiteY33" fmla="*/ 93534 h 761503"/>
                <a:gd name="connsiteX34" fmla="*/ 131609 w 353555"/>
                <a:gd name="connsiteY34" fmla="*/ 88094 h 761503"/>
                <a:gd name="connsiteX35" fmla="*/ 131609 w 353555"/>
                <a:gd name="connsiteY35" fmla="*/ 82655 h 761503"/>
                <a:gd name="connsiteX36" fmla="*/ 134329 w 353555"/>
                <a:gd name="connsiteY36" fmla="*/ 71776 h 761503"/>
                <a:gd name="connsiteX37" fmla="*/ 147927 w 353555"/>
                <a:gd name="connsiteY37" fmla="*/ 63617 h 761503"/>
                <a:gd name="connsiteX38" fmla="*/ 164245 w 353555"/>
                <a:gd name="connsiteY38" fmla="*/ 58178 h 761503"/>
                <a:gd name="connsiteX39" fmla="*/ 177843 w 353555"/>
                <a:gd name="connsiteY39" fmla="*/ 58178 h 761503"/>
                <a:gd name="connsiteX40" fmla="*/ 196881 w 353555"/>
                <a:gd name="connsiteY40" fmla="*/ 60898 h 761503"/>
                <a:gd name="connsiteX41" fmla="*/ 232236 w 353555"/>
                <a:gd name="connsiteY41" fmla="*/ 88094 h 761503"/>
                <a:gd name="connsiteX42" fmla="*/ 278471 w 353555"/>
                <a:gd name="connsiteY42" fmla="*/ 88094 h 761503"/>
                <a:gd name="connsiteX43" fmla="*/ 316546 w 353555"/>
                <a:gd name="connsiteY43" fmla="*/ 104412 h 761503"/>
                <a:gd name="connsiteX44" fmla="*/ 311106 w 353555"/>
                <a:gd name="connsiteY44" fmla="*/ 120730 h 761503"/>
                <a:gd name="connsiteX45" fmla="*/ 294788 w 353555"/>
                <a:gd name="connsiteY45" fmla="*/ 128889 h 761503"/>
                <a:gd name="connsiteX46" fmla="*/ 273031 w 353555"/>
                <a:gd name="connsiteY46" fmla="*/ 131609 h 761503"/>
                <a:gd name="connsiteX47" fmla="*/ 243115 w 353555"/>
                <a:gd name="connsiteY47" fmla="*/ 131609 h 761503"/>
                <a:gd name="connsiteX48" fmla="*/ 243115 w 353555"/>
                <a:gd name="connsiteY48" fmla="*/ 134329 h 761503"/>
                <a:gd name="connsiteX49" fmla="*/ 248554 w 353555"/>
                <a:gd name="connsiteY49" fmla="*/ 169684 h 761503"/>
                <a:gd name="connsiteX50" fmla="*/ 251274 w 353555"/>
                <a:gd name="connsiteY50" fmla="*/ 205040 h 761503"/>
                <a:gd name="connsiteX51" fmla="*/ 251274 w 353555"/>
                <a:gd name="connsiteY51" fmla="*/ 240395 h 761503"/>
                <a:gd name="connsiteX52" fmla="*/ 251274 w 353555"/>
                <a:gd name="connsiteY52" fmla="*/ 256713 h 761503"/>
                <a:gd name="connsiteX53" fmla="*/ 253994 w 353555"/>
                <a:gd name="connsiteY53" fmla="*/ 270311 h 761503"/>
                <a:gd name="connsiteX54" fmla="*/ 259433 w 353555"/>
                <a:gd name="connsiteY54" fmla="*/ 343742 h 761503"/>
                <a:gd name="connsiteX55" fmla="*/ 262153 w 353555"/>
                <a:gd name="connsiteY55" fmla="*/ 425332 h 761503"/>
                <a:gd name="connsiteX56" fmla="*/ 264872 w 353555"/>
                <a:gd name="connsiteY56" fmla="*/ 490603 h 761503"/>
                <a:gd name="connsiteX57" fmla="*/ 270312 w 353555"/>
                <a:gd name="connsiteY57" fmla="*/ 564034 h 761503"/>
                <a:gd name="connsiteX58" fmla="*/ 270312 w 353555"/>
                <a:gd name="connsiteY58" fmla="*/ 599390 h 761503"/>
                <a:gd name="connsiteX59" fmla="*/ 270312 w 353555"/>
                <a:gd name="connsiteY59" fmla="*/ 637465 h 761503"/>
                <a:gd name="connsiteX60" fmla="*/ 264872 w 353555"/>
                <a:gd name="connsiteY60" fmla="*/ 670101 h 761503"/>
                <a:gd name="connsiteX61" fmla="*/ 283910 w 353555"/>
                <a:gd name="connsiteY61" fmla="*/ 672820 h 761503"/>
                <a:gd name="connsiteX62" fmla="*/ 283910 w 353555"/>
                <a:gd name="connsiteY62" fmla="*/ 672820 h 761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</a:cxnLst>
              <a:rect l="l" t="t" r="r" b="b"/>
              <a:pathLst>
                <a:path w="353555" h="761503">
                  <a:moveTo>
                    <a:pt x="283910" y="672820"/>
                  </a:moveTo>
                  <a:cubicBezTo>
                    <a:pt x="297508" y="672820"/>
                    <a:pt x="321985" y="672820"/>
                    <a:pt x="321985" y="689138"/>
                  </a:cubicBezTo>
                  <a:cubicBezTo>
                    <a:pt x="321985" y="697297"/>
                    <a:pt x="319265" y="697297"/>
                    <a:pt x="316546" y="705456"/>
                  </a:cubicBezTo>
                  <a:cubicBezTo>
                    <a:pt x="311106" y="710895"/>
                    <a:pt x="305667" y="713615"/>
                    <a:pt x="300228" y="713615"/>
                  </a:cubicBezTo>
                  <a:cubicBezTo>
                    <a:pt x="292069" y="716335"/>
                    <a:pt x="283910" y="716335"/>
                    <a:pt x="278471" y="716335"/>
                  </a:cubicBezTo>
                  <a:cubicBezTo>
                    <a:pt x="275751" y="716335"/>
                    <a:pt x="256713" y="716335"/>
                    <a:pt x="237676" y="716335"/>
                  </a:cubicBezTo>
                  <a:cubicBezTo>
                    <a:pt x="213199" y="716335"/>
                    <a:pt x="186002" y="719054"/>
                    <a:pt x="180563" y="719054"/>
                  </a:cubicBezTo>
                  <a:cubicBezTo>
                    <a:pt x="166965" y="719054"/>
                    <a:pt x="142488" y="719054"/>
                    <a:pt x="126170" y="719054"/>
                  </a:cubicBezTo>
                  <a:cubicBezTo>
                    <a:pt x="118011" y="719054"/>
                    <a:pt x="109852" y="719054"/>
                    <a:pt x="101693" y="719054"/>
                  </a:cubicBezTo>
                  <a:cubicBezTo>
                    <a:pt x="93534" y="719054"/>
                    <a:pt x="82655" y="719054"/>
                    <a:pt x="74496" y="713615"/>
                  </a:cubicBezTo>
                  <a:cubicBezTo>
                    <a:pt x="66337" y="710895"/>
                    <a:pt x="58178" y="702736"/>
                    <a:pt x="58178" y="697297"/>
                  </a:cubicBezTo>
                  <a:cubicBezTo>
                    <a:pt x="58178" y="694578"/>
                    <a:pt x="58178" y="691858"/>
                    <a:pt x="63617" y="689138"/>
                  </a:cubicBezTo>
                  <a:cubicBezTo>
                    <a:pt x="69057" y="686418"/>
                    <a:pt x="79935" y="683699"/>
                    <a:pt x="85375" y="680979"/>
                  </a:cubicBezTo>
                  <a:cubicBezTo>
                    <a:pt x="104412" y="678260"/>
                    <a:pt x="123450" y="675540"/>
                    <a:pt x="131609" y="675540"/>
                  </a:cubicBezTo>
                  <a:cubicBezTo>
                    <a:pt x="134329" y="675540"/>
                    <a:pt x="137048" y="675540"/>
                    <a:pt x="142488" y="675540"/>
                  </a:cubicBezTo>
                  <a:cubicBezTo>
                    <a:pt x="134329" y="670101"/>
                    <a:pt x="131609" y="661942"/>
                    <a:pt x="131609" y="653783"/>
                  </a:cubicBezTo>
                  <a:cubicBezTo>
                    <a:pt x="131609" y="648343"/>
                    <a:pt x="131609" y="642904"/>
                    <a:pt x="128889" y="640184"/>
                  </a:cubicBezTo>
                  <a:cubicBezTo>
                    <a:pt x="128889" y="637465"/>
                    <a:pt x="128889" y="634745"/>
                    <a:pt x="128889" y="629306"/>
                  </a:cubicBezTo>
                  <a:cubicBezTo>
                    <a:pt x="128889" y="626586"/>
                    <a:pt x="128889" y="623867"/>
                    <a:pt x="128889" y="621147"/>
                  </a:cubicBezTo>
                  <a:cubicBezTo>
                    <a:pt x="128889" y="612988"/>
                    <a:pt x="128889" y="604829"/>
                    <a:pt x="128889" y="593950"/>
                  </a:cubicBezTo>
                  <a:cubicBezTo>
                    <a:pt x="128889" y="591231"/>
                    <a:pt x="128889" y="585791"/>
                    <a:pt x="128889" y="583072"/>
                  </a:cubicBezTo>
                  <a:cubicBezTo>
                    <a:pt x="128889" y="534118"/>
                    <a:pt x="131609" y="485164"/>
                    <a:pt x="128889" y="436210"/>
                  </a:cubicBezTo>
                  <a:cubicBezTo>
                    <a:pt x="128889" y="409014"/>
                    <a:pt x="128889" y="384537"/>
                    <a:pt x="128889" y="357340"/>
                  </a:cubicBezTo>
                  <a:cubicBezTo>
                    <a:pt x="128889" y="335583"/>
                    <a:pt x="131609" y="313826"/>
                    <a:pt x="131609" y="289349"/>
                  </a:cubicBezTo>
                  <a:cubicBezTo>
                    <a:pt x="131609" y="275751"/>
                    <a:pt x="131609" y="264872"/>
                    <a:pt x="131609" y="251274"/>
                  </a:cubicBezTo>
                  <a:cubicBezTo>
                    <a:pt x="131609" y="234956"/>
                    <a:pt x="131609" y="221357"/>
                    <a:pt x="131609" y="205040"/>
                  </a:cubicBezTo>
                  <a:cubicBezTo>
                    <a:pt x="131609" y="183282"/>
                    <a:pt x="131609" y="161525"/>
                    <a:pt x="131609" y="139768"/>
                  </a:cubicBezTo>
                  <a:cubicBezTo>
                    <a:pt x="131609" y="137048"/>
                    <a:pt x="131609" y="134329"/>
                    <a:pt x="131609" y="128889"/>
                  </a:cubicBezTo>
                  <a:cubicBezTo>
                    <a:pt x="128889" y="128889"/>
                    <a:pt x="126170" y="128889"/>
                    <a:pt x="126170" y="128889"/>
                  </a:cubicBezTo>
                  <a:cubicBezTo>
                    <a:pt x="118011" y="128889"/>
                    <a:pt x="109852" y="128889"/>
                    <a:pt x="101693" y="128889"/>
                  </a:cubicBezTo>
                  <a:cubicBezTo>
                    <a:pt x="93534" y="128889"/>
                    <a:pt x="82655" y="128889"/>
                    <a:pt x="74496" y="123450"/>
                  </a:cubicBezTo>
                  <a:cubicBezTo>
                    <a:pt x="66337" y="120730"/>
                    <a:pt x="58178" y="112571"/>
                    <a:pt x="58178" y="107132"/>
                  </a:cubicBezTo>
                  <a:cubicBezTo>
                    <a:pt x="58178" y="104412"/>
                    <a:pt x="58178" y="101693"/>
                    <a:pt x="60898" y="98973"/>
                  </a:cubicBezTo>
                  <a:cubicBezTo>
                    <a:pt x="63617" y="96253"/>
                    <a:pt x="77216" y="93534"/>
                    <a:pt x="82655" y="93534"/>
                  </a:cubicBezTo>
                  <a:cubicBezTo>
                    <a:pt x="98973" y="90814"/>
                    <a:pt x="123450" y="88094"/>
                    <a:pt x="131609" y="88094"/>
                  </a:cubicBezTo>
                  <a:cubicBezTo>
                    <a:pt x="131609" y="85375"/>
                    <a:pt x="131609" y="85375"/>
                    <a:pt x="131609" y="82655"/>
                  </a:cubicBezTo>
                  <a:cubicBezTo>
                    <a:pt x="131609" y="77216"/>
                    <a:pt x="131609" y="74496"/>
                    <a:pt x="134329" y="71776"/>
                  </a:cubicBezTo>
                  <a:cubicBezTo>
                    <a:pt x="137048" y="69057"/>
                    <a:pt x="145207" y="66337"/>
                    <a:pt x="147927" y="63617"/>
                  </a:cubicBezTo>
                  <a:cubicBezTo>
                    <a:pt x="153366" y="60898"/>
                    <a:pt x="158806" y="58178"/>
                    <a:pt x="164245" y="58178"/>
                  </a:cubicBezTo>
                  <a:cubicBezTo>
                    <a:pt x="169684" y="58178"/>
                    <a:pt x="175123" y="58178"/>
                    <a:pt x="177843" y="58178"/>
                  </a:cubicBezTo>
                  <a:cubicBezTo>
                    <a:pt x="183283" y="58178"/>
                    <a:pt x="191442" y="58178"/>
                    <a:pt x="196881" y="60898"/>
                  </a:cubicBezTo>
                  <a:cubicBezTo>
                    <a:pt x="213199" y="63617"/>
                    <a:pt x="224077" y="74496"/>
                    <a:pt x="232236" y="88094"/>
                  </a:cubicBezTo>
                  <a:cubicBezTo>
                    <a:pt x="253994" y="88094"/>
                    <a:pt x="270312" y="88094"/>
                    <a:pt x="278471" y="88094"/>
                  </a:cubicBezTo>
                  <a:cubicBezTo>
                    <a:pt x="292069" y="88094"/>
                    <a:pt x="316546" y="88094"/>
                    <a:pt x="316546" y="104412"/>
                  </a:cubicBezTo>
                  <a:cubicBezTo>
                    <a:pt x="316546" y="112571"/>
                    <a:pt x="313826" y="112571"/>
                    <a:pt x="311106" y="120730"/>
                  </a:cubicBezTo>
                  <a:cubicBezTo>
                    <a:pt x="305667" y="126170"/>
                    <a:pt x="300228" y="128889"/>
                    <a:pt x="294788" y="128889"/>
                  </a:cubicBezTo>
                  <a:cubicBezTo>
                    <a:pt x="286630" y="131609"/>
                    <a:pt x="278471" y="131609"/>
                    <a:pt x="273031" y="131609"/>
                  </a:cubicBezTo>
                  <a:cubicBezTo>
                    <a:pt x="270312" y="131609"/>
                    <a:pt x="259433" y="131609"/>
                    <a:pt x="243115" y="131609"/>
                  </a:cubicBezTo>
                  <a:lnTo>
                    <a:pt x="243115" y="134329"/>
                  </a:lnTo>
                  <a:cubicBezTo>
                    <a:pt x="245835" y="145207"/>
                    <a:pt x="245835" y="158805"/>
                    <a:pt x="248554" y="169684"/>
                  </a:cubicBezTo>
                  <a:cubicBezTo>
                    <a:pt x="251274" y="180563"/>
                    <a:pt x="251274" y="194161"/>
                    <a:pt x="251274" y="205040"/>
                  </a:cubicBezTo>
                  <a:cubicBezTo>
                    <a:pt x="251274" y="215918"/>
                    <a:pt x="251274" y="226797"/>
                    <a:pt x="251274" y="240395"/>
                  </a:cubicBezTo>
                  <a:cubicBezTo>
                    <a:pt x="251274" y="245834"/>
                    <a:pt x="251274" y="251274"/>
                    <a:pt x="251274" y="256713"/>
                  </a:cubicBezTo>
                  <a:cubicBezTo>
                    <a:pt x="251274" y="262152"/>
                    <a:pt x="251274" y="267592"/>
                    <a:pt x="253994" y="270311"/>
                  </a:cubicBezTo>
                  <a:cubicBezTo>
                    <a:pt x="256713" y="294788"/>
                    <a:pt x="256713" y="319265"/>
                    <a:pt x="259433" y="343742"/>
                  </a:cubicBezTo>
                  <a:cubicBezTo>
                    <a:pt x="259433" y="370939"/>
                    <a:pt x="262153" y="398135"/>
                    <a:pt x="262153" y="425332"/>
                  </a:cubicBezTo>
                  <a:cubicBezTo>
                    <a:pt x="262153" y="447089"/>
                    <a:pt x="262153" y="468846"/>
                    <a:pt x="264872" y="490603"/>
                  </a:cubicBezTo>
                  <a:cubicBezTo>
                    <a:pt x="264872" y="515080"/>
                    <a:pt x="270312" y="539557"/>
                    <a:pt x="270312" y="564034"/>
                  </a:cubicBezTo>
                  <a:cubicBezTo>
                    <a:pt x="270312" y="574913"/>
                    <a:pt x="270312" y="588511"/>
                    <a:pt x="270312" y="599390"/>
                  </a:cubicBezTo>
                  <a:cubicBezTo>
                    <a:pt x="270312" y="612988"/>
                    <a:pt x="270312" y="623867"/>
                    <a:pt x="270312" y="637465"/>
                  </a:cubicBezTo>
                  <a:cubicBezTo>
                    <a:pt x="270312" y="648343"/>
                    <a:pt x="270312" y="661942"/>
                    <a:pt x="264872" y="670101"/>
                  </a:cubicBezTo>
                  <a:cubicBezTo>
                    <a:pt x="273031" y="672820"/>
                    <a:pt x="278471" y="672820"/>
                    <a:pt x="283910" y="672820"/>
                  </a:cubicBezTo>
                  <a:lnTo>
                    <a:pt x="283910" y="672820"/>
                  </a:ln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/>
            </a:p>
          </p:txBody>
        </p:sp>
        <p:sp>
          <p:nvSpPr>
            <p:cNvPr id="41" name="Freeform: Shape 40">
              <a:extLst>
                <a:ext uri="{FF2B5EF4-FFF2-40B4-BE49-F238E27FC236}">
                  <a16:creationId xmlns:a16="http://schemas.microsoft.com/office/drawing/2014/main" id="{CEB171C0-39DF-4126-908F-1BDD3AE88255}"/>
                </a:ext>
              </a:extLst>
            </p:cNvPr>
            <p:cNvSpPr/>
            <p:nvPr/>
          </p:nvSpPr>
          <p:spPr>
            <a:xfrm>
              <a:off x="4620880" y="4194877"/>
              <a:ext cx="598325" cy="761503"/>
            </a:xfrm>
            <a:custGeom>
              <a:avLst/>
              <a:gdLst>
                <a:gd name="connsiteX0" fmla="*/ 515081 w 598324"/>
                <a:gd name="connsiteY0" fmla="*/ 79935 h 761503"/>
                <a:gd name="connsiteX1" fmla="*/ 542277 w 598324"/>
                <a:gd name="connsiteY1" fmla="*/ 96253 h 761503"/>
                <a:gd name="connsiteX2" fmla="*/ 536838 w 598324"/>
                <a:gd name="connsiteY2" fmla="*/ 112571 h 761503"/>
                <a:gd name="connsiteX3" fmla="*/ 523240 w 598324"/>
                <a:gd name="connsiteY3" fmla="*/ 120730 h 761503"/>
                <a:gd name="connsiteX4" fmla="*/ 506922 w 598324"/>
                <a:gd name="connsiteY4" fmla="*/ 123450 h 761503"/>
                <a:gd name="connsiteX5" fmla="*/ 477006 w 598324"/>
                <a:gd name="connsiteY5" fmla="*/ 123450 h 761503"/>
                <a:gd name="connsiteX6" fmla="*/ 479725 w 598324"/>
                <a:gd name="connsiteY6" fmla="*/ 145207 h 761503"/>
                <a:gd name="connsiteX7" fmla="*/ 477006 w 598324"/>
                <a:gd name="connsiteY7" fmla="*/ 180563 h 761503"/>
                <a:gd name="connsiteX8" fmla="*/ 482445 w 598324"/>
                <a:gd name="connsiteY8" fmla="*/ 232236 h 761503"/>
                <a:gd name="connsiteX9" fmla="*/ 485165 w 598324"/>
                <a:gd name="connsiteY9" fmla="*/ 283909 h 761503"/>
                <a:gd name="connsiteX10" fmla="*/ 485165 w 598324"/>
                <a:gd name="connsiteY10" fmla="*/ 327424 h 761503"/>
                <a:gd name="connsiteX11" fmla="*/ 487884 w 598324"/>
                <a:gd name="connsiteY11" fmla="*/ 373658 h 761503"/>
                <a:gd name="connsiteX12" fmla="*/ 485165 w 598324"/>
                <a:gd name="connsiteY12" fmla="*/ 419892 h 761503"/>
                <a:gd name="connsiteX13" fmla="*/ 485165 w 598324"/>
                <a:gd name="connsiteY13" fmla="*/ 463407 h 761503"/>
                <a:gd name="connsiteX14" fmla="*/ 482445 w 598324"/>
                <a:gd name="connsiteY14" fmla="*/ 515080 h 761503"/>
                <a:gd name="connsiteX15" fmla="*/ 482445 w 598324"/>
                <a:gd name="connsiteY15" fmla="*/ 558595 h 761503"/>
                <a:gd name="connsiteX16" fmla="*/ 479725 w 598324"/>
                <a:gd name="connsiteY16" fmla="*/ 602109 h 761503"/>
                <a:gd name="connsiteX17" fmla="*/ 485165 w 598324"/>
                <a:gd name="connsiteY17" fmla="*/ 648343 h 761503"/>
                <a:gd name="connsiteX18" fmla="*/ 474286 w 598324"/>
                <a:gd name="connsiteY18" fmla="*/ 675540 h 761503"/>
                <a:gd name="connsiteX19" fmla="*/ 428052 w 598324"/>
                <a:gd name="connsiteY19" fmla="*/ 691858 h 761503"/>
                <a:gd name="connsiteX20" fmla="*/ 387257 w 598324"/>
                <a:gd name="connsiteY20" fmla="*/ 683699 h 761503"/>
                <a:gd name="connsiteX21" fmla="*/ 351901 w 598324"/>
                <a:gd name="connsiteY21" fmla="*/ 664661 h 761503"/>
                <a:gd name="connsiteX22" fmla="*/ 305667 w 598324"/>
                <a:gd name="connsiteY22" fmla="*/ 596670 h 761503"/>
                <a:gd name="connsiteX23" fmla="*/ 270312 w 598324"/>
                <a:gd name="connsiteY23" fmla="*/ 509641 h 761503"/>
                <a:gd name="connsiteX24" fmla="*/ 251274 w 598324"/>
                <a:gd name="connsiteY24" fmla="*/ 460687 h 761503"/>
                <a:gd name="connsiteX25" fmla="*/ 224077 w 598324"/>
                <a:gd name="connsiteY25" fmla="*/ 381817 h 761503"/>
                <a:gd name="connsiteX26" fmla="*/ 207759 w 598324"/>
                <a:gd name="connsiteY26" fmla="*/ 330144 h 761503"/>
                <a:gd name="connsiteX27" fmla="*/ 191442 w 598324"/>
                <a:gd name="connsiteY27" fmla="*/ 286629 h 761503"/>
                <a:gd name="connsiteX28" fmla="*/ 183283 w 598324"/>
                <a:gd name="connsiteY28" fmla="*/ 278470 h 761503"/>
                <a:gd name="connsiteX29" fmla="*/ 180563 w 598324"/>
                <a:gd name="connsiteY29" fmla="*/ 292068 h 761503"/>
                <a:gd name="connsiteX30" fmla="*/ 180563 w 598324"/>
                <a:gd name="connsiteY30" fmla="*/ 305667 h 761503"/>
                <a:gd name="connsiteX31" fmla="*/ 183283 w 598324"/>
                <a:gd name="connsiteY31" fmla="*/ 354620 h 761503"/>
                <a:gd name="connsiteX32" fmla="*/ 188722 w 598324"/>
                <a:gd name="connsiteY32" fmla="*/ 449808 h 761503"/>
                <a:gd name="connsiteX33" fmla="*/ 188722 w 598324"/>
                <a:gd name="connsiteY33" fmla="*/ 479725 h 761503"/>
                <a:gd name="connsiteX34" fmla="*/ 188722 w 598324"/>
                <a:gd name="connsiteY34" fmla="*/ 542277 h 761503"/>
                <a:gd name="connsiteX35" fmla="*/ 186002 w 598324"/>
                <a:gd name="connsiteY35" fmla="*/ 615708 h 761503"/>
                <a:gd name="connsiteX36" fmla="*/ 186002 w 598324"/>
                <a:gd name="connsiteY36" fmla="*/ 637465 h 761503"/>
                <a:gd name="connsiteX37" fmla="*/ 183283 w 598324"/>
                <a:gd name="connsiteY37" fmla="*/ 664661 h 761503"/>
                <a:gd name="connsiteX38" fmla="*/ 226797 w 598324"/>
                <a:gd name="connsiteY38" fmla="*/ 664661 h 761503"/>
                <a:gd name="connsiteX39" fmla="*/ 253994 w 598324"/>
                <a:gd name="connsiteY39" fmla="*/ 680979 h 761503"/>
                <a:gd name="connsiteX40" fmla="*/ 248554 w 598324"/>
                <a:gd name="connsiteY40" fmla="*/ 697297 h 761503"/>
                <a:gd name="connsiteX41" fmla="*/ 234956 w 598324"/>
                <a:gd name="connsiteY41" fmla="*/ 705456 h 761503"/>
                <a:gd name="connsiteX42" fmla="*/ 218638 w 598324"/>
                <a:gd name="connsiteY42" fmla="*/ 708176 h 761503"/>
                <a:gd name="connsiteX43" fmla="*/ 183283 w 598324"/>
                <a:gd name="connsiteY43" fmla="*/ 708176 h 761503"/>
                <a:gd name="connsiteX44" fmla="*/ 150647 w 598324"/>
                <a:gd name="connsiteY44" fmla="*/ 708176 h 761503"/>
                <a:gd name="connsiteX45" fmla="*/ 107132 w 598324"/>
                <a:gd name="connsiteY45" fmla="*/ 708176 h 761503"/>
                <a:gd name="connsiteX46" fmla="*/ 88094 w 598324"/>
                <a:gd name="connsiteY46" fmla="*/ 708176 h 761503"/>
                <a:gd name="connsiteX47" fmla="*/ 69057 w 598324"/>
                <a:gd name="connsiteY47" fmla="*/ 702736 h 761503"/>
                <a:gd name="connsiteX48" fmla="*/ 58178 w 598324"/>
                <a:gd name="connsiteY48" fmla="*/ 686418 h 761503"/>
                <a:gd name="connsiteX49" fmla="*/ 60898 w 598324"/>
                <a:gd name="connsiteY49" fmla="*/ 678259 h 761503"/>
                <a:gd name="connsiteX50" fmla="*/ 77216 w 598324"/>
                <a:gd name="connsiteY50" fmla="*/ 670101 h 761503"/>
                <a:gd name="connsiteX51" fmla="*/ 120730 w 598324"/>
                <a:gd name="connsiteY51" fmla="*/ 664661 h 761503"/>
                <a:gd name="connsiteX52" fmla="*/ 131609 w 598324"/>
                <a:gd name="connsiteY52" fmla="*/ 664661 h 761503"/>
                <a:gd name="connsiteX53" fmla="*/ 134329 w 598324"/>
                <a:gd name="connsiteY53" fmla="*/ 539557 h 761503"/>
                <a:gd name="connsiteX54" fmla="*/ 134329 w 598324"/>
                <a:gd name="connsiteY54" fmla="*/ 504201 h 761503"/>
                <a:gd name="connsiteX55" fmla="*/ 131609 w 598324"/>
                <a:gd name="connsiteY55" fmla="*/ 376378 h 761503"/>
                <a:gd name="connsiteX56" fmla="*/ 131609 w 598324"/>
                <a:gd name="connsiteY56" fmla="*/ 302947 h 761503"/>
                <a:gd name="connsiteX57" fmla="*/ 134329 w 598324"/>
                <a:gd name="connsiteY57" fmla="*/ 221357 h 761503"/>
                <a:gd name="connsiteX58" fmla="*/ 137048 w 598324"/>
                <a:gd name="connsiteY58" fmla="*/ 123450 h 761503"/>
                <a:gd name="connsiteX59" fmla="*/ 107132 w 598324"/>
                <a:gd name="connsiteY59" fmla="*/ 123450 h 761503"/>
                <a:gd name="connsiteX60" fmla="*/ 88094 w 598324"/>
                <a:gd name="connsiteY60" fmla="*/ 123450 h 761503"/>
                <a:gd name="connsiteX61" fmla="*/ 69057 w 598324"/>
                <a:gd name="connsiteY61" fmla="*/ 118011 h 761503"/>
                <a:gd name="connsiteX62" fmla="*/ 58178 w 598324"/>
                <a:gd name="connsiteY62" fmla="*/ 101693 h 761503"/>
                <a:gd name="connsiteX63" fmla="*/ 60898 w 598324"/>
                <a:gd name="connsiteY63" fmla="*/ 93534 h 761503"/>
                <a:gd name="connsiteX64" fmla="*/ 77216 w 598324"/>
                <a:gd name="connsiteY64" fmla="*/ 85375 h 761503"/>
                <a:gd name="connsiteX65" fmla="*/ 131609 w 598324"/>
                <a:gd name="connsiteY65" fmla="*/ 79935 h 761503"/>
                <a:gd name="connsiteX66" fmla="*/ 161525 w 598324"/>
                <a:gd name="connsiteY66" fmla="*/ 79935 h 761503"/>
                <a:gd name="connsiteX67" fmla="*/ 177843 w 598324"/>
                <a:gd name="connsiteY67" fmla="*/ 66337 h 761503"/>
                <a:gd name="connsiteX68" fmla="*/ 202320 w 598324"/>
                <a:gd name="connsiteY68" fmla="*/ 58178 h 761503"/>
                <a:gd name="connsiteX69" fmla="*/ 234956 w 598324"/>
                <a:gd name="connsiteY69" fmla="*/ 77216 h 761503"/>
                <a:gd name="connsiteX70" fmla="*/ 251274 w 598324"/>
                <a:gd name="connsiteY70" fmla="*/ 107132 h 761503"/>
                <a:gd name="connsiteX71" fmla="*/ 267592 w 598324"/>
                <a:gd name="connsiteY71" fmla="*/ 147927 h 761503"/>
                <a:gd name="connsiteX72" fmla="*/ 281190 w 598324"/>
                <a:gd name="connsiteY72" fmla="*/ 183282 h 761503"/>
                <a:gd name="connsiteX73" fmla="*/ 297508 w 598324"/>
                <a:gd name="connsiteY73" fmla="*/ 224077 h 761503"/>
                <a:gd name="connsiteX74" fmla="*/ 308387 w 598324"/>
                <a:gd name="connsiteY74" fmla="*/ 264872 h 761503"/>
                <a:gd name="connsiteX75" fmla="*/ 319265 w 598324"/>
                <a:gd name="connsiteY75" fmla="*/ 300227 h 761503"/>
                <a:gd name="connsiteX76" fmla="*/ 351901 w 598324"/>
                <a:gd name="connsiteY76" fmla="*/ 379097 h 761503"/>
                <a:gd name="connsiteX77" fmla="*/ 365500 w 598324"/>
                <a:gd name="connsiteY77" fmla="*/ 417173 h 761503"/>
                <a:gd name="connsiteX78" fmla="*/ 379098 w 598324"/>
                <a:gd name="connsiteY78" fmla="*/ 457967 h 761503"/>
                <a:gd name="connsiteX79" fmla="*/ 395416 w 598324"/>
                <a:gd name="connsiteY79" fmla="*/ 496043 h 761503"/>
                <a:gd name="connsiteX80" fmla="*/ 406294 w 598324"/>
                <a:gd name="connsiteY80" fmla="*/ 512361 h 761503"/>
                <a:gd name="connsiteX81" fmla="*/ 411734 w 598324"/>
                <a:gd name="connsiteY81" fmla="*/ 531398 h 761503"/>
                <a:gd name="connsiteX82" fmla="*/ 419893 w 598324"/>
                <a:gd name="connsiteY82" fmla="*/ 558595 h 761503"/>
                <a:gd name="connsiteX83" fmla="*/ 425332 w 598324"/>
                <a:gd name="connsiteY83" fmla="*/ 564034 h 761503"/>
                <a:gd name="connsiteX84" fmla="*/ 430771 w 598324"/>
                <a:gd name="connsiteY84" fmla="*/ 558595 h 761503"/>
                <a:gd name="connsiteX85" fmla="*/ 430771 w 598324"/>
                <a:gd name="connsiteY85" fmla="*/ 550436 h 761503"/>
                <a:gd name="connsiteX86" fmla="*/ 430771 w 598324"/>
                <a:gd name="connsiteY86" fmla="*/ 501482 h 761503"/>
                <a:gd name="connsiteX87" fmla="*/ 430771 w 598324"/>
                <a:gd name="connsiteY87" fmla="*/ 403574 h 761503"/>
                <a:gd name="connsiteX88" fmla="*/ 425332 w 598324"/>
                <a:gd name="connsiteY88" fmla="*/ 313826 h 761503"/>
                <a:gd name="connsiteX89" fmla="*/ 425332 w 598324"/>
                <a:gd name="connsiteY89" fmla="*/ 248554 h 761503"/>
                <a:gd name="connsiteX90" fmla="*/ 425332 w 598324"/>
                <a:gd name="connsiteY90" fmla="*/ 210479 h 761503"/>
                <a:gd name="connsiteX91" fmla="*/ 422613 w 598324"/>
                <a:gd name="connsiteY91" fmla="*/ 153366 h 761503"/>
                <a:gd name="connsiteX92" fmla="*/ 425332 w 598324"/>
                <a:gd name="connsiteY92" fmla="*/ 123450 h 761503"/>
                <a:gd name="connsiteX93" fmla="*/ 398136 w 598324"/>
                <a:gd name="connsiteY93" fmla="*/ 123450 h 761503"/>
                <a:gd name="connsiteX94" fmla="*/ 379098 w 598324"/>
                <a:gd name="connsiteY94" fmla="*/ 123450 h 761503"/>
                <a:gd name="connsiteX95" fmla="*/ 360060 w 598324"/>
                <a:gd name="connsiteY95" fmla="*/ 118011 h 761503"/>
                <a:gd name="connsiteX96" fmla="*/ 349182 w 598324"/>
                <a:gd name="connsiteY96" fmla="*/ 101693 h 761503"/>
                <a:gd name="connsiteX97" fmla="*/ 351901 w 598324"/>
                <a:gd name="connsiteY97" fmla="*/ 93534 h 761503"/>
                <a:gd name="connsiteX98" fmla="*/ 368219 w 598324"/>
                <a:gd name="connsiteY98" fmla="*/ 85375 h 761503"/>
                <a:gd name="connsiteX99" fmla="*/ 422613 w 598324"/>
                <a:gd name="connsiteY99" fmla="*/ 79935 h 761503"/>
                <a:gd name="connsiteX100" fmla="*/ 444370 w 598324"/>
                <a:gd name="connsiteY100" fmla="*/ 79935 h 761503"/>
                <a:gd name="connsiteX101" fmla="*/ 463407 w 598324"/>
                <a:gd name="connsiteY101" fmla="*/ 71776 h 761503"/>
                <a:gd name="connsiteX102" fmla="*/ 477006 w 598324"/>
                <a:gd name="connsiteY102" fmla="*/ 79935 h 761503"/>
                <a:gd name="connsiteX103" fmla="*/ 515081 w 598324"/>
                <a:gd name="connsiteY103" fmla="*/ 79935 h 761503"/>
                <a:gd name="connsiteX104" fmla="*/ 515081 w 598324"/>
                <a:gd name="connsiteY104" fmla="*/ 79935 h 761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</a:cxnLst>
              <a:rect l="l" t="t" r="r" b="b"/>
              <a:pathLst>
                <a:path w="598324" h="761503">
                  <a:moveTo>
                    <a:pt x="515081" y="79935"/>
                  </a:moveTo>
                  <a:cubicBezTo>
                    <a:pt x="523240" y="79935"/>
                    <a:pt x="542277" y="79935"/>
                    <a:pt x="542277" y="96253"/>
                  </a:cubicBezTo>
                  <a:cubicBezTo>
                    <a:pt x="542277" y="104412"/>
                    <a:pt x="542277" y="107132"/>
                    <a:pt x="536838" y="112571"/>
                  </a:cubicBezTo>
                  <a:cubicBezTo>
                    <a:pt x="534119" y="118011"/>
                    <a:pt x="528679" y="120730"/>
                    <a:pt x="523240" y="120730"/>
                  </a:cubicBezTo>
                  <a:cubicBezTo>
                    <a:pt x="515081" y="123450"/>
                    <a:pt x="512361" y="123450"/>
                    <a:pt x="506922" y="123450"/>
                  </a:cubicBezTo>
                  <a:cubicBezTo>
                    <a:pt x="504202" y="123450"/>
                    <a:pt x="490604" y="123450"/>
                    <a:pt x="477006" y="123450"/>
                  </a:cubicBezTo>
                  <a:cubicBezTo>
                    <a:pt x="477006" y="131609"/>
                    <a:pt x="479725" y="137048"/>
                    <a:pt x="479725" y="145207"/>
                  </a:cubicBezTo>
                  <a:cubicBezTo>
                    <a:pt x="479725" y="156086"/>
                    <a:pt x="477006" y="166964"/>
                    <a:pt x="477006" y="180563"/>
                  </a:cubicBezTo>
                  <a:cubicBezTo>
                    <a:pt x="477006" y="196881"/>
                    <a:pt x="479725" y="215918"/>
                    <a:pt x="482445" y="232236"/>
                  </a:cubicBezTo>
                  <a:cubicBezTo>
                    <a:pt x="485165" y="248554"/>
                    <a:pt x="485165" y="267592"/>
                    <a:pt x="485165" y="283909"/>
                  </a:cubicBezTo>
                  <a:cubicBezTo>
                    <a:pt x="485165" y="297508"/>
                    <a:pt x="485165" y="313826"/>
                    <a:pt x="485165" y="327424"/>
                  </a:cubicBezTo>
                  <a:cubicBezTo>
                    <a:pt x="485165" y="343742"/>
                    <a:pt x="487884" y="357340"/>
                    <a:pt x="487884" y="373658"/>
                  </a:cubicBezTo>
                  <a:cubicBezTo>
                    <a:pt x="487884" y="389976"/>
                    <a:pt x="485165" y="403574"/>
                    <a:pt x="485165" y="419892"/>
                  </a:cubicBezTo>
                  <a:cubicBezTo>
                    <a:pt x="485165" y="436210"/>
                    <a:pt x="485165" y="449808"/>
                    <a:pt x="485165" y="463407"/>
                  </a:cubicBezTo>
                  <a:cubicBezTo>
                    <a:pt x="485165" y="479725"/>
                    <a:pt x="485165" y="498762"/>
                    <a:pt x="482445" y="515080"/>
                  </a:cubicBezTo>
                  <a:cubicBezTo>
                    <a:pt x="482445" y="528678"/>
                    <a:pt x="482445" y="542277"/>
                    <a:pt x="482445" y="558595"/>
                  </a:cubicBezTo>
                  <a:cubicBezTo>
                    <a:pt x="482445" y="572193"/>
                    <a:pt x="479725" y="588511"/>
                    <a:pt x="479725" y="602109"/>
                  </a:cubicBezTo>
                  <a:cubicBezTo>
                    <a:pt x="479725" y="615708"/>
                    <a:pt x="485165" y="632025"/>
                    <a:pt x="485165" y="648343"/>
                  </a:cubicBezTo>
                  <a:cubicBezTo>
                    <a:pt x="485165" y="659222"/>
                    <a:pt x="482445" y="670101"/>
                    <a:pt x="474286" y="675540"/>
                  </a:cubicBezTo>
                  <a:cubicBezTo>
                    <a:pt x="460688" y="686418"/>
                    <a:pt x="444370" y="691858"/>
                    <a:pt x="428052" y="691858"/>
                  </a:cubicBezTo>
                  <a:cubicBezTo>
                    <a:pt x="414453" y="691858"/>
                    <a:pt x="400855" y="689138"/>
                    <a:pt x="387257" y="683699"/>
                  </a:cubicBezTo>
                  <a:cubicBezTo>
                    <a:pt x="373659" y="678259"/>
                    <a:pt x="360060" y="672820"/>
                    <a:pt x="351901" y="664661"/>
                  </a:cubicBezTo>
                  <a:cubicBezTo>
                    <a:pt x="330144" y="645624"/>
                    <a:pt x="316546" y="621147"/>
                    <a:pt x="305667" y="596670"/>
                  </a:cubicBezTo>
                  <a:cubicBezTo>
                    <a:pt x="292069" y="569473"/>
                    <a:pt x="281190" y="539557"/>
                    <a:pt x="270312" y="509641"/>
                  </a:cubicBezTo>
                  <a:cubicBezTo>
                    <a:pt x="264872" y="493323"/>
                    <a:pt x="256713" y="477005"/>
                    <a:pt x="251274" y="460687"/>
                  </a:cubicBezTo>
                  <a:cubicBezTo>
                    <a:pt x="240395" y="433490"/>
                    <a:pt x="232236" y="409014"/>
                    <a:pt x="224077" y="381817"/>
                  </a:cubicBezTo>
                  <a:cubicBezTo>
                    <a:pt x="218638" y="365499"/>
                    <a:pt x="213199" y="346462"/>
                    <a:pt x="207759" y="330144"/>
                  </a:cubicBezTo>
                  <a:cubicBezTo>
                    <a:pt x="202320" y="316545"/>
                    <a:pt x="196881" y="300227"/>
                    <a:pt x="191442" y="286629"/>
                  </a:cubicBezTo>
                  <a:cubicBezTo>
                    <a:pt x="188722" y="281190"/>
                    <a:pt x="186002" y="278470"/>
                    <a:pt x="183283" y="278470"/>
                  </a:cubicBezTo>
                  <a:cubicBezTo>
                    <a:pt x="180563" y="278470"/>
                    <a:pt x="180563" y="286629"/>
                    <a:pt x="180563" y="292068"/>
                  </a:cubicBezTo>
                  <a:cubicBezTo>
                    <a:pt x="180563" y="297508"/>
                    <a:pt x="180563" y="302947"/>
                    <a:pt x="180563" y="305667"/>
                  </a:cubicBezTo>
                  <a:cubicBezTo>
                    <a:pt x="180563" y="321985"/>
                    <a:pt x="183283" y="338303"/>
                    <a:pt x="183283" y="354620"/>
                  </a:cubicBezTo>
                  <a:cubicBezTo>
                    <a:pt x="183283" y="387256"/>
                    <a:pt x="186002" y="417173"/>
                    <a:pt x="188722" y="449808"/>
                  </a:cubicBezTo>
                  <a:cubicBezTo>
                    <a:pt x="188722" y="460687"/>
                    <a:pt x="188722" y="468846"/>
                    <a:pt x="188722" y="479725"/>
                  </a:cubicBezTo>
                  <a:cubicBezTo>
                    <a:pt x="188722" y="501482"/>
                    <a:pt x="188722" y="523239"/>
                    <a:pt x="188722" y="542277"/>
                  </a:cubicBezTo>
                  <a:cubicBezTo>
                    <a:pt x="188722" y="566754"/>
                    <a:pt x="186002" y="591231"/>
                    <a:pt x="186002" y="615708"/>
                  </a:cubicBezTo>
                  <a:cubicBezTo>
                    <a:pt x="186002" y="623866"/>
                    <a:pt x="186002" y="632025"/>
                    <a:pt x="186002" y="637465"/>
                  </a:cubicBezTo>
                  <a:cubicBezTo>
                    <a:pt x="186002" y="645624"/>
                    <a:pt x="183283" y="656502"/>
                    <a:pt x="183283" y="664661"/>
                  </a:cubicBezTo>
                  <a:cubicBezTo>
                    <a:pt x="202320" y="664661"/>
                    <a:pt x="218638" y="664661"/>
                    <a:pt x="226797" y="664661"/>
                  </a:cubicBezTo>
                  <a:cubicBezTo>
                    <a:pt x="234956" y="664661"/>
                    <a:pt x="253994" y="664661"/>
                    <a:pt x="253994" y="680979"/>
                  </a:cubicBezTo>
                  <a:cubicBezTo>
                    <a:pt x="253994" y="689138"/>
                    <a:pt x="253994" y="691858"/>
                    <a:pt x="248554" y="697297"/>
                  </a:cubicBezTo>
                  <a:cubicBezTo>
                    <a:pt x="245835" y="702736"/>
                    <a:pt x="240395" y="705456"/>
                    <a:pt x="234956" y="705456"/>
                  </a:cubicBezTo>
                  <a:cubicBezTo>
                    <a:pt x="226797" y="708176"/>
                    <a:pt x="224077" y="708176"/>
                    <a:pt x="218638" y="708176"/>
                  </a:cubicBezTo>
                  <a:cubicBezTo>
                    <a:pt x="215918" y="708176"/>
                    <a:pt x="199600" y="708176"/>
                    <a:pt x="183283" y="708176"/>
                  </a:cubicBezTo>
                  <a:cubicBezTo>
                    <a:pt x="166965" y="708176"/>
                    <a:pt x="153366" y="708176"/>
                    <a:pt x="150647" y="708176"/>
                  </a:cubicBezTo>
                  <a:cubicBezTo>
                    <a:pt x="139768" y="708176"/>
                    <a:pt x="120730" y="708176"/>
                    <a:pt x="107132" y="708176"/>
                  </a:cubicBezTo>
                  <a:cubicBezTo>
                    <a:pt x="101693" y="708176"/>
                    <a:pt x="96254" y="708176"/>
                    <a:pt x="88094" y="708176"/>
                  </a:cubicBezTo>
                  <a:cubicBezTo>
                    <a:pt x="82655" y="708176"/>
                    <a:pt x="74496" y="708176"/>
                    <a:pt x="69057" y="702736"/>
                  </a:cubicBezTo>
                  <a:cubicBezTo>
                    <a:pt x="63617" y="700017"/>
                    <a:pt x="58178" y="691858"/>
                    <a:pt x="58178" y="686418"/>
                  </a:cubicBezTo>
                  <a:cubicBezTo>
                    <a:pt x="58178" y="683699"/>
                    <a:pt x="58178" y="680979"/>
                    <a:pt x="60898" y="678259"/>
                  </a:cubicBezTo>
                  <a:cubicBezTo>
                    <a:pt x="63617" y="675540"/>
                    <a:pt x="71777" y="672820"/>
                    <a:pt x="77216" y="670101"/>
                  </a:cubicBezTo>
                  <a:cubicBezTo>
                    <a:pt x="90814" y="667381"/>
                    <a:pt x="115291" y="664661"/>
                    <a:pt x="120730" y="664661"/>
                  </a:cubicBezTo>
                  <a:cubicBezTo>
                    <a:pt x="123450" y="664661"/>
                    <a:pt x="126170" y="664661"/>
                    <a:pt x="131609" y="664661"/>
                  </a:cubicBezTo>
                  <a:cubicBezTo>
                    <a:pt x="131609" y="623866"/>
                    <a:pt x="134329" y="583072"/>
                    <a:pt x="134329" y="539557"/>
                  </a:cubicBezTo>
                  <a:cubicBezTo>
                    <a:pt x="134329" y="528678"/>
                    <a:pt x="134329" y="515080"/>
                    <a:pt x="134329" y="504201"/>
                  </a:cubicBezTo>
                  <a:cubicBezTo>
                    <a:pt x="131609" y="460687"/>
                    <a:pt x="131609" y="417173"/>
                    <a:pt x="131609" y="376378"/>
                  </a:cubicBezTo>
                  <a:cubicBezTo>
                    <a:pt x="131609" y="351901"/>
                    <a:pt x="131609" y="327424"/>
                    <a:pt x="131609" y="302947"/>
                  </a:cubicBezTo>
                  <a:cubicBezTo>
                    <a:pt x="131609" y="275751"/>
                    <a:pt x="131609" y="248554"/>
                    <a:pt x="134329" y="221357"/>
                  </a:cubicBezTo>
                  <a:cubicBezTo>
                    <a:pt x="134329" y="188722"/>
                    <a:pt x="137048" y="156086"/>
                    <a:pt x="137048" y="123450"/>
                  </a:cubicBezTo>
                  <a:cubicBezTo>
                    <a:pt x="126170" y="123450"/>
                    <a:pt x="115291" y="123450"/>
                    <a:pt x="107132" y="123450"/>
                  </a:cubicBezTo>
                  <a:cubicBezTo>
                    <a:pt x="101693" y="123450"/>
                    <a:pt x="96254" y="123450"/>
                    <a:pt x="88094" y="123450"/>
                  </a:cubicBezTo>
                  <a:cubicBezTo>
                    <a:pt x="82655" y="123450"/>
                    <a:pt x="74496" y="120730"/>
                    <a:pt x="69057" y="118011"/>
                  </a:cubicBezTo>
                  <a:cubicBezTo>
                    <a:pt x="63617" y="115291"/>
                    <a:pt x="58178" y="107132"/>
                    <a:pt x="58178" y="101693"/>
                  </a:cubicBezTo>
                  <a:cubicBezTo>
                    <a:pt x="58178" y="98973"/>
                    <a:pt x="58178" y="96253"/>
                    <a:pt x="60898" y="93534"/>
                  </a:cubicBezTo>
                  <a:cubicBezTo>
                    <a:pt x="63617" y="90814"/>
                    <a:pt x="71777" y="88094"/>
                    <a:pt x="77216" y="85375"/>
                  </a:cubicBezTo>
                  <a:cubicBezTo>
                    <a:pt x="90814" y="82655"/>
                    <a:pt x="126170" y="79935"/>
                    <a:pt x="131609" y="79935"/>
                  </a:cubicBezTo>
                  <a:cubicBezTo>
                    <a:pt x="137048" y="79935"/>
                    <a:pt x="147927" y="79935"/>
                    <a:pt x="161525" y="79935"/>
                  </a:cubicBezTo>
                  <a:cubicBezTo>
                    <a:pt x="166965" y="74496"/>
                    <a:pt x="172404" y="71776"/>
                    <a:pt x="177843" y="66337"/>
                  </a:cubicBezTo>
                  <a:cubicBezTo>
                    <a:pt x="186002" y="60898"/>
                    <a:pt x="194161" y="58178"/>
                    <a:pt x="202320" y="58178"/>
                  </a:cubicBezTo>
                  <a:cubicBezTo>
                    <a:pt x="215918" y="58178"/>
                    <a:pt x="226797" y="63617"/>
                    <a:pt x="234956" y="77216"/>
                  </a:cubicBezTo>
                  <a:cubicBezTo>
                    <a:pt x="240395" y="88094"/>
                    <a:pt x="248554" y="96253"/>
                    <a:pt x="251274" y="107132"/>
                  </a:cubicBezTo>
                  <a:cubicBezTo>
                    <a:pt x="256713" y="120730"/>
                    <a:pt x="259433" y="134328"/>
                    <a:pt x="267592" y="147927"/>
                  </a:cubicBezTo>
                  <a:cubicBezTo>
                    <a:pt x="273031" y="158805"/>
                    <a:pt x="275751" y="172404"/>
                    <a:pt x="281190" y="183282"/>
                  </a:cubicBezTo>
                  <a:cubicBezTo>
                    <a:pt x="286630" y="196881"/>
                    <a:pt x="292069" y="210479"/>
                    <a:pt x="297508" y="224077"/>
                  </a:cubicBezTo>
                  <a:cubicBezTo>
                    <a:pt x="300228" y="237675"/>
                    <a:pt x="305667" y="251274"/>
                    <a:pt x="308387" y="264872"/>
                  </a:cubicBezTo>
                  <a:cubicBezTo>
                    <a:pt x="311106" y="278470"/>
                    <a:pt x="311106" y="289349"/>
                    <a:pt x="319265" y="300227"/>
                  </a:cubicBezTo>
                  <a:cubicBezTo>
                    <a:pt x="332864" y="324704"/>
                    <a:pt x="346462" y="351901"/>
                    <a:pt x="351901" y="379097"/>
                  </a:cubicBezTo>
                  <a:cubicBezTo>
                    <a:pt x="354621" y="392696"/>
                    <a:pt x="360060" y="403574"/>
                    <a:pt x="365500" y="417173"/>
                  </a:cubicBezTo>
                  <a:cubicBezTo>
                    <a:pt x="373659" y="430771"/>
                    <a:pt x="373659" y="444369"/>
                    <a:pt x="379098" y="457967"/>
                  </a:cubicBezTo>
                  <a:cubicBezTo>
                    <a:pt x="381818" y="471566"/>
                    <a:pt x="387257" y="482444"/>
                    <a:pt x="395416" y="496043"/>
                  </a:cubicBezTo>
                  <a:cubicBezTo>
                    <a:pt x="398136" y="501482"/>
                    <a:pt x="403575" y="506921"/>
                    <a:pt x="406294" y="512361"/>
                  </a:cubicBezTo>
                  <a:cubicBezTo>
                    <a:pt x="409014" y="517800"/>
                    <a:pt x="409014" y="525959"/>
                    <a:pt x="411734" y="531398"/>
                  </a:cubicBezTo>
                  <a:cubicBezTo>
                    <a:pt x="414453" y="539557"/>
                    <a:pt x="417173" y="550436"/>
                    <a:pt x="419893" y="558595"/>
                  </a:cubicBezTo>
                  <a:cubicBezTo>
                    <a:pt x="422613" y="561314"/>
                    <a:pt x="422613" y="564034"/>
                    <a:pt x="425332" y="564034"/>
                  </a:cubicBezTo>
                  <a:cubicBezTo>
                    <a:pt x="428052" y="564034"/>
                    <a:pt x="428052" y="561314"/>
                    <a:pt x="430771" y="558595"/>
                  </a:cubicBezTo>
                  <a:cubicBezTo>
                    <a:pt x="430771" y="555875"/>
                    <a:pt x="430771" y="553155"/>
                    <a:pt x="430771" y="550436"/>
                  </a:cubicBezTo>
                  <a:cubicBezTo>
                    <a:pt x="430771" y="534118"/>
                    <a:pt x="430771" y="517800"/>
                    <a:pt x="430771" y="501482"/>
                  </a:cubicBezTo>
                  <a:cubicBezTo>
                    <a:pt x="430771" y="468846"/>
                    <a:pt x="433491" y="436210"/>
                    <a:pt x="430771" y="403574"/>
                  </a:cubicBezTo>
                  <a:cubicBezTo>
                    <a:pt x="430771" y="373658"/>
                    <a:pt x="425332" y="343742"/>
                    <a:pt x="425332" y="313826"/>
                  </a:cubicBezTo>
                  <a:cubicBezTo>
                    <a:pt x="425332" y="292068"/>
                    <a:pt x="425332" y="270311"/>
                    <a:pt x="425332" y="248554"/>
                  </a:cubicBezTo>
                  <a:cubicBezTo>
                    <a:pt x="425332" y="234956"/>
                    <a:pt x="425332" y="224077"/>
                    <a:pt x="425332" y="210479"/>
                  </a:cubicBezTo>
                  <a:cubicBezTo>
                    <a:pt x="425332" y="191441"/>
                    <a:pt x="422613" y="172404"/>
                    <a:pt x="422613" y="153366"/>
                  </a:cubicBezTo>
                  <a:cubicBezTo>
                    <a:pt x="422613" y="142487"/>
                    <a:pt x="422613" y="134328"/>
                    <a:pt x="425332" y="123450"/>
                  </a:cubicBezTo>
                  <a:cubicBezTo>
                    <a:pt x="417173" y="123450"/>
                    <a:pt x="406294" y="123450"/>
                    <a:pt x="398136" y="123450"/>
                  </a:cubicBezTo>
                  <a:cubicBezTo>
                    <a:pt x="392696" y="123450"/>
                    <a:pt x="387257" y="123450"/>
                    <a:pt x="379098" y="123450"/>
                  </a:cubicBezTo>
                  <a:cubicBezTo>
                    <a:pt x="373659" y="123450"/>
                    <a:pt x="365500" y="120730"/>
                    <a:pt x="360060" y="118011"/>
                  </a:cubicBezTo>
                  <a:cubicBezTo>
                    <a:pt x="354621" y="115291"/>
                    <a:pt x="349182" y="107132"/>
                    <a:pt x="349182" y="101693"/>
                  </a:cubicBezTo>
                  <a:cubicBezTo>
                    <a:pt x="349182" y="98973"/>
                    <a:pt x="349182" y="96253"/>
                    <a:pt x="351901" y="93534"/>
                  </a:cubicBezTo>
                  <a:cubicBezTo>
                    <a:pt x="354621" y="90814"/>
                    <a:pt x="362780" y="88094"/>
                    <a:pt x="368219" y="85375"/>
                  </a:cubicBezTo>
                  <a:cubicBezTo>
                    <a:pt x="381818" y="82655"/>
                    <a:pt x="417173" y="79935"/>
                    <a:pt x="422613" y="79935"/>
                  </a:cubicBezTo>
                  <a:cubicBezTo>
                    <a:pt x="428052" y="79935"/>
                    <a:pt x="433491" y="79935"/>
                    <a:pt x="444370" y="79935"/>
                  </a:cubicBezTo>
                  <a:cubicBezTo>
                    <a:pt x="449809" y="74496"/>
                    <a:pt x="455248" y="71776"/>
                    <a:pt x="463407" y="71776"/>
                  </a:cubicBezTo>
                  <a:cubicBezTo>
                    <a:pt x="471566" y="71776"/>
                    <a:pt x="477006" y="74496"/>
                    <a:pt x="477006" y="79935"/>
                  </a:cubicBezTo>
                  <a:cubicBezTo>
                    <a:pt x="493324" y="79935"/>
                    <a:pt x="506922" y="79935"/>
                    <a:pt x="515081" y="79935"/>
                  </a:cubicBezTo>
                  <a:lnTo>
                    <a:pt x="515081" y="79935"/>
                  </a:ln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/>
            </a:p>
          </p:txBody>
        </p:sp>
        <p:sp>
          <p:nvSpPr>
            <p:cNvPr id="42" name="Freeform: Shape 41">
              <a:extLst>
                <a:ext uri="{FF2B5EF4-FFF2-40B4-BE49-F238E27FC236}">
                  <a16:creationId xmlns:a16="http://schemas.microsoft.com/office/drawing/2014/main" id="{8CD0D9DE-7DB0-4E7B-A767-5428C2F5213D}"/>
                </a:ext>
              </a:extLst>
            </p:cNvPr>
            <p:cNvSpPr/>
            <p:nvPr/>
          </p:nvSpPr>
          <p:spPr>
            <a:xfrm>
              <a:off x="5139126" y="4192158"/>
              <a:ext cx="516735" cy="788700"/>
            </a:xfrm>
            <a:custGeom>
              <a:avLst/>
              <a:gdLst>
                <a:gd name="connsiteX0" fmla="*/ 464616 w 516735"/>
                <a:gd name="connsiteY0" fmla="*/ 436210 h 788699"/>
                <a:gd name="connsiteX1" fmla="*/ 445578 w 516735"/>
                <a:gd name="connsiteY1" fmla="*/ 455248 h 788699"/>
                <a:gd name="connsiteX2" fmla="*/ 404784 w 516735"/>
                <a:gd name="connsiteY2" fmla="*/ 466126 h 788699"/>
                <a:gd name="connsiteX3" fmla="*/ 385746 w 516735"/>
                <a:gd name="connsiteY3" fmla="*/ 479725 h 788699"/>
                <a:gd name="connsiteX4" fmla="*/ 388466 w 516735"/>
                <a:gd name="connsiteY4" fmla="*/ 512361 h 788699"/>
                <a:gd name="connsiteX5" fmla="*/ 388466 w 516735"/>
                <a:gd name="connsiteY5" fmla="*/ 544997 h 788699"/>
                <a:gd name="connsiteX6" fmla="*/ 388466 w 516735"/>
                <a:gd name="connsiteY6" fmla="*/ 566754 h 788699"/>
                <a:gd name="connsiteX7" fmla="*/ 391185 w 516735"/>
                <a:gd name="connsiteY7" fmla="*/ 632026 h 788699"/>
                <a:gd name="connsiteX8" fmla="*/ 393905 w 516735"/>
                <a:gd name="connsiteY8" fmla="*/ 683699 h 788699"/>
                <a:gd name="connsiteX9" fmla="*/ 377587 w 516735"/>
                <a:gd name="connsiteY9" fmla="*/ 724494 h 788699"/>
                <a:gd name="connsiteX10" fmla="*/ 361269 w 516735"/>
                <a:gd name="connsiteY10" fmla="*/ 719054 h 788699"/>
                <a:gd name="connsiteX11" fmla="*/ 353110 w 516735"/>
                <a:gd name="connsiteY11" fmla="*/ 702737 h 788699"/>
                <a:gd name="connsiteX12" fmla="*/ 350390 w 516735"/>
                <a:gd name="connsiteY12" fmla="*/ 686419 h 788699"/>
                <a:gd name="connsiteX13" fmla="*/ 353110 w 516735"/>
                <a:gd name="connsiteY13" fmla="*/ 659222 h 788699"/>
                <a:gd name="connsiteX14" fmla="*/ 353110 w 516735"/>
                <a:gd name="connsiteY14" fmla="*/ 656502 h 788699"/>
                <a:gd name="connsiteX15" fmla="*/ 317755 w 516735"/>
                <a:gd name="connsiteY15" fmla="*/ 708176 h 788699"/>
                <a:gd name="connsiteX16" fmla="*/ 241604 w 516735"/>
                <a:gd name="connsiteY16" fmla="*/ 735372 h 788699"/>
                <a:gd name="connsiteX17" fmla="*/ 187211 w 516735"/>
                <a:gd name="connsiteY17" fmla="*/ 727214 h 788699"/>
                <a:gd name="connsiteX18" fmla="*/ 135538 w 516735"/>
                <a:gd name="connsiteY18" fmla="*/ 694578 h 788699"/>
                <a:gd name="connsiteX19" fmla="*/ 86584 w 516735"/>
                <a:gd name="connsiteY19" fmla="*/ 621147 h 788699"/>
                <a:gd name="connsiteX20" fmla="*/ 67546 w 516735"/>
                <a:gd name="connsiteY20" fmla="*/ 555875 h 788699"/>
                <a:gd name="connsiteX21" fmla="*/ 59387 w 516735"/>
                <a:gd name="connsiteY21" fmla="*/ 509641 h 788699"/>
                <a:gd name="connsiteX22" fmla="*/ 59387 w 516735"/>
                <a:gd name="connsiteY22" fmla="*/ 468846 h 788699"/>
                <a:gd name="connsiteX23" fmla="*/ 86584 w 516735"/>
                <a:gd name="connsiteY23" fmla="*/ 302947 h 788699"/>
                <a:gd name="connsiteX24" fmla="*/ 108341 w 516735"/>
                <a:gd name="connsiteY24" fmla="*/ 224077 h 788699"/>
                <a:gd name="connsiteX25" fmla="*/ 146416 w 516735"/>
                <a:gd name="connsiteY25" fmla="*/ 145207 h 788699"/>
                <a:gd name="connsiteX26" fmla="*/ 198090 w 516735"/>
                <a:gd name="connsiteY26" fmla="*/ 85375 h 788699"/>
                <a:gd name="connsiteX27" fmla="*/ 228006 w 516735"/>
                <a:gd name="connsiteY27" fmla="*/ 69057 h 788699"/>
                <a:gd name="connsiteX28" fmla="*/ 268801 w 516735"/>
                <a:gd name="connsiteY28" fmla="*/ 58178 h 788699"/>
                <a:gd name="connsiteX29" fmla="*/ 274240 w 516735"/>
                <a:gd name="connsiteY29" fmla="*/ 58178 h 788699"/>
                <a:gd name="connsiteX30" fmla="*/ 295997 w 516735"/>
                <a:gd name="connsiteY30" fmla="*/ 60898 h 788699"/>
                <a:gd name="connsiteX31" fmla="*/ 331353 w 516735"/>
                <a:gd name="connsiteY31" fmla="*/ 71776 h 788699"/>
                <a:gd name="connsiteX32" fmla="*/ 350390 w 516735"/>
                <a:gd name="connsiteY32" fmla="*/ 93534 h 788699"/>
                <a:gd name="connsiteX33" fmla="*/ 353110 w 516735"/>
                <a:gd name="connsiteY33" fmla="*/ 74496 h 788699"/>
                <a:gd name="connsiteX34" fmla="*/ 358549 w 516735"/>
                <a:gd name="connsiteY34" fmla="*/ 63618 h 788699"/>
                <a:gd name="connsiteX35" fmla="*/ 366708 w 516735"/>
                <a:gd name="connsiteY35" fmla="*/ 58178 h 788699"/>
                <a:gd name="connsiteX36" fmla="*/ 374867 w 516735"/>
                <a:gd name="connsiteY36" fmla="*/ 63618 h 788699"/>
                <a:gd name="connsiteX37" fmla="*/ 383026 w 516735"/>
                <a:gd name="connsiteY37" fmla="*/ 82655 h 788699"/>
                <a:gd name="connsiteX38" fmla="*/ 385746 w 516735"/>
                <a:gd name="connsiteY38" fmla="*/ 126170 h 788699"/>
                <a:gd name="connsiteX39" fmla="*/ 388466 w 516735"/>
                <a:gd name="connsiteY39" fmla="*/ 186002 h 788699"/>
                <a:gd name="connsiteX40" fmla="*/ 391185 w 516735"/>
                <a:gd name="connsiteY40" fmla="*/ 237676 h 788699"/>
                <a:gd name="connsiteX41" fmla="*/ 374867 w 516735"/>
                <a:gd name="connsiteY41" fmla="*/ 278470 h 788699"/>
                <a:gd name="connsiteX42" fmla="*/ 358549 w 516735"/>
                <a:gd name="connsiteY42" fmla="*/ 273031 h 788699"/>
                <a:gd name="connsiteX43" fmla="*/ 350390 w 516735"/>
                <a:gd name="connsiteY43" fmla="*/ 256713 h 788699"/>
                <a:gd name="connsiteX44" fmla="*/ 347671 w 516735"/>
                <a:gd name="connsiteY44" fmla="*/ 240395 h 788699"/>
                <a:gd name="connsiteX45" fmla="*/ 347671 w 516735"/>
                <a:gd name="connsiteY45" fmla="*/ 213199 h 788699"/>
                <a:gd name="connsiteX46" fmla="*/ 344951 w 516735"/>
                <a:gd name="connsiteY46" fmla="*/ 194161 h 788699"/>
                <a:gd name="connsiteX47" fmla="*/ 339512 w 516735"/>
                <a:gd name="connsiteY47" fmla="*/ 150647 h 788699"/>
                <a:gd name="connsiteX48" fmla="*/ 323194 w 516735"/>
                <a:gd name="connsiteY48" fmla="*/ 112571 h 788699"/>
                <a:gd name="connsiteX49" fmla="*/ 293278 w 516735"/>
                <a:gd name="connsiteY49" fmla="*/ 101693 h 788699"/>
                <a:gd name="connsiteX50" fmla="*/ 263361 w 516735"/>
                <a:gd name="connsiteY50" fmla="*/ 120730 h 788699"/>
                <a:gd name="connsiteX51" fmla="*/ 241604 w 516735"/>
                <a:gd name="connsiteY51" fmla="*/ 153366 h 788699"/>
                <a:gd name="connsiteX52" fmla="*/ 233445 w 516735"/>
                <a:gd name="connsiteY52" fmla="*/ 194161 h 788699"/>
                <a:gd name="connsiteX53" fmla="*/ 225286 w 516735"/>
                <a:gd name="connsiteY53" fmla="*/ 232236 h 788699"/>
                <a:gd name="connsiteX54" fmla="*/ 217127 w 516735"/>
                <a:gd name="connsiteY54" fmla="*/ 275751 h 788699"/>
                <a:gd name="connsiteX55" fmla="*/ 211688 w 516735"/>
                <a:gd name="connsiteY55" fmla="*/ 316545 h 788699"/>
                <a:gd name="connsiteX56" fmla="*/ 206249 w 516735"/>
                <a:gd name="connsiteY56" fmla="*/ 354621 h 788699"/>
                <a:gd name="connsiteX57" fmla="*/ 200809 w 516735"/>
                <a:gd name="connsiteY57" fmla="*/ 398135 h 788699"/>
                <a:gd name="connsiteX58" fmla="*/ 195370 w 516735"/>
                <a:gd name="connsiteY58" fmla="*/ 438930 h 788699"/>
                <a:gd name="connsiteX59" fmla="*/ 192650 w 516735"/>
                <a:gd name="connsiteY59" fmla="*/ 474286 h 788699"/>
                <a:gd name="connsiteX60" fmla="*/ 195370 w 516735"/>
                <a:gd name="connsiteY60" fmla="*/ 525959 h 788699"/>
                <a:gd name="connsiteX61" fmla="*/ 208968 w 516735"/>
                <a:gd name="connsiteY61" fmla="*/ 596670 h 788699"/>
                <a:gd name="connsiteX62" fmla="*/ 214407 w 516735"/>
                <a:gd name="connsiteY62" fmla="*/ 623867 h 788699"/>
                <a:gd name="connsiteX63" fmla="*/ 228006 w 516735"/>
                <a:gd name="connsiteY63" fmla="*/ 656502 h 788699"/>
                <a:gd name="connsiteX64" fmla="*/ 271520 w 516735"/>
                <a:gd name="connsiteY64" fmla="*/ 689138 h 788699"/>
                <a:gd name="connsiteX65" fmla="*/ 306876 w 516735"/>
                <a:gd name="connsiteY65" fmla="*/ 664661 h 788699"/>
                <a:gd name="connsiteX66" fmla="*/ 331353 w 516735"/>
                <a:gd name="connsiteY66" fmla="*/ 602109 h 788699"/>
                <a:gd name="connsiteX67" fmla="*/ 336792 w 516735"/>
                <a:gd name="connsiteY67" fmla="*/ 544997 h 788699"/>
                <a:gd name="connsiteX68" fmla="*/ 336792 w 516735"/>
                <a:gd name="connsiteY68" fmla="*/ 498762 h 788699"/>
                <a:gd name="connsiteX69" fmla="*/ 336792 w 516735"/>
                <a:gd name="connsiteY69" fmla="*/ 490603 h 788699"/>
                <a:gd name="connsiteX70" fmla="*/ 320474 w 516735"/>
                <a:gd name="connsiteY70" fmla="*/ 477005 h 788699"/>
                <a:gd name="connsiteX71" fmla="*/ 282399 w 516735"/>
                <a:gd name="connsiteY71" fmla="*/ 479725 h 788699"/>
                <a:gd name="connsiteX72" fmla="*/ 252483 w 516735"/>
                <a:gd name="connsiteY72" fmla="*/ 474286 h 788699"/>
                <a:gd name="connsiteX73" fmla="*/ 247043 w 516735"/>
                <a:gd name="connsiteY73" fmla="*/ 466126 h 788699"/>
                <a:gd name="connsiteX74" fmla="*/ 249763 w 516735"/>
                <a:gd name="connsiteY74" fmla="*/ 457968 h 788699"/>
                <a:gd name="connsiteX75" fmla="*/ 268801 w 516735"/>
                <a:gd name="connsiteY75" fmla="*/ 447089 h 788699"/>
                <a:gd name="connsiteX76" fmla="*/ 312315 w 516735"/>
                <a:gd name="connsiteY76" fmla="*/ 436210 h 788699"/>
                <a:gd name="connsiteX77" fmla="*/ 353110 w 516735"/>
                <a:gd name="connsiteY77" fmla="*/ 430771 h 788699"/>
                <a:gd name="connsiteX78" fmla="*/ 385746 w 516735"/>
                <a:gd name="connsiteY78" fmla="*/ 430771 h 788699"/>
                <a:gd name="connsiteX79" fmla="*/ 437420 w 516735"/>
                <a:gd name="connsiteY79" fmla="*/ 428051 h 788699"/>
                <a:gd name="connsiteX80" fmla="*/ 464616 w 516735"/>
                <a:gd name="connsiteY80" fmla="*/ 436210 h 7886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</a:cxnLst>
              <a:rect l="l" t="t" r="r" b="b"/>
              <a:pathLst>
                <a:path w="516735" h="788699">
                  <a:moveTo>
                    <a:pt x="464616" y="436210"/>
                  </a:moveTo>
                  <a:cubicBezTo>
                    <a:pt x="464616" y="447089"/>
                    <a:pt x="453737" y="452528"/>
                    <a:pt x="445578" y="455248"/>
                  </a:cubicBezTo>
                  <a:cubicBezTo>
                    <a:pt x="434700" y="460687"/>
                    <a:pt x="415662" y="463407"/>
                    <a:pt x="404784" y="466126"/>
                  </a:cubicBezTo>
                  <a:cubicBezTo>
                    <a:pt x="393905" y="466126"/>
                    <a:pt x="385746" y="468846"/>
                    <a:pt x="385746" y="479725"/>
                  </a:cubicBezTo>
                  <a:cubicBezTo>
                    <a:pt x="385746" y="487884"/>
                    <a:pt x="388466" y="506921"/>
                    <a:pt x="388466" y="512361"/>
                  </a:cubicBezTo>
                  <a:cubicBezTo>
                    <a:pt x="388466" y="515080"/>
                    <a:pt x="388466" y="539557"/>
                    <a:pt x="388466" y="544997"/>
                  </a:cubicBezTo>
                  <a:cubicBezTo>
                    <a:pt x="388466" y="550436"/>
                    <a:pt x="388466" y="558595"/>
                    <a:pt x="388466" y="566754"/>
                  </a:cubicBezTo>
                  <a:cubicBezTo>
                    <a:pt x="388466" y="591231"/>
                    <a:pt x="388466" y="621147"/>
                    <a:pt x="391185" y="632026"/>
                  </a:cubicBezTo>
                  <a:cubicBezTo>
                    <a:pt x="393905" y="653783"/>
                    <a:pt x="393905" y="661942"/>
                    <a:pt x="393905" y="683699"/>
                  </a:cubicBezTo>
                  <a:cubicBezTo>
                    <a:pt x="393905" y="694578"/>
                    <a:pt x="393905" y="724494"/>
                    <a:pt x="377587" y="724494"/>
                  </a:cubicBezTo>
                  <a:cubicBezTo>
                    <a:pt x="369428" y="724494"/>
                    <a:pt x="366708" y="721774"/>
                    <a:pt x="361269" y="719054"/>
                  </a:cubicBezTo>
                  <a:cubicBezTo>
                    <a:pt x="355830" y="716335"/>
                    <a:pt x="353110" y="708176"/>
                    <a:pt x="353110" y="702737"/>
                  </a:cubicBezTo>
                  <a:cubicBezTo>
                    <a:pt x="350390" y="694578"/>
                    <a:pt x="350390" y="689138"/>
                    <a:pt x="350390" y="686419"/>
                  </a:cubicBezTo>
                  <a:cubicBezTo>
                    <a:pt x="350390" y="678260"/>
                    <a:pt x="353110" y="672820"/>
                    <a:pt x="353110" y="659222"/>
                  </a:cubicBezTo>
                  <a:lnTo>
                    <a:pt x="353110" y="656502"/>
                  </a:lnTo>
                  <a:cubicBezTo>
                    <a:pt x="347671" y="675540"/>
                    <a:pt x="334072" y="694578"/>
                    <a:pt x="317755" y="708176"/>
                  </a:cubicBezTo>
                  <a:cubicBezTo>
                    <a:pt x="293278" y="727214"/>
                    <a:pt x="274240" y="735372"/>
                    <a:pt x="241604" y="735372"/>
                  </a:cubicBezTo>
                  <a:cubicBezTo>
                    <a:pt x="222566" y="735372"/>
                    <a:pt x="203529" y="732653"/>
                    <a:pt x="187211" y="727214"/>
                  </a:cubicBezTo>
                  <a:cubicBezTo>
                    <a:pt x="165454" y="719054"/>
                    <a:pt x="149136" y="708176"/>
                    <a:pt x="135538" y="694578"/>
                  </a:cubicBezTo>
                  <a:cubicBezTo>
                    <a:pt x="113780" y="672820"/>
                    <a:pt x="100182" y="648343"/>
                    <a:pt x="86584" y="621147"/>
                  </a:cubicBezTo>
                  <a:cubicBezTo>
                    <a:pt x="75705" y="599390"/>
                    <a:pt x="70266" y="580352"/>
                    <a:pt x="67546" y="555875"/>
                  </a:cubicBezTo>
                  <a:cubicBezTo>
                    <a:pt x="64826" y="539557"/>
                    <a:pt x="62107" y="525959"/>
                    <a:pt x="59387" y="509641"/>
                  </a:cubicBezTo>
                  <a:cubicBezTo>
                    <a:pt x="56667" y="493323"/>
                    <a:pt x="59387" y="485164"/>
                    <a:pt x="59387" y="468846"/>
                  </a:cubicBezTo>
                  <a:cubicBezTo>
                    <a:pt x="59387" y="414453"/>
                    <a:pt x="72985" y="362780"/>
                    <a:pt x="86584" y="302947"/>
                  </a:cubicBezTo>
                  <a:cubicBezTo>
                    <a:pt x="92023" y="275751"/>
                    <a:pt x="100182" y="248554"/>
                    <a:pt x="108341" y="224077"/>
                  </a:cubicBezTo>
                  <a:cubicBezTo>
                    <a:pt x="116500" y="196881"/>
                    <a:pt x="130098" y="169684"/>
                    <a:pt x="146416" y="145207"/>
                  </a:cubicBezTo>
                  <a:cubicBezTo>
                    <a:pt x="160014" y="123450"/>
                    <a:pt x="176332" y="101693"/>
                    <a:pt x="198090" y="85375"/>
                  </a:cubicBezTo>
                  <a:cubicBezTo>
                    <a:pt x="206249" y="77216"/>
                    <a:pt x="217127" y="71776"/>
                    <a:pt x="228006" y="69057"/>
                  </a:cubicBezTo>
                  <a:cubicBezTo>
                    <a:pt x="241604" y="63618"/>
                    <a:pt x="255202" y="58178"/>
                    <a:pt x="268801" y="58178"/>
                  </a:cubicBezTo>
                  <a:cubicBezTo>
                    <a:pt x="271520" y="58178"/>
                    <a:pt x="274240" y="58178"/>
                    <a:pt x="274240" y="58178"/>
                  </a:cubicBezTo>
                  <a:cubicBezTo>
                    <a:pt x="279679" y="58178"/>
                    <a:pt x="285119" y="58178"/>
                    <a:pt x="295997" y="60898"/>
                  </a:cubicBezTo>
                  <a:cubicBezTo>
                    <a:pt x="309595" y="63618"/>
                    <a:pt x="320474" y="66337"/>
                    <a:pt x="331353" y="71776"/>
                  </a:cubicBezTo>
                  <a:cubicBezTo>
                    <a:pt x="339512" y="77216"/>
                    <a:pt x="347671" y="85375"/>
                    <a:pt x="350390" y="93534"/>
                  </a:cubicBezTo>
                  <a:cubicBezTo>
                    <a:pt x="350390" y="88095"/>
                    <a:pt x="353110" y="79936"/>
                    <a:pt x="353110" y="74496"/>
                  </a:cubicBezTo>
                  <a:cubicBezTo>
                    <a:pt x="355830" y="71776"/>
                    <a:pt x="355830" y="69057"/>
                    <a:pt x="358549" y="63618"/>
                  </a:cubicBezTo>
                  <a:cubicBezTo>
                    <a:pt x="361269" y="60898"/>
                    <a:pt x="363989" y="58178"/>
                    <a:pt x="366708" y="58178"/>
                  </a:cubicBezTo>
                  <a:cubicBezTo>
                    <a:pt x="369428" y="58178"/>
                    <a:pt x="372148" y="60898"/>
                    <a:pt x="374867" y="63618"/>
                  </a:cubicBezTo>
                  <a:cubicBezTo>
                    <a:pt x="377587" y="69057"/>
                    <a:pt x="380307" y="77216"/>
                    <a:pt x="383026" y="82655"/>
                  </a:cubicBezTo>
                  <a:cubicBezTo>
                    <a:pt x="383026" y="90814"/>
                    <a:pt x="385746" y="107132"/>
                    <a:pt x="385746" y="126170"/>
                  </a:cubicBezTo>
                  <a:cubicBezTo>
                    <a:pt x="385746" y="150647"/>
                    <a:pt x="385746" y="177843"/>
                    <a:pt x="388466" y="186002"/>
                  </a:cubicBezTo>
                  <a:cubicBezTo>
                    <a:pt x="391185" y="207759"/>
                    <a:pt x="391185" y="215918"/>
                    <a:pt x="391185" y="237676"/>
                  </a:cubicBezTo>
                  <a:cubicBezTo>
                    <a:pt x="391185" y="248554"/>
                    <a:pt x="391185" y="278470"/>
                    <a:pt x="374867" y="278470"/>
                  </a:cubicBezTo>
                  <a:cubicBezTo>
                    <a:pt x="366708" y="278470"/>
                    <a:pt x="363989" y="275751"/>
                    <a:pt x="358549" y="273031"/>
                  </a:cubicBezTo>
                  <a:cubicBezTo>
                    <a:pt x="353110" y="270311"/>
                    <a:pt x="350390" y="262152"/>
                    <a:pt x="350390" y="256713"/>
                  </a:cubicBezTo>
                  <a:cubicBezTo>
                    <a:pt x="350390" y="251274"/>
                    <a:pt x="347671" y="245834"/>
                    <a:pt x="347671" y="240395"/>
                  </a:cubicBezTo>
                  <a:cubicBezTo>
                    <a:pt x="347671" y="232236"/>
                    <a:pt x="347671" y="224077"/>
                    <a:pt x="347671" y="213199"/>
                  </a:cubicBezTo>
                  <a:cubicBezTo>
                    <a:pt x="347671" y="207759"/>
                    <a:pt x="347671" y="199600"/>
                    <a:pt x="344951" y="194161"/>
                  </a:cubicBezTo>
                  <a:cubicBezTo>
                    <a:pt x="342232" y="180563"/>
                    <a:pt x="342232" y="164245"/>
                    <a:pt x="339512" y="150647"/>
                  </a:cubicBezTo>
                  <a:cubicBezTo>
                    <a:pt x="336792" y="137048"/>
                    <a:pt x="331353" y="123450"/>
                    <a:pt x="323194" y="112571"/>
                  </a:cubicBezTo>
                  <a:cubicBezTo>
                    <a:pt x="317755" y="104412"/>
                    <a:pt x="304156" y="101693"/>
                    <a:pt x="293278" y="101693"/>
                  </a:cubicBezTo>
                  <a:cubicBezTo>
                    <a:pt x="279679" y="101693"/>
                    <a:pt x="271520" y="109852"/>
                    <a:pt x="263361" y="120730"/>
                  </a:cubicBezTo>
                  <a:cubicBezTo>
                    <a:pt x="257922" y="131609"/>
                    <a:pt x="247043" y="139768"/>
                    <a:pt x="241604" y="153366"/>
                  </a:cubicBezTo>
                  <a:cubicBezTo>
                    <a:pt x="236165" y="166964"/>
                    <a:pt x="233445" y="180563"/>
                    <a:pt x="233445" y="194161"/>
                  </a:cubicBezTo>
                  <a:cubicBezTo>
                    <a:pt x="233445" y="207759"/>
                    <a:pt x="230726" y="218638"/>
                    <a:pt x="225286" y="232236"/>
                  </a:cubicBezTo>
                  <a:cubicBezTo>
                    <a:pt x="219847" y="245834"/>
                    <a:pt x="219847" y="262152"/>
                    <a:pt x="217127" y="275751"/>
                  </a:cubicBezTo>
                  <a:cubicBezTo>
                    <a:pt x="214407" y="289349"/>
                    <a:pt x="214407" y="302947"/>
                    <a:pt x="211688" y="316545"/>
                  </a:cubicBezTo>
                  <a:cubicBezTo>
                    <a:pt x="211688" y="330144"/>
                    <a:pt x="206249" y="341022"/>
                    <a:pt x="206249" y="354621"/>
                  </a:cubicBezTo>
                  <a:cubicBezTo>
                    <a:pt x="203529" y="368219"/>
                    <a:pt x="203529" y="381817"/>
                    <a:pt x="200809" y="398135"/>
                  </a:cubicBezTo>
                  <a:cubicBezTo>
                    <a:pt x="198090" y="411733"/>
                    <a:pt x="198090" y="425332"/>
                    <a:pt x="195370" y="438930"/>
                  </a:cubicBezTo>
                  <a:cubicBezTo>
                    <a:pt x="195370" y="449809"/>
                    <a:pt x="192650" y="463407"/>
                    <a:pt x="192650" y="474286"/>
                  </a:cubicBezTo>
                  <a:cubicBezTo>
                    <a:pt x="192650" y="490603"/>
                    <a:pt x="195370" y="509641"/>
                    <a:pt x="195370" y="525959"/>
                  </a:cubicBezTo>
                  <a:cubicBezTo>
                    <a:pt x="195370" y="550436"/>
                    <a:pt x="203529" y="572193"/>
                    <a:pt x="208968" y="596670"/>
                  </a:cubicBezTo>
                  <a:cubicBezTo>
                    <a:pt x="211688" y="604829"/>
                    <a:pt x="211688" y="615708"/>
                    <a:pt x="214407" y="623867"/>
                  </a:cubicBezTo>
                  <a:cubicBezTo>
                    <a:pt x="217127" y="634745"/>
                    <a:pt x="222566" y="645624"/>
                    <a:pt x="228006" y="656502"/>
                  </a:cubicBezTo>
                  <a:cubicBezTo>
                    <a:pt x="236165" y="670101"/>
                    <a:pt x="252483" y="689138"/>
                    <a:pt x="271520" y="689138"/>
                  </a:cubicBezTo>
                  <a:cubicBezTo>
                    <a:pt x="287838" y="689138"/>
                    <a:pt x="298717" y="675540"/>
                    <a:pt x="306876" y="664661"/>
                  </a:cubicBezTo>
                  <a:cubicBezTo>
                    <a:pt x="320474" y="645624"/>
                    <a:pt x="325914" y="623867"/>
                    <a:pt x="331353" y="602109"/>
                  </a:cubicBezTo>
                  <a:cubicBezTo>
                    <a:pt x="334072" y="583072"/>
                    <a:pt x="336792" y="564034"/>
                    <a:pt x="336792" y="544997"/>
                  </a:cubicBezTo>
                  <a:cubicBezTo>
                    <a:pt x="336792" y="531398"/>
                    <a:pt x="336792" y="512361"/>
                    <a:pt x="336792" y="498762"/>
                  </a:cubicBezTo>
                  <a:cubicBezTo>
                    <a:pt x="336792" y="496043"/>
                    <a:pt x="336792" y="493323"/>
                    <a:pt x="336792" y="490603"/>
                  </a:cubicBezTo>
                  <a:cubicBezTo>
                    <a:pt x="336792" y="479725"/>
                    <a:pt x="336792" y="477005"/>
                    <a:pt x="320474" y="477005"/>
                  </a:cubicBezTo>
                  <a:cubicBezTo>
                    <a:pt x="309595" y="477005"/>
                    <a:pt x="295997" y="479725"/>
                    <a:pt x="282399" y="479725"/>
                  </a:cubicBezTo>
                  <a:cubicBezTo>
                    <a:pt x="271520" y="479725"/>
                    <a:pt x="260642" y="479725"/>
                    <a:pt x="252483" y="474286"/>
                  </a:cubicBezTo>
                  <a:cubicBezTo>
                    <a:pt x="249763" y="471566"/>
                    <a:pt x="247043" y="468846"/>
                    <a:pt x="247043" y="466126"/>
                  </a:cubicBezTo>
                  <a:cubicBezTo>
                    <a:pt x="247043" y="463407"/>
                    <a:pt x="247043" y="460687"/>
                    <a:pt x="249763" y="457968"/>
                  </a:cubicBezTo>
                  <a:cubicBezTo>
                    <a:pt x="255202" y="452528"/>
                    <a:pt x="260642" y="449809"/>
                    <a:pt x="268801" y="447089"/>
                  </a:cubicBezTo>
                  <a:cubicBezTo>
                    <a:pt x="282399" y="441650"/>
                    <a:pt x="295997" y="438930"/>
                    <a:pt x="312315" y="436210"/>
                  </a:cubicBezTo>
                  <a:cubicBezTo>
                    <a:pt x="325914" y="433491"/>
                    <a:pt x="339512" y="433491"/>
                    <a:pt x="353110" y="430771"/>
                  </a:cubicBezTo>
                  <a:cubicBezTo>
                    <a:pt x="363989" y="430771"/>
                    <a:pt x="374867" y="430771"/>
                    <a:pt x="385746" y="430771"/>
                  </a:cubicBezTo>
                  <a:cubicBezTo>
                    <a:pt x="402064" y="430771"/>
                    <a:pt x="426541" y="428051"/>
                    <a:pt x="437420" y="428051"/>
                  </a:cubicBezTo>
                  <a:cubicBezTo>
                    <a:pt x="451018" y="419892"/>
                    <a:pt x="464616" y="425332"/>
                    <a:pt x="464616" y="436210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/>
            </a:p>
          </p:txBody>
        </p:sp>
        <p:sp>
          <p:nvSpPr>
            <p:cNvPr id="43" name="Freeform: Shape 42">
              <a:extLst>
                <a:ext uri="{FF2B5EF4-FFF2-40B4-BE49-F238E27FC236}">
                  <a16:creationId xmlns:a16="http://schemas.microsoft.com/office/drawing/2014/main" id="{472AD7C6-83F4-43DE-81E7-F0BE96B3073D}"/>
                </a:ext>
              </a:extLst>
            </p:cNvPr>
            <p:cNvSpPr/>
            <p:nvPr/>
          </p:nvSpPr>
          <p:spPr>
            <a:xfrm>
              <a:off x="5651630" y="4181279"/>
              <a:ext cx="734308" cy="788700"/>
            </a:xfrm>
            <a:custGeom>
              <a:avLst/>
              <a:gdLst>
                <a:gd name="connsiteX0" fmla="*/ 653783 w 734307"/>
                <a:gd name="connsiteY0" fmla="*/ 678259 h 788699"/>
                <a:gd name="connsiteX1" fmla="*/ 691859 w 734307"/>
                <a:gd name="connsiteY1" fmla="*/ 694577 h 788699"/>
                <a:gd name="connsiteX2" fmla="*/ 686419 w 734307"/>
                <a:gd name="connsiteY2" fmla="*/ 710895 h 788699"/>
                <a:gd name="connsiteX3" fmla="*/ 670101 w 734307"/>
                <a:gd name="connsiteY3" fmla="*/ 719054 h 788699"/>
                <a:gd name="connsiteX4" fmla="*/ 648344 w 734307"/>
                <a:gd name="connsiteY4" fmla="*/ 721774 h 788699"/>
                <a:gd name="connsiteX5" fmla="*/ 618428 w 734307"/>
                <a:gd name="connsiteY5" fmla="*/ 721774 h 788699"/>
                <a:gd name="connsiteX6" fmla="*/ 572194 w 734307"/>
                <a:gd name="connsiteY6" fmla="*/ 735372 h 788699"/>
                <a:gd name="connsiteX7" fmla="*/ 544997 w 734307"/>
                <a:gd name="connsiteY7" fmla="*/ 729933 h 788699"/>
                <a:gd name="connsiteX8" fmla="*/ 534119 w 734307"/>
                <a:gd name="connsiteY8" fmla="*/ 721774 h 788699"/>
                <a:gd name="connsiteX9" fmla="*/ 496043 w 734307"/>
                <a:gd name="connsiteY9" fmla="*/ 721774 h 788699"/>
                <a:gd name="connsiteX10" fmla="*/ 471566 w 734307"/>
                <a:gd name="connsiteY10" fmla="*/ 721774 h 788699"/>
                <a:gd name="connsiteX11" fmla="*/ 444370 w 734307"/>
                <a:gd name="connsiteY11" fmla="*/ 716335 h 788699"/>
                <a:gd name="connsiteX12" fmla="*/ 428052 w 734307"/>
                <a:gd name="connsiteY12" fmla="*/ 700017 h 788699"/>
                <a:gd name="connsiteX13" fmla="*/ 433491 w 734307"/>
                <a:gd name="connsiteY13" fmla="*/ 691858 h 788699"/>
                <a:gd name="connsiteX14" fmla="*/ 455248 w 734307"/>
                <a:gd name="connsiteY14" fmla="*/ 683699 h 788699"/>
                <a:gd name="connsiteX15" fmla="*/ 506922 w 734307"/>
                <a:gd name="connsiteY15" fmla="*/ 678259 h 788699"/>
                <a:gd name="connsiteX16" fmla="*/ 509641 w 734307"/>
                <a:gd name="connsiteY16" fmla="*/ 678259 h 788699"/>
                <a:gd name="connsiteX17" fmla="*/ 506922 w 734307"/>
                <a:gd name="connsiteY17" fmla="*/ 664661 h 788699"/>
                <a:gd name="connsiteX18" fmla="*/ 498763 w 734307"/>
                <a:gd name="connsiteY18" fmla="*/ 580352 h 788699"/>
                <a:gd name="connsiteX19" fmla="*/ 496043 w 734307"/>
                <a:gd name="connsiteY19" fmla="*/ 479725 h 788699"/>
                <a:gd name="connsiteX20" fmla="*/ 493324 w 734307"/>
                <a:gd name="connsiteY20" fmla="*/ 389976 h 788699"/>
                <a:gd name="connsiteX21" fmla="*/ 490604 w 734307"/>
                <a:gd name="connsiteY21" fmla="*/ 302947 h 788699"/>
                <a:gd name="connsiteX22" fmla="*/ 487884 w 734307"/>
                <a:gd name="connsiteY22" fmla="*/ 229516 h 788699"/>
                <a:gd name="connsiteX23" fmla="*/ 485165 w 734307"/>
                <a:gd name="connsiteY23" fmla="*/ 221357 h 788699"/>
                <a:gd name="connsiteX24" fmla="*/ 482445 w 734307"/>
                <a:gd name="connsiteY24" fmla="*/ 226797 h 788699"/>
                <a:gd name="connsiteX25" fmla="*/ 477006 w 734307"/>
                <a:gd name="connsiteY25" fmla="*/ 262152 h 788699"/>
                <a:gd name="connsiteX26" fmla="*/ 460688 w 734307"/>
                <a:gd name="connsiteY26" fmla="*/ 341022 h 788699"/>
                <a:gd name="connsiteX27" fmla="*/ 444370 w 734307"/>
                <a:gd name="connsiteY27" fmla="*/ 417173 h 788699"/>
                <a:gd name="connsiteX28" fmla="*/ 436211 w 734307"/>
                <a:gd name="connsiteY28" fmla="*/ 455248 h 788699"/>
                <a:gd name="connsiteX29" fmla="*/ 425332 w 734307"/>
                <a:gd name="connsiteY29" fmla="*/ 493323 h 788699"/>
                <a:gd name="connsiteX30" fmla="*/ 411734 w 734307"/>
                <a:gd name="connsiteY30" fmla="*/ 531398 h 788699"/>
                <a:gd name="connsiteX31" fmla="*/ 376378 w 734307"/>
                <a:gd name="connsiteY31" fmla="*/ 547716 h 788699"/>
                <a:gd name="connsiteX32" fmla="*/ 319265 w 734307"/>
                <a:gd name="connsiteY32" fmla="*/ 525959 h 788699"/>
                <a:gd name="connsiteX33" fmla="*/ 289349 w 734307"/>
                <a:gd name="connsiteY33" fmla="*/ 455248 h 788699"/>
                <a:gd name="connsiteX34" fmla="*/ 273031 w 734307"/>
                <a:gd name="connsiteY34" fmla="*/ 373658 h 788699"/>
                <a:gd name="connsiteX35" fmla="*/ 262153 w 734307"/>
                <a:gd name="connsiteY35" fmla="*/ 316545 h 788699"/>
                <a:gd name="connsiteX36" fmla="*/ 245835 w 734307"/>
                <a:gd name="connsiteY36" fmla="*/ 237675 h 788699"/>
                <a:gd name="connsiteX37" fmla="*/ 234956 w 734307"/>
                <a:gd name="connsiteY37" fmla="*/ 196881 h 788699"/>
                <a:gd name="connsiteX38" fmla="*/ 232236 w 734307"/>
                <a:gd name="connsiteY38" fmla="*/ 191441 h 788699"/>
                <a:gd name="connsiteX39" fmla="*/ 226797 w 734307"/>
                <a:gd name="connsiteY39" fmla="*/ 207759 h 788699"/>
                <a:gd name="connsiteX40" fmla="*/ 226797 w 734307"/>
                <a:gd name="connsiteY40" fmla="*/ 232236 h 788699"/>
                <a:gd name="connsiteX41" fmla="*/ 224077 w 734307"/>
                <a:gd name="connsiteY41" fmla="*/ 267592 h 788699"/>
                <a:gd name="connsiteX42" fmla="*/ 221358 w 734307"/>
                <a:gd name="connsiteY42" fmla="*/ 311106 h 788699"/>
                <a:gd name="connsiteX43" fmla="*/ 218638 w 734307"/>
                <a:gd name="connsiteY43" fmla="*/ 360060 h 788699"/>
                <a:gd name="connsiteX44" fmla="*/ 215919 w 734307"/>
                <a:gd name="connsiteY44" fmla="*/ 398135 h 788699"/>
                <a:gd name="connsiteX45" fmla="*/ 213199 w 734307"/>
                <a:gd name="connsiteY45" fmla="*/ 430771 h 788699"/>
                <a:gd name="connsiteX46" fmla="*/ 213199 w 734307"/>
                <a:gd name="connsiteY46" fmla="*/ 455248 h 788699"/>
                <a:gd name="connsiteX47" fmla="*/ 213199 w 734307"/>
                <a:gd name="connsiteY47" fmla="*/ 477005 h 788699"/>
                <a:gd name="connsiteX48" fmla="*/ 207759 w 734307"/>
                <a:gd name="connsiteY48" fmla="*/ 520520 h 788699"/>
                <a:gd name="connsiteX49" fmla="*/ 196881 w 734307"/>
                <a:gd name="connsiteY49" fmla="*/ 610268 h 788699"/>
                <a:gd name="connsiteX50" fmla="*/ 194161 w 734307"/>
                <a:gd name="connsiteY50" fmla="*/ 653783 h 788699"/>
                <a:gd name="connsiteX51" fmla="*/ 191441 w 734307"/>
                <a:gd name="connsiteY51" fmla="*/ 667381 h 788699"/>
                <a:gd name="connsiteX52" fmla="*/ 243115 w 734307"/>
                <a:gd name="connsiteY52" fmla="*/ 667381 h 788699"/>
                <a:gd name="connsiteX53" fmla="*/ 273031 w 734307"/>
                <a:gd name="connsiteY53" fmla="*/ 683699 h 788699"/>
                <a:gd name="connsiteX54" fmla="*/ 262153 w 734307"/>
                <a:gd name="connsiteY54" fmla="*/ 697297 h 788699"/>
                <a:gd name="connsiteX55" fmla="*/ 248554 w 734307"/>
                <a:gd name="connsiteY55" fmla="*/ 705456 h 788699"/>
                <a:gd name="connsiteX56" fmla="*/ 232236 w 734307"/>
                <a:gd name="connsiteY56" fmla="*/ 708176 h 788699"/>
                <a:gd name="connsiteX57" fmla="*/ 166965 w 734307"/>
                <a:gd name="connsiteY57" fmla="*/ 708176 h 788699"/>
                <a:gd name="connsiteX58" fmla="*/ 109852 w 734307"/>
                <a:gd name="connsiteY58" fmla="*/ 708176 h 788699"/>
                <a:gd name="connsiteX59" fmla="*/ 90814 w 734307"/>
                <a:gd name="connsiteY59" fmla="*/ 708176 h 788699"/>
                <a:gd name="connsiteX60" fmla="*/ 69057 w 734307"/>
                <a:gd name="connsiteY60" fmla="*/ 702736 h 788699"/>
                <a:gd name="connsiteX61" fmla="*/ 58178 w 734307"/>
                <a:gd name="connsiteY61" fmla="*/ 686418 h 788699"/>
                <a:gd name="connsiteX62" fmla="*/ 60898 w 734307"/>
                <a:gd name="connsiteY62" fmla="*/ 678259 h 788699"/>
                <a:gd name="connsiteX63" fmla="*/ 77216 w 734307"/>
                <a:gd name="connsiteY63" fmla="*/ 670101 h 788699"/>
                <a:gd name="connsiteX64" fmla="*/ 126170 w 734307"/>
                <a:gd name="connsiteY64" fmla="*/ 664661 h 788699"/>
                <a:gd name="connsiteX65" fmla="*/ 142487 w 734307"/>
                <a:gd name="connsiteY65" fmla="*/ 664661 h 788699"/>
                <a:gd name="connsiteX66" fmla="*/ 147927 w 734307"/>
                <a:gd name="connsiteY66" fmla="*/ 588511 h 788699"/>
                <a:gd name="connsiteX67" fmla="*/ 153366 w 734307"/>
                <a:gd name="connsiteY67" fmla="*/ 493323 h 788699"/>
                <a:gd name="connsiteX68" fmla="*/ 156086 w 734307"/>
                <a:gd name="connsiteY68" fmla="*/ 411733 h 788699"/>
                <a:gd name="connsiteX69" fmla="*/ 161525 w 734307"/>
                <a:gd name="connsiteY69" fmla="*/ 297508 h 788699"/>
                <a:gd name="connsiteX70" fmla="*/ 166965 w 734307"/>
                <a:gd name="connsiteY70" fmla="*/ 240395 h 788699"/>
                <a:gd name="connsiteX71" fmla="*/ 177843 w 734307"/>
                <a:gd name="connsiteY71" fmla="*/ 161525 h 788699"/>
                <a:gd name="connsiteX72" fmla="*/ 183282 w 734307"/>
                <a:gd name="connsiteY72" fmla="*/ 118011 h 788699"/>
                <a:gd name="connsiteX73" fmla="*/ 183282 w 734307"/>
                <a:gd name="connsiteY73" fmla="*/ 115291 h 788699"/>
                <a:gd name="connsiteX74" fmla="*/ 161525 w 734307"/>
                <a:gd name="connsiteY74" fmla="*/ 115291 h 788699"/>
                <a:gd name="connsiteX75" fmla="*/ 137048 w 734307"/>
                <a:gd name="connsiteY75" fmla="*/ 115291 h 788699"/>
                <a:gd name="connsiteX76" fmla="*/ 109852 w 734307"/>
                <a:gd name="connsiteY76" fmla="*/ 109851 h 788699"/>
                <a:gd name="connsiteX77" fmla="*/ 93534 w 734307"/>
                <a:gd name="connsiteY77" fmla="*/ 93534 h 788699"/>
                <a:gd name="connsiteX78" fmla="*/ 98973 w 734307"/>
                <a:gd name="connsiteY78" fmla="*/ 85375 h 788699"/>
                <a:gd name="connsiteX79" fmla="*/ 120730 w 734307"/>
                <a:gd name="connsiteY79" fmla="*/ 77216 h 788699"/>
                <a:gd name="connsiteX80" fmla="*/ 172404 w 734307"/>
                <a:gd name="connsiteY80" fmla="*/ 71776 h 788699"/>
                <a:gd name="connsiteX81" fmla="*/ 234956 w 734307"/>
                <a:gd name="connsiteY81" fmla="*/ 69057 h 788699"/>
                <a:gd name="connsiteX82" fmla="*/ 243115 w 734307"/>
                <a:gd name="connsiteY82" fmla="*/ 69057 h 788699"/>
                <a:gd name="connsiteX83" fmla="*/ 270312 w 734307"/>
                <a:gd name="connsiteY83" fmla="*/ 74496 h 788699"/>
                <a:gd name="connsiteX84" fmla="*/ 308387 w 734307"/>
                <a:gd name="connsiteY84" fmla="*/ 123450 h 788699"/>
                <a:gd name="connsiteX85" fmla="*/ 332864 w 734307"/>
                <a:gd name="connsiteY85" fmla="*/ 202320 h 788699"/>
                <a:gd name="connsiteX86" fmla="*/ 338303 w 734307"/>
                <a:gd name="connsiteY86" fmla="*/ 237675 h 788699"/>
                <a:gd name="connsiteX87" fmla="*/ 349182 w 734307"/>
                <a:gd name="connsiteY87" fmla="*/ 281190 h 788699"/>
                <a:gd name="connsiteX88" fmla="*/ 357341 w 734307"/>
                <a:gd name="connsiteY88" fmla="*/ 316545 h 788699"/>
                <a:gd name="connsiteX89" fmla="*/ 365500 w 734307"/>
                <a:gd name="connsiteY89" fmla="*/ 351901 h 788699"/>
                <a:gd name="connsiteX90" fmla="*/ 376378 w 734307"/>
                <a:gd name="connsiteY90" fmla="*/ 389976 h 788699"/>
                <a:gd name="connsiteX91" fmla="*/ 387257 w 734307"/>
                <a:gd name="connsiteY91" fmla="*/ 414453 h 788699"/>
                <a:gd name="connsiteX92" fmla="*/ 398136 w 734307"/>
                <a:gd name="connsiteY92" fmla="*/ 376378 h 788699"/>
                <a:gd name="connsiteX93" fmla="*/ 406295 w 734307"/>
                <a:gd name="connsiteY93" fmla="*/ 332863 h 788699"/>
                <a:gd name="connsiteX94" fmla="*/ 425332 w 734307"/>
                <a:gd name="connsiteY94" fmla="*/ 243115 h 788699"/>
                <a:gd name="connsiteX95" fmla="*/ 444370 w 734307"/>
                <a:gd name="connsiteY95" fmla="*/ 150646 h 788699"/>
                <a:gd name="connsiteX96" fmla="*/ 477006 w 734307"/>
                <a:gd name="connsiteY96" fmla="*/ 79935 h 788699"/>
                <a:gd name="connsiteX97" fmla="*/ 523240 w 734307"/>
                <a:gd name="connsiteY97" fmla="*/ 58178 h 788699"/>
                <a:gd name="connsiteX98" fmla="*/ 544997 w 734307"/>
                <a:gd name="connsiteY98" fmla="*/ 63617 h 788699"/>
                <a:gd name="connsiteX99" fmla="*/ 612988 w 734307"/>
                <a:gd name="connsiteY99" fmla="*/ 63617 h 788699"/>
                <a:gd name="connsiteX100" fmla="*/ 651064 w 734307"/>
                <a:gd name="connsiteY100" fmla="*/ 79935 h 788699"/>
                <a:gd name="connsiteX101" fmla="*/ 645624 w 734307"/>
                <a:gd name="connsiteY101" fmla="*/ 96253 h 788699"/>
                <a:gd name="connsiteX102" fmla="*/ 629307 w 734307"/>
                <a:gd name="connsiteY102" fmla="*/ 104412 h 788699"/>
                <a:gd name="connsiteX103" fmla="*/ 607549 w 734307"/>
                <a:gd name="connsiteY103" fmla="*/ 107132 h 788699"/>
                <a:gd name="connsiteX104" fmla="*/ 580353 w 734307"/>
                <a:gd name="connsiteY104" fmla="*/ 107132 h 788699"/>
                <a:gd name="connsiteX105" fmla="*/ 583072 w 734307"/>
                <a:gd name="connsiteY105" fmla="*/ 115291 h 788699"/>
                <a:gd name="connsiteX106" fmla="*/ 588512 w 734307"/>
                <a:gd name="connsiteY106" fmla="*/ 156086 h 788699"/>
                <a:gd name="connsiteX107" fmla="*/ 593951 w 734307"/>
                <a:gd name="connsiteY107" fmla="*/ 196881 h 788699"/>
                <a:gd name="connsiteX108" fmla="*/ 599390 w 734307"/>
                <a:gd name="connsiteY108" fmla="*/ 226797 h 788699"/>
                <a:gd name="connsiteX109" fmla="*/ 599390 w 734307"/>
                <a:gd name="connsiteY109" fmla="*/ 232236 h 788699"/>
                <a:gd name="connsiteX110" fmla="*/ 599390 w 734307"/>
                <a:gd name="connsiteY110" fmla="*/ 240395 h 788699"/>
                <a:gd name="connsiteX111" fmla="*/ 602110 w 734307"/>
                <a:gd name="connsiteY111" fmla="*/ 270311 h 788699"/>
                <a:gd name="connsiteX112" fmla="*/ 607549 w 734307"/>
                <a:gd name="connsiteY112" fmla="*/ 308386 h 788699"/>
                <a:gd name="connsiteX113" fmla="*/ 607549 w 734307"/>
                <a:gd name="connsiteY113" fmla="*/ 319265 h 788699"/>
                <a:gd name="connsiteX114" fmla="*/ 612988 w 734307"/>
                <a:gd name="connsiteY114" fmla="*/ 335583 h 788699"/>
                <a:gd name="connsiteX115" fmla="*/ 612988 w 734307"/>
                <a:gd name="connsiteY115" fmla="*/ 346462 h 788699"/>
                <a:gd name="connsiteX116" fmla="*/ 612988 w 734307"/>
                <a:gd name="connsiteY116" fmla="*/ 370939 h 788699"/>
                <a:gd name="connsiteX117" fmla="*/ 612988 w 734307"/>
                <a:gd name="connsiteY117" fmla="*/ 395415 h 788699"/>
                <a:gd name="connsiteX118" fmla="*/ 615708 w 734307"/>
                <a:gd name="connsiteY118" fmla="*/ 422612 h 788699"/>
                <a:gd name="connsiteX119" fmla="*/ 618428 w 734307"/>
                <a:gd name="connsiteY119" fmla="*/ 441650 h 788699"/>
                <a:gd name="connsiteX120" fmla="*/ 618428 w 734307"/>
                <a:gd name="connsiteY120" fmla="*/ 455248 h 788699"/>
                <a:gd name="connsiteX121" fmla="*/ 621147 w 734307"/>
                <a:gd name="connsiteY121" fmla="*/ 463407 h 788699"/>
                <a:gd name="connsiteX122" fmla="*/ 626587 w 734307"/>
                <a:gd name="connsiteY122" fmla="*/ 482444 h 788699"/>
                <a:gd name="connsiteX123" fmla="*/ 629307 w 734307"/>
                <a:gd name="connsiteY123" fmla="*/ 517800 h 788699"/>
                <a:gd name="connsiteX124" fmla="*/ 634746 w 734307"/>
                <a:gd name="connsiteY124" fmla="*/ 561314 h 788699"/>
                <a:gd name="connsiteX125" fmla="*/ 634746 w 734307"/>
                <a:gd name="connsiteY125" fmla="*/ 566754 h 788699"/>
                <a:gd name="connsiteX126" fmla="*/ 634746 w 734307"/>
                <a:gd name="connsiteY126" fmla="*/ 583072 h 788699"/>
                <a:gd name="connsiteX127" fmla="*/ 637466 w 734307"/>
                <a:gd name="connsiteY127" fmla="*/ 607548 h 788699"/>
                <a:gd name="connsiteX128" fmla="*/ 640185 w 734307"/>
                <a:gd name="connsiteY128" fmla="*/ 618427 h 788699"/>
                <a:gd name="connsiteX129" fmla="*/ 640185 w 734307"/>
                <a:gd name="connsiteY129" fmla="*/ 632025 h 788699"/>
                <a:gd name="connsiteX130" fmla="*/ 640185 w 734307"/>
                <a:gd name="connsiteY130" fmla="*/ 640184 h 788699"/>
                <a:gd name="connsiteX131" fmla="*/ 642905 w 734307"/>
                <a:gd name="connsiteY131" fmla="*/ 659222 h 788699"/>
                <a:gd name="connsiteX132" fmla="*/ 642905 w 734307"/>
                <a:gd name="connsiteY132" fmla="*/ 664661 h 788699"/>
                <a:gd name="connsiteX133" fmla="*/ 653783 w 734307"/>
                <a:gd name="connsiteY133" fmla="*/ 678259 h 788699"/>
                <a:gd name="connsiteX134" fmla="*/ 653783 w 734307"/>
                <a:gd name="connsiteY134" fmla="*/ 678259 h 7886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</a:cxnLst>
              <a:rect l="l" t="t" r="r" b="b"/>
              <a:pathLst>
                <a:path w="734307" h="788699">
                  <a:moveTo>
                    <a:pt x="653783" y="678259"/>
                  </a:moveTo>
                  <a:cubicBezTo>
                    <a:pt x="667382" y="678259"/>
                    <a:pt x="691859" y="678259"/>
                    <a:pt x="691859" y="694577"/>
                  </a:cubicBezTo>
                  <a:cubicBezTo>
                    <a:pt x="691859" y="702736"/>
                    <a:pt x="689139" y="705456"/>
                    <a:pt x="686419" y="710895"/>
                  </a:cubicBezTo>
                  <a:cubicBezTo>
                    <a:pt x="683700" y="716335"/>
                    <a:pt x="675541" y="719054"/>
                    <a:pt x="670101" y="719054"/>
                  </a:cubicBezTo>
                  <a:cubicBezTo>
                    <a:pt x="661942" y="721774"/>
                    <a:pt x="653783" y="721774"/>
                    <a:pt x="648344" y="721774"/>
                  </a:cubicBezTo>
                  <a:cubicBezTo>
                    <a:pt x="645624" y="721774"/>
                    <a:pt x="634746" y="721774"/>
                    <a:pt x="618428" y="721774"/>
                  </a:cubicBezTo>
                  <a:cubicBezTo>
                    <a:pt x="604829" y="729933"/>
                    <a:pt x="588512" y="735372"/>
                    <a:pt x="572194" y="735372"/>
                  </a:cubicBezTo>
                  <a:cubicBezTo>
                    <a:pt x="564035" y="735372"/>
                    <a:pt x="553156" y="732653"/>
                    <a:pt x="544997" y="729933"/>
                  </a:cubicBezTo>
                  <a:cubicBezTo>
                    <a:pt x="539558" y="727213"/>
                    <a:pt x="536838" y="724494"/>
                    <a:pt x="534119" y="721774"/>
                  </a:cubicBezTo>
                  <a:cubicBezTo>
                    <a:pt x="520520" y="721774"/>
                    <a:pt x="509641" y="721774"/>
                    <a:pt x="496043" y="721774"/>
                  </a:cubicBezTo>
                  <a:cubicBezTo>
                    <a:pt x="487884" y="721774"/>
                    <a:pt x="479725" y="721774"/>
                    <a:pt x="471566" y="721774"/>
                  </a:cubicBezTo>
                  <a:cubicBezTo>
                    <a:pt x="463407" y="721774"/>
                    <a:pt x="452529" y="721774"/>
                    <a:pt x="444370" y="716335"/>
                  </a:cubicBezTo>
                  <a:cubicBezTo>
                    <a:pt x="436211" y="713615"/>
                    <a:pt x="428052" y="705456"/>
                    <a:pt x="428052" y="700017"/>
                  </a:cubicBezTo>
                  <a:cubicBezTo>
                    <a:pt x="428052" y="697297"/>
                    <a:pt x="428052" y="694577"/>
                    <a:pt x="433491" y="691858"/>
                  </a:cubicBezTo>
                  <a:cubicBezTo>
                    <a:pt x="438930" y="689138"/>
                    <a:pt x="449809" y="686418"/>
                    <a:pt x="455248" y="683699"/>
                  </a:cubicBezTo>
                  <a:cubicBezTo>
                    <a:pt x="474286" y="680979"/>
                    <a:pt x="498763" y="678259"/>
                    <a:pt x="506922" y="678259"/>
                  </a:cubicBezTo>
                  <a:cubicBezTo>
                    <a:pt x="506922" y="678259"/>
                    <a:pt x="509641" y="678259"/>
                    <a:pt x="509641" y="678259"/>
                  </a:cubicBezTo>
                  <a:cubicBezTo>
                    <a:pt x="509641" y="672820"/>
                    <a:pt x="506922" y="670101"/>
                    <a:pt x="506922" y="664661"/>
                  </a:cubicBezTo>
                  <a:cubicBezTo>
                    <a:pt x="501483" y="640184"/>
                    <a:pt x="501483" y="612988"/>
                    <a:pt x="498763" y="580352"/>
                  </a:cubicBezTo>
                  <a:cubicBezTo>
                    <a:pt x="496043" y="547716"/>
                    <a:pt x="498763" y="512361"/>
                    <a:pt x="496043" y="479725"/>
                  </a:cubicBezTo>
                  <a:cubicBezTo>
                    <a:pt x="493324" y="449808"/>
                    <a:pt x="493324" y="419892"/>
                    <a:pt x="493324" y="389976"/>
                  </a:cubicBezTo>
                  <a:cubicBezTo>
                    <a:pt x="493324" y="360060"/>
                    <a:pt x="490604" y="332863"/>
                    <a:pt x="490604" y="302947"/>
                  </a:cubicBezTo>
                  <a:cubicBezTo>
                    <a:pt x="487884" y="275751"/>
                    <a:pt x="487884" y="240395"/>
                    <a:pt x="487884" y="229516"/>
                  </a:cubicBezTo>
                  <a:cubicBezTo>
                    <a:pt x="487884" y="224077"/>
                    <a:pt x="487884" y="221357"/>
                    <a:pt x="485165" y="221357"/>
                  </a:cubicBezTo>
                  <a:cubicBezTo>
                    <a:pt x="485165" y="221357"/>
                    <a:pt x="482445" y="224077"/>
                    <a:pt x="482445" y="226797"/>
                  </a:cubicBezTo>
                  <a:cubicBezTo>
                    <a:pt x="479725" y="237675"/>
                    <a:pt x="479725" y="251274"/>
                    <a:pt x="477006" y="262152"/>
                  </a:cubicBezTo>
                  <a:cubicBezTo>
                    <a:pt x="471566" y="289349"/>
                    <a:pt x="466127" y="316545"/>
                    <a:pt x="460688" y="341022"/>
                  </a:cubicBezTo>
                  <a:cubicBezTo>
                    <a:pt x="455248" y="365499"/>
                    <a:pt x="447090" y="392696"/>
                    <a:pt x="444370" y="417173"/>
                  </a:cubicBezTo>
                  <a:cubicBezTo>
                    <a:pt x="441650" y="430771"/>
                    <a:pt x="438930" y="441650"/>
                    <a:pt x="436211" y="455248"/>
                  </a:cubicBezTo>
                  <a:cubicBezTo>
                    <a:pt x="433491" y="468846"/>
                    <a:pt x="428052" y="479725"/>
                    <a:pt x="425332" y="493323"/>
                  </a:cubicBezTo>
                  <a:cubicBezTo>
                    <a:pt x="422612" y="506921"/>
                    <a:pt x="419893" y="520520"/>
                    <a:pt x="411734" y="531398"/>
                  </a:cubicBezTo>
                  <a:cubicBezTo>
                    <a:pt x="406295" y="539557"/>
                    <a:pt x="395416" y="547716"/>
                    <a:pt x="376378" y="547716"/>
                  </a:cubicBezTo>
                  <a:cubicBezTo>
                    <a:pt x="357341" y="547716"/>
                    <a:pt x="335583" y="539557"/>
                    <a:pt x="319265" y="525959"/>
                  </a:cubicBezTo>
                  <a:cubicBezTo>
                    <a:pt x="300228" y="506921"/>
                    <a:pt x="294788" y="479725"/>
                    <a:pt x="289349" y="455248"/>
                  </a:cubicBezTo>
                  <a:cubicBezTo>
                    <a:pt x="283910" y="428051"/>
                    <a:pt x="278470" y="400855"/>
                    <a:pt x="273031" y="373658"/>
                  </a:cubicBezTo>
                  <a:cubicBezTo>
                    <a:pt x="273031" y="368219"/>
                    <a:pt x="267592" y="346462"/>
                    <a:pt x="262153" y="316545"/>
                  </a:cubicBezTo>
                  <a:cubicBezTo>
                    <a:pt x="256713" y="292068"/>
                    <a:pt x="251274" y="262152"/>
                    <a:pt x="245835" y="237675"/>
                  </a:cubicBezTo>
                  <a:cubicBezTo>
                    <a:pt x="240395" y="218638"/>
                    <a:pt x="237675" y="205039"/>
                    <a:pt x="234956" y="196881"/>
                  </a:cubicBezTo>
                  <a:cubicBezTo>
                    <a:pt x="232236" y="191441"/>
                    <a:pt x="232236" y="191441"/>
                    <a:pt x="232236" y="191441"/>
                  </a:cubicBezTo>
                  <a:cubicBezTo>
                    <a:pt x="229517" y="191441"/>
                    <a:pt x="229517" y="196881"/>
                    <a:pt x="226797" y="207759"/>
                  </a:cubicBezTo>
                  <a:cubicBezTo>
                    <a:pt x="226797" y="215918"/>
                    <a:pt x="226797" y="229516"/>
                    <a:pt x="226797" y="232236"/>
                  </a:cubicBezTo>
                  <a:cubicBezTo>
                    <a:pt x="226797" y="243115"/>
                    <a:pt x="224077" y="256713"/>
                    <a:pt x="224077" y="267592"/>
                  </a:cubicBezTo>
                  <a:cubicBezTo>
                    <a:pt x="224077" y="278470"/>
                    <a:pt x="224077" y="294788"/>
                    <a:pt x="221358" y="311106"/>
                  </a:cubicBezTo>
                  <a:cubicBezTo>
                    <a:pt x="221358" y="327424"/>
                    <a:pt x="218638" y="343742"/>
                    <a:pt x="218638" y="360060"/>
                  </a:cubicBezTo>
                  <a:cubicBezTo>
                    <a:pt x="218638" y="373658"/>
                    <a:pt x="215919" y="384537"/>
                    <a:pt x="215919" y="398135"/>
                  </a:cubicBezTo>
                  <a:cubicBezTo>
                    <a:pt x="215919" y="409014"/>
                    <a:pt x="213199" y="419892"/>
                    <a:pt x="213199" y="430771"/>
                  </a:cubicBezTo>
                  <a:cubicBezTo>
                    <a:pt x="213199" y="438930"/>
                    <a:pt x="213199" y="447089"/>
                    <a:pt x="213199" y="455248"/>
                  </a:cubicBezTo>
                  <a:cubicBezTo>
                    <a:pt x="213199" y="463407"/>
                    <a:pt x="213199" y="471566"/>
                    <a:pt x="213199" y="477005"/>
                  </a:cubicBezTo>
                  <a:cubicBezTo>
                    <a:pt x="210479" y="490603"/>
                    <a:pt x="207759" y="506921"/>
                    <a:pt x="207759" y="520520"/>
                  </a:cubicBezTo>
                  <a:cubicBezTo>
                    <a:pt x="202320" y="550436"/>
                    <a:pt x="199600" y="580352"/>
                    <a:pt x="196881" y="610268"/>
                  </a:cubicBezTo>
                  <a:cubicBezTo>
                    <a:pt x="196881" y="623866"/>
                    <a:pt x="196881" y="640184"/>
                    <a:pt x="194161" y="653783"/>
                  </a:cubicBezTo>
                  <a:cubicBezTo>
                    <a:pt x="194161" y="659222"/>
                    <a:pt x="194161" y="661942"/>
                    <a:pt x="191441" y="667381"/>
                  </a:cubicBezTo>
                  <a:cubicBezTo>
                    <a:pt x="213199" y="667381"/>
                    <a:pt x="232236" y="667381"/>
                    <a:pt x="243115" y="667381"/>
                  </a:cubicBezTo>
                  <a:cubicBezTo>
                    <a:pt x="253994" y="667381"/>
                    <a:pt x="273031" y="670101"/>
                    <a:pt x="273031" y="683699"/>
                  </a:cubicBezTo>
                  <a:cubicBezTo>
                    <a:pt x="273031" y="691858"/>
                    <a:pt x="267592" y="691858"/>
                    <a:pt x="262153" y="697297"/>
                  </a:cubicBezTo>
                  <a:cubicBezTo>
                    <a:pt x="259433" y="702736"/>
                    <a:pt x="253994" y="705456"/>
                    <a:pt x="248554" y="705456"/>
                  </a:cubicBezTo>
                  <a:cubicBezTo>
                    <a:pt x="240395" y="708176"/>
                    <a:pt x="234956" y="708176"/>
                    <a:pt x="232236" y="708176"/>
                  </a:cubicBezTo>
                  <a:cubicBezTo>
                    <a:pt x="226797" y="708176"/>
                    <a:pt x="175124" y="708176"/>
                    <a:pt x="166965" y="708176"/>
                  </a:cubicBezTo>
                  <a:cubicBezTo>
                    <a:pt x="156086" y="708176"/>
                    <a:pt x="120730" y="708176"/>
                    <a:pt x="109852" y="708176"/>
                  </a:cubicBezTo>
                  <a:cubicBezTo>
                    <a:pt x="104412" y="708176"/>
                    <a:pt x="96253" y="708176"/>
                    <a:pt x="90814" y="708176"/>
                  </a:cubicBezTo>
                  <a:cubicBezTo>
                    <a:pt x="85375" y="708176"/>
                    <a:pt x="77216" y="705456"/>
                    <a:pt x="69057" y="702736"/>
                  </a:cubicBezTo>
                  <a:cubicBezTo>
                    <a:pt x="63617" y="700017"/>
                    <a:pt x="58178" y="691858"/>
                    <a:pt x="58178" y="686418"/>
                  </a:cubicBezTo>
                  <a:cubicBezTo>
                    <a:pt x="58178" y="683699"/>
                    <a:pt x="58178" y="680979"/>
                    <a:pt x="60898" y="678259"/>
                  </a:cubicBezTo>
                  <a:cubicBezTo>
                    <a:pt x="63617" y="675540"/>
                    <a:pt x="71777" y="672820"/>
                    <a:pt x="77216" y="670101"/>
                  </a:cubicBezTo>
                  <a:cubicBezTo>
                    <a:pt x="90814" y="667381"/>
                    <a:pt x="120730" y="664661"/>
                    <a:pt x="126170" y="664661"/>
                  </a:cubicBezTo>
                  <a:cubicBezTo>
                    <a:pt x="128889" y="664661"/>
                    <a:pt x="134329" y="664661"/>
                    <a:pt x="142487" y="664661"/>
                  </a:cubicBezTo>
                  <a:cubicBezTo>
                    <a:pt x="142487" y="640184"/>
                    <a:pt x="147927" y="612988"/>
                    <a:pt x="147927" y="588511"/>
                  </a:cubicBezTo>
                  <a:cubicBezTo>
                    <a:pt x="150646" y="555875"/>
                    <a:pt x="153366" y="523239"/>
                    <a:pt x="153366" y="493323"/>
                  </a:cubicBezTo>
                  <a:cubicBezTo>
                    <a:pt x="153366" y="466126"/>
                    <a:pt x="156086" y="438930"/>
                    <a:pt x="156086" y="411733"/>
                  </a:cubicBezTo>
                  <a:cubicBezTo>
                    <a:pt x="158806" y="373658"/>
                    <a:pt x="158806" y="335583"/>
                    <a:pt x="161525" y="297508"/>
                  </a:cubicBezTo>
                  <a:cubicBezTo>
                    <a:pt x="161525" y="278470"/>
                    <a:pt x="164245" y="259433"/>
                    <a:pt x="166965" y="240395"/>
                  </a:cubicBezTo>
                  <a:cubicBezTo>
                    <a:pt x="169684" y="210479"/>
                    <a:pt x="172404" y="191441"/>
                    <a:pt x="177843" y="161525"/>
                  </a:cubicBezTo>
                  <a:cubicBezTo>
                    <a:pt x="180563" y="147927"/>
                    <a:pt x="180563" y="131609"/>
                    <a:pt x="183282" y="118011"/>
                  </a:cubicBezTo>
                  <a:cubicBezTo>
                    <a:pt x="183282" y="118011"/>
                    <a:pt x="183282" y="115291"/>
                    <a:pt x="183282" y="115291"/>
                  </a:cubicBezTo>
                  <a:cubicBezTo>
                    <a:pt x="177843" y="115291"/>
                    <a:pt x="172404" y="115291"/>
                    <a:pt x="161525" y="115291"/>
                  </a:cubicBezTo>
                  <a:cubicBezTo>
                    <a:pt x="153366" y="115291"/>
                    <a:pt x="145207" y="115291"/>
                    <a:pt x="137048" y="115291"/>
                  </a:cubicBezTo>
                  <a:cubicBezTo>
                    <a:pt x="128889" y="115291"/>
                    <a:pt x="118011" y="115291"/>
                    <a:pt x="109852" y="109851"/>
                  </a:cubicBezTo>
                  <a:cubicBezTo>
                    <a:pt x="101693" y="107132"/>
                    <a:pt x="93534" y="98973"/>
                    <a:pt x="93534" y="93534"/>
                  </a:cubicBezTo>
                  <a:cubicBezTo>
                    <a:pt x="93534" y="90814"/>
                    <a:pt x="93534" y="88094"/>
                    <a:pt x="98973" y="85375"/>
                  </a:cubicBezTo>
                  <a:cubicBezTo>
                    <a:pt x="104412" y="82655"/>
                    <a:pt x="115291" y="79935"/>
                    <a:pt x="120730" y="77216"/>
                  </a:cubicBezTo>
                  <a:cubicBezTo>
                    <a:pt x="139768" y="74496"/>
                    <a:pt x="164245" y="71776"/>
                    <a:pt x="172404" y="71776"/>
                  </a:cubicBezTo>
                  <a:cubicBezTo>
                    <a:pt x="194161" y="71776"/>
                    <a:pt x="210479" y="69057"/>
                    <a:pt x="234956" y="69057"/>
                  </a:cubicBezTo>
                  <a:cubicBezTo>
                    <a:pt x="237675" y="69057"/>
                    <a:pt x="240395" y="69057"/>
                    <a:pt x="243115" y="69057"/>
                  </a:cubicBezTo>
                  <a:cubicBezTo>
                    <a:pt x="251274" y="69057"/>
                    <a:pt x="262153" y="69057"/>
                    <a:pt x="270312" y="74496"/>
                  </a:cubicBezTo>
                  <a:cubicBezTo>
                    <a:pt x="283910" y="82655"/>
                    <a:pt x="300228" y="96253"/>
                    <a:pt x="308387" y="123450"/>
                  </a:cubicBezTo>
                  <a:cubicBezTo>
                    <a:pt x="316546" y="147927"/>
                    <a:pt x="327424" y="175123"/>
                    <a:pt x="332864" y="202320"/>
                  </a:cubicBezTo>
                  <a:cubicBezTo>
                    <a:pt x="335583" y="213198"/>
                    <a:pt x="335583" y="226797"/>
                    <a:pt x="338303" y="237675"/>
                  </a:cubicBezTo>
                  <a:cubicBezTo>
                    <a:pt x="343742" y="251274"/>
                    <a:pt x="346462" y="264872"/>
                    <a:pt x="349182" y="281190"/>
                  </a:cubicBezTo>
                  <a:cubicBezTo>
                    <a:pt x="351901" y="292068"/>
                    <a:pt x="351901" y="305667"/>
                    <a:pt x="357341" y="316545"/>
                  </a:cubicBezTo>
                  <a:cubicBezTo>
                    <a:pt x="362780" y="327424"/>
                    <a:pt x="362780" y="338303"/>
                    <a:pt x="365500" y="351901"/>
                  </a:cubicBezTo>
                  <a:cubicBezTo>
                    <a:pt x="365500" y="357340"/>
                    <a:pt x="373658" y="373658"/>
                    <a:pt x="376378" y="389976"/>
                  </a:cubicBezTo>
                  <a:cubicBezTo>
                    <a:pt x="381817" y="403574"/>
                    <a:pt x="384537" y="414453"/>
                    <a:pt x="387257" y="414453"/>
                  </a:cubicBezTo>
                  <a:cubicBezTo>
                    <a:pt x="392696" y="414453"/>
                    <a:pt x="395416" y="381817"/>
                    <a:pt x="398136" y="376378"/>
                  </a:cubicBezTo>
                  <a:cubicBezTo>
                    <a:pt x="400855" y="362779"/>
                    <a:pt x="403575" y="346462"/>
                    <a:pt x="406295" y="332863"/>
                  </a:cubicBezTo>
                  <a:cubicBezTo>
                    <a:pt x="411734" y="302947"/>
                    <a:pt x="417173" y="273031"/>
                    <a:pt x="425332" y="243115"/>
                  </a:cubicBezTo>
                  <a:cubicBezTo>
                    <a:pt x="430771" y="213198"/>
                    <a:pt x="436211" y="180563"/>
                    <a:pt x="444370" y="150646"/>
                  </a:cubicBezTo>
                  <a:cubicBezTo>
                    <a:pt x="449809" y="126170"/>
                    <a:pt x="460688" y="98973"/>
                    <a:pt x="477006" y="79935"/>
                  </a:cubicBezTo>
                  <a:cubicBezTo>
                    <a:pt x="487884" y="66337"/>
                    <a:pt x="506922" y="58178"/>
                    <a:pt x="523240" y="58178"/>
                  </a:cubicBezTo>
                  <a:cubicBezTo>
                    <a:pt x="528679" y="58178"/>
                    <a:pt x="539558" y="58178"/>
                    <a:pt x="544997" y="63617"/>
                  </a:cubicBezTo>
                  <a:lnTo>
                    <a:pt x="612988" y="63617"/>
                  </a:lnTo>
                  <a:cubicBezTo>
                    <a:pt x="626587" y="63617"/>
                    <a:pt x="651064" y="63617"/>
                    <a:pt x="651064" y="79935"/>
                  </a:cubicBezTo>
                  <a:cubicBezTo>
                    <a:pt x="651064" y="88094"/>
                    <a:pt x="648344" y="88094"/>
                    <a:pt x="645624" y="96253"/>
                  </a:cubicBezTo>
                  <a:cubicBezTo>
                    <a:pt x="640185" y="101693"/>
                    <a:pt x="634746" y="104412"/>
                    <a:pt x="629307" y="104412"/>
                  </a:cubicBezTo>
                  <a:cubicBezTo>
                    <a:pt x="621147" y="107132"/>
                    <a:pt x="612988" y="107132"/>
                    <a:pt x="607549" y="107132"/>
                  </a:cubicBezTo>
                  <a:cubicBezTo>
                    <a:pt x="604829" y="107132"/>
                    <a:pt x="591231" y="107132"/>
                    <a:pt x="580353" y="107132"/>
                  </a:cubicBezTo>
                  <a:cubicBezTo>
                    <a:pt x="580353" y="109851"/>
                    <a:pt x="583072" y="112571"/>
                    <a:pt x="583072" y="115291"/>
                  </a:cubicBezTo>
                  <a:cubicBezTo>
                    <a:pt x="585792" y="128889"/>
                    <a:pt x="585792" y="142487"/>
                    <a:pt x="588512" y="156086"/>
                  </a:cubicBezTo>
                  <a:cubicBezTo>
                    <a:pt x="591231" y="169684"/>
                    <a:pt x="591231" y="183282"/>
                    <a:pt x="593951" y="196881"/>
                  </a:cubicBezTo>
                  <a:cubicBezTo>
                    <a:pt x="593951" y="207759"/>
                    <a:pt x="599390" y="215918"/>
                    <a:pt x="599390" y="226797"/>
                  </a:cubicBezTo>
                  <a:cubicBezTo>
                    <a:pt x="599390" y="229516"/>
                    <a:pt x="599390" y="229516"/>
                    <a:pt x="599390" y="232236"/>
                  </a:cubicBezTo>
                  <a:cubicBezTo>
                    <a:pt x="599390" y="234956"/>
                    <a:pt x="599390" y="237675"/>
                    <a:pt x="599390" y="240395"/>
                  </a:cubicBezTo>
                  <a:cubicBezTo>
                    <a:pt x="599390" y="251274"/>
                    <a:pt x="599390" y="259433"/>
                    <a:pt x="602110" y="270311"/>
                  </a:cubicBezTo>
                  <a:cubicBezTo>
                    <a:pt x="604829" y="283909"/>
                    <a:pt x="607549" y="294788"/>
                    <a:pt x="607549" y="308386"/>
                  </a:cubicBezTo>
                  <a:cubicBezTo>
                    <a:pt x="607549" y="311106"/>
                    <a:pt x="607549" y="316545"/>
                    <a:pt x="607549" y="319265"/>
                  </a:cubicBezTo>
                  <a:cubicBezTo>
                    <a:pt x="607549" y="324704"/>
                    <a:pt x="610269" y="330144"/>
                    <a:pt x="612988" y="335583"/>
                  </a:cubicBezTo>
                  <a:cubicBezTo>
                    <a:pt x="612988" y="338303"/>
                    <a:pt x="612988" y="343742"/>
                    <a:pt x="612988" y="346462"/>
                  </a:cubicBezTo>
                  <a:cubicBezTo>
                    <a:pt x="612988" y="354620"/>
                    <a:pt x="612988" y="362779"/>
                    <a:pt x="612988" y="370939"/>
                  </a:cubicBezTo>
                  <a:cubicBezTo>
                    <a:pt x="612988" y="379097"/>
                    <a:pt x="612988" y="387256"/>
                    <a:pt x="612988" y="395415"/>
                  </a:cubicBezTo>
                  <a:cubicBezTo>
                    <a:pt x="612988" y="403574"/>
                    <a:pt x="615708" y="414453"/>
                    <a:pt x="615708" y="422612"/>
                  </a:cubicBezTo>
                  <a:cubicBezTo>
                    <a:pt x="618428" y="430771"/>
                    <a:pt x="618428" y="436210"/>
                    <a:pt x="618428" y="441650"/>
                  </a:cubicBezTo>
                  <a:cubicBezTo>
                    <a:pt x="618428" y="444369"/>
                    <a:pt x="618428" y="449808"/>
                    <a:pt x="618428" y="455248"/>
                  </a:cubicBezTo>
                  <a:cubicBezTo>
                    <a:pt x="618428" y="460687"/>
                    <a:pt x="618428" y="460687"/>
                    <a:pt x="621147" y="463407"/>
                  </a:cubicBezTo>
                  <a:cubicBezTo>
                    <a:pt x="623867" y="471566"/>
                    <a:pt x="623867" y="477005"/>
                    <a:pt x="626587" y="482444"/>
                  </a:cubicBezTo>
                  <a:cubicBezTo>
                    <a:pt x="629307" y="493323"/>
                    <a:pt x="629307" y="506921"/>
                    <a:pt x="629307" y="517800"/>
                  </a:cubicBezTo>
                  <a:cubicBezTo>
                    <a:pt x="632026" y="534118"/>
                    <a:pt x="632026" y="547716"/>
                    <a:pt x="634746" y="561314"/>
                  </a:cubicBezTo>
                  <a:cubicBezTo>
                    <a:pt x="634746" y="564034"/>
                    <a:pt x="634746" y="564034"/>
                    <a:pt x="634746" y="566754"/>
                  </a:cubicBezTo>
                  <a:cubicBezTo>
                    <a:pt x="634746" y="572193"/>
                    <a:pt x="634746" y="577632"/>
                    <a:pt x="634746" y="583072"/>
                  </a:cubicBezTo>
                  <a:cubicBezTo>
                    <a:pt x="634746" y="596670"/>
                    <a:pt x="637466" y="602109"/>
                    <a:pt x="637466" y="607548"/>
                  </a:cubicBezTo>
                  <a:cubicBezTo>
                    <a:pt x="637466" y="610268"/>
                    <a:pt x="640185" y="615708"/>
                    <a:pt x="640185" y="618427"/>
                  </a:cubicBezTo>
                  <a:cubicBezTo>
                    <a:pt x="640185" y="623866"/>
                    <a:pt x="640185" y="629306"/>
                    <a:pt x="640185" y="632025"/>
                  </a:cubicBezTo>
                  <a:cubicBezTo>
                    <a:pt x="640185" y="634745"/>
                    <a:pt x="640185" y="637465"/>
                    <a:pt x="640185" y="640184"/>
                  </a:cubicBezTo>
                  <a:cubicBezTo>
                    <a:pt x="640185" y="645624"/>
                    <a:pt x="642905" y="653783"/>
                    <a:pt x="642905" y="659222"/>
                  </a:cubicBezTo>
                  <a:cubicBezTo>
                    <a:pt x="642905" y="661942"/>
                    <a:pt x="642905" y="661942"/>
                    <a:pt x="642905" y="664661"/>
                  </a:cubicBezTo>
                  <a:cubicBezTo>
                    <a:pt x="645624" y="678259"/>
                    <a:pt x="651064" y="678259"/>
                    <a:pt x="653783" y="678259"/>
                  </a:cubicBezTo>
                  <a:lnTo>
                    <a:pt x="653783" y="678259"/>
                  </a:ln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/>
            </a:p>
          </p:txBody>
        </p:sp>
        <p:sp>
          <p:nvSpPr>
            <p:cNvPr id="44" name="Freeform: Shape 43">
              <a:extLst>
                <a:ext uri="{FF2B5EF4-FFF2-40B4-BE49-F238E27FC236}">
                  <a16:creationId xmlns:a16="http://schemas.microsoft.com/office/drawing/2014/main" id="{483C4B70-A492-45D8-92B2-DF52ECBF4F73}"/>
                </a:ext>
              </a:extLst>
            </p:cNvPr>
            <p:cNvSpPr/>
            <p:nvPr/>
          </p:nvSpPr>
          <p:spPr>
            <a:xfrm>
              <a:off x="6362526" y="4242177"/>
              <a:ext cx="492259" cy="674476"/>
            </a:xfrm>
            <a:custGeom>
              <a:avLst/>
              <a:gdLst>
                <a:gd name="connsiteX0" fmla="*/ 225733 w 492259"/>
                <a:gd name="connsiteY0" fmla="*/ 97907 h 674476"/>
                <a:gd name="connsiteX1" fmla="*/ 209415 w 492259"/>
                <a:gd name="connsiteY1" fmla="*/ 119665 h 674476"/>
                <a:gd name="connsiteX2" fmla="*/ 201256 w 492259"/>
                <a:gd name="connsiteY2" fmla="*/ 152300 h 674476"/>
                <a:gd name="connsiteX3" fmla="*/ 198536 w 492259"/>
                <a:gd name="connsiteY3" fmla="*/ 168618 h 674476"/>
                <a:gd name="connsiteX4" fmla="*/ 195817 w 492259"/>
                <a:gd name="connsiteY4" fmla="*/ 184936 h 674476"/>
                <a:gd name="connsiteX5" fmla="*/ 187658 w 492259"/>
                <a:gd name="connsiteY5" fmla="*/ 220292 h 674476"/>
                <a:gd name="connsiteX6" fmla="*/ 168620 w 492259"/>
                <a:gd name="connsiteY6" fmla="*/ 291003 h 674476"/>
                <a:gd name="connsiteX7" fmla="*/ 160461 w 492259"/>
                <a:gd name="connsiteY7" fmla="*/ 323639 h 674476"/>
                <a:gd name="connsiteX8" fmla="*/ 149582 w 492259"/>
                <a:gd name="connsiteY8" fmla="*/ 361714 h 674476"/>
                <a:gd name="connsiteX9" fmla="*/ 144143 w 492259"/>
                <a:gd name="connsiteY9" fmla="*/ 388910 h 674476"/>
                <a:gd name="connsiteX10" fmla="*/ 149582 w 492259"/>
                <a:gd name="connsiteY10" fmla="*/ 391630 h 674476"/>
                <a:gd name="connsiteX11" fmla="*/ 171340 w 492259"/>
                <a:gd name="connsiteY11" fmla="*/ 391630 h 674476"/>
                <a:gd name="connsiteX12" fmla="*/ 193097 w 492259"/>
                <a:gd name="connsiteY12" fmla="*/ 388910 h 674476"/>
                <a:gd name="connsiteX13" fmla="*/ 212135 w 492259"/>
                <a:gd name="connsiteY13" fmla="*/ 388910 h 674476"/>
                <a:gd name="connsiteX14" fmla="*/ 236611 w 492259"/>
                <a:gd name="connsiteY14" fmla="*/ 388910 h 674476"/>
                <a:gd name="connsiteX15" fmla="*/ 250210 w 492259"/>
                <a:gd name="connsiteY15" fmla="*/ 386191 h 674476"/>
                <a:gd name="connsiteX16" fmla="*/ 258369 w 492259"/>
                <a:gd name="connsiteY16" fmla="*/ 386191 h 674476"/>
                <a:gd name="connsiteX17" fmla="*/ 255649 w 492259"/>
                <a:gd name="connsiteY17" fmla="*/ 367153 h 674476"/>
                <a:gd name="connsiteX18" fmla="*/ 250210 w 492259"/>
                <a:gd name="connsiteY18" fmla="*/ 331797 h 674476"/>
                <a:gd name="connsiteX19" fmla="*/ 247490 w 492259"/>
                <a:gd name="connsiteY19" fmla="*/ 244769 h 674476"/>
                <a:gd name="connsiteX20" fmla="*/ 242051 w 492259"/>
                <a:gd name="connsiteY20" fmla="*/ 203974 h 674476"/>
                <a:gd name="connsiteX21" fmla="*/ 236611 w 492259"/>
                <a:gd name="connsiteY21" fmla="*/ 157740 h 674476"/>
                <a:gd name="connsiteX22" fmla="*/ 233892 w 492259"/>
                <a:gd name="connsiteY22" fmla="*/ 119665 h 674476"/>
                <a:gd name="connsiteX23" fmla="*/ 225733 w 492259"/>
                <a:gd name="connsiteY23" fmla="*/ 97907 h 674476"/>
                <a:gd name="connsiteX24" fmla="*/ 274687 w 492259"/>
                <a:gd name="connsiteY24" fmla="*/ 0 h 674476"/>
                <a:gd name="connsiteX25" fmla="*/ 304603 w 492259"/>
                <a:gd name="connsiteY25" fmla="*/ 5439 h 674476"/>
                <a:gd name="connsiteX26" fmla="*/ 320921 w 492259"/>
                <a:gd name="connsiteY26" fmla="*/ 24477 h 674476"/>
                <a:gd name="connsiteX27" fmla="*/ 334519 w 492259"/>
                <a:gd name="connsiteY27" fmla="*/ 43515 h 674476"/>
                <a:gd name="connsiteX28" fmla="*/ 339959 w 492259"/>
                <a:gd name="connsiteY28" fmla="*/ 65272 h 674476"/>
                <a:gd name="connsiteX29" fmla="*/ 348118 w 492259"/>
                <a:gd name="connsiteY29" fmla="*/ 114226 h 674476"/>
                <a:gd name="connsiteX30" fmla="*/ 361716 w 492259"/>
                <a:gd name="connsiteY30" fmla="*/ 163180 h 674476"/>
                <a:gd name="connsiteX31" fmla="*/ 369875 w 492259"/>
                <a:gd name="connsiteY31" fmla="*/ 220293 h 674476"/>
                <a:gd name="connsiteX32" fmla="*/ 378034 w 492259"/>
                <a:gd name="connsiteY32" fmla="*/ 274686 h 674476"/>
                <a:gd name="connsiteX33" fmla="*/ 383473 w 492259"/>
                <a:gd name="connsiteY33" fmla="*/ 301883 h 674476"/>
                <a:gd name="connsiteX34" fmla="*/ 391632 w 492259"/>
                <a:gd name="connsiteY34" fmla="*/ 337238 h 674476"/>
                <a:gd name="connsiteX35" fmla="*/ 397071 w 492259"/>
                <a:gd name="connsiteY35" fmla="*/ 364435 h 674476"/>
                <a:gd name="connsiteX36" fmla="*/ 405230 w 492259"/>
                <a:gd name="connsiteY36" fmla="*/ 383473 h 674476"/>
                <a:gd name="connsiteX37" fmla="*/ 416109 w 492259"/>
                <a:gd name="connsiteY37" fmla="*/ 386192 h 674476"/>
                <a:gd name="connsiteX38" fmla="*/ 426988 w 492259"/>
                <a:gd name="connsiteY38" fmla="*/ 386192 h 674476"/>
                <a:gd name="connsiteX39" fmla="*/ 454184 w 492259"/>
                <a:gd name="connsiteY39" fmla="*/ 397071 h 674476"/>
                <a:gd name="connsiteX40" fmla="*/ 456904 w 492259"/>
                <a:gd name="connsiteY40" fmla="*/ 405230 h 674476"/>
                <a:gd name="connsiteX41" fmla="*/ 451464 w 492259"/>
                <a:gd name="connsiteY41" fmla="*/ 416108 h 674476"/>
                <a:gd name="connsiteX42" fmla="*/ 432427 w 492259"/>
                <a:gd name="connsiteY42" fmla="*/ 429707 h 674476"/>
                <a:gd name="connsiteX43" fmla="*/ 421548 w 492259"/>
                <a:gd name="connsiteY43" fmla="*/ 432426 h 674476"/>
                <a:gd name="connsiteX44" fmla="*/ 413389 w 492259"/>
                <a:gd name="connsiteY44" fmla="*/ 435146 h 674476"/>
                <a:gd name="connsiteX45" fmla="*/ 413389 w 492259"/>
                <a:gd name="connsiteY45" fmla="*/ 440585 h 674476"/>
                <a:gd name="connsiteX46" fmla="*/ 416109 w 492259"/>
                <a:gd name="connsiteY46" fmla="*/ 451464 h 674476"/>
                <a:gd name="connsiteX47" fmla="*/ 418829 w 492259"/>
                <a:gd name="connsiteY47" fmla="*/ 465062 h 674476"/>
                <a:gd name="connsiteX48" fmla="*/ 418829 w 492259"/>
                <a:gd name="connsiteY48" fmla="*/ 475941 h 674476"/>
                <a:gd name="connsiteX49" fmla="*/ 418829 w 492259"/>
                <a:gd name="connsiteY49" fmla="*/ 486820 h 674476"/>
                <a:gd name="connsiteX50" fmla="*/ 426988 w 492259"/>
                <a:gd name="connsiteY50" fmla="*/ 516736 h 674476"/>
                <a:gd name="connsiteX51" fmla="*/ 432427 w 492259"/>
                <a:gd name="connsiteY51" fmla="*/ 543932 h 674476"/>
                <a:gd name="connsiteX52" fmla="*/ 437866 w 492259"/>
                <a:gd name="connsiteY52" fmla="*/ 573848 h 674476"/>
                <a:gd name="connsiteX53" fmla="*/ 443306 w 492259"/>
                <a:gd name="connsiteY53" fmla="*/ 606484 h 674476"/>
                <a:gd name="connsiteX54" fmla="*/ 446025 w 492259"/>
                <a:gd name="connsiteY54" fmla="*/ 617363 h 674476"/>
                <a:gd name="connsiteX55" fmla="*/ 470502 w 492259"/>
                <a:gd name="connsiteY55" fmla="*/ 617363 h 674476"/>
                <a:gd name="connsiteX56" fmla="*/ 492259 w 492259"/>
                <a:gd name="connsiteY56" fmla="*/ 641840 h 674476"/>
                <a:gd name="connsiteX57" fmla="*/ 484101 w 492259"/>
                <a:gd name="connsiteY57" fmla="*/ 655438 h 674476"/>
                <a:gd name="connsiteX58" fmla="*/ 467782 w 492259"/>
                <a:gd name="connsiteY58" fmla="*/ 663597 h 674476"/>
                <a:gd name="connsiteX59" fmla="*/ 443306 w 492259"/>
                <a:gd name="connsiteY59" fmla="*/ 666317 h 674476"/>
                <a:gd name="connsiteX60" fmla="*/ 421548 w 492259"/>
                <a:gd name="connsiteY60" fmla="*/ 666317 h 674476"/>
                <a:gd name="connsiteX61" fmla="*/ 413389 w 492259"/>
                <a:gd name="connsiteY61" fmla="*/ 666317 h 674476"/>
                <a:gd name="connsiteX62" fmla="*/ 399791 w 492259"/>
                <a:gd name="connsiteY62" fmla="*/ 671756 h 674476"/>
                <a:gd name="connsiteX63" fmla="*/ 383473 w 492259"/>
                <a:gd name="connsiteY63" fmla="*/ 674476 h 674476"/>
                <a:gd name="connsiteX64" fmla="*/ 348118 w 492259"/>
                <a:gd name="connsiteY64" fmla="*/ 669036 h 674476"/>
                <a:gd name="connsiteX65" fmla="*/ 326360 w 492259"/>
                <a:gd name="connsiteY65" fmla="*/ 669036 h 674476"/>
                <a:gd name="connsiteX66" fmla="*/ 277406 w 492259"/>
                <a:gd name="connsiteY66" fmla="*/ 669036 h 674476"/>
                <a:gd name="connsiteX67" fmla="*/ 252930 w 492259"/>
                <a:gd name="connsiteY67" fmla="*/ 663597 h 674476"/>
                <a:gd name="connsiteX68" fmla="*/ 236611 w 492259"/>
                <a:gd name="connsiteY68" fmla="*/ 647279 h 674476"/>
                <a:gd name="connsiteX69" fmla="*/ 261088 w 492259"/>
                <a:gd name="connsiteY69" fmla="*/ 630961 h 674476"/>
                <a:gd name="connsiteX70" fmla="*/ 288285 w 492259"/>
                <a:gd name="connsiteY70" fmla="*/ 628241 h 674476"/>
                <a:gd name="connsiteX71" fmla="*/ 285565 w 492259"/>
                <a:gd name="connsiteY71" fmla="*/ 609204 h 674476"/>
                <a:gd name="connsiteX72" fmla="*/ 282846 w 492259"/>
                <a:gd name="connsiteY72" fmla="*/ 582007 h 674476"/>
                <a:gd name="connsiteX73" fmla="*/ 280126 w 492259"/>
                <a:gd name="connsiteY73" fmla="*/ 568409 h 674476"/>
                <a:gd name="connsiteX74" fmla="*/ 282846 w 492259"/>
                <a:gd name="connsiteY74" fmla="*/ 554811 h 674476"/>
                <a:gd name="connsiteX75" fmla="*/ 277406 w 492259"/>
                <a:gd name="connsiteY75" fmla="*/ 538493 h 674476"/>
                <a:gd name="connsiteX76" fmla="*/ 271967 w 492259"/>
                <a:gd name="connsiteY76" fmla="*/ 505857 h 674476"/>
                <a:gd name="connsiteX77" fmla="*/ 269247 w 492259"/>
                <a:gd name="connsiteY77" fmla="*/ 478660 h 674476"/>
                <a:gd name="connsiteX78" fmla="*/ 266528 w 492259"/>
                <a:gd name="connsiteY78" fmla="*/ 446025 h 674476"/>
                <a:gd name="connsiteX79" fmla="*/ 261088 w 492259"/>
                <a:gd name="connsiteY79" fmla="*/ 437866 h 674476"/>
                <a:gd name="connsiteX80" fmla="*/ 250210 w 492259"/>
                <a:gd name="connsiteY80" fmla="*/ 437866 h 674476"/>
                <a:gd name="connsiteX81" fmla="*/ 220293 w 492259"/>
                <a:gd name="connsiteY81" fmla="*/ 440585 h 674476"/>
                <a:gd name="connsiteX82" fmla="*/ 190377 w 492259"/>
                <a:gd name="connsiteY82" fmla="*/ 443305 h 674476"/>
                <a:gd name="connsiteX83" fmla="*/ 165900 w 492259"/>
                <a:gd name="connsiteY83" fmla="*/ 443305 h 674476"/>
                <a:gd name="connsiteX84" fmla="*/ 144143 w 492259"/>
                <a:gd name="connsiteY84" fmla="*/ 440585 h 674476"/>
                <a:gd name="connsiteX85" fmla="*/ 135984 w 492259"/>
                <a:gd name="connsiteY85" fmla="*/ 454184 h 674476"/>
                <a:gd name="connsiteX86" fmla="*/ 130545 w 492259"/>
                <a:gd name="connsiteY86" fmla="*/ 486820 h 674476"/>
                <a:gd name="connsiteX87" fmla="*/ 119666 w 492259"/>
                <a:gd name="connsiteY87" fmla="*/ 541213 h 674476"/>
                <a:gd name="connsiteX88" fmla="*/ 103348 w 492259"/>
                <a:gd name="connsiteY88" fmla="*/ 614643 h 674476"/>
                <a:gd name="connsiteX89" fmla="*/ 133264 w 492259"/>
                <a:gd name="connsiteY89" fmla="*/ 614643 h 674476"/>
                <a:gd name="connsiteX90" fmla="*/ 168620 w 492259"/>
                <a:gd name="connsiteY90" fmla="*/ 630961 h 674476"/>
                <a:gd name="connsiteX91" fmla="*/ 163181 w 492259"/>
                <a:gd name="connsiteY91" fmla="*/ 647279 h 674476"/>
                <a:gd name="connsiteX92" fmla="*/ 146863 w 492259"/>
                <a:gd name="connsiteY92" fmla="*/ 655438 h 674476"/>
                <a:gd name="connsiteX93" fmla="*/ 127825 w 492259"/>
                <a:gd name="connsiteY93" fmla="*/ 658158 h 674476"/>
                <a:gd name="connsiteX94" fmla="*/ 106068 w 492259"/>
                <a:gd name="connsiteY94" fmla="*/ 658158 h 674476"/>
                <a:gd name="connsiteX95" fmla="*/ 62552 w 492259"/>
                <a:gd name="connsiteY95" fmla="*/ 658158 h 674476"/>
                <a:gd name="connsiteX96" fmla="*/ 40795 w 492259"/>
                <a:gd name="connsiteY96" fmla="*/ 658158 h 674476"/>
                <a:gd name="connsiteX97" fmla="*/ 16318 w 492259"/>
                <a:gd name="connsiteY97" fmla="*/ 652718 h 674476"/>
                <a:gd name="connsiteX98" fmla="*/ 0 w 492259"/>
                <a:gd name="connsiteY98" fmla="*/ 636401 h 674476"/>
                <a:gd name="connsiteX99" fmla="*/ 2720 w 492259"/>
                <a:gd name="connsiteY99" fmla="*/ 628241 h 674476"/>
                <a:gd name="connsiteX100" fmla="*/ 24477 w 492259"/>
                <a:gd name="connsiteY100" fmla="*/ 620082 h 674476"/>
                <a:gd name="connsiteX101" fmla="*/ 62552 w 492259"/>
                <a:gd name="connsiteY101" fmla="*/ 617363 h 674476"/>
                <a:gd name="connsiteX102" fmla="*/ 62552 w 492259"/>
                <a:gd name="connsiteY102" fmla="*/ 614643 h 674476"/>
                <a:gd name="connsiteX103" fmla="*/ 65272 w 492259"/>
                <a:gd name="connsiteY103" fmla="*/ 587447 h 674476"/>
                <a:gd name="connsiteX104" fmla="*/ 76151 w 492259"/>
                <a:gd name="connsiteY104" fmla="*/ 522175 h 674476"/>
                <a:gd name="connsiteX105" fmla="*/ 87029 w 492259"/>
                <a:gd name="connsiteY105" fmla="*/ 470501 h 674476"/>
                <a:gd name="connsiteX106" fmla="*/ 92468 w 492259"/>
                <a:gd name="connsiteY106" fmla="*/ 446025 h 674476"/>
                <a:gd name="connsiteX107" fmla="*/ 65272 w 492259"/>
                <a:gd name="connsiteY107" fmla="*/ 432426 h 674476"/>
                <a:gd name="connsiteX108" fmla="*/ 54393 w 492259"/>
                <a:gd name="connsiteY108" fmla="*/ 421548 h 674476"/>
                <a:gd name="connsiteX109" fmla="*/ 73431 w 492259"/>
                <a:gd name="connsiteY109" fmla="*/ 407949 h 674476"/>
                <a:gd name="connsiteX110" fmla="*/ 100629 w 492259"/>
                <a:gd name="connsiteY110" fmla="*/ 399790 h 674476"/>
                <a:gd name="connsiteX111" fmla="*/ 108788 w 492259"/>
                <a:gd name="connsiteY111" fmla="*/ 369874 h 674476"/>
                <a:gd name="connsiteX112" fmla="*/ 125105 w 492259"/>
                <a:gd name="connsiteY112" fmla="*/ 307322 h 674476"/>
                <a:gd name="connsiteX113" fmla="*/ 141423 w 492259"/>
                <a:gd name="connsiteY113" fmla="*/ 242051 h 674476"/>
                <a:gd name="connsiteX114" fmla="*/ 155022 w 492259"/>
                <a:gd name="connsiteY114" fmla="*/ 179498 h 674476"/>
                <a:gd name="connsiteX115" fmla="*/ 168620 w 492259"/>
                <a:gd name="connsiteY115" fmla="*/ 119665 h 674476"/>
                <a:gd name="connsiteX116" fmla="*/ 193097 w 492259"/>
                <a:gd name="connsiteY116" fmla="*/ 57113 h 674476"/>
                <a:gd name="connsiteX117" fmla="*/ 201256 w 492259"/>
                <a:gd name="connsiteY117" fmla="*/ 38075 h 674476"/>
                <a:gd name="connsiteX118" fmla="*/ 217574 w 492259"/>
                <a:gd name="connsiteY118" fmla="*/ 13598 h 674476"/>
                <a:gd name="connsiteX119" fmla="*/ 274687 w 492259"/>
                <a:gd name="connsiteY119" fmla="*/ 0 h 6744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</a:cxnLst>
              <a:rect l="l" t="t" r="r" b="b"/>
              <a:pathLst>
                <a:path w="492259" h="674476">
                  <a:moveTo>
                    <a:pt x="225733" y="97907"/>
                  </a:moveTo>
                  <a:cubicBezTo>
                    <a:pt x="217574" y="97907"/>
                    <a:pt x="209415" y="114225"/>
                    <a:pt x="209415" y="119665"/>
                  </a:cubicBezTo>
                  <a:cubicBezTo>
                    <a:pt x="206695" y="130543"/>
                    <a:pt x="203976" y="144141"/>
                    <a:pt x="201256" y="152300"/>
                  </a:cubicBezTo>
                  <a:cubicBezTo>
                    <a:pt x="198536" y="157740"/>
                    <a:pt x="198536" y="163179"/>
                    <a:pt x="198536" y="168618"/>
                  </a:cubicBezTo>
                  <a:cubicBezTo>
                    <a:pt x="198536" y="174058"/>
                    <a:pt x="195817" y="179497"/>
                    <a:pt x="195817" y="184936"/>
                  </a:cubicBezTo>
                  <a:cubicBezTo>
                    <a:pt x="193097" y="195815"/>
                    <a:pt x="190377" y="209413"/>
                    <a:pt x="187658" y="220292"/>
                  </a:cubicBezTo>
                  <a:cubicBezTo>
                    <a:pt x="184938" y="244769"/>
                    <a:pt x="176779" y="269246"/>
                    <a:pt x="168620" y="291003"/>
                  </a:cubicBezTo>
                  <a:cubicBezTo>
                    <a:pt x="165900" y="301881"/>
                    <a:pt x="163181" y="312760"/>
                    <a:pt x="160461" y="323639"/>
                  </a:cubicBezTo>
                  <a:cubicBezTo>
                    <a:pt x="157742" y="337237"/>
                    <a:pt x="155022" y="348115"/>
                    <a:pt x="149582" y="361714"/>
                  </a:cubicBezTo>
                  <a:cubicBezTo>
                    <a:pt x="146863" y="367153"/>
                    <a:pt x="144143" y="383471"/>
                    <a:pt x="144143" y="388910"/>
                  </a:cubicBezTo>
                  <a:cubicBezTo>
                    <a:pt x="144143" y="391630"/>
                    <a:pt x="146863" y="391630"/>
                    <a:pt x="149582" y="391630"/>
                  </a:cubicBezTo>
                  <a:cubicBezTo>
                    <a:pt x="155022" y="391630"/>
                    <a:pt x="168620" y="391630"/>
                    <a:pt x="171340" y="391630"/>
                  </a:cubicBezTo>
                  <a:cubicBezTo>
                    <a:pt x="179498" y="391630"/>
                    <a:pt x="187658" y="391630"/>
                    <a:pt x="193097" y="388910"/>
                  </a:cubicBezTo>
                  <a:cubicBezTo>
                    <a:pt x="198536" y="388910"/>
                    <a:pt x="203976" y="388910"/>
                    <a:pt x="212135" y="388910"/>
                  </a:cubicBezTo>
                  <a:cubicBezTo>
                    <a:pt x="217574" y="388910"/>
                    <a:pt x="225733" y="388910"/>
                    <a:pt x="236611" y="388910"/>
                  </a:cubicBezTo>
                  <a:cubicBezTo>
                    <a:pt x="242051" y="388910"/>
                    <a:pt x="247490" y="388910"/>
                    <a:pt x="250210" y="386191"/>
                  </a:cubicBezTo>
                  <a:cubicBezTo>
                    <a:pt x="255649" y="391630"/>
                    <a:pt x="258369" y="388910"/>
                    <a:pt x="258369" y="386191"/>
                  </a:cubicBezTo>
                  <a:cubicBezTo>
                    <a:pt x="258369" y="380751"/>
                    <a:pt x="255649" y="372592"/>
                    <a:pt x="255649" y="367153"/>
                  </a:cubicBezTo>
                  <a:cubicBezTo>
                    <a:pt x="252930" y="353555"/>
                    <a:pt x="250210" y="342676"/>
                    <a:pt x="250210" y="331797"/>
                  </a:cubicBezTo>
                  <a:cubicBezTo>
                    <a:pt x="250210" y="301881"/>
                    <a:pt x="250210" y="274685"/>
                    <a:pt x="247490" y="244769"/>
                  </a:cubicBezTo>
                  <a:cubicBezTo>
                    <a:pt x="247490" y="231170"/>
                    <a:pt x="244771" y="217572"/>
                    <a:pt x="242051" y="203974"/>
                  </a:cubicBezTo>
                  <a:cubicBezTo>
                    <a:pt x="239331" y="187656"/>
                    <a:pt x="236611" y="174058"/>
                    <a:pt x="236611" y="157740"/>
                  </a:cubicBezTo>
                  <a:cubicBezTo>
                    <a:pt x="236611" y="152300"/>
                    <a:pt x="236611" y="133263"/>
                    <a:pt x="233892" y="119665"/>
                  </a:cubicBezTo>
                  <a:cubicBezTo>
                    <a:pt x="233892" y="106066"/>
                    <a:pt x="231172" y="97907"/>
                    <a:pt x="225733" y="97907"/>
                  </a:cubicBezTo>
                  <a:close/>
                  <a:moveTo>
                    <a:pt x="274687" y="0"/>
                  </a:moveTo>
                  <a:cubicBezTo>
                    <a:pt x="288285" y="0"/>
                    <a:pt x="293724" y="2720"/>
                    <a:pt x="304603" y="5439"/>
                  </a:cubicBezTo>
                  <a:cubicBezTo>
                    <a:pt x="315481" y="10879"/>
                    <a:pt x="315481" y="16318"/>
                    <a:pt x="320921" y="24477"/>
                  </a:cubicBezTo>
                  <a:cubicBezTo>
                    <a:pt x="326360" y="29916"/>
                    <a:pt x="331800" y="35356"/>
                    <a:pt x="334519" y="43515"/>
                  </a:cubicBezTo>
                  <a:cubicBezTo>
                    <a:pt x="337239" y="51674"/>
                    <a:pt x="337239" y="57113"/>
                    <a:pt x="339959" y="65272"/>
                  </a:cubicBezTo>
                  <a:cubicBezTo>
                    <a:pt x="345398" y="78870"/>
                    <a:pt x="342678" y="97908"/>
                    <a:pt x="348118" y="114226"/>
                  </a:cubicBezTo>
                  <a:cubicBezTo>
                    <a:pt x="350837" y="130544"/>
                    <a:pt x="358996" y="146863"/>
                    <a:pt x="361716" y="163180"/>
                  </a:cubicBezTo>
                  <a:cubicBezTo>
                    <a:pt x="364435" y="182218"/>
                    <a:pt x="364435" y="201256"/>
                    <a:pt x="369875" y="220293"/>
                  </a:cubicBezTo>
                  <a:cubicBezTo>
                    <a:pt x="375314" y="239331"/>
                    <a:pt x="378034" y="255649"/>
                    <a:pt x="378034" y="274686"/>
                  </a:cubicBezTo>
                  <a:cubicBezTo>
                    <a:pt x="378034" y="282845"/>
                    <a:pt x="380753" y="293724"/>
                    <a:pt x="383473" y="301883"/>
                  </a:cubicBezTo>
                  <a:cubicBezTo>
                    <a:pt x="386193" y="312762"/>
                    <a:pt x="388913" y="326360"/>
                    <a:pt x="391632" y="337238"/>
                  </a:cubicBezTo>
                  <a:cubicBezTo>
                    <a:pt x="391632" y="342678"/>
                    <a:pt x="394352" y="353556"/>
                    <a:pt x="397071" y="364435"/>
                  </a:cubicBezTo>
                  <a:cubicBezTo>
                    <a:pt x="399791" y="372594"/>
                    <a:pt x="402511" y="380753"/>
                    <a:pt x="405230" y="383473"/>
                  </a:cubicBezTo>
                  <a:cubicBezTo>
                    <a:pt x="407950" y="386192"/>
                    <a:pt x="413389" y="386192"/>
                    <a:pt x="416109" y="386192"/>
                  </a:cubicBezTo>
                  <a:cubicBezTo>
                    <a:pt x="418829" y="386192"/>
                    <a:pt x="424268" y="386192"/>
                    <a:pt x="426988" y="386192"/>
                  </a:cubicBezTo>
                  <a:cubicBezTo>
                    <a:pt x="437866" y="386192"/>
                    <a:pt x="448745" y="388912"/>
                    <a:pt x="454184" y="397071"/>
                  </a:cubicBezTo>
                  <a:cubicBezTo>
                    <a:pt x="456904" y="399790"/>
                    <a:pt x="456904" y="402510"/>
                    <a:pt x="456904" y="405230"/>
                  </a:cubicBezTo>
                  <a:cubicBezTo>
                    <a:pt x="456904" y="407949"/>
                    <a:pt x="454184" y="410669"/>
                    <a:pt x="451464" y="416108"/>
                  </a:cubicBezTo>
                  <a:cubicBezTo>
                    <a:pt x="446025" y="421548"/>
                    <a:pt x="440586" y="426987"/>
                    <a:pt x="432427" y="429707"/>
                  </a:cubicBezTo>
                  <a:cubicBezTo>
                    <a:pt x="429707" y="429707"/>
                    <a:pt x="426988" y="432426"/>
                    <a:pt x="421548" y="432426"/>
                  </a:cubicBezTo>
                  <a:cubicBezTo>
                    <a:pt x="418829" y="432426"/>
                    <a:pt x="416109" y="432426"/>
                    <a:pt x="413389" y="435146"/>
                  </a:cubicBezTo>
                  <a:cubicBezTo>
                    <a:pt x="413389" y="435146"/>
                    <a:pt x="413389" y="437866"/>
                    <a:pt x="413389" y="440585"/>
                  </a:cubicBezTo>
                  <a:cubicBezTo>
                    <a:pt x="413389" y="443305"/>
                    <a:pt x="413389" y="448744"/>
                    <a:pt x="416109" y="451464"/>
                  </a:cubicBezTo>
                  <a:cubicBezTo>
                    <a:pt x="416109" y="456903"/>
                    <a:pt x="418829" y="462343"/>
                    <a:pt x="418829" y="465062"/>
                  </a:cubicBezTo>
                  <a:lnTo>
                    <a:pt x="418829" y="475941"/>
                  </a:lnTo>
                  <a:cubicBezTo>
                    <a:pt x="418829" y="481380"/>
                    <a:pt x="418829" y="484100"/>
                    <a:pt x="418829" y="486820"/>
                  </a:cubicBezTo>
                  <a:cubicBezTo>
                    <a:pt x="421548" y="497698"/>
                    <a:pt x="424268" y="505857"/>
                    <a:pt x="426988" y="516736"/>
                  </a:cubicBezTo>
                  <a:cubicBezTo>
                    <a:pt x="426988" y="524895"/>
                    <a:pt x="429707" y="535773"/>
                    <a:pt x="432427" y="543932"/>
                  </a:cubicBezTo>
                  <a:cubicBezTo>
                    <a:pt x="435147" y="554811"/>
                    <a:pt x="437866" y="562970"/>
                    <a:pt x="437866" y="573848"/>
                  </a:cubicBezTo>
                  <a:cubicBezTo>
                    <a:pt x="437866" y="587447"/>
                    <a:pt x="440586" y="595606"/>
                    <a:pt x="443306" y="606484"/>
                  </a:cubicBezTo>
                  <a:cubicBezTo>
                    <a:pt x="443306" y="609204"/>
                    <a:pt x="446025" y="614643"/>
                    <a:pt x="446025" y="617363"/>
                  </a:cubicBezTo>
                  <a:cubicBezTo>
                    <a:pt x="454184" y="617363"/>
                    <a:pt x="462343" y="617363"/>
                    <a:pt x="470502" y="617363"/>
                  </a:cubicBezTo>
                  <a:cubicBezTo>
                    <a:pt x="475942" y="625522"/>
                    <a:pt x="492259" y="630961"/>
                    <a:pt x="492259" y="641840"/>
                  </a:cubicBezTo>
                  <a:cubicBezTo>
                    <a:pt x="492259" y="647279"/>
                    <a:pt x="486820" y="649999"/>
                    <a:pt x="484101" y="655438"/>
                  </a:cubicBezTo>
                  <a:cubicBezTo>
                    <a:pt x="481381" y="660877"/>
                    <a:pt x="473222" y="663597"/>
                    <a:pt x="467782" y="663597"/>
                  </a:cubicBezTo>
                  <a:cubicBezTo>
                    <a:pt x="456904" y="666317"/>
                    <a:pt x="451464" y="666317"/>
                    <a:pt x="443306" y="666317"/>
                  </a:cubicBezTo>
                  <a:cubicBezTo>
                    <a:pt x="437866" y="666317"/>
                    <a:pt x="429707" y="666317"/>
                    <a:pt x="421548" y="666317"/>
                  </a:cubicBezTo>
                  <a:cubicBezTo>
                    <a:pt x="418829" y="666317"/>
                    <a:pt x="416109" y="666317"/>
                    <a:pt x="413389" y="666317"/>
                  </a:cubicBezTo>
                  <a:cubicBezTo>
                    <a:pt x="407950" y="669036"/>
                    <a:pt x="405230" y="669036"/>
                    <a:pt x="399791" y="671756"/>
                  </a:cubicBezTo>
                  <a:cubicBezTo>
                    <a:pt x="394352" y="671756"/>
                    <a:pt x="388913" y="674476"/>
                    <a:pt x="383473" y="674476"/>
                  </a:cubicBezTo>
                  <a:cubicBezTo>
                    <a:pt x="372594" y="674476"/>
                    <a:pt x="358996" y="671756"/>
                    <a:pt x="348118" y="669036"/>
                  </a:cubicBezTo>
                  <a:cubicBezTo>
                    <a:pt x="339959" y="669036"/>
                    <a:pt x="331800" y="669036"/>
                    <a:pt x="326360" y="669036"/>
                  </a:cubicBezTo>
                  <a:cubicBezTo>
                    <a:pt x="304603" y="669036"/>
                    <a:pt x="285565" y="669036"/>
                    <a:pt x="277406" y="669036"/>
                  </a:cubicBezTo>
                  <a:cubicBezTo>
                    <a:pt x="269247" y="669036"/>
                    <a:pt x="258369" y="669036"/>
                    <a:pt x="252930" y="663597"/>
                  </a:cubicBezTo>
                  <a:cubicBezTo>
                    <a:pt x="247490" y="660877"/>
                    <a:pt x="236611" y="655438"/>
                    <a:pt x="236611" y="647279"/>
                  </a:cubicBezTo>
                  <a:cubicBezTo>
                    <a:pt x="236611" y="636401"/>
                    <a:pt x="252930" y="633681"/>
                    <a:pt x="261088" y="630961"/>
                  </a:cubicBezTo>
                  <a:cubicBezTo>
                    <a:pt x="266528" y="630961"/>
                    <a:pt x="274687" y="630961"/>
                    <a:pt x="288285" y="628241"/>
                  </a:cubicBezTo>
                  <a:cubicBezTo>
                    <a:pt x="288285" y="620082"/>
                    <a:pt x="288285" y="614643"/>
                    <a:pt x="285565" y="609204"/>
                  </a:cubicBezTo>
                  <a:cubicBezTo>
                    <a:pt x="285565" y="601045"/>
                    <a:pt x="282846" y="590166"/>
                    <a:pt x="282846" y="582007"/>
                  </a:cubicBezTo>
                  <a:cubicBezTo>
                    <a:pt x="282846" y="576568"/>
                    <a:pt x="280126" y="573848"/>
                    <a:pt x="280126" y="568409"/>
                  </a:cubicBezTo>
                  <a:cubicBezTo>
                    <a:pt x="280126" y="562970"/>
                    <a:pt x="282846" y="557531"/>
                    <a:pt x="282846" y="554811"/>
                  </a:cubicBezTo>
                  <a:cubicBezTo>
                    <a:pt x="282846" y="549371"/>
                    <a:pt x="280126" y="546652"/>
                    <a:pt x="277406" y="538493"/>
                  </a:cubicBezTo>
                  <a:cubicBezTo>
                    <a:pt x="277406" y="527614"/>
                    <a:pt x="271967" y="516736"/>
                    <a:pt x="271967" y="505857"/>
                  </a:cubicBezTo>
                  <a:cubicBezTo>
                    <a:pt x="271967" y="494978"/>
                    <a:pt x="271967" y="486820"/>
                    <a:pt x="269247" y="478660"/>
                  </a:cubicBezTo>
                  <a:cubicBezTo>
                    <a:pt x="266528" y="467782"/>
                    <a:pt x="266528" y="456903"/>
                    <a:pt x="266528" y="446025"/>
                  </a:cubicBezTo>
                  <a:cubicBezTo>
                    <a:pt x="266528" y="440585"/>
                    <a:pt x="263808" y="437866"/>
                    <a:pt x="261088" y="437866"/>
                  </a:cubicBezTo>
                  <a:cubicBezTo>
                    <a:pt x="258369" y="437866"/>
                    <a:pt x="255649" y="437866"/>
                    <a:pt x="250210" y="437866"/>
                  </a:cubicBezTo>
                  <a:cubicBezTo>
                    <a:pt x="239331" y="437866"/>
                    <a:pt x="228452" y="437866"/>
                    <a:pt x="220293" y="440585"/>
                  </a:cubicBezTo>
                  <a:cubicBezTo>
                    <a:pt x="209415" y="440585"/>
                    <a:pt x="201256" y="443305"/>
                    <a:pt x="190377" y="443305"/>
                  </a:cubicBezTo>
                  <a:cubicBezTo>
                    <a:pt x="182218" y="443305"/>
                    <a:pt x="174059" y="443305"/>
                    <a:pt x="165900" y="443305"/>
                  </a:cubicBezTo>
                  <a:cubicBezTo>
                    <a:pt x="163181" y="443305"/>
                    <a:pt x="152302" y="440585"/>
                    <a:pt x="144143" y="440585"/>
                  </a:cubicBezTo>
                  <a:cubicBezTo>
                    <a:pt x="135984" y="440585"/>
                    <a:pt x="135984" y="448744"/>
                    <a:pt x="135984" y="454184"/>
                  </a:cubicBezTo>
                  <a:cubicBezTo>
                    <a:pt x="135984" y="465062"/>
                    <a:pt x="133264" y="475941"/>
                    <a:pt x="130545" y="486820"/>
                  </a:cubicBezTo>
                  <a:cubicBezTo>
                    <a:pt x="127825" y="505857"/>
                    <a:pt x="122386" y="522175"/>
                    <a:pt x="119666" y="541213"/>
                  </a:cubicBezTo>
                  <a:cubicBezTo>
                    <a:pt x="116947" y="560250"/>
                    <a:pt x="108788" y="595606"/>
                    <a:pt x="103348" y="614643"/>
                  </a:cubicBezTo>
                  <a:cubicBezTo>
                    <a:pt x="111507" y="614643"/>
                    <a:pt x="122386" y="614643"/>
                    <a:pt x="133264" y="614643"/>
                  </a:cubicBezTo>
                  <a:cubicBezTo>
                    <a:pt x="146863" y="614643"/>
                    <a:pt x="168620" y="614643"/>
                    <a:pt x="168620" y="630961"/>
                  </a:cubicBezTo>
                  <a:cubicBezTo>
                    <a:pt x="168620" y="639120"/>
                    <a:pt x="165900" y="639120"/>
                    <a:pt x="163181" y="647279"/>
                  </a:cubicBezTo>
                  <a:cubicBezTo>
                    <a:pt x="160461" y="652718"/>
                    <a:pt x="152302" y="655438"/>
                    <a:pt x="146863" y="655438"/>
                  </a:cubicBezTo>
                  <a:cubicBezTo>
                    <a:pt x="138704" y="658158"/>
                    <a:pt x="133264" y="658158"/>
                    <a:pt x="127825" y="658158"/>
                  </a:cubicBezTo>
                  <a:cubicBezTo>
                    <a:pt x="122386" y="658158"/>
                    <a:pt x="116947" y="658158"/>
                    <a:pt x="106068" y="658158"/>
                  </a:cubicBezTo>
                  <a:cubicBezTo>
                    <a:pt x="92468" y="658158"/>
                    <a:pt x="78870" y="658158"/>
                    <a:pt x="62552" y="658158"/>
                  </a:cubicBezTo>
                  <a:cubicBezTo>
                    <a:pt x="54393" y="658158"/>
                    <a:pt x="46234" y="658158"/>
                    <a:pt x="40795" y="658158"/>
                  </a:cubicBezTo>
                  <a:cubicBezTo>
                    <a:pt x="32636" y="658158"/>
                    <a:pt x="21758" y="658158"/>
                    <a:pt x="16318" y="652718"/>
                  </a:cubicBezTo>
                  <a:cubicBezTo>
                    <a:pt x="8159" y="649999"/>
                    <a:pt x="0" y="641840"/>
                    <a:pt x="0" y="636401"/>
                  </a:cubicBezTo>
                  <a:cubicBezTo>
                    <a:pt x="0" y="633681"/>
                    <a:pt x="0" y="630961"/>
                    <a:pt x="2720" y="628241"/>
                  </a:cubicBezTo>
                  <a:cubicBezTo>
                    <a:pt x="8159" y="625522"/>
                    <a:pt x="16318" y="622802"/>
                    <a:pt x="24477" y="620082"/>
                  </a:cubicBezTo>
                  <a:cubicBezTo>
                    <a:pt x="38075" y="617363"/>
                    <a:pt x="48954" y="617363"/>
                    <a:pt x="62552" y="617363"/>
                  </a:cubicBezTo>
                  <a:cubicBezTo>
                    <a:pt x="62552" y="617363"/>
                    <a:pt x="62552" y="614643"/>
                    <a:pt x="62552" y="614643"/>
                  </a:cubicBezTo>
                  <a:cubicBezTo>
                    <a:pt x="62552" y="603765"/>
                    <a:pt x="65272" y="590166"/>
                    <a:pt x="65272" y="587447"/>
                  </a:cubicBezTo>
                  <a:cubicBezTo>
                    <a:pt x="67992" y="565689"/>
                    <a:pt x="73431" y="543932"/>
                    <a:pt x="76151" y="522175"/>
                  </a:cubicBezTo>
                  <a:cubicBezTo>
                    <a:pt x="78870" y="505857"/>
                    <a:pt x="81590" y="486820"/>
                    <a:pt x="87029" y="470501"/>
                  </a:cubicBezTo>
                  <a:cubicBezTo>
                    <a:pt x="87029" y="465062"/>
                    <a:pt x="92468" y="451464"/>
                    <a:pt x="92468" y="446025"/>
                  </a:cubicBezTo>
                  <a:cubicBezTo>
                    <a:pt x="92468" y="437866"/>
                    <a:pt x="73431" y="437866"/>
                    <a:pt x="65272" y="432426"/>
                  </a:cubicBezTo>
                  <a:cubicBezTo>
                    <a:pt x="59833" y="429707"/>
                    <a:pt x="54393" y="426987"/>
                    <a:pt x="54393" y="421548"/>
                  </a:cubicBezTo>
                  <a:cubicBezTo>
                    <a:pt x="54393" y="413389"/>
                    <a:pt x="62552" y="410669"/>
                    <a:pt x="73431" y="407949"/>
                  </a:cubicBezTo>
                  <a:cubicBezTo>
                    <a:pt x="78870" y="407949"/>
                    <a:pt x="92468" y="405230"/>
                    <a:pt x="100629" y="399790"/>
                  </a:cubicBezTo>
                  <a:cubicBezTo>
                    <a:pt x="106068" y="394351"/>
                    <a:pt x="106068" y="378033"/>
                    <a:pt x="108788" y="369874"/>
                  </a:cubicBezTo>
                  <a:cubicBezTo>
                    <a:pt x="114227" y="348117"/>
                    <a:pt x="119666" y="326360"/>
                    <a:pt x="125105" y="307322"/>
                  </a:cubicBezTo>
                  <a:cubicBezTo>
                    <a:pt x="130545" y="285565"/>
                    <a:pt x="135984" y="263808"/>
                    <a:pt x="141423" y="242051"/>
                  </a:cubicBezTo>
                  <a:cubicBezTo>
                    <a:pt x="146863" y="220293"/>
                    <a:pt x="152302" y="198536"/>
                    <a:pt x="155022" y="179498"/>
                  </a:cubicBezTo>
                  <a:cubicBezTo>
                    <a:pt x="157742" y="160461"/>
                    <a:pt x="163181" y="138703"/>
                    <a:pt x="168620" y="119665"/>
                  </a:cubicBezTo>
                  <a:cubicBezTo>
                    <a:pt x="176779" y="100627"/>
                    <a:pt x="182218" y="76150"/>
                    <a:pt x="193097" y="57113"/>
                  </a:cubicBezTo>
                  <a:lnTo>
                    <a:pt x="201256" y="38075"/>
                  </a:lnTo>
                  <a:cubicBezTo>
                    <a:pt x="206695" y="29916"/>
                    <a:pt x="209415" y="19038"/>
                    <a:pt x="217574" y="13598"/>
                  </a:cubicBezTo>
                  <a:cubicBezTo>
                    <a:pt x="231172" y="2720"/>
                    <a:pt x="255649" y="0"/>
                    <a:pt x="274687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/>
            </a:p>
          </p:txBody>
        </p:sp>
        <p:sp>
          <p:nvSpPr>
            <p:cNvPr id="45" name="Freeform: Shape 44">
              <a:extLst>
                <a:ext uri="{FF2B5EF4-FFF2-40B4-BE49-F238E27FC236}">
                  <a16:creationId xmlns:a16="http://schemas.microsoft.com/office/drawing/2014/main" id="{813B8854-1F43-482D-950F-115EB77744A9}"/>
                </a:ext>
              </a:extLst>
            </p:cNvPr>
            <p:cNvSpPr/>
            <p:nvPr/>
          </p:nvSpPr>
          <p:spPr>
            <a:xfrm>
              <a:off x="6876542" y="4244897"/>
              <a:ext cx="462342" cy="677195"/>
            </a:xfrm>
            <a:custGeom>
              <a:avLst/>
              <a:gdLst>
                <a:gd name="connsiteX0" fmla="*/ 214853 w 462342"/>
                <a:gd name="connsiteY0" fmla="*/ 65272 h 677195"/>
                <a:gd name="connsiteX1" fmla="*/ 195815 w 462342"/>
                <a:gd name="connsiteY1" fmla="*/ 73431 h 677195"/>
                <a:gd name="connsiteX2" fmla="*/ 193096 w 462342"/>
                <a:gd name="connsiteY2" fmla="*/ 125105 h 677195"/>
                <a:gd name="connsiteX3" fmla="*/ 190376 w 462342"/>
                <a:gd name="connsiteY3" fmla="*/ 280125 h 677195"/>
                <a:gd name="connsiteX4" fmla="*/ 190376 w 462342"/>
                <a:gd name="connsiteY4" fmla="*/ 301882 h 677195"/>
                <a:gd name="connsiteX5" fmla="*/ 193096 w 462342"/>
                <a:gd name="connsiteY5" fmla="*/ 342677 h 677195"/>
                <a:gd name="connsiteX6" fmla="*/ 195815 w 462342"/>
                <a:gd name="connsiteY6" fmla="*/ 397070 h 677195"/>
                <a:gd name="connsiteX7" fmla="*/ 195815 w 462342"/>
                <a:gd name="connsiteY7" fmla="*/ 443304 h 677195"/>
                <a:gd name="connsiteX8" fmla="*/ 195815 w 462342"/>
                <a:gd name="connsiteY8" fmla="*/ 530333 h 677195"/>
                <a:gd name="connsiteX9" fmla="*/ 193096 w 462342"/>
                <a:gd name="connsiteY9" fmla="*/ 554810 h 677195"/>
                <a:gd name="connsiteX10" fmla="*/ 190376 w 462342"/>
                <a:gd name="connsiteY10" fmla="*/ 603764 h 677195"/>
                <a:gd name="connsiteX11" fmla="*/ 198535 w 462342"/>
                <a:gd name="connsiteY11" fmla="*/ 611923 h 677195"/>
                <a:gd name="connsiteX12" fmla="*/ 214853 w 462342"/>
                <a:gd name="connsiteY12" fmla="*/ 611923 h 677195"/>
                <a:gd name="connsiteX13" fmla="*/ 236610 w 462342"/>
                <a:gd name="connsiteY13" fmla="*/ 611923 h 677195"/>
                <a:gd name="connsiteX14" fmla="*/ 263807 w 462342"/>
                <a:gd name="connsiteY14" fmla="*/ 598325 h 677195"/>
                <a:gd name="connsiteX15" fmla="*/ 277405 w 462342"/>
                <a:gd name="connsiteY15" fmla="*/ 592885 h 677195"/>
                <a:gd name="connsiteX16" fmla="*/ 291004 w 462342"/>
                <a:gd name="connsiteY16" fmla="*/ 573848 h 677195"/>
                <a:gd name="connsiteX17" fmla="*/ 307322 w 462342"/>
                <a:gd name="connsiteY17" fmla="*/ 543931 h 677195"/>
                <a:gd name="connsiteX18" fmla="*/ 326359 w 462342"/>
                <a:gd name="connsiteY18" fmla="*/ 481379 h 677195"/>
                <a:gd name="connsiteX19" fmla="*/ 337238 w 462342"/>
                <a:gd name="connsiteY19" fmla="*/ 413388 h 677195"/>
                <a:gd name="connsiteX20" fmla="*/ 337238 w 462342"/>
                <a:gd name="connsiteY20" fmla="*/ 350836 h 677195"/>
                <a:gd name="connsiteX21" fmla="*/ 334518 w 462342"/>
                <a:gd name="connsiteY21" fmla="*/ 296443 h 677195"/>
                <a:gd name="connsiteX22" fmla="*/ 329079 w 462342"/>
                <a:gd name="connsiteY22" fmla="*/ 244769 h 677195"/>
                <a:gd name="connsiteX23" fmla="*/ 307322 w 462342"/>
                <a:gd name="connsiteY23" fmla="*/ 135983 h 677195"/>
                <a:gd name="connsiteX24" fmla="*/ 271966 w 462342"/>
                <a:gd name="connsiteY24" fmla="*/ 78870 h 677195"/>
                <a:gd name="connsiteX25" fmla="*/ 214853 w 462342"/>
                <a:gd name="connsiteY25" fmla="*/ 65272 h 677195"/>
                <a:gd name="connsiteX26" fmla="*/ 114226 w 462342"/>
                <a:gd name="connsiteY26" fmla="*/ 0 h 677195"/>
                <a:gd name="connsiteX27" fmla="*/ 127824 w 462342"/>
                <a:gd name="connsiteY27" fmla="*/ 0 h 677195"/>
                <a:gd name="connsiteX28" fmla="*/ 146862 w 462342"/>
                <a:gd name="connsiteY28" fmla="*/ 2720 h 677195"/>
                <a:gd name="connsiteX29" fmla="*/ 174059 w 462342"/>
                <a:gd name="connsiteY29" fmla="*/ 21758 h 677195"/>
                <a:gd name="connsiteX30" fmla="*/ 193096 w 462342"/>
                <a:gd name="connsiteY30" fmla="*/ 21758 h 677195"/>
                <a:gd name="connsiteX31" fmla="*/ 261088 w 462342"/>
                <a:gd name="connsiteY31" fmla="*/ 27197 h 677195"/>
                <a:gd name="connsiteX32" fmla="*/ 310042 w 462342"/>
                <a:gd name="connsiteY32" fmla="*/ 35356 h 677195"/>
                <a:gd name="connsiteX33" fmla="*/ 334518 w 462342"/>
                <a:gd name="connsiteY33" fmla="*/ 40795 h 677195"/>
                <a:gd name="connsiteX34" fmla="*/ 356276 w 462342"/>
                <a:gd name="connsiteY34" fmla="*/ 59833 h 677195"/>
                <a:gd name="connsiteX35" fmla="*/ 372593 w 462342"/>
                <a:gd name="connsiteY35" fmla="*/ 76151 h 677195"/>
                <a:gd name="connsiteX36" fmla="*/ 380752 w 462342"/>
                <a:gd name="connsiteY36" fmla="*/ 95188 h 677195"/>
                <a:gd name="connsiteX37" fmla="*/ 405230 w 462342"/>
                <a:gd name="connsiteY37" fmla="*/ 114226 h 677195"/>
                <a:gd name="connsiteX38" fmla="*/ 416108 w 462342"/>
                <a:gd name="connsiteY38" fmla="*/ 141422 h 677195"/>
                <a:gd name="connsiteX39" fmla="*/ 451464 w 462342"/>
                <a:gd name="connsiteY39" fmla="*/ 201256 h 677195"/>
                <a:gd name="connsiteX40" fmla="*/ 456903 w 462342"/>
                <a:gd name="connsiteY40" fmla="*/ 252929 h 677195"/>
                <a:gd name="connsiteX41" fmla="*/ 456903 w 462342"/>
                <a:gd name="connsiteY41" fmla="*/ 291004 h 677195"/>
                <a:gd name="connsiteX42" fmla="*/ 459623 w 462342"/>
                <a:gd name="connsiteY42" fmla="*/ 318201 h 677195"/>
                <a:gd name="connsiteX43" fmla="*/ 459623 w 462342"/>
                <a:gd name="connsiteY43" fmla="*/ 326360 h 677195"/>
                <a:gd name="connsiteX44" fmla="*/ 459623 w 462342"/>
                <a:gd name="connsiteY44" fmla="*/ 348117 h 677195"/>
                <a:gd name="connsiteX45" fmla="*/ 462342 w 462342"/>
                <a:gd name="connsiteY45" fmla="*/ 367155 h 677195"/>
                <a:gd name="connsiteX46" fmla="*/ 456903 w 462342"/>
                <a:gd name="connsiteY46" fmla="*/ 391632 h 677195"/>
                <a:gd name="connsiteX47" fmla="*/ 456903 w 462342"/>
                <a:gd name="connsiteY47" fmla="*/ 418828 h 677195"/>
                <a:gd name="connsiteX48" fmla="*/ 451464 w 462342"/>
                <a:gd name="connsiteY48" fmla="*/ 437866 h 677195"/>
                <a:gd name="connsiteX49" fmla="*/ 446025 w 462342"/>
                <a:gd name="connsiteY49" fmla="*/ 454184 h 677195"/>
                <a:gd name="connsiteX50" fmla="*/ 440585 w 462342"/>
                <a:gd name="connsiteY50" fmla="*/ 481380 h 677195"/>
                <a:gd name="connsiteX51" fmla="*/ 432426 w 462342"/>
                <a:gd name="connsiteY51" fmla="*/ 508577 h 677195"/>
                <a:gd name="connsiteX52" fmla="*/ 418828 w 462342"/>
                <a:gd name="connsiteY52" fmla="*/ 530334 h 677195"/>
                <a:gd name="connsiteX53" fmla="*/ 410669 w 462342"/>
                <a:gd name="connsiteY53" fmla="*/ 549371 h 677195"/>
                <a:gd name="connsiteX54" fmla="*/ 391631 w 462342"/>
                <a:gd name="connsiteY54" fmla="*/ 579288 h 677195"/>
                <a:gd name="connsiteX55" fmla="*/ 337238 w 462342"/>
                <a:gd name="connsiteY55" fmla="*/ 630961 h 677195"/>
                <a:gd name="connsiteX56" fmla="*/ 301883 w 462342"/>
                <a:gd name="connsiteY56" fmla="*/ 647279 h 677195"/>
                <a:gd name="connsiteX57" fmla="*/ 263807 w 462342"/>
                <a:gd name="connsiteY57" fmla="*/ 652718 h 677195"/>
                <a:gd name="connsiteX58" fmla="*/ 233891 w 462342"/>
                <a:gd name="connsiteY58" fmla="*/ 649999 h 677195"/>
                <a:gd name="connsiteX59" fmla="*/ 187657 w 462342"/>
                <a:gd name="connsiteY59" fmla="*/ 652718 h 677195"/>
                <a:gd name="connsiteX60" fmla="*/ 171339 w 462342"/>
                <a:gd name="connsiteY60" fmla="*/ 669036 h 677195"/>
                <a:gd name="connsiteX61" fmla="*/ 155021 w 462342"/>
                <a:gd name="connsiteY61" fmla="*/ 671756 h 677195"/>
                <a:gd name="connsiteX62" fmla="*/ 138703 w 462342"/>
                <a:gd name="connsiteY62" fmla="*/ 674476 h 677195"/>
                <a:gd name="connsiteX63" fmla="*/ 125105 w 462342"/>
                <a:gd name="connsiteY63" fmla="*/ 677195 h 677195"/>
                <a:gd name="connsiteX64" fmla="*/ 106067 w 462342"/>
                <a:gd name="connsiteY64" fmla="*/ 671756 h 677195"/>
                <a:gd name="connsiteX65" fmla="*/ 87029 w 462342"/>
                <a:gd name="connsiteY65" fmla="*/ 658158 h 677195"/>
                <a:gd name="connsiteX66" fmla="*/ 81590 w 462342"/>
                <a:gd name="connsiteY66" fmla="*/ 652718 h 677195"/>
                <a:gd name="connsiteX67" fmla="*/ 67992 w 462342"/>
                <a:gd name="connsiteY67" fmla="*/ 652718 h 677195"/>
                <a:gd name="connsiteX68" fmla="*/ 43515 w 462342"/>
                <a:gd name="connsiteY68" fmla="*/ 652718 h 677195"/>
                <a:gd name="connsiteX69" fmla="*/ 16318 w 462342"/>
                <a:gd name="connsiteY69" fmla="*/ 647279 h 677195"/>
                <a:gd name="connsiteX70" fmla="*/ 0 w 462342"/>
                <a:gd name="connsiteY70" fmla="*/ 630961 h 677195"/>
                <a:gd name="connsiteX71" fmla="*/ 5439 w 462342"/>
                <a:gd name="connsiteY71" fmla="*/ 620083 h 677195"/>
                <a:gd name="connsiteX72" fmla="*/ 27197 w 462342"/>
                <a:gd name="connsiteY72" fmla="*/ 611924 h 677195"/>
                <a:gd name="connsiteX73" fmla="*/ 65272 w 462342"/>
                <a:gd name="connsiteY73" fmla="*/ 609204 h 677195"/>
                <a:gd name="connsiteX74" fmla="*/ 65272 w 462342"/>
                <a:gd name="connsiteY74" fmla="*/ 584727 h 677195"/>
                <a:gd name="connsiteX75" fmla="*/ 62552 w 462342"/>
                <a:gd name="connsiteY75" fmla="*/ 456903 h 677195"/>
                <a:gd name="connsiteX76" fmla="*/ 65272 w 462342"/>
                <a:gd name="connsiteY76" fmla="*/ 337238 h 677195"/>
                <a:gd name="connsiteX77" fmla="*/ 67992 w 462342"/>
                <a:gd name="connsiteY77" fmla="*/ 203975 h 677195"/>
                <a:gd name="connsiteX78" fmla="*/ 70712 w 462342"/>
                <a:gd name="connsiteY78" fmla="*/ 119665 h 677195"/>
                <a:gd name="connsiteX79" fmla="*/ 73431 w 462342"/>
                <a:gd name="connsiteY79" fmla="*/ 67992 h 677195"/>
                <a:gd name="connsiteX80" fmla="*/ 67992 w 462342"/>
                <a:gd name="connsiteY80" fmla="*/ 67992 h 677195"/>
                <a:gd name="connsiteX81" fmla="*/ 43515 w 462342"/>
                <a:gd name="connsiteY81" fmla="*/ 67992 h 677195"/>
                <a:gd name="connsiteX82" fmla="*/ 16318 w 462342"/>
                <a:gd name="connsiteY82" fmla="*/ 62552 h 677195"/>
                <a:gd name="connsiteX83" fmla="*/ 0 w 462342"/>
                <a:gd name="connsiteY83" fmla="*/ 46234 h 677195"/>
                <a:gd name="connsiteX84" fmla="*/ 5439 w 462342"/>
                <a:gd name="connsiteY84" fmla="*/ 35356 h 677195"/>
                <a:gd name="connsiteX85" fmla="*/ 27197 w 462342"/>
                <a:gd name="connsiteY85" fmla="*/ 27197 h 677195"/>
                <a:gd name="connsiteX86" fmla="*/ 76151 w 462342"/>
                <a:gd name="connsiteY86" fmla="*/ 21758 h 677195"/>
                <a:gd name="connsiteX87" fmla="*/ 81590 w 462342"/>
                <a:gd name="connsiteY87" fmla="*/ 13598 h 677195"/>
                <a:gd name="connsiteX88" fmla="*/ 97908 w 462342"/>
                <a:gd name="connsiteY88" fmla="*/ 5439 h 677195"/>
                <a:gd name="connsiteX89" fmla="*/ 114226 w 462342"/>
                <a:gd name="connsiteY89" fmla="*/ 0 h 6771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</a:cxnLst>
              <a:rect l="l" t="t" r="r" b="b"/>
              <a:pathLst>
                <a:path w="462342" h="677195">
                  <a:moveTo>
                    <a:pt x="214853" y="65272"/>
                  </a:moveTo>
                  <a:cubicBezTo>
                    <a:pt x="203975" y="65272"/>
                    <a:pt x="195815" y="67992"/>
                    <a:pt x="195815" y="73431"/>
                  </a:cubicBezTo>
                  <a:cubicBezTo>
                    <a:pt x="193096" y="78870"/>
                    <a:pt x="193096" y="100628"/>
                    <a:pt x="193096" y="125105"/>
                  </a:cubicBezTo>
                  <a:cubicBezTo>
                    <a:pt x="193096" y="182217"/>
                    <a:pt x="193096" y="266527"/>
                    <a:pt x="190376" y="280125"/>
                  </a:cubicBezTo>
                  <a:cubicBezTo>
                    <a:pt x="190376" y="288284"/>
                    <a:pt x="190376" y="293723"/>
                    <a:pt x="190376" y="301882"/>
                  </a:cubicBezTo>
                  <a:cubicBezTo>
                    <a:pt x="190376" y="315480"/>
                    <a:pt x="190376" y="329079"/>
                    <a:pt x="193096" y="342677"/>
                  </a:cubicBezTo>
                  <a:cubicBezTo>
                    <a:pt x="193096" y="361715"/>
                    <a:pt x="193096" y="378033"/>
                    <a:pt x="195815" y="397070"/>
                  </a:cubicBezTo>
                  <a:cubicBezTo>
                    <a:pt x="195815" y="413388"/>
                    <a:pt x="195815" y="426986"/>
                    <a:pt x="195815" y="443304"/>
                  </a:cubicBezTo>
                  <a:cubicBezTo>
                    <a:pt x="195815" y="465061"/>
                    <a:pt x="198535" y="508576"/>
                    <a:pt x="195815" y="530333"/>
                  </a:cubicBezTo>
                  <a:cubicBezTo>
                    <a:pt x="195815" y="538492"/>
                    <a:pt x="193096" y="546651"/>
                    <a:pt x="193096" y="554810"/>
                  </a:cubicBezTo>
                  <a:cubicBezTo>
                    <a:pt x="193096" y="560249"/>
                    <a:pt x="190376" y="590166"/>
                    <a:pt x="190376" y="603764"/>
                  </a:cubicBezTo>
                  <a:cubicBezTo>
                    <a:pt x="190376" y="609203"/>
                    <a:pt x="190376" y="611923"/>
                    <a:pt x="198535" y="611923"/>
                  </a:cubicBezTo>
                  <a:cubicBezTo>
                    <a:pt x="206694" y="611923"/>
                    <a:pt x="209414" y="611923"/>
                    <a:pt x="214853" y="611923"/>
                  </a:cubicBezTo>
                  <a:cubicBezTo>
                    <a:pt x="223012" y="611923"/>
                    <a:pt x="220293" y="611923"/>
                    <a:pt x="236610" y="611923"/>
                  </a:cubicBezTo>
                  <a:cubicBezTo>
                    <a:pt x="242050" y="611923"/>
                    <a:pt x="258368" y="601044"/>
                    <a:pt x="263807" y="598325"/>
                  </a:cubicBezTo>
                  <a:cubicBezTo>
                    <a:pt x="266527" y="598325"/>
                    <a:pt x="274686" y="592885"/>
                    <a:pt x="277405" y="592885"/>
                  </a:cubicBezTo>
                  <a:cubicBezTo>
                    <a:pt x="285564" y="587446"/>
                    <a:pt x="288284" y="579287"/>
                    <a:pt x="291004" y="573848"/>
                  </a:cubicBezTo>
                  <a:cubicBezTo>
                    <a:pt x="296443" y="562969"/>
                    <a:pt x="301882" y="554810"/>
                    <a:pt x="307322" y="543931"/>
                  </a:cubicBezTo>
                  <a:cubicBezTo>
                    <a:pt x="315481" y="524894"/>
                    <a:pt x="320920" y="524894"/>
                    <a:pt x="326359" y="481379"/>
                  </a:cubicBezTo>
                  <a:cubicBezTo>
                    <a:pt x="329079" y="456903"/>
                    <a:pt x="334518" y="435145"/>
                    <a:pt x="337238" y="413388"/>
                  </a:cubicBezTo>
                  <a:cubicBezTo>
                    <a:pt x="337238" y="391631"/>
                    <a:pt x="337238" y="369873"/>
                    <a:pt x="337238" y="350836"/>
                  </a:cubicBezTo>
                  <a:cubicBezTo>
                    <a:pt x="337238" y="339957"/>
                    <a:pt x="337238" y="320920"/>
                    <a:pt x="334518" y="296443"/>
                  </a:cubicBezTo>
                  <a:cubicBezTo>
                    <a:pt x="331798" y="269246"/>
                    <a:pt x="329079" y="250209"/>
                    <a:pt x="329079" y="244769"/>
                  </a:cubicBezTo>
                  <a:cubicBezTo>
                    <a:pt x="323640" y="206694"/>
                    <a:pt x="318200" y="174058"/>
                    <a:pt x="307322" y="135983"/>
                  </a:cubicBezTo>
                  <a:cubicBezTo>
                    <a:pt x="304602" y="125105"/>
                    <a:pt x="304602" y="108787"/>
                    <a:pt x="271966" y="78870"/>
                  </a:cubicBezTo>
                  <a:cubicBezTo>
                    <a:pt x="263807" y="73431"/>
                    <a:pt x="233891" y="65272"/>
                    <a:pt x="214853" y="65272"/>
                  </a:cubicBezTo>
                  <a:close/>
                  <a:moveTo>
                    <a:pt x="114226" y="0"/>
                  </a:moveTo>
                  <a:cubicBezTo>
                    <a:pt x="119665" y="0"/>
                    <a:pt x="125105" y="0"/>
                    <a:pt x="127824" y="0"/>
                  </a:cubicBezTo>
                  <a:cubicBezTo>
                    <a:pt x="133264" y="0"/>
                    <a:pt x="141422" y="0"/>
                    <a:pt x="146862" y="2720"/>
                  </a:cubicBezTo>
                  <a:cubicBezTo>
                    <a:pt x="157741" y="5439"/>
                    <a:pt x="165900" y="13598"/>
                    <a:pt x="174059" y="21758"/>
                  </a:cubicBezTo>
                  <a:cubicBezTo>
                    <a:pt x="179498" y="21758"/>
                    <a:pt x="187657" y="21758"/>
                    <a:pt x="193096" y="21758"/>
                  </a:cubicBezTo>
                  <a:cubicBezTo>
                    <a:pt x="212134" y="21758"/>
                    <a:pt x="228452" y="27197"/>
                    <a:pt x="261088" y="27197"/>
                  </a:cubicBezTo>
                  <a:cubicBezTo>
                    <a:pt x="277405" y="27197"/>
                    <a:pt x="293723" y="35356"/>
                    <a:pt x="310042" y="35356"/>
                  </a:cubicBezTo>
                  <a:cubicBezTo>
                    <a:pt x="318200" y="35356"/>
                    <a:pt x="329079" y="35356"/>
                    <a:pt x="334518" y="40795"/>
                  </a:cubicBezTo>
                  <a:cubicBezTo>
                    <a:pt x="342677" y="46234"/>
                    <a:pt x="348117" y="54393"/>
                    <a:pt x="356276" y="59833"/>
                  </a:cubicBezTo>
                  <a:cubicBezTo>
                    <a:pt x="361715" y="65272"/>
                    <a:pt x="369874" y="67992"/>
                    <a:pt x="372593" y="76151"/>
                  </a:cubicBezTo>
                  <a:cubicBezTo>
                    <a:pt x="375313" y="81590"/>
                    <a:pt x="378033" y="89749"/>
                    <a:pt x="380752" y="95188"/>
                  </a:cubicBezTo>
                  <a:cubicBezTo>
                    <a:pt x="386192" y="103347"/>
                    <a:pt x="391631" y="106067"/>
                    <a:pt x="405230" y="114226"/>
                  </a:cubicBezTo>
                  <a:cubicBezTo>
                    <a:pt x="413388" y="119665"/>
                    <a:pt x="410669" y="133263"/>
                    <a:pt x="416108" y="141422"/>
                  </a:cubicBezTo>
                  <a:cubicBezTo>
                    <a:pt x="426987" y="160461"/>
                    <a:pt x="446025" y="182218"/>
                    <a:pt x="451464" y="201256"/>
                  </a:cubicBezTo>
                  <a:cubicBezTo>
                    <a:pt x="456903" y="220293"/>
                    <a:pt x="456903" y="236611"/>
                    <a:pt x="456903" y="252929"/>
                  </a:cubicBezTo>
                  <a:cubicBezTo>
                    <a:pt x="456903" y="266527"/>
                    <a:pt x="456903" y="277406"/>
                    <a:pt x="456903" y="291004"/>
                  </a:cubicBezTo>
                  <a:cubicBezTo>
                    <a:pt x="456903" y="299163"/>
                    <a:pt x="456903" y="307322"/>
                    <a:pt x="459623" y="318201"/>
                  </a:cubicBezTo>
                  <a:cubicBezTo>
                    <a:pt x="459623" y="320921"/>
                    <a:pt x="459623" y="323640"/>
                    <a:pt x="459623" y="326360"/>
                  </a:cubicBezTo>
                  <a:cubicBezTo>
                    <a:pt x="462342" y="331799"/>
                    <a:pt x="459623" y="337238"/>
                    <a:pt x="459623" y="348117"/>
                  </a:cubicBezTo>
                  <a:cubicBezTo>
                    <a:pt x="459623" y="350837"/>
                    <a:pt x="462342" y="361715"/>
                    <a:pt x="462342" y="367155"/>
                  </a:cubicBezTo>
                  <a:cubicBezTo>
                    <a:pt x="462342" y="375314"/>
                    <a:pt x="456903" y="383473"/>
                    <a:pt x="456903" y="391632"/>
                  </a:cubicBezTo>
                  <a:cubicBezTo>
                    <a:pt x="456903" y="399790"/>
                    <a:pt x="456903" y="410669"/>
                    <a:pt x="456903" y="418828"/>
                  </a:cubicBezTo>
                  <a:cubicBezTo>
                    <a:pt x="456903" y="421548"/>
                    <a:pt x="454183" y="429707"/>
                    <a:pt x="451464" y="437866"/>
                  </a:cubicBezTo>
                  <a:cubicBezTo>
                    <a:pt x="448744" y="443305"/>
                    <a:pt x="448744" y="451464"/>
                    <a:pt x="446025" y="454184"/>
                  </a:cubicBezTo>
                  <a:cubicBezTo>
                    <a:pt x="443305" y="462343"/>
                    <a:pt x="440585" y="473221"/>
                    <a:pt x="440585" y="481380"/>
                  </a:cubicBezTo>
                  <a:cubicBezTo>
                    <a:pt x="437865" y="489539"/>
                    <a:pt x="437865" y="500418"/>
                    <a:pt x="432426" y="508577"/>
                  </a:cubicBezTo>
                  <a:cubicBezTo>
                    <a:pt x="429706" y="516736"/>
                    <a:pt x="424267" y="522175"/>
                    <a:pt x="418828" y="530334"/>
                  </a:cubicBezTo>
                  <a:cubicBezTo>
                    <a:pt x="416108" y="535773"/>
                    <a:pt x="413388" y="543932"/>
                    <a:pt x="410669" y="549371"/>
                  </a:cubicBezTo>
                  <a:cubicBezTo>
                    <a:pt x="405230" y="557531"/>
                    <a:pt x="397071" y="573848"/>
                    <a:pt x="391631" y="579288"/>
                  </a:cubicBezTo>
                  <a:cubicBezTo>
                    <a:pt x="369874" y="609204"/>
                    <a:pt x="350836" y="620083"/>
                    <a:pt x="337238" y="630961"/>
                  </a:cubicBezTo>
                  <a:cubicBezTo>
                    <a:pt x="326359" y="639120"/>
                    <a:pt x="315481" y="641840"/>
                    <a:pt x="301883" y="647279"/>
                  </a:cubicBezTo>
                  <a:cubicBezTo>
                    <a:pt x="291004" y="649999"/>
                    <a:pt x="277405" y="652718"/>
                    <a:pt x="263807" y="652718"/>
                  </a:cubicBezTo>
                  <a:cubicBezTo>
                    <a:pt x="252929" y="652718"/>
                    <a:pt x="244770" y="649999"/>
                    <a:pt x="233891" y="649999"/>
                  </a:cubicBezTo>
                  <a:cubicBezTo>
                    <a:pt x="206694" y="649999"/>
                    <a:pt x="217573" y="652718"/>
                    <a:pt x="187657" y="652718"/>
                  </a:cubicBezTo>
                  <a:cubicBezTo>
                    <a:pt x="184937" y="660877"/>
                    <a:pt x="179498" y="666317"/>
                    <a:pt x="171339" y="669036"/>
                  </a:cubicBezTo>
                  <a:cubicBezTo>
                    <a:pt x="165900" y="671756"/>
                    <a:pt x="160460" y="671756"/>
                    <a:pt x="155021" y="671756"/>
                  </a:cubicBezTo>
                  <a:cubicBezTo>
                    <a:pt x="149581" y="671756"/>
                    <a:pt x="144142" y="674476"/>
                    <a:pt x="138703" y="674476"/>
                  </a:cubicBezTo>
                  <a:cubicBezTo>
                    <a:pt x="135983" y="674476"/>
                    <a:pt x="127824" y="677195"/>
                    <a:pt x="125105" y="677195"/>
                  </a:cubicBezTo>
                  <a:cubicBezTo>
                    <a:pt x="116946" y="677195"/>
                    <a:pt x="108787" y="671756"/>
                    <a:pt x="106067" y="671756"/>
                  </a:cubicBezTo>
                  <a:cubicBezTo>
                    <a:pt x="100628" y="669036"/>
                    <a:pt x="95188" y="663597"/>
                    <a:pt x="87029" y="658158"/>
                  </a:cubicBezTo>
                  <a:cubicBezTo>
                    <a:pt x="84310" y="655438"/>
                    <a:pt x="81590" y="655438"/>
                    <a:pt x="81590" y="652718"/>
                  </a:cubicBezTo>
                  <a:cubicBezTo>
                    <a:pt x="73431" y="652718"/>
                    <a:pt x="81590" y="652718"/>
                    <a:pt x="67992" y="652718"/>
                  </a:cubicBezTo>
                  <a:cubicBezTo>
                    <a:pt x="59833" y="652718"/>
                    <a:pt x="51674" y="652718"/>
                    <a:pt x="43515" y="652718"/>
                  </a:cubicBezTo>
                  <a:cubicBezTo>
                    <a:pt x="35356" y="652718"/>
                    <a:pt x="24477" y="652718"/>
                    <a:pt x="16318" y="647279"/>
                  </a:cubicBezTo>
                  <a:cubicBezTo>
                    <a:pt x="8159" y="644559"/>
                    <a:pt x="0" y="636401"/>
                    <a:pt x="0" y="630961"/>
                  </a:cubicBezTo>
                  <a:cubicBezTo>
                    <a:pt x="0" y="625522"/>
                    <a:pt x="0" y="622802"/>
                    <a:pt x="5439" y="620083"/>
                  </a:cubicBezTo>
                  <a:cubicBezTo>
                    <a:pt x="10879" y="617363"/>
                    <a:pt x="21758" y="614643"/>
                    <a:pt x="27197" y="611924"/>
                  </a:cubicBezTo>
                  <a:cubicBezTo>
                    <a:pt x="38076" y="609204"/>
                    <a:pt x="54393" y="609204"/>
                    <a:pt x="65272" y="609204"/>
                  </a:cubicBezTo>
                  <a:cubicBezTo>
                    <a:pt x="65272" y="601045"/>
                    <a:pt x="65272" y="592886"/>
                    <a:pt x="65272" y="584727"/>
                  </a:cubicBezTo>
                  <a:cubicBezTo>
                    <a:pt x="65272" y="541213"/>
                    <a:pt x="62552" y="500418"/>
                    <a:pt x="62552" y="456903"/>
                  </a:cubicBezTo>
                  <a:cubicBezTo>
                    <a:pt x="62552" y="440585"/>
                    <a:pt x="65272" y="397071"/>
                    <a:pt x="65272" y="337238"/>
                  </a:cubicBezTo>
                  <a:cubicBezTo>
                    <a:pt x="65272" y="293724"/>
                    <a:pt x="67992" y="247490"/>
                    <a:pt x="67992" y="203975"/>
                  </a:cubicBezTo>
                  <a:cubicBezTo>
                    <a:pt x="67992" y="179498"/>
                    <a:pt x="67992" y="149582"/>
                    <a:pt x="70712" y="119665"/>
                  </a:cubicBezTo>
                  <a:cubicBezTo>
                    <a:pt x="70712" y="103347"/>
                    <a:pt x="73431" y="84309"/>
                    <a:pt x="73431" y="67992"/>
                  </a:cubicBezTo>
                  <a:cubicBezTo>
                    <a:pt x="73431" y="67992"/>
                    <a:pt x="70712" y="67992"/>
                    <a:pt x="67992" y="67992"/>
                  </a:cubicBezTo>
                  <a:cubicBezTo>
                    <a:pt x="59833" y="67992"/>
                    <a:pt x="51674" y="67992"/>
                    <a:pt x="43515" y="67992"/>
                  </a:cubicBezTo>
                  <a:cubicBezTo>
                    <a:pt x="35356" y="67992"/>
                    <a:pt x="24477" y="67992"/>
                    <a:pt x="16318" y="62552"/>
                  </a:cubicBezTo>
                  <a:cubicBezTo>
                    <a:pt x="8159" y="59833"/>
                    <a:pt x="0" y="51674"/>
                    <a:pt x="0" y="46234"/>
                  </a:cubicBezTo>
                  <a:cubicBezTo>
                    <a:pt x="0" y="43515"/>
                    <a:pt x="0" y="38075"/>
                    <a:pt x="5439" y="35356"/>
                  </a:cubicBezTo>
                  <a:cubicBezTo>
                    <a:pt x="10879" y="32636"/>
                    <a:pt x="21758" y="29916"/>
                    <a:pt x="27197" y="27197"/>
                  </a:cubicBezTo>
                  <a:cubicBezTo>
                    <a:pt x="46234" y="24477"/>
                    <a:pt x="65272" y="21758"/>
                    <a:pt x="76151" y="21758"/>
                  </a:cubicBezTo>
                  <a:cubicBezTo>
                    <a:pt x="76151" y="19038"/>
                    <a:pt x="78871" y="16318"/>
                    <a:pt x="81590" y="13598"/>
                  </a:cubicBezTo>
                  <a:cubicBezTo>
                    <a:pt x="84310" y="10879"/>
                    <a:pt x="92469" y="5439"/>
                    <a:pt x="97908" y="5439"/>
                  </a:cubicBezTo>
                  <a:cubicBezTo>
                    <a:pt x="103347" y="2720"/>
                    <a:pt x="108787" y="0"/>
                    <a:pt x="114226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/>
            </a:p>
          </p:txBody>
        </p:sp>
        <p:sp>
          <p:nvSpPr>
            <p:cNvPr id="46" name="Freeform: Shape 45">
              <a:extLst>
                <a:ext uri="{FF2B5EF4-FFF2-40B4-BE49-F238E27FC236}">
                  <a16:creationId xmlns:a16="http://schemas.microsoft.com/office/drawing/2014/main" id="{958E2D16-BE4A-44E7-858A-2CE349C9F8C0}"/>
                </a:ext>
              </a:extLst>
            </p:cNvPr>
            <p:cNvSpPr/>
            <p:nvPr/>
          </p:nvSpPr>
          <p:spPr>
            <a:xfrm>
              <a:off x="7310622" y="4197597"/>
              <a:ext cx="489539" cy="761503"/>
            </a:xfrm>
            <a:custGeom>
              <a:avLst/>
              <a:gdLst>
                <a:gd name="connsiteX0" fmla="*/ 433491 w 489538"/>
                <a:gd name="connsiteY0" fmla="*/ 651063 h 761503"/>
                <a:gd name="connsiteX1" fmla="*/ 438930 w 489538"/>
                <a:gd name="connsiteY1" fmla="*/ 661942 h 761503"/>
                <a:gd name="connsiteX2" fmla="*/ 425332 w 489538"/>
                <a:gd name="connsiteY2" fmla="*/ 683699 h 761503"/>
                <a:gd name="connsiteX3" fmla="*/ 400855 w 489538"/>
                <a:gd name="connsiteY3" fmla="*/ 691858 h 761503"/>
                <a:gd name="connsiteX4" fmla="*/ 343742 w 489538"/>
                <a:gd name="connsiteY4" fmla="*/ 700017 h 761503"/>
                <a:gd name="connsiteX5" fmla="*/ 316546 w 489538"/>
                <a:gd name="connsiteY5" fmla="*/ 705456 h 761503"/>
                <a:gd name="connsiteX6" fmla="*/ 275751 w 489538"/>
                <a:gd name="connsiteY6" fmla="*/ 705456 h 761503"/>
                <a:gd name="connsiteX7" fmla="*/ 264872 w 489538"/>
                <a:gd name="connsiteY7" fmla="*/ 708176 h 761503"/>
                <a:gd name="connsiteX8" fmla="*/ 253994 w 489538"/>
                <a:gd name="connsiteY8" fmla="*/ 708176 h 761503"/>
                <a:gd name="connsiteX9" fmla="*/ 240395 w 489538"/>
                <a:gd name="connsiteY9" fmla="*/ 719054 h 761503"/>
                <a:gd name="connsiteX10" fmla="*/ 224077 w 489538"/>
                <a:gd name="connsiteY10" fmla="*/ 721774 h 761503"/>
                <a:gd name="connsiteX11" fmla="*/ 205040 w 489538"/>
                <a:gd name="connsiteY11" fmla="*/ 724494 h 761503"/>
                <a:gd name="connsiteX12" fmla="*/ 191441 w 489538"/>
                <a:gd name="connsiteY12" fmla="*/ 727213 h 761503"/>
                <a:gd name="connsiteX13" fmla="*/ 169684 w 489538"/>
                <a:gd name="connsiteY13" fmla="*/ 721774 h 761503"/>
                <a:gd name="connsiteX14" fmla="*/ 150646 w 489538"/>
                <a:gd name="connsiteY14" fmla="*/ 708176 h 761503"/>
                <a:gd name="connsiteX15" fmla="*/ 139768 w 489538"/>
                <a:gd name="connsiteY15" fmla="*/ 708176 h 761503"/>
                <a:gd name="connsiteX16" fmla="*/ 120730 w 489538"/>
                <a:gd name="connsiteY16" fmla="*/ 708176 h 761503"/>
                <a:gd name="connsiteX17" fmla="*/ 98973 w 489538"/>
                <a:gd name="connsiteY17" fmla="*/ 708176 h 761503"/>
                <a:gd name="connsiteX18" fmla="*/ 74496 w 489538"/>
                <a:gd name="connsiteY18" fmla="*/ 702736 h 761503"/>
                <a:gd name="connsiteX19" fmla="*/ 58178 w 489538"/>
                <a:gd name="connsiteY19" fmla="*/ 683699 h 761503"/>
                <a:gd name="connsiteX20" fmla="*/ 63617 w 489538"/>
                <a:gd name="connsiteY20" fmla="*/ 675540 h 761503"/>
                <a:gd name="connsiteX21" fmla="*/ 85375 w 489538"/>
                <a:gd name="connsiteY21" fmla="*/ 667381 h 761503"/>
                <a:gd name="connsiteX22" fmla="*/ 128889 w 489538"/>
                <a:gd name="connsiteY22" fmla="*/ 661942 h 761503"/>
                <a:gd name="connsiteX23" fmla="*/ 128889 w 489538"/>
                <a:gd name="connsiteY23" fmla="*/ 602109 h 761503"/>
                <a:gd name="connsiteX24" fmla="*/ 126170 w 489538"/>
                <a:gd name="connsiteY24" fmla="*/ 523239 h 761503"/>
                <a:gd name="connsiteX25" fmla="*/ 126170 w 489538"/>
                <a:gd name="connsiteY25" fmla="*/ 468846 h 761503"/>
                <a:gd name="connsiteX26" fmla="*/ 123450 w 489538"/>
                <a:gd name="connsiteY26" fmla="*/ 409014 h 761503"/>
                <a:gd name="connsiteX27" fmla="*/ 123450 w 489538"/>
                <a:gd name="connsiteY27" fmla="*/ 384537 h 761503"/>
                <a:gd name="connsiteX28" fmla="*/ 126170 w 489538"/>
                <a:gd name="connsiteY28" fmla="*/ 349181 h 761503"/>
                <a:gd name="connsiteX29" fmla="*/ 126170 w 489538"/>
                <a:gd name="connsiteY29" fmla="*/ 324704 h 761503"/>
                <a:gd name="connsiteX30" fmla="*/ 128889 w 489538"/>
                <a:gd name="connsiteY30" fmla="*/ 292068 h 761503"/>
                <a:gd name="connsiteX31" fmla="*/ 134329 w 489538"/>
                <a:gd name="connsiteY31" fmla="*/ 234956 h 761503"/>
                <a:gd name="connsiteX32" fmla="*/ 134329 w 489538"/>
                <a:gd name="connsiteY32" fmla="*/ 172404 h 761503"/>
                <a:gd name="connsiteX33" fmla="*/ 137048 w 489538"/>
                <a:gd name="connsiteY33" fmla="*/ 123450 h 761503"/>
                <a:gd name="connsiteX34" fmla="*/ 123450 w 489538"/>
                <a:gd name="connsiteY34" fmla="*/ 123450 h 761503"/>
                <a:gd name="connsiteX35" fmla="*/ 101693 w 489538"/>
                <a:gd name="connsiteY35" fmla="*/ 123450 h 761503"/>
                <a:gd name="connsiteX36" fmla="*/ 77216 w 489538"/>
                <a:gd name="connsiteY36" fmla="*/ 118011 h 761503"/>
                <a:gd name="connsiteX37" fmla="*/ 60898 w 489538"/>
                <a:gd name="connsiteY37" fmla="*/ 98973 h 761503"/>
                <a:gd name="connsiteX38" fmla="*/ 66337 w 489538"/>
                <a:gd name="connsiteY38" fmla="*/ 90814 h 761503"/>
                <a:gd name="connsiteX39" fmla="*/ 88094 w 489538"/>
                <a:gd name="connsiteY39" fmla="*/ 82655 h 761503"/>
                <a:gd name="connsiteX40" fmla="*/ 145207 w 489538"/>
                <a:gd name="connsiteY40" fmla="*/ 77216 h 761503"/>
                <a:gd name="connsiteX41" fmla="*/ 145207 w 489538"/>
                <a:gd name="connsiteY41" fmla="*/ 77216 h 761503"/>
                <a:gd name="connsiteX42" fmla="*/ 153366 w 489538"/>
                <a:gd name="connsiteY42" fmla="*/ 69057 h 761503"/>
                <a:gd name="connsiteX43" fmla="*/ 177843 w 489538"/>
                <a:gd name="connsiteY43" fmla="*/ 60898 h 761503"/>
                <a:gd name="connsiteX44" fmla="*/ 196881 w 489538"/>
                <a:gd name="connsiteY44" fmla="*/ 58178 h 761503"/>
                <a:gd name="connsiteX45" fmla="*/ 205040 w 489538"/>
                <a:gd name="connsiteY45" fmla="*/ 58178 h 761503"/>
                <a:gd name="connsiteX46" fmla="*/ 215919 w 489538"/>
                <a:gd name="connsiteY46" fmla="*/ 63617 h 761503"/>
                <a:gd name="connsiteX47" fmla="*/ 229517 w 489538"/>
                <a:gd name="connsiteY47" fmla="*/ 69057 h 761503"/>
                <a:gd name="connsiteX48" fmla="*/ 256713 w 489538"/>
                <a:gd name="connsiteY48" fmla="*/ 77216 h 761503"/>
                <a:gd name="connsiteX49" fmla="*/ 264872 w 489538"/>
                <a:gd name="connsiteY49" fmla="*/ 77216 h 761503"/>
                <a:gd name="connsiteX50" fmla="*/ 281190 w 489538"/>
                <a:gd name="connsiteY50" fmla="*/ 77216 h 761503"/>
                <a:gd name="connsiteX51" fmla="*/ 330144 w 489538"/>
                <a:gd name="connsiteY51" fmla="*/ 77216 h 761503"/>
                <a:gd name="connsiteX52" fmla="*/ 357341 w 489538"/>
                <a:gd name="connsiteY52" fmla="*/ 79935 h 761503"/>
                <a:gd name="connsiteX53" fmla="*/ 387257 w 489538"/>
                <a:gd name="connsiteY53" fmla="*/ 82655 h 761503"/>
                <a:gd name="connsiteX54" fmla="*/ 406295 w 489538"/>
                <a:gd name="connsiteY54" fmla="*/ 85375 h 761503"/>
                <a:gd name="connsiteX55" fmla="*/ 417173 w 489538"/>
                <a:gd name="connsiteY55" fmla="*/ 79935 h 761503"/>
                <a:gd name="connsiteX56" fmla="*/ 425332 w 489538"/>
                <a:gd name="connsiteY56" fmla="*/ 85375 h 761503"/>
                <a:gd name="connsiteX57" fmla="*/ 433491 w 489538"/>
                <a:gd name="connsiteY57" fmla="*/ 104412 h 761503"/>
                <a:gd name="connsiteX58" fmla="*/ 436211 w 489538"/>
                <a:gd name="connsiteY58" fmla="*/ 137048 h 761503"/>
                <a:gd name="connsiteX59" fmla="*/ 438930 w 489538"/>
                <a:gd name="connsiteY59" fmla="*/ 183282 h 761503"/>
                <a:gd name="connsiteX60" fmla="*/ 422612 w 489538"/>
                <a:gd name="connsiteY60" fmla="*/ 218638 h 761503"/>
                <a:gd name="connsiteX61" fmla="*/ 406295 w 489538"/>
                <a:gd name="connsiteY61" fmla="*/ 213198 h 761503"/>
                <a:gd name="connsiteX62" fmla="*/ 398136 w 489538"/>
                <a:gd name="connsiteY62" fmla="*/ 196881 h 761503"/>
                <a:gd name="connsiteX63" fmla="*/ 395416 w 489538"/>
                <a:gd name="connsiteY63" fmla="*/ 175123 h 761503"/>
                <a:gd name="connsiteX64" fmla="*/ 395416 w 489538"/>
                <a:gd name="connsiteY64" fmla="*/ 153366 h 761503"/>
                <a:gd name="connsiteX65" fmla="*/ 395416 w 489538"/>
                <a:gd name="connsiteY65" fmla="*/ 126170 h 761503"/>
                <a:gd name="connsiteX66" fmla="*/ 370939 w 489538"/>
                <a:gd name="connsiteY66" fmla="*/ 128889 h 761503"/>
                <a:gd name="connsiteX67" fmla="*/ 338303 w 489538"/>
                <a:gd name="connsiteY67" fmla="*/ 131609 h 761503"/>
                <a:gd name="connsiteX68" fmla="*/ 286629 w 489538"/>
                <a:gd name="connsiteY68" fmla="*/ 134328 h 761503"/>
                <a:gd name="connsiteX69" fmla="*/ 273031 w 489538"/>
                <a:gd name="connsiteY69" fmla="*/ 137048 h 761503"/>
                <a:gd name="connsiteX70" fmla="*/ 262153 w 489538"/>
                <a:gd name="connsiteY70" fmla="*/ 142487 h 761503"/>
                <a:gd name="connsiteX71" fmla="*/ 259433 w 489538"/>
                <a:gd name="connsiteY71" fmla="*/ 153366 h 761503"/>
                <a:gd name="connsiteX72" fmla="*/ 262153 w 489538"/>
                <a:gd name="connsiteY72" fmla="*/ 166964 h 761503"/>
                <a:gd name="connsiteX73" fmla="*/ 262153 w 489538"/>
                <a:gd name="connsiteY73" fmla="*/ 196881 h 761503"/>
                <a:gd name="connsiteX74" fmla="*/ 262153 w 489538"/>
                <a:gd name="connsiteY74" fmla="*/ 215918 h 761503"/>
                <a:gd name="connsiteX75" fmla="*/ 262153 w 489538"/>
                <a:gd name="connsiteY75" fmla="*/ 251274 h 761503"/>
                <a:gd name="connsiteX76" fmla="*/ 259433 w 489538"/>
                <a:gd name="connsiteY76" fmla="*/ 278470 h 761503"/>
                <a:gd name="connsiteX77" fmla="*/ 259433 w 489538"/>
                <a:gd name="connsiteY77" fmla="*/ 308386 h 761503"/>
                <a:gd name="connsiteX78" fmla="*/ 259433 w 489538"/>
                <a:gd name="connsiteY78" fmla="*/ 321985 h 761503"/>
                <a:gd name="connsiteX79" fmla="*/ 259433 w 489538"/>
                <a:gd name="connsiteY79" fmla="*/ 332863 h 761503"/>
                <a:gd name="connsiteX80" fmla="*/ 267592 w 489538"/>
                <a:gd name="connsiteY80" fmla="*/ 335583 h 761503"/>
                <a:gd name="connsiteX81" fmla="*/ 281190 w 489538"/>
                <a:gd name="connsiteY81" fmla="*/ 335583 h 761503"/>
                <a:gd name="connsiteX82" fmla="*/ 327424 w 489538"/>
                <a:gd name="connsiteY82" fmla="*/ 338303 h 761503"/>
                <a:gd name="connsiteX83" fmla="*/ 351901 w 489538"/>
                <a:gd name="connsiteY83" fmla="*/ 341022 h 761503"/>
                <a:gd name="connsiteX84" fmla="*/ 351901 w 489538"/>
                <a:gd name="connsiteY84" fmla="*/ 335583 h 761503"/>
                <a:gd name="connsiteX85" fmla="*/ 351901 w 489538"/>
                <a:gd name="connsiteY85" fmla="*/ 313826 h 761503"/>
                <a:gd name="connsiteX86" fmla="*/ 357341 w 489538"/>
                <a:gd name="connsiteY86" fmla="*/ 289349 h 761503"/>
                <a:gd name="connsiteX87" fmla="*/ 373658 w 489538"/>
                <a:gd name="connsiteY87" fmla="*/ 273031 h 761503"/>
                <a:gd name="connsiteX88" fmla="*/ 381817 w 489538"/>
                <a:gd name="connsiteY88" fmla="*/ 278470 h 761503"/>
                <a:gd name="connsiteX89" fmla="*/ 389977 w 489538"/>
                <a:gd name="connsiteY89" fmla="*/ 300228 h 761503"/>
                <a:gd name="connsiteX90" fmla="*/ 395416 w 489538"/>
                <a:gd name="connsiteY90" fmla="*/ 351901 h 761503"/>
                <a:gd name="connsiteX91" fmla="*/ 398136 w 489538"/>
                <a:gd name="connsiteY91" fmla="*/ 409014 h 761503"/>
                <a:gd name="connsiteX92" fmla="*/ 381817 w 489538"/>
                <a:gd name="connsiteY92" fmla="*/ 444369 h 761503"/>
                <a:gd name="connsiteX93" fmla="*/ 365500 w 489538"/>
                <a:gd name="connsiteY93" fmla="*/ 438930 h 761503"/>
                <a:gd name="connsiteX94" fmla="*/ 357341 w 489538"/>
                <a:gd name="connsiteY94" fmla="*/ 422612 h 761503"/>
                <a:gd name="connsiteX95" fmla="*/ 354621 w 489538"/>
                <a:gd name="connsiteY95" fmla="*/ 400855 h 761503"/>
                <a:gd name="connsiteX96" fmla="*/ 354621 w 489538"/>
                <a:gd name="connsiteY96" fmla="*/ 381817 h 761503"/>
                <a:gd name="connsiteX97" fmla="*/ 270312 w 489538"/>
                <a:gd name="connsiteY97" fmla="*/ 381817 h 761503"/>
                <a:gd name="connsiteX98" fmla="*/ 256713 w 489538"/>
                <a:gd name="connsiteY98" fmla="*/ 395415 h 761503"/>
                <a:gd name="connsiteX99" fmla="*/ 253994 w 489538"/>
                <a:gd name="connsiteY99" fmla="*/ 422612 h 761503"/>
                <a:gd name="connsiteX100" fmla="*/ 253994 w 489538"/>
                <a:gd name="connsiteY100" fmla="*/ 433490 h 761503"/>
                <a:gd name="connsiteX101" fmla="*/ 253994 w 489538"/>
                <a:gd name="connsiteY101" fmla="*/ 449809 h 761503"/>
                <a:gd name="connsiteX102" fmla="*/ 256713 w 489538"/>
                <a:gd name="connsiteY102" fmla="*/ 474285 h 761503"/>
                <a:gd name="connsiteX103" fmla="*/ 256713 w 489538"/>
                <a:gd name="connsiteY103" fmla="*/ 496043 h 761503"/>
                <a:gd name="connsiteX104" fmla="*/ 259433 w 489538"/>
                <a:gd name="connsiteY104" fmla="*/ 534118 h 761503"/>
                <a:gd name="connsiteX105" fmla="*/ 259433 w 489538"/>
                <a:gd name="connsiteY105" fmla="*/ 591231 h 761503"/>
                <a:gd name="connsiteX106" fmla="*/ 262153 w 489538"/>
                <a:gd name="connsiteY106" fmla="*/ 618427 h 761503"/>
                <a:gd name="connsiteX107" fmla="*/ 267592 w 489538"/>
                <a:gd name="connsiteY107" fmla="*/ 648343 h 761503"/>
                <a:gd name="connsiteX108" fmla="*/ 292069 w 489538"/>
                <a:gd name="connsiteY108" fmla="*/ 651063 h 761503"/>
                <a:gd name="connsiteX109" fmla="*/ 327424 w 489538"/>
                <a:gd name="connsiteY109" fmla="*/ 651063 h 761503"/>
                <a:gd name="connsiteX110" fmla="*/ 362780 w 489538"/>
                <a:gd name="connsiteY110" fmla="*/ 653783 h 761503"/>
                <a:gd name="connsiteX111" fmla="*/ 395416 w 489538"/>
                <a:gd name="connsiteY111" fmla="*/ 648343 h 761503"/>
                <a:gd name="connsiteX112" fmla="*/ 395416 w 489538"/>
                <a:gd name="connsiteY112" fmla="*/ 618427 h 761503"/>
                <a:gd name="connsiteX113" fmla="*/ 395416 w 489538"/>
                <a:gd name="connsiteY113" fmla="*/ 596670 h 761503"/>
                <a:gd name="connsiteX114" fmla="*/ 398136 w 489538"/>
                <a:gd name="connsiteY114" fmla="*/ 574913 h 761503"/>
                <a:gd name="connsiteX115" fmla="*/ 406295 w 489538"/>
                <a:gd name="connsiteY115" fmla="*/ 558595 h 761503"/>
                <a:gd name="connsiteX116" fmla="*/ 422612 w 489538"/>
                <a:gd name="connsiteY116" fmla="*/ 553155 h 761503"/>
                <a:gd name="connsiteX117" fmla="*/ 438930 w 489538"/>
                <a:gd name="connsiteY117" fmla="*/ 588511 h 761503"/>
                <a:gd name="connsiteX118" fmla="*/ 436211 w 489538"/>
                <a:gd name="connsiteY118" fmla="*/ 645624 h 761503"/>
                <a:gd name="connsiteX119" fmla="*/ 433491 w 489538"/>
                <a:gd name="connsiteY119" fmla="*/ 651063 h 761503"/>
                <a:gd name="connsiteX120" fmla="*/ 433491 w 489538"/>
                <a:gd name="connsiteY120" fmla="*/ 651063 h 761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</a:cxnLst>
              <a:rect l="l" t="t" r="r" b="b"/>
              <a:pathLst>
                <a:path w="489538" h="761503">
                  <a:moveTo>
                    <a:pt x="433491" y="651063"/>
                  </a:moveTo>
                  <a:cubicBezTo>
                    <a:pt x="436211" y="653783"/>
                    <a:pt x="438930" y="656502"/>
                    <a:pt x="438930" y="661942"/>
                  </a:cubicBezTo>
                  <a:cubicBezTo>
                    <a:pt x="438930" y="670101"/>
                    <a:pt x="433491" y="678259"/>
                    <a:pt x="425332" y="683699"/>
                  </a:cubicBezTo>
                  <a:cubicBezTo>
                    <a:pt x="417173" y="689138"/>
                    <a:pt x="409014" y="689138"/>
                    <a:pt x="400855" y="691858"/>
                  </a:cubicBezTo>
                  <a:cubicBezTo>
                    <a:pt x="381817" y="694578"/>
                    <a:pt x="362780" y="694578"/>
                    <a:pt x="343742" y="700017"/>
                  </a:cubicBezTo>
                  <a:cubicBezTo>
                    <a:pt x="335583" y="702736"/>
                    <a:pt x="324705" y="702736"/>
                    <a:pt x="316546" y="705456"/>
                  </a:cubicBezTo>
                  <a:cubicBezTo>
                    <a:pt x="308387" y="705456"/>
                    <a:pt x="289349" y="705456"/>
                    <a:pt x="275751" y="705456"/>
                  </a:cubicBezTo>
                  <a:cubicBezTo>
                    <a:pt x="270312" y="705456"/>
                    <a:pt x="267592" y="708176"/>
                    <a:pt x="264872" y="708176"/>
                  </a:cubicBezTo>
                  <a:cubicBezTo>
                    <a:pt x="264872" y="708176"/>
                    <a:pt x="259433" y="708176"/>
                    <a:pt x="253994" y="708176"/>
                  </a:cubicBezTo>
                  <a:cubicBezTo>
                    <a:pt x="251274" y="713615"/>
                    <a:pt x="245835" y="716335"/>
                    <a:pt x="240395" y="719054"/>
                  </a:cubicBezTo>
                  <a:cubicBezTo>
                    <a:pt x="234956" y="721774"/>
                    <a:pt x="229517" y="721774"/>
                    <a:pt x="224077" y="721774"/>
                  </a:cubicBezTo>
                  <a:cubicBezTo>
                    <a:pt x="218638" y="721774"/>
                    <a:pt x="213199" y="724494"/>
                    <a:pt x="205040" y="724494"/>
                  </a:cubicBezTo>
                  <a:cubicBezTo>
                    <a:pt x="202320" y="724494"/>
                    <a:pt x="194161" y="727213"/>
                    <a:pt x="191441" y="727213"/>
                  </a:cubicBezTo>
                  <a:cubicBezTo>
                    <a:pt x="183282" y="727213"/>
                    <a:pt x="172404" y="721774"/>
                    <a:pt x="169684" y="721774"/>
                  </a:cubicBezTo>
                  <a:cubicBezTo>
                    <a:pt x="164245" y="719054"/>
                    <a:pt x="156086" y="713615"/>
                    <a:pt x="150646" y="708176"/>
                  </a:cubicBezTo>
                  <a:cubicBezTo>
                    <a:pt x="145207" y="708176"/>
                    <a:pt x="139768" y="708176"/>
                    <a:pt x="139768" y="708176"/>
                  </a:cubicBezTo>
                  <a:cubicBezTo>
                    <a:pt x="126170" y="708176"/>
                    <a:pt x="137048" y="708176"/>
                    <a:pt x="120730" y="708176"/>
                  </a:cubicBezTo>
                  <a:cubicBezTo>
                    <a:pt x="112571" y="708176"/>
                    <a:pt x="104412" y="708176"/>
                    <a:pt x="98973" y="708176"/>
                  </a:cubicBezTo>
                  <a:cubicBezTo>
                    <a:pt x="90814" y="708176"/>
                    <a:pt x="79936" y="708176"/>
                    <a:pt x="74496" y="702736"/>
                  </a:cubicBezTo>
                  <a:cubicBezTo>
                    <a:pt x="66337" y="700017"/>
                    <a:pt x="58178" y="689138"/>
                    <a:pt x="58178" y="683699"/>
                  </a:cubicBezTo>
                  <a:cubicBezTo>
                    <a:pt x="58178" y="680979"/>
                    <a:pt x="58178" y="678259"/>
                    <a:pt x="63617" y="675540"/>
                  </a:cubicBezTo>
                  <a:cubicBezTo>
                    <a:pt x="69057" y="672820"/>
                    <a:pt x="77216" y="670101"/>
                    <a:pt x="85375" y="667381"/>
                  </a:cubicBezTo>
                  <a:cubicBezTo>
                    <a:pt x="98973" y="664661"/>
                    <a:pt x="115291" y="664661"/>
                    <a:pt x="128889" y="661942"/>
                  </a:cubicBezTo>
                  <a:cubicBezTo>
                    <a:pt x="128889" y="645624"/>
                    <a:pt x="128889" y="623866"/>
                    <a:pt x="128889" y="602109"/>
                  </a:cubicBezTo>
                  <a:cubicBezTo>
                    <a:pt x="128889" y="566754"/>
                    <a:pt x="128889" y="531398"/>
                    <a:pt x="126170" y="523239"/>
                  </a:cubicBezTo>
                  <a:cubicBezTo>
                    <a:pt x="126170" y="517800"/>
                    <a:pt x="126170" y="487884"/>
                    <a:pt x="126170" y="468846"/>
                  </a:cubicBezTo>
                  <a:cubicBezTo>
                    <a:pt x="126170" y="449809"/>
                    <a:pt x="123450" y="430771"/>
                    <a:pt x="123450" y="409014"/>
                  </a:cubicBezTo>
                  <a:cubicBezTo>
                    <a:pt x="123450" y="400855"/>
                    <a:pt x="123450" y="392696"/>
                    <a:pt x="123450" y="384537"/>
                  </a:cubicBezTo>
                  <a:cubicBezTo>
                    <a:pt x="123450" y="373658"/>
                    <a:pt x="126170" y="360060"/>
                    <a:pt x="126170" y="349181"/>
                  </a:cubicBezTo>
                  <a:cubicBezTo>
                    <a:pt x="126170" y="341022"/>
                    <a:pt x="126170" y="332863"/>
                    <a:pt x="126170" y="324704"/>
                  </a:cubicBezTo>
                  <a:cubicBezTo>
                    <a:pt x="126170" y="313826"/>
                    <a:pt x="126170" y="302947"/>
                    <a:pt x="128889" y="292068"/>
                  </a:cubicBezTo>
                  <a:cubicBezTo>
                    <a:pt x="131609" y="273031"/>
                    <a:pt x="134329" y="253993"/>
                    <a:pt x="134329" y="234956"/>
                  </a:cubicBezTo>
                  <a:cubicBezTo>
                    <a:pt x="134329" y="213198"/>
                    <a:pt x="134329" y="191441"/>
                    <a:pt x="134329" y="172404"/>
                  </a:cubicBezTo>
                  <a:cubicBezTo>
                    <a:pt x="134329" y="156086"/>
                    <a:pt x="134329" y="139768"/>
                    <a:pt x="137048" y="123450"/>
                  </a:cubicBezTo>
                  <a:cubicBezTo>
                    <a:pt x="131609" y="123450"/>
                    <a:pt x="134329" y="123450"/>
                    <a:pt x="123450" y="123450"/>
                  </a:cubicBezTo>
                  <a:cubicBezTo>
                    <a:pt x="115291" y="123450"/>
                    <a:pt x="107132" y="123450"/>
                    <a:pt x="101693" y="123450"/>
                  </a:cubicBezTo>
                  <a:cubicBezTo>
                    <a:pt x="93534" y="123450"/>
                    <a:pt x="82655" y="123450"/>
                    <a:pt x="77216" y="118011"/>
                  </a:cubicBezTo>
                  <a:cubicBezTo>
                    <a:pt x="69057" y="115291"/>
                    <a:pt x="60898" y="101693"/>
                    <a:pt x="60898" y="98973"/>
                  </a:cubicBezTo>
                  <a:cubicBezTo>
                    <a:pt x="60898" y="96253"/>
                    <a:pt x="60898" y="93534"/>
                    <a:pt x="66337" y="90814"/>
                  </a:cubicBezTo>
                  <a:cubicBezTo>
                    <a:pt x="71777" y="88094"/>
                    <a:pt x="79936" y="85375"/>
                    <a:pt x="88094" y="82655"/>
                  </a:cubicBezTo>
                  <a:cubicBezTo>
                    <a:pt x="104412" y="79935"/>
                    <a:pt x="131609" y="77216"/>
                    <a:pt x="145207" y="77216"/>
                  </a:cubicBezTo>
                  <a:cubicBezTo>
                    <a:pt x="145207" y="77216"/>
                    <a:pt x="145207" y="77216"/>
                    <a:pt x="145207" y="77216"/>
                  </a:cubicBezTo>
                  <a:cubicBezTo>
                    <a:pt x="145207" y="74496"/>
                    <a:pt x="150646" y="71776"/>
                    <a:pt x="153366" y="69057"/>
                  </a:cubicBezTo>
                  <a:cubicBezTo>
                    <a:pt x="161525" y="63617"/>
                    <a:pt x="169684" y="63617"/>
                    <a:pt x="177843" y="60898"/>
                  </a:cubicBezTo>
                  <a:cubicBezTo>
                    <a:pt x="183282" y="58178"/>
                    <a:pt x="191441" y="58178"/>
                    <a:pt x="196881" y="58178"/>
                  </a:cubicBezTo>
                  <a:cubicBezTo>
                    <a:pt x="199600" y="58178"/>
                    <a:pt x="202320" y="58178"/>
                    <a:pt x="205040" y="58178"/>
                  </a:cubicBezTo>
                  <a:cubicBezTo>
                    <a:pt x="207759" y="58178"/>
                    <a:pt x="213199" y="60898"/>
                    <a:pt x="215919" y="63617"/>
                  </a:cubicBezTo>
                  <a:cubicBezTo>
                    <a:pt x="221358" y="66337"/>
                    <a:pt x="224077" y="66337"/>
                    <a:pt x="229517" y="69057"/>
                  </a:cubicBezTo>
                  <a:cubicBezTo>
                    <a:pt x="237675" y="71776"/>
                    <a:pt x="245835" y="77216"/>
                    <a:pt x="256713" y="77216"/>
                  </a:cubicBezTo>
                  <a:cubicBezTo>
                    <a:pt x="259433" y="77216"/>
                    <a:pt x="262153" y="77216"/>
                    <a:pt x="264872" y="77216"/>
                  </a:cubicBezTo>
                  <a:cubicBezTo>
                    <a:pt x="270312" y="77216"/>
                    <a:pt x="275751" y="77216"/>
                    <a:pt x="281190" y="77216"/>
                  </a:cubicBezTo>
                  <a:cubicBezTo>
                    <a:pt x="292069" y="77216"/>
                    <a:pt x="321985" y="77216"/>
                    <a:pt x="330144" y="77216"/>
                  </a:cubicBezTo>
                  <a:cubicBezTo>
                    <a:pt x="338303" y="77216"/>
                    <a:pt x="349182" y="77216"/>
                    <a:pt x="357341" y="79935"/>
                  </a:cubicBezTo>
                  <a:cubicBezTo>
                    <a:pt x="368219" y="79935"/>
                    <a:pt x="379098" y="82655"/>
                    <a:pt x="387257" y="82655"/>
                  </a:cubicBezTo>
                  <a:cubicBezTo>
                    <a:pt x="392696" y="82655"/>
                    <a:pt x="400855" y="85375"/>
                    <a:pt x="406295" y="85375"/>
                  </a:cubicBezTo>
                  <a:cubicBezTo>
                    <a:pt x="409014" y="82655"/>
                    <a:pt x="414453" y="79935"/>
                    <a:pt x="417173" y="79935"/>
                  </a:cubicBezTo>
                  <a:cubicBezTo>
                    <a:pt x="419893" y="79935"/>
                    <a:pt x="422612" y="79935"/>
                    <a:pt x="425332" y="85375"/>
                  </a:cubicBezTo>
                  <a:cubicBezTo>
                    <a:pt x="428052" y="90814"/>
                    <a:pt x="433491" y="98973"/>
                    <a:pt x="433491" y="104412"/>
                  </a:cubicBezTo>
                  <a:cubicBezTo>
                    <a:pt x="436211" y="131609"/>
                    <a:pt x="436211" y="120730"/>
                    <a:pt x="436211" y="137048"/>
                  </a:cubicBezTo>
                  <a:cubicBezTo>
                    <a:pt x="438930" y="158805"/>
                    <a:pt x="438930" y="158805"/>
                    <a:pt x="438930" y="183282"/>
                  </a:cubicBezTo>
                  <a:cubicBezTo>
                    <a:pt x="438930" y="194161"/>
                    <a:pt x="438930" y="218638"/>
                    <a:pt x="422612" y="218638"/>
                  </a:cubicBezTo>
                  <a:cubicBezTo>
                    <a:pt x="414453" y="218638"/>
                    <a:pt x="411734" y="215918"/>
                    <a:pt x="406295" y="213198"/>
                  </a:cubicBezTo>
                  <a:cubicBezTo>
                    <a:pt x="400855" y="210479"/>
                    <a:pt x="398136" y="202320"/>
                    <a:pt x="398136" y="196881"/>
                  </a:cubicBezTo>
                  <a:cubicBezTo>
                    <a:pt x="395416" y="188722"/>
                    <a:pt x="395416" y="183282"/>
                    <a:pt x="395416" y="175123"/>
                  </a:cubicBezTo>
                  <a:cubicBezTo>
                    <a:pt x="395416" y="169684"/>
                    <a:pt x="395416" y="164245"/>
                    <a:pt x="395416" y="153366"/>
                  </a:cubicBezTo>
                  <a:cubicBezTo>
                    <a:pt x="395416" y="145207"/>
                    <a:pt x="395416" y="134328"/>
                    <a:pt x="395416" y="126170"/>
                  </a:cubicBezTo>
                  <a:cubicBezTo>
                    <a:pt x="387257" y="128889"/>
                    <a:pt x="379098" y="128889"/>
                    <a:pt x="370939" y="128889"/>
                  </a:cubicBezTo>
                  <a:cubicBezTo>
                    <a:pt x="360060" y="128889"/>
                    <a:pt x="349182" y="128889"/>
                    <a:pt x="338303" y="131609"/>
                  </a:cubicBezTo>
                  <a:cubicBezTo>
                    <a:pt x="327424" y="131609"/>
                    <a:pt x="319265" y="134328"/>
                    <a:pt x="286629" y="134328"/>
                  </a:cubicBezTo>
                  <a:cubicBezTo>
                    <a:pt x="281190" y="134328"/>
                    <a:pt x="278470" y="134328"/>
                    <a:pt x="273031" y="137048"/>
                  </a:cubicBezTo>
                  <a:cubicBezTo>
                    <a:pt x="270312" y="137048"/>
                    <a:pt x="264872" y="137048"/>
                    <a:pt x="262153" y="142487"/>
                  </a:cubicBezTo>
                  <a:cubicBezTo>
                    <a:pt x="259433" y="145207"/>
                    <a:pt x="259433" y="150647"/>
                    <a:pt x="259433" y="153366"/>
                  </a:cubicBezTo>
                  <a:cubicBezTo>
                    <a:pt x="259433" y="158805"/>
                    <a:pt x="259433" y="164245"/>
                    <a:pt x="262153" y="166964"/>
                  </a:cubicBezTo>
                  <a:cubicBezTo>
                    <a:pt x="262153" y="177843"/>
                    <a:pt x="262153" y="186002"/>
                    <a:pt x="262153" y="196881"/>
                  </a:cubicBezTo>
                  <a:cubicBezTo>
                    <a:pt x="262153" y="202320"/>
                    <a:pt x="262153" y="210479"/>
                    <a:pt x="262153" y="215918"/>
                  </a:cubicBezTo>
                  <a:cubicBezTo>
                    <a:pt x="262153" y="229516"/>
                    <a:pt x="262153" y="240395"/>
                    <a:pt x="262153" y="251274"/>
                  </a:cubicBezTo>
                  <a:cubicBezTo>
                    <a:pt x="262153" y="259433"/>
                    <a:pt x="259433" y="270311"/>
                    <a:pt x="259433" y="278470"/>
                  </a:cubicBezTo>
                  <a:cubicBezTo>
                    <a:pt x="259433" y="289349"/>
                    <a:pt x="259433" y="297508"/>
                    <a:pt x="259433" y="308386"/>
                  </a:cubicBezTo>
                  <a:cubicBezTo>
                    <a:pt x="259433" y="313826"/>
                    <a:pt x="259433" y="319265"/>
                    <a:pt x="259433" y="321985"/>
                  </a:cubicBezTo>
                  <a:cubicBezTo>
                    <a:pt x="259433" y="324704"/>
                    <a:pt x="259433" y="330144"/>
                    <a:pt x="259433" y="332863"/>
                  </a:cubicBezTo>
                  <a:cubicBezTo>
                    <a:pt x="262153" y="335583"/>
                    <a:pt x="264872" y="335583"/>
                    <a:pt x="267592" y="335583"/>
                  </a:cubicBezTo>
                  <a:cubicBezTo>
                    <a:pt x="273031" y="335583"/>
                    <a:pt x="275751" y="335583"/>
                    <a:pt x="281190" y="335583"/>
                  </a:cubicBezTo>
                  <a:cubicBezTo>
                    <a:pt x="311107" y="335583"/>
                    <a:pt x="319265" y="335583"/>
                    <a:pt x="327424" y="338303"/>
                  </a:cubicBezTo>
                  <a:cubicBezTo>
                    <a:pt x="335583" y="341022"/>
                    <a:pt x="343742" y="341022"/>
                    <a:pt x="351901" y="341022"/>
                  </a:cubicBezTo>
                  <a:cubicBezTo>
                    <a:pt x="351901" y="338303"/>
                    <a:pt x="351901" y="338303"/>
                    <a:pt x="351901" y="335583"/>
                  </a:cubicBezTo>
                  <a:cubicBezTo>
                    <a:pt x="351901" y="327424"/>
                    <a:pt x="351901" y="319265"/>
                    <a:pt x="351901" y="313826"/>
                  </a:cubicBezTo>
                  <a:cubicBezTo>
                    <a:pt x="351901" y="305667"/>
                    <a:pt x="351901" y="294788"/>
                    <a:pt x="357341" y="289349"/>
                  </a:cubicBezTo>
                  <a:cubicBezTo>
                    <a:pt x="360060" y="281190"/>
                    <a:pt x="368219" y="273031"/>
                    <a:pt x="373658" y="273031"/>
                  </a:cubicBezTo>
                  <a:cubicBezTo>
                    <a:pt x="376378" y="273031"/>
                    <a:pt x="379098" y="273031"/>
                    <a:pt x="381817" y="278470"/>
                  </a:cubicBezTo>
                  <a:cubicBezTo>
                    <a:pt x="384537" y="283909"/>
                    <a:pt x="387257" y="292068"/>
                    <a:pt x="389977" y="300228"/>
                  </a:cubicBezTo>
                  <a:cubicBezTo>
                    <a:pt x="392696" y="316545"/>
                    <a:pt x="392696" y="335583"/>
                    <a:pt x="395416" y="351901"/>
                  </a:cubicBezTo>
                  <a:cubicBezTo>
                    <a:pt x="398136" y="373658"/>
                    <a:pt x="398136" y="384537"/>
                    <a:pt x="398136" y="409014"/>
                  </a:cubicBezTo>
                  <a:cubicBezTo>
                    <a:pt x="398136" y="422612"/>
                    <a:pt x="398136" y="444369"/>
                    <a:pt x="381817" y="444369"/>
                  </a:cubicBezTo>
                  <a:cubicBezTo>
                    <a:pt x="373658" y="444369"/>
                    <a:pt x="370939" y="441650"/>
                    <a:pt x="365500" y="438930"/>
                  </a:cubicBezTo>
                  <a:cubicBezTo>
                    <a:pt x="360060" y="436210"/>
                    <a:pt x="357341" y="428051"/>
                    <a:pt x="357341" y="422612"/>
                  </a:cubicBezTo>
                  <a:cubicBezTo>
                    <a:pt x="354621" y="414453"/>
                    <a:pt x="354621" y="409014"/>
                    <a:pt x="354621" y="400855"/>
                  </a:cubicBezTo>
                  <a:cubicBezTo>
                    <a:pt x="354621" y="395415"/>
                    <a:pt x="354621" y="389976"/>
                    <a:pt x="354621" y="381817"/>
                  </a:cubicBezTo>
                  <a:cubicBezTo>
                    <a:pt x="335583" y="381817"/>
                    <a:pt x="308387" y="384537"/>
                    <a:pt x="270312" y="381817"/>
                  </a:cubicBezTo>
                  <a:cubicBezTo>
                    <a:pt x="262153" y="381817"/>
                    <a:pt x="256713" y="387256"/>
                    <a:pt x="256713" y="395415"/>
                  </a:cubicBezTo>
                  <a:cubicBezTo>
                    <a:pt x="256713" y="403574"/>
                    <a:pt x="256713" y="414453"/>
                    <a:pt x="253994" y="422612"/>
                  </a:cubicBezTo>
                  <a:cubicBezTo>
                    <a:pt x="253994" y="425332"/>
                    <a:pt x="253994" y="430771"/>
                    <a:pt x="253994" y="433490"/>
                  </a:cubicBezTo>
                  <a:cubicBezTo>
                    <a:pt x="253994" y="438930"/>
                    <a:pt x="253994" y="444369"/>
                    <a:pt x="253994" y="449809"/>
                  </a:cubicBezTo>
                  <a:cubicBezTo>
                    <a:pt x="253994" y="457967"/>
                    <a:pt x="256713" y="466126"/>
                    <a:pt x="256713" y="474285"/>
                  </a:cubicBezTo>
                  <a:cubicBezTo>
                    <a:pt x="256713" y="482444"/>
                    <a:pt x="256713" y="490603"/>
                    <a:pt x="256713" y="496043"/>
                  </a:cubicBezTo>
                  <a:cubicBezTo>
                    <a:pt x="256713" y="509641"/>
                    <a:pt x="259433" y="520520"/>
                    <a:pt x="259433" y="534118"/>
                  </a:cubicBezTo>
                  <a:cubicBezTo>
                    <a:pt x="259433" y="553155"/>
                    <a:pt x="259433" y="572193"/>
                    <a:pt x="259433" y="591231"/>
                  </a:cubicBezTo>
                  <a:cubicBezTo>
                    <a:pt x="259433" y="602109"/>
                    <a:pt x="262153" y="610268"/>
                    <a:pt x="262153" y="618427"/>
                  </a:cubicBezTo>
                  <a:cubicBezTo>
                    <a:pt x="264872" y="626586"/>
                    <a:pt x="262153" y="642904"/>
                    <a:pt x="267592" y="648343"/>
                  </a:cubicBezTo>
                  <a:cubicBezTo>
                    <a:pt x="270312" y="651063"/>
                    <a:pt x="275751" y="651063"/>
                    <a:pt x="292069" y="651063"/>
                  </a:cubicBezTo>
                  <a:cubicBezTo>
                    <a:pt x="305667" y="651063"/>
                    <a:pt x="319265" y="651063"/>
                    <a:pt x="327424" y="651063"/>
                  </a:cubicBezTo>
                  <a:cubicBezTo>
                    <a:pt x="338303" y="651063"/>
                    <a:pt x="351901" y="653783"/>
                    <a:pt x="362780" y="653783"/>
                  </a:cubicBezTo>
                  <a:cubicBezTo>
                    <a:pt x="376378" y="653783"/>
                    <a:pt x="384537" y="651063"/>
                    <a:pt x="395416" y="648343"/>
                  </a:cubicBezTo>
                  <a:cubicBezTo>
                    <a:pt x="395416" y="637465"/>
                    <a:pt x="395416" y="629306"/>
                    <a:pt x="395416" y="618427"/>
                  </a:cubicBezTo>
                  <a:cubicBezTo>
                    <a:pt x="395416" y="610268"/>
                    <a:pt x="395416" y="602109"/>
                    <a:pt x="395416" y="596670"/>
                  </a:cubicBezTo>
                  <a:cubicBezTo>
                    <a:pt x="395416" y="591231"/>
                    <a:pt x="395416" y="585791"/>
                    <a:pt x="398136" y="574913"/>
                  </a:cubicBezTo>
                  <a:cubicBezTo>
                    <a:pt x="400855" y="569473"/>
                    <a:pt x="400855" y="564034"/>
                    <a:pt x="406295" y="558595"/>
                  </a:cubicBezTo>
                  <a:cubicBezTo>
                    <a:pt x="411734" y="553155"/>
                    <a:pt x="414453" y="553155"/>
                    <a:pt x="422612" y="553155"/>
                  </a:cubicBezTo>
                  <a:cubicBezTo>
                    <a:pt x="436211" y="553155"/>
                    <a:pt x="438930" y="577632"/>
                    <a:pt x="438930" y="588511"/>
                  </a:cubicBezTo>
                  <a:cubicBezTo>
                    <a:pt x="438930" y="612988"/>
                    <a:pt x="438930" y="623866"/>
                    <a:pt x="436211" y="645624"/>
                  </a:cubicBezTo>
                  <a:cubicBezTo>
                    <a:pt x="433491" y="648343"/>
                    <a:pt x="433491" y="648343"/>
                    <a:pt x="433491" y="651063"/>
                  </a:cubicBezTo>
                  <a:lnTo>
                    <a:pt x="433491" y="651063"/>
                  </a:ln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/>
            </a:p>
          </p:txBody>
        </p:sp>
        <p:sp>
          <p:nvSpPr>
            <p:cNvPr id="47" name="Freeform: Shape 46">
              <a:extLst>
                <a:ext uri="{FF2B5EF4-FFF2-40B4-BE49-F238E27FC236}">
                  <a16:creationId xmlns:a16="http://schemas.microsoft.com/office/drawing/2014/main" id="{CF77090F-DBED-42FA-8BD3-E840AE99870B}"/>
                </a:ext>
              </a:extLst>
            </p:cNvPr>
            <p:cNvSpPr/>
            <p:nvPr/>
          </p:nvSpPr>
          <p:spPr>
            <a:xfrm>
              <a:off x="7912732" y="4250336"/>
              <a:ext cx="465062" cy="658157"/>
            </a:xfrm>
            <a:custGeom>
              <a:avLst/>
              <a:gdLst>
                <a:gd name="connsiteX0" fmla="*/ 193096 w 465062"/>
                <a:gd name="connsiteY0" fmla="*/ 59832 h 658157"/>
                <a:gd name="connsiteX1" fmla="*/ 193096 w 465062"/>
                <a:gd name="connsiteY1" fmla="*/ 114226 h 658157"/>
                <a:gd name="connsiteX2" fmla="*/ 198536 w 465062"/>
                <a:gd name="connsiteY2" fmla="*/ 209414 h 658157"/>
                <a:gd name="connsiteX3" fmla="*/ 201255 w 465062"/>
                <a:gd name="connsiteY3" fmla="*/ 282845 h 658157"/>
                <a:gd name="connsiteX4" fmla="*/ 203975 w 465062"/>
                <a:gd name="connsiteY4" fmla="*/ 315481 h 658157"/>
                <a:gd name="connsiteX5" fmla="*/ 203975 w 465062"/>
                <a:gd name="connsiteY5" fmla="*/ 320920 h 658157"/>
                <a:gd name="connsiteX6" fmla="*/ 212134 w 465062"/>
                <a:gd name="connsiteY6" fmla="*/ 329079 h 658157"/>
                <a:gd name="connsiteX7" fmla="*/ 223013 w 465062"/>
                <a:gd name="connsiteY7" fmla="*/ 329079 h 658157"/>
                <a:gd name="connsiteX8" fmla="*/ 239331 w 465062"/>
                <a:gd name="connsiteY8" fmla="*/ 329079 h 658157"/>
                <a:gd name="connsiteX9" fmla="*/ 280126 w 465062"/>
                <a:gd name="connsiteY9" fmla="*/ 312761 h 658157"/>
                <a:gd name="connsiteX10" fmla="*/ 296443 w 465062"/>
                <a:gd name="connsiteY10" fmla="*/ 288284 h 658157"/>
                <a:gd name="connsiteX11" fmla="*/ 304602 w 465062"/>
                <a:gd name="connsiteY11" fmla="*/ 258368 h 658157"/>
                <a:gd name="connsiteX12" fmla="*/ 312761 w 465062"/>
                <a:gd name="connsiteY12" fmla="*/ 225732 h 658157"/>
                <a:gd name="connsiteX13" fmla="*/ 315481 w 465062"/>
                <a:gd name="connsiteY13" fmla="*/ 195816 h 658157"/>
                <a:gd name="connsiteX14" fmla="*/ 318201 w 465062"/>
                <a:gd name="connsiteY14" fmla="*/ 168619 h 658157"/>
                <a:gd name="connsiteX15" fmla="*/ 312761 w 465062"/>
                <a:gd name="connsiteY15" fmla="*/ 135983 h 658157"/>
                <a:gd name="connsiteX16" fmla="*/ 312761 w 465062"/>
                <a:gd name="connsiteY16" fmla="*/ 122385 h 658157"/>
                <a:gd name="connsiteX17" fmla="*/ 293724 w 465062"/>
                <a:gd name="connsiteY17" fmla="*/ 84309 h 658157"/>
                <a:gd name="connsiteX18" fmla="*/ 280126 w 465062"/>
                <a:gd name="connsiteY18" fmla="*/ 73430 h 658157"/>
                <a:gd name="connsiteX19" fmla="*/ 258368 w 465062"/>
                <a:gd name="connsiteY19" fmla="*/ 62552 h 658157"/>
                <a:gd name="connsiteX20" fmla="*/ 217573 w 465062"/>
                <a:gd name="connsiteY20" fmla="*/ 59832 h 658157"/>
                <a:gd name="connsiteX21" fmla="*/ 111506 w 465062"/>
                <a:gd name="connsiteY21" fmla="*/ 0 h 658157"/>
                <a:gd name="connsiteX22" fmla="*/ 127824 w 465062"/>
                <a:gd name="connsiteY22" fmla="*/ 0 h 658157"/>
                <a:gd name="connsiteX23" fmla="*/ 157741 w 465062"/>
                <a:gd name="connsiteY23" fmla="*/ 5440 h 658157"/>
                <a:gd name="connsiteX24" fmla="*/ 179497 w 465062"/>
                <a:gd name="connsiteY24" fmla="*/ 16318 h 658157"/>
                <a:gd name="connsiteX25" fmla="*/ 209414 w 465062"/>
                <a:gd name="connsiteY25" fmla="*/ 16318 h 658157"/>
                <a:gd name="connsiteX26" fmla="*/ 247489 w 465062"/>
                <a:gd name="connsiteY26" fmla="*/ 16318 h 658157"/>
                <a:gd name="connsiteX27" fmla="*/ 266527 w 465062"/>
                <a:gd name="connsiteY27" fmla="*/ 16318 h 658157"/>
                <a:gd name="connsiteX28" fmla="*/ 312761 w 465062"/>
                <a:gd name="connsiteY28" fmla="*/ 27197 h 658157"/>
                <a:gd name="connsiteX29" fmla="*/ 337238 w 465062"/>
                <a:gd name="connsiteY29" fmla="*/ 38075 h 658157"/>
                <a:gd name="connsiteX30" fmla="*/ 364434 w 465062"/>
                <a:gd name="connsiteY30" fmla="*/ 54393 h 658157"/>
                <a:gd name="connsiteX31" fmla="*/ 386192 w 465062"/>
                <a:gd name="connsiteY31" fmla="*/ 73431 h 658157"/>
                <a:gd name="connsiteX32" fmla="*/ 407949 w 465062"/>
                <a:gd name="connsiteY32" fmla="*/ 103347 h 658157"/>
                <a:gd name="connsiteX33" fmla="*/ 416108 w 465062"/>
                <a:gd name="connsiteY33" fmla="*/ 141422 h 658157"/>
                <a:gd name="connsiteX34" fmla="*/ 418828 w 465062"/>
                <a:gd name="connsiteY34" fmla="*/ 163179 h 658157"/>
                <a:gd name="connsiteX35" fmla="*/ 418828 w 465062"/>
                <a:gd name="connsiteY35" fmla="*/ 171339 h 658157"/>
                <a:gd name="connsiteX36" fmla="*/ 421547 w 465062"/>
                <a:gd name="connsiteY36" fmla="*/ 187656 h 658157"/>
                <a:gd name="connsiteX37" fmla="*/ 418828 w 465062"/>
                <a:gd name="connsiteY37" fmla="*/ 206694 h 658157"/>
                <a:gd name="connsiteX38" fmla="*/ 416108 w 465062"/>
                <a:gd name="connsiteY38" fmla="*/ 233891 h 658157"/>
                <a:gd name="connsiteX39" fmla="*/ 405229 w 465062"/>
                <a:gd name="connsiteY39" fmla="*/ 263807 h 658157"/>
                <a:gd name="connsiteX40" fmla="*/ 394351 w 465062"/>
                <a:gd name="connsiteY40" fmla="*/ 274686 h 658157"/>
                <a:gd name="connsiteX41" fmla="*/ 388912 w 465062"/>
                <a:gd name="connsiteY41" fmla="*/ 285564 h 658157"/>
                <a:gd name="connsiteX42" fmla="*/ 369874 w 465062"/>
                <a:gd name="connsiteY42" fmla="*/ 304602 h 658157"/>
                <a:gd name="connsiteX43" fmla="*/ 358995 w 465062"/>
                <a:gd name="connsiteY43" fmla="*/ 310041 h 658157"/>
                <a:gd name="connsiteX44" fmla="*/ 348117 w 465062"/>
                <a:gd name="connsiteY44" fmla="*/ 320920 h 658157"/>
                <a:gd name="connsiteX45" fmla="*/ 326359 w 465062"/>
                <a:gd name="connsiteY45" fmla="*/ 339957 h 658157"/>
                <a:gd name="connsiteX46" fmla="*/ 312761 w 465062"/>
                <a:gd name="connsiteY46" fmla="*/ 353555 h 658157"/>
                <a:gd name="connsiteX47" fmla="*/ 337238 w 465062"/>
                <a:gd name="connsiteY47" fmla="*/ 380752 h 658157"/>
                <a:gd name="connsiteX48" fmla="*/ 358995 w 465062"/>
                <a:gd name="connsiteY48" fmla="*/ 421547 h 658157"/>
                <a:gd name="connsiteX49" fmla="*/ 372593 w 465062"/>
                <a:gd name="connsiteY49" fmla="*/ 459622 h 658157"/>
                <a:gd name="connsiteX50" fmla="*/ 386192 w 465062"/>
                <a:gd name="connsiteY50" fmla="*/ 514015 h 658157"/>
                <a:gd name="connsiteX51" fmla="*/ 407949 w 465062"/>
                <a:gd name="connsiteY51" fmla="*/ 568408 h 658157"/>
                <a:gd name="connsiteX52" fmla="*/ 421547 w 465062"/>
                <a:gd name="connsiteY52" fmla="*/ 598324 h 658157"/>
                <a:gd name="connsiteX53" fmla="*/ 451463 w 465062"/>
                <a:gd name="connsiteY53" fmla="*/ 628241 h 658157"/>
                <a:gd name="connsiteX54" fmla="*/ 465062 w 465062"/>
                <a:gd name="connsiteY54" fmla="*/ 644559 h 658157"/>
                <a:gd name="connsiteX55" fmla="*/ 462342 w 465062"/>
                <a:gd name="connsiteY55" fmla="*/ 649998 h 658157"/>
                <a:gd name="connsiteX56" fmla="*/ 437865 w 465062"/>
                <a:gd name="connsiteY56" fmla="*/ 658157 h 658157"/>
                <a:gd name="connsiteX57" fmla="*/ 361715 w 465062"/>
                <a:gd name="connsiteY57" fmla="*/ 622801 h 658157"/>
                <a:gd name="connsiteX58" fmla="*/ 320920 w 465062"/>
                <a:gd name="connsiteY58" fmla="*/ 565689 h 658157"/>
                <a:gd name="connsiteX59" fmla="*/ 304602 w 465062"/>
                <a:gd name="connsiteY59" fmla="*/ 530333 h 658157"/>
                <a:gd name="connsiteX60" fmla="*/ 293723 w 465062"/>
                <a:gd name="connsiteY60" fmla="*/ 497697 h 658157"/>
                <a:gd name="connsiteX61" fmla="*/ 282845 w 465062"/>
                <a:gd name="connsiteY61" fmla="*/ 462342 h 658157"/>
                <a:gd name="connsiteX62" fmla="*/ 269246 w 465062"/>
                <a:gd name="connsiteY62" fmla="*/ 424267 h 658157"/>
                <a:gd name="connsiteX63" fmla="*/ 255648 w 465062"/>
                <a:gd name="connsiteY63" fmla="*/ 391631 h 658157"/>
                <a:gd name="connsiteX64" fmla="*/ 236610 w 465062"/>
                <a:gd name="connsiteY64" fmla="*/ 367154 h 658157"/>
                <a:gd name="connsiteX65" fmla="*/ 217573 w 465062"/>
                <a:gd name="connsiteY65" fmla="*/ 361714 h 658157"/>
                <a:gd name="connsiteX66" fmla="*/ 201255 w 465062"/>
                <a:gd name="connsiteY66" fmla="*/ 361714 h 658157"/>
                <a:gd name="connsiteX67" fmla="*/ 198535 w 465062"/>
                <a:gd name="connsiteY67" fmla="*/ 367154 h 658157"/>
                <a:gd name="connsiteX68" fmla="*/ 201255 w 465062"/>
                <a:gd name="connsiteY68" fmla="*/ 388911 h 658157"/>
                <a:gd name="connsiteX69" fmla="*/ 198535 w 465062"/>
                <a:gd name="connsiteY69" fmla="*/ 426986 h 658157"/>
                <a:gd name="connsiteX70" fmla="*/ 203975 w 465062"/>
                <a:gd name="connsiteY70" fmla="*/ 478660 h 658157"/>
                <a:gd name="connsiteX71" fmla="*/ 198535 w 465062"/>
                <a:gd name="connsiteY71" fmla="*/ 552090 h 658157"/>
                <a:gd name="connsiteX72" fmla="*/ 195816 w 465062"/>
                <a:gd name="connsiteY72" fmla="*/ 576567 h 658157"/>
                <a:gd name="connsiteX73" fmla="*/ 198535 w 465062"/>
                <a:gd name="connsiteY73" fmla="*/ 592885 h 658157"/>
                <a:gd name="connsiteX74" fmla="*/ 233891 w 465062"/>
                <a:gd name="connsiteY74" fmla="*/ 592885 h 658157"/>
                <a:gd name="connsiteX75" fmla="*/ 271966 w 465062"/>
                <a:gd name="connsiteY75" fmla="*/ 611923 h 658157"/>
                <a:gd name="connsiteX76" fmla="*/ 266527 w 465062"/>
                <a:gd name="connsiteY76" fmla="*/ 628241 h 658157"/>
                <a:gd name="connsiteX77" fmla="*/ 250209 w 465062"/>
                <a:gd name="connsiteY77" fmla="*/ 636400 h 658157"/>
                <a:gd name="connsiteX78" fmla="*/ 228451 w 465062"/>
                <a:gd name="connsiteY78" fmla="*/ 639119 h 658157"/>
                <a:gd name="connsiteX79" fmla="*/ 187657 w 465062"/>
                <a:gd name="connsiteY79" fmla="*/ 639119 h 658157"/>
                <a:gd name="connsiteX80" fmla="*/ 152301 w 465062"/>
                <a:gd name="connsiteY80" fmla="*/ 652717 h 658157"/>
                <a:gd name="connsiteX81" fmla="*/ 133263 w 465062"/>
                <a:gd name="connsiteY81" fmla="*/ 655437 h 658157"/>
                <a:gd name="connsiteX82" fmla="*/ 122385 w 465062"/>
                <a:gd name="connsiteY82" fmla="*/ 652717 h 658157"/>
                <a:gd name="connsiteX83" fmla="*/ 97908 w 465062"/>
                <a:gd name="connsiteY83" fmla="*/ 639119 h 658157"/>
                <a:gd name="connsiteX84" fmla="*/ 70711 w 465062"/>
                <a:gd name="connsiteY84" fmla="*/ 639119 h 658157"/>
                <a:gd name="connsiteX85" fmla="*/ 46234 w 465062"/>
                <a:gd name="connsiteY85" fmla="*/ 639119 h 658157"/>
                <a:gd name="connsiteX86" fmla="*/ 19038 w 465062"/>
                <a:gd name="connsiteY86" fmla="*/ 630960 h 658157"/>
                <a:gd name="connsiteX87" fmla="*/ 2720 w 465062"/>
                <a:gd name="connsiteY87" fmla="*/ 614642 h 658157"/>
                <a:gd name="connsiteX88" fmla="*/ 8159 w 465062"/>
                <a:gd name="connsiteY88" fmla="*/ 606483 h 658157"/>
                <a:gd name="connsiteX89" fmla="*/ 29916 w 465062"/>
                <a:gd name="connsiteY89" fmla="*/ 598324 h 658157"/>
                <a:gd name="connsiteX90" fmla="*/ 76151 w 465062"/>
                <a:gd name="connsiteY90" fmla="*/ 592885 h 658157"/>
                <a:gd name="connsiteX91" fmla="*/ 73431 w 465062"/>
                <a:gd name="connsiteY91" fmla="*/ 573848 h 658157"/>
                <a:gd name="connsiteX92" fmla="*/ 70711 w 465062"/>
                <a:gd name="connsiteY92" fmla="*/ 500417 h 658157"/>
                <a:gd name="connsiteX93" fmla="*/ 73431 w 465062"/>
                <a:gd name="connsiteY93" fmla="*/ 437865 h 658157"/>
                <a:gd name="connsiteX94" fmla="*/ 70711 w 465062"/>
                <a:gd name="connsiteY94" fmla="*/ 369873 h 658157"/>
                <a:gd name="connsiteX95" fmla="*/ 70711 w 465062"/>
                <a:gd name="connsiteY95" fmla="*/ 293723 h 658157"/>
                <a:gd name="connsiteX96" fmla="*/ 73431 w 465062"/>
                <a:gd name="connsiteY96" fmla="*/ 212133 h 658157"/>
                <a:gd name="connsiteX97" fmla="*/ 76151 w 465062"/>
                <a:gd name="connsiteY97" fmla="*/ 155021 h 658157"/>
                <a:gd name="connsiteX98" fmla="*/ 76151 w 465062"/>
                <a:gd name="connsiteY98" fmla="*/ 119665 h 658157"/>
                <a:gd name="connsiteX99" fmla="*/ 78870 w 465062"/>
                <a:gd name="connsiteY99" fmla="*/ 84310 h 658157"/>
                <a:gd name="connsiteX100" fmla="*/ 76151 w 465062"/>
                <a:gd name="connsiteY100" fmla="*/ 62552 h 658157"/>
                <a:gd name="connsiteX101" fmla="*/ 67992 w 465062"/>
                <a:gd name="connsiteY101" fmla="*/ 62552 h 658157"/>
                <a:gd name="connsiteX102" fmla="*/ 43515 w 465062"/>
                <a:gd name="connsiteY102" fmla="*/ 62552 h 658157"/>
                <a:gd name="connsiteX103" fmla="*/ 16318 w 465062"/>
                <a:gd name="connsiteY103" fmla="*/ 57113 h 658157"/>
                <a:gd name="connsiteX104" fmla="*/ 0 w 465062"/>
                <a:gd name="connsiteY104" fmla="*/ 40795 h 658157"/>
                <a:gd name="connsiteX105" fmla="*/ 5439 w 465062"/>
                <a:gd name="connsiteY105" fmla="*/ 32636 h 658157"/>
                <a:gd name="connsiteX106" fmla="*/ 27197 w 465062"/>
                <a:gd name="connsiteY106" fmla="*/ 24477 h 658157"/>
                <a:gd name="connsiteX107" fmla="*/ 76151 w 465062"/>
                <a:gd name="connsiteY107" fmla="*/ 19038 h 658157"/>
                <a:gd name="connsiteX108" fmla="*/ 78870 w 465062"/>
                <a:gd name="connsiteY108" fmla="*/ 13598 h 658157"/>
                <a:gd name="connsiteX109" fmla="*/ 95188 w 465062"/>
                <a:gd name="connsiteY109" fmla="*/ 5440 h 658157"/>
                <a:gd name="connsiteX110" fmla="*/ 111506 w 465062"/>
                <a:gd name="connsiteY110" fmla="*/ 0 h 6581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</a:cxnLst>
              <a:rect l="l" t="t" r="r" b="b"/>
              <a:pathLst>
                <a:path w="465062" h="658157">
                  <a:moveTo>
                    <a:pt x="193096" y="59832"/>
                  </a:moveTo>
                  <a:cubicBezTo>
                    <a:pt x="193096" y="73430"/>
                    <a:pt x="193096" y="89748"/>
                    <a:pt x="193096" y="114226"/>
                  </a:cubicBezTo>
                  <a:cubicBezTo>
                    <a:pt x="193096" y="144142"/>
                    <a:pt x="195816" y="176778"/>
                    <a:pt x="198536" y="209414"/>
                  </a:cubicBezTo>
                  <a:cubicBezTo>
                    <a:pt x="198536" y="247489"/>
                    <a:pt x="201255" y="277406"/>
                    <a:pt x="201255" y="282845"/>
                  </a:cubicBezTo>
                  <a:cubicBezTo>
                    <a:pt x="201255" y="293723"/>
                    <a:pt x="203975" y="304602"/>
                    <a:pt x="203975" y="315481"/>
                  </a:cubicBezTo>
                  <a:cubicBezTo>
                    <a:pt x="203975" y="318200"/>
                    <a:pt x="203975" y="318200"/>
                    <a:pt x="203975" y="320920"/>
                  </a:cubicBezTo>
                  <a:cubicBezTo>
                    <a:pt x="203975" y="326359"/>
                    <a:pt x="206695" y="329079"/>
                    <a:pt x="212134" y="329079"/>
                  </a:cubicBezTo>
                  <a:cubicBezTo>
                    <a:pt x="214854" y="329079"/>
                    <a:pt x="220293" y="329079"/>
                    <a:pt x="223013" y="329079"/>
                  </a:cubicBezTo>
                  <a:cubicBezTo>
                    <a:pt x="228452" y="329079"/>
                    <a:pt x="233891" y="329079"/>
                    <a:pt x="239331" y="329079"/>
                  </a:cubicBezTo>
                  <a:cubicBezTo>
                    <a:pt x="252929" y="329079"/>
                    <a:pt x="271967" y="323640"/>
                    <a:pt x="280126" y="312761"/>
                  </a:cubicBezTo>
                  <a:cubicBezTo>
                    <a:pt x="288284" y="304602"/>
                    <a:pt x="291004" y="299163"/>
                    <a:pt x="296443" y="288284"/>
                  </a:cubicBezTo>
                  <a:cubicBezTo>
                    <a:pt x="299163" y="277406"/>
                    <a:pt x="301883" y="269247"/>
                    <a:pt x="304602" y="258368"/>
                  </a:cubicBezTo>
                  <a:cubicBezTo>
                    <a:pt x="307322" y="244770"/>
                    <a:pt x="310042" y="239330"/>
                    <a:pt x="312761" y="225732"/>
                  </a:cubicBezTo>
                  <a:cubicBezTo>
                    <a:pt x="315481" y="212134"/>
                    <a:pt x="315481" y="209414"/>
                    <a:pt x="315481" y="195816"/>
                  </a:cubicBezTo>
                  <a:cubicBezTo>
                    <a:pt x="315481" y="179498"/>
                    <a:pt x="315481" y="184937"/>
                    <a:pt x="318201" y="168619"/>
                  </a:cubicBezTo>
                  <a:cubicBezTo>
                    <a:pt x="312761" y="152302"/>
                    <a:pt x="312761" y="149582"/>
                    <a:pt x="312761" y="135983"/>
                  </a:cubicBezTo>
                  <a:cubicBezTo>
                    <a:pt x="312761" y="133264"/>
                    <a:pt x="312761" y="127825"/>
                    <a:pt x="312761" y="122385"/>
                  </a:cubicBezTo>
                  <a:cubicBezTo>
                    <a:pt x="312761" y="111507"/>
                    <a:pt x="301883" y="95188"/>
                    <a:pt x="293724" y="84309"/>
                  </a:cubicBezTo>
                  <a:cubicBezTo>
                    <a:pt x="288284" y="78870"/>
                    <a:pt x="285565" y="76150"/>
                    <a:pt x="280126" y="73430"/>
                  </a:cubicBezTo>
                  <a:cubicBezTo>
                    <a:pt x="271967" y="67991"/>
                    <a:pt x="266527" y="65271"/>
                    <a:pt x="258368" y="62552"/>
                  </a:cubicBezTo>
                  <a:cubicBezTo>
                    <a:pt x="244770" y="59832"/>
                    <a:pt x="228452" y="59832"/>
                    <a:pt x="217573" y="59832"/>
                  </a:cubicBezTo>
                  <a:close/>
                  <a:moveTo>
                    <a:pt x="111506" y="0"/>
                  </a:moveTo>
                  <a:cubicBezTo>
                    <a:pt x="114226" y="0"/>
                    <a:pt x="122385" y="0"/>
                    <a:pt x="127824" y="0"/>
                  </a:cubicBezTo>
                  <a:cubicBezTo>
                    <a:pt x="135983" y="0"/>
                    <a:pt x="146862" y="2720"/>
                    <a:pt x="157741" y="5440"/>
                  </a:cubicBezTo>
                  <a:cubicBezTo>
                    <a:pt x="168619" y="8159"/>
                    <a:pt x="176778" y="10879"/>
                    <a:pt x="179497" y="16318"/>
                  </a:cubicBezTo>
                  <a:cubicBezTo>
                    <a:pt x="193096" y="16318"/>
                    <a:pt x="201255" y="16318"/>
                    <a:pt x="209414" y="16318"/>
                  </a:cubicBezTo>
                  <a:cubicBezTo>
                    <a:pt x="220292" y="16318"/>
                    <a:pt x="231171" y="16318"/>
                    <a:pt x="247489" y="16318"/>
                  </a:cubicBezTo>
                  <a:cubicBezTo>
                    <a:pt x="250209" y="16318"/>
                    <a:pt x="258368" y="16318"/>
                    <a:pt x="266527" y="16318"/>
                  </a:cubicBezTo>
                  <a:cubicBezTo>
                    <a:pt x="277405" y="16318"/>
                    <a:pt x="291004" y="21758"/>
                    <a:pt x="312761" y="27197"/>
                  </a:cubicBezTo>
                  <a:cubicBezTo>
                    <a:pt x="320920" y="29917"/>
                    <a:pt x="329079" y="35356"/>
                    <a:pt x="337238" y="38075"/>
                  </a:cubicBezTo>
                  <a:cubicBezTo>
                    <a:pt x="342677" y="40795"/>
                    <a:pt x="353556" y="48954"/>
                    <a:pt x="364434" y="54393"/>
                  </a:cubicBezTo>
                  <a:cubicBezTo>
                    <a:pt x="375313" y="62552"/>
                    <a:pt x="386192" y="67992"/>
                    <a:pt x="386192" y="73431"/>
                  </a:cubicBezTo>
                  <a:cubicBezTo>
                    <a:pt x="391631" y="84310"/>
                    <a:pt x="402510" y="92469"/>
                    <a:pt x="407949" y="103347"/>
                  </a:cubicBezTo>
                  <a:cubicBezTo>
                    <a:pt x="413388" y="116945"/>
                    <a:pt x="416108" y="130544"/>
                    <a:pt x="416108" y="141422"/>
                  </a:cubicBezTo>
                  <a:cubicBezTo>
                    <a:pt x="416108" y="152301"/>
                    <a:pt x="418828" y="157740"/>
                    <a:pt x="418828" y="163179"/>
                  </a:cubicBezTo>
                  <a:cubicBezTo>
                    <a:pt x="418828" y="165899"/>
                    <a:pt x="418828" y="168619"/>
                    <a:pt x="418828" y="171339"/>
                  </a:cubicBezTo>
                  <a:cubicBezTo>
                    <a:pt x="418828" y="174058"/>
                    <a:pt x="421547" y="182217"/>
                    <a:pt x="421547" y="187656"/>
                  </a:cubicBezTo>
                  <a:cubicBezTo>
                    <a:pt x="421547" y="193096"/>
                    <a:pt x="418828" y="201255"/>
                    <a:pt x="418828" y="206694"/>
                  </a:cubicBezTo>
                  <a:cubicBezTo>
                    <a:pt x="418828" y="217573"/>
                    <a:pt x="418828" y="223012"/>
                    <a:pt x="416108" y="233891"/>
                  </a:cubicBezTo>
                  <a:cubicBezTo>
                    <a:pt x="413388" y="244769"/>
                    <a:pt x="410668" y="255648"/>
                    <a:pt x="405229" y="263807"/>
                  </a:cubicBezTo>
                  <a:cubicBezTo>
                    <a:pt x="402510" y="269246"/>
                    <a:pt x="397070" y="269246"/>
                    <a:pt x="394351" y="274686"/>
                  </a:cubicBezTo>
                  <a:cubicBezTo>
                    <a:pt x="391631" y="277405"/>
                    <a:pt x="391631" y="282844"/>
                    <a:pt x="388912" y="285564"/>
                  </a:cubicBezTo>
                  <a:cubicBezTo>
                    <a:pt x="383472" y="291003"/>
                    <a:pt x="375313" y="301882"/>
                    <a:pt x="369874" y="304602"/>
                  </a:cubicBezTo>
                  <a:cubicBezTo>
                    <a:pt x="367154" y="307321"/>
                    <a:pt x="361715" y="307321"/>
                    <a:pt x="358995" y="310041"/>
                  </a:cubicBezTo>
                  <a:cubicBezTo>
                    <a:pt x="356275" y="312761"/>
                    <a:pt x="350836" y="318200"/>
                    <a:pt x="348117" y="320920"/>
                  </a:cubicBezTo>
                  <a:cubicBezTo>
                    <a:pt x="339958" y="326359"/>
                    <a:pt x="334518" y="334518"/>
                    <a:pt x="326359" y="339957"/>
                  </a:cubicBezTo>
                  <a:cubicBezTo>
                    <a:pt x="320920" y="342677"/>
                    <a:pt x="312761" y="342677"/>
                    <a:pt x="312761" y="353555"/>
                  </a:cubicBezTo>
                  <a:cubicBezTo>
                    <a:pt x="312761" y="361714"/>
                    <a:pt x="334518" y="372593"/>
                    <a:pt x="337238" y="380752"/>
                  </a:cubicBezTo>
                  <a:cubicBezTo>
                    <a:pt x="345397" y="394350"/>
                    <a:pt x="353556" y="407948"/>
                    <a:pt x="358995" y="421547"/>
                  </a:cubicBezTo>
                  <a:cubicBezTo>
                    <a:pt x="364434" y="435145"/>
                    <a:pt x="367154" y="446024"/>
                    <a:pt x="372593" y="459622"/>
                  </a:cubicBezTo>
                  <a:cubicBezTo>
                    <a:pt x="378033" y="478660"/>
                    <a:pt x="383472" y="494978"/>
                    <a:pt x="386192" y="514015"/>
                  </a:cubicBezTo>
                  <a:cubicBezTo>
                    <a:pt x="391631" y="533053"/>
                    <a:pt x="402510" y="549371"/>
                    <a:pt x="407949" y="568408"/>
                  </a:cubicBezTo>
                  <a:cubicBezTo>
                    <a:pt x="410668" y="579287"/>
                    <a:pt x="416108" y="590165"/>
                    <a:pt x="421547" y="598324"/>
                  </a:cubicBezTo>
                  <a:cubicBezTo>
                    <a:pt x="435146" y="614642"/>
                    <a:pt x="443305" y="622801"/>
                    <a:pt x="451463" y="628241"/>
                  </a:cubicBezTo>
                  <a:cubicBezTo>
                    <a:pt x="456903" y="630960"/>
                    <a:pt x="465062" y="636400"/>
                    <a:pt x="465062" y="644559"/>
                  </a:cubicBezTo>
                  <a:cubicBezTo>
                    <a:pt x="465062" y="647278"/>
                    <a:pt x="465062" y="647278"/>
                    <a:pt x="462342" y="649998"/>
                  </a:cubicBezTo>
                  <a:cubicBezTo>
                    <a:pt x="456903" y="655437"/>
                    <a:pt x="446024" y="658157"/>
                    <a:pt x="437865" y="658157"/>
                  </a:cubicBezTo>
                  <a:cubicBezTo>
                    <a:pt x="413388" y="658157"/>
                    <a:pt x="378033" y="641839"/>
                    <a:pt x="361715" y="622801"/>
                  </a:cubicBezTo>
                  <a:cubicBezTo>
                    <a:pt x="345397" y="606483"/>
                    <a:pt x="334518" y="584726"/>
                    <a:pt x="320920" y="565689"/>
                  </a:cubicBezTo>
                  <a:cubicBezTo>
                    <a:pt x="315480" y="554810"/>
                    <a:pt x="310041" y="543931"/>
                    <a:pt x="304602" y="530333"/>
                  </a:cubicBezTo>
                  <a:cubicBezTo>
                    <a:pt x="299163" y="519454"/>
                    <a:pt x="296443" y="508576"/>
                    <a:pt x="293723" y="497697"/>
                  </a:cubicBezTo>
                  <a:cubicBezTo>
                    <a:pt x="291004" y="486819"/>
                    <a:pt x="288284" y="473220"/>
                    <a:pt x="282845" y="462342"/>
                  </a:cubicBezTo>
                  <a:cubicBezTo>
                    <a:pt x="280125" y="448743"/>
                    <a:pt x="274686" y="437865"/>
                    <a:pt x="269246" y="424267"/>
                  </a:cubicBezTo>
                  <a:cubicBezTo>
                    <a:pt x="266527" y="416108"/>
                    <a:pt x="261087" y="402509"/>
                    <a:pt x="255648" y="391631"/>
                  </a:cubicBezTo>
                  <a:cubicBezTo>
                    <a:pt x="250209" y="380752"/>
                    <a:pt x="244770" y="375313"/>
                    <a:pt x="236610" y="367154"/>
                  </a:cubicBezTo>
                  <a:cubicBezTo>
                    <a:pt x="231171" y="361714"/>
                    <a:pt x="223012" y="361714"/>
                    <a:pt x="217573" y="361714"/>
                  </a:cubicBezTo>
                  <a:cubicBezTo>
                    <a:pt x="212134" y="361714"/>
                    <a:pt x="206694" y="361714"/>
                    <a:pt x="201255" y="361714"/>
                  </a:cubicBezTo>
                  <a:cubicBezTo>
                    <a:pt x="198535" y="361714"/>
                    <a:pt x="198535" y="364434"/>
                    <a:pt x="198535" y="367154"/>
                  </a:cubicBezTo>
                  <a:cubicBezTo>
                    <a:pt x="198535" y="375313"/>
                    <a:pt x="201255" y="386191"/>
                    <a:pt x="201255" y="388911"/>
                  </a:cubicBezTo>
                  <a:cubicBezTo>
                    <a:pt x="201255" y="402509"/>
                    <a:pt x="198535" y="413388"/>
                    <a:pt x="198535" y="426986"/>
                  </a:cubicBezTo>
                  <a:cubicBezTo>
                    <a:pt x="198535" y="446024"/>
                    <a:pt x="203975" y="456902"/>
                    <a:pt x="203975" y="478660"/>
                  </a:cubicBezTo>
                  <a:cubicBezTo>
                    <a:pt x="203975" y="503136"/>
                    <a:pt x="201255" y="527613"/>
                    <a:pt x="198535" y="552090"/>
                  </a:cubicBezTo>
                  <a:cubicBezTo>
                    <a:pt x="198535" y="560249"/>
                    <a:pt x="195816" y="568408"/>
                    <a:pt x="195816" y="576567"/>
                  </a:cubicBezTo>
                  <a:cubicBezTo>
                    <a:pt x="195816" y="582006"/>
                    <a:pt x="195816" y="587446"/>
                    <a:pt x="198535" y="592885"/>
                  </a:cubicBezTo>
                  <a:cubicBezTo>
                    <a:pt x="212134" y="592885"/>
                    <a:pt x="225732" y="592885"/>
                    <a:pt x="233891" y="592885"/>
                  </a:cubicBezTo>
                  <a:cubicBezTo>
                    <a:pt x="247489" y="592885"/>
                    <a:pt x="271966" y="592885"/>
                    <a:pt x="271966" y="611923"/>
                  </a:cubicBezTo>
                  <a:cubicBezTo>
                    <a:pt x="271966" y="620082"/>
                    <a:pt x="269246" y="622801"/>
                    <a:pt x="266527" y="628241"/>
                  </a:cubicBezTo>
                  <a:cubicBezTo>
                    <a:pt x="261087" y="633680"/>
                    <a:pt x="255648" y="636400"/>
                    <a:pt x="250209" y="636400"/>
                  </a:cubicBezTo>
                  <a:cubicBezTo>
                    <a:pt x="239330" y="639119"/>
                    <a:pt x="233891" y="639119"/>
                    <a:pt x="228451" y="639119"/>
                  </a:cubicBezTo>
                  <a:cubicBezTo>
                    <a:pt x="223012" y="639119"/>
                    <a:pt x="206694" y="639119"/>
                    <a:pt x="187657" y="639119"/>
                  </a:cubicBezTo>
                  <a:cubicBezTo>
                    <a:pt x="176778" y="647278"/>
                    <a:pt x="163180" y="649998"/>
                    <a:pt x="152301" y="652717"/>
                  </a:cubicBezTo>
                  <a:cubicBezTo>
                    <a:pt x="146862" y="652717"/>
                    <a:pt x="138703" y="655437"/>
                    <a:pt x="133263" y="655437"/>
                  </a:cubicBezTo>
                  <a:cubicBezTo>
                    <a:pt x="130544" y="655437"/>
                    <a:pt x="125104" y="655437"/>
                    <a:pt x="122385" y="652717"/>
                  </a:cubicBezTo>
                  <a:cubicBezTo>
                    <a:pt x="114226" y="649998"/>
                    <a:pt x="103347" y="644559"/>
                    <a:pt x="97908" y="639119"/>
                  </a:cubicBezTo>
                  <a:cubicBezTo>
                    <a:pt x="87029" y="639119"/>
                    <a:pt x="78870" y="639119"/>
                    <a:pt x="70711" y="639119"/>
                  </a:cubicBezTo>
                  <a:cubicBezTo>
                    <a:pt x="62552" y="639119"/>
                    <a:pt x="54393" y="639119"/>
                    <a:pt x="46234" y="639119"/>
                  </a:cubicBezTo>
                  <a:cubicBezTo>
                    <a:pt x="38075" y="639119"/>
                    <a:pt x="27197" y="633680"/>
                    <a:pt x="19038" y="630960"/>
                  </a:cubicBezTo>
                  <a:cubicBezTo>
                    <a:pt x="10879" y="628241"/>
                    <a:pt x="2720" y="620082"/>
                    <a:pt x="2720" y="614642"/>
                  </a:cubicBezTo>
                  <a:cubicBezTo>
                    <a:pt x="2720" y="611923"/>
                    <a:pt x="2720" y="609203"/>
                    <a:pt x="8159" y="606483"/>
                  </a:cubicBezTo>
                  <a:cubicBezTo>
                    <a:pt x="13599" y="603764"/>
                    <a:pt x="24477" y="601044"/>
                    <a:pt x="29916" y="598324"/>
                  </a:cubicBezTo>
                  <a:cubicBezTo>
                    <a:pt x="43515" y="595605"/>
                    <a:pt x="62552" y="595605"/>
                    <a:pt x="76151" y="592885"/>
                  </a:cubicBezTo>
                  <a:cubicBezTo>
                    <a:pt x="76151" y="587446"/>
                    <a:pt x="73431" y="582006"/>
                    <a:pt x="73431" y="573848"/>
                  </a:cubicBezTo>
                  <a:cubicBezTo>
                    <a:pt x="73431" y="565689"/>
                    <a:pt x="70711" y="516735"/>
                    <a:pt x="70711" y="500417"/>
                  </a:cubicBezTo>
                  <a:cubicBezTo>
                    <a:pt x="70711" y="481379"/>
                    <a:pt x="73431" y="456902"/>
                    <a:pt x="73431" y="437865"/>
                  </a:cubicBezTo>
                  <a:cubicBezTo>
                    <a:pt x="73431" y="416108"/>
                    <a:pt x="70711" y="391631"/>
                    <a:pt x="70711" y="369873"/>
                  </a:cubicBezTo>
                  <a:cubicBezTo>
                    <a:pt x="70711" y="345397"/>
                    <a:pt x="70711" y="318200"/>
                    <a:pt x="70711" y="293723"/>
                  </a:cubicBezTo>
                  <a:cubicBezTo>
                    <a:pt x="70711" y="266526"/>
                    <a:pt x="73431" y="239330"/>
                    <a:pt x="73431" y="212133"/>
                  </a:cubicBezTo>
                  <a:cubicBezTo>
                    <a:pt x="73431" y="187656"/>
                    <a:pt x="76151" y="179498"/>
                    <a:pt x="76151" y="155021"/>
                  </a:cubicBezTo>
                  <a:cubicBezTo>
                    <a:pt x="76151" y="144142"/>
                    <a:pt x="76151" y="130544"/>
                    <a:pt x="76151" y="119665"/>
                  </a:cubicBezTo>
                  <a:cubicBezTo>
                    <a:pt x="76151" y="106067"/>
                    <a:pt x="78870" y="95188"/>
                    <a:pt x="78870" y="84310"/>
                  </a:cubicBezTo>
                  <a:cubicBezTo>
                    <a:pt x="78870" y="78870"/>
                    <a:pt x="78870" y="70711"/>
                    <a:pt x="76151" y="62552"/>
                  </a:cubicBezTo>
                  <a:cubicBezTo>
                    <a:pt x="76151" y="62552"/>
                    <a:pt x="73431" y="62552"/>
                    <a:pt x="67992" y="62552"/>
                  </a:cubicBezTo>
                  <a:cubicBezTo>
                    <a:pt x="59833" y="62552"/>
                    <a:pt x="51674" y="62552"/>
                    <a:pt x="43515" y="62552"/>
                  </a:cubicBezTo>
                  <a:cubicBezTo>
                    <a:pt x="35356" y="62552"/>
                    <a:pt x="24477" y="59833"/>
                    <a:pt x="16318" y="57113"/>
                  </a:cubicBezTo>
                  <a:cubicBezTo>
                    <a:pt x="8159" y="54393"/>
                    <a:pt x="0" y="43515"/>
                    <a:pt x="0" y="40795"/>
                  </a:cubicBezTo>
                  <a:cubicBezTo>
                    <a:pt x="0" y="38075"/>
                    <a:pt x="0" y="35356"/>
                    <a:pt x="5439" y="32636"/>
                  </a:cubicBezTo>
                  <a:cubicBezTo>
                    <a:pt x="10879" y="29917"/>
                    <a:pt x="21758" y="27197"/>
                    <a:pt x="27197" y="24477"/>
                  </a:cubicBezTo>
                  <a:cubicBezTo>
                    <a:pt x="46234" y="21758"/>
                    <a:pt x="62552" y="19038"/>
                    <a:pt x="76151" y="19038"/>
                  </a:cubicBezTo>
                  <a:cubicBezTo>
                    <a:pt x="76151" y="16318"/>
                    <a:pt x="78870" y="16318"/>
                    <a:pt x="78870" y="13598"/>
                  </a:cubicBezTo>
                  <a:cubicBezTo>
                    <a:pt x="84309" y="10879"/>
                    <a:pt x="89749" y="8159"/>
                    <a:pt x="95188" y="5440"/>
                  </a:cubicBezTo>
                  <a:cubicBezTo>
                    <a:pt x="100628" y="2720"/>
                    <a:pt x="106067" y="0"/>
                    <a:pt x="111506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/>
            </a:p>
          </p:txBody>
        </p:sp>
        <p:sp>
          <p:nvSpPr>
            <p:cNvPr id="48" name="Freeform: Shape 47">
              <a:extLst>
                <a:ext uri="{FF2B5EF4-FFF2-40B4-BE49-F238E27FC236}">
                  <a16:creationId xmlns:a16="http://schemas.microsoft.com/office/drawing/2014/main" id="{CED3D2B1-DC33-4C55-8BEE-9F4DC5EF9A62}"/>
                </a:ext>
              </a:extLst>
            </p:cNvPr>
            <p:cNvSpPr/>
            <p:nvPr/>
          </p:nvSpPr>
          <p:spPr>
            <a:xfrm>
              <a:off x="8346812" y="4186718"/>
              <a:ext cx="353556" cy="761503"/>
            </a:xfrm>
            <a:custGeom>
              <a:avLst/>
              <a:gdLst>
                <a:gd name="connsiteX0" fmla="*/ 283910 w 353555"/>
                <a:gd name="connsiteY0" fmla="*/ 672820 h 761503"/>
                <a:gd name="connsiteX1" fmla="*/ 321985 w 353555"/>
                <a:gd name="connsiteY1" fmla="*/ 689138 h 761503"/>
                <a:gd name="connsiteX2" fmla="*/ 316546 w 353555"/>
                <a:gd name="connsiteY2" fmla="*/ 705456 h 761503"/>
                <a:gd name="connsiteX3" fmla="*/ 300228 w 353555"/>
                <a:gd name="connsiteY3" fmla="*/ 713615 h 761503"/>
                <a:gd name="connsiteX4" fmla="*/ 278471 w 353555"/>
                <a:gd name="connsiteY4" fmla="*/ 716335 h 761503"/>
                <a:gd name="connsiteX5" fmla="*/ 237676 w 353555"/>
                <a:gd name="connsiteY5" fmla="*/ 716335 h 761503"/>
                <a:gd name="connsiteX6" fmla="*/ 180563 w 353555"/>
                <a:gd name="connsiteY6" fmla="*/ 719054 h 761503"/>
                <a:gd name="connsiteX7" fmla="*/ 126170 w 353555"/>
                <a:gd name="connsiteY7" fmla="*/ 719054 h 761503"/>
                <a:gd name="connsiteX8" fmla="*/ 101693 w 353555"/>
                <a:gd name="connsiteY8" fmla="*/ 719054 h 761503"/>
                <a:gd name="connsiteX9" fmla="*/ 74496 w 353555"/>
                <a:gd name="connsiteY9" fmla="*/ 713615 h 761503"/>
                <a:gd name="connsiteX10" fmla="*/ 58178 w 353555"/>
                <a:gd name="connsiteY10" fmla="*/ 697297 h 761503"/>
                <a:gd name="connsiteX11" fmla="*/ 63618 w 353555"/>
                <a:gd name="connsiteY11" fmla="*/ 689138 h 761503"/>
                <a:gd name="connsiteX12" fmla="*/ 85375 w 353555"/>
                <a:gd name="connsiteY12" fmla="*/ 680979 h 761503"/>
                <a:gd name="connsiteX13" fmla="*/ 131609 w 353555"/>
                <a:gd name="connsiteY13" fmla="*/ 675540 h 761503"/>
                <a:gd name="connsiteX14" fmla="*/ 142488 w 353555"/>
                <a:gd name="connsiteY14" fmla="*/ 675540 h 761503"/>
                <a:gd name="connsiteX15" fmla="*/ 131609 w 353555"/>
                <a:gd name="connsiteY15" fmla="*/ 653783 h 761503"/>
                <a:gd name="connsiteX16" fmla="*/ 128890 w 353555"/>
                <a:gd name="connsiteY16" fmla="*/ 640184 h 761503"/>
                <a:gd name="connsiteX17" fmla="*/ 128890 w 353555"/>
                <a:gd name="connsiteY17" fmla="*/ 629306 h 761503"/>
                <a:gd name="connsiteX18" fmla="*/ 128890 w 353555"/>
                <a:gd name="connsiteY18" fmla="*/ 621147 h 761503"/>
                <a:gd name="connsiteX19" fmla="*/ 128890 w 353555"/>
                <a:gd name="connsiteY19" fmla="*/ 593950 h 761503"/>
                <a:gd name="connsiteX20" fmla="*/ 128890 w 353555"/>
                <a:gd name="connsiteY20" fmla="*/ 583072 h 761503"/>
                <a:gd name="connsiteX21" fmla="*/ 128890 w 353555"/>
                <a:gd name="connsiteY21" fmla="*/ 436210 h 761503"/>
                <a:gd name="connsiteX22" fmla="*/ 128890 w 353555"/>
                <a:gd name="connsiteY22" fmla="*/ 357340 h 761503"/>
                <a:gd name="connsiteX23" fmla="*/ 131609 w 353555"/>
                <a:gd name="connsiteY23" fmla="*/ 289349 h 761503"/>
                <a:gd name="connsiteX24" fmla="*/ 131609 w 353555"/>
                <a:gd name="connsiteY24" fmla="*/ 251274 h 761503"/>
                <a:gd name="connsiteX25" fmla="*/ 131609 w 353555"/>
                <a:gd name="connsiteY25" fmla="*/ 205040 h 761503"/>
                <a:gd name="connsiteX26" fmla="*/ 131609 w 353555"/>
                <a:gd name="connsiteY26" fmla="*/ 139768 h 761503"/>
                <a:gd name="connsiteX27" fmla="*/ 131609 w 353555"/>
                <a:gd name="connsiteY27" fmla="*/ 128889 h 761503"/>
                <a:gd name="connsiteX28" fmla="*/ 126170 w 353555"/>
                <a:gd name="connsiteY28" fmla="*/ 128889 h 761503"/>
                <a:gd name="connsiteX29" fmla="*/ 101693 w 353555"/>
                <a:gd name="connsiteY29" fmla="*/ 128889 h 761503"/>
                <a:gd name="connsiteX30" fmla="*/ 74496 w 353555"/>
                <a:gd name="connsiteY30" fmla="*/ 123450 h 761503"/>
                <a:gd name="connsiteX31" fmla="*/ 58178 w 353555"/>
                <a:gd name="connsiteY31" fmla="*/ 107132 h 761503"/>
                <a:gd name="connsiteX32" fmla="*/ 60898 w 353555"/>
                <a:gd name="connsiteY32" fmla="*/ 98973 h 761503"/>
                <a:gd name="connsiteX33" fmla="*/ 82655 w 353555"/>
                <a:gd name="connsiteY33" fmla="*/ 93534 h 761503"/>
                <a:gd name="connsiteX34" fmla="*/ 131609 w 353555"/>
                <a:gd name="connsiteY34" fmla="*/ 88094 h 761503"/>
                <a:gd name="connsiteX35" fmla="*/ 131609 w 353555"/>
                <a:gd name="connsiteY35" fmla="*/ 82655 h 761503"/>
                <a:gd name="connsiteX36" fmla="*/ 134329 w 353555"/>
                <a:gd name="connsiteY36" fmla="*/ 71776 h 761503"/>
                <a:gd name="connsiteX37" fmla="*/ 147927 w 353555"/>
                <a:gd name="connsiteY37" fmla="*/ 63617 h 761503"/>
                <a:gd name="connsiteX38" fmla="*/ 164245 w 353555"/>
                <a:gd name="connsiteY38" fmla="*/ 58178 h 761503"/>
                <a:gd name="connsiteX39" fmla="*/ 177843 w 353555"/>
                <a:gd name="connsiteY39" fmla="*/ 58178 h 761503"/>
                <a:gd name="connsiteX40" fmla="*/ 196881 w 353555"/>
                <a:gd name="connsiteY40" fmla="*/ 60898 h 761503"/>
                <a:gd name="connsiteX41" fmla="*/ 232237 w 353555"/>
                <a:gd name="connsiteY41" fmla="*/ 88094 h 761503"/>
                <a:gd name="connsiteX42" fmla="*/ 278471 w 353555"/>
                <a:gd name="connsiteY42" fmla="*/ 88094 h 761503"/>
                <a:gd name="connsiteX43" fmla="*/ 316546 w 353555"/>
                <a:gd name="connsiteY43" fmla="*/ 104412 h 761503"/>
                <a:gd name="connsiteX44" fmla="*/ 311107 w 353555"/>
                <a:gd name="connsiteY44" fmla="*/ 120730 h 761503"/>
                <a:gd name="connsiteX45" fmla="*/ 294789 w 353555"/>
                <a:gd name="connsiteY45" fmla="*/ 128889 h 761503"/>
                <a:gd name="connsiteX46" fmla="*/ 273032 w 353555"/>
                <a:gd name="connsiteY46" fmla="*/ 131609 h 761503"/>
                <a:gd name="connsiteX47" fmla="*/ 243115 w 353555"/>
                <a:gd name="connsiteY47" fmla="*/ 131609 h 761503"/>
                <a:gd name="connsiteX48" fmla="*/ 243115 w 353555"/>
                <a:gd name="connsiteY48" fmla="*/ 134329 h 761503"/>
                <a:gd name="connsiteX49" fmla="*/ 248554 w 353555"/>
                <a:gd name="connsiteY49" fmla="*/ 169684 h 761503"/>
                <a:gd name="connsiteX50" fmla="*/ 251274 w 353555"/>
                <a:gd name="connsiteY50" fmla="*/ 205040 h 761503"/>
                <a:gd name="connsiteX51" fmla="*/ 251274 w 353555"/>
                <a:gd name="connsiteY51" fmla="*/ 240395 h 761503"/>
                <a:gd name="connsiteX52" fmla="*/ 251274 w 353555"/>
                <a:gd name="connsiteY52" fmla="*/ 256713 h 761503"/>
                <a:gd name="connsiteX53" fmla="*/ 253994 w 353555"/>
                <a:gd name="connsiteY53" fmla="*/ 270311 h 761503"/>
                <a:gd name="connsiteX54" fmla="*/ 259433 w 353555"/>
                <a:gd name="connsiteY54" fmla="*/ 343742 h 761503"/>
                <a:gd name="connsiteX55" fmla="*/ 262153 w 353555"/>
                <a:gd name="connsiteY55" fmla="*/ 425332 h 761503"/>
                <a:gd name="connsiteX56" fmla="*/ 264872 w 353555"/>
                <a:gd name="connsiteY56" fmla="*/ 490603 h 761503"/>
                <a:gd name="connsiteX57" fmla="*/ 270312 w 353555"/>
                <a:gd name="connsiteY57" fmla="*/ 564034 h 761503"/>
                <a:gd name="connsiteX58" fmla="*/ 270312 w 353555"/>
                <a:gd name="connsiteY58" fmla="*/ 599390 h 761503"/>
                <a:gd name="connsiteX59" fmla="*/ 270312 w 353555"/>
                <a:gd name="connsiteY59" fmla="*/ 637465 h 761503"/>
                <a:gd name="connsiteX60" fmla="*/ 264872 w 353555"/>
                <a:gd name="connsiteY60" fmla="*/ 670101 h 761503"/>
                <a:gd name="connsiteX61" fmla="*/ 283910 w 353555"/>
                <a:gd name="connsiteY61" fmla="*/ 672820 h 761503"/>
                <a:gd name="connsiteX62" fmla="*/ 283910 w 353555"/>
                <a:gd name="connsiteY62" fmla="*/ 672820 h 761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</a:cxnLst>
              <a:rect l="l" t="t" r="r" b="b"/>
              <a:pathLst>
                <a:path w="353555" h="761503">
                  <a:moveTo>
                    <a:pt x="283910" y="672820"/>
                  </a:moveTo>
                  <a:cubicBezTo>
                    <a:pt x="297508" y="672820"/>
                    <a:pt x="321985" y="672820"/>
                    <a:pt x="321985" y="689138"/>
                  </a:cubicBezTo>
                  <a:cubicBezTo>
                    <a:pt x="321985" y="697297"/>
                    <a:pt x="319266" y="697297"/>
                    <a:pt x="316546" y="705456"/>
                  </a:cubicBezTo>
                  <a:cubicBezTo>
                    <a:pt x="311107" y="710895"/>
                    <a:pt x="305667" y="713615"/>
                    <a:pt x="300228" y="713615"/>
                  </a:cubicBezTo>
                  <a:cubicBezTo>
                    <a:pt x="292069" y="716335"/>
                    <a:pt x="283910" y="716335"/>
                    <a:pt x="278471" y="716335"/>
                  </a:cubicBezTo>
                  <a:cubicBezTo>
                    <a:pt x="275751" y="716335"/>
                    <a:pt x="256713" y="716335"/>
                    <a:pt x="237676" y="716335"/>
                  </a:cubicBezTo>
                  <a:cubicBezTo>
                    <a:pt x="213199" y="716335"/>
                    <a:pt x="186003" y="719054"/>
                    <a:pt x="180563" y="719054"/>
                  </a:cubicBezTo>
                  <a:cubicBezTo>
                    <a:pt x="166965" y="719054"/>
                    <a:pt x="142488" y="719054"/>
                    <a:pt x="126170" y="719054"/>
                  </a:cubicBezTo>
                  <a:cubicBezTo>
                    <a:pt x="118011" y="719054"/>
                    <a:pt x="109852" y="719054"/>
                    <a:pt x="101693" y="719054"/>
                  </a:cubicBezTo>
                  <a:cubicBezTo>
                    <a:pt x="93534" y="719054"/>
                    <a:pt x="82655" y="719054"/>
                    <a:pt x="74496" y="713615"/>
                  </a:cubicBezTo>
                  <a:cubicBezTo>
                    <a:pt x="66337" y="710895"/>
                    <a:pt x="58178" y="702736"/>
                    <a:pt x="58178" y="697297"/>
                  </a:cubicBezTo>
                  <a:cubicBezTo>
                    <a:pt x="58178" y="694578"/>
                    <a:pt x="58178" y="691858"/>
                    <a:pt x="63618" y="689138"/>
                  </a:cubicBezTo>
                  <a:cubicBezTo>
                    <a:pt x="69057" y="686418"/>
                    <a:pt x="79936" y="683699"/>
                    <a:pt x="85375" y="680979"/>
                  </a:cubicBezTo>
                  <a:cubicBezTo>
                    <a:pt x="104413" y="678260"/>
                    <a:pt x="123450" y="675540"/>
                    <a:pt x="131609" y="675540"/>
                  </a:cubicBezTo>
                  <a:cubicBezTo>
                    <a:pt x="134329" y="675540"/>
                    <a:pt x="137049" y="675540"/>
                    <a:pt x="142488" y="675540"/>
                  </a:cubicBezTo>
                  <a:cubicBezTo>
                    <a:pt x="134329" y="670101"/>
                    <a:pt x="131609" y="661942"/>
                    <a:pt x="131609" y="653783"/>
                  </a:cubicBezTo>
                  <a:cubicBezTo>
                    <a:pt x="131609" y="648343"/>
                    <a:pt x="131609" y="642904"/>
                    <a:pt x="128890" y="640184"/>
                  </a:cubicBezTo>
                  <a:cubicBezTo>
                    <a:pt x="128890" y="637465"/>
                    <a:pt x="128890" y="634745"/>
                    <a:pt x="128890" y="629306"/>
                  </a:cubicBezTo>
                  <a:cubicBezTo>
                    <a:pt x="128890" y="626586"/>
                    <a:pt x="128890" y="623867"/>
                    <a:pt x="128890" y="621147"/>
                  </a:cubicBezTo>
                  <a:cubicBezTo>
                    <a:pt x="128890" y="612988"/>
                    <a:pt x="128890" y="604829"/>
                    <a:pt x="128890" y="593950"/>
                  </a:cubicBezTo>
                  <a:cubicBezTo>
                    <a:pt x="128890" y="591231"/>
                    <a:pt x="128890" y="585791"/>
                    <a:pt x="128890" y="583072"/>
                  </a:cubicBezTo>
                  <a:cubicBezTo>
                    <a:pt x="128890" y="534118"/>
                    <a:pt x="131609" y="485164"/>
                    <a:pt x="128890" y="436210"/>
                  </a:cubicBezTo>
                  <a:cubicBezTo>
                    <a:pt x="128890" y="409014"/>
                    <a:pt x="128890" y="384537"/>
                    <a:pt x="128890" y="357340"/>
                  </a:cubicBezTo>
                  <a:cubicBezTo>
                    <a:pt x="128890" y="335583"/>
                    <a:pt x="131609" y="313826"/>
                    <a:pt x="131609" y="289349"/>
                  </a:cubicBezTo>
                  <a:cubicBezTo>
                    <a:pt x="131609" y="275751"/>
                    <a:pt x="131609" y="264872"/>
                    <a:pt x="131609" y="251274"/>
                  </a:cubicBezTo>
                  <a:cubicBezTo>
                    <a:pt x="131609" y="234956"/>
                    <a:pt x="131609" y="221357"/>
                    <a:pt x="131609" y="205040"/>
                  </a:cubicBezTo>
                  <a:cubicBezTo>
                    <a:pt x="131609" y="183282"/>
                    <a:pt x="131609" y="161525"/>
                    <a:pt x="131609" y="139768"/>
                  </a:cubicBezTo>
                  <a:cubicBezTo>
                    <a:pt x="131609" y="137048"/>
                    <a:pt x="131609" y="134329"/>
                    <a:pt x="131609" y="128889"/>
                  </a:cubicBezTo>
                  <a:cubicBezTo>
                    <a:pt x="128890" y="128889"/>
                    <a:pt x="126170" y="128889"/>
                    <a:pt x="126170" y="128889"/>
                  </a:cubicBezTo>
                  <a:cubicBezTo>
                    <a:pt x="118011" y="128889"/>
                    <a:pt x="109852" y="128889"/>
                    <a:pt x="101693" y="128889"/>
                  </a:cubicBezTo>
                  <a:cubicBezTo>
                    <a:pt x="93534" y="128889"/>
                    <a:pt x="82655" y="128889"/>
                    <a:pt x="74496" y="123450"/>
                  </a:cubicBezTo>
                  <a:cubicBezTo>
                    <a:pt x="66337" y="120730"/>
                    <a:pt x="58178" y="112571"/>
                    <a:pt x="58178" y="107132"/>
                  </a:cubicBezTo>
                  <a:cubicBezTo>
                    <a:pt x="58178" y="104412"/>
                    <a:pt x="58178" y="101693"/>
                    <a:pt x="60898" y="98973"/>
                  </a:cubicBezTo>
                  <a:cubicBezTo>
                    <a:pt x="63618" y="96253"/>
                    <a:pt x="77216" y="93534"/>
                    <a:pt x="82655" y="93534"/>
                  </a:cubicBezTo>
                  <a:cubicBezTo>
                    <a:pt x="98973" y="90814"/>
                    <a:pt x="123450" y="88094"/>
                    <a:pt x="131609" y="88094"/>
                  </a:cubicBezTo>
                  <a:cubicBezTo>
                    <a:pt x="131609" y="85375"/>
                    <a:pt x="131609" y="85375"/>
                    <a:pt x="131609" y="82655"/>
                  </a:cubicBezTo>
                  <a:cubicBezTo>
                    <a:pt x="131609" y="77216"/>
                    <a:pt x="131609" y="74496"/>
                    <a:pt x="134329" y="71776"/>
                  </a:cubicBezTo>
                  <a:cubicBezTo>
                    <a:pt x="137049" y="69057"/>
                    <a:pt x="145208" y="66337"/>
                    <a:pt x="147927" y="63617"/>
                  </a:cubicBezTo>
                  <a:cubicBezTo>
                    <a:pt x="153366" y="60898"/>
                    <a:pt x="158806" y="58178"/>
                    <a:pt x="164245" y="58178"/>
                  </a:cubicBezTo>
                  <a:cubicBezTo>
                    <a:pt x="169684" y="58178"/>
                    <a:pt x="175124" y="58178"/>
                    <a:pt x="177843" y="58178"/>
                  </a:cubicBezTo>
                  <a:cubicBezTo>
                    <a:pt x="183283" y="58178"/>
                    <a:pt x="191442" y="58178"/>
                    <a:pt x="196881" y="60898"/>
                  </a:cubicBezTo>
                  <a:cubicBezTo>
                    <a:pt x="213199" y="63617"/>
                    <a:pt x="224078" y="74496"/>
                    <a:pt x="232237" y="88094"/>
                  </a:cubicBezTo>
                  <a:cubicBezTo>
                    <a:pt x="253994" y="88094"/>
                    <a:pt x="270312" y="88094"/>
                    <a:pt x="278471" y="88094"/>
                  </a:cubicBezTo>
                  <a:cubicBezTo>
                    <a:pt x="292069" y="88094"/>
                    <a:pt x="316546" y="88094"/>
                    <a:pt x="316546" y="104412"/>
                  </a:cubicBezTo>
                  <a:cubicBezTo>
                    <a:pt x="316546" y="112571"/>
                    <a:pt x="313826" y="112571"/>
                    <a:pt x="311107" y="120730"/>
                  </a:cubicBezTo>
                  <a:cubicBezTo>
                    <a:pt x="305667" y="126170"/>
                    <a:pt x="300228" y="128889"/>
                    <a:pt x="294789" y="128889"/>
                  </a:cubicBezTo>
                  <a:cubicBezTo>
                    <a:pt x="286630" y="131609"/>
                    <a:pt x="278471" y="131609"/>
                    <a:pt x="273032" y="131609"/>
                  </a:cubicBezTo>
                  <a:cubicBezTo>
                    <a:pt x="270312" y="131609"/>
                    <a:pt x="259433" y="131609"/>
                    <a:pt x="243115" y="131609"/>
                  </a:cubicBezTo>
                  <a:lnTo>
                    <a:pt x="243115" y="134329"/>
                  </a:lnTo>
                  <a:cubicBezTo>
                    <a:pt x="245835" y="145207"/>
                    <a:pt x="245835" y="158805"/>
                    <a:pt x="248554" y="169684"/>
                  </a:cubicBezTo>
                  <a:cubicBezTo>
                    <a:pt x="251274" y="180563"/>
                    <a:pt x="251274" y="194161"/>
                    <a:pt x="251274" y="205040"/>
                  </a:cubicBezTo>
                  <a:cubicBezTo>
                    <a:pt x="251274" y="215918"/>
                    <a:pt x="251274" y="226797"/>
                    <a:pt x="251274" y="240395"/>
                  </a:cubicBezTo>
                  <a:cubicBezTo>
                    <a:pt x="251274" y="245834"/>
                    <a:pt x="251274" y="251274"/>
                    <a:pt x="251274" y="256713"/>
                  </a:cubicBezTo>
                  <a:cubicBezTo>
                    <a:pt x="251274" y="262152"/>
                    <a:pt x="251274" y="267592"/>
                    <a:pt x="253994" y="270311"/>
                  </a:cubicBezTo>
                  <a:cubicBezTo>
                    <a:pt x="256713" y="294788"/>
                    <a:pt x="256713" y="319265"/>
                    <a:pt x="259433" y="343742"/>
                  </a:cubicBezTo>
                  <a:cubicBezTo>
                    <a:pt x="259433" y="370939"/>
                    <a:pt x="262153" y="398135"/>
                    <a:pt x="262153" y="425332"/>
                  </a:cubicBezTo>
                  <a:cubicBezTo>
                    <a:pt x="262153" y="447089"/>
                    <a:pt x="262153" y="468846"/>
                    <a:pt x="264872" y="490603"/>
                  </a:cubicBezTo>
                  <a:cubicBezTo>
                    <a:pt x="264872" y="515080"/>
                    <a:pt x="270312" y="539557"/>
                    <a:pt x="270312" y="564034"/>
                  </a:cubicBezTo>
                  <a:cubicBezTo>
                    <a:pt x="270312" y="574913"/>
                    <a:pt x="270312" y="588511"/>
                    <a:pt x="270312" y="599390"/>
                  </a:cubicBezTo>
                  <a:cubicBezTo>
                    <a:pt x="270312" y="612988"/>
                    <a:pt x="270312" y="623867"/>
                    <a:pt x="270312" y="637465"/>
                  </a:cubicBezTo>
                  <a:cubicBezTo>
                    <a:pt x="270312" y="648343"/>
                    <a:pt x="270312" y="661942"/>
                    <a:pt x="264872" y="670101"/>
                  </a:cubicBezTo>
                  <a:cubicBezTo>
                    <a:pt x="273032" y="672820"/>
                    <a:pt x="278471" y="672820"/>
                    <a:pt x="283910" y="672820"/>
                  </a:cubicBezTo>
                  <a:lnTo>
                    <a:pt x="283910" y="672820"/>
                  </a:ln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/>
            </a:p>
          </p:txBody>
        </p:sp>
        <p:sp>
          <p:nvSpPr>
            <p:cNvPr id="49" name="Freeform: Shape 48">
              <a:extLst>
                <a:ext uri="{FF2B5EF4-FFF2-40B4-BE49-F238E27FC236}">
                  <a16:creationId xmlns:a16="http://schemas.microsoft.com/office/drawing/2014/main" id="{4F2B887C-63BA-4166-9D39-CB5640BE9DF0}"/>
                </a:ext>
              </a:extLst>
            </p:cNvPr>
            <p:cNvSpPr/>
            <p:nvPr/>
          </p:nvSpPr>
          <p:spPr>
            <a:xfrm>
              <a:off x="8652924" y="4192158"/>
              <a:ext cx="516735" cy="788700"/>
            </a:xfrm>
            <a:custGeom>
              <a:avLst/>
              <a:gdLst>
                <a:gd name="connsiteX0" fmla="*/ 464616 w 516735"/>
                <a:gd name="connsiteY0" fmla="*/ 436210 h 788699"/>
                <a:gd name="connsiteX1" fmla="*/ 445578 w 516735"/>
                <a:gd name="connsiteY1" fmla="*/ 455248 h 788699"/>
                <a:gd name="connsiteX2" fmla="*/ 404783 w 516735"/>
                <a:gd name="connsiteY2" fmla="*/ 466126 h 788699"/>
                <a:gd name="connsiteX3" fmla="*/ 385746 w 516735"/>
                <a:gd name="connsiteY3" fmla="*/ 479725 h 788699"/>
                <a:gd name="connsiteX4" fmla="*/ 388466 w 516735"/>
                <a:gd name="connsiteY4" fmla="*/ 512361 h 788699"/>
                <a:gd name="connsiteX5" fmla="*/ 388466 w 516735"/>
                <a:gd name="connsiteY5" fmla="*/ 544997 h 788699"/>
                <a:gd name="connsiteX6" fmla="*/ 388466 w 516735"/>
                <a:gd name="connsiteY6" fmla="*/ 566754 h 788699"/>
                <a:gd name="connsiteX7" fmla="*/ 391185 w 516735"/>
                <a:gd name="connsiteY7" fmla="*/ 632026 h 788699"/>
                <a:gd name="connsiteX8" fmla="*/ 393905 w 516735"/>
                <a:gd name="connsiteY8" fmla="*/ 683699 h 788699"/>
                <a:gd name="connsiteX9" fmla="*/ 377587 w 516735"/>
                <a:gd name="connsiteY9" fmla="*/ 724494 h 788699"/>
                <a:gd name="connsiteX10" fmla="*/ 361269 w 516735"/>
                <a:gd name="connsiteY10" fmla="*/ 719054 h 788699"/>
                <a:gd name="connsiteX11" fmla="*/ 353110 w 516735"/>
                <a:gd name="connsiteY11" fmla="*/ 702737 h 788699"/>
                <a:gd name="connsiteX12" fmla="*/ 350390 w 516735"/>
                <a:gd name="connsiteY12" fmla="*/ 686419 h 788699"/>
                <a:gd name="connsiteX13" fmla="*/ 353110 w 516735"/>
                <a:gd name="connsiteY13" fmla="*/ 659222 h 788699"/>
                <a:gd name="connsiteX14" fmla="*/ 353110 w 516735"/>
                <a:gd name="connsiteY14" fmla="*/ 656502 h 788699"/>
                <a:gd name="connsiteX15" fmla="*/ 317754 w 516735"/>
                <a:gd name="connsiteY15" fmla="*/ 708176 h 788699"/>
                <a:gd name="connsiteX16" fmla="*/ 241604 w 516735"/>
                <a:gd name="connsiteY16" fmla="*/ 735372 h 788699"/>
                <a:gd name="connsiteX17" fmla="*/ 187211 w 516735"/>
                <a:gd name="connsiteY17" fmla="*/ 727214 h 788699"/>
                <a:gd name="connsiteX18" fmla="*/ 135537 w 516735"/>
                <a:gd name="connsiteY18" fmla="*/ 694578 h 788699"/>
                <a:gd name="connsiteX19" fmla="*/ 86583 w 516735"/>
                <a:gd name="connsiteY19" fmla="*/ 621147 h 788699"/>
                <a:gd name="connsiteX20" fmla="*/ 67546 w 516735"/>
                <a:gd name="connsiteY20" fmla="*/ 555875 h 788699"/>
                <a:gd name="connsiteX21" fmla="*/ 59387 w 516735"/>
                <a:gd name="connsiteY21" fmla="*/ 509641 h 788699"/>
                <a:gd name="connsiteX22" fmla="*/ 59387 w 516735"/>
                <a:gd name="connsiteY22" fmla="*/ 468846 h 788699"/>
                <a:gd name="connsiteX23" fmla="*/ 86583 w 516735"/>
                <a:gd name="connsiteY23" fmla="*/ 302947 h 788699"/>
                <a:gd name="connsiteX24" fmla="*/ 108341 w 516735"/>
                <a:gd name="connsiteY24" fmla="*/ 224077 h 788699"/>
                <a:gd name="connsiteX25" fmla="*/ 146416 w 516735"/>
                <a:gd name="connsiteY25" fmla="*/ 145207 h 788699"/>
                <a:gd name="connsiteX26" fmla="*/ 198090 w 516735"/>
                <a:gd name="connsiteY26" fmla="*/ 85375 h 788699"/>
                <a:gd name="connsiteX27" fmla="*/ 228006 w 516735"/>
                <a:gd name="connsiteY27" fmla="*/ 69057 h 788699"/>
                <a:gd name="connsiteX28" fmla="*/ 268801 w 516735"/>
                <a:gd name="connsiteY28" fmla="*/ 58178 h 788699"/>
                <a:gd name="connsiteX29" fmla="*/ 274240 w 516735"/>
                <a:gd name="connsiteY29" fmla="*/ 58178 h 788699"/>
                <a:gd name="connsiteX30" fmla="*/ 295997 w 516735"/>
                <a:gd name="connsiteY30" fmla="*/ 60898 h 788699"/>
                <a:gd name="connsiteX31" fmla="*/ 331353 w 516735"/>
                <a:gd name="connsiteY31" fmla="*/ 71776 h 788699"/>
                <a:gd name="connsiteX32" fmla="*/ 350390 w 516735"/>
                <a:gd name="connsiteY32" fmla="*/ 93534 h 788699"/>
                <a:gd name="connsiteX33" fmla="*/ 353110 w 516735"/>
                <a:gd name="connsiteY33" fmla="*/ 74496 h 788699"/>
                <a:gd name="connsiteX34" fmla="*/ 358549 w 516735"/>
                <a:gd name="connsiteY34" fmla="*/ 63618 h 788699"/>
                <a:gd name="connsiteX35" fmla="*/ 366708 w 516735"/>
                <a:gd name="connsiteY35" fmla="*/ 58178 h 788699"/>
                <a:gd name="connsiteX36" fmla="*/ 374867 w 516735"/>
                <a:gd name="connsiteY36" fmla="*/ 63618 h 788699"/>
                <a:gd name="connsiteX37" fmla="*/ 383027 w 516735"/>
                <a:gd name="connsiteY37" fmla="*/ 82655 h 788699"/>
                <a:gd name="connsiteX38" fmla="*/ 385746 w 516735"/>
                <a:gd name="connsiteY38" fmla="*/ 126170 h 788699"/>
                <a:gd name="connsiteX39" fmla="*/ 388466 w 516735"/>
                <a:gd name="connsiteY39" fmla="*/ 186002 h 788699"/>
                <a:gd name="connsiteX40" fmla="*/ 391185 w 516735"/>
                <a:gd name="connsiteY40" fmla="*/ 237676 h 788699"/>
                <a:gd name="connsiteX41" fmla="*/ 374867 w 516735"/>
                <a:gd name="connsiteY41" fmla="*/ 278470 h 788699"/>
                <a:gd name="connsiteX42" fmla="*/ 358549 w 516735"/>
                <a:gd name="connsiteY42" fmla="*/ 273031 h 788699"/>
                <a:gd name="connsiteX43" fmla="*/ 350390 w 516735"/>
                <a:gd name="connsiteY43" fmla="*/ 256713 h 788699"/>
                <a:gd name="connsiteX44" fmla="*/ 347671 w 516735"/>
                <a:gd name="connsiteY44" fmla="*/ 240395 h 788699"/>
                <a:gd name="connsiteX45" fmla="*/ 347671 w 516735"/>
                <a:gd name="connsiteY45" fmla="*/ 213199 h 788699"/>
                <a:gd name="connsiteX46" fmla="*/ 344951 w 516735"/>
                <a:gd name="connsiteY46" fmla="*/ 194161 h 788699"/>
                <a:gd name="connsiteX47" fmla="*/ 339512 w 516735"/>
                <a:gd name="connsiteY47" fmla="*/ 150647 h 788699"/>
                <a:gd name="connsiteX48" fmla="*/ 323194 w 516735"/>
                <a:gd name="connsiteY48" fmla="*/ 112571 h 788699"/>
                <a:gd name="connsiteX49" fmla="*/ 293278 w 516735"/>
                <a:gd name="connsiteY49" fmla="*/ 101693 h 788699"/>
                <a:gd name="connsiteX50" fmla="*/ 263361 w 516735"/>
                <a:gd name="connsiteY50" fmla="*/ 120730 h 788699"/>
                <a:gd name="connsiteX51" fmla="*/ 241604 w 516735"/>
                <a:gd name="connsiteY51" fmla="*/ 153366 h 788699"/>
                <a:gd name="connsiteX52" fmla="*/ 233445 w 516735"/>
                <a:gd name="connsiteY52" fmla="*/ 194161 h 788699"/>
                <a:gd name="connsiteX53" fmla="*/ 225286 w 516735"/>
                <a:gd name="connsiteY53" fmla="*/ 232236 h 788699"/>
                <a:gd name="connsiteX54" fmla="*/ 217127 w 516735"/>
                <a:gd name="connsiteY54" fmla="*/ 275751 h 788699"/>
                <a:gd name="connsiteX55" fmla="*/ 211688 w 516735"/>
                <a:gd name="connsiteY55" fmla="*/ 316545 h 788699"/>
                <a:gd name="connsiteX56" fmla="*/ 206249 w 516735"/>
                <a:gd name="connsiteY56" fmla="*/ 354621 h 788699"/>
                <a:gd name="connsiteX57" fmla="*/ 200809 w 516735"/>
                <a:gd name="connsiteY57" fmla="*/ 398135 h 788699"/>
                <a:gd name="connsiteX58" fmla="*/ 195370 w 516735"/>
                <a:gd name="connsiteY58" fmla="*/ 438930 h 788699"/>
                <a:gd name="connsiteX59" fmla="*/ 192650 w 516735"/>
                <a:gd name="connsiteY59" fmla="*/ 474286 h 788699"/>
                <a:gd name="connsiteX60" fmla="*/ 195370 w 516735"/>
                <a:gd name="connsiteY60" fmla="*/ 525959 h 788699"/>
                <a:gd name="connsiteX61" fmla="*/ 208968 w 516735"/>
                <a:gd name="connsiteY61" fmla="*/ 596670 h 788699"/>
                <a:gd name="connsiteX62" fmla="*/ 214407 w 516735"/>
                <a:gd name="connsiteY62" fmla="*/ 623867 h 788699"/>
                <a:gd name="connsiteX63" fmla="*/ 228006 w 516735"/>
                <a:gd name="connsiteY63" fmla="*/ 656502 h 788699"/>
                <a:gd name="connsiteX64" fmla="*/ 271520 w 516735"/>
                <a:gd name="connsiteY64" fmla="*/ 689138 h 788699"/>
                <a:gd name="connsiteX65" fmla="*/ 306876 w 516735"/>
                <a:gd name="connsiteY65" fmla="*/ 664661 h 788699"/>
                <a:gd name="connsiteX66" fmla="*/ 331353 w 516735"/>
                <a:gd name="connsiteY66" fmla="*/ 602109 h 788699"/>
                <a:gd name="connsiteX67" fmla="*/ 336792 w 516735"/>
                <a:gd name="connsiteY67" fmla="*/ 544997 h 788699"/>
                <a:gd name="connsiteX68" fmla="*/ 336792 w 516735"/>
                <a:gd name="connsiteY68" fmla="*/ 498762 h 788699"/>
                <a:gd name="connsiteX69" fmla="*/ 336792 w 516735"/>
                <a:gd name="connsiteY69" fmla="*/ 490603 h 788699"/>
                <a:gd name="connsiteX70" fmla="*/ 320474 w 516735"/>
                <a:gd name="connsiteY70" fmla="*/ 477005 h 788699"/>
                <a:gd name="connsiteX71" fmla="*/ 282399 w 516735"/>
                <a:gd name="connsiteY71" fmla="*/ 479725 h 788699"/>
                <a:gd name="connsiteX72" fmla="*/ 252483 w 516735"/>
                <a:gd name="connsiteY72" fmla="*/ 474286 h 788699"/>
                <a:gd name="connsiteX73" fmla="*/ 247044 w 516735"/>
                <a:gd name="connsiteY73" fmla="*/ 466126 h 788699"/>
                <a:gd name="connsiteX74" fmla="*/ 249763 w 516735"/>
                <a:gd name="connsiteY74" fmla="*/ 457968 h 788699"/>
                <a:gd name="connsiteX75" fmla="*/ 268801 w 516735"/>
                <a:gd name="connsiteY75" fmla="*/ 447089 h 788699"/>
                <a:gd name="connsiteX76" fmla="*/ 312315 w 516735"/>
                <a:gd name="connsiteY76" fmla="*/ 436210 h 788699"/>
                <a:gd name="connsiteX77" fmla="*/ 353110 w 516735"/>
                <a:gd name="connsiteY77" fmla="*/ 430771 h 788699"/>
                <a:gd name="connsiteX78" fmla="*/ 385746 w 516735"/>
                <a:gd name="connsiteY78" fmla="*/ 430771 h 788699"/>
                <a:gd name="connsiteX79" fmla="*/ 437420 w 516735"/>
                <a:gd name="connsiteY79" fmla="*/ 428051 h 788699"/>
                <a:gd name="connsiteX80" fmla="*/ 464616 w 516735"/>
                <a:gd name="connsiteY80" fmla="*/ 436210 h 7886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</a:cxnLst>
              <a:rect l="l" t="t" r="r" b="b"/>
              <a:pathLst>
                <a:path w="516735" h="788699">
                  <a:moveTo>
                    <a:pt x="464616" y="436210"/>
                  </a:moveTo>
                  <a:cubicBezTo>
                    <a:pt x="464616" y="447089"/>
                    <a:pt x="453738" y="452528"/>
                    <a:pt x="445578" y="455248"/>
                  </a:cubicBezTo>
                  <a:cubicBezTo>
                    <a:pt x="434700" y="460687"/>
                    <a:pt x="415662" y="463407"/>
                    <a:pt x="404783" y="466126"/>
                  </a:cubicBezTo>
                  <a:cubicBezTo>
                    <a:pt x="393905" y="466126"/>
                    <a:pt x="385746" y="468846"/>
                    <a:pt x="385746" y="479725"/>
                  </a:cubicBezTo>
                  <a:cubicBezTo>
                    <a:pt x="385746" y="487884"/>
                    <a:pt x="388466" y="506921"/>
                    <a:pt x="388466" y="512361"/>
                  </a:cubicBezTo>
                  <a:cubicBezTo>
                    <a:pt x="388466" y="515080"/>
                    <a:pt x="388466" y="539557"/>
                    <a:pt x="388466" y="544997"/>
                  </a:cubicBezTo>
                  <a:cubicBezTo>
                    <a:pt x="388466" y="550436"/>
                    <a:pt x="388466" y="558595"/>
                    <a:pt x="388466" y="566754"/>
                  </a:cubicBezTo>
                  <a:cubicBezTo>
                    <a:pt x="388466" y="591231"/>
                    <a:pt x="388466" y="621147"/>
                    <a:pt x="391185" y="632026"/>
                  </a:cubicBezTo>
                  <a:cubicBezTo>
                    <a:pt x="393905" y="653783"/>
                    <a:pt x="393905" y="661942"/>
                    <a:pt x="393905" y="683699"/>
                  </a:cubicBezTo>
                  <a:cubicBezTo>
                    <a:pt x="393905" y="694578"/>
                    <a:pt x="393905" y="724494"/>
                    <a:pt x="377587" y="724494"/>
                  </a:cubicBezTo>
                  <a:cubicBezTo>
                    <a:pt x="369428" y="724494"/>
                    <a:pt x="366708" y="721774"/>
                    <a:pt x="361269" y="719054"/>
                  </a:cubicBezTo>
                  <a:cubicBezTo>
                    <a:pt x="355830" y="716335"/>
                    <a:pt x="353110" y="708176"/>
                    <a:pt x="353110" y="702737"/>
                  </a:cubicBezTo>
                  <a:cubicBezTo>
                    <a:pt x="350390" y="694578"/>
                    <a:pt x="350390" y="689138"/>
                    <a:pt x="350390" y="686419"/>
                  </a:cubicBezTo>
                  <a:cubicBezTo>
                    <a:pt x="350390" y="678260"/>
                    <a:pt x="353110" y="672820"/>
                    <a:pt x="353110" y="659222"/>
                  </a:cubicBezTo>
                  <a:lnTo>
                    <a:pt x="353110" y="656502"/>
                  </a:lnTo>
                  <a:cubicBezTo>
                    <a:pt x="347671" y="675540"/>
                    <a:pt x="334073" y="694578"/>
                    <a:pt x="317754" y="708176"/>
                  </a:cubicBezTo>
                  <a:cubicBezTo>
                    <a:pt x="293278" y="727214"/>
                    <a:pt x="274240" y="735372"/>
                    <a:pt x="241604" y="735372"/>
                  </a:cubicBezTo>
                  <a:cubicBezTo>
                    <a:pt x="222566" y="735372"/>
                    <a:pt x="203529" y="732653"/>
                    <a:pt x="187211" y="727214"/>
                  </a:cubicBezTo>
                  <a:cubicBezTo>
                    <a:pt x="165454" y="719054"/>
                    <a:pt x="149136" y="708176"/>
                    <a:pt x="135537" y="694578"/>
                  </a:cubicBezTo>
                  <a:cubicBezTo>
                    <a:pt x="113780" y="672820"/>
                    <a:pt x="100182" y="648343"/>
                    <a:pt x="86583" y="621147"/>
                  </a:cubicBezTo>
                  <a:cubicBezTo>
                    <a:pt x="75705" y="599390"/>
                    <a:pt x="70266" y="580352"/>
                    <a:pt x="67546" y="555875"/>
                  </a:cubicBezTo>
                  <a:cubicBezTo>
                    <a:pt x="64826" y="539557"/>
                    <a:pt x="62107" y="525959"/>
                    <a:pt x="59387" y="509641"/>
                  </a:cubicBezTo>
                  <a:cubicBezTo>
                    <a:pt x="56667" y="493323"/>
                    <a:pt x="59387" y="485164"/>
                    <a:pt x="59387" y="468846"/>
                  </a:cubicBezTo>
                  <a:cubicBezTo>
                    <a:pt x="59387" y="414453"/>
                    <a:pt x="72985" y="362780"/>
                    <a:pt x="86583" y="302947"/>
                  </a:cubicBezTo>
                  <a:cubicBezTo>
                    <a:pt x="92023" y="275751"/>
                    <a:pt x="100182" y="248554"/>
                    <a:pt x="108341" y="224077"/>
                  </a:cubicBezTo>
                  <a:cubicBezTo>
                    <a:pt x="116500" y="196881"/>
                    <a:pt x="130098" y="169684"/>
                    <a:pt x="146416" y="145207"/>
                  </a:cubicBezTo>
                  <a:cubicBezTo>
                    <a:pt x="160014" y="123450"/>
                    <a:pt x="176332" y="101693"/>
                    <a:pt x="198090" y="85375"/>
                  </a:cubicBezTo>
                  <a:cubicBezTo>
                    <a:pt x="206249" y="77216"/>
                    <a:pt x="217127" y="71776"/>
                    <a:pt x="228006" y="69057"/>
                  </a:cubicBezTo>
                  <a:cubicBezTo>
                    <a:pt x="241604" y="63618"/>
                    <a:pt x="255202" y="58178"/>
                    <a:pt x="268801" y="58178"/>
                  </a:cubicBezTo>
                  <a:cubicBezTo>
                    <a:pt x="271520" y="58178"/>
                    <a:pt x="274240" y="58178"/>
                    <a:pt x="274240" y="58178"/>
                  </a:cubicBezTo>
                  <a:cubicBezTo>
                    <a:pt x="279679" y="58178"/>
                    <a:pt x="285119" y="58178"/>
                    <a:pt x="295997" y="60898"/>
                  </a:cubicBezTo>
                  <a:cubicBezTo>
                    <a:pt x="309595" y="63618"/>
                    <a:pt x="320474" y="66337"/>
                    <a:pt x="331353" y="71776"/>
                  </a:cubicBezTo>
                  <a:cubicBezTo>
                    <a:pt x="339512" y="77216"/>
                    <a:pt x="347671" y="85375"/>
                    <a:pt x="350390" y="93534"/>
                  </a:cubicBezTo>
                  <a:cubicBezTo>
                    <a:pt x="350390" y="88095"/>
                    <a:pt x="353110" y="79936"/>
                    <a:pt x="353110" y="74496"/>
                  </a:cubicBezTo>
                  <a:cubicBezTo>
                    <a:pt x="355830" y="71776"/>
                    <a:pt x="355830" y="69057"/>
                    <a:pt x="358549" y="63618"/>
                  </a:cubicBezTo>
                  <a:cubicBezTo>
                    <a:pt x="361269" y="60898"/>
                    <a:pt x="363989" y="58178"/>
                    <a:pt x="366708" y="58178"/>
                  </a:cubicBezTo>
                  <a:cubicBezTo>
                    <a:pt x="369428" y="58178"/>
                    <a:pt x="372148" y="60898"/>
                    <a:pt x="374867" y="63618"/>
                  </a:cubicBezTo>
                  <a:cubicBezTo>
                    <a:pt x="377587" y="69057"/>
                    <a:pt x="380307" y="77216"/>
                    <a:pt x="383027" y="82655"/>
                  </a:cubicBezTo>
                  <a:cubicBezTo>
                    <a:pt x="383027" y="90814"/>
                    <a:pt x="385746" y="107132"/>
                    <a:pt x="385746" y="126170"/>
                  </a:cubicBezTo>
                  <a:cubicBezTo>
                    <a:pt x="385746" y="150647"/>
                    <a:pt x="385746" y="177843"/>
                    <a:pt x="388466" y="186002"/>
                  </a:cubicBezTo>
                  <a:cubicBezTo>
                    <a:pt x="391185" y="207759"/>
                    <a:pt x="391185" y="215918"/>
                    <a:pt x="391185" y="237676"/>
                  </a:cubicBezTo>
                  <a:cubicBezTo>
                    <a:pt x="391185" y="248554"/>
                    <a:pt x="391185" y="278470"/>
                    <a:pt x="374867" y="278470"/>
                  </a:cubicBezTo>
                  <a:cubicBezTo>
                    <a:pt x="366708" y="278470"/>
                    <a:pt x="363989" y="275751"/>
                    <a:pt x="358549" y="273031"/>
                  </a:cubicBezTo>
                  <a:cubicBezTo>
                    <a:pt x="353110" y="270311"/>
                    <a:pt x="350390" y="262152"/>
                    <a:pt x="350390" y="256713"/>
                  </a:cubicBezTo>
                  <a:cubicBezTo>
                    <a:pt x="350390" y="251274"/>
                    <a:pt x="347671" y="245834"/>
                    <a:pt x="347671" y="240395"/>
                  </a:cubicBezTo>
                  <a:cubicBezTo>
                    <a:pt x="347671" y="232236"/>
                    <a:pt x="347671" y="224077"/>
                    <a:pt x="347671" y="213199"/>
                  </a:cubicBezTo>
                  <a:cubicBezTo>
                    <a:pt x="347671" y="207759"/>
                    <a:pt x="347671" y="199600"/>
                    <a:pt x="344951" y="194161"/>
                  </a:cubicBezTo>
                  <a:cubicBezTo>
                    <a:pt x="342232" y="180563"/>
                    <a:pt x="342232" y="164245"/>
                    <a:pt x="339512" y="150647"/>
                  </a:cubicBezTo>
                  <a:cubicBezTo>
                    <a:pt x="336792" y="137048"/>
                    <a:pt x="331353" y="123450"/>
                    <a:pt x="323194" y="112571"/>
                  </a:cubicBezTo>
                  <a:cubicBezTo>
                    <a:pt x="317754" y="104412"/>
                    <a:pt x="304156" y="101693"/>
                    <a:pt x="293278" y="101693"/>
                  </a:cubicBezTo>
                  <a:cubicBezTo>
                    <a:pt x="279679" y="101693"/>
                    <a:pt x="271520" y="109852"/>
                    <a:pt x="263361" y="120730"/>
                  </a:cubicBezTo>
                  <a:cubicBezTo>
                    <a:pt x="257922" y="131609"/>
                    <a:pt x="247044" y="139768"/>
                    <a:pt x="241604" y="153366"/>
                  </a:cubicBezTo>
                  <a:cubicBezTo>
                    <a:pt x="236165" y="166964"/>
                    <a:pt x="233445" y="180563"/>
                    <a:pt x="233445" y="194161"/>
                  </a:cubicBezTo>
                  <a:cubicBezTo>
                    <a:pt x="233445" y="207759"/>
                    <a:pt x="230725" y="218638"/>
                    <a:pt x="225286" y="232236"/>
                  </a:cubicBezTo>
                  <a:cubicBezTo>
                    <a:pt x="219847" y="245834"/>
                    <a:pt x="219847" y="262152"/>
                    <a:pt x="217127" y="275751"/>
                  </a:cubicBezTo>
                  <a:cubicBezTo>
                    <a:pt x="214407" y="289349"/>
                    <a:pt x="214407" y="302947"/>
                    <a:pt x="211688" y="316545"/>
                  </a:cubicBezTo>
                  <a:cubicBezTo>
                    <a:pt x="211688" y="330144"/>
                    <a:pt x="206249" y="341022"/>
                    <a:pt x="206249" y="354621"/>
                  </a:cubicBezTo>
                  <a:cubicBezTo>
                    <a:pt x="203529" y="368219"/>
                    <a:pt x="203529" y="381817"/>
                    <a:pt x="200809" y="398135"/>
                  </a:cubicBezTo>
                  <a:cubicBezTo>
                    <a:pt x="198090" y="411733"/>
                    <a:pt x="198090" y="425332"/>
                    <a:pt x="195370" y="438930"/>
                  </a:cubicBezTo>
                  <a:cubicBezTo>
                    <a:pt x="195370" y="449809"/>
                    <a:pt x="192650" y="463407"/>
                    <a:pt x="192650" y="474286"/>
                  </a:cubicBezTo>
                  <a:cubicBezTo>
                    <a:pt x="192650" y="490603"/>
                    <a:pt x="195370" y="509641"/>
                    <a:pt x="195370" y="525959"/>
                  </a:cubicBezTo>
                  <a:cubicBezTo>
                    <a:pt x="195370" y="550436"/>
                    <a:pt x="203529" y="572193"/>
                    <a:pt x="208968" y="596670"/>
                  </a:cubicBezTo>
                  <a:cubicBezTo>
                    <a:pt x="211688" y="604829"/>
                    <a:pt x="211688" y="615708"/>
                    <a:pt x="214407" y="623867"/>
                  </a:cubicBezTo>
                  <a:cubicBezTo>
                    <a:pt x="217127" y="634745"/>
                    <a:pt x="222566" y="645624"/>
                    <a:pt x="228006" y="656502"/>
                  </a:cubicBezTo>
                  <a:cubicBezTo>
                    <a:pt x="236165" y="670101"/>
                    <a:pt x="252483" y="689138"/>
                    <a:pt x="271520" y="689138"/>
                  </a:cubicBezTo>
                  <a:cubicBezTo>
                    <a:pt x="287838" y="689138"/>
                    <a:pt x="298717" y="675540"/>
                    <a:pt x="306876" y="664661"/>
                  </a:cubicBezTo>
                  <a:cubicBezTo>
                    <a:pt x="320474" y="645624"/>
                    <a:pt x="325914" y="623867"/>
                    <a:pt x="331353" y="602109"/>
                  </a:cubicBezTo>
                  <a:cubicBezTo>
                    <a:pt x="334073" y="583072"/>
                    <a:pt x="336792" y="564034"/>
                    <a:pt x="336792" y="544997"/>
                  </a:cubicBezTo>
                  <a:cubicBezTo>
                    <a:pt x="336792" y="531398"/>
                    <a:pt x="336792" y="512361"/>
                    <a:pt x="336792" y="498762"/>
                  </a:cubicBezTo>
                  <a:cubicBezTo>
                    <a:pt x="336792" y="496043"/>
                    <a:pt x="336792" y="493323"/>
                    <a:pt x="336792" y="490603"/>
                  </a:cubicBezTo>
                  <a:cubicBezTo>
                    <a:pt x="336792" y="479725"/>
                    <a:pt x="336792" y="477005"/>
                    <a:pt x="320474" y="477005"/>
                  </a:cubicBezTo>
                  <a:cubicBezTo>
                    <a:pt x="309595" y="477005"/>
                    <a:pt x="295997" y="479725"/>
                    <a:pt x="282399" y="479725"/>
                  </a:cubicBezTo>
                  <a:cubicBezTo>
                    <a:pt x="271520" y="479725"/>
                    <a:pt x="260642" y="479725"/>
                    <a:pt x="252483" y="474286"/>
                  </a:cubicBezTo>
                  <a:cubicBezTo>
                    <a:pt x="249763" y="471566"/>
                    <a:pt x="247044" y="468846"/>
                    <a:pt x="247044" y="466126"/>
                  </a:cubicBezTo>
                  <a:cubicBezTo>
                    <a:pt x="247044" y="463407"/>
                    <a:pt x="247044" y="460687"/>
                    <a:pt x="249763" y="457968"/>
                  </a:cubicBezTo>
                  <a:cubicBezTo>
                    <a:pt x="255202" y="452528"/>
                    <a:pt x="260642" y="449809"/>
                    <a:pt x="268801" y="447089"/>
                  </a:cubicBezTo>
                  <a:cubicBezTo>
                    <a:pt x="282399" y="441650"/>
                    <a:pt x="295997" y="438930"/>
                    <a:pt x="312315" y="436210"/>
                  </a:cubicBezTo>
                  <a:cubicBezTo>
                    <a:pt x="325914" y="433491"/>
                    <a:pt x="339512" y="433491"/>
                    <a:pt x="353110" y="430771"/>
                  </a:cubicBezTo>
                  <a:cubicBezTo>
                    <a:pt x="363989" y="430771"/>
                    <a:pt x="374867" y="430771"/>
                    <a:pt x="385746" y="430771"/>
                  </a:cubicBezTo>
                  <a:cubicBezTo>
                    <a:pt x="402064" y="430771"/>
                    <a:pt x="426541" y="428051"/>
                    <a:pt x="437420" y="428051"/>
                  </a:cubicBezTo>
                  <a:cubicBezTo>
                    <a:pt x="451018" y="422612"/>
                    <a:pt x="464616" y="425332"/>
                    <a:pt x="464616" y="436210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/>
            </a:p>
          </p:txBody>
        </p:sp>
        <p:sp>
          <p:nvSpPr>
            <p:cNvPr id="50" name="Freeform: Shape 49">
              <a:extLst>
                <a:ext uri="{FF2B5EF4-FFF2-40B4-BE49-F238E27FC236}">
                  <a16:creationId xmlns:a16="http://schemas.microsoft.com/office/drawing/2014/main" id="{9D0AE67E-BCF6-48A8-80F7-E44793823C3D}"/>
                </a:ext>
              </a:extLst>
            </p:cNvPr>
            <p:cNvSpPr/>
            <p:nvPr/>
          </p:nvSpPr>
          <p:spPr>
            <a:xfrm>
              <a:off x="9053923" y="4178559"/>
              <a:ext cx="625521" cy="788700"/>
            </a:xfrm>
            <a:custGeom>
              <a:avLst/>
              <a:gdLst>
                <a:gd name="connsiteX0" fmla="*/ 536838 w 625521"/>
                <a:gd name="connsiteY0" fmla="*/ 680979 h 788699"/>
                <a:gd name="connsiteX1" fmla="*/ 574913 w 625521"/>
                <a:gd name="connsiteY1" fmla="*/ 697297 h 788699"/>
                <a:gd name="connsiteX2" fmla="*/ 566755 w 625521"/>
                <a:gd name="connsiteY2" fmla="*/ 713615 h 788699"/>
                <a:gd name="connsiteX3" fmla="*/ 550437 w 625521"/>
                <a:gd name="connsiteY3" fmla="*/ 721774 h 788699"/>
                <a:gd name="connsiteX4" fmla="*/ 528680 w 625521"/>
                <a:gd name="connsiteY4" fmla="*/ 724494 h 788699"/>
                <a:gd name="connsiteX5" fmla="*/ 417174 w 625521"/>
                <a:gd name="connsiteY5" fmla="*/ 724494 h 788699"/>
                <a:gd name="connsiteX6" fmla="*/ 398136 w 625521"/>
                <a:gd name="connsiteY6" fmla="*/ 724494 h 788699"/>
                <a:gd name="connsiteX7" fmla="*/ 373659 w 625521"/>
                <a:gd name="connsiteY7" fmla="*/ 724494 h 788699"/>
                <a:gd name="connsiteX8" fmla="*/ 346462 w 625521"/>
                <a:gd name="connsiteY8" fmla="*/ 719054 h 788699"/>
                <a:gd name="connsiteX9" fmla="*/ 330144 w 625521"/>
                <a:gd name="connsiteY9" fmla="*/ 702737 h 788699"/>
                <a:gd name="connsiteX10" fmla="*/ 335584 w 625521"/>
                <a:gd name="connsiteY10" fmla="*/ 694578 h 788699"/>
                <a:gd name="connsiteX11" fmla="*/ 357341 w 625521"/>
                <a:gd name="connsiteY11" fmla="*/ 686419 h 788699"/>
                <a:gd name="connsiteX12" fmla="*/ 395416 w 625521"/>
                <a:gd name="connsiteY12" fmla="*/ 680979 h 788699"/>
                <a:gd name="connsiteX13" fmla="*/ 381817 w 625521"/>
                <a:gd name="connsiteY13" fmla="*/ 656502 h 788699"/>
                <a:gd name="connsiteX14" fmla="*/ 379098 w 625521"/>
                <a:gd name="connsiteY14" fmla="*/ 585791 h 788699"/>
                <a:gd name="connsiteX15" fmla="*/ 379098 w 625521"/>
                <a:gd name="connsiteY15" fmla="*/ 517800 h 788699"/>
                <a:gd name="connsiteX16" fmla="*/ 379098 w 625521"/>
                <a:gd name="connsiteY16" fmla="*/ 474286 h 788699"/>
                <a:gd name="connsiteX17" fmla="*/ 379098 w 625521"/>
                <a:gd name="connsiteY17" fmla="*/ 430771 h 788699"/>
                <a:gd name="connsiteX18" fmla="*/ 381817 w 625521"/>
                <a:gd name="connsiteY18" fmla="*/ 411733 h 788699"/>
                <a:gd name="connsiteX19" fmla="*/ 379098 w 625521"/>
                <a:gd name="connsiteY19" fmla="*/ 400855 h 788699"/>
                <a:gd name="connsiteX20" fmla="*/ 370939 w 625521"/>
                <a:gd name="connsiteY20" fmla="*/ 398135 h 788699"/>
                <a:gd name="connsiteX21" fmla="*/ 338304 w 625521"/>
                <a:gd name="connsiteY21" fmla="*/ 400855 h 788699"/>
                <a:gd name="connsiteX22" fmla="*/ 289349 w 625521"/>
                <a:gd name="connsiteY22" fmla="*/ 403575 h 788699"/>
                <a:gd name="connsiteX23" fmla="*/ 264872 w 625521"/>
                <a:gd name="connsiteY23" fmla="*/ 400855 h 788699"/>
                <a:gd name="connsiteX24" fmla="*/ 259433 w 625521"/>
                <a:gd name="connsiteY24" fmla="*/ 406294 h 788699"/>
                <a:gd name="connsiteX25" fmla="*/ 259433 w 625521"/>
                <a:gd name="connsiteY25" fmla="*/ 425332 h 788699"/>
                <a:gd name="connsiteX26" fmla="*/ 259433 w 625521"/>
                <a:gd name="connsiteY26" fmla="*/ 449809 h 788699"/>
                <a:gd name="connsiteX27" fmla="*/ 259433 w 625521"/>
                <a:gd name="connsiteY27" fmla="*/ 471566 h 788699"/>
                <a:gd name="connsiteX28" fmla="*/ 259433 w 625521"/>
                <a:gd name="connsiteY28" fmla="*/ 504202 h 788699"/>
                <a:gd name="connsiteX29" fmla="*/ 259433 w 625521"/>
                <a:gd name="connsiteY29" fmla="*/ 509641 h 788699"/>
                <a:gd name="connsiteX30" fmla="*/ 256714 w 625521"/>
                <a:gd name="connsiteY30" fmla="*/ 542277 h 788699"/>
                <a:gd name="connsiteX31" fmla="*/ 256714 w 625521"/>
                <a:gd name="connsiteY31" fmla="*/ 577632 h 788699"/>
                <a:gd name="connsiteX32" fmla="*/ 256714 w 625521"/>
                <a:gd name="connsiteY32" fmla="*/ 612988 h 788699"/>
                <a:gd name="connsiteX33" fmla="*/ 253994 w 625521"/>
                <a:gd name="connsiteY33" fmla="*/ 656502 h 788699"/>
                <a:gd name="connsiteX34" fmla="*/ 256714 w 625521"/>
                <a:gd name="connsiteY34" fmla="*/ 678260 h 788699"/>
                <a:gd name="connsiteX35" fmla="*/ 286629 w 625521"/>
                <a:gd name="connsiteY35" fmla="*/ 694578 h 788699"/>
                <a:gd name="connsiteX36" fmla="*/ 281191 w 625521"/>
                <a:gd name="connsiteY36" fmla="*/ 710895 h 788699"/>
                <a:gd name="connsiteX37" fmla="*/ 264872 w 625521"/>
                <a:gd name="connsiteY37" fmla="*/ 719054 h 788699"/>
                <a:gd name="connsiteX38" fmla="*/ 243116 w 625521"/>
                <a:gd name="connsiteY38" fmla="*/ 721774 h 788699"/>
                <a:gd name="connsiteX39" fmla="*/ 243116 w 625521"/>
                <a:gd name="connsiteY39" fmla="*/ 721774 h 788699"/>
                <a:gd name="connsiteX40" fmla="*/ 232236 w 625521"/>
                <a:gd name="connsiteY40" fmla="*/ 727214 h 788699"/>
                <a:gd name="connsiteX41" fmla="*/ 224078 w 625521"/>
                <a:gd name="connsiteY41" fmla="*/ 735372 h 788699"/>
                <a:gd name="connsiteX42" fmla="*/ 213199 w 625521"/>
                <a:gd name="connsiteY42" fmla="*/ 738092 h 788699"/>
                <a:gd name="connsiteX43" fmla="*/ 183283 w 625521"/>
                <a:gd name="connsiteY43" fmla="*/ 727214 h 788699"/>
                <a:gd name="connsiteX44" fmla="*/ 175124 w 625521"/>
                <a:gd name="connsiteY44" fmla="*/ 719054 h 788699"/>
                <a:gd name="connsiteX45" fmla="*/ 145208 w 625521"/>
                <a:gd name="connsiteY45" fmla="*/ 719054 h 788699"/>
                <a:gd name="connsiteX46" fmla="*/ 126170 w 625521"/>
                <a:gd name="connsiteY46" fmla="*/ 719054 h 788699"/>
                <a:gd name="connsiteX47" fmla="*/ 101693 w 625521"/>
                <a:gd name="connsiteY47" fmla="*/ 719054 h 788699"/>
                <a:gd name="connsiteX48" fmla="*/ 74496 w 625521"/>
                <a:gd name="connsiteY48" fmla="*/ 713615 h 788699"/>
                <a:gd name="connsiteX49" fmla="*/ 58178 w 625521"/>
                <a:gd name="connsiteY49" fmla="*/ 697297 h 788699"/>
                <a:gd name="connsiteX50" fmla="*/ 63618 w 625521"/>
                <a:gd name="connsiteY50" fmla="*/ 689138 h 788699"/>
                <a:gd name="connsiteX51" fmla="*/ 85375 w 625521"/>
                <a:gd name="connsiteY51" fmla="*/ 680979 h 788699"/>
                <a:gd name="connsiteX52" fmla="*/ 131609 w 625521"/>
                <a:gd name="connsiteY52" fmla="*/ 675540 h 788699"/>
                <a:gd name="connsiteX53" fmla="*/ 131609 w 625521"/>
                <a:gd name="connsiteY53" fmla="*/ 667381 h 788699"/>
                <a:gd name="connsiteX54" fmla="*/ 131609 w 625521"/>
                <a:gd name="connsiteY54" fmla="*/ 651063 h 788699"/>
                <a:gd name="connsiteX55" fmla="*/ 131609 w 625521"/>
                <a:gd name="connsiteY55" fmla="*/ 618427 h 788699"/>
                <a:gd name="connsiteX56" fmla="*/ 131609 w 625521"/>
                <a:gd name="connsiteY56" fmla="*/ 580352 h 788699"/>
                <a:gd name="connsiteX57" fmla="*/ 131609 w 625521"/>
                <a:gd name="connsiteY57" fmla="*/ 531398 h 788699"/>
                <a:gd name="connsiteX58" fmla="*/ 131609 w 625521"/>
                <a:gd name="connsiteY58" fmla="*/ 466126 h 788699"/>
                <a:gd name="connsiteX59" fmla="*/ 131609 w 625521"/>
                <a:gd name="connsiteY59" fmla="*/ 422612 h 788699"/>
                <a:gd name="connsiteX60" fmla="*/ 131609 w 625521"/>
                <a:gd name="connsiteY60" fmla="*/ 411733 h 788699"/>
                <a:gd name="connsiteX61" fmla="*/ 131609 w 625521"/>
                <a:gd name="connsiteY61" fmla="*/ 398135 h 788699"/>
                <a:gd name="connsiteX62" fmla="*/ 126170 w 625521"/>
                <a:gd name="connsiteY62" fmla="*/ 389976 h 788699"/>
                <a:gd name="connsiteX63" fmla="*/ 101693 w 625521"/>
                <a:gd name="connsiteY63" fmla="*/ 387257 h 788699"/>
                <a:gd name="connsiteX64" fmla="*/ 77216 w 625521"/>
                <a:gd name="connsiteY64" fmla="*/ 376378 h 788699"/>
                <a:gd name="connsiteX65" fmla="*/ 82655 w 625521"/>
                <a:gd name="connsiteY65" fmla="*/ 368219 h 788699"/>
                <a:gd name="connsiteX66" fmla="*/ 98973 w 625521"/>
                <a:gd name="connsiteY66" fmla="*/ 360060 h 788699"/>
                <a:gd name="connsiteX67" fmla="*/ 118011 w 625521"/>
                <a:gd name="connsiteY67" fmla="*/ 357340 h 788699"/>
                <a:gd name="connsiteX68" fmla="*/ 131609 w 625521"/>
                <a:gd name="connsiteY68" fmla="*/ 351901 h 788699"/>
                <a:gd name="connsiteX69" fmla="*/ 131609 w 625521"/>
                <a:gd name="connsiteY69" fmla="*/ 343742 h 788699"/>
                <a:gd name="connsiteX70" fmla="*/ 131609 w 625521"/>
                <a:gd name="connsiteY70" fmla="*/ 270311 h 788699"/>
                <a:gd name="connsiteX71" fmla="*/ 137048 w 625521"/>
                <a:gd name="connsiteY71" fmla="*/ 145207 h 788699"/>
                <a:gd name="connsiteX72" fmla="*/ 139768 w 625521"/>
                <a:gd name="connsiteY72" fmla="*/ 123450 h 788699"/>
                <a:gd name="connsiteX73" fmla="*/ 123450 w 625521"/>
                <a:gd name="connsiteY73" fmla="*/ 123450 h 788699"/>
                <a:gd name="connsiteX74" fmla="*/ 118011 w 625521"/>
                <a:gd name="connsiteY74" fmla="*/ 123450 h 788699"/>
                <a:gd name="connsiteX75" fmla="*/ 101693 w 625521"/>
                <a:gd name="connsiteY75" fmla="*/ 123450 h 788699"/>
                <a:gd name="connsiteX76" fmla="*/ 74496 w 625521"/>
                <a:gd name="connsiteY76" fmla="*/ 118011 h 788699"/>
                <a:gd name="connsiteX77" fmla="*/ 58178 w 625521"/>
                <a:gd name="connsiteY77" fmla="*/ 101693 h 788699"/>
                <a:gd name="connsiteX78" fmla="*/ 63618 w 625521"/>
                <a:gd name="connsiteY78" fmla="*/ 93534 h 788699"/>
                <a:gd name="connsiteX79" fmla="*/ 85375 w 625521"/>
                <a:gd name="connsiteY79" fmla="*/ 85375 h 788699"/>
                <a:gd name="connsiteX80" fmla="*/ 137048 w 625521"/>
                <a:gd name="connsiteY80" fmla="*/ 82655 h 788699"/>
                <a:gd name="connsiteX81" fmla="*/ 147927 w 625521"/>
                <a:gd name="connsiteY81" fmla="*/ 82655 h 788699"/>
                <a:gd name="connsiteX82" fmla="*/ 186003 w 625521"/>
                <a:gd name="connsiteY82" fmla="*/ 58178 h 788699"/>
                <a:gd name="connsiteX83" fmla="*/ 226797 w 625521"/>
                <a:gd name="connsiteY83" fmla="*/ 79936 h 788699"/>
                <a:gd name="connsiteX84" fmla="*/ 253994 w 625521"/>
                <a:gd name="connsiteY84" fmla="*/ 79936 h 788699"/>
                <a:gd name="connsiteX85" fmla="*/ 294789 w 625521"/>
                <a:gd name="connsiteY85" fmla="*/ 96253 h 788699"/>
                <a:gd name="connsiteX86" fmla="*/ 283910 w 625521"/>
                <a:gd name="connsiteY86" fmla="*/ 112571 h 788699"/>
                <a:gd name="connsiteX87" fmla="*/ 267592 w 625521"/>
                <a:gd name="connsiteY87" fmla="*/ 120730 h 788699"/>
                <a:gd name="connsiteX88" fmla="*/ 245835 w 625521"/>
                <a:gd name="connsiteY88" fmla="*/ 123450 h 788699"/>
                <a:gd name="connsiteX89" fmla="*/ 237676 w 625521"/>
                <a:gd name="connsiteY89" fmla="*/ 123450 h 788699"/>
                <a:gd name="connsiteX90" fmla="*/ 240396 w 625521"/>
                <a:gd name="connsiteY90" fmla="*/ 128889 h 788699"/>
                <a:gd name="connsiteX91" fmla="*/ 251274 w 625521"/>
                <a:gd name="connsiteY91" fmla="*/ 177843 h 788699"/>
                <a:gd name="connsiteX92" fmla="*/ 256714 w 625521"/>
                <a:gd name="connsiteY92" fmla="*/ 226797 h 788699"/>
                <a:gd name="connsiteX93" fmla="*/ 262153 w 625521"/>
                <a:gd name="connsiteY93" fmla="*/ 273031 h 788699"/>
                <a:gd name="connsiteX94" fmla="*/ 262153 w 625521"/>
                <a:gd name="connsiteY94" fmla="*/ 289349 h 788699"/>
                <a:gd name="connsiteX95" fmla="*/ 262153 w 625521"/>
                <a:gd name="connsiteY95" fmla="*/ 297508 h 788699"/>
                <a:gd name="connsiteX96" fmla="*/ 264872 w 625521"/>
                <a:gd name="connsiteY96" fmla="*/ 321985 h 788699"/>
                <a:gd name="connsiteX97" fmla="*/ 270312 w 625521"/>
                <a:gd name="connsiteY97" fmla="*/ 335583 h 788699"/>
                <a:gd name="connsiteX98" fmla="*/ 270312 w 625521"/>
                <a:gd name="connsiteY98" fmla="*/ 338303 h 788699"/>
                <a:gd name="connsiteX99" fmla="*/ 270312 w 625521"/>
                <a:gd name="connsiteY99" fmla="*/ 346462 h 788699"/>
                <a:gd name="connsiteX100" fmla="*/ 278471 w 625521"/>
                <a:gd name="connsiteY100" fmla="*/ 354621 h 788699"/>
                <a:gd name="connsiteX101" fmla="*/ 338304 w 625521"/>
                <a:gd name="connsiteY101" fmla="*/ 349181 h 788699"/>
                <a:gd name="connsiteX102" fmla="*/ 365500 w 625521"/>
                <a:gd name="connsiteY102" fmla="*/ 349181 h 788699"/>
                <a:gd name="connsiteX103" fmla="*/ 381817 w 625521"/>
                <a:gd name="connsiteY103" fmla="*/ 349181 h 788699"/>
                <a:gd name="connsiteX104" fmla="*/ 392697 w 625521"/>
                <a:gd name="connsiteY104" fmla="*/ 338303 h 788699"/>
                <a:gd name="connsiteX105" fmla="*/ 389977 w 625521"/>
                <a:gd name="connsiteY105" fmla="*/ 313826 h 788699"/>
                <a:gd name="connsiteX106" fmla="*/ 392697 w 625521"/>
                <a:gd name="connsiteY106" fmla="*/ 262152 h 788699"/>
                <a:gd name="connsiteX107" fmla="*/ 395416 w 625521"/>
                <a:gd name="connsiteY107" fmla="*/ 224077 h 788699"/>
                <a:gd name="connsiteX108" fmla="*/ 398136 w 625521"/>
                <a:gd name="connsiteY108" fmla="*/ 177843 h 788699"/>
                <a:gd name="connsiteX109" fmla="*/ 395416 w 625521"/>
                <a:gd name="connsiteY109" fmla="*/ 153366 h 788699"/>
                <a:gd name="connsiteX110" fmla="*/ 395416 w 625521"/>
                <a:gd name="connsiteY110" fmla="*/ 137048 h 788699"/>
                <a:gd name="connsiteX111" fmla="*/ 379098 w 625521"/>
                <a:gd name="connsiteY111" fmla="*/ 137048 h 788699"/>
                <a:gd name="connsiteX112" fmla="*/ 351902 w 625521"/>
                <a:gd name="connsiteY112" fmla="*/ 131609 h 788699"/>
                <a:gd name="connsiteX113" fmla="*/ 338304 w 625521"/>
                <a:gd name="connsiteY113" fmla="*/ 115291 h 788699"/>
                <a:gd name="connsiteX114" fmla="*/ 343742 w 625521"/>
                <a:gd name="connsiteY114" fmla="*/ 107132 h 788699"/>
                <a:gd name="connsiteX115" fmla="*/ 362780 w 625521"/>
                <a:gd name="connsiteY115" fmla="*/ 98973 h 788699"/>
                <a:gd name="connsiteX116" fmla="*/ 395416 w 625521"/>
                <a:gd name="connsiteY116" fmla="*/ 96253 h 788699"/>
                <a:gd name="connsiteX117" fmla="*/ 403575 w 625521"/>
                <a:gd name="connsiteY117" fmla="*/ 90814 h 788699"/>
                <a:gd name="connsiteX118" fmla="*/ 422612 w 625521"/>
                <a:gd name="connsiteY118" fmla="*/ 88095 h 788699"/>
                <a:gd name="connsiteX119" fmla="*/ 428052 w 625521"/>
                <a:gd name="connsiteY119" fmla="*/ 88095 h 788699"/>
                <a:gd name="connsiteX120" fmla="*/ 447090 w 625521"/>
                <a:gd name="connsiteY120" fmla="*/ 90814 h 788699"/>
                <a:gd name="connsiteX121" fmla="*/ 455249 w 625521"/>
                <a:gd name="connsiteY121" fmla="*/ 96253 h 788699"/>
                <a:gd name="connsiteX122" fmla="*/ 525960 w 625521"/>
                <a:gd name="connsiteY122" fmla="*/ 93534 h 788699"/>
                <a:gd name="connsiteX123" fmla="*/ 561315 w 625521"/>
                <a:gd name="connsiteY123" fmla="*/ 109852 h 788699"/>
                <a:gd name="connsiteX124" fmla="*/ 555876 w 625521"/>
                <a:gd name="connsiteY124" fmla="*/ 126170 h 788699"/>
                <a:gd name="connsiteX125" fmla="*/ 539558 w 625521"/>
                <a:gd name="connsiteY125" fmla="*/ 134329 h 788699"/>
                <a:gd name="connsiteX126" fmla="*/ 517800 w 625521"/>
                <a:gd name="connsiteY126" fmla="*/ 137048 h 788699"/>
                <a:gd name="connsiteX127" fmla="*/ 477006 w 625521"/>
                <a:gd name="connsiteY127" fmla="*/ 137048 h 788699"/>
                <a:gd name="connsiteX128" fmla="*/ 485165 w 625521"/>
                <a:gd name="connsiteY128" fmla="*/ 161525 h 788699"/>
                <a:gd name="connsiteX129" fmla="*/ 496043 w 625521"/>
                <a:gd name="connsiteY129" fmla="*/ 210479 h 788699"/>
                <a:gd name="connsiteX130" fmla="*/ 501483 w 625521"/>
                <a:gd name="connsiteY130" fmla="*/ 251274 h 788699"/>
                <a:gd name="connsiteX131" fmla="*/ 506922 w 625521"/>
                <a:gd name="connsiteY131" fmla="*/ 292069 h 788699"/>
                <a:gd name="connsiteX132" fmla="*/ 506922 w 625521"/>
                <a:gd name="connsiteY132" fmla="*/ 321985 h 788699"/>
                <a:gd name="connsiteX133" fmla="*/ 509642 w 625521"/>
                <a:gd name="connsiteY133" fmla="*/ 341022 h 788699"/>
                <a:gd name="connsiteX134" fmla="*/ 509642 w 625521"/>
                <a:gd name="connsiteY134" fmla="*/ 343742 h 788699"/>
                <a:gd name="connsiteX135" fmla="*/ 517800 w 625521"/>
                <a:gd name="connsiteY135" fmla="*/ 349181 h 788699"/>
                <a:gd name="connsiteX136" fmla="*/ 528680 w 625521"/>
                <a:gd name="connsiteY136" fmla="*/ 349181 h 788699"/>
                <a:gd name="connsiteX137" fmla="*/ 550437 w 625521"/>
                <a:gd name="connsiteY137" fmla="*/ 357340 h 788699"/>
                <a:gd name="connsiteX138" fmla="*/ 550437 w 625521"/>
                <a:gd name="connsiteY138" fmla="*/ 362780 h 788699"/>
                <a:gd name="connsiteX139" fmla="*/ 534119 w 625521"/>
                <a:gd name="connsiteY139" fmla="*/ 384537 h 788699"/>
                <a:gd name="connsiteX140" fmla="*/ 520520 w 625521"/>
                <a:gd name="connsiteY140" fmla="*/ 389976 h 788699"/>
                <a:gd name="connsiteX141" fmla="*/ 512362 w 625521"/>
                <a:gd name="connsiteY141" fmla="*/ 395415 h 788699"/>
                <a:gd name="connsiteX142" fmla="*/ 512362 w 625521"/>
                <a:gd name="connsiteY142" fmla="*/ 398135 h 788699"/>
                <a:gd name="connsiteX143" fmla="*/ 512362 w 625521"/>
                <a:gd name="connsiteY143" fmla="*/ 409014 h 788699"/>
                <a:gd name="connsiteX144" fmla="*/ 512362 w 625521"/>
                <a:gd name="connsiteY144" fmla="*/ 414453 h 788699"/>
                <a:gd name="connsiteX145" fmla="*/ 512362 w 625521"/>
                <a:gd name="connsiteY145" fmla="*/ 438930 h 788699"/>
                <a:gd name="connsiteX146" fmla="*/ 515081 w 625521"/>
                <a:gd name="connsiteY146" fmla="*/ 504202 h 788699"/>
                <a:gd name="connsiteX147" fmla="*/ 520520 w 625521"/>
                <a:gd name="connsiteY147" fmla="*/ 572193 h 788699"/>
                <a:gd name="connsiteX148" fmla="*/ 517800 w 625521"/>
                <a:gd name="connsiteY148" fmla="*/ 604829 h 788699"/>
                <a:gd name="connsiteX149" fmla="*/ 512362 w 625521"/>
                <a:gd name="connsiteY149" fmla="*/ 661942 h 788699"/>
                <a:gd name="connsiteX150" fmla="*/ 509642 w 625521"/>
                <a:gd name="connsiteY150" fmla="*/ 670101 h 788699"/>
                <a:gd name="connsiteX151" fmla="*/ 512362 w 625521"/>
                <a:gd name="connsiteY151" fmla="*/ 680979 h 788699"/>
                <a:gd name="connsiteX152" fmla="*/ 512362 w 625521"/>
                <a:gd name="connsiteY152" fmla="*/ 686419 h 788699"/>
                <a:gd name="connsiteX153" fmla="*/ 536838 w 625521"/>
                <a:gd name="connsiteY153" fmla="*/ 680979 h 788699"/>
                <a:gd name="connsiteX154" fmla="*/ 536838 w 625521"/>
                <a:gd name="connsiteY154" fmla="*/ 680979 h 7886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</a:cxnLst>
              <a:rect l="l" t="t" r="r" b="b"/>
              <a:pathLst>
                <a:path w="625521" h="788699">
                  <a:moveTo>
                    <a:pt x="536838" y="680979"/>
                  </a:moveTo>
                  <a:cubicBezTo>
                    <a:pt x="550437" y="680979"/>
                    <a:pt x="574913" y="680979"/>
                    <a:pt x="574913" y="697297"/>
                  </a:cubicBezTo>
                  <a:cubicBezTo>
                    <a:pt x="574913" y="705456"/>
                    <a:pt x="572194" y="708176"/>
                    <a:pt x="566755" y="713615"/>
                  </a:cubicBezTo>
                  <a:cubicBezTo>
                    <a:pt x="561315" y="719054"/>
                    <a:pt x="555876" y="721774"/>
                    <a:pt x="550437" y="721774"/>
                  </a:cubicBezTo>
                  <a:cubicBezTo>
                    <a:pt x="539558" y="724494"/>
                    <a:pt x="534119" y="724494"/>
                    <a:pt x="528680" y="724494"/>
                  </a:cubicBezTo>
                  <a:cubicBezTo>
                    <a:pt x="517800" y="724494"/>
                    <a:pt x="428052" y="724494"/>
                    <a:pt x="417174" y="724494"/>
                  </a:cubicBezTo>
                  <a:cubicBezTo>
                    <a:pt x="403575" y="724494"/>
                    <a:pt x="414454" y="724494"/>
                    <a:pt x="398136" y="724494"/>
                  </a:cubicBezTo>
                  <a:cubicBezTo>
                    <a:pt x="389977" y="724494"/>
                    <a:pt x="381817" y="724494"/>
                    <a:pt x="373659" y="724494"/>
                  </a:cubicBezTo>
                  <a:cubicBezTo>
                    <a:pt x="365500" y="724494"/>
                    <a:pt x="354621" y="721774"/>
                    <a:pt x="346462" y="719054"/>
                  </a:cubicBezTo>
                  <a:cubicBezTo>
                    <a:pt x="338304" y="716335"/>
                    <a:pt x="330144" y="708176"/>
                    <a:pt x="330144" y="702737"/>
                  </a:cubicBezTo>
                  <a:cubicBezTo>
                    <a:pt x="330144" y="700017"/>
                    <a:pt x="330144" y="697297"/>
                    <a:pt x="335584" y="694578"/>
                  </a:cubicBezTo>
                  <a:cubicBezTo>
                    <a:pt x="341023" y="691858"/>
                    <a:pt x="351902" y="689138"/>
                    <a:pt x="357341" y="686419"/>
                  </a:cubicBezTo>
                  <a:cubicBezTo>
                    <a:pt x="373659" y="683699"/>
                    <a:pt x="387257" y="680979"/>
                    <a:pt x="395416" y="680979"/>
                  </a:cubicBezTo>
                  <a:cubicBezTo>
                    <a:pt x="387257" y="675540"/>
                    <a:pt x="384537" y="670101"/>
                    <a:pt x="381817" y="656502"/>
                  </a:cubicBezTo>
                  <a:cubicBezTo>
                    <a:pt x="379098" y="632026"/>
                    <a:pt x="379098" y="610268"/>
                    <a:pt x="379098" y="585791"/>
                  </a:cubicBezTo>
                  <a:cubicBezTo>
                    <a:pt x="379098" y="564034"/>
                    <a:pt x="379098" y="542277"/>
                    <a:pt x="379098" y="517800"/>
                  </a:cubicBezTo>
                  <a:cubicBezTo>
                    <a:pt x="379098" y="504202"/>
                    <a:pt x="379098" y="487884"/>
                    <a:pt x="379098" y="474286"/>
                  </a:cubicBezTo>
                  <a:cubicBezTo>
                    <a:pt x="379098" y="457968"/>
                    <a:pt x="376379" y="444369"/>
                    <a:pt x="379098" y="430771"/>
                  </a:cubicBezTo>
                  <a:cubicBezTo>
                    <a:pt x="379098" y="425332"/>
                    <a:pt x="381817" y="417173"/>
                    <a:pt x="381817" y="411733"/>
                  </a:cubicBezTo>
                  <a:cubicBezTo>
                    <a:pt x="381817" y="406294"/>
                    <a:pt x="381817" y="403575"/>
                    <a:pt x="379098" y="400855"/>
                  </a:cubicBezTo>
                  <a:cubicBezTo>
                    <a:pt x="376379" y="400855"/>
                    <a:pt x="373659" y="398135"/>
                    <a:pt x="370939" y="398135"/>
                  </a:cubicBezTo>
                  <a:cubicBezTo>
                    <a:pt x="360061" y="398135"/>
                    <a:pt x="343742" y="400855"/>
                    <a:pt x="338304" y="400855"/>
                  </a:cubicBezTo>
                  <a:cubicBezTo>
                    <a:pt x="330144" y="400855"/>
                    <a:pt x="319266" y="403575"/>
                    <a:pt x="289349" y="403575"/>
                  </a:cubicBezTo>
                  <a:cubicBezTo>
                    <a:pt x="275751" y="403575"/>
                    <a:pt x="267592" y="400855"/>
                    <a:pt x="264872" y="400855"/>
                  </a:cubicBezTo>
                  <a:cubicBezTo>
                    <a:pt x="262153" y="400855"/>
                    <a:pt x="259433" y="400855"/>
                    <a:pt x="259433" y="406294"/>
                  </a:cubicBezTo>
                  <a:cubicBezTo>
                    <a:pt x="259433" y="414453"/>
                    <a:pt x="259433" y="419892"/>
                    <a:pt x="259433" y="425332"/>
                  </a:cubicBezTo>
                  <a:cubicBezTo>
                    <a:pt x="259433" y="433491"/>
                    <a:pt x="259433" y="441650"/>
                    <a:pt x="259433" y="449809"/>
                  </a:cubicBezTo>
                  <a:cubicBezTo>
                    <a:pt x="259433" y="457968"/>
                    <a:pt x="259433" y="463407"/>
                    <a:pt x="259433" y="471566"/>
                  </a:cubicBezTo>
                  <a:cubicBezTo>
                    <a:pt x="259433" y="482445"/>
                    <a:pt x="259433" y="493323"/>
                    <a:pt x="259433" y="504202"/>
                  </a:cubicBezTo>
                  <a:cubicBezTo>
                    <a:pt x="259433" y="506921"/>
                    <a:pt x="259433" y="506921"/>
                    <a:pt x="259433" y="509641"/>
                  </a:cubicBezTo>
                  <a:cubicBezTo>
                    <a:pt x="259433" y="520520"/>
                    <a:pt x="256714" y="531398"/>
                    <a:pt x="256714" y="542277"/>
                  </a:cubicBezTo>
                  <a:cubicBezTo>
                    <a:pt x="256714" y="553156"/>
                    <a:pt x="256714" y="566754"/>
                    <a:pt x="256714" y="577632"/>
                  </a:cubicBezTo>
                  <a:cubicBezTo>
                    <a:pt x="256714" y="588511"/>
                    <a:pt x="256714" y="599390"/>
                    <a:pt x="256714" y="612988"/>
                  </a:cubicBezTo>
                  <a:cubicBezTo>
                    <a:pt x="256714" y="629306"/>
                    <a:pt x="253994" y="642904"/>
                    <a:pt x="253994" y="656502"/>
                  </a:cubicBezTo>
                  <a:cubicBezTo>
                    <a:pt x="253994" y="664661"/>
                    <a:pt x="256714" y="672820"/>
                    <a:pt x="256714" y="678260"/>
                  </a:cubicBezTo>
                  <a:cubicBezTo>
                    <a:pt x="270312" y="678260"/>
                    <a:pt x="286629" y="680979"/>
                    <a:pt x="286629" y="694578"/>
                  </a:cubicBezTo>
                  <a:cubicBezTo>
                    <a:pt x="286629" y="702737"/>
                    <a:pt x="283910" y="705456"/>
                    <a:pt x="281191" y="710895"/>
                  </a:cubicBezTo>
                  <a:cubicBezTo>
                    <a:pt x="275751" y="716335"/>
                    <a:pt x="270312" y="719054"/>
                    <a:pt x="264872" y="719054"/>
                  </a:cubicBezTo>
                  <a:cubicBezTo>
                    <a:pt x="256714" y="721774"/>
                    <a:pt x="248554" y="721774"/>
                    <a:pt x="243116" y="721774"/>
                  </a:cubicBezTo>
                  <a:cubicBezTo>
                    <a:pt x="243116" y="721774"/>
                    <a:pt x="243116" y="721774"/>
                    <a:pt x="243116" y="721774"/>
                  </a:cubicBezTo>
                  <a:cubicBezTo>
                    <a:pt x="237676" y="724494"/>
                    <a:pt x="237676" y="724494"/>
                    <a:pt x="232236" y="727214"/>
                  </a:cubicBezTo>
                  <a:cubicBezTo>
                    <a:pt x="229517" y="729933"/>
                    <a:pt x="229517" y="732653"/>
                    <a:pt x="224078" y="735372"/>
                  </a:cubicBezTo>
                  <a:cubicBezTo>
                    <a:pt x="221358" y="738092"/>
                    <a:pt x="215919" y="738092"/>
                    <a:pt x="213199" y="738092"/>
                  </a:cubicBezTo>
                  <a:cubicBezTo>
                    <a:pt x="199601" y="738092"/>
                    <a:pt x="188722" y="735372"/>
                    <a:pt x="183283" y="727214"/>
                  </a:cubicBezTo>
                  <a:cubicBezTo>
                    <a:pt x="180563" y="724494"/>
                    <a:pt x="177843" y="721774"/>
                    <a:pt x="175124" y="719054"/>
                  </a:cubicBezTo>
                  <a:cubicBezTo>
                    <a:pt x="161526" y="719054"/>
                    <a:pt x="150646" y="719054"/>
                    <a:pt x="145208" y="719054"/>
                  </a:cubicBezTo>
                  <a:cubicBezTo>
                    <a:pt x="131609" y="719054"/>
                    <a:pt x="142488" y="719054"/>
                    <a:pt x="126170" y="719054"/>
                  </a:cubicBezTo>
                  <a:cubicBezTo>
                    <a:pt x="118011" y="719054"/>
                    <a:pt x="109852" y="719054"/>
                    <a:pt x="101693" y="719054"/>
                  </a:cubicBezTo>
                  <a:cubicBezTo>
                    <a:pt x="93534" y="719054"/>
                    <a:pt x="82655" y="719054"/>
                    <a:pt x="74496" y="713615"/>
                  </a:cubicBezTo>
                  <a:cubicBezTo>
                    <a:pt x="66338" y="710895"/>
                    <a:pt x="58178" y="702737"/>
                    <a:pt x="58178" y="697297"/>
                  </a:cubicBezTo>
                  <a:cubicBezTo>
                    <a:pt x="58178" y="694578"/>
                    <a:pt x="58178" y="691858"/>
                    <a:pt x="63618" y="689138"/>
                  </a:cubicBezTo>
                  <a:cubicBezTo>
                    <a:pt x="69057" y="686419"/>
                    <a:pt x="79936" y="683699"/>
                    <a:pt x="85375" y="680979"/>
                  </a:cubicBezTo>
                  <a:cubicBezTo>
                    <a:pt x="98973" y="678260"/>
                    <a:pt x="118011" y="678260"/>
                    <a:pt x="131609" y="675540"/>
                  </a:cubicBezTo>
                  <a:cubicBezTo>
                    <a:pt x="131609" y="672820"/>
                    <a:pt x="131609" y="670101"/>
                    <a:pt x="131609" y="667381"/>
                  </a:cubicBezTo>
                  <a:cubicBezTo>
                    <a:pt x="131609" y="661942"/>
                    <a:pt x="131609" y="656502"/>
                    <a:pt x="131609" y="651063"/>
                  </a:cubicBezTo>
                  <a:cubicBezTo>
                    <a:pt x="131609" y="640184"/>
                    <a:pt x="131609" y="629306"/>
                    <a:pt x="131609" y="618427"/>
                  </a:cubicBezTo>
                  <a:cubicBezTo>
                    <a:pt x="131609" y="604829"/>
                    <a:pt x="131609" y="593950"/>
                    <a:pt x="131609" y="580352"/>
                  </a:cubicBezTo>
                  <a:cubicBezTo>
                    <a:pt x="131609" y="564034"/>
                    <a:pt x="131609" y="547716"/>
                    <a:pt x="131609" y="531398"/>
                  </a:cubicBezTo>
                  <a:cubicBezTo>
                    <a:pt x="131609" y="509641"/>
                    <a:pt x="131609" y="487884"/>
                    <a:pt x="131609" y="466126"/>
                  </a:cubicBezTo>
                  <a:cubicBezTo>
                    <a:pt x="131609" y="452528"/>
                    <a:pt x="131609" y="436210"/>
                    <a:pt x="131609" y="422612"/>
                  </a:cubicBezTo>
                  <a:cubicBezTo>
                    <a:pt x="131609" y="419892"/>
                    <a:pt x="131609" y="414453"/>
                    <a:pt x="131609" y="411733"/>
                  </a:cubicBezTo>
                  <a:cubicBezTo>
                    <a:pt x="131609" y="409014"/>
                    <a:pt x="131609" y="400855"/>
                    <a:pt x="131609" y="398135"/>
                  </a:cubicBezTo>
                  <a:cubicBezTo>
                    <a:pt x="131609" y="392696"/>
                    <a:pt x="131609" y="392696"/>
                    <a:pt x="126170" y="389976"/>
                  </a:cubicBezTo>
                  <a:cubicBezTo>
                    <a:pt x="123450" y="389976"/>
                    <a:pt x="109852" y="387257"/>
                    <a:pt x="101693" y="387257"/>
                  </a:cubicBezTo>
                  <a:cubicBezTo>
                    <a:pt x="90814" y="384537"/>
                    <a:pt x="77216" y="381817"/>
                    <a:pt x="77216" y="376378"/>
                  </a:cubicBezTo>
                  <a:cubicBezTo>
                    <a:pt x="77216" y="373658"/>
                    <a:pt x="79936" y="370939"/>
                    <a:pt x="82655" y="368219"/>
                  </a:cubicBezTo>
                  <a:cubicBezTo>
                    <a:pt x="88095" y="365499"/>
                    <a:pt x="93534" y="362780"/>
                    <a:pt x="98973" y="360060"/>
                  </a:cubicBezTo>
                  <a:cubicBezTo>
                    <a:pt x="104413" y="360060"/>
                    <a:pt x="112571" y="357340"/>
                    <a:pt x="118011" y="357340"/>
                  </a:cubicBezTo>
                  <a:cubicBezTo>
                    <a:pt x="126170" y="354621"/>
                    <a:pt x="128890" y="357340"/>
                    <a:pt x="131609" y="351901"/>
                  </a:cubicBezTo>
                  <a:cubicBezTo>
                    <a:pt x="131609" y="349181"/>
                    <a:pt x="131609" y="346462"/>
                    <a:pt x="131609" y="343742"/>
                  </a:cubicBezTo>
                  <a:cubicBezTo>
                    <a:pt x="131609" y="319265"/>
                    <a:pt x="131609" y="294788"/>
                    <a:pt x="131609" y="270311"/>
                  </a:cubicBezTo>
                  <a:cubicBezTo>
                    <a:pt x="131609" y="226797"/>
                    <a:pt x="131609" y="186002"/>
                    <a:pt x="137048" y="145207"/>
                  </a:cubicBezTo>
                  <a:cubicBezTo>
                    <a:pt x="137048" y="139768"/>
                    <a:pt x="137048" y="131609"/>
                    <a:pt x="139768" y="123450"/>
                  </a:cubicBezTo>
                  <a:cubicBezTo>
                    <a:pt x="134329" y="123450"/>
                    <a:pt x="137048" y="123450"/>
                    <a:pt x="123450" y="123450"/>
                  </a:cubicBezTo>
                  <a:cubicBezTo>
                    <a:pt x="120731" y="123450"/>
                    <a:pt x="120731" y="123450"/>
                    <a:pt x="118011" y="123450"/>
                  </a:cubicBezTo>
                  <a:cubicBezTo>
                    <a:pt x="112571" y="123450"/>
                    <a:pt x="107133" y="123450"/>
                    <a:pt x="101693" y="123450"/>
                  </a:cubicBezTo>
                  <a:cubicBezTo>
                    <a:pt x="93534" y="123450"/>
                    <a:pt x="82655" y="120730"/>
                    <a:pt x="74496" y="118011"/>
                  </a:cubicBezTo>
                  <a:cubicBezTo>
                    <a:pt x="66338" y="115291"/>
                    <a:pt x="58178" y="107132"/>
                    <a:pt x="58178" y="101693"/>
                  </a:cubicBezTo>
                  <a:cubicBezTo>
                    <a:pt x="58178" y="98973"/>
                    <a:pt x="58178" y="96253"/>
                    <a:pt x="63618" y="93534"/>
                  </a:cubicBezTo>
                  <a:cubicBezTo>
                    <a:pt x="66338" y="90814"/>
                    <a:pt x="77216" y="88095"/>
                    <a:pt x="85375" y="85375"/>
                  </a:cubicBezTo>
                  <a:cubicBezTo>
                    <a:pt x="104413" y="82655"/>
                    <a:pt x="128890" y="82655"/>
                    <a:pt x="137048" y="82655"/>
                  </a:cubicBezTo>
                  <a:cubicBezTo>
                    <a:pt x="139768" y="82655"/>
                    <a:pt x="142488" y="82655"/>
                    <a:pt x="147927" y="82655"/>
                  </a:cubicBezTo>
                  <a:cubicBezTo>
                    <a:pt x="153366" y="69057"/>
                    <a:pt x="164245" y="58178"/>
                    <a:pt x="186003" y="58178"/>
                  </a:cubicBezTo>
                  <a:cubicBezTo>
                    <a:pt x="202321" y="58178"/>
                    <a:pt x="215919" y="66337"/>
                    <a:pt x="226797" y="79936"/>
                  </a:cubicBezTo>
                  <a:cubicBezTo>
                    <a:pt x="237676" y="79936"/>
                    <a:pt x="248554" y="79936"/>
                    <a:pt x="253994" y="79936"/>
                  </a:cubicBezTo>
                  <a:cubicBezTo>
                    <a:pt x="267592" y="79936"/>
                    <a:pt x="294789" y="79936"/>
                    <a:pt x="294789" y="96253"/>
                  </a:cubicBezTo>
                  <a:cubicBezTo>
                    <a:pt x="294789" y="104412"/>
                    <a:pt x="289349" y="107132"/>
                    <a:pt x="283910" y="112571"/>
                  </a:cubicBezTo>
                  <a:cubicBezTo>
                    <a:pt x="278471" y="118011"/>
                    <a:pt x="273031" y="120730"/>
                    <a:pt x="267592" y="120730"/>
                  </a:cubicBezTo>
                  <a:cubicBezTo>
                    <a:pt x="259433" y="123450"/>
                    <a:pt x="251274" y="123450"/>
                    <a:pt x="245835" y="123450"/>
                  </a:cubicBezTo>
                  <a:cubicBezTo>
                    <a:pt x="245835" y="123450"/>
                    <a:pt x="243116" y="123450"/>
                    <a:pt x="237676" y="123450"/>
                  </a:cubicBezTo>
                  <a:cubicBezTo>
                    <a:pt x="237676" y="126170"/>
                    <a:pt x="237676" y="126170"/>
                    <a:pt x="240396" y="128889"/>
                  </a:cubicBezTo>
                  <a:cubicBezTo>
                    <a:pt x="245835" y="145207"/>
                    <a:pt x="248554" y="161525"/>
                    <a:pt x="251274" y="177843"/>
                  </a:cubicBezTo>
                  <a:cubicBezTo>
                    <a:pt x="253994" y="194161"/>
                    <a:pt x="253994" y="210479"/>
                    <a:pt x="256714" y="226797"/>
                  </a:cubicBezTo>
                  <a:cubicBezTo>
                    <a:pt x="259433" y="243115"/>
                    <a:pt x="262153" y="256713"/>
                    <a:pt x="262153" y="273031"/>
                  </a:cubicBezTo>
                  <a:cubicBezTo>
                    <a:pt x="262153" y="278470"/>
                    <a:pt x="262153" y="283910"/>
                    <a:pt x="262153" y="289349"/>
                  </a:cubicBezTo>
                  <a:lnTo>
                    <a:pt x="262153" y="297508"/>
                  </a:lnTo>
                  <a:cubicBezTo>
                    <a:pt x="262153" y="305667"/>
                    <a:pt x="262153" y="313826"/>
                    <a:pt x="264872" y="321985"/>
                  </a:cubicBezTo>
                  <a:cubicBezTo>
                    <a:pt x="264872" y="327424"/>
                    <a:pt x="270312" y="330144"/>
                    <a:pt x="270312" y="335583"/>
                  </a:cubicBezTo>
                  <a:cubicBezTo>
                    <a:pt x="270312" y="335583"/>
                    <a:pt x="270312" y="338303"/>
                    <a:pt x="270312" y="338303"/>
                  </a:cubicBezTo>
                  <a:cubicBezTo>
                    <a:pt x="270312" y="341022"/>
                    <a:pt x="270312" y="343742"/>
                    <a:pt x="270312" y="346462"/>
                  </a:cubicBezTo>
                  <a:cubicBezTo>
                    <a:pt x="270312" y="351901"/>
                    <a:pt x="273031" y="354621"/>
                    <a:pt x="278471" y="354621"/>
                  </a:cubicBezTo>
                  <a:cubicBezTo>
                    <a:pt x="289349" y="354621"/>
                    <a:pt x="335584" y="351901"/>
                    <a:pt x="338304" y="349181"/>
                  </a:cubicBezTo>
                  <a:cubicBezTo>
                    <a:pt x="346462" y="349181"/>
                    <a:pt x="357341" y="349181"/>
                    <a:pt x="365500" y="349181"/>
                  </a:cubicBezTo>
                  <a:cubicBezTo>
                    <a:pt x="370939" y="349181"/>
                    <a:pt x="376379" y="349181"/>
                    <a:pt x="381817" y="349181"/>
                  </a:cubicBezTo>
                  <a:cubicBezTo>
                    <a:pt x="387257" y="349181"/>
                    <a:pt x="392697" y="346462"/>
                    <a:pt x="392697" y="338303"/>
                  </a:cubicBezTo>
                  <a:cubicBezTo>
                    <a:pt x="392697" y="330144"/>
                    <a:pt x="389977" y="316545"/>
                    <a:pt x="389977" y="313826"/>
                  </a:cubicBezTo>
                  <a:cubicBezTo>
                    <a:pt x="389977" y="294788"/>
                    <a:pt x="389977" y="278470"/>
                    <a:pt x="392697" y="262152"/>
                  </a:cubicBezTo>
                  <a:cubicBezTo>
                    <a:pt x="392697" y="259433"/>
                    <a:pt x="395416" y="243115"/>
                    <a:pt x="395416" y="224077"/>
                  </a:cubicBezTo>
                  <a:cubicBezTo>
                    <a:pt x="395416" y="207759"/>
                    <a:pt x="398136" y="188722"/>
                    <a:pt x="398136" y="177843"/>
                  </a:cubicBezTo>
                  <a:cubicBezTo>
                    <a:pt x="398136" y="169684"/>
                    <a:pt x="395416" y="158806"/>
                    <a:pt x="395416" y="153366"/>
                  </a:cubicBezTo>
                  <a:cubicBezTo>
                    <a:pt x="395416" y="145207"/>
                    <a:pt x="395416" y="142488"/>
                    <a:pt x="395416" y="137048"/>
                  </a:cubicBezTo>
                  <a:cubicBezTo>
                    <a:pt x="389977" y="137048"/>
                    <a:pt x="384537" y="137048"/>
                    <a:pt x="379098" y="137048"/>
                  </a:cubicBezTo>
                  <a:cubicBezTo>
                    <a:pt x="370939" y="137048"/>
                    <a:pt x="360061" y="134329"/>
                    <a:pt x="351902" y="131609"/>
                  </a:cubicBezTo>
                  <a:cubicBezTo>
                    <a:pt x="343742" y="128889"/>
                    <a:pt x="338304" y="120730"/>
                    <a:pt x="338304" y="115291"/>
                  </a:cubicBezTo>
                  <a:cubicBezTo>
                    <a:pt x="338304" y="112571"/>
                    <a:pt x="338304" y="109852"/>
                    <a:pt x="343742" y="107132"/>
                  </a:cubicBezTo>
                  <a:cubicBezTo>
                    <a:pt x="349182" y="104412"/>
                    <a:pt x="357341" y="101693"/>
                    <a:pt x="362780" y="98973"/>
                  </a:cubicBezTo>
                  <a:cubicBezTo>
                    <a:pt x="373659" y="96253"/>
                    <a:pt x="387257" y="96253"/>
                    <a:pt x="395416" y="96253"/>
                  </a:cubicBezTo>
                  <a:cubicBezTo>
                    <a:pt x="398136" y="93534"/>
                    <a:pt x="400855" y="90814"/>
                    <a:pt x="403575" y="90814"/>
                  </a:cubicBezTo>
                  <a:cubicBezTo>
                    <a:pt x="411734" y="90814"/>
                    <a:pt x="419893" y="88095"/>
                    <a:pt x="422612" y="88095"/>
                  </a:cubicBezTo>
                  <a:cubicBezTo>
                    <a:pt x="425332" y="88095"/>
                    <a:pt x="425332" y="88095"/>
                    <a:pt x="428052" y="88095"/>
                  </a:cubicBezTo>
                  <a:cubicBezTo>
                    <a:pt x="433492" y="88095"/>
                    <a:pt x="441650" y="88095"/>
                    <a:pt x="447090" y="90814"/>
                  </a:cubicBezTo>
                  <a:cubicBezTo>
                    <a:pt x="449809" y="90814"/>
                    <a:pt x="452529" y="93534"/>
                    <a:pt x="455249" y="96253"/>
                  </a:cubicBezTo>
                  <a:cubicBezTo>
                    <a:pt x="482445" y="96253"/>
                    <a:pt x="509642" y="93534"/>
                    <a:pt x="525960" y="93534"/>
                  </a:cubicBezTo>
                  <a:cubicBezTo>
                    <a:pt x="539558" y="93534"/>
                    <a:pt x="561315" y="93534"/>
                    <a:pt x="561315" y="109852"/>
                  </a:cubicBezTo>
                  <a:cubicBezTo>
                    <a:pt x="561315" y="118011"/>
                    <a:pt x="561315" y="120730"/>
                    <a:pt x="555876" y="126170"/>
                  </a:cubicBezTo>
                  <a:cubicBezTo>
                    <a:pt x="550437" y="131609"/>
                    <a:pt x="544997" y="134329"/>
                    <a:pt x="539558" y="134329"/>
                  </a:cubicBezTo>
                  <a:cubicBezTo>
                    <a:pt x="531399" y="137048"/>
                    <a:pt x="523240" y="137048"/>
                    <a:pt x="517800" y="137048"/>
                  </a:cubicBezTo>
                  <a:cubicBezTo>
                    <a:pt x="515081" y="137048"/>
                    <a:pt x="498763" y="137048"/>
                    <a:pt x="477006" y="137048"/>
                  </a:cubicBezTo>
                  <a:cubicBezTo>
                    <a:pt x="479725" y="145207"/>
                    <a:pt x="485165" y="153366"/>
                    <a:pt x="485165" y="161525"/>
                  </a:cubicBezTo>
                  <a:cubicBezTo>
                    <a:pt x="487885" y="177843"/>
                    <a:pt x="493324" y="194161"/>
                    <a:pt x="496043" y="210479"/>
                  </a:cubicBezTo>
                  <a:cubicBezTo>
                    <a:pt x="498763" y="224077"/>
                    <a:pt x="498763" y="237676"/>
                    <a:pt x="501483" y="251274"/>
                  </a:cubicBezTo>
                  <a:cubicBezTo>
                    <a:pt x="504202" y="264872"/>
                    <a:pt x="506922" y="275751"/>
                    <a:pt x="506922" y="292069"/>
                  </a:cubicBezTo>
                  <a:cubicBezTo>
                    <a:pt x="506922" y="302947"/>
                    <a:pt x="506922" y="311106"/>
                    <a:pt x="506922" y="321985"/>
                  </a:cubicBezTo>
                  <a:cubicBezTo>
                    <a:pt x="506922" y="327424"/>
                    <a:pt x="509642" y="335583"/>
                    <a:pt x="509642" y="341022"/>
                  </a:cubicBezTo>
                  <a:cubicBezTo>
                    <a:pt x="509642" y="343742"/>
                    <a:pt x="509642" y="343742"/>
                    <a:pt x="509642" y="343742"/>
                  </a:cubicBezTo>
                  <a:cubicBezTo>
                    <a:pt x="509642" y="349181"/>
                    <a:pt x="515081" y="349181"/>
                    <a:pt x="517800" y="349181"/>
                  </a:cubicBezTo>
                  <a:cubicBezTo>
                    <a:pt x="520520" y="349181"/>
                    <a:pt x="523240" y="349181"/>
                    <a:pt x="528680" y="349181"/>
                  </a:cubicBezTo>
                  <a:cubicBezTo>
                    <a:pt x="536838" y="349181"/>
                    <a:pt x="547717" y="349181"/>
                    <a:pt x="550437" y="357340"/>
                  </a:cubicBezTo>
                  <a:cubicBezTo>
                    <a:pt x="550437" y="360060"/>
                    <a:pt x="550437" y="360060"/>
                    <a:pt x="550437" y="362780"/>
                  </a:cubicBezTo>
                  <a:cubicBezTo>
                    <a:pt x="550437" y="370939"/>
                    <a:pt x="539558" y="381817"/>
                    <a:pt x="534119" y="384537"/>
                  </a:cubicBezTo>
                  <a:cubicBezTo>
                    <a:pt x="531399" y="387257"/>
                    <a:pt x="523240" y="387257"/>
                    <a:pt x="520520" y="389976"/>
                  </a:cubicBezTo>
                  <a:cubicBezTo>
                    <a:pt x="515081" y="389976"/>
                    <a:pt x="512362" y="392696"/>
                    <a:pt x="512362" y="395415"/>
                  </a:cubicBezTo>
                  <a:cubicBezTo>
                    <a:pt x="512362" y="395415"/>
                    <a:pt x="512362" y="398135"/>
                    <a:pt x="512362" y="398135"/>
                  </a:cubicBezTo>
                  <a:cubicBezTo>
                    <a:pt x="512362" y="400855"/>
                    <a:pt x="512362" y="406294"/>
                    <a:pt x="512362" y="409014"/>
                  </a:cubicBezTo>
                  <a:cubicBezTo>
                    <a:pt x="512362" y="411733"/>
                    <a:pt x="512362" y="411733"/>
                    <a:pt x="512362" y="414453"/>
                  </a:cubicBezTo>
                  <a:cubicBezTo>
                    <a:pt x="512362" y="422612"/>
                    <a:pt x="512362" y="430771"/>
                    <a:pt x="512362" y="438930"/>
                  </a:cubicBezTo>
                  <a:cubicBezTo>
                    <a:pt x="512362" y="460687"/>
                    <a:pt x="512362" y="482445"/>
                    <a:pt x="515081" y="504202"/>
                  </a:cubicBezTo>
                  <a:cubicBezTo>
                    <a:pt x="517800" y="525959"/>
                    <a:pt x="520520" y="550436"/>
                    <a:pt x="520520" y="572193"/>
                  </a:cubicBezTo>
                  <a:cubicBezTo>
                    <a:pt x="520520" y="583072"/>
                    <a:pt x="520520" y="593950"/>
                    <a:pt x="517800" y="604829"/>
                  </a:cubicBezTo>
                  <a:cubicBezTo>
                    <a:pt x="515081" y="623867"/>
                    <a:pt x="515081" y="642904"/>
                    <a:pt x="512362" y="661942"/>
                  </a:cubicBezTo>
                  <a:cubicBezTo>
                    <a:pt x="512362" y="664661"/>
                    <a:pt x="509642" y="667381"/>
                    <a:pt x="509642" y="670101"/>
                  </a:cubicBezTo>
                  <a:cubicBezTo>
                    <a:pt x="509642" y="672820"/>
                    <a:pt x="512362" y="678260"/>
                    <a:pt x="512362" y="680979"/>
                  </a:cubicBezTo>
                  <a:cubicBezTo>
                    <a:pt x="512362" y="683699"/>
                    <a:pt x="512362" y="686419"/>
                    <a:pt x="512362" y="686419"/>
                  </a:cubicBezTo>
                  <a:cubicBezTo>
                    <a:pt x="517800" y="680979"/>
                    <a:pt x="528680" y="680979"/>
                    <a:pt x="536838" y="680979"/>
                  </a:cubicBezTo>
                  <a:lnTo>
                    <a:pt x="536838" y="680979"/>
                  </a:ln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/>
            </a:p>
          </p:txBody>
        </p:sp>
        <p:sp>
          <p:nvSpPr>
            <p:cNvPr id="51" name="Freeform: Shape 50">
              <a:extLst>
                <a:ext uri="{FF2B5EF4-FFF2-40B4-BE49-F238E27FC236}">
                  <a16:creationId xmlns:a16="http://schemas.microsoft.com/office/drawing/2014/main" id="{770B250B-5E32-415B-935F-9E658C929AD5}"/>
                </a:ext>
              </a:extLst>
            </p:cNvPr>
            <p:cNvSpPr/>
            <p:nvPr/>
          </p:nvSpPr>
          <p:spPr>
            <a:xfrm>
              <a:off x="9592416" y="4192158"/>
              <a:ext cx="516735" cy="761503"/>
            </a:xfrm>
            <a:custGeom>
              <a:avLst/>
              <a:gdLst>
                <a:gd name="connsiteX0" fmla="*/ 463407 w 516735"/>
                <a:gd name="connsiteY0" fmla="*/ 194161 h 761503"/>
                <a:gd name="connsiteX1" fmla="*/ 447089 w 516735"/>
                <a:gd name="connsiteY1" fmla="*/ 226797 h 761503"/>
                <a:gd name="connsiteX2" fmla="*/ 430771 w 516735"/>
                <a:gd name="connsiteY2" fmla="*/ 221357 h 761503"/>
                <a:gd name="connsiteX3" fmla="*/ 422612 w 516735"/>
                <a:gd name="connsiteY3" fmla="*/ 207759 h 761503"/>
                <a:gd name="connsiteX4" fmla="*/ 419893 w 516735"/>
                <a:gd name="connsiteY4" fmla="*/ 188722 h 761503"/>
                <a:gd name="connsiteX5" fmla="*/ 419893 w 516735"/>
                <a:gd name="connsiteY5" fmla="*/ 139768 h 761503"/>
                <a:gd name="connsiteX6" fmla="*/ 419893 w 516735"/>
                <a:gd name="connsiteY6" fmla="*/ 120730 h 761503"/>
                <a:gd name="connsiteX7" fmla="*/ 395416 w 516735"/>
                <a:gd name="connsiteY7" fmla="*/ 120730 h 761503"/>
                <a:gd name="connsiteX8" fmla="*/ 370939 w 516735"/>
                <a:gd name="connsiteY8" fmla="*/ 120730 h 761503"/>
                <a:gd name="connsiteX9" fmla="*/ 346461 w 516735"/>
                <a:gd name="connsiteY9" fmla="*/ 123450 h 761503"/>
                <a:gd name="connsiteX10" fmla="*/ 335583 w 516735"/>
                <a:gd name="connsiteY10" fmla="*/ 123450 h 761503"/>
                <a:gd name="connsiteX11" fmla="*/ 335583 w 516735"/>
                <a:gd name="connsiteY11" fmla="*/ 123450 h 761503"/>
                <a:gd name="connsiteX12" fmla="*/ 324704 w 516735"/>
                <a:gd name="connsiteY12" fmla="*/ 128889 h 761503"/>
                <a:gd name="connsiteX13" fmla="*/ 327424 w 516735"/>
                <a:gd name="connsiteY13" fmla="*/ 139768 h 761503"/>
                <a:gd name="connsiteX14" fmla="*/ 330144 w 516735"/>
                <a:gd name="connsiteY14" fmla="*/ 175123 h 761503"/>
                <a:gd name="connsiteX15" fmla="*/ 330144 w 516735"/>
                <a:gd name="connsiteY15" fmla="*/ 199600 h 761503"/>
                <a:gd name="connsiteX16" fmla="*/ 327424 w 516735"/>
                <a:gd name="connsiteY16" fmla="*/ 224077 h 761503"/>
                <a:gd name="connsiteX17" fmla="*/ 330144 w 516735"/>
                <a:gd name="connsiteY17" fmla="*/ 251274 h 761503"/>
                <a:gd name="connsiteX18" fmla="*/ 327424 w 516735"/>
                <a:gd name="connsiteY18" fmla="*/ 278470 h 761503"/>
                <a:gd name="connsiteX19" fmla="*/ 327424 w 516735"/>
                <a:gd name="connsiteY19" fmla="*/ 332864 h 761503"/>
                <a:gd name="connsiteX20" fmla="*/ 330144 w 516735"/>
                <a:gd name="connsiteY20" fmla="*/ 357340 h 761503"/>
                <a:gd name="connsiteX21" fmla="*/ 330144 w 516735"/>
                <a:gd name="connsiteY21" fmla="*/ 368219 h 761503"/>
                <a:gd name="connsiteX22" fmla="*/ 332863 w 516735"/>
                <a:gd name="connsiteY22" fmla="*/ 387257 h 761503"/>
                <a:gd name="connsiteX23" fmla="*/ 332863 w 516735"/>
                <a:gd name="connsiteY23" fmla="*/ 433491 h 761503"/>
                <a:gd name="connsiteX24" fmla="*/ 332863 w 516735"/>
                <a:gd name="connsiteY24" fmla="*/ 487884 h 761503"/>
                <a:gd name="connsiteX25" fmla="*/ 330144 w 516735"/>
                <a:gd name="connsiteY25" fmla="*/ 512361 h 761503"/>
                <a:gd name="connsiteX26" fmla="*/ 330144 w 516735"/>
                <a:gd name="connsiteY26" fmla="*/ 539557 h 761503"/>
                <a:gd name="connsiteX27" fmla="*/ 332863 w 516735"/>
                <a:gd name="connsiteY27" fmla="*/ 593950 h 761503"/>
                <a:gd name="connsiteX28" fmla="*/ 332863 w 516735"/>
                <a:gd name="connsiteY28" fmla="*/ 648343 h 761503"/>
                <a:gd name="connsiteX29" fmla="*/ 332863 w 516735"/>
                <a:gd name="connsiteY29" fmla="*/ 656502 h 761503"/>
                <a:gd name="connsiteX30" fmla="*/ 357341 w 516735"/>
                <a:gd name="connsiteY30" fmla="*/ 656502 h 761503"/>
                <a:gd name="connsiteX31" fmla="*/ 395416 w 516735"/>
                <a:gd name="connsiteY31" fmla="*/ 675540 h 761503"/>
                <a:gd name="connsiteX32" fmla="*/ 389976 w 516735"/>
                <a:gd name="connsiteY32" fmla="*/ 691858 h 761503"/>
                <a:gd name="connsiteX33" fmla="*/ 373658 w 516735"/>
                <a:gd name="connsiteY33" fmla="*/ 700017 h 761503"/>
                <a:gd name="connsiteX34" fmla="*/ 351901 w 516735"/>
                <a:gd name="connsiteY34" fmla="*/ 702737 h 761503"/>
                <a:gd name="connsiteX35" fmla="*/ 319265 w 516735"/>
                <a:gd name="connsiteY35" fmla="*/ 702737 h 761503"/>
                <a:gd name="connsiteX36" fmla="*/ 311106 w 516735"/>
                <a:gd name="connsiteY36" fmla="*/ 708176 h 761503"/>
                <a:gd name="connsiteX37" fmla="*/ 289349 w 516735"/>
                <a:gd name="connsiteY37" fmla="*/ 713615 h 761503"/>
                <a:gd name="connsiteX38" fmla="*/ 270311 w 516735"/>
                <a:gd name="connsiteY38" fmla="*/ 713615 h 761503"/>
                <a:gd name="connsiteX39" fmla="*/ 243115 w 516735"/>
                <a:gd name="connsiteY39" fmla="*/ 705456 h 761503"/>
                <a:gd name="connsiteX40" fmla="*/ 237675 w 516735"/>
                <a:gd name="connsiteY40" fmla="*/ 702737 h 761503"/>
                <a:gd name="connsiteX41" fmla="*/ 199600 w 516735"/>
                <a:gd name="connsiteY41" fmla="*/ 702737 h 761503"/>
                <a:gd name="connsiteX42" fmla="*/ 175123 w 516735"/>
                <a:gd name="connsiteY42" fmla="*/ 702737 h 761503"/>
                <a:gd name="connsiteX43" fmla="*/ 147927 w 516735"/>
                <a:gd name="connsiteY43" fmla="*/ 697297 h 761503"/>
                <a:gd name="connsiteX44" fmla="*/ 131609 w 516735"/>
                <a:gd name="connsiteY44" fmla="*/ 678260 h 761503"/>
                <a:gd name="connsiteX45" fmla="*/ 137048 w 516735"/>
                <a:gd name="connsiteY45" fmla="*/ 670101 h 761503"/>
                <a:gd name="connsiteX46" fmla="*/ 158805 w 516735"/>
                <a:gd name="connsiteY46" fmla="*/ 661942 h 761503"/>
                <a:gd name="connsiteX47" fmla="*/ 199600 w 516735"/>
                <a:gd name="connsiteY47" fmla="*/ 659222 h 761503"/>
                <a:gd name="connsiteX48" fmla="*/ 199600 w 516735"/>
                <a:gd name="connsiteY48" fmla="*/ 659222 h 761503"/>
                <a:gd name="connsiteX49" fmla="*/ 196880 w 516735"/>
                <a:gd name="connsiteY49" fmla="*/ 629306 h 761503"/>
                <a:gd name="connsiteX50" fmla="*/ 199600 w 516735"/>
                <a:gd name="connsiteY50" fmla="*/ 574913 h 761503"/>
                <a:gd name="connsiteX51" fmla="*/ 202320 w 516735"/>
                <a:gd name="connsiteY51" fmla="*/ 523239 h 761503"/>
                <a:gd name="connsiteX52" fmla="*/ 205040 w 516735"/>
                <a:gd name="connsiteY52" fmla="*/ 460687 h 761503"/>
                <a:gd name="connsiteX53" fmla="*/ 205040 w 516735"/>
                <a:gd name="connsiteY53" fmla="*/ 417173 h 761503"/>
                <a:gd name="connsiteX54" fmla="*/ 207759 w 516735"/>
                <a:gd name="connsiteY54" fmla="*/ 392696 h 761503"/>
                <a:gd name="connsiteX55" fmla="*/ 210478 w 516735"/>
                <a:gd name="connsiteY55" fmla="*/ 368219 h 761503"/>
                <a:gd name="connsiteX56" fmla="*/ 210478 w 516735"/>
                <a:gd name="connsiteY56" fmla="*/ 313826 h 761503"/>
                <a:gd name="connsiteX57" fmla="*/ 210478 w 516735"/>
                <a:gd name="connsiteY57" fmla="*/ 259433 h 761503"/>
                <a:gd name="connsiteX58" fmla="*/ 210478 w 516735"/>
                <a:gd name="connsiteY58" fmla="*/ 213199 h 761503"/>
                <a:gd name="connsiteX59" fmla="*/ 210478 w 516735"/>
                <a:gd name="connsiteY59" fmla="*/ 145207 h 761503"/>
                <a:gd name="connsiteX60" fmla="*/ 213198 w 516735"/>
                <a:gd name="connsiteY60" fmla="*/ 131609 h 761503"/>
                <a:gd name="connsiteX61" fmla="*/ 205040 w 516735"/>
                <a:gd name="connsiteY61" fmla="*/ 123450 h 761503"/>
                <a:gd name="connsiteX62" fmla="*/ 161525 w 516735"/>
                <a:gd name="connsiteY62" fmla="*/ 123450 h 761503"/>
                <a:gd name="connsiteX63" fmla="*/ 112571 w 516735"/>
                <a:gd name="connsiteY63" fmla="*/ 120730 h 761503"/>
                <a:gd name="connsiteX64" fmla="*/ 104412 w 516735"/>
                <a:gd name="connsiteY64" fmla="*/ 118011 h 761503"/>
                <a:gd name="connsiteX65" fmla="*/ 107132 w 516735"/>
                <a:gd name="connsiteY65" fmla="*/ 191441 h 761503"/>
                <a:gd name="connsiteX66" fmla="*/ 90814 w 516735"/>
                <a:gd name="connsiteY66" fmla="*/ 224077 h 761503"/>
                <a:gd name="connsiteX67" fmla="*/ 74496 w 516735"/>
                <a:gd name="connsiteY67" fmla="*/ 218638 h 761503"/>
                <a:gd name="connsiteX68" fmla="*/ 66337 w 516735"/>
                <a:gd name="connsiteY68" fmla="*/ 205040 h 761503"/>
                <a:gd name="connsiteX69" fmla="*/ 63617 w 516735"/>
                <a:gd name="connsiteY69" fmla="*/ 186002 h 761503"/>
                <a:gd name="connsiteX70" fmla="*/ 63617 w 516735"/>
                <a:gd name="connsiteY70" fmla="*/ 145207 h 761503"/>
                <a:gd name="connsiteX71" fmla="*/ 63617 w 516735"/>
                <a:gd name="connsiteY71" fmla="*/ 109852 h 761503"/>
                <a:gd name="connsiteX72" fmla="*/ 58178 w 516735"/>
                <a:gd name="connsiteY72" fmla="*/ 96253 h 761503"/>
                <a:gd name="connsiteX73" fmla="*/ 66337 w 516735"/>
                <a:gd name="connsiteY73" fmla="*/ 85375 h 761503"/>
                <a:gd name="connsiteX74" fmla="*/ 93533 w 516735"/>
                <a:gd name="connsiteY74" fmla="*/ 77216 h 761503"/>
                <a:gd name="connsiteX75" fmla="*/ 115290 w 516735"/>
                <a:gd name="connsiteY75" fmla="*/ 77216 h 761503"/>
                <a:gd name="connsiteX76" fmla="*/ 169684 w 516735"/>
                <a:gd name="connsiteY76" fmla="*/ 74496 h 761503"/>
                <a:gd name="connsiteX77" fmla="*/ 194161 w 516735"/>
                <a:gd name="connsiteY77" fmla="*/ 71776 h 761503"/>
                <a:gd name="connsiteX78" fmla="*/ 196880 w 516735"/>
                <a:gd name="connsiteY78" fmla="*/ 71776 h 761503"/>
                <a:gd name="connsiteX79" fmla="*/ 210478 w 516735"/>
                <a:gd name="connsiteY79" fmla="*/ 71776 h 761503"/>
                <a:gd name="connsiteX80" fmla="*/ 218638 w 516735"/>
                <a:gd name="connsiteY80" fmla="*/ 71776 h 761503"/>
                <a:gd name="connsiteX81" fmla="*/ 237675 w 516735"/>
                <a:gd name="connsiteY81" fmla="*/ 60898 h 761503"/>
                <a:gd name="connsiteX82" fmla="*/ 253993 w 516735"/>
                <a:gd name="connsiteY82" fmla="*/ 58178 h 761503"/>
                <a:gd name="connsiteX83" fmla="*/ 283910 w 516735"/>
                <a:gd name="connsiteY83" fmla="*/ 60898 h 761503"/>
                <a:gd name="connsiteX84" fmla="*/ 294788 w 516735"/>
                <a:gd name="connsiteY84" fmla="*/ 66337 h 761503"/>
                <a:gd name="connsiteX85" fmla="*/ 305667 w 516735"/>
                <a:gd name="connsiteY85" fmla="*/ 74496 h 761503"/>
                <a:gd name="connsiteX86" fmla="*/ 313826 w 516735"/>
                <a:gd name="connsiteY86" fmla="*/ 74496 h 761503"/>
                <a:gd name="connsiteX87" fmla="*/ 327424 w 516735"/>
                <a:gd name="connsiteY87" fmla="*/ 74496 h 761503"/>
                <a:gd name="connsiteX88" fmla="*/ 354621 w 516735"/>
                <a:gd name="connsiteY88" fmla="*/ 74496 h 761503"/>
                <a:gd name="connsiteX89" fmla="*/ 422612 w 516735"/>
                <a:gd name="connsiteY89" fmla="*/ 74496 h 761503"/>
                <a:gd name="connsiteX90" fmla="*/ 455248 w 516735"/>
                <a:gd name="connsiteY90" fmla="*/ 79936 h 761503"/>
                <a:gd name="connsiteX91" fmla="*/ 466127 w 516735"/>
                <a:gd name="connsiteY91" fmla="*/ 98973 h 761503"/>
                <a:gd name="connsiteX92" fmla="*/ 463407 w 516735"/>
                <a:gd name="connsiteY92" fmla="*/ 109852 h 761503"/>
                <a:gd name="connsiteX93" fmla="*/ 463407 w 516735"/>
                <a:gd name="connsiteY93" fmla="*/ 120730 h 761503"/>
                <a:gd name="connsiteX94" fmla="*/ 463407 w 516735"/>
                <a:gd name="connsiteY94" fmla="*/ 194161 h 761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</a:cxnLst>
              <a:rect l="l" t="t" r="r" b="b"/>
              <a:pathLst>
                <a:path w="516735" h="761503">
                  <a:moveTo>
                    <a:pt x="463407" y="194161"/>
                  </a:moveTo>
                  <a:cubicBezTo>
                    <a:pt x="463407" y="205040"/>
                    <a:pt x="463407" y="226797"/>
                    <a:pt x="447089" y="226797"/>
                  </a:cubicBezTo>
                  <a:cubicBezTo>
                    <a:pt x="438930" y="226797"/>
                    <a:pt x="436211" y="226797"/>
                    <a:pt x="430771" y="221357"/>
                  </a:cubicBezTo>
                  <a:cubicBezTo>
                    <a:pt x="425332" y="218638"/>
                    <a:pt x="422612" y="210479"/>
                    <a:pt x="422612" y="207759"/>
                  </a:cubicBezTo>
                  <a:cubicBezTo>
                    <a:pt x="419893" y="199600"/>
                    <a:pt x="419893" y="194161"/>
                    <a:pt x="419893" y="188722"/>
                  </a:cubicBezTo>
                  <a:cubicBezTo>
                    <a:pt x="419893" y="183282"/>
                    <a:pt x="419893" y="147927"/>
                    <a:pt x="419893" y="139768"/>
                  </a:cubicBezTo>
                  <a:cubicBezTo>
                    <a:pt x="419893" y="134329"/>
                    <a:pt x="419893" y="128889"/>
                    <a:pt x="419893" y="120730"/>
                  </a:cubicBezTo>
                  <a:cubicBezTo>
                    <a:pt x="411734" y="120730"/>
                    <a:pt x="403574" y="120730"/>
                    <a:pt x="395416" y="120730"/>
                  </a:cubicBezTo>
                  <a:cubicBezTo>
                    <a:pt x="387256" y="120730"/>
                    <a:pt x="379098" y="120730"/>
                    <a:pt x="370939" y="120730"/>
                  </a:cubicBezTo>
                  <a:cubicBezTo>
                    <a:pt x="362780" y="120730"/>
                    <a:pt x="354621" y="123450"/>
                    <a:pt x="346461" y="123450"/>
                  </a:cubicBezTo>
                  <a:cubicBezTo>
                    <a:pt x="343742" y="123450"/>
                    <a:pt x="341023" y="123450"/>
                    <a:pt x="335583" y="123450"/>
                  </a:cubicBezTo>
                  <a:cubicBezTo>
                    <a:pt x="335583" y="123450"/>
                    <a:pt x="335583" y="123450"/>
                    <a:pt x="335583" y="123450"/>
                  </a:cubicBezTo>
                  <a:cubicBezTo>
                    <a:pt x="327424" y="123450"/>
                    <a:pt x="324704" y="126170"/>
                    <a:pt x="324704" y="128889"/>
                  </a:cubicBezTo>
                  <a:cubicBezTo>
                    <a:pt x="324704" y="131609"/>
                    <a:pt x="324704" y="137048"/>
                    <a:pt x="327424" y="139768"/>
                  </a:cubicBezTo>
                  <a:cubicBezTo>
                    <a:pt x="330144" y="147927"/>
                    <a:pt x="330144" y="166964"/>
                    <a:pt x="330144" y="175123"/>
                  </a:cubicBezTo>
                  <a:cubicBezTo>
                    <a:pt x="330144" y="183282"/>
                    <a:pt x="330144" y="191441"/>
                    <a:pt x="330144" y="199600"/>
                  </a:cubicBezTo>
                  <a:cubicBezTo>
                    <a:pt x="330144" y="207759"/>
                    <a:pt x="327424" y="215918"/>
                    <a:pt x="327424" y="224077"/>
                  </a:cubicBezTo>
                  <a:cubicBezTo>
                    <a:pt x="327424" y="232236"/>
                    <a:pt x="330144" y="243115"/>
                    <a:pt x="330144" y="251274"/>
                  </a:cubicBezTo>
                  <a:cubicBezTo>
                    <a:pt x="330144" y="259433"/>
                    <a:pt x="330144" y="267592"/>
                    <a:pt x="327424" y="278470"/>
                  </a:cubicBezTo>
                  <a:cubicBezTo>
                    <a:pt x="327424" y="294788"/>
                    <a:pt x="327424" y="313826"/>
                    <a:pt x="327424" y="332864"/>
                  </a:cubicBezTo>
                  <a:cubicBezTo>
                    <a:pt x="327424" y="341022"/>
                    <a:pt x="327424" y="349181"/>
                    <a:pt x="330144" y="357340"/>
                  </a:cubicBezTo>
                  <a:cubicBezTo>
                    <a:pt x="330144" y="360060"/>
                    <a:pt x="330144" y="365499"/>
                    <a:pt x="330144" y="368219"/>
                  </a:cubicBezTo>
                  <a:cubicBezTo>
                    <a:pt x="330144" y="373658"/>
                    <a:pt x="332863" y="384537"/>
                    <a:pt x="332863" y="387257"/>
                  </a:cubicBezTo>
                  <a:cubicBezTo>
                    <a:pt x="332863" y="406294"/>
                    <a:pt x="332863" y="414453"/>
                    <a:pt x="332863" y="433491"/>
                  </a:cubicBezTo>
                  <a:cubicBezTo>
                    <a:pt x="332863" y="452528"/>
                    <a:pt x="335583" y="468846"/>
                    <a:pt x="332863" y="487884"/>
                  </a:cubicBezTo>
                  <a:cubicBezTo>
                    <a:pt x="332863" y="496043"/>
                    <a:pt x="330144" y="504202"/>
                    <a:pt x="330144" y="512361"/>
                  </a:cubicBezTo>
                  <a:cubicBezTo>
                    <a:pt x="330144" y="520520"/>
                    <a:pt x="330144" y="531398"/>
                    <a:pt x="330144" y="539557"/>
                  </a:cubicBezTo>
                  <a:cubicBezTo>
                    <a:pt x="330144" y="558595"/>
                    <a:pt x="330144" y="574913"/>
                    <a:pt x="332863" y="593950"/>
                  </a:cubicBezTo>
                  <a:cubicBezTo>
                    <a:pt x="332863" y="610268"/>
                    <a:pt x="332863" y="632026"/>
                    <a:pt x="332863" y="648343"/>
                  </a:cubicBezTo>
                  <a:cubicBezTo>
                    <a:pt x="332863" y="651063"/>
                    <a:pt x="332863" y="653783"/>
                    <a:pt x="332863" y="656502"/>
                  </a:cubicBezTo>
                  <a:cubicBezTo>
                    <a:pt x="343742" y="656502"/>
                    <a:pt x="351901" y="656502"/>
                    <a:pt x="357341" y="656502"/>
                  </a:cubicBezTo>
                  <a:cubicBezTo>
                    <a:pt x="370939" y="656502"/>
                    <a:pt x="395416" y="659222"/>
                    <a:pt x="395416" y="675540"/>
                  </a:cubicBezTo>
                  <a:cubicBezTo>
                    <a:pt x="395416" y="683699"/>
                    <a:pt x="392696" y="686419"/>
                    <a:pt x="389976" y="691858"/>
                  </a:cubicBezTo>
                  <a:cubicBezTo>
                    <a:pt x="384537" y="697297"/>
                    <a:pt x="379098" y="700017"/>
                    <a:pt x="373658" y="700017"/>
                  </a:cubicBezTo>
                  <a:cubicBezTo>
                    <a:pt x="365499" y="702737"/>
                    <a:pt x="357341" y="702737"/>
                    <a:pt x="351901" y="702737"/>
                  </a:cubicBezTo>
                  <a:cubicBezTo>
                    <a:pt x="349181" y="702737"/>
                    <a:pt x="335583" y="702737"/>
                    <a:pt x="319265" y="702737"/>
                  </a:cubicBezTo>
                  <a:cubicBezTo>
                    <a:pt x="316546" y="705456"/>
                    <a:pt x="313826" y="705456"/>
                    <a:pt x="311106" y="708176"/>
                  </a:cubicBezTo>
                  <a:cubicBezTo>
                    <a:pt x="302948" y="713615"/>
                    <a:pt x="297508" y="713615"/>
                    <a:pt x="289349" y="713615"/>
                  </a:cubicBezTo>
                  <a:cubicBezTo>
                    <a:pt x="283910" y="713615"/>
                    <a:pt x="278470" y="713615"/>
                    <a:pt x="270311" y="713615"/>
                  </a:cubicBezTo>
                  <a:cubicBezTo>
                    <a:pt x="259433" y="713615"/>
                    <a:pt x="251273" y="710895"/>
                    <a:pt x="243115" y="705456"/>
                  </a:cubicBezTo>
                  <a:cubicBezTo>
                    <a:pt x="240395" y="705456"/>
                    <a:pt x="237675" y="702737"/>
                    <a:pt x="237675" y="702737"/>
                  </a:cubicBezTo>
                  <a:cubicBezTo>
                    <a:pt x="224077" y="702737"/>
                    <a:pt x="213198" y="702737"/>
                    <a:pt x="199600" y="702737"/>
                  </a:cubicBezTo>
                  <a:cubicBezTo>
                    <a:pt x="191441" y="702737"/>
                    <a:pt x="183282" y="702737"/>
                    <a:pt x="175123" y="702737"/>
                  </a:cubicBezTo>
                  <a:cubicBezTo>
                    <a:pt x="166965" y="702737"/>
                    <a:pt x="156085" y="702737"/>
                    <a:pt x="147927" y="697297"/>
                  </a:cubicBezTo>
                  <a:cubicBezTo>
                    <a:pt x="139768" y="694578"/>
                    <a:pt x="131609" y="680979"/>
                    <a:pt x="131609" y="678260"/>
                  </a:cubicBezTo>
                  <a:cubicBezTo>
                    <a:pt x="131609" y="675540"/>
                    <a:pt x="131609" y="672820"/>
                    <a:pt x="137048" y="670101"/>
                  </a:cubicBezTo>
                  <a:cubicBezTo>
                    <a:pt x="142487" y="667381"/>
                    <a:pt x="153366" y="664661"/>
                    <a:pt x="158805" y="661942"/>
                  </a:cubicBezTo>
                  <a:cubicBezTo>
                    <a:pt x="175123" y="659222"/>
                    <a:pt x="191441" y="659222"/>
                    <a:pt x="199600" y="659222"/>
                  </a:cubicBezTo>
                  <a:lnTo>
                    <a:pt x="199600" y="659222"/>
                  </a:lnTo>
                  <a:cubicBezTo>
                    <a:pt x="199600" y="648343"/>
                    <a:pt x="196880" y="640184"/>
                    <a:pt x="196880" y="629306"/>
                  </a:cubicBezTo>
                  <a:cubicBezTo>
                    <a:pt x="196880" y="612988"/>
                    <a:pt x="196880" y="591231"/>
                    <a:pt x="199600" y="574913"/>
                  </a:cubicBezTo>
                  <a:cubicBezTo>
                    <a:pt x="199600" y="558595"/>
                    <a:pt x="199600" y="539557"/>
                    <a:pt x="202320" y="523239"/>
                  </a:cubicBezTo>
                  <a:cubicBezTo>
                    <a:pt x="202320" y="501482"/>
                    <a:pt x="205040" y="482445"/>
                    <a:pt x="205040" y="460687"/>
                  </a:cubicBezTo>
                  <a:cubicBezTo>
                    <a:pt x="205040" y="447089"/>
                    <a:pt x="205040" y="430771"/>
                    <a:pt x="205040" y="417173"/>
                  </a:cubicBezTo>
                  <a:cubicBezTo>
                    <a:pt x="205040" y="409014"/>
                    <a:pt x="207759" y="400855"/>
                    <a:pt x="207759" y="392696"/>
                  </a:cubicBezTo>
                  <a:cubicBezTo>
                    <a:pt x="207759" y="384537"/>
                    <a:pt x="210478" y="376378"/>
                    <a:pt x="210478" y="368219"/>
                  </a:cubicBezTo>
                  <a:cubicBezTo>
                    <a:pt x="210478" y="351901"/>
                    <a:pt x="210478" y="332864"/>
                    <a:pt x="210478" y="313826"/>
                  </a:cubicBezTo>
                  <a:cubicBezTo>
                    <a:pt x="210478" y="294788"/>
                    <a:pt x="210478" y="275751"/>
                    <a:pt x="210478" y="259433"/>
                  </a:cubicBezTo>
                  <a:cubicBezTo>
                    <a:pt x="210478" y="243115"/>
                    <a:pt x="210478" y="226797"/>
                    <a:pt x="210478" y="213199"/>
                  </a:cubicBezTo>
                  <a:cubicBezTo>
                    <a:pt x="210478" y="194161"/>
                    <a:pt x="210478" y="164245"/>
                    <a:pt x="210478" y="145207"/>
                  </a:cubicBezTo>
                  <a:cubicBezTo>
                    <a:pt x="210478" y="139768"/>
                    <a:pt x="213198" y="134329"/>
                    <a:pt x="213198" y="131609"/>
                  </a:cubicBezTo>
                  <a:cubicBezTo>
                    <a:pt x="213198" y="126170"/>
                    <a:pt x="207759" y="123450"/>
                    <a:pt x="205040" y="123450"/>
                  </a:cubicBezTo>
                  <a:cubicBezTo>
                    <a:pt x="199600" y="123450"/>
                    <a:pt x="166965" y="123450"/>
                    <a:pt x="161525" y="123450"/>
                  </a:cubicBezTo>
                  <a:cubicBezTo>
                    <a:pt x="145207" y="123450"/>
                    <a:pt x="128889" y="123450"/>
                    <a:pt x="112571" y="120730"/>
                  </a:cubicBezTo>
                  <a:cubicBezTo>
                    <a:pt x="109852" y="120730"/>
                    <a:pt x="107132" y="120730"/>
                    <a:pt x="104412" y="118011"/>
                  </a:cubicBezTo>
                  <a:cubicBezTo>
                    <a:pt x="107132" y="137048"/>
                    <a:pt x="107132" y="172404"/>
                    <a:pt x="107132" y="191441"/>
                  </a:cubicBezTo>
                  <a:cubicBezTo>
                    <a:pt x="107132" y="202320"/>
                    <a:pt x="107132" y="224077"/>
                    <a:pt x="90814" y="224077"/>
                  </a:cubicBezTo>
                  <a:cubicBezTo>
                    <a:pt x="82655" y="224077"/>
                    <a:pt x="79935" y="221357"/>
                    <a:pt x="74496" y="218638"/>
                  </a:cubicBezTo>
                  <a:cubicBezTo>
                    <a:pt x="69057" y="215918"/>
                    <a:pt x="66337" y="210479"/>
                    <a:pt x="66337" y="205040"/>
                  </a:cubicBezTo>
                  <a:cubicBezTo>
                    <a:pt x="63617" y="196881"/>
                    <a:pt x="63617" y="191441"/>
                    <a:pt x="63617" y="186002"/>
                  </a:cubicBezTo>
                  <a:cubicBezTo>
                    <a:pt x="63617" y="180563"/>
                    <a:pt x="63617" y="153366"/>
                    <a:pt x="63617" y="145207"/>
                  </a:cubicBezTo>
                  <a:cubicBezTo>
                    <a:pt x="63617" y="134329"/>
                    <a:pt x="63617" y="120730"/>
                    <a:pt x="63617" y="109852"/>
                  </a:cubicBezTo>
                  <a:cubicBezTo>
                    <a:pt x="60897" y="104412"/>
                    <a:pt x="58178" y="101693"/>
                    <a:pt x="58178" y="96253"/>
                  </a:cubicBezTo>
                  <a:cubicBezTo>
                    <a:pt x="58178" y="93534"/>
                    <a:pt x="60897" y="88095"/>
                    <a:pt x="66337" y="85375"/>
                  </a:cubicBezTo>
                  <a:cubicBezTo>
                    <a:pt x="74496" y="79936"/>
                    <a:pt x="77215" y="77216"/>
                    <a:pt x="93533" y="77216"/>
                  </a:cubicBezTo>
                  <a:cubicBezTo>
                    <a:pt x="101692" y="77216"/>
                    <a:pt x="109852" y="77216"/>
                    <a:pt x="115290" y="77216"/>
                  </a:cubicBezTo>
                  <a:cubicBezTo>
                    <a:pt x="134328" y="77216"/>
                    <a:pt x="150646" y="77216"/>
                    <a:pt x="169684" y="74496"/>
                  </a:cubicBezTo>
                  <a:cubicBezTo>
                    <a:pt x="177843" y="74496"/>
                    <a:pt x="186002" y="71776"/>
                    <a:pt x="194161" y="71776"/>
                  </a:cubicBezTo>
                  <a:cubicBezTo>
                    <a:pt x="194161" y="71776"/>
                    <a:pt x="196880" y="71776"/>
                    <a:pt x="196880" y="71776"/>
                  </a:cubicBezTo>
                  <a:cubicBezTo>
                    <a:pt x="199600" y="71776"/>
                    <a:pt x="205040" y="71776"/>
                    <a:pt x="210478" y="71776"/>
                  </a:cubicBezTo>
                  <a:cubicBezTo>
                    <a:pt x="213198" y="71776"/>
                    <a:pt x="215918" y="71776"/>
                    <a:pt x="218638" y="71776"/>
                  </a:cubicBezTo>
                  <a:cubicBezTo>
                    <a:pt x="224077" y="69057"/>
                    <a:pt x="229516" y="63618"/>
                    <a:pt x="237675" y="60898"/>
                  </a:cubicBezTo>
                  <a:cubicBezTo>
                    <a:pt x="243115" y="58178"/>
                    <a:pt x="248554" y="58178"/>
                    <a:pt x="253993" y="58178"/>
                  </a:cubicBezTo>
                  <a:cubicBezTo>
                    <a:pt x="264872" y="58178"/>
                    <a:pt x="273031" y="58178"/>
                    <a:pt x="283910" y="60898"/>
                  </a:cubicBezTo>
                  <a:cubicBezTo>
                    <a:pt x="286629" y="60898"/>
                    <a:pt x="292068" y="63618"/>
                    <a:pt x="294788" y="66337"/>
                  </a:cubicBezTo>
                  <a:cubicBezTo>
                    <a:pt x="297508" y="69057"/>
                    <a:pt x="302948" y="71776"/>
                    <a:pt x="305667" y="74496"/>
                  </a:cubicBezTo>
                  <a:cubicBezTo>
                    <a:pt x="308386" y="74496"/>
                    <a:pt x="311106" y="74496"/>
                    <a:pt x="313826" y="74496"/>
                  </a:cubicBezTo>
                  <a:cubicBezTo>
                    <a:pt x="319265" y="74496"/>
                    <a:pt x="321985" y="74496"/>
                    <a:pt x="327424" y="74496"/>
                  </a:cubicBezTo>
                  <a:cubicBezTo>
                    <a:pt x="335583" y="74496"/>
                    <a:pt x="346461" y="74496"/>
                    <a:pt x="354621" y="74496"/>
                  </a:cubicBezTo>
                  <a:cubicBezTo>
                    <a:pt x="376378" y="74496"/>
                    <a:pt x="400855" y="74496"/>
                    <a:pt x="422612" y="74496"/>
                  </a:cubicBezTo>
                  <a:cubicBezTo>
                    <a:pt x="433491" y="74496"/>
                    <a:pt x="447089" y="74496"/>
                    <a:pt x="455248" y="79936"/>
                  </a:cubicBezTo>
                  <a:cubicBezTo>
                    <a:pt x="460687" y="82655"/>
                    <a:pt x="466127" y="90814"/>
                    <a:pt x="466127" y="98973"/>
                  </a:cubicBezTo>
                  <a:cubicBezTo>
                    <a:pt x="466127" y="101693"/>
                    <a:pt x="466127" y="107132"/>
                    <a:pt x="463407" y="109852"/>
                  </a:cubicBezTo>
                  <a:cubicBezTo>
                    <a:pt x="463407" y="112571"/>
                    <a:pt x="463407" y="112571"/>
                    <a:pt x="463407" y="120730"/>
                  </a:cubicBezTo>
                  <a:cubicBezTo>
                    <a:pt x="463407" y="142488"/>
                    <a:pt x="463407" y="172404"/>
                    <a:pt x="463407" y="194161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/>
            </a:p>
          </p:txBody>
        </p:sp>
      </p:grpSp>
    </p:spTree>
    <p:extLst>
      <p:ext uri="{BB962C8B-B14F-4D97-AF65-F5344CB8AC3E}">
        <p14:creationId xmlns:p14="http://schemas.microsoft.com/office/powerpoint/2010/main" val="87654942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AB1890A-9F5B-4D33-B25B-84BA80C938A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811000" y="6553200"/>
            <a:ext cx="306083" cy="158953"/>
          </a:xfrm>
        </p:spPr>
        <p:txBody>
          <a:bodyPr/>
          <a:lstStyle>
            <a:lvl1pPr algn="r">
              <a:defRPr/>
            </a:lvl1pPr>
          </a:lstStyle>
          <a:p>
            <a:fld id="{565A54F4-DB31-4FC5-B748-3F06867349C3}" type="slidenum">
              <a:rPr lang="en-US" smtClean="0"/>
              <a:pPr/>
              <a:t>‹N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7310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Pictures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Picture Placeholder 17">
            <a:extLst>
              <a:ext uri="{FF2B5EF4-FFF2-40B4-BE49-F238E27FC236}">
                <a16:creationId xmlns:a16="http://schemas.microsoft.com/office/drawing/2014/main" id="{A63F8DDC-ACF7-4A20-8541-378AD67A6BE4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905999" y="5020104"/>
            <a:ext cx="2797175" cy="1837896"/>
          </a:xfrm>
          <a:custGeom>
            <a:avLst/>
            <a:gdLst>
              <a:gd name="connsiteX0" fmla="*/ 1477209 w 2797175"/>
              <a:gd name="connsiteY0" fmla="*/ 25 h 1837896"/>
              <a:gd name="connsiteX1" fmla="*/ 1754297 w 2797175"/>
              <a:gd name="connsiteY1" fmla="*/ 32364 h 1837896"/>
              <a:gd name="connsiteX2" fmla="*/ 2791755 w 2797175"/>
              <a:gd name="connsiteY2" fmla="*/ 1570484 h 1837896"/>
              <a:gd name="connsiteX3" fmla="*/ 2761264 w 2797175"/>
              <a:gd name="connsiteY3" fmla="*/ 1772753 h 1837896"/>
              <a:gd name="connsiteX4" fmla="*/ 2740822 w 2797175"/>
              <a:gd name="connsiteY4" fmla="*/ 1837896 h 1837896"/>
              <a:gd name="connsiteX5" fmla="*/ 40031 w 2797175"/>
              <a:gd name="connsiteY5" fmla="*/ 1837896 h 1837896"/>
              <a:gd name="connsiteX6" fmla="*/ 14140 w 2797175"/>
              <a:gd name="connsiteY6" fmla="*/ 1713596 h 1837896"/>
              <a:gd name="connsiteX7" fmla="*/ 35516 w 2797175"/>
              <a:gd name="connsiteY7" fmla="*/ 1142084 h 1837896"/>
              <a:gd name="connsiteX8" fmla="*/ 1477209 w 2797175"/>
              <a:gd name="connsiteY8" fmla="*/ 25 h 18378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797175" h="1837896">
                <a:moveTo>
                  <a:pt x="1477209" y="25"/>
                </a:moveTo>
                <a:cubicBezTo>
                  <a:pt x="1570418" y="590"/>
                  <a:pt x="1663325" y="11074"/>
                  <a:pt x="1754297" y="32364"/>
                </a:cubicBezTo>
                <a:cubicBezTo>
                  <a:pt x="2456261" y="197531"/>
                  <a:pt x="2848534" y="884010"/>
                  <a:pt x="2791755" y="1570484"/>
                </a:cubicBezTo>
                <a:cubicBezTo>
                  <a:pt x="2786271" y="1641777"/>
                  <a:pt x="2775928" y="1709139"/>
                  <a:pt x="2761264" y="1772753"/>
                </a:cubicBezTo>
                <a:lnTo>
                  <a:pt x="2740822" y="1837896"/>
                </a:lnTo>
                <a:lnTo>
                  <a:pt x="40031" y="1837896"/>
                </a:lnTo>
                <a:lnTo>
                  <a:pt x="14140" y="1713596"/>
                </a:lnTo>
                <a:cubicBezTo>
                  <a:pt x="-15049" y="1510297"/>
                  <a:pt x="5355" y="1310638"/>
                  <a:pt x="35516" y="1142084"/>
                </a:cubicBezTo>
                <a:cubicBezTo>
                  <a:pt x="157459" y="478188"/>
                  <a:pt x="824742" y="-3925"/>
                  <a:pt x="1477209" y="25"/>
                </a:cubicBezTo>
                <a:close/>
              </a:path>
            </a:pathLst>
          </a:custGeom>
          <a:solidFill>
            <a:srgbClr val="D9D9D9"/>
          </a:solidFill>
        </p:spPr>
        <p:txBody>
          <a:bodyPr wrap="square" tIns="1097280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Arial" panose="020B0604020202020204" pitchFamily="34" charset="0"/>
              <a:buNone/>
              <a:tabLst/>
              <a:defRPr sz="14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dirty="0"/>
              <a:t>Click icon to insert picture</a:t>
            </a:r>
            <a:br>
              <a:rPr dirty="0"/>
            </a:br>
            <a:r>
              <a:rPr dirty="0"/>
              <a:t>(minimum size 320 x 320 pixels)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C2924F1-A0DC-49D4-96C4-A482D4DF75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29100" y="152400"/>
            <a:ext cx="7581902" cy="48533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A32D13B-5124-4E72-BA9F-FE8C6BFCCC0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055389" y="6307159"/>
            <a:ext cx="914400" cy="158954"/>
          </a:xfrm>
          <a:prstGeom prst="rect">
            <a:avLst/>
          </a:prstGeom>
        </p:spPr>
        <p:txBody>
          <a:bodyPr/>
          <a:lstStyle/>
          <a:p>
            <a:fld id="{2EB1475D-EF5B-48A6-8CCB-3BD08F726926}" type="datetimeFigureOut">
              <a:rPr lang="en-US"/>
              <a:pPr/>
              <a:t>3/17/2025</a:t>
            </a:fld>
            <a:endParaRPr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FA0BBFE-DFC3-45FF-B281-F9BC65C1B49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32534" y="6307159"/>
            <a:ext cx="7104770" cy="158954"/>
          </a:xfrm>
          <a:prstGeom prst="rect">
            <a:avLst/>
          </a:prstGeom>
        </p:spPr>
        <p:txBody>
          <a:bodyPr/>
          <a:lstStyle/>
          <a:p>
            <a:endParaRPr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B7E582E-199C-40D6-A654-4D49AF0C7D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5A54F4-DB31-4FC5-B748-3F06867349C3}" type="slidenum">
              <a:rPr/>
              <a:pPr/>
              <a:t>‹N›</a:t>
            </a:fld>
            <a:endParaRPr dirty="0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C7104F46-245D-486A-B90A-2D0951EDC204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4229100" y="1383792"/>
            <a:ext cx="7581900" cy="4636008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t>Click to add text or choose an icon below to insert other content</a:t>
            </a:r>
          </a:p>
          <a:p>
            <a:pPr lvl="1"/>
            <a:r>
              <a:t>Second level</a:t>
            </a:r>
          </a:p>
          <a:p>
            <a:pPr lvl="2"/>
            <a:r>
              <a:t>Third level</a:t>
            </a:r>
          </a:p>
          <a:p>
            <a:pPr lvl="3"/>
            <a:r>
              <a:t>Fourth level</a:t>
            </a:r>
          </a:p>
          <a:p>
            <a:pPr lvl="4"/>
            <a:r>
              <a:t>Fifth level</a:t>
            </a:r>
          </a:p>
        </p:txBody>
      </p:sp>
      <p:sp>
        <p:nvSpPr>
          <p:cNvPr id="8" name="Text Placeholder 53">
            <a:extLst>
              <a:ext uri="{FF2B5EF4-FFF2-40B4-BE49-F238E27FC236}">
                <a16:creationId xmlns:a16="http://schemas.microsoft.com/office/drawing/2014/main" id="{EF7030FC-3432-442B-80CB-FA420E440CA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229100" y="731530"/>
            <a:ext cx="7581898" cy="365739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2000">
                <a:solidFill>
                  <a:srgbClr val="724D8D"/>
                </a:solidFill>
              </a:defRPr>
            </a:lvl1pPr>
            <a:lvl2pPr marL="0" indent="0">
              <a:spcBef>
                <a:spcPts val="0"/>
              </a:spcBef>
              <a:buNone/>
              <a:defRPr sz="2000">
                <a:solidFill>
                  <a:srgbClr val="724D8D"/>
                </a:solidFill>
              </a:defRPr>
            </a:lvl2pPr>
            <a:lvl3pPr marL="0" indent="0">
              <a:spcBef>
                <a:spcPts val="0"/>
              </a:spcBef>
              <a:buNone/>
              <a:defRPr sz="2000">
                <a:solidFill>
                  <a:srgbClr val="724D8D"/>
                </a:solidFill>
              </a:defRPr>
            </a:lvl3pPr>
            <a:lvl4pPr marL="0" indent="0">
              <a:spcBef>
                <a:spcPts val="0"/>
              </a:spcBef>
              <a:buNone/>
              <a:defRPr sz="2000">
                <a:solidFill>
                  <a:srgbClr val="724D8D"/>
                </a:solidFill>
              </a:defRPr>
            </a:lvl4pPr>
            <a:lvl5pPr marL="0" indent="0">
              <a:spcBef>
                <a:spcPts val="0"/>
              </a:spcBef>
              <a:buNone/>
              <a:defRPr sz="2000">
                <a:solidFill>
                  <a:srgbClr val="724D8D"/>
                </a:solidFill>
              </a:defRPr>
            </a:lvl5pPr>
            <a:lvl6pPr marL="0" indent="0">
              <a:spcBef>
                <a:spcPts val="0"/>
              </a:spcBef>
              <a:buNone/>
              <a:defRPr sz="2000">
                <a:solidFill>
                  <a:srgbClr val="724D8D"/>
                </a:solidFill>
              </a:defRPr>
            </a:lvl6pPr>
            <a:lvl7pPr marL="0" indent="0">
              <a:spcBef>
                <a:spcPts val="0"/>
              </a:spcBef>
              <a:buNone/>
              <a:defRPr sz="2000">
                <a:solidFill>
                  <a:srgbClr val="724D8D"/>
                </a:solidFill>
              </a:defRPr>
            </a:lvl7pPr>
            <a:lvl8pPr marL="0" indent="0">
              <a:spcBef>
                <a:spcPts val="0"/>
              </a:spcBef>
              <a:buNone/>
              <a:defRPr sz="2000">
                <a:solidFill>
                  <a:srgbClr val="724D8D"/>
                </a:solidFill>
              </a:defRPr>
            </a:lvl8pPr>
            <a:lvl9pPr marL="0" indent="0">
              <a:spcBef>
                <a:spcPts val="0"/>
              </a:spcBef>
              <a:buNone/>
              <a:defRPr sz="2000">
                <a:solidFill>
                  <a:srgbClr val="724D8D"/>
                </a:solidFill>
              </a:defRPr>
            </a:lvl9pPr>
          </a:lstStyle>
          <a:p>
            <a:pPr lvl="0"/>
            <a:r>
              <a:t>Click to add subtitle</a:t>
            </a:r>
          </a:p>
        </p:txBody>
      </p:sp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5D6B7F4B-2B1B-4CC9-B4BE-A27597837E20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905996" y="1"/>
            <a:ext cx="2797176" cy="1905875"/>
          </a:xfrm>
          <a:custGeom>
            <a:avLst/>
            <a:gdLst>
              <a:gd name="connsiteX0" fmla="*/ 126450 w 2797176"/>
              <a:gd name="connsiteY0" fmla="*/ 0 h 1905875"/>
              <a:gd name="connsiteX1" fmla="*/ 2684933 w 2797176"/>
              <a:gd name="connsiteY1" fmla="*/ 0 h 1905875"/>
              <a:gd name="connsiteX2" fmla="*/ 2717681 w 2797176"/>
              <a:gd name="connsiteY2" fmla="*/ 86895 h 1905875"/>
              <a:gd name="connsiteX3" fmla="*/ 2791756 w 2797176"/>
              <a:gd name="connsiteY3" fmla="*/ 714556 h 1905875"/>
              <a:gd name="connsiteX4" fmla="*/ 1000720 w 2797176"/>
              <a:gd name="connsiteY4" fmla="*/ 1870727 h 1905875"/>
              <a:gd name="connsiteX5" fmla="*/ 35517 w 2797176"/>
              <a:gd name="connsiteY5" fmla="*/ 286156 h 1905875"/>
              <a:gd name="connsiteX6" fmla="*/ 119533 w 2797176"/>
              <a:gd name="connsiteY6" fmla="*/ 13646 h 1905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797176" h="1905875">
                <a:moveTo>
                  <a:pt x="126450" y="0"/>
                </a:moveTo>
                <a:lnTo>
                  <a:pt x="2684933" y="0"/>
                </a:lnTo>
                <a:lnTo>
                  <a:pt x="2717681" y="86895"/>
                </a:lnTo>
                <a:cubicBezTo>
                  <a:pt x="2783390" y="285509"/>
                  <a:pt x="2809500" y="500033"/>
                  <a:pt x="2791756" y="714556"/>
                </a:cubicBezTo>
                <a:cubicBezTo>
                  <a:pt x="2704013" y="1855245"/>
                  <a:pt x="1372347" y="1989443"/>
                  <a:pt x="1000720" y="1870727"/>
                </a:cubicBezTo>
                <a:cubicBezTo>
                  <a:pt x="-57390" y="1530069"/>
                  <a:pt x="-52226" y="776494"/>
                  <a:pt x="35517" y="286156"/>
                </a:cubicBezTo>
                <a:cubicBezTo>
                  <a:pt x="52937" y="191314"/>
                  <a:pt x="81487" y="100181"/>
                  <a:pt x="119533" y="13646"/>
                </a:cubicBezTo>
                <a:close/>
              </a:path>
            </a:pathLst>
          </a:custGeom>
          <a:solidFill>
            <a:srgbClr val="D9D9D9"/>
          </a:solidFill>
        </p:spPr>
        <p:txBody>
          <a:bodyPr wrap="square" tIns="365760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Arial" panose="020B0604020202020204" pitchFamily="34" charset="0"/>
              <a:buNone/>
              <a:tabLst/>
              <a:defRPr sz="14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dirty="0"/>
              <a:t>Click icon to insert picture</a:t>
            </a:r>
            <a:br>
              <a:rPr dirty="0"/>
            </a:br>
            <a:r>
              <a:rPr dirty="0"/>
              <a:t>(minimum size 320 x 320 pixels)</a:t>
            </a:r>
          </a:p>
        </p:txBody>
      </p:sp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DF9C56AD-BDF6-4DD3-BCC6-F6A6E7ADA300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905996" y="2082136"/>
            <a:ext cx="2797176" cy="2761803"/>
          </a:xfrm>
          <a:custGeom>
            <a:avLst/>
            <a:gdLst>
              <a:gd name="connsiteX0" fmla="*/ 1477210 w 2797176"/>
              <a:gd name="connsiteY0" fmla="*/ 25 h 2761803"/>
              <a:gd name="connsiteX1" fmla="*/ 1754298 w 2797176"/>
              <a:gd name="connsiteY1" fmla="*/ 32364 h 2761803"/>
              <a:gd name="connsiteX2" fmla="*/ 2791756 w 2797176"/>
              <a:gd name="connsiteY2" fmla="*/ 1570484 h 2761803"/>
              <a:gd name="connsiteX3" fmla="*/ 1000720 w 2797176"/>
              <a:gd name="connsiteY3" fmla="*/ 2726655 h 2761803"/>
              <a:gd name="connsiteX4" fmla="*/ 35517 w 2797176"/>
              <a:gd name="connsiteY4" fmla="*/ 1142084 h 2761803"/>
              <a:gd name="connsiteX5" fmla="*/ 1477210 w 2797176"/>
              <a:gd name="connsiteY5" fmla="*/ 25 h 27618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797176" h="2761803">
                <a:moveTo>
                  <a:pt x="1477210" y="25"/>
                </a:moveTo>
                <a:cubicBezTo>
                  <a:pt x="1570419" y="589"/>
                  <a:pt x="1663326" y="11073"/>
                  <a:pt x="1754298" y="32364"/>
                </a:cubicBezTo>
                <a:cubicBezTo>
                  <a:pt x="2456262" y="197531"/>
                  <a:pt x="2848535" y="884010"/>
                  <a:pt x="2791756" y="1570484"/>
                </a:cubicBezTo>
                <a:cubicBezTo>
                  <a:pt x="2704013" y="2711173"/>
                  <a:pt x="1372347" y="2845371"/>
                  <a:pt x="1000720" y="2726655"/>
                </a:cubicBezTo>
                <a:cubicBezTo>
                  <a:pt x="-57390" y="2385997"/>
                  <a:pt x="-52226" y="1632422"/>
                  <a:pt x="35517" y="1142084"/>
                </a:cubicBezTo>
                <a:cubicBezTo>
                  <a:pt x="157460" y="478187"/>
                  <a:pt x="824743" y="-3925"/>
                  <a:pt x="1477210" y="25"/>
                </a:cubicBezTo>
                <a:close/>
              </a:path>
            </a:pathLst>
          </a:custGeom>
          <a:solidFill>
            <a:srgbClr val="D9D9D9"/>
          </a:solidFill>
        </p:spPr>
        <p:txBody>
          <a:bodyPr wrap="square" tIns="731520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Arial" panose="020B0604020202020204" pitchFamily="34" charset="0"/>
              <a:buNone/>
              <a:tabLst/>
              <a:defRPr sz="14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dirty="0"/>
              <a:t>Click icon to insert picture</a:t>
            </a:r>
            <a:br>
              <a:rPr dirty="0"/>
            </a:br>
            <a:r>
              <a:rPr dirty="0"/>
              <a:t>(minimum size 320 x 320 pixels)</a:t>
            </a:r>
          </a:p>
        </p:txBody>
      </p:sp>
    </p:spTree>
    <p:extLst>
      <p:ext uri="{BB962C8B-B14F-4D97-AF65-F5344CB8AC3E}">
        <p14:creationId xmlns:p14="http://schemas.microsoft.com/office/powerpoint/2010/main" val="6260739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ircle Picture wit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10">
            <a:extLst>
              <a:ext uri="{FF2B5EF4-FFF2-40B4-BE49-F238E27FC236}">
                <a16:creationId xmlns:a16="http://schemas.microsoft.com/office/drawing/2014/main" id="{A2733906-1C03-4012-B214-1CE93389DA79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2"/>
            <a:ext cx="5266036" cy="6857999"/>
          </a:xfrm>
          <a:custGeom>
            <a:avLst/>
            <a:gdLst>
              <a:gd name="connsiteX0" fmla="*/ 0 w 5266036"/>
              <a:gd name="connsiteY0" fmla="*/ 0 h 6857999"/>
              <a:gd name="connsiteX1" fmla="*/ 3014696 w 5266036"/>
              <a:gd name="connsiteY1" fmla="*/ 0 h 6857999"/>
              <a:gd name="connsiteX2" fmla="*/ 3040982 w 5266036"/>
              <a:gd name="connsiteY2" fmla="*/ 11408 h 6857999"/>
              <a:gd name="connsiteX3" fmla="*/ 5250901 w 5266036"/>
              <a:gd name="connsiteY3" fmla="*/ 4085922 h 6857999"/>
              <a:gd name="connsiteX4" fmla="*/ 3435696 w 5266036"/>
              <a:gd name="connsiteY4" fmla="*/ 6839477 h 6857999"/>
              <a:gd name="connsiteX5" fmla="*/ 3398838 w 5266036"/>
              <a:gd name="connsiteY5" fmla="*/ 6857999 h 6857999"/>
              <a:gd name="connsiteX6" fmla="*/ 0 w 5266036"/>
              <a:gd name="connsiteY6" fmla="*/ 6857999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266036" h="6857999">
                <a:moveTo>
                  <a:pt x="0" y="0"/>
                </a:moveTo>
                <a:lnTo>
                  <a:pt x="3014696" y="0"/>
                </a:lnTo>
                <a:lnTo>
                  <a:pt x="3040982" y="11408"/>
                </a:lnTo>
                <a:cubicBezTo>
                  <a:pt x="4562919" y="717837"/>
                  <a:pt x="5390071" y="2397951"/>
                  <a:pt x="5250901" y="4085922"/>
                </a:cubicBezTo>
                <a:cubicBezTo>
                  <a:pt x="5138669" y="5484335"/>
                  <a:pt x="4361602" y="6343612"/>
                  <a:pt x="3435696" y="6839477"/>
                </a:cubicBezTo>
                <a:lnTo>
                  <a:pt x="3398838" y="6857999"/>
                </a:lnTo>
                <a:lnTo>
                  <a:pt x="0" y="6857999"/>
                </a:lnTo>
                <a:close/>
              </a:path>
            </a:pathLst>
          </a:custGeom>
          <a:solidFill>
            <a:srgbClr val="D9D9D9"/>
          </a:solidFill>
        </p:spPr>
        <p:txBody>
          <a:bodyPr wrap="square" tIns="3657600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Arial" panose="020B0604020202020204" pitchFamily="34" charset="0"/>
              <a:buNone/>
              <a:tabLst/>
              <a:defRPr sz="16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dirty="0"/>
              <a:t>Click icon to insert picture</a:t>
            </a:r>
            <a:br>
              <a:rPr dirty="0"/>
            </a:br>
            <a:r>
              <a:rPr dirty="0"/>
              <a:t>(minimum recommended size for </a:t>
            </a:r>
            <a:br>
              <a:rPr dirty="0"/>
            </a:br>
            <a:r>
              <a:rPr dirty="0"/>
              <a:t>half slide image is 640 x 720 pixels)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8AEA02C-1880-4C71-86A6-34ED8A6721F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0" y="152400"/>
            <a:ext cx="5715002" cy="9017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720C5055-7E08-43F9-85F7-AF9A137CF041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6096000" y="1383792"/>
            <a:ext cx="5715000" cy="4636008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t>Click to add text or choose an icon below to insert other content</a:t>
            </a:r>
          </a:p>
          <a:p>
            <a:pPr lvl="1"/>
            <a:r>
              <a:t>Second level</a:t>
            </a:r>
          </a:p>
          <a:p>
            <a:pPr lvl="2"/>
            <a:r>
              <a:t>Third level</a:t>
            </a:r>
          </a:p>
          <a:p>
            <a:pPr lvl="3"/>
            <a:r>
              <a:t>Fourth level</a:t>
            </a:r>
          </a:p>
          <a:p>
            <a:pPr lvl="4"/>
            <a:r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0343296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quare Picture wit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273CA62-557B-4233-A280-B632FDE7EB4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1" y="152400"/>
            <a:ext cx="11430001" cy="48533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3477033-05D8-4136-947B-33FDFE0937F3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055389" y="6307159"/>
            <a:ext cx="914400" cy="158954"/>
          </a:xfrm>
          <a:prstGeom prst="rect">
            <a:avLst/>
          </a:prstGeom>
        </p:spPr>
        <p:txBody>
          <a:bodyPr/>
          <a:lstStyle/>
          <a:p>
            <a:fld id="{2EB1475D-EF5B-48A6-8CCB-3BD08F726926}" type="datetimeFigureOut">
              <a:rPr lang="en-US"/>
              <a:pPr/>
              <a:t>3/17/2025</a:t>
            </a:fld>
            <a:endParaRPr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4ABE26E-7618-4F78-8596-2A31C0BCE0C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32534" y="6307159"/>
            <a:ext cx="7104770" cy="158954"/>
          </a:xfrm>
          <a:prstGeom prst="rect">
            <a:avLst/>
          </a:prstGeom>
        </p:spPr>
        <p:txBody>
          <a:bodyPr/>
          <a:lstStyle/>
          <a:p>
            <a:endParaRPr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44B0F7D-C1BE-4FF4-8D9C-4EB1E876039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5A54F4-DB31-4FC5-B748-3F06867349C3}" type="slidenum">
              <a:rPr/>
              <a:pPr/>
              <a:t>‹N›</a:t>
            </a:fld>
            <a:endParaRPr dirty="0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9CAA4CE7-2E79-487E-9FB0-5C7F0E926C22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381000" y="1383792"/>
            <a:ext cx="6400800" cy="4636008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t>Click to add text or choose an icon below to insert other content</a:t>
            </a:r>
          </a:p>
          <a:p>
            <a:pPr lvl="1"/>
            <a:r>
              <a:t>Second level</a:t>
            </a:r>
          </a:p>
          <a:p>
            <a:pPr lvl="2"/>
            <a:r>
              <a:t>Third level</a:t>
            </a:r>
          </a:p>
          <a:p>
            <a:pPr lvl="3"/>
            <a:r>
              <a:t>Fourth level</a:t>
            </a:r>
          </a:p>
          <a:p>
            <a:pPr lvl="4"/>
            <a:r>
              <a:t>Fifth level</a:t>
            </a:r>
          </a:p>
        </p:txBody>
      </p:sp>
      <p:sp>
        <p:nvSpPr>
          <p:cNvPr id="8" name="Text Placeholder 53">
            <a:extLst>
              <a:ext uri="{FF2B5EF4-FFF2-40B4-BE49-F238E27FC236}">
                <a16:creationId xmlns:a16="http://schemas.microsoft.com/office/drawing/2014/main" id="{734CE9CF-0E3B-470F-87D6-C69D18AB3E0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1001" y="731530"/>
            <a:ext cx="6400799" cy="365739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2000">
                <a:solidFill>
                  <a:srgbClr val="724D8D"/>
                </a:solidFill>
              </a:defRPr>
            </a:lvl1pPr>
            <a:lvl2pPr marL="0" indent="0">
              <a:spcBef>
                <a:spcPts val="0"/>
              </a:spcBef>
              <a:buNone/>
              <a:defRPr sz="2000">
                <a:solidFill>
                  <a:srgbClr val="724D8D"/>
                </a:solidFill>
              </a:defRPr>
            </a:lvl2pPr>
            <a:lvl3pPr marL="0" indent="0">
              <a:spcBef>
                <a:spcPts val="0"/>
              </a:spcBef>
              <a:buNone/>
              <a:defRPr sz="2000">
                <a:solidFill>
                  <a:srgbClr val="724D8D"/>
                </a:solidFill>
              </a:defRPr>
            </a:lvl3pPr>
            <a:lvl4pPr marL="0" indent="0">
              <a:spcBef>
                <a:spcPts val="0"/>
              </a:spcBef>
              <a:buNone/>
              <a:defRPr sz="2000">
                <a:solidFill>
                  <a:srgbClr val="724D8D"/>
                </a:solidFill>
              </a:defRPr>
            </a:lvl4pPr>
            <a:lvl5pPr marL="0" indent="0">
              <a:spcBef>
                <a:spcPts val="0"/>
              </a:spcBef>
              <a:buNone/>
              <a:defRPr sz="2000">
                <a:solidFill>
                  <a:srgbClr val="724D8D"/>
                </a:solidFill>
              </a:defRPr>
            </a:lvl5pPr>
            <a:lvl6pPr marL="0" indent="0">
              <a:spcBef>
                <a:spcPts val="0"/>
              </a:spcBef>
              <a:buNone/>
              <a:defRPr sz="2000">
                <a:solidFill>
                  <a:srgbClr val="724D8D"/>
                </a:solidFill>
              </a:defRPr>
            </a:lvl6pPr>
            <a:lvl7pPr marL="0" indent="0">
              <a:spcBef>
                <a:spcPts val="0"/>
              </a:spcBef>
              <a:buNone/>
              <a:defRPr sz="2000">
                <a:solidFill>
                  <a:srgbClr val="724D8D"/>
                </a:solidFill>
              </a:defRPr>
            </a:lvl7pPr>
            <a:lvl8pPr marL="0" indent="0">
              <a:spcBef>
                <a:spcPts val="0"/>
              </a:spcBef>
              <a:buNone/>
              <a:defRPr sz="2000">
                <a:solidFill>
                  <a:srgbClr val="724D8D"/>
                </a:solidFill>
              </a:defRPr>
            </a:lvl8pPr>
            <a:lvl9pPr marL="0" indent="0">
              <a:spcBef>
                <a:spcPts val="0"/>
              </a:spcBef>
              <a:buNone/>
              <a:defRPr sz="2000">
                <a:solidFill>
                  <a:srgbClr val="724D8D"/>
                </a:solidFill>
              </a:defRPr>
            </a:lvl9pPr>
          </a:lstStyle>
          <a:p>
            <a:pPr lvl="0"/>
            <a:r>
              <a:t>Click to add subtitle</a:t>
            </a:r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111A1073-7FE1-4F7F-8031-C3C041EB8AF5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986761" y="862564"/>
            <a:ext cx="4851030" cy="5081476"/>
          </a:xfrm>
          <a:custGeom>
            <a:avLst/>
            <a:gdLst>
              <a:gd name="connsiteX0" fmla="*/ 4603651 w 4851030"/>
              <a:gd name="connsiteY0" fmla="*/ 0 h 5081476"/>
              <a:gd name="connsiteX1" fmla="*/ 4827723 w 4851030"/>
              <a:gd name="connsiteY1" fmla="*/ 669963 h 5081476"/>
              <a:gd name="connsiteX2" fmla="*/ 4837903 w 4851030"/>
              <a:gd name="connsiteY2" fmla="*/ 2094980 h 5081476"/>
              <a:gd name="connsiteX3" fmla="*/ 4848093 w 4851030"/>
              <a:gd name="connsiteY3" fmla="*/ 3169064 h 5081476"/>
              <a:gd name="connsiteX4" fmla="*/ 4848093 w 4851030"/>
              <a:gd name="connsiteY4" fmla="*/ 3913475 h 5081476"/>
              <a:gd name="connsiteX5" fmla="*/ 4817532 w 4851030"/>
              <a:gd name="connsiteY5" fmla="*/ 4838667 h 5081476"/>
              <a:gd name="connsiteX6" fmla="*/ 4471241 w 4851030"/>
              <a:gd name="connsiteY6" fmla="*/ 5008818 h 5081476"/>
              <a:gd name="connsiteX7" fmla="*/ 4114767 w 4851030"/>
              <a:gd name="connsiteY7" fmla="*/ 5019457 h 5081476"/>
              <a:gd name="connsiteX8" fmla="*/ 3748105 w 4851030"/>
              <a:gd name="connsiteY8" fmla="*/ 5072624 h 5081476"/>
              <a:gd name="connsiteX9" fmla="*/ 998137 w 4851030"/>
              <a:gd name="connsiteY9" fmla="*/ 5030086 h 5081476"/>
              <a:gd name="connsiteX10" fmla="*/ 488884 w 4851030"/>
              <a:gd name="connsiteY10" fmla="*/ 4976920 h 5081476"/>
              <a:gd name="connsiteX11" fmla="*/ 81481 w 4851030"/>
              <a:gd name="connsiteY11" fmla="*/ 4742962 h 5081476"/>
              <a:gd name="connsiteX12" fmla="*/ 40741 w 4851030"/>
              <a:gd name="connsiteY12" fmla="*/ 3679517 h 5081476"/>
              <a:gd name="connsiteX13" fmla="*/ 20371 w 4851030"/>
              <a:gd name="connsiteY13" fmla="*/ 2084351 h 5081476"/>
              <a:gd name="connsiteX14" fmla="*/ 0 w 4851030"/>
              <a:gd name="connsiteY14" fmla="*/ 1552629 h 5081476"/>
              <a:gd name="connsiteX15" fmla="*/ 20371 w 4851030"/>
              <a:gd name="connsiteY15" fmla="*/ 723142 h 5081476"/>
              <a:gd name="connsiteX16" fmla="*/ 30551 w 4851030"/>
              <a:gd name="connsiteY16" fmla="*/ 457275 h 5081476"/>
              <a:gd name="connsiteX17" fmla="*/ 71291 w 4851030"/>
              <a:gd name="connsiteY17" fmla="*/ 74435 h 5081476"/>
              <a:gd name="connsiteX18" fmla="*/ 2261085 w 4851030"/>
              <a:gd name="connsiteY18" fmla="*/ 42537 h 5081476"/>
              <a:gd name="connsiteX19" fmla="*/ 3554584 w 4851030"/>
              <a:gd name="connsiteY19" fmla="*/ 31898 h 5081476"/>
              <a:gd name="connsiteX20" fmla="*/ 4603651 w 4851030"/>
              <a:gd name="connsiteY20" fmla="*/ 0 h 50814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4851030" h="5081476">
                <a:moveTo>
                  <a:pt x="4603651" y="0"/>
                </a:moveTo>
                <a:cubicBezTo>
                  <a:pt x="4868463" y="0"/>
                  <a:pt x="4827723" y="340302"/>
                  <a:pt x="4827723" y="669963"/>
                </a:cubicBezTo>
                <a:cubicBezTo>
                  <a:pt x="4817532" y="1148520"/>
                  <a:pt x="4858273" y="1616435"/>
                  <a:pt x="4837903" y="2094980"/>
                </a:cubicBezTo>
                <a:cubicBezTo>
                  <a:pt x="4827723" y="2445922"/>
                  <a:pt x="4858273" y="2818122"/>
                  <a:pt x="4848093" y="3169064"/>
                </a:cubicBezTo>
                <a:cubicBezTo>
                  <a:pt x="4837903" y="3413650"/>
                  <a:pt x="4858273" y="3668878"/>
                  <a:pt x="4848093" y="3913475"/>
                </a:cubicBezTo>
                <a:cubicBezTo>
                  <a:pt x="4837903" y="4158061"/>
                  <a:pt x="4858273" y="4519633"/>
                  <a:pt x="4817532" y="4838667"/>
                </a:cubicBezTo>
                <a:cubicBezTo>
                  <a:pt x="4797162" y="4966279"/>
                  <a:pt x="4613831" y="4987548"/>
                  <a:pt x="4471241" y="5008818"/>
                </a:cubicBezTo>
                <a:cubicBezTo>
                  <a:pt x="4389759" y="5019457"/>
                  <a:pt x="4236989" y="4998188"/>
                  <a:pt x="4114767" y="5019457"/>
                </a:cubicBezTo>
                <a:cubicBezTo>
                  <a:pt x="4023097" y="5040726"/>
                  <a:pt x="3849956" y="5072624"/>
                  <a:pt x="3748105" y="5072624"/>
                </a:cubicBezTo>
                <a:cubicBezTo>
                  <a:pt x="2709228" y="5104533"/>
                  <a:pt x="2199975" y="5040726"/>
                  <a:pt x="998137" y="5030086"/>
                </a:cubicBezTo>
                <a:cubicBezTo>
                  <a:pt x="886096" y="5030086"/>
                  <a:pt x="733325" y="5030086"/>
                  <a:pt x="488884" y="4976920"/>
                </a:cubicBezTo>
                <a:cubicBezTo>
                  <a:pt x="264812" y="4934382"/>
                  <a:pt x="152771" y="4976920"/>
                  <a:pt x="81481" y="4742962"/>
                </a:cubicBezTo>
                <a:cubicBezTo>
                  <a:pt x="20371" y="4551542"/>
                  <a:pt x="50920" y="3924104"/>
                  <a:pt x="40741" y="3679517"/>
                </a:cubicBezTo>
                <a:cubicBezTo>
                  <a:pt x="20371" y="3126526"/>
                  <a:pt x="20371" y="2743686"/>
                  <a:pt x="20371" y="2084351"/>
                </a:cubicBezTo>
                <a:lnTo>
                  <a:pt x="0" y="1552629"/>
                </a:lnTo>
                <a:cubicBezTo>
                  <a:pt x="50920" y="1254863"/>
                  <a:pt x="-30560" y="1031534"/>
                  <a:pt x="20371" y="723142"/>
                </a:cubicBezTo>
                <a:cubicBezTo>
                  <a:pt x="30551" y="616798"/>
                  <a:pt x="30551" y="627426"/>
                  <a:pt x="30551" y="457275"/>
                </a:cubicBezTo>
                <a:cubicBezTo>
                  <a:pt x="30551" y="393469"/>
                  <a:pt x="-31630" y="221930"/>
                  <a:pt x="71291" y="74435"/>
                </a:cubicBezTo>
                <a:cubicBezTo>
                  <a:pt x="358675" y="-52826"/>
                  <a:pt x="1476830" y="42537"/>
                  <a:pt x="2261085" y="42537"/>
                </a:cubicBezTo>
                <a:cubicBezTo>
                  <a:pt x="2658297" y="42537"/>
                  <a:pt x="3167551" y="21269"/>
                  <a:pt x="3554584" y="31898"/>
                </a:cubicBezTo>
                <a:cubicBezTo>
                  <a:pt x="3676805" y="42537"/>
                  <a:pt x="4481430" y="0"/>
                  <a:pt x="4603651" y="0"/>
                </a:cubicBezTo>
                <a:close/>
              </a:path>
            </a:pathLst>
          </a:custGeom>
          <a:solidFill>
            <a:srgbClr val="D9D9D9"/>
          </a:solidFill>
        </p:spPr>
        <p:txBody>
          <a:bodyPr wrap="square" tIns="1554480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Arial" panose="020B0604020202020204" pitchFamily="34" charset="0"/>
              <a:buNone/>
              <a:tabLst/>
              <a:defRPr sz="16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dirty="0"/>
              <a:t>Click icon to insert picture</a:t>
            </a:r>
            <a:br>
              <a:rPr dirty="0"/>
            </a:br>
            <a:r>
              <a:rPr dirty="0"/>
              <a:t>(minimum recommended size for </a:t>
            </a:r>
            <a:br>
              <a:rPr dirty="0"/>
            </a:br>
            <a:r>
              <a:rPr dirty="0"/>
              <a:t>half slide image is 640 x 720 pixels)</a:t>
            </a:r>
          </a:p>
        </p:txBody>
      </p:sp>
    </p:spTree>
    <p:extLst>
      <p:ext uri="{BB962C8B-B14F-4D97-AF65-F5344CB8AC3E}">
        <p14:creationId xmlns:p14="http://schemas.microsoft.com/office/powerpoint/2010/main" val="17100267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ull Picture with Circl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: Shape 6">
            <a:extLst>
              <a:ext uri="{FF2B5EF4-FFF2-40B4-BE49-F238E27FC236}">
                <a16:creationId xmlns:a16="http://schemas.microsoft.com/office/drawing/2014/main" id="{B66CA63B-C1B1-43E5-8904-2600EAA42658}"/>
              </a:ext>
            </a:extLst>
          </p:cNvPr>
          <p:cNvSpPr/>
          <p:nvPr/>
        </p:nvSpPr>
        <p:spPr bwMode="ltGray">
          <a:xfrm>
            <a:off x="10451952" y="5963196"/>
            <a:ext cx="1606316" cy="894804"/>
          </a:xfrm>
          <a:custGeom>
            <a:avLst/>
            <a:gdLst>
              <a:gd name="connsiteX0" fmla="*/ 838774 w 1585477"/>
              <a:gd name="connsiteY0" fmla="*/ 14 h 883197"/>
              <a:gd name="connsiteX1" fmla="*/ 996107 w 1585477"/>
              <a:gd name="connsiteY1" fmla="*/ 18377 h 883197"/>
              <a:gd name="connsiteX2" fmla="*/ 1585477 w 1585477"/>
              <a:gd name="connsiteY2" fmla="*/ 746145 h 883197"/>
              <a:gd name="connsiteX3" fmla="*/ 1585202 w 1585477"/>
              <a:gd name="connsiteY3" fmla="*/ 883197 h 883197"/>
              <a:gd name="connsiteX4" fmla="*/ 695 w 1585477"/>
              <a:gd name="connsiteY4" fmla="*/ 883197 h 883197"/>
              <a:gd name="connsiteX5" fmla="*/ 294 w 1585477"/>
              <a:gd name="connsiteY5" fmla="*/ 879328 h 883197"/>
              <a:gd name="connsiteX6" fmla="*/ 20167 w 1585477"/>
              <a:gd name="connsiteY6" fmla="*/ 648487 h 883197"/>
              <a:gd name="connsiteX7" fmla="*/ 838774 w 1585477"/>
              <a:gd name="connsiteY7" fmla="*/ 14 h 8831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585477" h="883197">
                <a:moveTo>
                  <a:pt x="838774" y="14"/>
                </a:moveTo>
                <a:cubicBezTo>
                  <a:pt x="891699" y="335"/>
                  <a:pt x="944452" y="6288"/>
                  <a:pt x="996107" y="18377"/>
                </a:cubicBezTo>
                <a:cubicBezTo>
                  <a:pt x="1344865" y="100437"/>
                  <a:pt x="1558993" y="409128"/>
                  <a:pt x="1585477" y="746145"/>
                </a:cubicBezTo>
                <a:lnTo>
                  <a:pt x="1585202" y="883197"/>
                </a:lnTo>
                <a:lnTo>
                  <a:pt x="695" y="883197"/>
                </a:lnTo>
                <a:lnTo>
                  <a:pt x="294" y="879328"/>
                </a:lnTo>
                <a:cubicBezTo>
                  <a:pt x="-1813" y="797038"/>
                  <a:pt x="7712" y="718092"/>
                  <a:pt x="20167" y="648487"/>
                </a:cubicBezTo>
                <a:cubicBezTo>
                  <a:pt x="89408" y="271519"/>
                  <a:pt x="468297" y="-2229"/>
                  <a:pt x="838774" y="14"/>
                </a:cubicBezTo>
                <a:close/>
              </a:path>
            </a:pathLst>
          </a:custGeom>
          <a:solidFill>
            <a:srgbClr val="4F2170"/>
          </a:solidFill>
          <a:ln w="9525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>
              <a:lnSpc>
                <a:spcPct val="90000"/>
              </a:lnSpc>
            </a:pPr>
            <a:endParaRPr dirty="0">
              <a:solidFill>
                <a:schemeClr val="bg1"/>
              </a:solidFill>
            </a:endParaRPr>
          </a:p>
        </p:txBody>
      </p:sp>
      <p:sp>
        <p:nvSpPr>
          <p:cNvPr id="56" name="Picture Placeholder 55">
            <a:extLst>
              <a:ext uri="{FF2B5EF4-FFF2-40B4-BE49-F238E27FC236}">
                <a16:creationId xmlns:a16="http://schemas.microsoft.com/office/drawing/2014/main" id="{A5EAFFDE-7D79-4F83-9864-FE3F4E8DFC8B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2 h 6858000"/>
              <a:gd name="connsiteX3" fmla="*/ 7663103 w 12192000"/>
              <a:gd name="connsiteY3" fmla="*/ 2 h 6858000"/>
              <a:gd name="connsiteX4" fmla="*/ 7480204 w 12192000"/>
              <a:gd name="connsiteY4" fmla="*/ 153025 h 6858000"/>
              <a:gd name="connsiteX5" fmla="*/ 6428049 w 12192000"/>
              <a:gd name="connsiteY5" fmla="*/ 1989352 h 6858000"/>
              <a:gd name="connsiteX6" fmla="*/ 8885900 w 12192000"/>
              <a:gd name="connsiteY6" fmla="*/ 5978297 h 6858000"/>
              <a:gd name="connsiteX7" fmla="*/ 12154972 w 12192000"/>
              <a:gd name="connsiteY7" fmla="*/ 5329397 h 6858000"/>
              <a:gd name="connsiteX8" fmla="*/ 12192000 w 12192000"/>
              <a:gd name="connsiteY8" fmla="*/ 5302368 h 6858000"/>
              <a:gd name="connsiteX9" fmla="*/ 12192000 w 12192000"/>
              <a:gd name="connsiteY9" fmla="*/ 6858000 h 6858000"/>
              <a:gd name="connsiteX10" fmla="*/ 12047573 w 12192000"/>
              <a:gd name="connsiteY10" fmla="*/ 6858000 h 6858000"/>
              <a:gd name="connsiteX11" fmla="*/ 12047848 w 12192000"/>
              <a:gd name="connsiteY11" fmla="*/ 6720949 h 6858000"/>
              <a:gd name="connsiteX12" fmla="*/ 11458478 w 12192000"/>
              <a:gd name="connsiteY12" fmla="*/ 5993181 h 6858000"/>
              <a:gd name="connsiteX13" fmla="*/ 11301145 w 12192000"/>
              <a:gd name="connsiteY13" fmla="*/ 5974818 h 6858000"/>
              <a:gd name="connsiteX14" fmla="*/ 10482538 w 12192000"/>
              <a:gd name="connsiteY14" fmla="*/ 6623291 h 6858000"/>
              <a:gd name="connsiteX15" fmla="*/ 10462665 w 12192000"/>
              <a:gd name="connsiteY15" fmla="*/ 6854132 h 6858000"/>
              <a:gd name="connsiteX16" fmla="*/ 10463066 w 12192000"/>
              <a:gd name="connsiteY16" fmla="*/ 6858000 h 6858000"/>
              <a:gd name="connsiteX17" fmla="*/ 0 w 12192000"/>
              <a:gd name="connsiteY1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2"/>
                </a:lnTo>
                <a:lnTo>
                  <a:pt x="7663103" y="2"/>
                </a:lnTo>
                <a:lnTo>
                  <a:pt x="7480204" y="153025"/>
                </a:lnTo>
                <a:cubicBezTo>
                  <a:pt x="6949276" y="640885"/>
                  <a:pt x="6561130" y="1273092"/>
                  <a:pt x="6428049" y="1989352"/>
                </a:cubicBezTo>
                <a:cubicBezTo>
                  <a:pt x="6204615" y="3223711"/>
                  <a:pt x="6191465" y="5120738"/>
                  <a:pt x="8885900" y="5978297"/>
                </a:cubicBezTo>
                <a:cubicBezTo>
                  <a:pt x="9477360" y="6165081"/>
                  <a:pt x="11023781" y="6103162"/>
                  <a:pt x="12154972" y="5329397"/>
                </a:cubicBezTo>
                <a:lnTo>
                  <a:pt x="12192000" y="5302368"/>
                </a:lnTo>
                <a:lnTo>
                  <a:pt x="12192000" y="6858000"/>
                </a:lnTo>
                <a:lnTo>
                  <a:pt x="12047573" y="6858000"/>
                </a:lnTo>
                <a:lnTo>
                  <a:pt x="12047848" y="6720949"/>
                </a:lnTo>
                <a:cubicBezTo>
                  <a:pt x="12021364" y="6383932"/>
                  <a:pt x="11807236" y="6075241"/>
                  <a:pt x="11458478" y="5993181"/>
                </a:cubicBezTo>
                <a:cubicBezTo>
                  <a:pt x="11406823" y="5981092"/>
                  <a:pt x="11354070" y="5975139"/>
                  <a:pt x="11301145" y="5974818"/>
                </a:cubicBezTo>
                <a:cubicBezTo>
                  <a:pt x="10930668" y="5972575"/>
                  <a:pt x="10551779" y="6246323"/>
                  <a:pt x="10482538" y="6623291"/>
                </a:cubicBezTo>
                <a:cubicBezTo>
                  <a:pt x="10470083" y="6692896"/>
                  <a:pt x="10460558" y="6771842"/>
                  <a:pt x="10462665" y="6854132"/>
                </a:cubicBezTo>
                <a:lnTo>
                  <a:pt x="10463066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D9D9D9"/>
          </a:solidFill>
        </p:spPr>
        <p:txBody>
          <a:bodyPr wrap="square" lIns="0" rIns="3474720" anchor="ctr" anchorCtr="0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Arial" panose="020B0604020202020204" pitchFamily="34" charset="0"/>
              <a:buNone/>
              <a:tabLst/>
              <a:defRPr sz="16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dirty="0"/>
              <a:t>Click icon to insert picture</a:t>
            </a:r>
            <a:br>
              <a:rPr dirty="0"/>
            </a:br>
            <a:r>
              <a:rPr dirty="0"/>
              <a:t>(minimum recommended size for </a:t>
            </a:r>
            <a:br>
              <a:rPr dirty="0"/>
            </a:br>
            <a:r>
              <a:rPr dirty="0"/>
              <a:t>full slide image is 1280 x 720 pixels)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054D87F-D170-4CA6-B8DB-A068AAB2EE6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84556" y="909045"/>
            <a:ext cx="4626444" cy="84182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DBB3B4C9-10AF-4C1C-BD4C-19B5526DA837}"/>
              </a:ext>
            </a:extLst>
          </p:cNvPr>
          <p:cNvGrpSpPr>
            <a:grpSpLocks noChangeAspect="1"/>
          </p:cNvGrpSpPr>
          <p:nvPr/>
        </p:nvGrpSpPr>
        <p:grpSpPr>
          <a:xfrm>
            <a:off x="10676779" y="6205751"/>
            <a:ext cx="1143000" cy="440144"/>
            <a:chOff x="2078951" y="1888610"/>
            <a:chExt cx="8030200" cy="3092248"/>
          </a:xfrm>
          <a:solidFill>
            <a:srgbClr val="FFFFFF"/>
          </a:solidFill>
        </p:grpSpPr>
        <p:sp>
          <p:nvSpPr>
            <p:cNvPr id="9" name="Freeform: Shape 8">
              <a:extLst>
                <a:ext uri="{FF2B5EF4-FFF2-40B4-BE49-F238E27FC236}">
                  <a16:creationId xmlns:a16="http://schemas.microsoft.com/office/drawing/2014/main" id="{2AA55965-C91C-46A8-84D3-9426B2920951}"/>
                </a:ext>
              </a:extLst>
            </p:cNvPr>
            <p:cNvSpPr/>
            <p:nvPr/>
          </p:nvSpPr>
          <p:spPr>
            <a:xfrm>
              <a:off x="2078951" y="2872694"/>
              <a:ext cx="951880" cy="652717"/>
            </a:xfrm>
            <a:custGeom>
              <a:avLst/>
              <a:gdLst>
                <a:gd name="connsiteX0" fmla="*/ 903041 w 951880"/>
                <a:gd name="connsiteY0" fmla="*/ 330574 h 652717"/>
                <a:gd name="connsiteX1" fmla="*/ 780656 w 951880"/>
                <a:gd name="connsiteY1" fmla="*/ 379528 h 652717"/>
                <a:gd name="connsiteX2" fmla="*/ 598439 w 951880"/>
                <a:gd name="connsiteY2" fmla="*/ 311537 h 652717"/>
                <a:gd name="connsiteX3" fmla="*/ 505970 w 951880"/>
                <a:gd name="connsiteY3" fmla="*/ 164675 h 652717"/>
                <a:gd name="connsiteX4" fmla="*/ 266640 w 951880"/>
                <a:gd name="connsiteY4" fmla="*/ 61329 h 652717"/>
                <a:gd name="connsiteX5" fmla="*/ 103461 w 951880"/>
                <a:gd name="connsiteY5" fmla="*/ 458398 h 652717"/>
                <a:gd name="connsiteX6" fmla="*/ 756179 w 951880"/>
                <a:gd name="connsiteY6" fmla="*/ 485595 h 652717"/>
                <a:gd name="connsiteX7" fmla="*/ 903041 w 951880"/>
                <a:gd name="connsiteY7" fmla="*/ 330574 h 6527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51880" h="652717">
                  <a:moveTo>
                    <a:pt x="903041" y="330574"/>
                  </a:moveTo>
                  <a:cubicBezTo>
                    <a:pt x="867685" y="363210"/>
                    <a:pt x="813292" y="374089"/>
                    <a:pt x="780656" y="379528"/>
                  </a:cubicBezTo>
                  <a:cubicBezTo>
                    <a:pt x="712664" y="387687"/>
                    <a:pt x="641953" y="365930"/>
                    <a:pt x="598439" y="311537"/>
                  </a:cubicBezTo>
                  <a:cubicBezTo>
                    <a:pt x="563083" y="268022"/>
                    <a:pt x="544046" y="210910"/>
                    <a:pt x="505970" y="164675"/>
                  </a:cubicBezTo>
                  <a:cubicBezTo>
                    <a:pt x="448858" y="93964"/>
                    <a:pt x="359109" y="45011"/>
                    <a:pt x="266640" y="61329"/>
                  </a:cubicBezTo>
                  <a:cubicBezTo>
                    <a:pt x="81704" y="93964"/>
                    <a:pt x="114" y="308817"/>
                    <a:pt x="103461" y="458398"/>
                  </a:cubicBezTo>
                  <a:cubicBezTo>
                    <a:pt x="253042" y="670531"/>
                    <a:pt x="584840" y="635176"/>
                    <a:pt x="756179" y="485595"/>
                  </a:cubicBezTo>
                  <a:cubicBezTo>
                    <a:pt x="813292" y="442080"/>
                    <a:pt x="862246" y="390407"/>
                    <a:pt x="903041" y="330574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/>
            </a:p>
          </p:txBody>
        </p:sp>
        <p:sp>
          <p:nvSpPr>
            <p:cNvPr id="10" name="Freeform: Shape 9">
              <a:extLst>
                <a:ext uri="{FF2B5EF4-FFF2-40B4-BE49-F238E27FC236}">
                  <a16:creationId xmlns:a16="http://schemas.microsoft.com/office/drawing/2014/main" id="{FA7C3306-5AFD-4197-B039-52B9B3D0AC6E}"/>
                </a:ext>
              </a:extLst>
            </p:cNvPr>
            <p:cNvSpPr/>
            <p:nvPr/>
          </p:nvSpPr>
          <p:spPr>
            <a:xfrm>
              <a:off x="9151831" y="2872694"/>
              <a:ext cx="951880" cy="652717"/>
            </a:xfrm>
            <a:custGeom>
              <a:avLst/>
              <a:gdLst>
                <a:gd name="connsiteX0" fmla="*/ 58178 w 951880"/>
                <a:gd name="connsiteY0" fmla="*/ 330574 h 652717"/>
                <a:gd name="connsiteX1" fmla="*/ 180563 w 951880"/>
                <a:gd name="connsiteY1" fmla="*/ 379528 h 652717"/>
                <a:gd name="connsiteX2" fmla="*/ 362780 w 951880"/>
                <a:gd name="connsiteY2" fmla="*/ 311537 h 652717"/>
                <a:gd name="connsiteX3" fmla="*/ 455249 w 951880"/>
                <a:gd name="connsiteY3" fmla="*/ 164675 h 652717"/>
                <a:gd name="connsiteX4" fmla="*/ 694578 w 951880"/>
                <a:gd name="connsiteY4" fmla="*/ 61329 h 652717"/>
                <a:gd name="connsiteX5" fmla="*/ 857758 w 951880"/>
                <a:gd name="connsiteY5" fmla="*/ 458398 h 652717"/>
                <a:gd name="connsiteX6" fmla="*/ 205040 w 951880"/>
                <a:gd name="connsiteY6" fmla="*/ 485595 h 652717"/>
                <a:gd name="connsiteX7" fmla="*/ 58178 w 951880"/>
                <a:gd name="connsiteY7" fmla="*/ 330574 h 6527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51880" h="652717">
                  <a:moveTo>
                    <a:pt x="58178" y="330574"/>
                  </a:moveTo>
                  <a:cubicBezTo>
                    <a:pt x="96253" y="363210"/>
                    <a:pt x="147927" y="374089"/>
                    <a:pt x="180563" y="379528"/>
                  </a:cubicBezTo>
                  <a:cubicBezTo>
                    <a:pt x="248554" y="387687"/>
                    <a:pt x="319266" y="365930"/>
                    <a:pt x="362780" y="311537"/>
                  </a:cubicBezTo>
                  <a:cubicBezTo>
                    <a:pt x="398136" y="268022"/>
                    <a:pt x="417174" y="210910"/>
                    <a:pt x="455249" y="164675"/>
                  </a:cubicBezTo>
                  <a:cubicBezTo>
                    <a:pt x="512362" y="93964"/>
                    <a:pt x="602110" y="45011"/>
                    <a:pt x="694578" y="61329"/>
                  </a:cubicBezTo>
                  <a:cubicBezTo>
                    <a:pt x="879515" y="93964"/>
                    <a:pt x="961105" y="308817"/>
                    <a:pt x="857758" y="458398"/>
                  </a:cubicBezTo>
                  <a:cubicBezTo>
                    <a:pt x="708176" y="670531"/>
                    <a:pt x="376379" y="635176"/>
                    <a:pt x="205040" y="485595"/>
                  </a:cubicBezTo>
                  <a:cubicBezTo>
                    <a:pt x="150646" y="442080"/>
                    <a:pt x="101693" y="390407"/>
                    <a:pt x="58178" y="330574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/>
            </a:p>
          </p:txBody>
        </p:sp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5C31767F-4ADA-45F2-B354-AEF2579A6A70}"/>
                </a:ext>
              </a:extLst>
            </p:cNvPr>
            <p:cNvSpPr/>
            <p:nvPr/>
          </p:nvSpPr>
          <p:spPr>
            <a:xfrm>
              <a:off x="8001294" y="2010994"/>
              <a:ext cx="734308" cy="299162"/>
            </a:xfrm>
            <a:custGeom>
              <a:avLst/>
              <a:gdLst>
                <a:gd name="connsiteX0" fmla="*/ 596792 w 734307"/>
                <a:gd name="connsiteY0" fmla="*/ 58178 h 299162"/>
                <a:gd name="connsiteX1" fmla="*/ 148048 w 734307"/>
                <a:gd name="connsiteY1" fmla="*/ 58178 h 299162"/>
                <a:gd name="connsiteX2" fmla="*/ 58299 w 734307"/>
                <a:gd name="connsiteY2" fmla="*/ 150646 h 299162"/>
                <a:gd name="connsiteX3" fmla="*/ 148048 w 734307"/>
                <a:gd name="connsiteY3" fmla="*/ 251274 h 299162"/>
                <a:gd name="connsiteX4" fmla="*/ 596792 w 734307"/>
                <a:gd name="connsiteY4" fmla="*/ 251274 h 299162"/>
                <a:gd name="connsiteX5" fmla="*/ 686541 w 734307"/>
                <a:gd name="connsiteY5" fmla="*/ 158805 h 299162"/>
                <a:gd name="connsiteX6" fmla="*/ 596792 w 734307"/>
                <a:gd name="connsiteY6" fmla="*/ 58178 h 2991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34307" h="299162">
                  <a:moveTo>
                    <a:pt x="596792" y="58178"/>
                  </a:moveTo>
                  <a:cubicBezTo>
                    <a:pt x="591353" y="58178"/>
                    <a:pt x="153487" y="58178"/>
                    <a:pt x="148048" y="58178"/>
                  </a:cubicBezTo>
                  <a:cubicBezTo>
                    <a:pt x="99094" y="60898"/>
                    <a:pt x="61019" y="104412"/>
                    <a:pt x="58299" y="150646"/>
                  </a:cubicBezTo>
                  <a:cubicBezTo>
                    <a:pt x="55580" y="199600"/>
                    <a:pt x="99094" y="248554"/>
                    <a:pt x="148048" y="251274"/>
                  </a:cubicBezTo>
                  <a:cubicBezTo>
                    <a:pt x="153487" y="251274"/>
                    <a:pt x="591353" y="251274"/>
                    <a:pt x="596792" y="251274"/>
                  </a:cubicBezTo>
                  <a:cubicBezTo>
                    <a:pt x="645746" y="248554"/>
                    <a:pt x="683821" y="205040"/>
                    <a:pt x="686541" y="158805"/>
                  </a:cubicBezTo>
                  <a:cubicBezTo>
                    <a:pt x="689260" y="109852"/>
                    <a:pt x="648465" y="60898"/>
                    <a:pt x="596792" y="58178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/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CB6DA548-0CD9-4078-B433-D61F10371744}"/>
                </a:ext>
              </a:extLst>
            </p:cNvPr>
            <p:cNvSpPr/>
            <p:nvPr/>
          </p:nvSpPr>
          <p:spPr>
            <a:xfrm>
              <a:off x="4920042" y="2277520"/>
              <a:ext cx="1006274" cy="951879"/>
            </a:xfrm>
            <a:custGeom>
              <a:avLst/>
              <a:gdLst>
                <a:gd name="connsiteX0" fmla="*/ 884954 w 1006273"/>
                <a:gd name="connsiteY0" fmla="*/ 746251 h 951879"/>
                <a:gd name="connsiteX1" fmla="*/ 874076 w 1006273"/>
                <a:gd name="connsiteY1" fmla="*/ 670101 h 951879"/>
                <a:gd name="connsiteX2" fmla="*/ 874076 w 1006273"/>
                <a:gd name="connsiteY2" fmla="*/ 536837 h 951879"/>
                <a:gd name="connsiteX3" fmla="*/ 689139 w 1006273"/>
                <a:gd name="connsiteY3" fmla="*/ 88094 h 951879"/>
                <a:gd name="connsiteX4" fmla="*/ 428052 w 1006273"/>
                <a:gd name="connsiteY4" fmla="*/ 253993 h 951879"/>
                <a:gd name="connsiteX5" fmla="*/ 196881 w 1006273"/>
                <a:gd name="connsiteY5" fmla="*/ 58178 h 951879"/>
                <a:gd name="connsiteX6" fmla="*/ 58178 w 1006273"/>
                <a:gd name="connsiteY6" fmla="*/ 128889 h 951879"/>
                <a:gd name="connsiteX7" fmla="*/ 142488 w 1006273"/>
                <a:gd name="connsiteY7" fmla="*/ 273031 h 951879"/>
                <a:gd name="connsiteX8" fmla="*/ 142488 w 1006273"/>
                <a:gd name="connsiteY8" fmla="*/ 757130 h 951879"/>
                <a:gd name="connsiteX9" fmla="*/ 283910 w 1006273"/>
                <a:gd name="connsiteY9" fmla="*/ 895832 h 951879"/>
                <a:gd name="connsiteX10" fmla="*/ 428052 w 1006273"/>
                <a:gd name="connsiteY10" fmla="*/ 757130 h 951879"/>
                <a:gd name="connsiteX11" fmla="*/ 428052 w 1006273"/>
                <a:gd name="connsiteY11" fmla="*/ 400855 h 951879"/>
                <a:gd name="connsiteX12" fmla="*/ 523240 w 1006273"/>
                <a:gd name="connsiteY12" fmla="*/ 283910 h 951879"/>
                <a:gd name="connsiteX13" fmla="*/ 591231 w 1006273"/>
                <a:gd name="connsiteY13" fmla="*/ 354621 h 951879"/>
                <a:gd name="connsiteX14" fmla="*/ 591231 w 1006273"/>
                <a:gd name="connsiteY14" fmla="*/ 697297 h 951879"/>
                <a:gd name="connsiteX15" fmla="*/ 593951 w 1006273"/>
                <a:gd name="connsiteY15" fmla="*/ 729933 h 951879"/>
                <a:gd name="connsiteX16" fmla="*/ 610269 w 1006273"/>
                <a:gd name="connsiteY16" fmla="*/ 778887 h 951879"/>
                <a:gd name="connsiteX17" fmla="*/ 822402 w 1006273"/>
                <a:gd name="connsiteY17" fmla="*/ 893112 h 951879"/>
                <a:gd name="connsiteX18" fmla="*/ 961105 w 1006273"/>
                <a:gd name="connsiteY18" fmla="*/ 822401 h 951879"/>
                <a:gd name="connsiteX19" fmla="*/ 884954 w 1006273"/>
                <a:gd name="connsiteY19" fmla="*/ 746251 h 9518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006273" h="951879">
                  <a:moveTo>
                    <a:pt x="884954" y="746251"/>
                  </a:moveTo>
                  <a:cubicBezTo>
                    <a:pt x="879515" y="721774"/>
                    <a:pt x="876795" y="694578"/>
                    <a:pt x="874076" y="670101"/>
                  </a:cubicBezTo>
                  <a:cubicBezTo>
                    <a:pt x="874076" y="634745"/>
                    <a:pt x="874076" y="583072"/>
                    <a:pt x="874076" y="536837"/>
                  </a:cubicBezTo>
                  <a:cubicBezTo>
                    <a:pt x="879515" y="373658"/>
                    <a:pt x="909431" y="88094"/>
                    <a:pt x="689139" y="88094"/>
                  </a:cubicBezTo>
                  <a:cubicBezTo>
                    <a:pt x="539558" y="88094"/>
                    <a:pt x="452529" y="213199"/>
                    <a:pt x="428052" y="253993"/>
                  </a:cubicBezTo>
                  <a:cubicBezTo>
                    <a:pt x="425332" y="139768"/>
                    <a:pt x="335583" y="58178"/>
                    <a:pt x="196881" y="58178"/>
                  </a:cubicBezTo>
                  <a:cubicBezTo>
                    <a:pt x="109852" y="58178"/>
                    <a:pt x="58178" y="128889"/>
                    <a:pt x="58178" y="128889"/>
                  </a:cubicBezTo>
                  <a:cubicBezTo>
                    <a:pt x="58178" y="128889"/>
                    <a:pt x="142488" y="158805"/>
                    <a:pt x="142488" y="273031"/>
                  </a:cubicBezTo>
                  <a:cubicBezTo>
                    <a:pt x="142488" y="354621"/>
                    <a:pt x="142488" y="757130"/>
                    <a:pt x="142488" y="757130"/>
                  </a:cubicBezTo>
                  <a:cubicBezTo>
                    <a:pt x="145207" y="827841"/>
                    <a:pt x="194161" y="895832"/>
                    <a:pt x="283910" y="895832"/>
                  </a:cubicBezTo>
                  <a:cubicBezTo>
                    <a:pt x="373659" y="895832"/>
                    <a:pt x="428052" y="827841"/>
                    <a:pt x="428052" y="757130"/>
                  </a:cubicBezTo>
                  <a:lnTo>
                    <a:pt x="428052" y="400855"/>
                  </a:lnTo>
                  <a:cubicBezTo>
                    <a:pt x="441650" y="343742"/>
                    <a:pt x="474286" y="283910"/>
                    <a:pt x="523240" y="283910"/>
                  </a:cubicBezTo>
                  <a:cubicBezTo>
                    <a:pt x="585792" y="283910"/>
                    <a:pt x="591231" y="354621"/>
                    <a:pt x="591231" y="354621"/>
                  </a:cubicBezTo>
                  <a:lnTo>
                    <a:pt x="591231" y="697297"/>
                  </a:lnTo>
                  <a:cubicBezTo>
                    <a:pt x="591231" y="708176"/>
                    <a:pt x="593951" y="719054"/>
                    <a:pt x="593951" y="729933"/>
                  </a:cubicBezTo>
                  <a:cubicBezTo>
                    <a:pt x="596671" y="748971"/>
                    <a:pt x="602110" y="765289"/>
                    <a:pt x="610269" y="778887"/>
                  </a:cubicBezTo>
                  <a:cubicBezTo>
                    <a:pt x="645624" y="846878"/>
                    <a:pt x="719055" y="893112"/>
                    <a:pt x="822402" y="893112"/>
                  </a:cubicBezTo>
                  <a:cubicBezTo>
                    <a:pt x="909431" y="893112"/>
                    <a:pt x="961105" y="822401"/>
                    <a:pt x="961105" y="822401"/>
                  </a:cubicBezTo>
                  <a:cubicBezTo>
                    <a:pt x="961105" y="822401"/>
                    <a:pt x="909431" y="808803"/>
                    <a:pt x="884954" y="746251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8D688978-BCBB-42C3-8877-14A7C1EF64F9}"/>
                </a:ext>
              </a:extLst>
            </p:cNvPr>
            <p:cNvSpPr/>
            <p:nvPr/>
          </p:nvSpPr>
          <p:spPr>
            <a:xfrm>
              <a:off x="7552331" y="1888610"/>
              <a:ext cx="489539" cy="1332631"/>
            </a:xfrm>
            <a:custGeom>
              <a:avLst/>
              <a:gdLst>
                <a:gd name="connsiteX0" fmla="*/ 368560 w 489538"/>
                <a:gd name="connsiteY0" fmla="*/ 1135162 h 1332630"/>
                <a:gd name="connsiteX1" fmla="*/ 357681 w 489538"/>
                <a:gd name="connsiteY1" fmla="*/ 1059011 h 1332630"/>
                <a:gd name="connsiteX2" fmla="*/ 357681 w 489538"/>
                <a:gd name="connsiteY2" fmla="*/ 207759 h 1332630"/>
                <a:gd name="connsiteX3" fmla="*/ 208099 w 489538"/>
                <a:gd name="connsiteY3" fmla="*/ 58178 h 1332630"/>
                <a:gd name="connsiteX4" fmla="*/ 58518 w 489538"/>
                <a:gd name="connsiteY4" fmla="*/ 207759 h 1332630"/>
                <a:gd name="connsiteX5" fmla="*/ 58518 w 489538"/>
                <a:gd name="connsiteY5" fmla="*/ 961104 h 1332630"/>
                <a:gd name="connsiteX6" fmla="*/ 85715 w 489538"/>
                <a:gd name="connsiteY6" fmla="*/ 1159639 h 1332630"/>
                <a:gd name="connsiteX7" fmla="*/ 306007 w 489538"/>
                <a:gd name="connsiteY7" fmla="*/ 1282023 h 1332630"/>
                <a:gd name="connsiteX8" fmla="*/ 444710 w 489538"/>
                <a:gd name="connsiteY8" fmla="*/ 1211312 h 1332630"/>
                <a:gd name="connsiteX9" fmla="*/ 368560 w 489538"/>
                <a:gd name="connsiteY9" fmla="*/ 1135162 h 13326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89538" h="1332630">
                  <a:moveTo>
                    <a:pt x="368560" y="1135162"/>
                  </a:moveTo>
                  <a:cubicBezTo>
                    <a:pt x="363120" y="1110685"/>
                    <a:pt x="357681" y="1083488"/>
                    <a:pt x="357681" y="1059011"/>
                  </a:cubicBezTo>
                  <a:lnTo>
                    <a:pt x="357681" y="207759"/>
                  </a:lnTo>
                  <a:cubicBezTo>
                    <a:pt x="357681" y="126170"/>
                    <a:pt x="289689" y="58178"/>
                    <a:pt x="208099" y="58178"/>
                  </a:cubicBezTo>
                  <a:cubicBezTo>
                    <a:pt x="126510" y="58178"/>
                    <a:pt x="58518" y="126170"/>
                    <a:pt x="58518" y="207759"/>
                  </a:cubicBezTo>
                  <a:lnTo>
                    <a:pt x="58518" y="961104"/>
                  </a:lnTo>
                  <a:cubicBezTo>
                    <a:pt x="58518" y="1029095"/>
                    <a:pt x="53079" y="1097086"/>
                    <a:pt x="85715" y="1159639"/>
                  </a:cubicBezTo>
                  <a:cubicBezTo>
                    <a:pt x="118351" y="1227630"/>
                    <a:pt x="202660" y="1282023"/>
                    <a:pt x="306007" y="1282023"/>
                  </a:cubicBezTo>
                  <a:cubicBezTo>
                    <a:pt x="393036" y="1282023"/>
                    <a:pt x="444710" y="1211312"/>
                    <a:pt x="444710" y="1211312"/>
                  </a:cubicBezTo>
                  <a:cubicBezTo>
                    <a:pt x="444710" y="1211312"/>
                    <a:pt x="393036" y="1197714"/>
                    <a:pt x="368560" y="1135162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D3EAD6C8-DC12-4BCC-8993-9CD4B9FF1B4B}"/>
                </a:ext>
              </a:extLst>
            </p:cNvPr>
            <p:cNvSpPr/>
            <p:nvPr/>
          </p:nvSpPr>
          <p:spPr>
            <a:xfrm>
              <a:off x="4162324" y="2357456"/>
              <a:ext cx="815899" cy="815898"/>
            </a:xfrm>
            <a:custGeom>
              <a:avLst/>
              <a:gdLst>
                <a:gd name="connsiteX0" fmla="*/ 407949 w 815899"/>
                <a:gd name="connsiteY0" fmla="*/ 174058 h 815898"/>
                <a:gd name="connsiteX1" fmla="*/ 293723 w 815899"/>
                <a:gd name="connsiteY1" fmla="*/ 407950 h 815898"/>
                <a:gd name="connsiteX2" fmla="*/ 410669 w 815899"/>
                <a:gd name="connsiteY2" fmla="*/ 641840 h 815898"/>
                <a:gd name="connsiteX3" fmla="*/ 522175 w 815899"/>
                <a:gd name="connsiteY3" fmla="*/ 407950 h 815898"/>
                <a:gd name="connsiteX4" fmla="*/ 407949 w 815899"/>
                <a:gd name="connsiteY4" fmla="*/ 174058 h 815898"/>
                <a:gd name="connsiteX5" fmla="*/ 407950 w 815899"/>
                <a:gd name="connsiteY5" fmla="*/ 0 h 815898"/>
                <a:gd name="connsiteX6" fmla="*/ 815899 w 815899"/>
                <a:gd name="connsiteY6" fmla="*/ 407949 h 815898"/>
                <a:gd name="connsiteX7" fmla="*/ 407950 w 815899"/>
                <a:gd name="connsiteY7" fmla="*/ 815898 h 815898"/>
                <a:gd name="connsiteX8" fmla="*/ 0 w 815899"/>
                <a:gd name="connsiteY8" fmla="*/ 407949 h 815898"/>
                <a:gd name="connsiteX9" fmla="*/ 407950 w 815899"/>
                <a:gd name="connsiteY9" fmla="*/ 0 h 815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15899" h="815898">
                  <a:moveTo>
                    <a:pt x="407949" y="174058"/>
                  </a:moveTo>
                  <a:cubicBezTo>
                    <a:pt x="342677" y="174058"/>
                    <a:pt x="293723" y="263807"/>
                    <a:pt x="293723" y="407950"/>
                  </a:cubicBezTo>
                  <a:cubicBezTo>
                    <a:pt x="293723" y="552091"/>
                    <a:pt x="331799" y="639120"/>
                    <a:pt x="410669" y="641840"/>
                  </a:cubicBezTo>
                  <a:cubicBezTo>
                    <a:pt x="489539" y="641840"/>
                    <a:pt x="527614" y="552091"/>
                    <a:pt x="522175" y="407950"/>
                  </a:cubicBezTo>
                  <a:cubicBezTo>
                    <a:pt x="522175" y="263807"/>
                    <a:pt x="473221" y="176778"/>
                    <a:pt x="407949" y="174058"/>
                  </a:cubicBezTo>
                  <a:close/>
                  <a:moveTo>
                    <a:pt x="407950" y="0"/>
                  </a:moveTo>
                  <a:cubicBezTo>
                    <a:pt x="633682" y="0"/>
                    <a:pt x="815899" y="182217"/>
                    <a:pt x="815899" y="407949"/>
                  </a:cubicBezTo>
                  <a:cubicBezTo>
                    <a:pt x="815899" y="633681"/>
                    <a:pt x="633682" y="815898"/>
                    <a:pt x="407950" y="815898"/>
                  </a:cubicBezTo>
                  <a:cubicBezTo>
                    <a:pt x="182218" y="815898"/>
                    <a:pt x="0" y="633681"/>
                    <a:pt x="0" y="407949"/>
                  </a:cubicBezTo>
                  <a:cubicBezTo>
                    <a:pt x="0" y="182217"/>
                    <a:pt x="182218" y="0"/>
                    <a:pt x="407950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10A3D4A8-5179-4579-86DA-E3BE1D9939BC}"/>
                </a:ext>
              </a:extLst>
            </p:cNvPr>
            <p:cNvSpPr/>
            <p:nvPr/>
          </p:nvSpPr>
          <p:spPr>
            <a:xfrm>
              <a:off x="5884871" y="1946788"/>
              <a:ext cx="912802" cy="1223846"/>
            </a:xfrm>
            <a:custGeom>
              <a:avLst/>
              <a:gdLst>
                <a:gd name="connsiteX0" fmla="*/ 387907 w 912802"/>
                <a:gd name="connsiteY0" fmla="*/ 620081 h 1223846"/>
                <a:gd name="connsiteX1" fmla="*/ 273681 w 912802"/>
                <a:gd name="connsiteY1" fmla="*/ 824055 h 1223846"/>
                <a:gd name="connsiteX2" fmla="*/ 390627 w 912802"/>
                <a:gd name="connsiteY2" fmla="*/ 1028029 h 1223846"/>
                <a:gd name="connsiteX3" fmla="*/ 502132 w 912802"/>
                <a:gd name="connsiteY3" fmla="*/ 824055 h 1223846"/>
                <a:gd name="connsiteX4" fmla="*/ 387907 w 912802"/>
                <a:gd name="connsiteY4" fmla="*/ 620081 h 1223846"/>
                <a:gd name="connsiteX5" fmla="*/ 676192 w 912802"/>
                <a:gd name="connsiteY5" fmla="*/ 0 h 1223846"/>
                <a:gd name="connsiteX6" fmla="*/ 825773 w 912802"/>
                <a:gd name="connsiteY6" fmla="*/ 149581 h 1223846"/>
                <a:gd name="connsiteX7" fmla="*/ 825773 w 912802"/>
                <a:gd name="connsiteY7" fmla="*/ 1000834 h 1223846"/>
                <a:gd name="connsiteX8" fmla="*/ 836651 w 912802"/>
                <a:gd name="connsiteY8" fmla="*/ 1076985 h 1223846"/>
                <a:gd name="connsiteX9" fmla="*/ 912802 w 912802"/>
                <a:gd name="connsiteY9" fmla="*/ 1150415 h 1223846"/>
                <a:gd name="connsiteX10" fmla="*/ 774099 w 912802"/>
                <a:gd name="connsiteY10" fmla="*/ 1221126 h 1223846"/>
                <a:gd name="connsiteX11" fmla="*/ 553807 w 912802"/>
                <a:gd name="connsiteY11" fmla="*/ 1098742 h 1223846"/>
                <a:gd name="connsiteX12" fmla="*/ 548367 w 912802"/>
                <a:gd name="connsiteY12" fmla="*/ 1085144 h 1223846"/>
                <a:gd name="connsiteX13" fmla="*/ 398786 w 912802"/>
                <a:gd name="connsiteY13" fmla="*/ 1212967 h 1223846"/>
                <a:gd name="connsiteX14" fmla="*/ 156736 w 912802"/>
                <a:gd name="connsiteY14" fmla="*/ 1180332 h 1223846"/>
                <a:gd name="connsiteX15" fmla="*/ 287280 w 912802"/>
                <a:gd name="connsiteY15" fmla="*/ 416107 h 1223846"/>
                <a:gd name="connsiteX16" fmla="*/ 526611 w 912802"/>
                <a:gd name="connsiteY16" fmla="*/ 552091 h 1223846"/>
                <a:gd name="connsiteX17" fmla="*/ 526611 w 912802"/>
                <a:gd name="connsiteY17" fmla="*/ 149581 h 1223846"/>
                <a:gd name="connsiteX18" fmla="*/ 676192 w 912802"/>
                <a:gd name="connsiteY18" fmla="*/ 0 h 1223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912802" h="1223846">
                  <a:moveTo>
                    <a:pt x="387907" y="620081"/>
                  </a:moveTo>
                  <a:cubicBezTo>
                    <a:pt x="322635" y="620081"/>
                    <a:pt x="273681" y="698951"/>
                    <a:pt x="273681" y="824055"/>
                  </a:cubicBezTo>
                  <a:cubicBezTo>
                    <a:pt x="273681" y="949160"/>
                    <a:pt x="311756" y="1028029"/>
                    <a:pt x="390627" y="1028029"/>
                  </a:cubicBezTo>
                  <a:cubicBezTo>
                    <a:pt x="466777" y="1025310"/>
                    <a:pt x="504852" y="949160"/>
                    <a:pt x="502132" y="824055"/>
                  </a:cubicBezTo>
                  <a:cubicBezTo>
                    <a:pt x="502132" y="698951"/>
                    <a:pt x="455898" y="622801"/>
                    <a:pt x="387907" y="620081"/>
                  </a:cubicBezTo>
                  <a:close/>
                  <a:moveTo>
                    <a:pt x="676192" y="0"/>
                  </a:moveTo>
                  <a:cubicBezTo>
                    <a:pt x="757781" y="0"/>
                    <a:pt x="825773" y="67992"/>
                    <a:pt x="825773" y="149581"/>
                  </a:cubicBezTo>
                  <a:lnTo>
                    <a:pt x="825773" y="1000834"/>
                  </a:lnTo>
                  <a:cubicBezTo>
                    <a:pt x="828492" y="1025311"/>
                    <a:pt x="831212" y="1052508"/>
                    <a:pt x="836651" y="1076985"/>
                  </a:cubicBezTo>
                  <a:cubicBezTo>
                    <a:pt x="861128" y="1139537"/>
                    <a:pt x="912802" y="1150415"/>
                    <a:pt x="912802" y="1150415"/>
                  </a:cubicBezTo>
                  <a:cubicBezTo>
                    <a:pt x="912802" y="1150415"/>
                    <a:pt x="861128" y="1221126"/>
                    <a:pt x="774099" y="1221126"/>
                  </a:cubicBezTo>
                  <a:cubicBezTo>
                    <a:pt x="670752" y="1221126"/>
                    <a:pt x="589162" y="1166733"/>
                    <a:pt x="553807" y="1098742"/>
                  </a:cubicBezTo>
                  <a:cubicBezTo>
                    <a:pt x="551087" y="1093303"/>
                    <a:pt x="551087" y="1090583"/>
                    <a:pt x="548367" y="1085144"/>
                  </a:cubicBezTo>
                  <a:cubicBezTo>
                    <a:pt x="534769" y="1147696"/>
                    <a:pt x="450460" y="1199369"/>
                    <a:pt x="398786" y="1212967"/>
                  </a:cubicBezTo>
                  <a:cubicBezTo>
                    <a:pt x="322636" y="1234725"/>
                    <a:pt x="222008" y="1223846"/>
                    <a:pt x="156736" y="1180332"/>
                  </a:cubicBezTo>
                  <a:cubicBezTo>
                    <a:pt x="-79874" y="1028031"/>
                    <a:pt x="-58117" y="416107"/>
                    <a:pt x="287280" y="416107"/>
                  </a:cubicBezTo>
                  <a:cubicBezTo>
                    <a:pt x="412385" y="416107"/>
                    <a:pt x="491255" y="503137"/>
                    <a:pt x="526611" y="552091"/>
                  </a:cubicBezTo>
                  <a:lnTo>
                    <a:pt x="526611" y="149581"/>
                  </a:lnTo>
                  <a:cubicBezTo>
                    <a:pt x="526611" y="67992"/>
                    <a:pt x="594602" y="0"/>
                    <a:pt x="676192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1DB9A871-4A68-495F-A3EF-392427AED281}"/>
                </a:ext>
              </a:extLst>
            </p:cNvPr>
            <p:cNvSpPr/>
            <p:nvPr/>
          </p:nvSpPr>
          <p:spPr>
            <a:xfrm>
              <a:off x="6789513" y="2362895"/>
              <a:ext cx="747906" cy="810458"/>
            </a:xfrm>
            <a:custGeom>
              <a:avLst/>
              <a:gdLst>
                <a:gd name="connsiteX0" fmla="*/ 394818 w 747906"/>
                <a:gd name="connsiteY0" fmla="*/ 163222 h 810458"/>
                <a:gd name="connsiteX1" fmla="*/ 356275 w 747906"/>
                <a:gd name="connsiteY1" fmla="*/ 174058 h 810458"/>
                <a:gd name="connsiteX2" fmla="*/ 274685 w 747906"/>
                <a:gd name="connsiteY2" fmla="*/ 356275 h 810458"/>
                <a:gd name="connsiteX3" fmla="*/ 375313 w 747906"/>
                <a:gd name="connsiteY3" fmla="*/ 358994 h 810458"/>
                <a:gd name="connsiteX4" fmla="*/ 473220 w 747906"/>
                <a:gd name="connsiteY4" fmla="*/ 239329 h 810458"/>
                <a:gd name="connsiteX5" fmla="*/ 394818 w 747906"/>
                <a:gd name="connsiteY5" fmla="*/ 163222 h 810458"/>
                <a:gd name="connsiteX6" fmla="*/ 386192 w 747906"/>
                <a:gd name="connsiteY6" fmla="*/ 0 h 810458"/>
                <a:gd name="connsiteX7" fmla="*/ 747906 w 747906"/>
                <a:gd name="connsiteY7" fmla="*/ 266526 h 810458"/>
                <a:gd name="connsiteX8" fmla="*/ 291004 w 747906"/>
                <a:gd name="connsiteY8" fmla="*/ 484100 h 810458"/>
                <a:gd name="connsiteX9" fmla="*/ 497698 w 747906"/>
                <a:gd name="connsiteY9" fmla="*/ 617363 h 810458"/>
                <a:gd name="connsiteX10" fmla="*/ 712551 w 747906"/>
                <a:gd name="connsiteY10" fmla="*/ 557530 h 810458"/>
                <a:gd name="connsiteX11" fmla="*/ 388912 w 747906"/>
                <a:gd name="connsiteY11" fmla="*/ 810458 h 810458"/>
                <a:gd name="connsiteX12" fmla="*/ 0 w 747906"/>
                <a:gd name="connsiteY12" fmla="*/ 413389 h 810458"/>
                <a:gd name="connsiteX13" fmla="*/ 386192 w 747906"/>
                <a:gd name="connsiteY13" fmla="*/ 0 h 8104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747906" h="810458">
                  <a:moveTo>
                    <a:pt x="394818" y="163222"/>
                  </a:moveTo>
                  <a:cubicBezTo>
                    <a:pt x="381772" y="163179"/>
                    <a:pt x="368514" y="166579"/>
                    <a:pt x="356275" y="174058"/>
                  </a:cubicBezTo>
                  <a:cubicBezTo>
                    <a:pt x="299162" y="212133"/>
                    <a:pt x="282844" y="291003"/>
                    <a:pt x="274685" y="356275"/>
                  </a:cubicBezTo>
                  <a:cubicBezTo>
                    <a:pt x="274685" y="364434"/>
                    <a:pt x="369873" y="358994"/>
                    <a:pt x="375313" y="358994"/>
                  </a:cubicBezTo>
                  <a:cubicBezTo>
                    <a:pt x="432425" y="345396"/>
                    <a:pt x="473220" y="301881"/>
                    <a:pt x="473220" y="239329"/>
                  </a:cubicBezTo>
                  <a:cubicBezTo>
                    <a:pt x="471181" y="194455"/>
                    <a:pt x="433956" y="163349"/>
                    <a:pt x="394818" y="163222"/>
                  </a:cubicBezTo>
                  <a:close/>
                  <a:moveTo>
                    <a:pt x="386192" y="0"/>
                  </a:moveTo>
                  <a:cubicBezTo>
                    <a:pt x="519455" y="0"/>
                    <a:pt x="747906" y="65272"/>
                    <a:pt x="747906" y="266526"/>
                  </a:cubicBezTo>
                  <a:cubicBezTo>
                    <a:pt x="747906" y="467782"/>
                    <a:pt x="538493" y="484100"/>
                    <a:pt x="291004" y="484100"/>
                  </a:cubicBezTo>
                  <a:cubicBezTo>
                    <a:pt x="291004" y="484100"/>
                    <a:pt x="326359" y="617363"/>
                    <a:pt x="497698" y="617363"/>
                  </a:cubicBezTo>
                  <a:cubicBezTo>
                    <a:pt x="669036" y="617363"/>
                    <a:pt x="712551" y="557530"/>
                    <a:pt x="712551" y="557530"/>
                  </a:cubicBezTo>
                  <a:cubicBezTo>
                    <a:pt x="712551" y="557530"/>
                    <a:pt x="696233" y="810458"/>
                    <a:pt x="388912" y="810458"/>
                  </a:cubicBezTo>
                  <a:cubicBezTo>
                    <a:pt x="212134" y="810458"/>
                    <a:pt x="0" y="677195"/>
                    <a:pt x="0" y="413389"/>
                  </a:cubicBezTo>
                  <a:cubicBezTo>
                    <a:pt x="0" y="176778"/>
                    <a:pt x="163180" y="0"/>
                    <a:pt x="386192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1001B3D6-C1BC-4979-BF9B-2956B2C7EC99}"/>
                </a:ext>
              </a:extLst>
            </p:cNvPr>
            <p:cNvSpPr/>
            <p:nvPr/>
          </p:nvSpPr>
          <p:spPr>
            <a:xfrm>
              <a:off x="7988882" y="2362895"/>
              <a:ext cx="747906" cy="810458"/>
            </a:xfrm>
            <a:custGeom>
              <a:avLst/>
              <a:gdLst>
                <a:gd name="connsiteX0" fmla="*/ 394818 w 747906"/>
                <a:gd name="connsiteY0" fmla="*/ 163222 h 810458"/>
                <a:gd name="connsiteX1" fmla="*/ 356275 w 747906"/>
                <a:gd name="connsiteY1" fmla="*/ 174058 h 810458"/>
                <a:gd name="connsiteX2" fmla="*/ 274685 w 747906"/>
                <a:gd name="connsiteY2" fmla="*/ 356275 h 810458"/>
                <a:gd name="connsiteX3" fmla="*/ 375313 w 747906"/>
                <a:gd name="connsiteY3" fmla="*/ 358994 h 810458"/>
                <a:gd name="connsiteX4" fmla="*/ 473220 w 747906"/>
                <a:gd name="connsiteY4" fmla="*/ 239329 h 810458"/>
                <a:gd name="connsiteX5" fmla="*/ 394818 w 747906"/>
                <a:gd name="connsiteY5" fmla="*/ 163222 h 810458"/>
                <a:gd name="connsiteX6" fmla="*/ 386192 w 747906"/>
                <a:gd name="connsiteY6" fmla="*/ 0 h 810458"/>
                <a:gd name="connsiteX7" fmla="*/ 747906 w 747906"/>
                <a:gd name="connsiteY7" fmla="*/ 266526 h 810458"/>
                <a:gd name="connsiteX8" fmla="*/ 291004 w 747906"/>
                <a:gd name="connsiteY8" fmla="*/ 484100 h 810458"/>
                <a:gd name="connsiteX9" fmla="*/ 497697 w 747906"/>
                <a:gd name="connsiteY9" fmla="*/ 617363 h 810458"/>
                <a:gd name="connsiteX10" fmla="*/ 712551 w 747906"/>
                <a:gd name="connsiteY10" fmla="*/ 557530 h 810458"/>
                <a:gd name="connsiteX11" fmla="*/ 388911 w 747906"/>
                <a:gd name="connsiteY11" fmla="*/ 810458 h 810458"/>
                <a:gd name="connsiteX12" fmla="*/ 0 w 747906"/>
                <a:gd name="connsiteY12" fmla="*/ 413389 h 810458"/>
                <a:gd name="connsiteX13" fmla="*/ 386192 w 747906"/>
                <a:gd name="connsiteY13" fmla="*/ 0 h 8104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747906" h="810458">
                  <a:moveTo>
                    <a:pt x="394818" y="163222"/>
                  </a:moveTo>
                  <a:cubicBezTo>
                    <a:pt x="381772" y="163179"/>
                    <a:pt x="368514" y="166579"/>
                    <a:pt x="356275" y="174058"/>
                  </a:cubicBezTo>
                  <a:cubicBezTo>
                    <a:pt x="299162" y="212133"/>
                    <a:pt x="282844" y="291003"/>
                    <a:pt x="274685" y="356275"/>
                  </a:cubicBezTo>
                  <a:cubicBezTo>
                    <a:pt x="274685" y="364434"/>
                    <a:pt x="369873" y="358994"/>
                    <a:pt x="375313" y="358994"/>
                  </a:cubicBezTo>
                  <a:cubicBezTo>
                    <a:pt x="432426" y="345396"/>
                    <a:pt x="473220" y="301881"/>
                    <a:pt x="473220" y="239329"/>
                  </a:cubicBezTo>
                  <a:cubicBezTo>
                    <a:pt x="471181" y="194455"/>
                    <a:pt x="433955" y="163349"/>
                    <a:pt x="394818" y="163222"/>
                  </a:cubicBezTo>
                  <a:close/>
                  <a:moveTo>
                    <a:pt x="386192" y="0"/>
                  </a:moveTo>
                  <a:cubicBezTo>
                    <a:pt x="519455" y="0"/>
                    <a:pt x="747906" y="65272"/>
                    <a:pt x="747906" y="266526"/>
                  </a:cubicBezTo>
                  <a:cubicBezTo>
                    <a:pt x="747906" y="467782"/>
                    <a:pt x="538492" y="484100"/>
                    <a:pt x="291004" y="484100"/>
                  </a:cubicBezTo>
                  <a:cubicBezTo>
                    <a:pt x="291004" y="484100"/>
                    <a:pt x="326359" y="617363"/>
                    <a:pt x="497697" y="617363"/>
                  </a:cubicBezTo>
                  <a:cubicBezTo>
                    <a:pt x="669036" y="617363"/>
                    <a:pt x="712551" y="557530"/>
                    <a:pt x="712551" y="557530"/>
                  </a:cubicBezTo>
                  <a:cubicBezTo>
                    <a:pt x="712551" y="557530"/>
                    <a:pt x="696233" y="810458"/>
                    <a:pt x="388911" y="810458"/>
                  </a:cubicBezTo>
                  <a:cubicBezTo>
                    <a:pt x="212133" y="810458"/>
                    <a:pt x="0" y="677195"/>
                    <a:pt x="0" y="413389"/>
                  </a:cubicBezTo>
                  <a:cubicBezTo>
                    <a:pt x="0" y="176778"/>
                    <a:pt x="163180" y="0"/>
                    <a:pt x="386192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16367185-B7D6-4C5F-BFDB-408FCE04E3F2}"/>
                </a:ext>
              </a:extLst>
            </p:cNvPr>
            <p:cNvSpPr/>
            <p:nvPr/>
          </p:nvSpPr>
          <p:spPr>
            <a:xfrm>
              <a:off x="8683414" y="2274801"/>
              <a:ext cx="897487" cy="951879"/>
            </a:xfrm>
            <a:custGeom>
              <a:avLst/>
              <a:gdLst>
                <a:gd name="connsiteX0" fmla="*/ 580988 w 897487"/>
                <a:gd name="connsiteY0" fmla="*/ 667381 h 951879"/>
                <a:gd name="connsiteX1" fmla="*/ 409649 w 897487"/>
                <a:gd name="connsiteY1" fmla="*/ 667381 h 951879"/>
                <a:gd name="connsiteX2" fmla="*/ 591866 w 897487"/>
                <a:gd name="connsiteY2" fmla="*/ 525959 h 951879"/>
                <a:gd name="connsiteX3" fmla="*/ 842075 w 897487"/>
                <a:gd name="connsiteY3" fmla="*/ 123450 h 951879"/>
                <a:gd name="connsiteX4" fmla="*/ 842075 w 897487"/>
                <a:gd name="connsiteY4" fmla="*/ 123450 h 951879"/>
                <a:gd name="connsiteX5" fmla="*/ 798560 w 897487"/>
                <a:gd name="connsiteY5" fmla="*/ 58178 h 951879"/>
                <a:gd name="connsiteX6" fmla="*/ 746887 w 897487"/>
                <a:gd name="connsiteY6" fmla="*/ 107132 h 951879"/>
                <a:gd name="connsiteX7" fmla="*/ 697933 w 897487"/>
                <a:gd name="connsiteY7" fmla="*/ 115291 h 951879"/>
                <a:gd name="connsiteX8" fmla="*/ 219273 w 897487"/>
                <a:gd name="connsiteY8" fmla="*/ 115291 h 951879"/>
                <a:gd name="connsiteX9" fmla="*/ 102328 w 897487"/>
                <a:gd name="connsiteY9" fmla="*/ 224077 h 951879"/>
                <a:gd name="connsiteX10" fmla="*/ 213834 w 897487"/>
                <a:gd name="connsiteY10" fmla="*/ 332863 h 951879"/>
                <a:gd name="connsiteX11" fmla="*/ 485800 w 897487"/>
                <a:gd name="connsiteY11" fmla="*/ 335583 h 951879"/>
                <a:gd name="connsiteX12" fmla="*/ 134964 w 897487"/>
                <a:gd name="connsiteY12" fmla="*/ 615708 h 951879"/>
                <a:gd name="connsiteX13" fmla="*/ 61533 w 897487"/>
                <a:gd name="connsiteY13" fmla="*/ 884953 h 951879"/>
                <a:gd name="connsiteX14" fmla="*/ 398771 w 897487"/>
                <a:gd name="connsiteY14" fmla="*/ 806083 h 951879"/>
                <a:gd name="connsiteX15" fmla="*/ 529314 w 897487"/>
                <a:gd name="connsiteY15" fmla="*/ 863196 h 951879"/>
                <a:gd name="connsiteX16" fmla="*/ 782242 w 897487"/>
                <a:gd name="connsiteY16" fmla="*/ 607549 h 951879"/>
                <a:gd name="connsiteX17" fmla="*/ 580988 w 897487"/>
                <a:gd name="connsiteY17" fmla="*/ 667381 h 9518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897487" h="951879">
                  <a:moveTo>
                    <a:pt x="580988" y="667381"/>
                  </a:moveTo>
                  <a:lnTo>
                    <a:pt x="409649" y="667381"/>
                  </a:lnTo>
                  <a:cubicBezTo>
                    <a:pt x="423248" y="667381"/>
                    <a:pt x="548352" y="561314"/>
                    <a:pt x="591866" y="525959"/>
                  </a:cubicBezTo>
                  <a:cubicBezTo>
                    <a:pt x="700653" y="433491"/>
                    <a:pt x="899188" y="297508"/>
                    <a:pt x="842075" y="123450"/>
                  </a:cubicBezTo>
                  <a:lnTo>
                    <a:pt x="842075" y="123450"/>
                  </a:lnTo>
                  <a:cubicBezTo>
                    <a:pt x="831197" y="82655"/>
                    <a:pt x="798560" y="58178"/>
                    <a:pt x="798560" y="58178"/>
                  </a:cubicBezTo>
                  <a:cubicBezTo>
                    <a:pt x="798560" y="58178"/>
                    <a:pt x="787682" y="90814"/>
                    <a:pt x="746887" y="107132"/>
                  </a:cubicBezTo>
                  <a:cubicBezTo>
                    <a:pt x="730569" y="109852"/>
                    <a:pt x="714251" y="115291"/>
                    <a:pt x="697933" y="115291"/>
                  </a:cubicBezTo>
                  <a:cubicBezTo>
                    <a:pt x="684334" y="115291"/>
                    <a:pt x="219273" y="115291"/>
                    <a:pt x="219273" y="115291"/>
                  </a:cubicBezTo>
                  <a:cubicBezTo>
                    <a:pt x="156721" y="115291"/>
                    <a:pt x="105048" y="166964"/>
                    <a:pt x="102328" y="224077"/>
                  </a:cubicBezTo>
                  <a:cubicBezTo>
                    <a:pt x="102328" y="283910"/>
                    <a:pt x="151282" y="332863"/>
                    <a:pt x="213834" y="332863"/>
                  </a:cubicBezTo>
                  <a:lnTo>
                    <a:pt x="485800" y="335583"/>
                  </a:lnTo>
                  <a:cubicBezTo>
                    <a:pt x="360695" y="406294"/>
                    <a:pt x="211114" y="487884"/>
                    <a:pt x="134964" y="615708"/>
                  </a:cubicBezTo>
                  <a:cubicBezTo>
                    <a:pt x="91449" y="689138"/>
                    <a:pt x="45215" y="800644"/>
                    <a:pt x="61533" y="884953"/>
                  </a:cubicBezTo>
                  <a:cubicBezTo>
                    <a:pt x="121366" y="830560"/>
                    <a:pt x="279106" y="778887"/>
                    <a:pt x="398771" y="806083"/>
                  </a:cubicBezTo>
                  <a:cubicBezTo>
                    <a:pt x="445005" y="814242"/>
                    <a:pt x="491239" y="838719"/>
                    <a:pt x="529314" y="863196"/>
                  </a:cubicBezTo>
                  <a:cubicBezTo>
                    <a:pt x="755046" y="1004618"/>
                    <a:pt x="891029" y="727213"/>
                    <a:pt x="782242" y="607549"/>
                  </a:cubicBezTo>
                  <a:cubicBezTo>
                    <a:pt x="784962" y="607549"/>
                    <a:pt x="722410" y="667381"/>
                    <a:pt x="580988" y="667381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17770C8A-5B84-4503-8D5D-B710B131CCB1}"/>
                </a:ext>
              </a:extLst>
            </p:cNvPr>
            <p:cNvSpPr/>
            <p:nvPr/>
          </p:nvSpPr>
          <p:spPr>
            <a:xfrm>
              <a:off x="2624650" y="1948442"/>
              <a:ext cx="1903761" cy="1577400"/>
            </a:xfrm>
            <a:custGeom>
              <a:avLst/>
              <a:gdLst>
                <a:gd name="connsiteX0" fmla="*/ 1559430 w 1903760"/>
                <a:gd name="connsiteY0" fmla="*/ 1165078 h 1577399"/>
                <a:gd name="connsiteX1" fmla="*/ 1369054 w 1903760"/>
                <a:gd name="connsiteY1" fmla="*/ 593950 h 1577399"/>
                <a:gd name="connsiteX2" fmla="*/ 1483279 w 1903760"/>
                <a:gd name="connsiteY2" fmla="*/ 126170 h 1577399"/>
                <a:gd name="connsiteX3" fmla="*/ 1311941 w 1903760"/>
                <a:gd name="connsiteY3" fmla="*/ 58178 h 1577399"/>
                <a:gd name="connsiteX4" fmla="*/ 1078050 w 1903760"/>
                <a:gd name="connsiteY4" fmla="*/ 205040 h 1577399"/>
                <a:gd name="connsiteX5" fmla="*/ 846879 w 1903760"/>
                <a:gd name="connsiteY5" fmla="*/ 523239 h 1577399"/>
                <a:gd name="connsiteX6" fmla="*/ 645624 w 1903760"/>
                <a:gd name="connsiteY6" fmla="*/ 210479 h 1577399"/>
                <a:gd name="connsiteX7" fmla="*/ 455248 w 1903760"/>
                <a:gd name="connsiteY7" fmla="*/ 63617 h 1577399"/>
                <a:gd name="connsiteX8" fmla="*/ 234956 w 1903760"/>
                <a:gd name="connsiteY8" fmla="*/ 137048 h 1577399"/>
                <a:gd name="connsiteX9" fmla="*/ 316546 w 1903760"/>
                <a:gd name="connsiteY9" fmla="*/ 588511 h 1577399"/>
                <a:gd name="connsiteX10" fmla="*/ 58178 w 1903760"/>
                <a:gd name="connsiteY10" fmla="*/ 1072610 h 1577399"/>
                <a:gd name="connsiteX11" fmla="*/ 474286 w 1903760"/>
                <a:gd name="connsiteY11" fmla="*/ 1020936 h 1577399"/>
                <a:gd name="connsiteX12" fmla="*/ 555876 w 1903760"/>
                <a:gd name="connsiteY12" fmla="*/ 572193 h 1577399"/>
                <a:gd name="connsiteX13" fmla="*/ 830561 w 1903760"/>
                <a:gd name="connsiteY13" fmla="*/ 993740 h 1577399"/>
                <a:gd name="connsiteX14" fmla="*/ 1140602 w 1903760"/>
                <a:gd name="connsiteY14" fmla="*/ 574913 h 1577399"/>
                <a:gd name="connsiteX15" fmla="*/ 1567589 w 1903760"/>
                <a:gd name="connsiteY15" fmla="*/ 1526792 h 1577399"/>
                <a:gd name="connsiteX16" fmla="*/ 1866751 w 1903760"/>
                <a:gd name="connsiteY16" fmla="*/ 1322818 h 1577399"/>
                <a:gd name="connsiteX17" fmla="*/ 1559430 w 1903760"/>
                <a:gd name="connsiteY17" fmla="*/ 1165078 h 15773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903760" h="1577399">
                  <a:moveTo>
                    <a:pt x="1559430" y="1165078"/>
                  </a:moveTo>
                  <a:cubicBezTo>
                    <a:pt x="1420727" y="1012777"/>
                    <a:pt x="1377213" y="762569"/>
                    <a:pt x="1369054" y="593950"/>
                  </a:cubicBezTo>
                  <a:cubicBezTo>
                    <a:pt x="1360895" y="449809"/>
                    <a:pt x="1369054" y="199600"/>
                    <a:pt x="1483279" y="126170"/>
                  </a:cubicBezTo>
                  <a:cubicBezTo>
                    <a:pt x="1445204" y="77216"/>
                    <a:pt x="1369054" y="58178"/>
                    <a:pt x="1311941" y="58178"/>
                  </a:cubicBezTo>
                  <a:cubicBezTo>
                    <a:pt x="1184117" y="58178"/>
                    <a:pt x="1121565" y="142488"/>
                    <a:pt x="1078050" y="205040"/>
                  </a:cubicBezTo>
                  <a:cubicBezTo>
                    <a:pt x="1064452" y="224077"/>
                    <a:pt x="846879" y="523239"/>
                    <a:pt x="846879" y="523239"/>
                  </a:cubicBezTo>
                  <a:cubicBezTo>
                    <a:pt x="846879" y="523239"/>
                    <a:pt x="667382" y="243115"/>
                    <a:pt x="645624" y="210479"/>
                  </a:cubicBezTo>
                  <a:cubicBezTo>
                    <a:pt x="615708" y="164245"/>
                    <a:pt x="555876" y="77216"/>
                    <a:pt x="455248" y="63617"/>
                  </a:cubicBezTo>
                  <a:cubicBezTo>
                    <a:pt x="411734" y="58178"/>
                    <a:pt x="297508" y="52739"/>
                    <a:pt x="234956" y="137048"/>
                  </a:cubicBezTo>
                  <a:cubicBezTo>
                    <a:pt x="341023" y="221357"/>
                    <a:pt x="338303" y="438930"/>
                    <a:pt x="316546" y="588511"/>
                  </a:cubicBezTo>
                  <a:cubicBezTo>
                    <a:pt x="248554" y="1031815"/>
                    <a:pt x="58178" y="1072610"/>
                    <a:pt x="58178" y="1072610"/>
                  </a:cubicBezTo>
                  <a:cubicBezTo>
                    <a:pt x="156086" y="1333696"/>
                    <a:pt x="403575" y="1230350"/>
                    <a:pt x="474286" y="1020936"/>
                  </a:cubicBezTo>
                  <a:cubicBezTo>
                    <a:pt x="520520" y="884953"/>
                    <a:pt x="550436" y="713615"/>
                    <a:pt x="555876" y="572193"/>
                  </a:cubicBezTo>
                  <a:lnTo>
                    <a:pt x="830561" y="993740"/>
                  </a:lnTo>
                  <a:cubicBezTo>
                    <a:pt x="830561" y="993740"/>
                    <a:pt x="1140602" y="574913"/>
                    <a:pt x="1140602" y="574913"/>
                  </a:cubicBezTo>
                  <a:cubicBezTo>
                    <a:pt x="1088929" y="1314659"/>
                    <a:pt x="1344577" y="1526792"/>
                    <a:pt x="1567589" y="1526792"/>
                  </a:cubicBezTo>
                  <a:cubicBezTo>
                    <a:pt x="1790601" y="1526792"/>
                    <a:pt x="1866751" y="1322818"/>
                    <a:pt x="1866751" y="1322818"/>
                  </a:cubicBezTo>
                  <a:cubicBezTo>
                    <a:pt x="1744367" y="1314659"/>
                    <a:pt x="1641019" y="1252107"/>
                    <a:pt x="1559430" y="1165078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/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A7E3A062-DDC7-49B6-A3D5-B32A3A38D180}"/>
                </a:ext>
              </a:extLst>
            </p:cNvPr>
            <p:cNvSpPr/>
            <p:nvPr/>
          </p:nvSpPr>
          <p:spPr>
            <a:xfrm>
              <a:off x="4792218" y="3234839"/>
              <a:ext cx="271966" cy="652717"/>
            </a:xfrm>
            <a:custGeom>
              <a:avLst/>
              <a:gdLst>
                <a:gd name="connsiteX0" fmla="*/ 88095 w 271965"/>
                <a:gd name="connsiteY0" fmla="*/ 120730 h 652717"/>
                <a:gd name="connsiteX1" fmla="*/ 93534 w 271965"/>
                <a:gd name="connsiteY1" fmla="*/ 153366 h 652717"/>
                <a:gd name="connsiteX2" fmla="*/ 93534 w 271965"/>
                <a:gd name="connsiteY2" fmla="*/ 544997 h 652717"/>
                <a:gd name="connsiteX3" fmla="*/ 156086 w 271965"/>
                <a:gd name="connsiteY3" fmla="*/ 604829 h 652717"/>
                <a:gd name="connsiteX4" fmla="*/ 221358 w 271965"/>
                <a:gd name="connsiteY4" fmla="*/ 544997 h 652717"/>
                <a:gd name="connsiteX5" fmla="*/ 221358 w 271965"/>
                <a:gd name="connsiteY5" fmla="*/ 194161 h 652717"/>
                <a:gd name="connsiteX6" fmla="*/ 210479 w 271965"/>
                <a:gd name="connsiteY6" fmla="*/ 109852 h 652717"/>
                <a:gd name="connsiteX7" fmla="*/ 118011 w 271965"/>
                <a:gd name="connsiteY7" fmla="*/ 58178 h 652717"/>
                <a:gd name="connsiteX8" fmla="*/ 58178 w 271965"/>
                <a:gd name="connsiteY8" fmla="*/ 88094 h 652717"/>
                <a:gd name="connsiteX9" fmla="*/ 88095 w 271965"/>
                <a:gd name="connsiteY9" fmla="*/ 120730 h 6527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71965" h="652717">
                  <a:moveTo>
                    <a:pt x="88095" y="120730"/>
                  </a:moveTo>
                  <a:cubicBezTo>
                    <a:pt x="90814" y="131609"/>
                    <a:pt x="90814" y="142487"/>
                    <a:pt x="93534" y="153366"/>
                  </a:cubicBezTo>
                  <a:cubicBezTo>
                    <a:pt x="93534" y="156086"/>
                    <a:pt x="93534" y="542277"/>
                    <a:pt x="93534" y="544997"/>
                  </a:cubicBezTo>
                  <a:cubicBezTo>
                    <a:pt x="93534" y="577632"/>
                    <a:pt x="123450" y="604829"/>
                    <a:pt x="156086" y="604829"/>
                  </a:cubicBezTo>
                  <a:cubicBezTo>
                    <a:pt x="188722" y="607548"/>
                    <a:pt x="221358" y="577632"/>
                    <a:pt x="221358" y="544997"/>
                  </a:cubicBezTo>
                  <a:cubicBezTo>
                    <a:pt x="221358" y="539557"/>
                    <a:pt x="221358" y="194161"/>
                    <a:pt x="221358" y="194161"/>
                  </a:cubicBezTo>
                  <a:cubicBezTo>
                    <a:pt x="221358" y="164245"/>
                    <a:pt x="224078" y="134329"/>
                    <a:pt x="210479" y="109852"/>
                  </a:cubicBezTo>
                  <a:cubicBezTo>
                    <a:pt x="196881" y="79935"/>
                    <a:pt x="158806" y="58178"/>
                    <a:pt x="118011" y="58178"/>
                  </a:cubicBezTo>
                  <a:cubicBezTo>
                    <a:pt x="79936" y="58178"/>
                    <a:pt x="58178" y="88094"/>
                    <a:pt x="58178" y="88094"/>
                  </a:cubicBezTo>
                  <a:cubicBezTo>
                    <a:pt x="58178" y="88094"/>
                    <a:pt x="77216" y="93534"/>
                    <a:pt x="88095" y="120730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DB52140B-5C19-4D8B-93F0-72CFECE86CC0}"/>
                </a:ext>
              </a:extLst>
            </p:cNvPr>
            <p:cNvSpPr/>
            <p:nvPr/>
          </p:nvSpPr>
          <p:spPr>
            <a:xfrm>
              <a:off x="8751819" y="3234667"/>
              <a:ext cx="271966" cy="652717"/>
            </a:xfrm>
            <a:custGeom>
              <a:avLst/>
              <a:gdLst>
                <a:gd name="connsiteX0" fmla="*/ 191663 w 271965"/>
                <a:gd name="connsiteY0" fmla="*/ 542449 h 652717"/>
                <a:gd name="connsiteX1" fmla="*/ 186224 w 271965"/>
                <a:gd name="connsiteY1" fmla="*/ 509813 h 652717"/>
                <a:gd name="connsiteX2" fmla="*/ 186224 w 271965"/>
                <a:gd name="connsiteY2" fmla="*/ 118183 h 652717"/>
                <a:gd name="connsiteX3" fmla="*/ 123672 w 271965"/>
                <a:gd name="connsiteY3" fmla="*/ 58350 h 652717"/>
                <a:gd name="connsiteX4" fmla="*/ 58400 w 271965"/>
                <a:gd name="connsiteY4" fmla="*/ 118183 h 652717"/>
                <a:gd name="connsiteX5" fmla="*/ 58400 w 271965"/>
                <a:gd name="connsiteY5" fmla="*/ 469018 h 652717"/>
                <a:gd name="connsiteX6" fmla="*/ 69279 w 271965"/>
                <a:gd name="connsiteY6" fmla="*/ 553328 h 652717"/>
                <a:gd name="connsiteX7" fmla="*/ 161747 w 271965"/>
                <a:gd name="connsiteY7" fmla="*/ 605001 h 652717"/>
                <a:gd name="connsiteX8" fmla="*/ 221580 w 271965"/>
                <a:gd name="connsiteY8" fmla="*/ 575085 h 652717"/>
                <a:gd name="connsiteX9" fmla="*/ 191663 w 271965"/>
                <a:gd name="connsiteY9" fmla="*/ 542449 h 6527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71965" h="652717">
                  <a:moveTo>
                    <a:pt x="191663" y="542449"/>
                  </a:moveTo>
                  <a:cubicBezTo>
                    <a:pt x="188944" y="531570"/>
                    <a:pt x="186224" y="520692"/>
                    <a:pt x="186224" y="509813"/>
                  </a:cubicBezTo>
                  <a:cubicBezTo>
                    <a:pt x="186224" y="507093"/>
                    <a:pt x="186224" y="120902"/>
                    <a:pt x="186224" y="118183"/>
                  </a:cubicBezTo>
                  <a:cubicBezTo>
                    <a:pt x="186224" y="85547"/>
                    <a:pt x="156308" y="58350"/>
                    <a:pt x="123672" y="58350"/>
                  </a:cubicBezTo>
                  <a:cubicBezTo>
                    <a:pt x="91036" y="55631"/>
                    <a:pt x="58400" y="85547"/>
                    <a:pt x="58400" y="118183"/>
                  </a:cubicBezTo>
                  <a:cubicBezTo>
                    <a:pt x="58400" y="123622"/>
                    <a:pt x="58400" y="469018"/>
                    <a:pt x="58400" y="469018"/>
                  </a:cubicBezTo>
                  <a:cubicBezTo>
                    <a:pt x="58400" y="498934"/>
                    <a:pt x="55680" y="528851"/>
                    <a:pt x="69279" y="553328"/>
                  </a:cubicBezTo>
                  <a:cubicBezTo>
                    <a:pt x="82877" y="583244"/>
                    <a:pt x="120953" y="605001"/>
                    <a:pt x="161747" y="605001"/>
                  </a:cubicBezTo>
                  <a:cubicBezTo>
                    <a:pt x="199822" y="605001"/>
                    <a:pt x="221580" y="575085"/>
                    <a:pt x="221580" y="575085"/>
                  </a:cubicBezTo>
                  <a:cubicBezTo>
                    <a:pt x="221580" y="575085"/>
                    <a:pt x="202542" y="566926"/>
                    <a:pt x="191663" y="542449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79A100D8-96DD-4438-B034-852ACD48360A}"/>
                </a:ext>
              </a:extLst>
            </p:cNvPr>
            <p:cNvSpPr/>
            <p:nvPr/>
          </p:nvSpPr>
          <p:spPr>
            <a:xfrm>
              <a:off x="6320666" y="3416868"/>
              <a:ext cx="435145" cy="462341"/>
            </a:xfrm>
            <a:custGeom>
              <a:avLst/>
              <a:gdLst>
                <a:gd name="connsiteX0" fmla="*/ 302948 w 435145"/>
                <a:gd name="connsiteY0" fmla="*/ 74684 h 462341"/>
                <a:gd name="connsiteX1" fmla="*/ 186003 w 435145"/>
                <a:gd name="connsiteY1" fmla="*/ 148115 h 462341"/>
                <a:gd name="connsiteX2" fmla="*/ 186003 w 435145"/>
                <a:gd name="connsiteY2" fmla="*/ 148115 h 462341"/>
                <a:gd name="connsiteX3" fmla="*/ 186003 w 435145"/>
                <a:gd name="connsiteY3" fmla="*/ 115479 h 462341"/>
                <a:gd name="connsiteX4" fmla="*/ 123450 w 435145"/>
                <a:gd name="connsiteY4" fmla="*/ 58366 h 462341"/>
                <a:gd name="connsiteX5" fmla="*/ 58178 w 435145"/>
                <a:gd name="connsiteY5" fmla="*/ 115479 h 462341"/>
                <a:gd name="connsiteX6" fmla="*/ 58178 w 435145"/>
                <a:gd name="connsiteY6" fmla="*/ 362967 h 462341"/>
                <a:gd name="connsiteX7" fmla="*/ 120730 w 435145"/>
                <a:gd name="connsiteY7" fmla="*/ 422800 h 462341"/>
                <a:gd name="connsiteX8" fmla="*/ 186003 w 435145"/>
                <a:gd name="connsiteY8" fmla="*/ 362967 h 462341"/>
                <a:gd name="connsiteX9" fmla="*/ 186003 w 435145"/>
                <a:gd name="connsiteY9" fmla="*/ 213386 h 462341"/>
                <a:gd name="connsiteX10" fmla="*/ 186003 w 435145"/>
                <a:gd name="connsiteY10" fmla="*/ 213386 h 462341"/>
                <a:gd name="connsiteX11" fmla="*/ 229517 w 435145"/>
                <a:gd name="connsiteY11" fmla="*/ 161713 h 462341"/>
                <a:gd name="connsiteX12" fmla="*/ 259433 w 435145"/>
                <a:gd name="connsiteY12" fmla="*/ 194349 h 462341"/>
                <a:gd name="connsiteX13" fmla="*/ 259433 w 435145"/>
                <a:gd name="connsiteY13" fmla="*/ 362967 h 462341"/>
                <a:gd name="connsiteX14" fmla="*/ 321985 w 435145"/>
                <a:gd name="connsiteY14" fmla="*/ 422800 h 462341"/>
                <a:gd name="connsiteX15" fmla="*/ 387257 w 435145"/>
                <a:gd name="connsiteY15" fmla="*/ 362967 h 462341"/>
                <a:gd name="connsiteX16" fmla="*/ 387257 w 435145"/>
                <a:gd name="connsiteY16" fmla="*/ 273219 h 462341"/>
                <a:gd name="connsiteX17" fmla="*/ 302948 w 435145"/>
                <a:gd name="connsiteY17" fmla="*/ 74684 h 4623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435145" h="462341">
                  <a:moveTo>
                    <a:pt x="302948" y="74684"/>
                  </a:moveTo>
                  <a:cubicBezTo>
                    <a:pt x="234956" y="74684"/>
                    <a:pt x="196881" y="131797"/>
                    <a:pt x="186003" y="148115"/>
                  </a:cubicBezTo>
                  <a:lnTo>
                    <a:pt x="186003" y="148115"/>
                  </a:lnTo>
                  <a:cubicBezTo>
                    <a:pt x="186003" y="129077"/>
                    <a:pt x="186003" y="115479"/>
                    <a:pt x="186003" y="115479"/>
                  </a:cubicBezTo>
                  <a:cubicBezTo>
                    <a:pt x="186003" y="82843"/>
                    <a:pt x="156086" y="58366"/>
                    <a:pt x="123450" y="58366"/>
                  </a:cubicBezTo>
                  <a:cubicBezTo>
                    <a:pt x="90814" y="55646"/>
                    <a:pt x="58178" y="82843"/>
                    <a:pt x="58178" y="115479"/>
                  </a:cubicBezTo>
                  <a:cubicBezTo>
                    <a:pt x="58178" y="120918"/>
                    <a:pt x="58178" y="360248"/>
                    <a:pt x="58178" y="362967"/>
                  </a:cubicBezTo>
                  <a:cubicBezTo>
                    <a:pt x="58178" y="395603"/>
                    <a:pt x="88095" y="422800"/>
                    <a:pt x="120730" y="422800"/>
                  </a:cubicBezTo>
                  <a:cubicBezTo>
                    <a:pt x="153366" y="425519"/>
                    <a:pt x="186003" y="395603"/>
                    <a:pt x="186003" y="362967"/>
                  </a:cubicBezTo>
                  <a:cubicBezTo>
                    <a:pt x="186003" y="360248"/>
                    <a:pt x="186003" y="281378"/>
                    <a:pt x="186003" y="213386"/>
                  </a:cubicBezTo>
                  <a:lnTo>
                    <a:pt x="186003" y="213386"/>
                  </a:lnTo>
                  <a:cubicBezTo>
                    <a:pt x="191442" y="186190"/>
                    <a:pt x="205040" y="161713"/>
                    <a:pt x="229517" y="161713"/>
                  </a:cubicBezTo>
                  <a:cubicBezTo>
                    <a:pt x="259433" y="161713"/>
                    <a:pt x="259433" y="194349"/>
                    <a:pt x="259433" y="194349"/>
                  </a:cubicBezTo>
                  <a:lnTo>
                    <a:pt x="259433" y="362967"/>
                  </a:lnTo>
                  <a:cubicBezTo>
                    <a:pt x="259433" y="395603"/>
                    <a:pt x="289349" y="422800"/>
                    <a:pt x="321985" y="422800"/>
                  </a:cubicBezTo>
                  <a:cubicBezTo>
                    <a:pt x="354621" y="425519"/>
                    <a:pt x="387257" y="395603"/>
                    <a:pt x="387257" y="362967"/>
                  </a:cubicBezTo>
                  <a:lnTo>
                    <a:pt x="387257" y="273219"/>
                  </a:lnTo>
                  <a:cubicBezTo>
                    <a:pt x="387257" y="183470"/>
                    <a:pt x="395416" y="71964"/>
                    <a:pt x="302948" y="74684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E4435034-3BFA-4E05-A947-D42274FB4ACD}"/>
                </a:ext>
              </a:extLst>
            </p:cNvPr>
            <p:cNvSpPr/>
            <p:nvPr/>
          </p:nvSpPr>
          <p:spPr>
            <a:xfrm>
              <a:off x="7960620" y="3416868"/>
              <a:ext cx="435145" cy="462341"/>
            </a:xfrm>
            <a:custGeom>
              <a:avLst/>
              <a:gdLst>
                <a:gd name="connsiteX0" fmla="*/ 302948 w 435145"/>
                <a:gd name="connsiteY0" fmla="*/ 74684 h 462341"/>
                <a:gd name="connsiteX1" fmla="*/ 186002 w 435145"/>
                <a:gd name="connsiteY1" fmla="*/ 148115 h 462341"/>
                <a:gd name="connsiteX2" fmla="*/ 186002 w 435145"/>
                <a:gd name="connsiteY2" fmla="*/ 148115 h 462341"/>
                <a:gd name="connsiteX3" fmla="*/ 186002 w 435145"/>
                <a:gd name="connsiteY3" fmla="*/ 115479 h 462341"/>
                <a:gd name="connsiteX4" fmla="*/ 123450 w 435145"/>
                <a:gd name="connsiteY4" fmla="*/ 58366 h 462341"/>
                <a:gd name="connsiteX5" fmla="*/ 58178 w 435145"/>
                <a:gd name="connsiteY5" fmla="*/ 115479 h 462341"/>
                <a:gd name="connsiteX6" fmla="*/ 58178 w 435145"/>
                <a:gd name="connsiteY6" fmla="*/ 362967 h 462341"/>
                <a:gd name="connsiteX7" fmla="*/ 120730 w 435145"/>
                <a:gd name="connsiteY7" fmla="*/ 422800 h 462341"/>
                <a:gd name="connsiteX8" fmla="*/ 186002 w 435145"/>
                <a:gd name="connsiteY8" fmla="*/ 362967 h 462341"/>
                <a:gd name="connsiteX9" fmla="*/ 186002 w 435145"/>
                <a:gd name="connsiteY9" fmla="*/ 213386 h 462341"/>
                <a:gd name="connsiteX10" fmla="*/ 186002 w 435145"/>
                <a:gd name="connsiteY10" fmla="*/ 213386 h 462341"/>
                <a:gd name="connsiteX11" fmla="*/ 229517 w 435145"/>
                <a:gd name="connsiteY11" fmla="*/ 161713 h 462341"/>
                <a:gd name="connsiteX12" fmla="*/ 259433 w 435145"/>
                <a:gd name="connsiteY12" fmla="*/ 194349 h 462341"/>
                <a:gd name="connsiteX13" fmla="*/ 259433 w 435145"/>
                <a:gd name="connsiteY13" fmla="*/ 362967 h 462341"/>
                <a:gd name="connsiteX14" fmla="*/ 321985 w 435145"/>
                <a:gd name="connsiteY14" fmla="*/ 422800 h 462341"/>
                <a:gd name="connsiteX15" fmla="*/ 387257 w 435145"/>
                <a:gd name="connsiteY15" fmla="*/ 362967 h 462341"/>
                <a:gd name="connsiteX16" fmla="*/ 387257 w 435145"/>
                <a:gd name="connsiteY16" fmla="*/ 273219 h 462341"/>
                <a:gd name="connsiteX17" fmla="*/ 302948 w 435145"/>
                <a:gd name="connsiteY17" fmla="*/ 74684 h 4623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435145" h="462341">
                  <a:moveTo>
                    <a:pt x="302948" y="74684"/>
                  </a:moveTo>
                  <a:cubicBezTo>
                    <a:pt x="234956" y="74684"/>
                    <a:pt x="196881" y="131797"/>
                    <a:pt x="186002" y="148115"/>
                  </a:cubicBezTo>
                  <a:lnTo>
                    <a:pt x="186002" y="148115"/>
                  </a:lnTo>
                  <a:cubicBezTo>
                    <a:pt x="186002" y="129077"/>
                    <a:pt x="186002" y="115479"/>
                    <a:pt x="186002" y="115479"/>
                  </a:cubicBezTo>
                  <a:cubicBezTo>
                    <a:pt x="186002" y="82843"/>
                    <a:pt x="156086" y="58366"/>
                    <a:pt x="123450" y="58366"/>
                  </a:cubicBezTo>
                  <a:cubicBezTo>
                    <a:pt x="90814" y="55646"/>
                    <a:pt x="58178" y="82843"/>
                    <a:pt x="58178" y="115479"/>
                  </a:cubicBezTo>
                  <a:cubicBezTo>
                    <a:pt x="58178" y="120918"/>
                    <a:pt x="58178" y="360248"/>
                    <a:pt x="58178" y="362967"/>
                  </a:cubicBezTo>
                  <a:cubicBezTo>
                    <a:pt x="58178" y="395603"/>
                    <a:pt x="88095" y="422800"/>
                    <a:pt x="120730" y="422800"/>
                  </a:cubicBezTo>
                  <a:cubicBezTo>
                    <a:pt x="153366" y="425519"/>
                    <a:pt x="186002" y="395603"/>
                    <a:pt x="186002" y="362967"/>
                  </a:cubicBezTo>
                  <a:cubicBezTo>
                    <a:pt x="186002" y="360248"/>
                    <a:pt x="186002" y="281378"/>
                    <a:pt x="186002" y="213386"/>
                  </a:cubicBezTo>
                  <a:lnTo>
                    <a:pt x="186002" y="213386"/>
                  </a:lnTo>
                  <a:cubicBezTo>
                    <a:pt x="191442" y="186190"/>
                    <a:pt x="205040" y="161713"/>
                    <a:pt x="229517" y="161713"/>
                  </a:cubicBezTo>
                  <a:cubicBezTo>
                    <a:pt x="259433" y="161713"/>
                    <a:pt x="259433" y="194349"/>
                    <a:pt x="259433" y="194349"/>
                  </a:cubicBezTo>
                  <a:lnTo>
                    <a:pt x="259433" y="362967"/>
                  </a:lnTo>
                  <a:cubicBezTo>
                    <a:pt x="259433" y="395603"/>
                    <a:pt x="289349" y="422800"/>
                    <a:pt x="321985" y="422800"/>
                  </a:cubicBezTo>
                  <a:cubicBezTo>
                    <a:pt x="354621" y="425519"/>
                    <a:pt x="387257" y="395603"/>
                    <a:pt x="387257" y="362967"/>
                  </a:cubicBezTo>
                  <a:lnTo>
                    <a:pt x="387257" y="273219"/>
                  </a:lnTo>
                  <a:cubicBezTo>
                    <a:pt x="384537" y="183470"/>
                    <a:pt x="395416" y="71964"/>
                    <a:pt x="302948" y="74684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1F94EEDF-4DA9-4C49-8D81-4FEAA7A00790}"/>
                </a:ext>
              </a:extLst>
            </p:cNvPr>
            <p:cNvSpPr/>
            <p:nvPr/>
          </p:nvSpPr>
          <p:spPr>
            <a:xfrm>
              <a:off x="5020669" y="3416868"/>
              <a:ext cx="435145" cy="462341"/>
            </a:xfrm>
            <a:custGeom>
              <a:avLst/>
              <a:gdLst>
                <a:gd name="connsiteX0" fmla="*/ 302948 w 435145"/>
                <a:gd name="connsiteY0" fmla="*/ 74684 h 462341"/>
                <a:gd name="connsiteX1" fmla="*/ 186002 w 435145"/>
                <a:gd name="connsiteY1" fmla="*/ 148115 h 462341"/>
                <a:gd name="connsiteX2" fmla="*/ 186002 w 435145"/>
                <a:gd name="connsiteY2" fmla="*/ 148115 h 462341"/>
                <a:gd name="connsiteX3" fmla="*/ 186002 w 435145"/>
                <a:gd name="connsiteY3" fmla="*/ 115479 h 462341"/>
                <a:gd name="connsiteX4" fmla="*/ 123450 w 435145"/>
                <a:gd name="connsiteY4" fmla="*/ 58366 h 462341"/>
                <a:gd name="connsiteX5" fmla="*/ 58178 w 435145"/>
                <a:gd name="connsiteY5" fmla="*/ 115479 h 462341"/>
                <a:gd name="connsiteX6" fmla="*/ 58178 w 435145"/>
                <a:gd name="connsiteY6" fmla="*/ 362967 h 462341"/>
                <a:gd name="connsiteX7" fmla="*/ 120730 w 435145"/>
                <a:gd name="connsiteY7" fmla="*/ 422800 h 462341"/>
                <a:gd name="connsiteX8" fmla="*/ 186002 w 435145"/>
                <a:gd name="connsiteY8" fmla="*/ 362967 h 462341"/>
                <a:gd name="connsiteX9" fmla="*/ 186002 w 435145"/>
                <a:gd name="connsiteY9" fmla="*/ 213386 h 462341"/>
                <a:gd name="connsiteX10" fmla="*/ 186002 w 435145"/>
                <a:gd name="connsiteY10" fmla="*/ 213386 h 462341"/>
                <a:gd name="connsiteX11" fmla="*/ 229517 w 435145"/>
                <a:gd name="connsiteY11" fmla="*/ 161713 h 462341"/>
                <a:gd name="connsiteX12" fmla="*/ 259433 w 435145"/>
                <a:gd name="connsiteY12" fmla="*/ 194349 h 462341"/>
                <a:gd name="connsiteX13" fmla="*/ 259433 w 435145"/>
                <a:gd name="connsiteY13" fmla="*/ 362967 h 462341"/>
                <a:gd name="connsiteX14" fmla="*/ 321985 w 435145"/>
                <a:gd name="connsiteY14" fmla="*/ 422800 h 462341"/>
                <a:gd name="connsiteX15" fmla="*/ 387257 w 435145"/>
                <a:gd name="connsiteY15" fmla="*/ 362967 h 462341"/>
                <a:gd name="connsiteX16" fmla="*/ 387257 w 435145"/>
                <a:gd name="connsiteY16" fmla="*/ 273219 h 462341"/>
                <a:gd name="connsiteX17" fmla="*/ 302948 w 435145"/>
                <a:gd name="connsiteY17" fmla="*/ 74684 h 4623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435145" h="462341">
                  <a:moveTo>
                    <a:pt x="302948" y="74684"/>
                  </a:moveTo>
                  <a:cubicBezTo>
                    <a:pt x="234956" y="74684"/>
                    <a:pt x="196881" y="131797"/>
                    <a:pt x="186002" y="148115"/>
                  </a:cubicBezTo>
                  <a:lnTo>
                    <a:pt x="186002" y="148115"/>
                  </a:lnTo>
                  <a:cubicBezTo>
                    <a:pt x="186002" y="129077"/>
                    <a:pt x="186002" y="115479"/>
                    <a:pt x="186002" y="115479"/>
                  </a:cubicBezTo>
                  <a:cubicBezTo>
                    <a:pt x="186002" y="82843"/>
                    <a:pt x="156086" y="58366"/>
                    <a:pt x="123450" y="58366"/>
                  </a:cubicBezTo>
                  <a:cubicBezTo>
                    <a:pt x="90814" y="55646"/>
                    <a:pt x="58178" y="82843"/>
                    <a:pt x="58178" y="115479"/>
                  </a:cubicBezTo>
                  <a:cubicBezTo>
                    <a:pt x="58178" y="120918"/>
                    <a:pt x="58178" y="360248"/>
                    <a:pt x="58178" y="362967"/>
                  </a:cubicBezTo>
                  <a:cubicBezTo>
                    <a:pt x="58178" y="395603"/>
                    <a:pt x="88094" y="422800"/>
                    <a:pt x="120730" y="422800"/>
                  </a:cubicBezTo>
                  <a:cubicBezTo>
                    <a:pt x="153366" y="425519"/>
                    <a:pt x="186002" y="395603"/>
                    <a:pt x="186002" y="362967"/>
                  </a:cubicBezTo>
                  <a:cubicBezTo>
                    <a:pt x="186002" y="360248"/>
                    <a:pt x="186002" y="281378"/>
                    <a:pt x="186002" y="213386"/>
                  </a:cubicBezTo>
                  <a:lnTo>
                    <a:pt x="186002" y="213386"/>
                  </a:lnTo>
                  <a:cubicBezTo>
                    <a:pt x="191442" y="186190"/>
                    <a:pt x="205040" y="161713"/>
                    <a:pt x="229517" y="161713"/>
                  </a:cubicBezTo>
                  <a:cubicBezTo>
                    <a:pt x="259433" y="161713"/>
                    <a:pt x="259433" y="194349"/>
                    <a:pt x="259433" y="194349"/>
                  </a:cubicBezTo>
                  <a:lnTo>
                    <a:pt x="259433" y="362967"/>
                  </a:lnTo>
                  <a:cubicBezTo>
                    <a:pt x="259433" y="395603"/>
                    <a:pt x="289349" y="422800"/>
                    <a:pt x="321985" y="422800"/>
                  </a:cubicBezTo>
                  <a:cubicBezTo>
                    <a:pt x="354621" y="425519"/>
                    <a:pt x="387257" y="395603"/>
                    <a:pt x="387257" y="362967"/>
                  </a:cubicBezTo>
                  <a:lnTo>
                    <a:pt x="387257" y="273219"/>
                  </a:lnTo>
                  <a:cubicBezTo>
                    <a:pt x="384537" y="183470"/>
                    <a:pt x="395416" y="71964"/>
                    <a:pt x="302948" y="74684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847FAE4D-6929-4A6E-B735-59F6ED016FDD}"/>
                </a:ext>
              </a:extLst>
            </p:cNvPr>
            <p:cNvSpPr/>
            <p:nvPr/>
          </p:nvSpPr>
          <p:spPr>
            <a:xfrm>
              <a:off x="7616289" y="3475234"/>
              <a:ext cx="364436" cy="364434"/>
            </a:xfrm>
            <a:custGeom>
              <a:avLst/>
              <a:gdLst>
                <a:gd name="connsiteX0" fmla="*/ 182218 w 364436"/>
                <a:gd name="connsiteY0" fmla="*/ 73431 h 364434"/>
                <a:gd name="connsiteX1" fmla="*/ 130544 w 364436"/>
                <a:gd name="connsiteY1" fmla="*/ 179499 h 364434"/>
                <a:gd name="connsiteX2" fmla="*/ 182218 w 364436"/>
                <a:gd name="connsiteY2" fmla="*/ 285565 h 364434"/>
                <a:gd name="connsiteX3" fmla="*/ 233891 w 364436"/>
                <a:gd name="connsiteY3" fmla="*/ 179499 h 364434"/>
                <a:gd name="connsiteX4" fmla="*/ 182218 w 364436"/>
                <a:gd name="connsiteY4" fmla="*/ 73431 h 364434"/>
                <a:gd name="connsiteX5" fmla="*/ 182219 w 364436"/>
                <a:gd name="connsiteY5" fmla="*/ 0 h 364434"/>
                <a:gd name="connsiteX6" fmla="*/ 364436 w 364436"/>
                <a:gd name="connsiteY6" fmla="*/ 182217 h 364434"/>
                <a:gd name="connsiteX7" fmla="*/ 182219 w 364436"/>
                <a:gd name="connsiteY7" fmla="*/ 364434 h 364434"/>
                <a:gd name="connsiteX8" fmla="*/ 0 w 364436"/>
                <a:gd name="connsiteY8" fmla="*/ 182217 h 364434"/>
                <a:gd name="connsiteX9" fmla="*/ 182219 w 364436"/>
                <a:gd name="connsiteY9" fmla="*/ 0 h 3644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64436" h="364434">
                  <a:moveTo>
                    <a:pt x="182218" y="73431"/>
                  </a:moveTo>
                  <a:cubicBezTo>
                    <a:pt x="152302" y="76151"/>
                    <a:pt x="130544" y="114226"/>
                    <a:pt x="130544" y="179499"/>
                  </a:cubicBezTo>
                  <a:cubicBezTo>
                    <a:pt x="130544" y="244770"/>
                    <a:pt x="146862" y="285565"/>
                    <a:pt x="182218" y="285565"/>
                  </a:cubicBezTo>
                  <a:cubicBezTo>
                    <a:pt x="217573" y="285565"/>
                    <a:pt x="233891" y="247490"/>
                    <a:pt x="233891" y="179499"/>
                  </a:cubicBezTo>
                  <a:cubicBezTo>
                    <a:pt x="233891" y="114226"/>
                    <a:pt x="212134" y="73431"/>
                    <a:pt x="182218" y="73431"/>
                  </a:cubicBezTo>
                  <a:close/>
                  <a:moveTo>
                    <a:pt x="182219" y="0"/>
                  </a:moveTo>
                  <a:cubicBezTo>
                    <a:pt x="282846" y="0"/>
                    <a:pt x="364436" y="81590"/>
                    <a:pt x="364436" y="182217"/>
                  </a:cubicBezTo>
                  <a:cubicBezTo>
                    <a:pt x="364436" y="282844"/>
                    <a:pt x="282846" y="364434"/>
                    <a:pt x="182219" y="364434"/>
                  </a:cubicBezTo>
                  <a:cubicBezTo>
                    <a:pt x="81591" y="364434"/>
                    <a:pt x="0" y="282844"/>
                    <a:pt x="0" y="182217"/>
                  </a:cubicBezTo>
                  <a:cubicBezTo>
                    <a:pt x="0" y="81590"/>
                    <a:pt x="81591" y="0"/>
                    <a:pt x="182219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A61A7D8E-A6BF-40D7-95EB-1191999BD2EC}"/>
                </a:ext>
              </a:extLst>
            </p:cNvPr>
            <p:cNvSpPr/>
            <p:nvPr/>
          </p:nvSpPr>
          <p:spPr>
            <a:xfrm>
              <a:off x="6743101" y="3464184"/>
              <a:ext cx="372773" cy="375657"/>
            </a:xfrm>
            <a:custGeom>
              <a:avLst/>
              <a:gdLst>
                <a:gd name="connsiteX0" fmla="*/ 176958 w 372773"/>
                <a:gd name="connsiteY0" fmla="*/ 98080 h 375657"/>
                <a:gd name="connsiteX1" fmla="*/ 125284 w 372773"/>
                <a:gd name="connsiteY1" fmla="*/ 190548 h 375657"/>
                <a:gd name="connsiteX2" fmla="*/ 176958 w 372773"/>
                <a:gd name="connsiteY2" fmla="*/ 283017 h 375657"/>
                <a:gd name="connsiteX3" fmla="*/ 228631 w 372773"/>
                <a:gd name="connsiteY3" fmla="*/ 190548 h 375657"/>
                <a:gd name="connsiteX4" fmla="*/ 176958 w 372773"/>
                <a:gd name="connsiteY4" fmla="*/ 98080 h 375657"/>
                <a:gd name="connsiteX5" fmla="*/ 307501 w 372773"/>
                <a:gd name="connsiteY5" fmla="*/ 172 h 375657"/>
                <a:gd name="connsiteX6" fmla="*/ 372773 w 372773"/>
                <a:gd name="connsiteY6" fmla="*/ 62724 h 375657"/>
                <a:gd name="connsiteX7" fmla="*/ 372773 w 372773"/>
                <a:gd name="connsiteY7" fmla="*/ 312934 h 375657"/>
                <a:gd name="connsiteX8" fmla="*/ 302061 w 372773"/>
                <a:gd name="connsiteY8" fmla="*/ 375486 h 375657"/>
                <a:gd name="connsiteX9" fmla="*/ 239509 w 372773"/>
                <a:gd name="connsiteY9" fmla="*/ 326532 h 375657"/>
                <a:gd name="connsiteX10" fmla="*/ 179677 w 372773"/>
                <a:gd name="connsiteY10" fmla="*/ 370046 h 375657"/>
                <a:gd name="connsiteX11" fmla="*/ 70890 w 372773"/>
                <a:gd name="connsiteY11" fmla="*/ 353728 h 375657"/>
                <a:gd name="connsiteX12" fmla="*/ 128003 w 372773"/>
                <a:gd name="connsiteY12" fmla="*/ 11051 h 375657"/>
                <a:gd name="connsiteX13" fmla="*/ 236790 w 372773"/>
                <a:gd name="connsiteY13" fmla="*/ 70883 h 375657"/>
                <a:gd name="connsiteX14" fmla="*/ 236790 w 372773"/>
                <a:gd name="connsiteY14" fmla="*/ 62724 h 375657"/>
                <a:gd name="connsiteX15" fmla="*/ 307501 w 372773"/>
                <a:gd name="connsiteY15" fmla="*/ 172 h 3756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72773" h="375657">
                  <a:moveTo>
                    <a:pt x="176958" y="98080"/>
                  </a:moveTo>
                  <a:cubicBezTo>
                    <a:pt x="147042" y="100800"/>
                    <a:pt x="125284" y="133436"/>
                    <a:pt x="125284" y="190548"/>
                  </a:cubicBezTo>
                  <a:cubicBezTo>
                    <a:pt x="125284" y="247661"/>
                    <a:pt x="141602" y="283017"/>
                    <a:pt x="176958" y="283017"/>
                  </a:cubicBezTo>
                  <a:cubicBezTo>
                    <a:pt x="212314" y="283017"/>
                    <a:pt x="228631" y="247661"/>
                    <a:pt x="228631" y="190548"/>
                  </a:cubicBezTo>
                  <a:cubicBezTo>
                    <a:pt x="228631" y="133436"/>
                    <a:pt x="206874" y="98080"/>
                    <a:pt x="176958" y="98080"/>
                  </a:cubicBezTo>
                  <a:close/>
                  <a:moveTo>
                    <a:pt x="307501" y="172"/>
                  </a:moveTo>
                  <a:cubicBezTo>
                    <a:pt x="340137" y="172"/>
                    <a:pt x="372773" y="30088"/>
                    <a:pt x="372773" y="62724"/>
                  </a:cubicBezTo>
                  <a:cubicBezTo>
                    <a:pt x="372773" y="65444"/>
                    <a:pt x="372773" y="307494"/>
                    <a:pt x="372773" y="312934"/>
                  </a:cubicBezTo>
                  <a:cubicBezTo>
                    <a:pt x="370053" y="348289"/>
                    <a:pt x="337417" y="378205"/>
                    <a:pt x="302061" y="375486"/>
                  </a:cubicBezTo>
                  <a:cubicBezTo>
                    <a:pt x="274865" y="372766"/>
                    <a:pt x="247668" y="353728"/>
                    <a:pt x="239509" y="326532"/>
                  </a:cubicBezTo>
                  <a:cubicBezTo>
                    <a:pt x="225911" y="348289"/>
                    <a:pt x="198715" y="364607"/>
                    <a:pt x="179677" y="370046"/>
                  </a:cubicBezTo>
                  <a:cubicBezTo>
                    <a:pt x="147041" y="378205"/>
                    <a:pt x="100807" y="372766"/>
                    <a:pt x="70890" y="353728"/>
                  </a:cubicBezTo>
                  <a:cubicBezTo>
                    <a:pt x="-35177" y="285737"/>
                    <a:pt x="-27018" y="11051"/>
                    <a:pt x="128003" y="11051"/>
                  </a:cubicBezTo>
                  <a:cubicBezTo>
                    <a:pt x="185116" y="11051"/>
                    <a:pt x="220471" y="49126"/>
                    <a:pt x="236790" y="70883"/>
                  </a:cubicBezTo>
                  <a:cubicBezTo>
                    <a:pt x="236790" y="70883"/>
                    <a:pt x="236790" y="65444"/>
                    <a:pt x="236790" y="62724"/>
                  </a:cubicBezTo>
                  <a:cubicBezTo>
                    <a:pt x="239509" y="27369"/>
                    <a:pt x="272145" y="-2547"/>
                    <a:pt x="307501" y="172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/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41409C27-3D54-4E7E-B608-F8D1F36BC68E}"/>
                </a:ext>
              </a:extLst>
            </p:cNvPr>
            <p:cNvSpPr/>
            <p:nvPr/>
          </p:nvSpPr>
          <p:spPr>
            <a:xfrm>
              <a:off x="8380335" y="3464184"/>
              <a:ext cx="372772" cy="375657"/>
            </a:xfrm>
            <a:custGeom>
              <a:avLst/>
              <a:gdLst>
                <a:gd name="connsiteX0" fmla="*/ 176957 w 372772"/>
                <a:gd name="connsiteY0" fmla="*/ 98080 h 375657"/>
                <a:gd name="connsiteX1" fmla="*/ 125282 w 372772"/>
                <a:gd name="connsiteY1" fmla="*/ 190548 h 375657"/>
                <a:gd name="connsiteX2" fmla="*/ 176957 w 372772"/>
                <a:gd name="connsiteY2" fmla="*/ 283017 h 375657"/>
                <a:gd name="connsiteX3" fmla="*/ 228630 w 372772"/>
                <a:gd name="connsiteY3" fmla="*/ 190548 h 375657"/>
                <a:gd name="connsiteX4" fmla="*/ 176957 w 372772"/>
                <a:gd name="connsiteY4" fmla="*/ 98080 h 375657"/>
                <a:gd name="connsiteX5" fmla="*/ 307501 w 372772"/>
                <a:gd name="connsiteY5" fmla="*/ 172 h 375657"/>
                <a:gd name="connsiteX6" fmla="*/ 372772 w 372772"/>
                <a:gd name="connsiteY6" fmla="*/ 62724 h 375657"/>
                <a:gd name="connsiteX7" fmla="*/ 372772 w 372772"/>
                <a:gd name="connsiteY7" fmla="*/ 312934 h 375657"/>
                <a:gd name="connsiteX8" fmla="*/ 302062 w 372772"/>
                <a:gd name="connsiteY8" fmla="*/ 375486 h 375657"/>
                <a:gd name="connsiteX9" fmla="*/ 239509 w 372772"/>
                <a:gd name="connsiteY9" fmla="*/ 326532 h 375657"/>
                <a:gd name="connsiteX10" fmla="*/ 179677 w 372772"/>
                <a:gd name="connsiteY10" fmla="*/ 370046 h 375657"/>
                <a:gd name="connsiteX11" fmla="*/ 70890 w 372772"/>
                <a:gd name="connsiteY11" fmla="*/ 353728 h 375657"/>
                <a:gd name="connsiteX12" fmla="*/ 128002 w 372772"/>
                <a:gd name="connsiteY12" fmla="*/ 11051 h 375657"/>
                <a:gd name="connsiteX13" fmla="*/ 236790 w 372772"/>
                <a:gd name="connsiteY13" fmla="*/ 70883 h 375657"/>
                <a:gd name="connsiteX14" fmla="*/ 236790 w 372772"/>
                <a:gd name="connsiteY14" fmla="*/ 62724 h 375657"/>
                <a:gd name="connsiteX15" fmla="*/ 307501 w 372772"/>
                <a:gd name="connsiteY15" fmla="*/ 172 h 3756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72772" h="375657">
                  <a:moveTo>
                    <a:pt x="176957" y="98080"/>
                  </a:moveTo>
                  <a:cubicBezTo>
                    <a:pt x="147039" y="100800"/>
                    <a:pt x="125282" y="133436"/>
                    <a:pt x="125282" y="190548"/>
                  </a:cubicBezTo>
                  <a:cubicBezTo>
                    <a:pt x="125282" y="247661"/>
                    <a:pt x="141600" y="283017"/>
                    <a:pt x="176957" y="283017"/>
                  </a:cubicBezTo>
                  <a:cubicBezTo>
                    <a:pt x="212312" y="283017"/>
                    <a:pt x="228630" y="247661"/>
                    <a:pt x="228630" y="190548"/>
                  </a:cubicBezTo>
                  <a:cubicBezTo>
                    <a:pt x="228630" y="133436"/>
                    <a:pt x="206873" y="98080"/>
                    <a:pt x="176957" y="98080"/>
                  </a:cubicBezTo>
                  <a:close/>
                  <a:moveTo>
                    <a:pt x="307501" y="172"/>
                  </a:moveTo>
                  <a:cubicBezTo>
                    <a:pt x="340137" y="172"/>
                    <a:pt x="372772" y="30088"/>
                    <a:pt x="372772" y="62724"/>
                  </a:cubicBezTo>
                  <a:cubicBezTo>
                    <a:pt x="372772" y="65444"/>
                    <a:pt x="372772" y="307494"/>
                    <a:pt x="372772" y="312934"/>
                  </a:cubicBezTo>
                  <a:cubicBezTo>
                    <a:pt x="370053" y="348289"/>
                    <a:pt x="337417" y="378205"/>
                    <a:pt x="302062" y="375486"/>
                  </a:cubicBezTo>
                  <a:cubicBezTo>
                    <a:pt x="274865" y="372766"/>
                    <a:pt x="247668" y="353728"/>
                    <a:pt x="239509" y="326532"/>
                  </a:cubicBezTo>
                  <a:cubicBezTo>
                    <a:pt x="228630" y="348289"/>
                    <a:pt x="198714" y="364607"/>
                    <a:pt x="179677" y="370046"/>
                  </a:cubicBezTo>
                  <a:cubicBezTo>
                    <a:pt x="147040" y="378205"/>
                    <a:pt x="100806" y="372766"/>
                    <a:pt x="70890" y="353728"/>
                  </a:cubicBezTo>
                  <a:cubicBezTo>
                    <a:pt x="-35177" y="285737"/>
                    <a:pt x="-27018" y="11051"/>
                    <a:pt x="128002" y="11051"/>
                  </a:cubicBezTo>
                  <a:cubicBezTo>
                    <a:pt x="185116" y="11051"/>
                    <a:pt x="220472" y="49126"/>
                    <a:pt x="236790" y="70883"/>
                  </a:cubicBezTo>
                  <a:cubicBezTo>
                    <a:pt x="236790" y="70883"/>
                    <a:pt x="236790" y="65444"/>
                    <a:pt x="236790" y="62724"/>
                  </a:cubicBezTo>
                  <a:cubicBezTo>
                    <a:pt x="239509" y="27369"/>
                    <a:pt x="272145" y="-2547"/>
                    <a:pt x="307501" y="172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DD063CBE-F520-471D-99C8-586943DE0D8C}"/>
                </a:ext>
              </a:extLst>
            </p:cNvPr>
            <p:cNvSpPr/>
            <p:nvPr/>
          </p:nvSpPr>
          <p:spPr>
            <a:xfrm>
              <a:off x="7389492" y="3444253"/>
              <a:ext cx="217573" cy="435145"/>
            </a:xfrm>
            <a:custGeom>
              <a:avLst/>
              <a:gdLst>
                <a:gd name="connsiteX0" fmla="*/ 186002 w 217572"/>
                <a:gd name="connsiteY0" fmla="*/ 118011 h 435144"/>
                <a:gd name="connsiteX1" fmla="*/ 128890 w 217572"/>
                <a:gd name="connsiteY1" fmla="*/ 58178 h 435144"/>
                <a:gd name="connsiteX2" fmla="*/ 123450 w 217572"/>
                <a:gd name="connsiteY2" fmla="*/ 58178 h 435144"/>
                <a:gd name="connsiteX3" fmla="*/ 58178 w 217572"/>
                <a:gd name="connsiteY3" fmla="*/ 115291 h 435144"/>
                <a:gd name="connsiteX4" fmla="*/ 58178 w 217572"/>
                <a:gd name="connsiteY4" fmla="*/ 232236 h 435144"/>
                <a:gd name="connsiteX5" fmla="*/ 58178 w 217572"/>
                <a:gd name="connsiteY5" fmla="*/ 232236 h 435144"/>
                <a:gd name="connsiteX6" fmla="*/ 58178 w 217572"/>
                <a:gd name="connsiteY6" fmla="*/ 335583 h 435144"/>
                <a:gd name="connsiteX7" fmla="*/ 115291 w 217572"/>
                <a:gd name="connsiteY7" fmla="*/ 395415 h 435144"/>
                <a:gd name="connsiteX8" fmla="*/ 120730 w 217572"/>
                <a:gd name="connsiteY8" fmla="*/ 395415 h 435144"/>
                <a:gd name="connsiteX9" fmla="*/ 186002 w 217572"/>
                <a:gd name="connsiteY9" fmla="*/ 338303 h 435144"/>
                <a:gd name="connsiteX10" fmla="*/ 186002 w 217572"/>
                <a:gd name="connsiteY10" fmla="*/ 240395 h 435144"/>
                <a:gd name="connsiteX11" fmla="*/ 186002 w 217572"/>
                <a:gd name="connsiteY11" fmla="*/ 240395 h 435144"/>
                <a:gd name="connsiteX12" fmla="*/ 186002 w 217572"/>
                <a:gd name="connsiteY12" fmla="*/ 118011 h 4351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17572" h="435144">
                  <a:moveTo>
                    <a:pt x="186002" y="118011"/>
                  </a:moveTo>
                  <a:cubicBezTo>
                    <a:pt x="183283" y="85375"/>
                    <a:pt x="158806" y="60898"/>
                    <a:pt x="128890" y="58178"/>
                  </a:cubicBezTo>
                  <a:cubicBezTo>
                    <a:pt x="126170" y="58178"/>
                    <a:pt x="126170" y="58178"/>
                    <a:pt x="123450" y="58178"/>
                  </a:cubicBezTo>
                  <a:cubicBezTo>
                    <a:pt x="96254" y="58178"/>
                    <a:pt x="58178" y="82655"/>
                    <a:pt x="58178" y="115291"/>
                  </a:cubicBezTo>
                  <a:lnTo>
                    <a:pt x="58178" y="232236"/>
                  </a:lnTo>
                  <a:lnTo>
                    <a:pt x="58178" y="232236"/>
                  </a:lnTo>
                  <a:cubicBezTo>
                    <a:pt x="58178" y="270311"/>
                    <a:pt x="58178" y="335583"/>
                    <a:pt x="58178" y="335583"/>
                  </a:cubicBezTo>
                  <a:cubicBezTo>
                    <a:pt x="60898" y="368219"/>
                    <a:pt x="85375" y="392696"/>
                    <a:pt x="115291" y="395415"/>
                  </a:cubicBezTo>
                  <a:cubicBezTo>
                    <a:pt x="118011" y="395415"/>
                    <a:pt x="118011" y="395415"/>
                    <a:pt x="120730" y="395415"/>
                  </a:cubicBezTo>
                  <a:cubicBezTo>
                    <a:pt x="147927" y="395415"/>
                    <a:pt x="186002" y="370938"/>
                    <a:pt x="186002" y="338303"/>
                  </a:cubicBezTo>
                  <a:lnTo>
                    <a:pt x="186002" y="240395"/>
                  </a:lnTo>
                  <a:lnTo>
                    <a:pt x="186002" y="240395"/>
                  </a:lnTo>
                  <a:cubicBezTo>
                    <a:pt x="186002" y="202320"/>
                    <a:pt x="186002" y="118011"/>
                    <a:pt x="186002" y="118011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8DC003CD-8A26-432E-9060-84F8E0B2AA1B}"/>
                </a:ext>
              </a:extLst>
            </p:cNvPr>
            <p:cNvSpPr/>
            <p:nvPr/>
          </p:nvSpPr>
          <p:spPr>
            <a:xfrm>
              <a:off x="7392212" y="3280901"/>
              <a:ext cx="217573" cy="217572"/>
            </a:xfrm>
            <a:custGeom>
              <a:avLst/>
              <a:gdLst>
                <a:gd name="connsiteX0" fmla="*/ 183282 w 217572"/>
                <a:gd name="connsiteY0" fmla="*/ 120902 h 217572"/>
                <a:gd name="connsiteX1" fmla="*/ 120730 w 217572"/>
                <a:gd name="connsiteY1" fmla="*/ 183454 h 217572"/>
                <a:gd name="connsiteX2" fmla="*/ 58178 w 217572"/>
                <a:gd name="connsiteY2" fmla="*/ 120902 h 217572"/>
                <a:gd name="connsiteX3" fmla="*/ 120730 w 217572"/>
                <a:gd name="connsiteY3" fmla="*/ 58350 h 217572"/>
                <a:gd name="connsiteX4" fmla="*/ 183282 w 217572"/>
                <a:gd name="connsiteY4" fmla="*/ 120902 h 2175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17572" h="217572">
                  <a:moveTo>
                    <a:pt x="183282" y="120902"/>
                  </a:moveTo>
                  <a:cubicBezTo>
                    <a:pt x="183282" y="156258"/>
                    <a:pt x="156086" y="183454"/>
                    <a:pt x="120730" y="183454"/>
                  </a:cubicBezTo>
                  <a:cubicBezTo>
                    <a:pt x="85375" y="183454"/>
                    <a:pt x="58178" y="156258"/>
                    <a:pt x="58178" y="120902"/>
                  </a:cubicBezTo>
                  <a:cubicBezTo>
                    <a:pt x="58178" y="85547"/>
                    <a:pt x="85375" y="58350"/>
                    <a:pt x="120730" y="58350"/>
                  </a:cubicBezTo>
                  <a:cubicBezTo>
                    <a:pt x="153366" y="55630"/>
                    <a:pt x="183282" y="85547"/>
                    <a:pt x="183282" y="120902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/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8EA46793-C37F-42AD-B0A2-1B9D19975188}"/>
                </a:ext>
              </a:extLst>
            </p:cNvPr>
            <p:cNvSpPr/>
            <p:nvPr/>
          </p:nvSpPr>
          <p:spPr>
            <a:xfrm>
              <a:off x="6005186" y="3416884"/>
              <a:ext cx="380752" cy="462341"/>
            </a:xfrm>
            <a:custGeom>
              <a:avLst/>
              <a:gdLst>
                <a:gd name="connsiteX0" fmla="*/ 270312 w 380752"/>
                <a:gd name="connsiteY0" fmla="*/ 69229 h 462341"/>
                <a:gd name="connsiteX1" fmla="*/ 188722 w 380752"/>
                <a:gd name="connsiteY1" fmla="*/ 134501 h 462341"/>
                <a:gd name="connsiteX2" fmla="*/ 188722 w 380752"/>
                <a:gd name="connsiteY2" fmla="*/ 118183 h 462341"/>
                <a:gd name="connsiteX3" fmla="*/ 126170 w 380752"/>
                <a:gd name="connsiteY3" fmla="*/ 58350 h 462341"/>
                <a:gd name="connsiteX4" fmla="*/ 58178 w 380752"/>
                <a:gd name="connsiteY4" fmla="*/ 118183 h 462341"/>
                <a:gd name="connsiteX5" fmla="*/ 58178 w 380752"/>
                <a:gd name="connsiteY5" fmla="*/ 210651 h 462341"/>
                <a:gd name="connsiteX6" fmla="*/ 58178 w 380752"/>
                <a:gd name="connsiteY6" fmla="*/ 365671 h 462341"/>
                <a:gd name="connsiteX7" fmla="*/ 58178 w 380752"/>
                <a:gd name="connsiteY7" fmla="*/ 365671 h 462341"/>
                <a:gd name="connsiteX8" fmla="*/ 120730 w 380752"/>
                <a:gd name="connsiteY8" fmla="*/ 425504 h 462341"/>
                <a:gd name="connsiteX9" fmla="*/ 186002 w 380752"/>
                <a:gd name="connsiteY9" fmla="*/ 365671 h 462341"/>
                <a:gd name="connsiteX10" fmla="*/ 186002 w 380752"/>
                <a:gd name="connsiteY10" fmla="*/ 365671 h 462341"/>
                <a:gd name="connsiteX11" fmla="*/ 186002 w 380752"/>
                <a:gd name="connsiteY11" fmla="*/ 210651 h 462341"/>
                <a:gd name="connsiteX12" fmla="*/ 215919 w 380752"/>
                <a:gd name="connsiteY12" fmla="*/ 158978 h 462341"/>
                <a:gd name="connsiteX13" fmla="*/ 275751 w 380752"/>
                <a:gd name="connsiteY13" fmla="*/ 221530 h 462341"/>
                <a:gd name="connsiteX14" fmla="*/ 270312 w 380752"/>
                <a:gd name="connsiteY14" fmla="*/ 69229 h 4623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80752" h="462341">
                  <a:moveTo>
                    <a:pt x="270312" y="69229"/>
                  </a:moveTo>
                  <a:cubicBezTo>
                    <a:pt x="232236" y="71949"/>
                    <a:pt x="213199" y="99145"/>
                    <a:pt x="188722" y="134501"/>
                  </a:cubicBezTo>
                  <a:cubicBezTo>
                    <a:pt x="188722" y="134501"/>
                    <a:pt x="188722" y="118183"/>
                    <a:pt x="188722" y="118183"/>
                  </a:cubicBezTo>
                  <a:cubicBezTo>
                    <a:pt x="188722" y="85547"/>
                    <a:pt x="158806" y="58350"/>
                    <a:pt x="126170" y="58350"/>
                  </a:cubicBezTo>
                  <a:cubicBezTo>
                    <a:pt x="93534" y="55631"/>
                    <a:pt x="60898" y="85547"/>
                    <a:pt x="58178" y="118183"/>
                  </a:cubicBezTo>
                  <a:lnTo>
                    <a:pt x="58178" y="210651"/>
                  </a:lnTo>
                  <a:lnTo>
                    <a:pt x="58178" y="365671"/>
                  </a:lnTo>
                  <a:lnTo>
                    <a:pt x="58178" y="365671"/>
                  </a:lnTo>
                  <a:cubicBezTo>
                    <a:pt x="58178" y="398307"/>
                    <a:pt x="88094" y="425504"/>
                    <a:pt x="120730" y="425504"/>
                  </a:cubicBezTo>
                  <a:cubicBezTo>
                    <a:pt x="153366" y="428224"/>
                    <a:pt x="186002" y="398307"/>
                    <a:pt x="186002" y="365671"/>
                  </a:cubicBezTo>
                  <a:lnTo>
                    <a:pt x="186002" y="365671"/>
                  </a:lnTo>
                  <a:lnTo>
                    <a:pt x="186002" y="210651"/>
                  </a:lnTo>
                  <a:cubicBezTo>
                    <a:pt x="188722" y="188894"/>
                    <a:pt x="196881" y="158978"/>
                    <a:pt x="215919" y="158978"/>
                  </a:cubicBezTo>
                  <a:cubicBezTo>
                    <a:pt x="243115" y="158978"/>
                    <a:pt x="215919" y="221530"/>
                    <a:pt x="275751" y="221530"/>
                  </a:cubicBezTo>
                  <a:cubicBezTo>
                    <a:pt x="362780" y="221530"/>
                    <a:pt x="373658" y="63790"/>
                    <a:pt x="270312" y="69229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/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00046F6B-E5D4-4598-93CE-3280F6A1E048}"/>
                </a:ext>
              </a:extLst>
            </p:cNvPr>
            <p:cNvSpPr/>
            <p:nvPr/>
          </p:nvSpPr>
          <p:spPr>
            <a:xfrm>
              <a:off x="5693490" y="3475234"/>
              <a:ext cx="337238" cy="364434"/>
            </a:xfrm>
            <a:custGeom>
              <a:avLst/>
              <a:gdLst>
                <a:gd name="connsiteX0" fmla="*/ 180433 w 337238"/>
                <a:gd name="connsiteY0" fmla="*/ 73984 h 364434"/>
                <a:gd name="connsiteX1" fmla="*/ 163180 w 337238"/>
                <a:gd name="connsiteY1" fmla="*/ 78870 h 364434"/>
                <a:gd name="connsiteX2" fmla="*/ 125105 w 337238"/>
                <a:gd name="connsiteY2" fmla="*/ 160461 h 364434"/>
                <a:gd name="connsiteX3" fmla="*/ 171339 w 337238"/>
                <a:gd name="connsiteY3" fmla="*/ 163180 h 364434"/>
                <a:gd name="connsiteX4" fmla="*/ 214854 w 337238"/>
                <a:gd name="connsiteY4" fmla="*/ 108787 h 364434"/>
                <a:gd name="connsiteX5" fmla="*/ 180433 w 337238"/>
                <a:gd name="connsiteY5" fmla="*/ 73984 h 364434"/>
                <a:gd name="connsiteX6" fmla="*/ 174059 w 337238"/>
                <a:gd name="connsiteY6" fmla="*/ 0 h 364434"/>
                <a:gd name="connsiteX7" fmla="*/ 337238 w 337238"/>
                <a:gd name="connsiteY7" fmla="*/ 119665 h 364434"/>
                <a:gd name="connsiteX8" fmla="*/ 133264 w 337238"/>
                <a:gd name="connsiteY8" fmla="*/ 217573 h 364434"/>
                <a:gd name="connsiteX9" fmla="*/ 225732 w 337238"/>
                <a:gd name="connsiteY9" fmla="*/ 277405 h 364434"/>
                <a:gd name="connsiteX10" fmla="*/ 320920 w 337238"/>
                <a:gd name="connsiteY10" fmla="*/ 250208 h 364434"/>
                <a:gd name="connsiteX11" fmla="*/ 174059 w 337238"/>
                <a:gd name="connsiteY11" fmla="*/ 364434 h 364434"/>
                <a:gd name="connsiteX12" fmla="*/ 0 w 337238"/>
                <a:gd name="connsiteY12" fmla="*/ 184937 h 364434"/>
                <a:gd name="connsiteX13" fmla="*/ 174059 w 337238"/>
                <a:gd name="connsiteY13" fmla="*/ 0 h 3644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37238" h="364434">
                  <a:moveTo>
                    <a:pt x="180433" y="73984"/>
                  </a:moveTo>
                  <a:cubicBezTo>
                    <a:pt x="174569" y="73941"/>
                    <a:pt x="168620" y="75471"/>
                    <a:pt x="163180" y="78870"/>
                  </a:cubicBezTo>
                  <a:cubicBezTo>
                    <a:pt x="135984" y="95189"/>
                    <a:pt x="127825" y="130544"/>
                    <a:pt x="125105" y="160461"/>
                  </a:cubicBezTo>
                  <a:cubicBezTo>
                    <a:pt x="125105" y="163180"/>
                    <a:pt x="168620" y="160461"/>
                    <a:pt x="171339" y="163180"/>
                  </a:cubicBezTo>
                  <a:cubicBezTo>
                    <a:pt x="195816" y="157741"/>
                    <a:pt x="214854" y="135984"/>
                    <a:pt x="214854" y="108787"/>
                  </a:cubicBezTo>
                  <a:cubicBezTo>
                    <a:pt x="214854" y="88389"/>
                    <a:pt x="198026" y="74111"/>
                    <a:pt x="180433" y="73984"/>
                  </a:cubicBezTo>
                  <a:close/>
                  <a:moveTo>
                    <a:pt x="174059" y="0"/>
                  </a:moveTo>
                  <a:cubicBezTo>
                    <a:pt x="233891" y="0"/>
                    <a:pt x="337238" y="29916"/>
                    <a:pt x="337238" y="119665"/>
                  </a:cubicBezTo>
                  <a:cubicBezTo>
                    <a:pt x="337238" y="209414"/>
                    <a:pt x="244770" y="217573"/>
                    <a:pt x="133264" y="217573"/>
                  </a:cubicBezTo>
                  <a:cubicBezTo>
                    <a:pt x="133264" y="217573"/>
                    <a:pt x="149581" y="277405"/>
                    <a:pt x="225732" y="277405"/>
                  </a:cubicBezTo>
                  <a:cubicBezTo>
                    <a:pt x="301883" y="277405"/>
                    <a:pt x="320920" y="250208"/>
                    <a:pt x="320920" y="250208"/>
                  </a:cubicBezTo>
                  <a:cubicBezTo>
                    <a:pt x="320920" y="250208"/>
                    <a:pt x="315481" y="364434"/>
                    <a:pt x="174059" y="364434"/>
                  </a:cubicBezTo>
                  <a:cubicBezTo>
                    <a:pt x="95188" y="364434"/>
                    <a:pt x="0" y="304602"/>
                    <a:pt x="0" y="184937"/>
                  </a:cubicBezTo>
                  <a:cubicBezTo>
                    <a:pt x="0" y="78870"/>
                    <a:pt x="73431" y="0"/>
                    <a:pt x="174059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/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D9E3FEEA-893B-4BCB-878A-93F25BBD9C29}"/>
                </a:ext>
              </a:extLst>
            </p:cNvPr>
            <p:cNvSpPr/>
            <p:nvPr/>
          </p:nvSpPr>
          <p:spPr>
            <a:xfrm>
              <a:off x="5376945" y="3338014"/>
              <a:ext cx="353556" cy="543931"/>
            </a:xfrm>
            <a:custGeom>
              <a:avLst/>
              <a:gdLst>
                <a:gd name="connsiteX0" fmla="*/ 311107 w 353555"/>
                <a:gd name="connsiteY0" fmla="*/ 433663 h 543931"/>
                <a:gd name="connsiteX1" fmla="*/ 215919 w 353555"/>
                <a:gd name="connsiteY1" fmla="*/ 501654 h 543931"/>
                <a:gd name="connsiteX2" fmla="*/ 98973 w 353555"/>
                <a:gd name="connsiteY2" fmla="*/ 392868 h 543931"/>
                <a:gd name="connsiteX3" fmla="*/ 98973 w 353555"/>
                <a:gd name="connsiteY3" fmla="*/ 221530 h 543931"/>
                <a:gd name="connsiteX4" fmla="*/ 82655 w 353555"/>
                <a:gd name="connsiteY4" fmla="*/ 221530 h 543931"/>
                <a:gd name="connsiteX5" fmla="*/ 58178 w 353555"/>
                <a:gd name="connsiteY5" fmla="*/ 191614 h 543931"/>
                <a:gd name="connsiteX6" fmla="*/ 85375 w 353555"/>
                <a:gd name="connsiteY6" fmla="*/ 164417 h 543931"/>
                <a:gd name="connsiteX7" fmla="*/ 101693 w 353555"/>
                <a:gd name="connsiteY7" fmla="*/ 164417 h 543931"/>
                <a:gd name="connsiteX8" fmla="*/ 101693 w 353555"/>
                <a:gd name="connsiteY8" fmla="*/ 118183 h 543931"/>
                <a:gd name="connsiteX9" fmla="*/ 166965 w 353555"/>
                <a:gd name="connsiteY9" fmla="*/ 58350 h 543931"/>
                <a:gd name="connsiteX10" fmla="*/ 229517 w 353555"/>
                <a:gd name="connsiteY10" fmla="*/ 118183 h 543931"/>
                <a:gd name="connsiteX11" fmla="*/ 229517 w 353555"/>
                <a:gd name="connsiteY11" fmla="*/ 118183 h 543931"/>
                <a:gd name="connsiteX12" fmla="*/ 229517 w 353555"/>
                <a:gd name="connsiteY12" fmla="*/ 164417 h 543931"/>
                <a:gd name="connsiteX13" fmla="*/ 283910 w 353555"/>
                <a:gd name="connsiteY13" fmla="*/ 164417 h 543931"/>
                <a:gd name="connsiteX14" fmla="*/ 308387 w 353555"/>
                <a:gd name="connsiteY14" fmla="*/ 194333 h 543931"/>
                <a:gd name="connsiteX15" fmla="*/ 281190 w 353555"/>
                <a:gd name="connsiteY15" fmla="*/ 221530 h 543931"/>
                <a:gd name="connsiteX16" fmla="*/ 229517 w 353555"/>
                <a:gd name="connsiteY16" fmla="*/ 221530 h 543931"/>
                <a:gd name="connsiteX17" fmla="*/ 229517 w 353555"/>
                <a:gd name="connsiteY17" fmla="*/ 365671 h 543931"/>
                <a:gd name="connsiteX18" fmla="*/ 311107 w 353555"/>
                <a:gd name="connsiteY18" fmla="*/ 433663 h 5439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353555" h="543931">
                  <a:moveTo>
                    <a:pt x="311107" y="433663"/>
                  </a:moveTo>
                  <a:cubicBezTo>
                    <a:pt x="311107" y="433663"/>
                    <a:pt x="278471" y="501654"/>
                    <a:pt x="215919" y="501654"/>
                  </a:cubicBezTo>
                  <a:cubicBezTo>
                    <a:pt x="164245" y="501654"/>
                    <a:pt x="101693" y="458140"/>
                    <a:pt x="98973" y="392868"/>
                  </a:cubicBezTo>
                  <a:cubicBezTo>
                    <a:pt x="98973" y="392868"/>
                    <a:pt x="98973" y="297680"/>
                    <a:pt x="98973" y="221530"/>
                  </a:cubicBezTo>
                  <a:lnTo>
                    <a:pt x="82655" y="221530"/>
                  </a:lnTo>
                  <a:cubicBezTo>
                    <a:pt x="74496" y="221530"/>
                    <a:pt x="58178" y="216090"/>
                    <a:pt x="58178" y="191614"/>
                  </a:cubicBezTo>
                  <a:cubicBezTo>
                    <a:pt x="58178" y="167137"/>
                    <a:pt x="77216" y="164417"/>
                    <a:pt x="85375" y="164417"/>
                  </a:cubicBezTo>
                  <a:lnTo>
                    <a:pt x="101693" y="164417"/>
                  </a:lnTo>
                  <a:cubicBezTo>
                    <a:pt x="101693" y="137220"/>
                    <a:pt x="101693" y="118183"/>
                    <a:pt x="101693" y="118183"/>
                  </a:cubicBezTo>
                  <a:cubicBezTo>
                    <a:pt x="104413" y="85547"/>
                    <a:pt x="134329" y="55631"/>
                    <a:pt x="166965" y="58350"/>
                  </a:cubicBezTo>
                  <a:cubicBezTo>
                    <a:pt x="196881" y="61070"/>
                    <a:pt x="229517" y="85547"/>
                    <a:pt x="229517" y="118183"/>
                  </a:cubicBezTo>
                  <a:lnTo>
                    <a:pt x="229517" y="118183"/>
                  </a:lnTo>
                  <a:lnTo>
                    <a:pt x="229517" y="164417"/>
                  </a:lnTo>
                  <a:lnTo>
                    <a:pt x="283910" y="164417"/>
                  </a:lnTo>
                  <a:cubicBezTo>
                    <a:pt x="292069" y="164417"/>
                    <a:pt x="308387" y="169856"/>
                    <a:pt x="308387" y="194333"/>
                  </a:cubicBezTo>
                  <a:cubicBezTo>
                    <a:pt x="308387" y="218810"/>
                    <a:pt x="292069" y="221530"/>
                    <a:pt x="281190" y="221530"/>
                  </a:cubicBezTo>
                  <a:lnTo>
                    <a:pt x="229517" y="221530"/>
                  </a:lnTo>
                  <a:lnTo>
                    <a:pt x="229517" y="365671"/>
                  </a:lnTo>
                  <a:cubicBezTo>
                    <a:pt x="226797" y="409186"/>
                    <a:pt x="267592" y="433663"/>
                    <a:pt x="311107" y="433663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/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0C294731-92AD-4771-A321-6B09FBA089E6}"/>
                </a:ext>
              </a:extLst>
            </p:cNvPr>
            <p:cNvSpPr/>
            <p:nvPr/>
          </p:nvSpPr>
          <p:spPr>
            <a:xfrm>
              <a:off x="7090329" y="3338014"/>
              <a:ext cx="353556" cy="543931"/>
            </a:xfrm>
            <a:custGeom>
              <a:avLst/>
              <a:gdLst>
                <a:gd name="connsiteX0" fmla="*/ 311107 w 353555"/>
                <a:gd name="connsiteY0" fmla="*/ 433663 h 543931"/>
                <a:gd name="connsiteX1" fmla="*/ 215919 w 353555"/>
                <a:gd name="connsiteY1" fmla="*/ 501654 h 543931"/>
                <a:gd name="connsiteX2" fmla="*/ 98973 w 353555"/>
                <a:gd name="connsiteY2" fmla="*/ 392868 h 543931"/>
                <a:gd name="connsiteX3" fmla="*/ 98973 w 353555"/>
                <a:gd name="connsiteY3" fmla="*/ 221530 h 543931"/>
                <a:gd name="connsiteX4" fmla="*/ 82655 w 353555"/>
                <a:gd name="connsiteY4" fmla="*/ 221530 h 543931"/>
                <a:gd name="connsiteX5" fmla="*/ 58178 w 353555"/>
                <a:gd name="connsiteY5" fmla="*/ 191614 h 543931"/>
                <a:gd name="connsiteX6" fmla="*/ 85375 w 353555"/>
                <a:gd name="connsiteY6" fmla="*/ 164417 h 543931"/>
                <a:gd name="connsiteX7" fmla="*/ 101693 w 353555"/>
                <a:gd name="connsiteY7" fmla="*/ 164417 h 543931"/>
                <a:gd name="connsiteX8" fmla="*/ 101693 w 353555"/>
                <a:gd name="connsiteY8" fmla="*/ 118183 h 543931"/>
                <a:gd name="connsiteX9" fmla="*/ 166965 w 353555"/>
                <a:gd name="connsiteY9" fmla="*/ 58350 h 543931"/>
                <a:gd name="connsiteX10" fmla="*/ 229517 w 353555"/>
                <a:gd name="connsiteY10" fmla="*/ 118183 h 543931"/>
                <a:gd name="connsiteX11" fmla="*/ 229517 w 353555"/>
                <a:gd name="connsiteY11" fmla="*/ 118183 h 543931"/>
                <a:gd name="connsiteX12" fmla="*/ 229517 w 353555"/>
                <a:gd name="connsiteY12" fmla="*/ 164417 h 543931"/>
                <a:gd name="connsiteX13" fmla="*/ 283910 w 353555"/>
                <a:gd name="connsiteY13" fmla="*/ 164417 h 543931"/>
                <a:gd name="connsiteX14" fmla="*/ 308387 w 353555"/>
                <a:gd name="connsiteY14" fmla="*/ 194333 h 543931"/>
                <a:gd name="connsiteX15" fmla="*/ 281190 w 353555"/>
                <a:gd name="connsiteY15" fmla="*/ 221530 h 543931"/>
                <a:gd name="connsiteX16" fmla="*/ 229517 w 353555"/>
                <a:gd name="connsiteY16" fmla="*/ 221530 h 543931"/>
                <a:gd name="connsiteX17" fmla="*/ 229517 w 353555"/>
                <a:gd name="connsiteY17" fmla="*/ 365671 h 543931"/>
                <a:gd name="connsiteX18" fmla="*/ 311107 w 353555"/>
                <a:gd name="connsiteY18" fmla="*/ 433663 h 5439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353555" h="543931">
                  <a:moveTo>
                    <a:pt x="311107" y="433663"/>
                  </a:moveTo>
                  <a:cubicBezTo>
                    <a:pt x="311107" y="433663"/>
                    <a:pt x="278471" y="501654"/>
                    <a:pt x="215919" y="501654"/>
                  </a:cubicBezTo>
                  <a:cubicBezTo>
                    <a:pt x="164245" y="501654"/>
                    <a:pt x="101693" y="458140"/>
                    <a:pt x="98973" y="392868"/>
                  </a:cubicBezTo>
                  <a:cubicBezTo>
                    <a:pt x="98973" y="392868"/>
                    <a:pt x="98973" y="297680"/>
                    <a:pt x="98973" y="221530"/>
                  </a:cubicBezTo>
                  <a:lnTo>
                    <a:pt x="82655" y="221530"/>
                  </a:lnTo>
                  <a:cubicBezTo>
                    <a:pt x="74496" y="221530"/>
                    <a:pt x="58178" y="216090"/>
                    <a:pt x="58178" y="191614"/>
                  </a:cubicBezTo>
                  <a:cubicBezTo>
                    <a:pt x="58178" y="167137"/>
                    <a:pt x="77216" y="164417"/>
                    <a:pt x="85375" y="164417"/>
                  </a:cubicBezTo>
                  <a:lnTo>
                    <a:pt x="101693" y="164417"/>
                  </a:lnTo>
                  <a:cubicBezTo>
                    <a:pt x="101693" y="137220"/>
                    <a:pt x="101693" y="118183"/>
                    <a:pt x="101693" y="118183"/>
                  </a:cubicBezTo>
                  <a:cubicBezTo>
                    <a:pt x="104412" y="85547"/>
                    <a:pt x="134329" y="55631"/>
                    <a:pt x="166965" y="58350"/>
                  </a:cubicBezTo>
                  <a:cubicBezTo>
                    <a:pt x="196881" y="61070"/>
                    <a:pt x="229517" y="85547"/>
                    <a:pt x="229517" y="118183"/>
                  </a:cubicBezTo>
                  <a:lnTo>
                    <a:pt x="229517" y="118183"/>
                  </a:lnTo>
                  <a:lnTo>
                    <a:pt x="229517" y="164417"/>
                  </a:lnTo>
                  <a:lnTo>
                    <a:pt x="283910" y="164417"/>
                  </a:lnTo>
                  <a:cubicBezTo>
                    <a:pt x="292069" y="164417"/>
                    <a:pt x="308387" y="169856"/>
                    <a:pt x="308387" y="194333"/>
                  </a:cubicBezTo>
                  <a:cubicBezTo>
                    <a:pt x="308387" y="218810"/>
                    <a:pt x="292069" y="221530"/>
                    <a:pt x="281190" y="221530"/>
                  </a:cubicBezTo>
                  <a:lnTo>
                    <a:pt x="229517" y="221530"/>
                  </a:lnTo>
                  <a:lnTo>
                    <a:pt x="229517" y="365671"/>
                  </a:lnTo>
                  <a:cubicBezTo>
                    <a:pt x="229517" y="409186"/>
                    <a:pt x="270312" y="433663"/>
                    <a:pt x="311107" y="433663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/>
            </a:p>
          </p:txBody>
        </p:sp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id="{4E06B157-DBF4-4A2A-A41B-A23CBB507D06}"/>
                </a:ext>
              </a:extLst>
            </p:cNvPr>
            <p:cNvSpPr/>
            <p:nvPr/>
          </p:nvSpPr>
          <p:spPr>
            <a:xfrm>
              <a:off x="2080719" y="4178559"/>
              <a:ext cx="462342" cy="788700"/>
            </a:xfrm>
            <a:custGeom>
              <a:avLst/>
              <a:gdLst>
                <a:gd name="connsiteX0" fmla="*/ 403575 w 462341"/>
                <a:gd name="connsiteY0" fmla="*/ 583072 h 788699"/>
                <a:gd name="connsiteX1" fmla="*/ 406295 w 462341"/>
                <a:gd name="connsiteY1" fmla="*/ 596670 h 788699"/>
                <a:gd name="connsiteX2" fmla="*/ 400855 w 462341"/>
                <a:gd name="connsiteY2" fmla="*/ 610268 h 788699"/>
                <a:gd name="connsiteX3" fmla="*/ 389977 w 462341"/>
                <a:gd name="connsiteY3" fmla="*/ 626586 h 788699"/>
                <a:gd name="connsiteX4" fmla="*/ 354621 w 462341"/>
                <a:gd name="connsiteY4" fmla="*/ 675540 h 788699"/>
                <a:gd name="connsiteX5" fmla="*/ 327424 w 462341"/>
                <a:gd name="connsiteY5" fmla="*/ 691858 h 788699"/>
                <a:gd name="connsiteX6" fmla="*/ 292069 w 462341"/>
                <a:gd name="connsiteY6" fmla="*/ 713615 h 788699"/>
                <a:gd name="connsiteX7" fmla="*/ 251274 w 462341"/>
                <a:gd name="connsiteY7" fmla="*/ 724494 h 788699"/>
                <a:gd name="connsiteX8" fmla="*/ 221358 w 462341"/>
                <a:gd name="connsiteY8" fmla="*/ 721774 h 788699"/>
                <a:gd name="connsiteX9" fmla="*/ 191442 w 462341"/>
                <a:gd name="connsiteY9" fmla="*/ 721774 h 788699"/>
                <a:gd name="connsiteX10" fmla="*/ 153366 w 462341"/>
                <a:gd name="connsiteY10" fmla="*/ 713615 h 788699"/>
                <a:gd name="connsiteX11" fmla="*/ 104412 w 462341"/>
                <a:gd name="connsiteY11" fmla="*/ 675540 h 788699"/>
                <a:gd name="connsiteX12" fmla="*/ 104412 w 462341"/>
                <a:gd name="connsiteY12" fmla="*/ 689138 h 788699"/>
                <a:gd name="connsiteX13" fmla="*/ 101693 w 462341"/>
                <a:gd name="connsiteY13" fmla="*/ 710895 h 788699"/>
                <a:gd name="connsiteX14" fmla="*/ 85375 w 462341"/>
                <a:gd name="connsiteY14" fmla="*/ 732653 h 788699"/>
                <a:gd name="connsiteX15" fmla="*/ 69057 w 462341"/>
                <a:gd name="connsiteY15" fmla="*/ 727214 h 788699"/>
                <a:gd name="connsiteX16" fmla="*/ 60898 w 462341"/>
                <a:gd name="connsiteY16" fmla="*/ 710895 h 788699"/>
                <a:gd name="connsiteX17" fmla="*/ 58178 w 462341"/>
                <a:gd name="connsiteY17" fmla="*/ 691858 h 788699"/>
                <a:gd name="connsiteX18" fmla="*/ 60898 w 462341"/>
                <a:gd name="connsiteY18" fmla="*/ 664661 h 788699"/>
                <a:gd name="connsiteX19" fmla="*/ 60898 w 462341"/>
                <a:gd name="connsiteY19" fmla="*/ 607549 h 788699"/>
                <a:gd name="connsiteX20" fmla="*/ 63618 w 462341"/>
                <a:gd name="connsiteY20" fmla="*/ 528679 h 788699"/>
                <a:gd name="connsiteX21" fmla="*/ 69057 w 462341"/>
                <a:gd name="connsiteY21" fmla="*/ 504202 h 788699"/>
                <a:gd name="connsiteX22" fmla="*/ 74496 w 462341"/>
                <a:gd name="connsiteY22" fmla="*/ 493323 h 788699"/>
                <a:gd name="connsiteX23" fmla="*/ 82655 w 462341"/>
                <a:gd name="connsiteY23" fmla="*/ 487884 h 788699"/>
                <a:gd name="connsiteX24" fmla="*/ 90814 w 462341"/>
                <a:gd name="connsiteY24" fmla="*/ 493323 h 788699"/>
                <a:gd name="connsiteX25" fmla="*/ 98973 w 462341"/>
                <a:gd name="connsiteY25" fmla="*/ 512361 h 788699"/>
                <a:gd name="connsiteX26" fmla="*/ 101693 w 462341"/>
                <a:gd name="connsiteY26" fmla="*/ 555875 h 788699"/>
                <a:gd name="connsiteX27" fmla="*/ 101693 w 462341"/>
                <a:gd name="connsiteY27" fmla="*/ 596670 h 788699"/>
                <a:gd name="connsiteX28" fmla="*/ 109852 w 462341"/>
                <a:gd name="connsiteY28" fmla="*/ 626586 h 788699"/>
                <a:gd name="connsiteX29" fmla="*/ 128889 w 462341"/>
                <a:gd name="connsiteY29" fmla="*/ 651063 h 788699"/>
                <a:gd name="connsiteX30" fmla="*/ 153366 w 462341"/>
                <a:gd name="connsiteY30" fmla="*/ 670101 h 788699"/>
                <a:gd name="connsiteX31" fmla="*/ 196881 w 462341"/>
                <a:gd name="connsiteY31" fmla="*/ 678260 h 788699"/>
                <a:gd name="connsiteX32" fmla="*/ 221358 w 462341"/>
                <a:gd name="connsiteY32" fmla="*/ 667381 h 788699"/>
                <a:gd name="connsiteX33" fmla="*/ 253994 w 462341"/>
                <a:gd name="connsiteY33" fmla="*/ 659222 h 788699"/>
                <a:gd name="connsiteX34" fmla="*/ 275751 w 462341"/>
                <a:gd name="connsiteY34" fmla="*/ 637465 h 788699"/>
                <a:gd name="connsiteX35" fmla="*/ 281190 w 462341"/>
                <a:gd name="connsiteY35" fmla="*/ 615708 h 788699"/>
                <a:gd name="connsiteX36" fmla="*/ 278471 w 462341"/>
                <a:gd name="connsiteY36" fmla="*/ 602109 h 788699"/>
                <a:gd name="connsiteX37" fmla="*/ 262153 w 462341"/>
                <a:gd name="connsiteY37" fmla="*/ 572193 h 788699"/>
                <a:gd name="connsiteX38" fmla="*/ 245835 w 462341"/>
                <a:gd name="connsiteY38" fmla="*/ 536838 h 788699"/>
                <a:gd name="connsiteX39" fmla="*/ 196881 w 462341"/>
                <a:gd name="connsiteY39" fmla="*/ 477005 h 788699"/>
                <a:gd name="connsiteX40" fmla="*/ 145207 w 462341"/>
                <a:gd name="connsiteY40" fmla="*/ 419892 h 788699"/>
                <a:gd name="connsiteX41" fmla="*/ 93534 w 462341"/>
                <a:gd name="connsiteY41" fmla="*/ 357340 h 788699"/>
                <a:gd name="connsiteX42" fmla="*/ 66337 w 462341"/>
                <a:gd name="connsiteY42" fmla="*/ 283910 h 788699"/>
                <a:gd name="connsiteX43" fmla="*/ 58178 w 462341"/>
                <a:gd name="connsiteY43" fmla="*/ 224077 h 788699"/>
                <a:gd name="connsiteX44" fmla="*/ 82655 w 462341"/>
                <a:gd name="connsiteY44" fmla="*/ 150647 h 788699"/>
                <a:gd name="connsiteX45" fmla="*/ 137048 w 462341"/>
                <a:gd name="connsiteY45" fmla="*/ 96253 h 788699"/>
                <a:gd name="connsiteX46" fmla="*/ 196881 w 462341"/>
                <a:gd name="connsiteY46" fmla="*/ 77216 h 788699"/>
                <a:gd name="connsiteX47" fmla="*/ 232236 w 462341"/>
                <a:gd name="connsiteY47" fmla="*/ 69057 h 788699"/>
                <a:gd name="connsiteX48" fmla="*/ 262153 w 462341"/>
                <a:gd name="connsiteY48" fmla="*/ 74496 h 788699"/>
                <a:gd name="connsiteX49" fmla="*/ 294789 w 462341"/>
                <a:gd name="connsiteY49" fmla="*/ 85375 h 788699"/>
                <a:gd name="connsiteX50" fmla="*/ 327424 w 462341"/>
                <a:gd name="connsiteY50" fmla="*/ 104412 h 788699"/>
                <a:gd name="connsiteX51" fmla="*/ 332864 w 462341"/>
                <a:gd name="connsiteY51" fmla="*/ 74496 h 788699"/>
                <a:gd name="connsiteX52" fmla="*/ 338303 w 462341"/>
                <a:gd name="connsiteY52" fmla="*/ 63618 h 788699"/>
                <a:gd name="connsiteX53" fmla="*/ 349182 w 462341"/>
                <a:gd name="connsiteY53" fmla="*/ 58178 h 788699"/>
                <a:gd name="connsiteX54" fmla="*/ 357341 w 462341"/>
                <a:gd name="connsiteY54" fmla="*/ 63618 h 788699"/>
                <a:gd name="connsiteX55" fmla="*/ 365500 w 462341"/>
                <a:gd name="connsiteY55" fmla="*/ 82655 h 788699"/>
                <a:gd name="connsiteX56" fmla="*/ 368219 w 462341"/>
                <a:gd name="connsiteY56" fmla="*/ 142488 h 788699"/>
                <a:gd name="connsiteX57" fmla="*/ 368219 w 462341"/>
                <a:gd name="connsiteY57" fmla="*/ 188722 h 788699"/>
                <a:gd name="connsiteX58" fmla="*/ 370939 w 462341"/>
                <a:gd name="connsiteY58" fmla="*/ 245834 h 788699"/>
                <a:gd name="connsiteX59" fmla="*/ 354621 w 462341"/>
                <a:gd name="connsiteY59" fmla="*/ 286629 h 788699"/>
                <a:gd name="connsiteX60" fmla="*/ 338303 w 462341"/>
                <a:gd name="connsiteY60" fmla="*/ 281190 h 788699"/>
                <a:gd name="connsiteX61" fmla="*/ 330144 w 462341"/>
                <a:gd name="connsiteY61" fmla="*/ 264872 h 788699"/>
                <a:gd name="connsiteX62" fmla="*/ 327424 w 462341"/>
                <a:gd name="connsiteY62" fmla="*/ 248554 h 788699"/>
                <a:gd name="connsiteX63" fmla="*/ 330144 w 462341"/>
                <a:gd name="connsiteY63" fmla="*/ 221357 h 788699"/>
                <a:gd name="connsiteX64" fmla="*/ 330144 w 462341"/>
                <a:gd name="connsiteY64" fmla="*/ 188722 h 788699"/>
                <a:gd name="connsiteX65" fmla="*/ 327424 w 462341"/>
                <a:gd name="connsiteY65" fmla="*/ 164245 h 788699"/>
                <a:gd name="connsiteX66" fmla="*/ 311107 w 462341"/>
                <a:gd name="connsiteY66" fmla="*/ 134329 h 788699"/>
                <a:gd name="connsiteX67" fmla="*/ 283910 w 462341"/>
                <a:gd name="connsiteY67" fmla="*/ 118011 h 788699"/>
                <a:gd name="connsiteX68" fmla="*/ 251274 w 462341"/>
                <a:gd name="connsiteY68" fmla="*/ 112571 h 788699"/>
                <a:gd name="connsiteX69" fmla="*/ 215918 w 462341"/>
                <a:gd name="connsiteY69" fmla="*/ 123450 h 788699"/>
                <a:gd name="connsiteX70" fmla="*/ 202320 w 462341"/>
                <a:gd name="connsiteY70" fmla="*/ 147927 h 788699"/>
                <a:gd name="connsiteX71" fmla="*/ 188722 w 462341"/>
                <a:gd name="connsiteY71" fmla="*/ 180563 h 788699"/>
                <a:gd name="connsiteX72" fmla="*/ 183283 w 462341"/>
                <a:gd name="connsiteY72" fmla="*/ 210479 h 788699"/>
                <a:gd name="connsiteX73" fmla="*/ 188722 w 462341"/>
                <a:gd name="connsiteY73" fmla="*/ 226797 h 788699"/>
                <a:gd name="connsiteX74" fmla="*/ 188722 w 462341"/>
                <a:gd name="connsiteY74" fmla="*/ 248554 h 788699"/>
                <a:gd name="connsiteX75" fmla="*/ 210479 w 462341"/>
                <a:gd name="connsiteY75" fmla="*/ 273031 h 788699"/>
                <a:gd name="connsiteX76" fmla="*/ 226797 w 462341"/>
                <a:gd name="connsiteY76" fmla="*/ 300228 h 788699"/>
                <a:gd name="connsiteX77" fmla="*/ 256713 w 462341"/>
                <a:gd name="connsiteY77" fmla="*/ 332864 h 788699"/>
                <a:gd name="connsiteX78" fmla="*/ 275751 w 462341"/>
                <a:gd name="connsiteY78" fmla="*/ 351901 h 788699"/>
                <a:gd name="connsiteX79" fmla="*/ 324705 w 462341"/>
                <a:gd name="connsiteY79" fmla="*/ 400855 h 788699"/>
                <a:gd name="connsiteX80" fmla="*/ 343742 w 462341"/>
                <a:gd name="connsiteY80" fmla="*/ 428051 h 788699"/>
                <a:gd name="connsiteX81" fmla="*/ 351901 w 462341"/>
                <a:gd name="connsiteY81" fmla="*/ 433491 h 788699"/>
                <a:gd name="connsiteX82" fmla="*/ 360060 w 462341"/>
                <a:gd name="connsiteY82" fmla="*/ 447089 h 788699"/>
                <a:gd name="connsiteX83" fmla="*/ 384537 w 462341"/>
                <a:gd name="connsiteY83" fmla="*/ 474286 h 788699"/>
                <a:gd name="connsiteX84" fmla="*/ 395416 w 462341"/>
                <a:gd name="connsiteY84" fmla="*/ 506921 h 788699"/>
                <a:gd name="connsiteX85" fmla="*/ 406295 w 462341"/>
                <a:gd name="connsiteY85" fmla="*/ 536838 h 788699"/>
                <a:gd name="connsiteX86" fmla="*/ 409014 w 462341"/>
                <a:gd name="connsiteY86" fmla="*/ 547716 h 788699"/>
                <a:gd name="connsiteX87" fmla="*/ 406295 w 462341"/>
                <a:gd name="connsiteY87" fmla="*/ 569473 h 788699"/>
                <a:gd name="connsiteX88" fmla="*/ 403575 w 462341"/>
                <a:gd name="connsiteY88" fmla="*/ 583072 h 788699"/>
                <a:gd name="connsiteX89" fmla="*/ 403575 w 462341"/>
                <a:gd name="connsiteY89" fmla="*/ 583072 h 7886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</a:cxnLst>
              <a:rect l="l" t="t" r="r" b="b"/>
              <a:pathLst>
                <a:path w="462341" h="788699">
                  <a:moveTo>
                    <a:pt x="403575" y="583072"/>
                  </a:moveTo>
                  <a:cubicBezTo>
                    <a:pt x="403575" y="588511"/>
                    <a:pt x="406295" y="591231"/>
                    <a:pt x="406295" y="596670"/>
                  </a:cubicBezTo>
                  <a:cubicBezTo>
                    <a:pt x="406295" y="602109"/>
                    <a:pt x="403575" y="604829"/>
                    <a:pt x="400855" y="610268"/>
                  </a:cubicBezTo>
                  <a:cubicBezTo>
                    <a:pt x="398136" y="615708"/>
                    <a:pt x="392696" y="621147"/>
                    <a:pt x="389977" y="626586"/>
                  </a:cubicBezTo>
                  <a:cubicBezTo>
                    <a:pt x="381818" y="645624"/>
                    <a:pt x="368219" y="661942"/>
                    <a:pt x="354621" y="675540"/>
                  </a:cubicBezTo>
                  <a:cubicBezTo>
                    <a:pt x="346462" y="683699"/>
                    <a:pt x="338303" y="686419"/>
                    <a:pt x="327424" y="691858"/>
                  </a:cubicBezTo>
                  <a:cubicBezTo>
                    <a:pt x="316546" y="700017"/>
                    <a:pt x="302948" y="708176"/>
                    <a:pt x="292069" y="713615"/>
                  </a:cubicBezTo>
                  <a:cubicBezTo>
                    <a:pt x="281190" y="719054"/>
                    <a:pt x="264872" y="724494"/>
                    <a:pt x="251274" y="724494"/>
                  </a:cubicBezTo>
                  <a:cubicBezTo>
                    <a:pt x="240395" y="724494"/>
                    <a:pt x="229517" y="721774"/>
                    <a:pt x="221358" y="721774"/>
                  </a:cubicBezTo>
                  <a:cubicBezTo>
                    <a:pt x="213199" y="721774"/>
                    <a:pt x="202320" y="721774"/>
                    <a:pt x="191442" y="721774"/>
                  </a:cubicBezTo>
                  <a:cubicBezTo>
                    <a:pt x="172404" y="721774"/>
                    <a:pt x="172404" y="721774"/>
                    <a:pt x="153366" y="713615"/>
                  </a:cubicBezTo>
                  <a:cubicBezTo>
                    <a:pt x="134329" y="708176"/>
                    <a:pt x="118011" y="691858"/>
                    <a:pt x="104412" y="675540"/>
                  </a:cubicBezTo>
                  <a:cubicBezTo>
                    <a:pt x="104412" y="678260"/>
                    <a:pt x="104412" y="680979"/>
                    <a:pt x="104412" y="689138"/>
                  </a:cubicBezTo>
                  <a:cubicBezTo>
                    <a:pt x="104412" y="694578"/>
                    <a:pt x="104412" y="702737"/>
                    <a:pt x="101693" y="710895"/>
                  </a:cubicBezTo>
                  <a:cubicBezTo>
                    <a:pt x="101693" y="721774"/>
                    <a:pt x="96253" y="732653"/>
                    <a:pt x="85375" y="732653"/>
                  </a:cubicBezTo>
                  <a:cubicBezTo>
                    <a:pt x="77216" y="732653"/>
                    <a:pt x="74496" y="729933"/>
                    <a:pt x="69057" y="727214"/>
                  </a:cubicBezTo>
                  <a:cubicBezTo>
                    <a:pt x="63618" y="724494"/>
                    <a:pt x="60898" y="716335"/>
                    <a:pt x="60898" y="710895"/>
                  </a:cubicBezTo>
                  <a:cubicBezTo>
                    <a:pt x="58178" y="702737"/>
                    <a:pt x="58178" y="697297"/>
                    <a:pt x="58178" y="691858"/>
                  </a:cubicBezTo>
                  <a:cubicBezTo>
                    <a:pt x="58178" y="683699"/>
                    <a:pt x="60898" y="678260"/>
                    <a:pt x="60898" y="664661"/>
                  </a:cubicBezTo>
                  <a:cubicBezTo>
                    <a:pt x="60898" y="656502"/>
                    <a:pt x="60898" y="632026"/>
                    <a:pt x="60898" y="607549"/>
                  </a:cubicBezTo>
                  <a:cubicBezTo>
                    <a:pt x="60898" y="574913"/>
                    <a:pt x="60898" y="542277"/>
                    <a:pt x="63618" y="528679"/>
                  </a:cubicBezTo>
                  <a:cubicBezTo>
                    <a:pt x="63618" y="520520"/>
                    <a:pt x="63618" y="509641"/>
                    <a:pt x="69057" y="504202"/>
                  </a:cubicBezTo>
                  <a:cubicBezTo>
                    <a:pt x="71777" y="501482"/>
                    <a:pt x="71777" y="498762"/>
                    <a:pt x="74496" y="493323"/>
                  </a:cubicBezTo>
                  <a:cubicBezTo>
                    <a:pt x="77216" y="490603"/>
                    <a:pt x="79936" y="487884"/>
                    <a:pt x="82655" y="487884"/>
                  </a:cubicBezTo>
                  <a:cubicBezTo>
                    <a:pt x="85375" y="487884"/>
                    <a:pt x="90814" y="490603"/>
                    <a:pt x="90814" y="493323"/>
                  </a:cubicBezTo>
                  <a:cubicBezTo>
                    <a:pt x="93534" y="498762"/>
                    <a:pt x="98973" y="506921"/>
                    <a:pt x="98973" y="512361"/>
                  </a:cubicBezTo>
                  <a:cubicBezTo>
                    <a:pt x="98973" y="520520"/>
                    <a:pt x="101693" y="536838"/>
                    <a:pt x="101693" y="555875"/>
                  </a:cubicBezTo>
                  <a:cubicBezTo>
                    <a:pt x="101693" y="569473"/>
                    <a:pt x="101693" y="583072"/>
                    <a:pt x="101693" y="596670"/>
                  </a:cubicBezTo>
                  <a:cubicBezTo>
                    <a:pt x="101693" y="607549"/>
                    <a:pt x="104412" y="618427"/>
                    <a:pt x="109852" y="626586"/>
                  </a:cubicBezTo>
                  <a:cubicBezTo>
                    <a:pt x="115291" y="637465"/>
                    <a:pt x="123450" y="642904"/>
                    <a:pt x="128889" y="651063"/>
                  </a:cubicBezTo>
                  <a:cubicBezTo>
                    <a:pt x="137048" y="661942"/>
                    <a:pt x="139768" y="667381"/>
                    <a:pt x="153366" y="670101"/>
                  </a:cubicBezTo>
                  <a:cubicBezTo>
                    <a:pt x="161525" y="670101"/>
                    <a:pt x="183283" y="678260"/>
                    <a:pt x="196881" y="678260"/>
                  </a:cubicBezTo>
                  <a:cubicBezTo>
                    <a:pt x="207759" y="678260"/>
                    <a:pt x="210479" y="672820"/>
                    <a:pt x="221358" y="667381"/>
                  </a:cubicBezTo>
                  <a:cubicBezTo>
                    <a:pt x="232236" y="661942"/>
                    <a:pt x="245835" y="664661"/>
                    <a:pt x="253994" y="659222"/>
                  </a:cubicBezTo>
                  <a:cubicBezTo>
                    <a:pt x="262153" y="653783"/>
                    <a:pt x="273031" y="645624"/>
                    <a:pt x="275751" y="637465"/>
                  </a:cubicBezTo>
                  <a:cubicBezTo>
                    <a:pt x="281190" y="629306"/>
                    <a:pt x="281190" y="621147"/>
                    <a:pt x="281190" y="615708"/>
                  </a:cubicBezTo>
                  <a:cubicBezTo>
                    <a:pt x="281190" y="610268"/>
                    <a:pt x="281190" y="607549"/>
                    <a:pt x="278471" y="602109"/>
                  </a:cubicBezTo>
                  <a:cubicBezTo>
                    <a:pt x="275751" y="591231"/>
                    <a:pt x="267592" y="583072"/>
                    <a:pt x="262153" y="572193"/>
                  </a:cubicBezTo>
                  <a:cubicBezTo>
                    <a:pt x="256713" y="561314"/>
                    <a:pt x="253994" y="547716"/>
                    <a:pt x="245835" y="536838"/>
                  </a:cubicBezTo>
                  <a:cubicBezTo>
                    <a:pt x="232236" y="515080"/>
                    <a:pt x="213199" y="498762"/>
                    <a:pt x="196881" y="477005"/>
                  </a:cubicBezTo>
                  <a:cubicBezTo>
                    <a:pt x="180563" y="457968"/>
                    <a:pt x="164245" y="438930"/>
                    <a:pt x="145207" y="419892"/>
                  </a:cubicBezTo>
                  <a:cubicBezTo>
                    <a:pt x="126170" y="400855"/>
                    <a:pt x="109852" y="379098"/>
                    <a:pt x="93534" y="357340"/>
                  </a:cubicBezTo>
                  <a:cubicBezTo>
                    <a:pt x="77216" y="335583"/>
                    <a:pt x="71777" y="308387"/>
                    <a:pt x="66337" y="283910"/>
                  </a:cubicBezTo>
                  <a:cubicBezTo>
                    <a:pt x="63618" y="267592"/>
                    <a:pt x="58178" y="245834"/>
                    <a:pt x="58178" y="224077"/>
                  </a:cubicBezTo>
                  <a:cubicBezTo>
                    <a:pt x="58178" y="194161"/>
                    <a:pt x="69057" y="175123"/>
                    <a:pt x="82655" y="150647"/>
                  </a:cubicBezTo>
                  <a:cubicBezTo>
                    <a:pt x="96253" y="128889"/>
                    <a:pt x="115291" y="109852"/>
                    <a:pt x="137048" y="96253"/>
                  </a:cubicBezTo>
                  <a:cubicBezTo>
                    <a:pt x="158806" y="82655"/>
                    <a:pt x="172404" y="79936"/>
                    <a:pt x="196881" y="77216"/>
                  </a:cubicBezTo>
                  <a:cubicBezTo>
                    <a:pt x="210479" y="77216"/>
                    <a:pt x="215918" y="69057"/>
                    <a:pt x="232236" y="69057"/>
                  </a:cubicBezTo>
                  <a:cubicBezTo>
                    <a:pt x="243115" y="69057"/>
                    <a:pt x="251274" y="71776"/>
                    <a:pt x="262153" y="74496"/>
                  </a:cubicBezTo>
                  <a:cubicBezTo>
                    <a:pt x="273031" y="77216"/>
                    <a:pt x="283910" y="82655"/>
                    <a:pt x="294789" y="85375"/>
                  </a:cubicBezTo>
                  <a:cubicBezTo>
                    <a:pt x="308387" y="90814"/>
                    <a:pt x="319265" y="96253"/>
                    <a:pt x="327424" y="104412"/>
                  </a:cubicBezTo>
                  <a:cubicBezTo>
                    <a:pt x="327424" y="90814"/>
                    <a:pt x="327424" y="79936"/>
                    <a:pt x="332864" y="74496"/>
                  </a:cubicBezTo>
                  <a:cubicBezTo>
                    <a:pt x="335583" y="71776"/>
                    <a:pt x="335583" y="69057"/>
                    <a:pt x="338303" y="63618"/>
                  </a:cubicBezTo>
                  <a:cubicBezTo>
                    <a:pt x="341023" y="60898"/>
                    <a:pt x="346462" y="58178"/>
                    <a:pt x="349182" y="58178"/>
                  </a:cubicBezTo>
                  <a:cubicBezTo>
                    <a:pt x="351901" y="58178"/>
                    <a:pt x="357341" y="60898"/>
                    <a:pt x="357341" y="63618"/>
                  </a:cubicBezTo>
                  <a:cubicBezTo>
                    <a:pt x="360060" y="69057"/>
                    <a:pt x="365500" y="77216"/>
                    <a:pt x="365500" y="82655"/>
                  </a:cubicBezTo>
                  <a:cubicBezTo>
                    <a:pt x="365500" y="90814"/>
                    <a:pt x="368219" y="123450"/>
                    <a:pt x="368219" y="142488"/>
                  </a:cubicBezTo>
                  <a:cubicBezTo>
                    <a:pt x="368219" y="158806"/>
                    <a:pt x="368219" y="177843"/>
                    <a:pt x="368219" y="188722"/>
                  </a:cubicBezTo>
                  <a:cubicBezTo>
                    <a:pt x="368219" y="213199"/>
                    <a:pt x="370939" y="224077"/>
                    <a:pt x="370939" y="245834"/>
                  </a:cubicBezTo>
                  <a:cubicBezTo>
                    <a:pt x="370939" y="256713"/>
                    <a:pt x="370939" y="286629"/>
                    <a:pt x="354621" y="286629"/>
                  </a:cubicBezTo>
                  <a:cubicBezTo>
                    <a:pt x="346462" y="286629"/>
                    <a:pt x="343742" y="283910"/>
                    <a:pt x="338303" y="281190"/>
                  </a:cubicBezTo>
                  <a:cubicBezTo>
                    <a:pt x="332864" y="278470"/>
                    <a:pt x="330144" y="270311"/>
                    <a:pt x="330144" y="264872"/>
                  </a:cubicBezTo>
                  <a:cubicBezTo>
                    <a:pt x="327424" y="256713"/>
                    <a:pt x="327424" y="251274"/>
                    <a:pt x="327424" y="248554"/>
                  </a:cubicBezTo>
                  <a:cubicBezTo>
                    <a:pt x="327424" y="240395"/>
                    <a:pt x="330144" y="234956"/>
                    <a:pt x="330144" y="221357"/>
                  </a:cubicBezTo>
                  <a:cubicBezTo>
                    <a:pt x="330144" y="213199"/>
                    <a:pt x="330144" y="202320"/>
                    <a:pt x="330144" y="188722"/>
                  </a:cubicBezTo>
                  <a:cubicBezTo>
                    <a:pt x="330144" y="180563"/>
                    <a:pt x="327424" y="172404"/>
                    <a:pt x="327424" y="164245"/>
                  </a:cubicBezTo>
                  <a:cubicBezTo>
                    <a:pt x="324705" y="153366"/>
                    <a:pt x="319265" y="142488"/>
                    <a:pt x="311107" y="134329"/>
                  </a:cubicBezTo>
                  <a:cubicBezTo>
                    <a:pt x="302948" y="126170"/>
                    <a:pt x="294789" y="120730"/>
                    <a:pt x="283910" y="118011"/>
                  </a:cubicBezTo>
                  <a:cubicBezTo>
                    <a:pt x="275751" y="115291"/>
                    <a:pt x="262153" y="112571"/>
                    <a:pt x="251274" y="112571"/>
                  </a:cubicBezTo>
                  <a:cubicBezTo>
                    <a:pt x="237676" y="112571"/>
                    <a:pt x="224077" y="115291"/>
                    <a:pt x="215918" y="123450"/>
                  </a:cubicBezTo>
                  <a:cubicBezTo>
                    <a:pt x="207759" y="128889"/>
                    <a:pt x="205040" y="139768"/>
                    <a:pt x="202320" y="147927"/>
                  </a:cubicBezTo>
                  <a:cubicBezTo>
                    <a:pt x="196881" y="158806"/>
                    <a:pt x="191442" y="166964"/>
                    <a:pt x="188722" y="180563"/>
                  </a:cubicBezTo>
                  <a:cubicBezTo>
                    <a:pt x="186002" y="191441"/>
                    <a:pt x="183283" y="199600"/>
                    <a:pt x="183283" y="210479"/>
                  </a:cubicBezTo>
                  <a:cubicBezTo>
                    <a:pt x="183283" y="215918"/>
                    <a:pt x="186002" y="221357"/>
                    <a:pt x="188722" y="226797"/>
                  </a:cubicBezTo>
                  <a:cubicBezTo>
                    <a:pt x="191442" y="234956"/>
                    <a:pt x="188722" y="243115"/>
                    <a:pt x="188722" y="248554"/>
                  </a:cubicBezTo>
                  <a:cubicBezTo>
                    <a:pt x="191442" y="259433"/>
                    <a:pt x="202320" y="264872"/>
                    <a:pt x="210479" y="273031"/>
                  </a:cubicBezTo>
                  <a:cubicBezTo>
                    <a:pt x="218638" y="281190"/>
                    <a:pt x="221358" y="292069"/>
                    <a:pt x="226797" y="300228"/>
                  </a:cubicBezTo>
                  <a:cubicBezTo>
                    <a:pt x="234956" y="311106"/>
                    <a:pt x="245835" y="321985"/>
                    <a:pt x="256713" y="332864"/>
                  </a:cubicBezTo>
                  <a:cubicBezTo>
                    <a:pt x="259433" y="338303"/>
                    <a:pt x="267592" y="343742"/>
                    <a:pt x="275751" y="351901"/>
                  </a:cubicBezTo>
                  <a:cubicBezTo>
                    <a:pt x="292069" y="368219"/>
                    <a:pt x="311107" y="384537"/>
                    <a:pt x="324705" y="400855"/>
                  </a:cubicBezTo>
                  <a:cubicBezTo>
                    <a:pt x="332864" y="409014"/>
                    <a:pt x="335583" y="419892"/>
                    <a:pt x="343742" y="428051"/>
                  </a:cubicBezTo>
                  <a:cubicBezTo>
                    <a:pt x="346462" y="430771"/>
                    <a:pt x="349182" y="430771"/>
                    <a:pt x="351901" y="433491"/>
                  </a:cubicBezTo>
                  <a:cubicBezTo>
                    <a:pt x="354621" y="436210"/>
                    <a:pt x="357341" y="441650"/>
                    <a:pt x="360060" y="447089"/>
                  </a:cubicBezTo>
                  <a:cubicBezTo>
                    <a:pt x="368219" y="455248"/>
                    <a:pt x="376378" y="463407"/>
                    <a:pt x="384537" y="474286"/>
                  </a:cubicBezTo>
                  <a:cubicBezTo>
                    <a:pt x="389977" y="482445"/>
                    <a:pt x="392696" y="496043"/>
                    <a:pt x="395416" y="506921"/>
                  </a:cubicBezTo>
                  <a:cubicBezTo>
                    <a:pt x="400855" y="517800"/>
                    <a:pt x="400855" y="528679"/>
                    <a:pt x="406295" y="536838"/>
                  </a:cubicBezTo>
                  <a:cubicBezTo>
                    <a:pt x="409014" y="539557"/>
                    <a:pt x="409014" y="544997"/>
                    <a:pt x="409014" y="547716"/>
                  </a:cubicBezTo>
                  <a:cubicBezTo>
                    <a:pt x="409014" y="555875"/>
                    <a:pt x="406295" y="561314"/>
                    <a:pt x="406295" y="569473"/>
                  </a:cubicBezTo>
                  <a:cubicBezTo>
                    <a:pt x="406295" y="574913"/>
                    <a:pt x="403575" y="577632"/>
                    <a:pt x="403575" y="583072"/>
                  </a:cubicBezTo>
                  <a:lnTo>
                    <a:pt x="403575" y="583072"/>
                  </a:ln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/>
            </a:p>
          </p:txBody>
        </p:sp>
        <p:sp>
          <p:nvSpPr>
            <p:cNvPr id="35" name="Freeform: Shape 34">
              <a:extLst>
                <a:ext uri="{FF2B5EF4-FFF2-40B4-BE49-F238E27FC236}">
                  <a16:creationId xmlns:a16="http://schemas.microsoft.com/office/drawing/2014/main" id="{006E6070-9EF3-4ED3-9C75-E6CAC8EA9E4A}"/>
                </a:ext>
              </a:extLst>
            </p:cNvPr>
            <p:cNvSpPr/>
            <p:nvPr/>
          </p:nvSpPr>
          <p:spPr>
            <a:xfrm>
              <a:off x="2456032" y="4192158"/>
              <a:ext cx="571128" cy="761503"/>
            </a:xfrm>
            <a:custGeom>
              <a:avLst/>
              <a:gdLst>
                <a:gd name="connsiteX0" fmla="*/ 512361 w 571128"/>
                <a:gd name="connsiteY0" fmla="*/ 79936 h 761503"/>
                <a:gd name="connsiteX1" fmla="*/ 539558 w 571128"/>
                <a:gd name="connsiteY1" fmla="*/ 96253 h 761503"/>
                <a:gd name="connsiteX2" fmla="*/ 534118 w 571128"/>
                <a:gd name="connsiteY2" fmla="*/ 112571 h 761503"/>
                <a:gd name="connsiteX3" fmla="*/ 523240 w 571128"/>
                <a:gd name="connsiteY3" fmla="*/ 120730 h 761503"/>
                <a:gd name="connsiteX4" fmla="*/ 506922 w 571128"/>
                <a:gd name="connsiteY4" fmla="*/ 123450 h 761503"/>
                <a:gd name="connsiteX5" fmla="*/ 477006 w 571128"/>
                <a:gd name="connsiteY5" fmla="*/ 123450 h 761503"/>
                <a:gd name="connsiteX6" fmla="*/ 479725 w 571128"/>
                <a:gd name="connsiteY6" fmla="*/ 145207 h 761503"/>
                <a:gd name="connsiteX7" fmla="*/ 477006 w 571128"/>
                <a:gd name="connsiteY7" fmla="*/ 180563 h 761503"/>
                <a:gd name="connsiteX8" fmla="*/ 482445 w 571128"/>
                <a:gd name="connsiteY8" fmla="*/ 232236 h 761503"/>
                <a:gd name="connsiteX9" fmla="*/ 485165 w 571128"/>
                <a:gd name="connsiteY9" fmla="*/ 283910 h 761503"/>
                <a:gd name="connsiteX10" fmla="*/ 485165 w 571128"/>
                <a:gd name="connsiteY10" fmla="*/ 327424 h 761503"/>
                <a:gd name="connsiteX11" fmla="*/ 487884 w 571128"/>
                <a:gd name="connsiteY11" fmla="*/ 373658 h 761503"/>
                <a:gd name="connsiteX12" fmla="*/ 485165 w 571128"/>
                <a:gd name="connsiteY12" fmla="*/ 419892 h 761503"/>
                <a:gd name="connsiteX13" fmla="*/ 485165 w 571128"/>
                <a:gd name="connsiteY13" fmla="*/ 463407 h 761503"/>
                <a:gd name="connsiteX14" fmla="*/ 482445 w 571128"/>
                <a:gd name="connsiteY14" fmla="*/ 515080 h 761503"/>
                <a:gd name="connsiteX15" fmla="*/ 482445 w 571128"/>
                <a:gd name="connsiteY15" fmla="*/ 558595 h 761503"/>
                <a:gd name="connsiteX16" fmla="*/ 479725 w 571128"/>
                <a:gd name="connsiteY16" fmla="*/ 602109 h 761503"/>
                <a:gd name="connsiteX17" fmla="*/ 485165 w 571128"/>
                <a:gd name="connsiteY17" fmla="*/ 648343 h 761503"/>
                <a:gd name="connsiteX18" fmla="*/ 474286 w 571128"/>
                <a:gd name="connsiteY18" fmla="*/ 675540 h 761503"/>
                <a:gd name="connsiteX19" fmla="*/ 428052 w 571128"/>
                <a:gd name="connsiteY19" fmla="*/ 691858 h 761503"/>
                <a:gd name="connsiteX20" fmla="*/ 387257 w 571128"/>
                <a:gd name="connsiteY20" fmla="*/ 683699 h 761503"/>
                <a:gd name="connsiteX21" fmla="*/ 351901 w 571128"/>
                <a:gd name="connsiteY21" fmla="*/ 664661 h 761503"/>
                <a:gd name="connsiteX22" fmla="*/ 305667 w 571128"/>
                <a:gd name="connsiteY22" fmla="*/ 596670 h 761503"/>
                <a:gd name="connsiteX23" fmla="*/ 270312 w 571128"/>
                <a:gd name="connsiteY23" fmla="*/ 509641 h 761503"/>
                <a:gd name="connsiteX24" fmla="*/ 251274 w 571128"/>
                <a:gd name="connsiteY24" fmla="*/ 460687 h 761503"/>
                <a:gd name="connsiteX25" fmla="*/ 224077 w 571128"/>
                <a:gd name="connsiteY25" fmla="*/ 381817 h 761503"/>
                <a:gd name="connsiteX26" fmla="*/ 207759 w 571128"/>
                <a:gd name="connsiteY26" fmla="*/ 330144 h 761503"/>
                <a:gd name="connsiteX27" fmla="*/ 191442 w 571128"/>
                <a:gd name="connsiteY27" fmla="*/ 286629 h 761503"/>
                <a:gd name="connsiteX28" fmla="*/ 183283 w 571128"/>
                <a:gd name="connsiteY28" fmla="*/ 278470 h 761503"/>
                <a:gd name="connsiteX29" fmla="*/ 180563 w 571128"/>
                <a:gd name="connsiteY29" fmla="*/ 292069 h 761503"/>
                <a:gd name="connsiteX30" fmla="*/ 180563 w 571128"/>
                <a:gd name="connsiteY30" fmla="*/ 305667 h 761503"/>
                <a:gd name="connsiteX31" fmla="*/ 183283 w 571128"/>
                <a:gd name="connsiteY31" fmla="*/ 354621 h 761503"/>
                <a:gd name="connsiteX32" fmla="*/ 188722 w 571128"/>
                <a:gd name="connsiteY32" fmla="*/ 449809 h 761503"/>
                <a:gd name="connsiteX33" fmla="*/ 188722 w 571128"/>
                <a:gd name="connsiteY33" fmla="*/ 479725 h 761503"/>
                <a:gd name="connsiteX34" fmla="*/ 188722 w 571128"/>
                <a:gd name="connsiteY34" fmla="*/ 542277 h 761503"/>
                <a:gd name="connsiteX35" fmla="*/ 186002 w 571128"/>
                <a:gd name="connsiteY35" fmla="*/ 615708 h 761503"/>
                <a:gd name="connsiteX36" fmla="*/ 186002 w 571128"/>
                <a:gd name="connsiteY36" fmla="*/ 637465 h 761503"/>
                <a:gd name="connsiteX37" fmla="*/ 183283 w 571128"/>
                <a:gd name="connsiteY37" fmla="*/ 664661 h 761503"/>
                <a:gd name="connsiteX38" fmla="*/ 226797 w 571128"/>
                <a:gd name="connsiteY38" fmla="*/ 664661 h 761503"/>
                <a:gd name="connsiteX39" fmla="*/ 253994 w 571128"/>
                <a:gd name="connsiteY39" fmla="*/ 680979 h 761503"/>
                <a:gd name="connsiteX40" fmla="*/ 248554 w 571128"/>
                <a:gd name="connsiteY40" fmla="*/ 697297 h 761503"/>
                <a:gd name="connsiteX41" fmla="*/ 234956 w 571128"/>
                <a:gd name="connsiteY41" fmla="*/ 705456 h 761503"/>
                <a:gd name="connsiteX42" fmla="*/ 218638 w 571128"/>
                <a:gd name="connsiteY42" fmla="*/ 708176 h 761503"/>
                <a:gd name="connsiteX43" fmla="*/ 183283 w 571128"/>
                <a:gd name="connsiteY43" fmla="*/ 708176 h 761503"/>
                <a:gd name="connsiteX44" fmla="*/ 150647 w 571128"/>
                <a:gd name="connsiteY44" fmla="*/ 708176 h 761503"/>
                <a:gd name="connsiteX45" fmla="*/ 107132 w 571128"/>
                <a:gd name="connsiteY45" fmla="*/ 708176 h 761503"/>
                <a:gd name="connsiteX46" fmla="*/ 88094 w 571128"/>
                <a:gd name="connsiteY46" fmla="*/ 708176 h 761503"/>
                <a:gd name="connsiteX47" fmla="*/ 69057 w 571128"/>
                <a:gd name="connsiteY47" fmla="*/ 702737 h 761503"/>
                <a:gd name="connsiteX48" fmla="*/ 58178 w 571128"/>
                <a:gd name="connsiteY48" fmla="*/ 686419 h 761503"/>
                <a:gd name="connsiteX49" fmla="*/ 60898 w 571128"/>
                <a:gd name="connsiteY49" fmla="*/ 678260 h 761503"/>
                <a:gd name="connsiteX50" fmla="*/ 77216 w 571128"/>
                <a:gd name="connsiteY50" fmla="*/ 670101 h 761503"/>
                <a:gd name="connsiteX51" fmla="*/ 120730 w 571128"/>
                <a:gd name="connsiteY51" fmla="*/ 664661 h 761503"/>
                <a:gd name="connsiteX52" fmla="*/ 131609 w 571128"/>
                <a:gd name="connsiteY52" fmla="*/ 664661 h 761503"/>
                <a:gd name="connsiteX53" fmla="*/ 134329 w 571128"/>
                <a:gd name="connsiteY53" fmla="*/ 539557 h 761503"/>
                <a:gd name="connsiteX54" fmla="*/ 134329 w 571128"/>
                <a:gd name="connsiteY54" fmla="*/ 504202 h 761503"/>
                <a:gd name="connsiteX55" fmla="*/ 131609 w 571128"/>
                <a:gd name="connsiteY55" fmla="*/ 376378 h 761503"/>
                <a:gd name="connsiteX56" fmla="*/ 131609 w 571128"/>
                <a:gd name="connsiteY56" fmla="*/ 302947 h 761503"/>
                <a:gd name="connsiteX57" fmla="*/ 134329 w 571128"/>
                <a:gd name="connsiteY57" fmla="*/ 221357 h 761503"/>
                <a:gd name="connsiteX58" fmla="*/ 137048 w 571128"/>
                <a:gd name="connsiteY58" fmla="*/ 123450 h 761503"/>
                <a:gd name="connsiteX59" fmla="*/ 107132 w 571128"/>
                <a:gd name="connsiteY59" fmla="*/ 123450 h 761503"/>
                <a:gd name="connsiteX60" fmla="*/ 88094 w 571128"/>
                <a:gd name="connsiteY60" fmla="*/ 123450 h 761503"/>
                <a:gd name="connsiteX61" fmla="*/ 69057 w 571128"/>
                <a:gd name="connsiteY61" fmla="*/ 118011 h 761503"/>
                <a:gd name="connsiteX62" fmla="*/ 58178 w 571128"/>
                <a:gd name="connsiteY62" fmla="*/ 101693 h 761503"/>
                <a:gd name="connsiteX63" fmla="*/ 60898 w 571128"/>
                <a:gd name="connsiteY63" fmla="*/ 93534 h 761503"/>
                <a:gd name="connsiteX64" fmla="*/ 77216 w 571128"/>
                <a:gd name="connsiteY64" fmla="*/ 85375 h 761503"/>
                <a:gd name="connsiteX65" fmla="*/ 131609 w 571128"/>
                <a:gd name="connsiteY65" fmla="*/ 79936 h 761503"/>
                <a:gd name="connsiteX66" fmla="*/ 161525 w 571128"/>
                <a:gd name="connsiteY66" fmla="*/ 79936 h 761503"/>
                <a:gd name="connsiteX67" fmla="*/ 177843 w 571128"/>
                <a:gd name="connsiteY67" fmla="*/ 66337 h 761503"/>
                <a:gd name="connsiteX68" fmla="*/ 202320 w 571128"/>
                <a:gd name="connsiteY68" fmla="*/ 58178 h 761503"/>
                <a:gd name="connsiteX69" fmla="*/ 234956 w 571128"/>
                <a:gd name="connsiteY69" fmla="*/ 77216 h 761503"/>
                <a:gd name="connsiteX70" fmla="*/ 251274 w 571128"/>
                <a:gd name="connsiteY70" fmla="*/ 107132 h 761503"/>
                <a:gd name="connsiteX71" fmla="*/ 267592 w 571128"/>
                <a:gd name="connsiteY71" fmla="*/ 147927 h 761503"/>
                <a:gd name="connsiteX72" fmla="*/ 281190 w 571128"/>
                <a:gd name="connsiteY72" fmla="*/ 183282 h 761503"/>
                <a:gd name="connsiteX73" fmla="*/ 297508 w 571128"/>
                <a:gd name="connsiteY73" fmla="*/ 224077 h 761503"/>
                <a:gd name="connsiteX74" fmla="*/ 308387 w 571128"/>
                <a:gd name="connsiteY74" fmla="*/ 264872 h 761503"/>
                <a:gd name="connsiteX75" fmla="*/ 319265 w 571128"/>
                <a:gd name="connsiteY75" fmla="*/ 300228 h 761503"/>
                <a:gd name="connsiteX76" fmla="*/ 351901 w 571128"/>
                <a:gd name="connsiteY76" fmla="*/ 379098 h 761503"/>
                <a:gd name="connsiteX77" fmla="*/ 365500 w 571128"/>
                <a:gd name="connsiteY77" fmla="*/ 417173 h 761503"/>
                <a:gd name="connsiteX78" fmla="*/ 379098 w 571128"/>
                <a:gd name="connsiteY78" fmla="*/ 457968 h 761503"/>
                <a:gd name="connsiteX79" fmla="*/ 395416 w 571128"/>
                <a:gd name="connsiteY79" fmla="*/ 496043 h 761503"/>
                <a:gd name="connsiteX80" fmla="*/ 406295 w 571128"/>
                <a:gd name="connsiteY80" fmla="*/ 512361 h 761503"/>
                <a:gd name="connsiteX81" fmla="*/ 411734 w 571128"/>
                <a:gd name="connsiteY81" fmla="*/ 531398 h 761503"/>
                <a:gd name="connsiteX82" fmla="*/ 419893 w 571128"/>
                <a:gd name="connsiteY82" fmla="*/ 558595 h 761503"/>
                <a:gd name="connsiteX83" fmla="*/ 425332 w 571128"/>
                <a:gd name="connsiteY83" fmla="*/ 564034 h 761503"/>
                <a:gd name="connsiteX84" fmla="*/ 430771 w 571128"/>
                <a:gd name="connsiteY84" fmla="*/ 558595 h 761503"/>
                <a:gd name="connsiteX85" fmla="*/ 430771 w 571128"/>
                <a:gd name="connsiteY85" fmla="*/ 550436 h 761503"/>
                <a:gd name="connsiteX86" fmla="*/ 430771 w 571128"/>
                <a:gd name="connsiteY86" fmla="*/ 501482 h 761503"/>
                <a:gd name="connsiteX87" fmla="*/ 430771 w 571128"/>
                <a:gd name="connsiteY87" fmla="*/ 403575 h 761503"/>
                <a:gd name="connsiteX88" fmla="*/ 425332 w 571128"/>
                <a:gd name="connsiteY88" fmla="*/ 313826 h 761503"/>
                <a:gd name="connsiteX89" fmla="*/ 425332 w 571128"/>
                <a:gd name="connsiteY89" fmla="*/ 248554 h 761503"/>
                <a:gd name="connsiteX90" fmla="*/ 425332 w 571128"/>
                <a:gd name="connsiteY90" fmla="*/ 210479 h 761503"/>
                <a:gd name="connsiteX91" fmla="*/ 422613 w 571128"/>
                <a:gd name="connsiteY91" fmla="*/ 153366 h 761503"/>
                <a:gd name="connsiteX92" fmla="*/ 425332 w 571128"/>
                <a:gd name="connsiteY92" fmla="*/ 123450 h 761503"/>
                <a:gd name="connsiteX93" fmla="*/ 398136 w 571128"/>
                <a:gd name="connsiteY93" fmla="*/ 123450 h 761503"/>
                <a:gd name="connsiteX94" fmla="*/ 379098 w 571128"/>
                <a:gd name="connsiteY94" fmla="*/ 123450 h 761503"/>
                <a:gd name="connsiteX95" fmla="*/ 360060 w 571128"/>
                <a:gd name="connsiteY95" fmla="*/ 118011 h 761503"/>
                <a:gd name="connsiteX96" fmla="*/ 349182 w 571128"/>
                <a:gd name="connsiteY96" fmla="*/ 101693 h 761503"/>
                <a:gd name="connsiteX97" fmla="*/ 351901 w 571128"/>
                <a:gd name="connsiteY97" fmla="*/ 93534 h 761503"/>
                <a:gd name="connsiteX98" fmla="*/ 368219 w 571128"/>
                <a:gd name="connsiteY98" fmla="*/ 85375 h 761503"/>
                <a:gd name="connsiteX99" fmla="*/ 422613 w 571128"/>
                <a:gd name="connsiteY99" fmla="*/ 79936 h 761503"/>
                <a:gd name="connsiteX100" fmla="*/ 444370 w 571128"/>
                <a:gd name="connsiteY100" fmla="*/ 79936 h 761503"/>
                <a:gd name="connsiteX101" fmla="*/ 463407 w 571128"/>
                <a:gd name="connsiteY101" fmla="*/ 71776 h 761503"/>
                <a:gd name="connsiteX102" fmla="*/ 477006 w 571128"/>
                <a:gd name="connsiteY102" fmla="*/ 79936 h 761503"/>
                <a:gd name="connsiteX103" fmla="*/ 512361 w 571128"/>
                <a:gd name="connsiteY103" fmla="*/ 79936 h 761503"/>
                <a:gd name="connsiteX104" fmla="*/ 512361 w 571128"/>
                <a:gd name="connsiteY104" fmla="*/ 79936 h 761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</a:cxnLst>
              <a:rect l="l" t="t" r="r" b="b"/>
              <a:pathLst>
                <a:path w="571128" h="761503">
                  <a:moveTo>
                    <a:pt x="512361" y="79936"/>
                  </a:moveTo>
                  <a:cubicBezTo>
                    <a:pt x="520520" y="79936"/>
                    <a:pt x="539558" y="79936"/>
                    <a:pt x="539558" y="96253"/>
                  </a:cubicBezTo>
                  <a:cubicBezTo>
                    <a:pt x="539558" y="104412"/>
                    <a:pt x="539558" y="107132"/>
                    <a:pt x="534118" y="112571"/>
                  </a:cubicBezTo>
                  <a:cubicBezTo>
                    <a:pt x="531399" y="118011"/>
                    <a:pt x="525960" y="120730"/>
                    <a:pt x="523240" y="120730"/>
                  </a:cubicBezTo>
                  <a:cubicBezTo>
                    <a:pt x="515081" y="123450"/>
                    <a:pt x="512361" y="123450"/>
                    <a:pt x="506922" y="123450"/>
                  </a:cubicBezTo>
                  <a:cubicBezTo>
                    <a:pt x="504202" y="123450"/>
                    <a:pt x="490604" y="123450"/>
                    <a:pt x="477006" y="123450"/>
                  </a:cubicBezTo>
                  <a:cubicBezTo>
                    <a:pt x="477006" y="131609"/>
                    <a:pt x="479725" y="137048"/>
                    <a:pt x="479725" y="145207"/>
                  </a:cubicBezTo>
                  <a:cubicBezTo>
                    <a:pt x="479725" y="156086"/>
                    <a:pt x="477006" y="166964"/>
                    <a:pt x="477006" y="180563"/>
                  </a:cubicBezTo>
                  <a:cubicBezTo>
                    <a:pt x="477006" y="196881"/>
                    <a:pt x="479725" y="215918"/>
                    <a:pt x="482445" y="232236"/>
                  </a:cubicBezTo>
                  <a:cubicBezTo>
                    <a:pt x="485165" y="248554"/>
                    <a:pt x="485165" y="267592"/>
                    <a:pt x="485165" y="283910"/>
                  </a:cubicBezTo>
                  <a:cubicBezTo>
                    <a:pt x="485165" y="297508"/>
                    <a:pt x="485165" y="313826"/>
                    <a:pt x="485165" y="327424"/>
                  </a:cubicBezTo>
                  <a:cubicBezTo>
                    <a:pt x="485165" y="343742"/>
                    <a:pt x="487884" y="357340"/>
                    <a:pt x="487884" y="373658"/>
                  </a:cubicBezTo>
                  <a:cubicBezTo>
                    <a:pt x="487884" y="389976"/>
                    <a:pt x="485165" y="403575"/>
                    <a:pt x="485165" y="419892"/>
                  </a:cubicBezTo>
                  <a:cubicBezTo>
                    <a:pt x="485165" y="436210"/>
                    <a:pt x="485165" y="449809"/>
                    <a:pt x="485165" y="463407"/>
                  </a:cubicBezTo>
                  <a:cubicBezTo>
                    <a:pt x="485165" y="479725"/>
                    <a:pt x="485165" y="498762"/>
                    <a:pt x="482445" y="515080"/>
                  </a:cubicBezTo>
                  <a:cubicBezTo>
                    <a:pt x="482445" y="528679"/>
                    <a:pt x="482445" y="542277"/>
                    <a:pt x="482445" y="558595"/>
                  </a:cubicBezTo>
                  <a:cubicBezTo>
                    <a:pt x="482445" y="572193"/>
                    <a:pt x="479725" y="588511"/>
                    <a:pt x="479725" y="602109"/>
                  </a:cubicBezTo>
                  <a:cubicBezTo>
                    <a:pt x="479725" y="615708"/>
                    <a:pt x="485165" y="632026"/>
                    <a:pt x="485165" y="648343"/>
                  </a:cubicBezTo>
                  <a:cubicBezTo>
                    <a:pt x="485165" y="659222"/>
                    <a:pt x="482445" y="670101"/>
                    <a:pt x="474286" y="675540"/>
                  </a:cubicBezTo>
                  <a:cubicBezTo>
                    <a:pt x="460688" y="686419"/>
                    <a:pt x="444370" y="691858"/>
                    <a:pt x="428052" y="691858"/>
                  </a:cubicBezTo>
                  <a:cubicBezTo>
                    <a:pt x="414454" y="691858"/>
                    <a:pt x="400855" y="689138"/>
                    <a:pt x="387257" y="683699"/>
                  </a:cubicBezTo>
                  <a:cubicBezTo>
                    <a:pt x="373659" y="678260"/>
                    <a:pt x="360060" y="672820"/>
                    <a:pt x="351901" y="664661"/>
                  </a:cubicBezTo>
                  <a:cubicBezTo>
                    <a:pt x="330144" y="645624"/>
                    <a:pt x="316546" y="621147"/>
                    <a:pt x="305667" y="596670"/>
                  </a:cubicBezTo>
                  <a:cubicBezTo>
                    <a:pt x="292069" y="569473"/>
                    <a:pt x="281190" y="539557"/>
                    <a:pt x="270312" y="509641"/>
                  </a:cubicBezTo>
                  <a:cubicBezTo>
                    <a:pt x="264872" y="493323"/>
                    <a:pt x="256713" y="477005"/>
                    <a:pt x="251274" y="460687"/>
                  </a:cubicBezTo>
                  <a:cubicBezTo>
                    <a:pt x="240395" y="433491"/>
                    <a:pt x="232236" y="409014"/>
                    <a:pt x="224077" y="381817"/>
                  </a:cubicBezTo>
                  <a:cubicBezTo>
                    <a:pt x="218638" y="365499"/>
                    <a:pt x="213199" y="346462"/>
                    <a:pt x="207759" y="330144"/>
                  </a:cubicBezTo>
                  <a:cubicBezTo>
                    <a:pt x="202320" y="316545"/>
                    <a:pt x="196881" y="300228"/>
                    <a:pt x="191442" y="286629"/>
                  </a:cubicBezTo>
                  <a:cubicBezTo>
                    <a:pt x="188722" y="281190"/>
                    <a:pt x="186002" y="278470"/>
                    <a:pt x="183283" y="278470"/>
                  </a:cubicBezTo>
                  <a:cubicBezTo>
                    <a:pt x="180563" y="278470"/>
                    <a:pt x="180563" y="286629"/>
                    <a:pt x="180563" y="292069"/>
                  </a:cubicBezTo>
                  <a:cubicBezTo>
                    <a:pt x="180563" y="297508"/>
                    <a:pt x="180563" y="302947"/>
                    <a:pt x="180563" y="305667"/>
                  </a:cubicBezTo>
                  <a:cubicBezTo>
                    <a:pt x="180563" y="321985"/>
                    <a:pt x="183283" y="338303"/>
                    <a:pt x="183283" y="354621"/>
                  </a:cubicBezTo>
                  <a:cubicBezTo>
                    <a:pt x="183283" y="387257"/>
                    <a:pt x="186002" y="417173"/>
                    <a:pt x="188722" y="449809"/>
                  </a:cubicBezTo>
                  <a:cubicBezTo>
                    <a:pt x="188722" y="460687"/>
                    <a:pt x="188722" y="468846"/>
                    <a:pt x="188722" y="479725"/>
                  </a:cubicBezTo>
                  <a:cubicBezTo>
                    <a:pt x="188722" y="501482"/>
                    <a:pt x="188722" y="523239"/>
                    <a:pt x="188722" y="542277"/>
                  </a:cubicBezTo>
                  <a:cubicBezTo>
                    <a:pt x="188722" y="566754"/>
                    <a:pt x="186002" y="591231"/>
                    <a:pt x="186002" y="615708"/>
                  </a:cubicBezTo>
                  <a:cubicBezTo>
                    <a:pt x="186002" y="623867"/>
                    <a:pt x="186002" y="632026"/>
                    <a:pt x="186002" y="637465"/>
                  </a:cubicBezTo>
                  <a:cubicBezTo>
                    <a:pt x="186002" y="645624"/>
                    <a:pt x="183283" y="656502"/>
                    <a:pt x="183283" y="664661"/>
                  </a:cubicBezTo>
                  <a:cubicBezTo>
                    <a:pt x="202320" y="664661"/>
                    <a:pt x="218638" y="664661"/>
                    <a:pt x="226797" y="664661"/>
                  </a:cubicBezTo>
                  <a:cubicBezTo>
                    <a:pt x="234956" y="664661"/>
                    <a:pt x="253994" y="664661"/>
                    <a:pt x="253994" y="680979"/>
                  </a:cubicBezTo>
                  <a:cubicBezTo>
                    <a:pt x="253994" y="689138"/>
                    <a:pt x="253994" y="691858"/>
                    <a:pt x="248554" y="697297"/>
                  </a:cubicBezTo>
                  <a:cubicBezTo>
                    <a:pt x="245835" y="702737"/>
                    <a:pt x="240395" y="705456"/>
                    <a:pt x="234956" y="705456"/>
                  </a:cubicBezTo>
                  <a:cubicBezTo>
                    <a:pt x="226797" y="708176"/>
                    <a:pt x="224077" y="708176"/>
                    <a:pt x="218638" y="708176"/>
                  </a:cubicBezTo>
                  <a:cubicBezTo>
                    <a:pt x="215918" y="708176"/>
                    <a:pt x="199600" y="708176"/>
                    <a:pt x="183283" y="708176"/>
                  </a:cubicBezTo>
                  <a:cubicBezTo>
                    <a:pt x="166965" y="708176"/>
                    <a:pt x="153366" y="708176"/>
                    <a:pt x="150647" y="708176"/>
                  </a:cubicBezTo>
                  <a:cubicBezTo>
                    <a:pt x="139768" y="708176"/>
                    <a:pt x="120730" y="708176"/>
                    <a:pt x="107132" y="708176"/>
                  </a:cubicBezTo>
                  <a:cubicBezTo>
                    <a:pt x="101693" y="708176"/>
                    <a:pt x="96253" y="708176"/>
                    <a:pt x="88094" y="708176"/>
                  </a:cubicBezTo>
                  <a:cubicBezTo>
                    <a:pt x="82655" y="708176"/>
                    <a:pt x="74496" y="708176"/>
                    <a:pt x="69057" y="702737"/>
                  </a:cubicBezTo>
                  <a:cubicBezTo>
                    <a:pt x="63618" y="700017"/>
                    <a:pt x="58178" y="691858"/>
                    <a:pt x="58178" y="686419"/>
                  </a:cubicBezTo>
                  <a:cubicBezTo>
                    <a:pt x="58178" y="683699"/>
                    <a:pt x="58178" y="680979"/>
                    <a:pt x="60898" y="678260"/>
                  </a:cubicBezTo>
                  <a:cubicBezTo>
                    <a:pt x="63618" y="675540"/>
                    <a:pt x="71777" y="672820"/>
                    <a:pt x="77216" y="670101"/>
                  </a:cubicBezTo>
                  <a:cubicBezTo>
                    <a:pt x="90814" y="667381"/>
                    <a:pt x="115291" y="664661"/>
                    <a:pt x="120730" y="664661"/>
                  </a:cubicBezTo>
                  <a:cubicBezTo>
                    <a:pt x="123450" y="664661"/>
                    <a:pt x="126170" y="664661"/>
                    <a:pt x="131609" y="664661"/>
                  </a:cubicBezTo>
                  <a:cubicBezTo>
                    <a:pt x="131609" y="623867"/>
                    <a:pt x="134329" y="583072"/>
                    <a:pt x="134329" y="539557"/>
                  </a:cubicBezTo>
                  <a:cubicBezTo>
                    <a:pt x="134329" y="528679"/>
                    <a:pt x="134329" y="515080"/>
                    <a:pt x="134329" y="504202"/>
                  </a:cubicBezTo>
                  <a:cubicBezTo>
                    <a:pt x="131609" y="460687"/>
                    <a:pt x="131609" y="417173"/>
                    <a:pt x="131609" y="376378"/>
                  </a:cubicBezTo>
                  <a:cubicBezTo>
                    <a:pt x="131609" y="351901"/>
                    <a:pt x="131609" y="327424"/>
                    <a:pt x="131609" y="302947"/>
                  </a:cubicBezTo>
                  <a:cubicBezTo>
                    <a:pt x="131609" y="275751"/>
                    <a:pt x="131609" y="248554"/>
                    <a:pt x="134329" y="221357"/>
                  </a:cubicBezTo>
                  <a:cubicBezTo>
                    <a:pt x="134329" y="188722"/>
                    <a:pt x="137048" y="156086"/>
                    <a:pt x="137048" y="123450"/>
                  </a:cubicBezTo>
                  <a:cubicBezTo>
                    <a:pt x="126170" y="123450"/>
                    <a:pt x="115291" y="123450"/>
                    <a:pt x="107132" y="123450"/>
                  </a:cubicBezTo>
                  <a:cubicBezTo>
                    <a:pt x="101693" y="123450"/>
                    <a:pt x="96253" y="123450"/>
                    <a:pt x="88094" y="123450"/>
                  </a:cubicBezTo>
                  <a:cubicBezTo>
                    <a:pt x="82655" y="123450"/>
                    <a:pt x="74496" y="120730"/>
                    <a:pt x="69057" y="118011"/>
                  </a:cubicBezTo>
                  <a:cubicBezTo>
                    <a:pt x="63618" y="115291"/>
                    <a:pt x="58178" y="107132"/>
                    <a:pt x="58178" y="101693"/>
                  </a:cubicBezTo>
                  <a:cubicBezTo>
                    <a:pt x="58178" y="98973"/>
                    <a:pt x="58178" y="96253"/>
                    <a:pt x="60898" y="93534"/>
                  </a:cubicBezTo>
                  <a:cubicBezTo>
                    <a:pt x="63618" y="90814"/>
                    <a:pt x="71777" y="88095"/>
                    <a:pt x="77216" y="85375"/>
                  </a:cubicBezTo>
                  <a:cubicBezTo>
                    <a:pt x="90814" y="82655"/>
                    <a:pt x="126170" y="79936"/>
                    <a:pt x="131609" y="79936"/>
                  </a:cubicBezTo>
                  <a:cubicBezTo>
                    <a:pt x="137048" y="79936"/>
                    <a:pt x="147927" y="79936"/>
                    <a:pt x="161525" y="79936"/>
                  </a:cubicBezTo>
                  <a:cubicBezTo>
                    <a:pt x="166965" y="74496"/>
                    <a:pt x="172404" y="71776"/>
                    <a:pt x="177843" y="66337"/>
                  </a:cubicBezTo>
                  <a:cubicBezTo>
                    <a:pt x="186002" y="60898"/>
                    <a:pt x="194161" y="58178"/>
                    <a:pt x="202320" y="58178"/>
                  </a:cubicBezTo>
                  <a:cubicBezTo>
                    <a:pt x="215918" y="58178"/>
                    <a:pt x="226797" y="63618"/>
                    <a:pt x="234956" y="77216"/>
                  </a:cubicBezTo>
                  <a:cubicBezTo>
                    <a:pt x="240395" y="88095"/>
                    <a:pt x="248554" y="96253"/>
                    <a:pt x="251274" y="107132"/>
                  </a:cubicBezTo>
                  <a:cubicBezTo>
                    <a:pt x="256713" y="120730"/>
                    <a:pt x="259433" y="134329"/>
                    <a:pt x="267592" y="147927"/>
                  </a:cubicBezTo>
                  <a:cubicBezTo>
                    <a:pt x="273031" y="158806"/>
                    <a:pt x="275751" y="172404"/>
                    <a:pt x="281190" y="183282"/>
                  </a:cubicBezTo>
                  <a:cubicBezTo>
                    <a:pt x="286630" y="196881"/>
                    <a:pt x="292069" y="210479"/>
                    <a:pt x="297508" y="224077"/>
                  </a:cubicBezTo>
                  <a:cubicBezTo>
                    <a:pt x="300228" y="237676"/>
                    <a:pt x="305667" y="251274"/>
                    <a:pt x="308387" y="264872"/>
                  </a:cubicBezTo>
                  <a:cubicBezTo>
                    <a:pt x="311107" y="278470"/>
                    <a:pt x="311107" y="289349"/>
                    <a:pt x="319265" y="300228"/>
                  </a:cubicBezTo>
                  <a:cubicBezTo>
                    <a:pt x="332864" y="324704"/>
                    <a:pt x="346462" y="351901"/>
                    <a:pt x="351901" y="379098"/>
                  </a:cubicBezTo>
                  <a:cubicBezTo>
                    <a:pt x="354621" y="392696"/>
                    <a:pt x="360060" y="403575"/>
                    <a:pt x="365500" y="417173"/>
                  </a:cubicBezTo>
                  <a:cubicBezTo>
                    <a:pt x="373659" y="430771"/>
                    <a:pt x="373659" y="444369"/>
                    <a:pt x="379098" y="457968"/>
                  </a:cubicBezTo>
                  <a:cubicBezTo>
                    <a:pt x="381818" y="471566"/>
                    <a:pt x="387257" y="482445"/>
                    <a:pt x="395416" y="496043"/>
                  </a:cubicBezTo>
                  <a:cubicBezTo>
                    <a:pt x="398136" y="501482"/>
                    <a:pt x="403575" y="506921"/>
                    <a:pt x="406295" y="512361"/>
                  </a:cubicBezTo>
                  <a:cubicBezTo>
                    <a:pt x="409014" y="517800"/>
                    <a:pt x="409014" y="525959"/>
                    <a:pt x="411734" y="531398"/>
                  </a:cubicBezTo>
                  <a:cubicBezTo>
                    <a:pt x="414454" y="539557"/>
                    <a:pt x="417173" y="550436"/>
                    <a:pt x="419893" y="558595"/>
                  </a:cubicBezTo>
                  <a:cubicBezTo>
                    <a:pt x="422613" y="561314"/>
                    <a:pt x="422613" y="564034"/>
                    <a:pt x="425332" y="564034"/>
                  </a:cubicBezTo>
                  <a:cubicBezTo>
                    <a:pt x="428052" y="564034"/>
                    <a:pt x="428052" y="561314"/>
                    <a:pt x="430771" y="558595"/>
                  </a:cubicBezTo>
                  <a:cubicBezTo>
                    <a:pt x="430771" y="555875"/>
                    <a:pt x="430771" y="553156"/>
                    <a:pt x="430771" y="550436"/>
                  </a:cubicBezTo>
                  <a:cubicBezTo>
                    <a:pt x="430771" y="534118"/>
                    <a:pt x="430771" y="517800"/>
                    <a:pt x="430771" y="501482"/>
                  </a:cubicBezTo>
                  <a:cubicBezTo>
                    <a:pt x="430771" y="468846"/>
                    <a:pt x="433491" y="436210"/>
                    <a:pt x="430771" y="403575"/>
                  </a:cubicBezTo>
                  <a:cubicBezTo>
                    <a:pt x="430771" y="373658"/>
                    <a:pt x="425332" y="343742"/>
                    <a:pt x="425332" y="313826"/>
                  </a:cubicBezTo>
                  <a:cubicBezTo>
                    <a:pt x="425332" y="292069"/>
                    <a:pt x="425332" y="270311"/>
                    <a:pt x="425332" y="248554"/>
                  </a:cubicBezTo>
                  <a:cubicBezTo>
                    <a:pt x="425332" y="234956"/>
                    <a:pt x="425332" y="224077"/>
                    <a:pt x="425332" y="210479"/>
                  </a:cubicBezTo>
                  <a:cubicBezTo>
                    <a:pt x="425332" y="191441"/>
                    <a:pt x="422613" y="172404"/>
                    <a:pt x="422613" y="153366"/>
                  </a:cubicBezTo>
                  <a:cubicBezTo>
                    <a:pt x="422613" y="142488"/>
                    <a:pt x="422613" y="134329"/>
                    <a:pt x="425332" y="123450"/>
                  </a:cubicBezTo>
                  <a:cubicBezTo>
                    <a:pt x="417173" y="123450"/>
                    <a:pt x="406295" y="123450"/>
                    <a:pt x="398136" y="123450"/>
                  </a:cubicBezTo>
                  <a:cubicBezTo>
                    <a:pt x="392696" y="123450"/>
                    <a:pt x="387257" y="123450"/>
                    <a:pt x="379098" y="123450"/>
                  </a:cubicBezTo>
                  <a:cubicBezTo>
                    <a:pt x="373659" y="123450"/>
                    <a:pt x="365500" y="120730"/>
                    <a:pt x="360060" y="118011"/>
                  </a:cubicBezTo>
                  <a:cubicBezTo>
                    <a:pt x="354621" y="115291"/>
                    <a:pt x="349182" y="107132"/>
                    <a:pt x="349182" y="101693"/>
                  </a:cubicBezTo>
                  <a:cubicBezTo>
                    <a:pt x="349182" y="98973"/>
                    <a:pt x="349182" y="96253"/>
                    <a:pt x="351901" y="93534"/>
                  </a:cubicBezTo>
                  <a:cubicBezTo>
                    <a:pt x="354621" y="90814"/>
                    <a:pt x="362780" y="88095"/>
                    <a:pt x="368219" y="85375"/>
                  </a:cubicBezTo>
                  <a:cubicBezTo>
                    <a:pt x="381818" y="82655"/>
                    <a:pt x="417173" y="79936"/>
                    <a:pt x="422613" y="79936"/>
                  </a:cubicBezTo>
                  <a:cubicBezTo>
                    <a:pt x="428052" y="79936"/>
                    <a:pt x="433491" y="79936"/>
                    <a:pt x="444370" y="79936"/>
                  </a:cubicBezTo>
                  <a:cubicBezTo>
                    <a:pt x="449809" y="74496"/>
                    <a:pt x="455248" y="71776"/>
                    <a:pt x="463407" y="71776"/>
                  </a:cubicBezTo>
                  <a:cubicBezTo>
                    <a:pt x="471566" y="71776"/>
                    <a:pt x="477006" y="74496"/>
                    <a:pt x="477006" y="79936"/>
                  </a:cubicBezTo>
                  <a:cubicBezTo>
                    <a:pt x="490604" y="82655"/>
                    <a:pt x="504202" y="79936"/>
                    <a:pt x="512361" y="79936"/>
                  </a:cubicBezTo>
                  <a:lnTo>
                    <a:pt x="512361" y="79936"/>
                  </a:ln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/>
            </a:p>
          </p:txBody>
        </p:sp>
        <p:sp>
          <p:nvSpPr>
            <p:cNvPr id="36" name="Freeform: Shape 35">
              <a:extLst>
                <a:ext uri="{FF2B5EF4-FFF2-40B4-BE49-F238E27FC236}">
                  <a16:creationId xmlns:a16="http://schemas.microsoft.com/office/drawing/2014/main" id="{417FE90C-6359-4A38-A932-B9E34A36EB87}"/>
                </a:ext>
              </a:extLst>
            </p:cNvPr>
            <p:cNvSpPr/>
            <p:nvPr/>
          </p:nvSpPr>
          <p:spPr>
            <a:xfrm>
              <a:off x="2987430" y="4242177"/>
              <a:ext cx="494979" cy="674476"/>
            </a:xfrm>
            <a:custGeom>
              <a:avLst/>
              <a:gdLst>
                <a:gd name="connsiteX0" fmla="*/ 228453 w 494979"/>
                <a:gd name="connsiteY0" fmla="*/ 97907 h 674476"/>
                <a:gd name="connsiteX1" fmla="*/ 212135 w 494979"/>
                <a:gd name="connsiteY1" fmla="*/ 119665 h 674476"/>
                <a:gd name="connsiteX2" fmla="*/ 203976 w 494979"/>
                <a:gd name="connsiteY2" fmla="*/ 152300 h 674476"/>
                <a:gd name="connsiteX3" fmla="*/ 201256 w 494979"/>
                <a:gd name="connsiteY3" fmla="*/ 168618 h 674476"/>
                <a:gd name="connsiteX4" fmla="*/ 198537 w 494979"/>
                <a:gd name="connsiteY4" fmla="*/ 184936 h 674476"/>
                <a:gd name="connsiteX5" fmla="*/ 190378 w 494979"/>
                <a:gd name="connsiteY5" fmla="*/ 220292 h 674476"/>
                <a:gd name="connsiteX6" fmla="*/ 171340 w 494979"/>
                <a:gd name="connsiteY6" fmla="*/ 291003 h 674476"/>
                <a:gd name="connsiteX7" fmla="*/ 163180 w 494979"/>
                <a:gd name="connsiteY7" fmla="*/ 323639 h 674476"/>
                <a:gd name="connsiteX8" fmla="*/ 152302 w 494979"/>
                <a:gd name="connsiteY8" fmla="*/ 361714 h 674476"/>
                <a:gd name="connsiteX9" fmla="*/ 146862 w 494979"/>
                <a:gd name="connsiteY9" fmla="*/ 388910 h 674476"/>
                <a:gd name="connsiteX10" fmla="*/ 152302 w 494979"/>
                <a:gd name="connsiteY10" fmla="*/ 391630 h 674476"/>
                <a:gd name="connsiteX11" fmla="*/ 174060 w 494979"/>
                <a:gd name="connsiteY11" fmla="*/ 391630 h 674476"/>
                <a:gd name="connsiteX12" fmla="*/ 195817 w 494979"/>
                <a:gd name="connsiteY12" fmla="*/ 388910 h 674476"/>
                <a:gd name="connsiteX13" fmla="*/ 214855 w 494979"/>
                <a:gd name="connsiteY13" fmla="*/ 388910 h 674476"/>
                <a:gd name="connsiteX14" fmla="*/ 239332 w 494979"/>
                <a:gd name="connsiteY14" fmla="*/ 388910 h 674476"/>
                <a:gd name="connsiteX15" fmla="*/ 252930 w 494979"/>
                <a:gd name="connsiteY15" fmla="*/ 386191 h 674476"/>
                <a:gd name="connsiteX16" fmla="*/ 261089 w 494979"/>
                <a:gd name="connsiteY16" fmla="*/ 386191 h 674476"/>
                <a:gd name="connsiteX17" fmla="*/ 258369 w 494979"/>
                <a:gd name="connsiteY17" fmla="*/ 367153 h 674476"/>
                <a:gd name="connsiteX18" fmla="*/ 252930 w 494979"/>
                <a:gd name="connsiteY18" fmla="*/ 331797 h 674476"/>
                <a:gd name="connsiteX19" fmla="*/ 250210 w 494979"/>
                <a:gd name="connsiteY19" fmla="*/ 244769 h 674476"/>
                <a:gd name="connsiteX20" fmla="*/ 244771 w 494979"/>
                <a:gd name="connsiteY20" fmla="*/ 203974 h 674476"/>
                <a:gd name="connsiteX21" fmla="*/ 239332 w 494979"/>
                <a:gd name="connsiteY21" fmla="*/ 157740 h 674476"/>
                <a:gd name="connsiteX22" fmla="*/ 236612 w 494979"/>
                <a:gd name="connsiteY22" fmla="*/ 119665 h 674476"/>
                <a:gd name="connsiteX23" fmla="*/ 228453 w 494979"/>
                <a:gd name="connsiteY23" fmla="*/ 97907 h 674476"/>
                <a:gd name="connsiteX24" fmla="*/ 274687 w 494979"/>
                <a:gd name="connsiteY24" fmla="*/ 0 h 674476"/>
                <a:gd name="connsiteX25" fmla="*/ 304603 w 494979"/>
                <a:gd name="connsiteY25" fmla="*/ 5439 h 674476"/>
                <a:gd name="connsiteX26" fmla="*/ 320921 w 494979"/>
                <a:gd name="connsiteY26" fmla="*/ 24477 h 674476"/>
                <a:gd name="connsiteX27" fmla="*/ 334519 w 494979"/>
                <a:gd name="connsiteY27" fmla="*/ 43515 h 674476"/>
                <a:gd name="connsiteX28" fmla="*/ 339959 w 494979"/>
                <a:gd name="connsiteY28" fmla="*/ 65272 h 674476"/>
                <a:gd name="connsiteX29" fmla="*/ 348118 w 494979"/>
                <a:gd name="connsiteY29" fmla="*/ 114226 h 674476"/>
                <a:gd name="connsiteX30" fmla="*/ 361716 w 494979"/>
                <a:gd name="connsiteY30" fmla="*/ 163180 h 674476"/>
                <a:gd name="connsiteX31" fmla="*/ 369875 w 494979"/>
                <a:gd name="connsiteY31" fmla="*/ 220293 h 674476"/>
                <a:gd name="connsiteX32" fmla="*/ 378034 w 494979"/>
                <a:gd name="connsiteY32" fmla="*/ 274686 h 674476"/>
                <a:gd name="connsiteX33" fmla="*/ 383473 w 494979"/>
                <a:gd name="connsiteY33" fmla="*/ 301883 h 674476"/>
                <a:gd name="connsiteX34" fmla="*/ 391632 w 494979"/>
                <a:gd name="connsiteY34" fmla="*/ 337238 h 674476"/>
                <a:gd name="connsiteX35" fmla="*/ 397071 w 494979"/>
                <a:gd name="connsiteY35" fmla="*/ 364435 h 674476"/>
                <a:gd name="connsiteX36" fmla="*/ 405230 w 494979"/>
                <a:gd name="connsiteY36" fmla="*/ 383473 h 674476"/>
                <a:gd name="connsiteX37" fmla="*/ 416109 w 494979"/>
                <a:gd name="connsiteY37" fmla="*/ 386192 h 674476"/>
                <a:gd name="connsiteX38" fmla="*/ 426988 w 494979"/>
                <a:gd name="connsiteY38" fmla="*/ 386192 h 674476"/>
                <a:gd name="connsiteX39" fmla="*/ 454184 w 494979"/>
                <a:gd name="connsiteY39" fmla="*/ 397071 h 674476"/>
                <a:gd name="connsiteX40" fmla="*/ 456904 w 494979"/>
                <a:gd name="connsiteY40" fmla="*/ 405230 h 674476"/>
                <a:gd name="connsiteX41" fmla="*/ 451465 w 494979"/>
                <a:gd name="connsiteY41" fmla="*/ 416108 h 674476"/>
                <a:gd name="connsiteX42" fmla="*/ 432427 w 494979"/>
                <a:gd name="connsiteY42" fmla="*/ 429707 h 674476"/>
                <a:gd name="connsiteX43" fmla="*/ 421548 w 494979"/>
                <a:gd name="connsiteY43" fmla="*/ 432426 h 674476"/>
                <a:gd name="connsiteX44" fmla="*/ 413389 w 494979"/>
                <a:gd name="connsiteY44" fmla="*/ 435146 h 674476"/>
                <a:gd name="connsiteX45" fmla="*/ 413389 w 494979"/>
                <a:gd name="connsiteY45" fmla="*/ 440585 h 674476"/>
                <a:gd name="connsiteX46" fmla="*/ 416109 w 494979"/>
                <a:gd name="connsiteY46" fmla="*/ 451464 h 674476"/>
                <a:gd name="connsiteX47" fmla="*/ 418829 w 494979"/>
                <a:gd name="connsiteY47" fmla="*/ 465062 h 674476"/>
                <a:gd name="connsiteX48" fmla="*/ 418829 w 494979"/>
                <a:gd name="connsiteY48" fmla="*/ 475941 h 674476"/>
                <a:gd name="connsiteX49" fmla="*/ 418829 w 494979"/>
                <a:gd name="connsiteY49" fmla="*/ 486820 h 674476"/>
                <a:gd name="connsiteX50" fmla="*/ 426988 w 494979"/>
                <a:gd name="connsiteY50" fmla="*/ 516736 h 674476"/>
                <a:gd name="connsiteX51" fmla="*/ 432427 w 494979"/>
                <a:gd name="connsiteY51" fmla="*/ 543932 h 674476"/>
                <a:gd name="connsiteX52" fmla="*/ 437866 w 494979"/>
                <a:gd name="connsiteY52" fmla="*/ 573848 h 674476"/>
                <a:gd name="connsiteX53" fmla="*/ 443306 w 494979"/>
                <a:gd name="connsiteY53" fmla="*/ 606484 h 674476"/>
                <a:gd name="connsiteX54" fmla="*/ 446025 w 494979"/>
                <a:gd name="connsiteY54" fmla="*/ 617363 h 674476"/>
                <a:gd name="connsiteX55" fmla="*/ 470502 w 494979"/>
                <a:gd name="connsiteY55" fmla="*/ 617363 h 674476"/>
                <a:gd name="connsiteX56" fmla="*/ 494979 w 494979"/>
                <a:gd name="connsiteY56" fmla="*/ 641840 h 674476"/>
                <a:gd name="connsiteX57" fmla="*/ 486820 w 494979"/>
                <a:gd name="connsiteY57" fmla="*/ 655438 h 674476"/>
                <a:gd name="connsiteX58" fmla="*/ 470502 w 494979"/>
                <a:gd name="connsiteY58" fmla="*/ 663597 h 674476"/>
                <a:gd name="connsiteX59" fmla="*/ 446025 w 494979"/>
                <a:gd name="connsiteY59" fmla="*/ 666317 h 674476"/>
                <a:gd name="connsiteX60" fmla="*/ 424268 w 494979"/>
                <a:gd name="connsiteY60" fmla="*/ 666317 h 674476"/>
                <a:gd name="connsiteX61" fmla="*/ 416109 w 494979"/>
                <a:gd name="connsiteY61" fmla="*/ 666317 h 674476"/>
                <a:gd name="connsiteX62" fmla="*/ 402511 w 494979"/>
                <a:gd name="connsiteY62" fmla="*/ 671756 h 674476"/>
                <a:gd name="connsiteX63" fmla="*/ 386193 w 494979"/>
                <a:gd name="connsiteY63" fmla="*/ 674476 h 674476"/>
                <a:gd name="connsiteX64" fmla="*/ 350837 w 494979"/>
                <a:gd name="connsiteY64" fmla="*/ 669036 h 674476"/>
                <a:gd name="connsiteX65" fmla="*/ 329080 w 494979"/>
                <a:gd name="connsiteY65" fmla="*/ 669036 h 674476"/>
                <a:gd name="connsiteX66" fmla="*/ 280126 w 494979"/>
                <a:gd name="connsiteY66" fmla="*/ 669036 h 674476"/>
                <a:gd name="connsiteX67" fmla="*/ 255649 w 494979"/>
                <a:gd name="connsiteY67" fmla="*/ 663597 h 674476"/>
                <a:gd name="connsiteX68" fmla="*/ 239331 w 494979"/>
                <a:gd name="connsiteY68" fmla="*/ 647279 h 674476"/>
                <a:gd name="connsiteX69" fmla="*/ 263808 w 494979"/>
                <a:gd name="connsiteY69" fmla="*/ 630961 h 674476"/>
                <a:gd name="connsiteX70" fmla="*/ 291005 w 494979"/>
                <a:gd name="connsiteY70" fmla="*/ 628241 h 674476"/>
                <a:gd name="connsiteX71" fmla="*/ 288285 w 494979"/>
                <a:gd name="connsiteY71" fmla="*/ 609204 h 674476"/>
                <a:gd name="connsiteX72" fmla="*/ 285565 w 494979"/>
                <a:gd name="connsiteY72" fmla="*/ 582007 h 674476"/>
                <a:gd name="connsiteX73" fmla="*/ 282846 w 494979"/>
                <a:gd name="connsiteY73" fmla="*/ 568409 h 674476"/>
                <a:gd name="connsiteX74" fmla="*/ 285565 w 494979"/>
                <a:gd name="connsiteY74" fmla="*/ 554811 h 674476"/>
                <a:gd name="connsiteX75" fmla="*/ 280126 w 494979"/>
                <a:gd name="connsiteY75" fmla="*/ 538493 h 674476"/>
                <a:gd name="connsiteX76" fmla="*/ 274687 w 494979"/>
                <a:gd name="connsiteY76" fmla="*/ 505857 h 674476"/>
                <a:gd name="connsiteX77" fmla="*/ 271967 w 494979"/>
                <a:gd name="connsiteY77" fmla="*/ 478660 h 674476"/>
                <a:gd name="connsiteX78" fmla="*/ 269247 w 494979"/>
                <a:gd name="connsiteY78" fmla="*/ 446025 h 674476"/>
                <a:gd name="connsiteX79" fmla="*/ 263808 w 494979"/>
                <a:gd name="connsiteY79" fmla="*/ 437866 h 674476"/>
                <a:gd name="connsiteX80" fmla="*/ 252929 w 494979"/>
                <a:gd name="connsiteY80" fmla="*/ 437866 h 674476"/>
                <a:gd name="connsiteX81" fmla="*/ 223013 w 494979"/>
                <a:gd name="connsiteY81" fmla="*/ 440585 h 674476"/>
                <a:gd name="connsiteX82" fmla="*/ 193097 w 494979"/>
                <a:gd name="connsiteY82" fmla="*/ 443305 h 674476"/>
                <a:gd name="connsiteX83" fmla="*/ 168620 w 494979"/>
                <a:gd name="connsiteY83" fmla="*/ 443305 h 674476"/>
                <a:gd name="connsiteX84" fmla="*/ 146862 w 494979"/>
                <a:gd name="connsiteY84" fmla="*/ 440585 h 674476"/>
                <a:gd name="connsiteX85" fmla="*/ 138703 w 494979"/>
                <a:gd name="connsiteY85" fmla="*/ 454184 h 674476"/>
                <a:gd name="connsiteX86" fmla="*/ 133263 w 494979"/>
                <a:gd name="connsiteY86" fmla="*/ 486820 h 674476"/>
                <a:gd name="connsiteX87" fmla="*/ 122385 w 494979"/>
                <a:gd name="connsiteY87" fmla="*/ 541213 h 674476"/>
                <a:gd name="connsiteX88" fmla="*/ 106067 w 494979"/>
                <a:gd name="connsiteY88" fmla="*/ 614643 h 674476"/>
                <a:gd name="connsiteX89" fmla="*/ 135983 w 494979"/>
                <a:gd name="connsiteY89" fmla="*/ 614643 h 674476"/>
                <a:gd name="connsiteX90" fmla="*/ 171340 w 494979"/>
                <a:gd name="connsiteY90" fmla="*/ 630961 h 674476"/>
                <a:gd name="connsiteX91" fmla="*/ 165900 w 494979"/>
                <a:gd name="connsiteY91" fmla="*/ 647279 h 674476"/>
                <a:gd name="connsiteX92" fmla="*/ 149581 w 494979"/>
                <a:gd name="connsiteY92" fmla="*/ 655438 h 674476"/>
                <a:gd name="connsiteX93" fmla="*/ 127824 w 494979"/>
                <a:gd name="connsiteY93" fmla="*/ 658158 h 674476"/>
                <a:gd name="connsiteX94" fmla="*/ 106067 w 494979"/>
                <a:gd name="connsiteY94" fmla="*/ 658158 h 674476"/>
                <a:gd name="connsiteX95" fmla="*/ 62552 w 494979"/>
                <a:gd name="connsiteY95" fmla="*/ 658158 h 674476"/>
                <a:gd name="connsiteX96" fmla="*/ 40795 w 494979"/>
                <a:gd name="connsiteY96" fmla="*/ 658158 h 674476"/>
                <a:gd name="connsiteX97" fmla="*/ 16318 w 494979"/>
                <a:gd name="connsiteY97" fmla="*/ 652718 h 674476"/>
                <a:gd name="connsiteX98" fmla="*/ 0 w 494979"/>
                <a:gd name="connsiteY98" fmla="*/ 636401 h 674476"/>
                <a:gd name="connsiteX99" fmla="*/ 2720 w 494979"/>
                <a:gd name="connsiteY99" fmla="*/ 628241 h 674476"/>
                <a:gd name="connsiteX100" fmla="*/ 24477 w 494979"/>
                <a:gd name="connsiteY100" fmla="*/ 620082 h 674476"/>
                <a:gd name="connsiteX101" fmla="*/ 62552 w 494979"/>
                <a:gd name="connsiteY101" fmla="*/ 617363 h 674476"/>
                <a:gd name="connsiteX102" fmla="*/ 62552 w 494979"/>
                <a:gd name="connsiteY102" fmla="*/ 614643 h 674476"/>
                <a:gd name="connsiteX103" fmla="*/ 65272 w 494979"/>
                <a:gd name="connsiteY103" fmla="*/ 587447 h 674476"/>
                <a:gd name="connsiteX104" fmla="*/ 76151 w 494979"/>
                <a:gd name="connsiteY104" fmla="*/ 522175 h 674476"/>
                <a:gd name="connsiteX105" fmla="*/ 87029 w 494979"/>
                <a:gd name="connsiteY105" fmla="*/ 470501 h 674476"/>
                <a:gd name="connsiteX106" fmla="*/ 92469 w 494979"/>
                <a:gd name="connsiteY106" fmla="*/ 446025 h 674476"/>
                <a:gd name="connsiteX107" fmla="*/ 65272 w 494979"/>
                <a:gd name="connsiteY107" fmla="*/ 432426 h 674476"/>
                <a:gd name="connsiteX108" fmla="*/ 54393 w 494979"/>
                <a:gd name="connsiteY108" fmla="*/ 421548 h 674476"/>
                <a:gd name="connsiteX109" fmla="*/ 73431 w 494979"/>
                <a:gd name="connsiteY109" fmla="*/ 407949 h 674476"/>
                <a:gd name="connsiteX110" fmla="*/ 100628 w 494979"/>
                <a:gd name="connsiteY110" fmla="*/ 399790 h 674476"/>
                <a:gd name="connsiteX111" fmla="*/ 108787 w 494979"/>
                <a:gd name="connsiteY111" fmla="*/ 369874 h 674476"/>
                <a:gd name="connsiteX112" fmla="*/ 125105 w 494979"/>
                <a:gd name="connsiteY112" fmla="*/ 307322 h 674476"/>
                <a:gd name="connsiteX113" fmla="*/ 141423 w 494979"/>
                <a:gd name="connsiteY113" fmla="*/ 242051 h 674476"/>
                <a:gd name="connsiteX114" fmla="*/ 155021 w 494979"/>
                <a:gd name="connsiteY114" fmla="*/ 179498 h 674476"/>
                <a:gd name="connsiteX115" fmla="*/ 168620 w 494979"/>
                <a:gd name="connsiteY115" fmla="*/ 119665 h 674476"/>
                <a:gd name="connsiteX116" fmla="*/ 193097 w 494979"/>
                <a:gd name="connsiteY116" fmla="*/ 57113 h 674476"/>
                <a:gd name="connsiteX117" fmla="*/ 201256 w 494979"/>
                <a:gd name="connsiteY117" fmla="*/ 38075 h 674476"/>
                <a:gd name="connsiteX118" fmla="*/ 217574 w 494979"/>
                <a:gd name="connsiteY118" fmla="*/ 13598 h 674476"/>
                <a:gd name="connsiteX119" fmla="*/ 274687 w 494979"/>
                <a:gd name="connsiteY119" fmla="*/ 0 h 6744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</a:cxnLst>
              <a:rect l="l" t="t" r="r" b="b"/>
              <a:pathLst>
                <a:path w="494979" h="674476">
                  <a:moveTo>
                    <a:pt x="228453" y="97907"/>
                  </a:moveTo>
                  <a:cubicBezTo>
                    <a:pt x="220294" y="97907"/>
                    <a:pt x="212135" y="114225"/>
                    <a:pt x="212135" y="119665"/>
                  </a:cubicBezTo>
                  <a:cubicBezTo>
                    <a:pt x="209415" y="130543"/>
                    <a:pt x="206696" y="144141"/>
                    <a:pt x="203976" y="152300"/>
                  </a:cubicBezTo>
                  <a:cubicBezTo>
                    <a:pt x="201256" y="157740"/>
                    <a:pt x="201256" y="163179"/>
                    <a:pt x="201256" y="168618"/>
                  </a:cubicBezTo>
                  <a:cubicBezTo>
                    <a:pt x="201256" y="174058"/>
                    <a:pt x="198537" y="179497"/>
                    <a:pt x="198537" y="184936"/>
                  </a:cubicBezTo>
                  <a:cubicBezTo>
                    <a:pt x="195817" y="195815"/>
                    <a:pt x="193097" y="209413"/>
                    <a:pt x="190378" y="220292"/>
                  </a:cubicBezTo>
                  <a:cubicBezTo>
                    <a:pt x="187658" y="244769"/>
                    <a:pt x="179499" y="269246"/>
                    <a:pt x="171340" y="291003"/>
                  </a:cubicBezTo>
                  <a:cubicBezTo>
                    <a:pt x="168620" y="301881"/>
                    <a:pt x="165900" y="312760"/>
                    <a:pt x="163180" y="323639"/>
                  </a:cubicBezTo>
                  <a:cubicBezTo>
                    <a:pt x="160461" y="337237"/>
                    <a:pt x="157741" y="348115"/>
                    <a:pt x="152302" y="361714"/>
                  </a:cubicBezTo>
                  <a:cubicBezTo>
                    <a:pt x="149582" y="367153"/>
                    <a:pt x="146862" y="383471"/>
                    <a:pt x="146862" y="388910"/>
                  </a:cubicBezTo>
                  <a:cubicBezTo>
                    <a:pt x="146862" y="391630"/>
                    <a:pt x="149582" y="391630"/>
                    <a:pt x="152302" y="391630"/>
                  </a:cubicBezTo>
                  <a:cubicBezTo>
                    <a:pt x="157741" y="391630"/>
                    <a:pt x="171340" y="391630"/>
                    <a:pt x="174060" y="391630"/>
                  </a:cubicBezTo>
                  <a:cubicBezTo>
                    <a:pt x="182219" y="391630"/>
                    <a:pt x="190378" y="391630"/>
                    <a:pt x="195817" y="388910"/>
                  </a:cubicBezTo>
                  <a:cubicBezTo>
                    <a:pt x="201256" y="388910"/>
                    <a:pt x="206696" y="388910"/>
                    <a:pt x="214855" y="388910"/>
                  </a:cubicBezTo>
                  <a:cubicBezTo>
                    <a:pt x="220294" y="388910"/>
                    <a:pt x="228453" y="388910"/>
                    <a:pt x="239332" y="388910"/>
                  </a:cubicBezTo>
                  <a:cubicBezTo>
                    <a:pt x="244771" y="388910"/>
                    <a:pt x="250210" y="388910"/>
                    <a:pt x="252930" y="386191"/>
                  </a:cubicBezTo>
                  <a:cubicBezTo>
                    <a:pt x="258369" y="391630"/>
                    <a:pt x="261089" y="388910"/>
                    <a:pt x="261089" y="386191"/>
                  </a:cubicBezTo>
                  <a:cubicBezTo>
                    <a:pt x="261089" y="380751"/>
                    <a:pt x="258369" y="372592"/>
                    <a:pt x="258369" y="367153"/>
                  </a:cubicBezTo>
                  <a:cubicBezTo>
                    <a:pt x="255650" y="353555"/>
                    <a:pt x="252930" y="342676"/>
                    <a:pt x="252930" y="331797"/>
                  </a:cubicBezTo>
                  <a:cubicBezTo>
                    <a:pt x="252930" y="301881"/>
                    <a:pt x="252930" y="274685"/>
                    <a:pt x="250210" y="244769"/>
                  </a:cubicBezTo>
                  <a:cubicBezTo>
                    <a:pt x="250210" y="231170"/>
                    <a:pt x="247491" y="217572"/>
                    <a:pt x="244771" y="203974"/>
                  </a:cubicBezTo>
                  <a:cubicBezTo>
                    <a:pt x="242051" y="187656"/>
                    <a:pt x="239332" y="174058"/>
                    <a:pt x="239332" y="157740"/>
                  </a:cubicBezTo>
                  <a:cubicBezTo>
                    <a:pt x="239332" y="152300"/>
                    <a:pt x="239332" y="133263"/>
                    <a:pt x="236612" y="119665"/>
                  </a:cubicBezTo>
                  <a:cubicBezTo>
                    <a:pt x="236612" y="106066"/>
                    <a:pt x="233892" y="97907"/>
                    <a:pt x="228453" y="97907"/>
                  </a:cubicBezTo>
                  <a:close/>
                  <a:moveTo>
                    <a:pt x="274687" y="0"/>
                  </a:moveTo>
                  <a:cubicBezTo>
                    <a:pt x="288285" y="0"/>
                    <a:pt x="293724" y="2720"/>
                    <a:pt x="304603" y="5439"/>
                  </a:cubicBezTo>
                  <a:cubicBezTo>
                    <a:pt x="315482" y="10879"/>
                    <a:pt x="315482" y="16318"/>
                    <a:pt x="320921" y="24477"/>
                  </a:cubicBezTo>
                  <a:cubicBezTo>
                    <a:pt x="326360" y="29916"/>
                    <a:pt x="331800" y="35356"/>
                    <a:pt x="334519" y="43515"/>
                  </a:cubicBezTo>
                  <a:cubicBezTo>
                    <a:pt x="337239" y="51674"/>
                    <a:pt x="337239" y="57113"/>
                    <a:pt x="339959" y="65272"/>
                  </a:cubicBezTo>
                  <a:cubicBezTo>
                    <a:pt x="345398" y="78870"/>
                    <a:pt x="342678" y="97908"/>
                    <a:pt x="348118" y="114226"/>
                  </a:cubicBezTo>
                  <a:cubicBezTo>
                    <a:pt x="350837" y="130544"/>
                    <a:pt x="358996" y="146863"/>
                    <a:pt x="361716" y="163180"/>
                  </a:cubicBezTo>
                  <a:cubicBezTo>
                    <a:pt x="364435" y="182218"/>
                    <a:pt x="364435" y="201256"/>
                    <a:pt x="369875" y="220293"/>
                  </a:cubicBezTo>
                  <a:cubicBezTo>
                    <a:pt x="375314" y="239331"/>
                    <a:pt x="378034" y="255649"/>
                    <a:pt x="378034" y="274686"/>
                  </a:cubicBezTo>
                  <a:cubicBezTo>
                    <a:pt x="378034" y="282845"/>
                    <a:pt x="380753" y="293724"/>
                    <a:pt x="383473" y="301883"/>
                  </a:cubicBezTo>
                  <a:cubicBezTo>
                    <a:pt x="386193" y="312762"/>
                    <a:pt x="388912" y="326360"/>
                    <a:pt x="391632" y="337238"/>
                  </a:cubicBezTo>
                  <a:cubicBezTo>
                    <a:pt x="391632" y="342678"/>
                    <a:pt x="394352" y="353556"/>
                    <a:pt x="397071" y="364435"/>
                  </a:cubicBezTo>
                  <a:cubicBezTo>
                    <a:pt x="399791" y="372594"/>
                    <a:pt x="402511" y="380753"/>
                    <a:pt x="405230" y="383473"/>
                  </a:cubicBezTo>
                  <a:cubicBezTo>
                    <a:pt x="407950" y="386192"/>
                    <a:pt x="413389" y="386192"/>
                    <a:pt x="416109" y="386192"/>
                  </a:cubicBezTo>
                  <a:cubicBezTo>
                    <a:pt x="418829" y="386192"/>
                    <a:pt x="424268" y="386192"/>
                    <a:pt x="426988" y="386192"/>
                  </a:cubicBezTo>
                  <a:cubicBezTo>
                    <a:pt x="437866" y="386192"/>
                    <a:pt x="448745" y="388912"/>
                    <a:pt x="454184" y="397071"/>
                  </a:cubicBezTo>
                  <a:cubicBezTo>
                    <a:pt x="456904" y="399790"/>
                    <a:pt x="456904" y="402510"/>
                    <a:pt x="456904" y="405230"/>
                  </a:cubicBezTo>
                  <a:cubicBezTo>
                    <a:pt x="456904" y="407949"/>
                    <a:pt x="454184" y="410669"/>
                    <a:pt x="451465" y="416108"/>
                  </a:cubicBezTo>
                  <a:cubicBezTo>
                    <a:pt x="446025" y="421548"/>
                    <a:pt x="440586" y="426987"/>
                    <a:pt x="432427" y="429707"/>
                  </a:cubicBezTo>
                  <a:cubicBezTo>
                    <a:pt x="429707" y="429707"/>
                    <a:pt x="426988" y="432426"/>
                    <a:pt x="421548" y="432426"/>
                  </a:cubicBezTo>
                  <a:cubicBezTo>
                    <a:pt x="418829" y="432426"/>
                    <a:pt x="416109" y="432426"/>
                    <a:pt x="413389" y="435146"/>
                  </a:cubicBezTo>
                  <a:cubicBezTo>
                    <a:pt x="413389" y="435146"/>
                    <a:pt x="413389" y="437866"/>
                    <a:pt x="413389" y="440585"/>
                  </a:cubicBezTo>
                  <a:cubicBezTo>
                    <a:pt x="413389" y="443305"/>
                    <a:pt x="413389" y="448744"/>
                    <a:pt x="416109" y="451464"/>
                  </a:cubicBezTo>
                  <a:cubicBezTo>
                    <a:pt x="416109" y="456903"/>
                    <a:pt x="418829" y="462343"/>
                    <a:pt x="418829" y="465062"/>
                  </a:cubicBezTo>
                  <a:lnTo>
                    <a:pt x="418829" y="475941"/>
                  </a:lnTo>
                  <a:cubicBezTo>
                    <a:pt x="418829" y="481380"/>
                    <a:pt x="418829" y="484100"/>
                    <a:pt x="418829" y="486820"/>
                  </a:cubicBezTo>
                  <a:cubicBezTo>
                    <a:pt x="421548" y="497698"/>
                    <a:pt x="424268" y="505857"/>
                    <a:pt x="426988" y="516736"/>
                  </a:cubicBezTo>
                  <a:cubicBezTo>
                    <a:pt x="426988" y="524895"/>
                    <a:pt x="429707" y="535773"/>
                    <a:pt x="432427" y="543932"/>
                  </a:cubicBezTo>
                  <a:cubicBezTo>
                    <a:pt x="435147" y="554811"/>
                    <a:pt x="437866" y="562970"/>
                    <a:pt x="437866" y="573848"/>
                  </a:cubicBezTo>
                  <a:cubicBezTo>
                    <a:pt x="437866" y="587447"/>
                    <a:pt x="440586" y="595606"/>
                    <a:pt x="443306" y="606484"/>
                  </a:cubicBezTo>
                  <a:cubicBezTo>
                    <a:pt x="443306" y="609204"/>
                    <a:pt x="446025" y="614643"/>
                    <a:pt x="446025" y="617363"/>
                  </a:cubicBezTo>
                  <a:cubicBezTo>
                    <a:pt x="454184" y="617363"/>
                    <a:pt x="462343" y="617363"/>
                    <a:pt x="470502" y="617363"/>
                  </a:cubicBezTo>
                  <a:cubicBezTo>
                    <a:pt x="478661" y="625522"/>
                    <a:pt x="492259" y="630961"/>
                    <a:pt x="494979" y="641840"/>
                  </a:cubicBezTo>
                  <a:cubicBezTo>
                    <a:pt x="494979" y="647279"/>
                    <a:pt x="489540" y="649999"/>
                    <a:pt x="486820" y="655438"/>
                  </a:cubicBezTo>
                  <a:cubicBezTo>
                    <a:pt x="484100" y="660877"/>
                    <a:pt x="475942" y="663597"/>
                    <a:pt x="470502" y="663597"/>
                  </a:cubicBezTo>
                  <a:cubicBezTo>
                    <a:pt x="459623" y="666317"/>
                    <a:pt x="454184" y="666317"/>
                    <a:pt x="446025" y="666317"/>
                  </a:cubicBezTo>
                  <a:cubicBezTo>
                    <a:pt x="440586" y="666317"/>
                    <a:pt x="432427" y="666317"/>
                    <a:pt x="424268" y="666317"/>
                  </a:cubicBezTo>
                  <a:cubicBezTo>
                    <a:pt x="421548" y="666317"/>
                    <a:pt x="418829" y="666317"/>
                    <a:pt x="416109" y="666317"/>
                  </a:cubicBezTo>
                  <a:cubicBezTo>
                    <a:pt x="410670" y="669036"/>
                    <a:pt x="407950" y="669036"/>
                    <a:pt x="402511" y="671756"/>
                  </a:cubicBezTo>
                  <a:cubicBezTo>
                    <a:pt x="397071" y="671756"/>
                    <a:pt x="391632" y="674476"/>
                    <a:pt x="386193" y="674476"/>
                  </a:cubicBezTo>
                  <a:cubicBezTo>
                    <a:pt x="375314" y="674476"/>
                    <a:pt x="361716" y="671756"/>
                    <a:pt x="350837" y="669036"/>
                  </a:cubicBezTo>
                  <a:cubicBezTo>
                    <a:pt x="342678" y="669036"/>
                    <a:pt x="334519" y="669036"/>
                    <a:pt x="329080" y="669036"/>
                  </a:cubicBezTo>
                  <a:cubicBezTo>
                    <a:pt x="307323" y="669036"/>
                    <a:pt x="288285" y="669036"/>
                    <a:pt x="280126" y="669036"/>
                  </a:cubicBezTo>
                  <a:cubicBezTo>
                    <a:pt x="271967" y="669036"/>
                    <a:pt x="261088" y="669036"/>
                    <a:pt x="255649" y="663597"/>
                  </a:cubicBezTo>
                  <a:cubicBezTo>
                    <a:pt x="250210" y="660877"/>
                    <a:pt x="239331" y="655438"/>
                    <a:pt x="239331" y="647279"/>
                  </a:cubicBezTo>
                  <a:cubicBezTo>
                    <a:pt x="239331" y="636401"/>
                    <a:pt x="255649" y="633681"/>
                    <a:pt x="263808" y="630961"/>
                  </a:cubicBezTo>
                  <a:cubicBezTo>
                    <a:pt x="269247" y="630961"/>
                    <a:pt x="277406" y="630961"/>
                    <a:pt x="291005" y="628241"/>
                  </a:cubicBezTo>
                  <a:cubicBezTo>
                    <a:pt x="291005" y="620082"/>
                    <a:pt x="291005" y="614643"/>
                    <a:pt x="288285" y="609204"/>
                  </a:cubicBezTo>
                  <a:cubicBezTo>
                    <a:pt x="288285" y="601045"/>
                    <a:pt x="285565" y="590166"/>
                    <a:pt x="285565" y="582007"/>
                  </a:cubicBezTo>
                  <a:cubicBezTo>
                    <a:pt x="285565" y="576568"/>
                    <a:pt x="282846" y="573848"/>
                    <a:pt x="282846" y="568409"/>
                  </a:cubicBezTo>
                  <a:cubicBezTo>
                    <a:pt x="282846" y="562970"/>
                    <a:pt x="285565" y="557531"/>
                    <a:pt x="285565" y="554811"/>
                  </a:cubicBezTo>
                  <a:cubicBezTo>
                    <a:pt x="285565" y="549371"/>
                    <a:pt x="282846" y="546652"/>
                    <a:pt x="280126" y="538493"/>
                  </a:cubicBezTo>
                  <a:cubicBezTo>
                    <a:pt x="280126" y="527614"/>
                    <a:pt x="274687" y="516736"/>
                    <a:pt x="274687" y="505857"/>
                  </a:cubicBezTo>
                  <a:cubicBezTo>
                    <a:pt x="274687" y="494978"/>
                    <a:pt x="274687" y="486820"/>
                    <a:pt x="271967" y="478660"/>
                  </a:cubicBezTo>
                  <a:cubicBezTo>
                    <a:pt x="269247" y="467782"/>
                    <a:pt x="269247" y="456903"/>
                    <a:pt x="269247" y="446025"/>
                  </a:cubicBezTo>
                  <a:cubicBezTo>
                    <a:pt x="269247" y="440585"/>
                    <a:pt x="266528" y="437866"/>
                    <a:pt x="263808" y="437866"/>
                  </a:cubicBezTo>
                  <a:cubicBezTo>
                    <a:pt x="261088" y="437866"/>
                    <a:pt x="258369" y="437866"/>
                    <a:pt x="252929" y="437866"/>
                  </a:cubicBezTo>
                  <a:cubicBezTo>
                    <a:pt x="242051" y="437866"/>
                    <a:pt x="231172" y="437866"/>
                    <a:pt x="223013" y="440585"/>
                  </a:cubicBezTo>
                  <a:cubicBezTo>
                    <a:pt x="212135" y="440585"/>
                    <a:pt x="203976" y="443305"/>
                    <a:pt x="193097" y="443305"/>
                  </a:cubicBezTo>
                  <a:cubicBezTo>
                    <a:pt x="184938" y="443305"/>
                    <a:pt x="176779" y="443305"/>
                    <a:pt x="168620" y="443305"/>
                  </a:cubicBezTo>
                  <a:cubicBezTo>
                    <a:pt x="165900" y="443305"/>
                    <a:pt x="155021" y="440585"/>
                    <a:pt x="146862" y="440585"/>
                  </a:cubicBezTo>
                  <a:cubicBezTo>
                    <a:pt x="138703" y="440585"/>
                    <a:pt x="138703" y="448744"/>
                    <a:pt x="138703" y="454184"/>
                  </a:cubicBezTo>
                  <a:cubicBezTo>
                    <a:pt x="138703" y="465062"/>
                    <a:pt x="135983" y="475941"/>
                    <a:pt x="133263" y="486820"/>
                  </a:cubicBezTo>
                  <a:cubicBezTo>
                    <a:pt x="130544" y="505857"/>
                    <a:pt x="125105" y="522175"/>
                    <a:pt x="122385" y="541213"/>
                  </a:cubicBezTo>
                  <a:cubicBezTo>
                    <a:pt x="119665" y="560250"/>
                    <a:pt x="111506" y="595606"/>
                    <a:pt x="106067" y="614643"/>
                  </a:cubicBezTo>
                  <a:cubicBezTo>
                    <a:pt x="114226" y="614643"/>
                    <a:pt x="125105" y="614643"/>
                    <a:pt x="135983" y="614643"/>
                  </a:cubicBezTo>
                  <a:cubicBezTo>
                    <a:pt x="149581" y="614643"/>
                    <a:pt x="171340" y="614643"/>
                    <a:pt x="171340" y="630961"/>
                  </a:cubicBezTo>
                  <a:cubicBezTo>
                    <a:pt x="171340" y="639120"/>
                    <a:pt x="168620" y="639120"/>
                    <a:pt x="165900" y="647279"/>
                  </a:cubicBezTo>
                  <a:cubicBezTo>
                    <a:pt x="163181" y="652718"/>
                    <a:pt x="155021" y="655438"/>
                    <a:pt x="149581" y="655438"/>
                  </a:cubicBezTo>
                  <a:cubicBezTo>
                    <a:pt x="141423" y="658158"/>
                    <a:pt x="135983" y="658158"/>
                    <a:pt x="127824" y="658158"/>
                  </a:cubicBezTo>
                  <a:cubicBezTo>
                    <a:pt x="122385" y="658158"/>
                    <a:pt x="116946" y="658158"/>
                    <a:pt x="106067" y="658158"/>
                  </a:cubicBezTo>
                  <a:cubicBezTo>
                    <a:pt x="92469" y="658158"/>
                    <a:pt x="78870" y="658158"/>
                    <a:pt x="62552" y="658158"/>
                  </a:cubicBezTo>
                  <a:cubicBezTo>
                    <a:pt x="54393" y="658158"/>
                    <a:pt x="46234" y="658158"/>
                    <a:pt x="40795" y="658158"/>
                  </a:cubicBezTo>
                  <a:cubicBezTo>
                    <a:pt x="32636" y="658158"/>
                    <a:pt x="21758" y="658158"/>
                    <a:pt x="16318" y="652718"/>
                  </a:cubicBezTo>
                  <a:cubicBezTo>
                    <a:pt x="8159" y="649999"/>
                    <a:pt x="0" y="641840"/>
                    <a:pt x="0" y="636401"/>
                  </a:cubicBezTo>
                  <a:cubicBezTo>
                    <a:pt x="0" y="633681"/>
                    <a:pt x="0" y="630961"/>
                    <a:pt x="2720" y="628241"/>
                  </a:cubicBezTo>
                  <a:cubicBezTo>
                    <a:pt x="8159" y="625522"/>
                    <a:pt x="16318" y="622802"/>
                    <a:pt x="24477" y="620082"/>
                  </a:cubicBezTo>
                  <a:cubicBezTo>
                    <a:pt x="38075" y="617363"/>
                    <a:pt x="48954" y="617363"/>
                    <a:pt x="62552" y="617363"/>
                  </a:cubicBezTo>
                  <a:cubicBezTo>
                    <a:pt x="62552" y="617363"/>
                    <a:pt x="62552" y="614643"/>
                    <a:pt x="62552" y="614643"/>
                  </a:cubicBezTo>
                  <a:cubicBezTo>
                    <a:pt x="62552" y="603765"/>
                    <a:pt x="65272" y="590166"/>
                    <a:pt x="65272" y="587447"/>
                  </a:cubicBezTo>
                  <a:cubicBezTo>
                    <a:pt x="67992" y="565689"/>
                    <a:pt x="73431" y="543932"/>
                    <a:pt x="76151" y="522175"/>
                  </a:cubicBezTo>
                  <a:cubicBezTo>
                    <a:pt x="78870" y="505857"/>
                    <a:pt x="81590" y="486820"/>
                    <a:pt x="87029" y="470501"/>
                  </a:cubicBezTo>
                  <a:cubicBezTo>
                    <a:pt x="87029" y="465062"/>
                    <a:pt x="92469" y="451464"/>
                    <a:pt x="92469" y="446025"/>
                  </a:cubicBezTo>
                  <a:cubicBezTo>
                    <a:pt x="92469" y="437866"/>
                    <a:pt x="73431" y="437866"/>
                    <a:pt x="65272" y="432426"/>
                  </a:cubicBezTo>
                  <a:cubicBezTo>
                    <a:pt x="59833" y="429707"/>
                    <a:pt x="54393" y="426987"/>
                    <a:pt x="54393" y="421548"/>
                  </a:cubicBezTo>
                  <a:cubicBezTo>
                    <a:pt x="54393" y="413389"/>
                    <a:pt x="62552" y="410669"/>
                    <a:pt x="73431" y="407949"/>
                  </a:cubicBezTo>
                  <a:cubicBezTo>
                    <a:pt x="78870" y="407949"/>
                    <a:pt x="92469" y="405230"/>
                    <a:pt x="100628" y="399790"/>
                  </a:cubicBezTo>
                  <a:cubicBezTo>
                    <a:pt x="106067" y="394351"/>
                    <a:pt x="106067" y="378033"/>
                    <a:pt x="108787" y="369874"/>
                  </a:cubicBezTo>
                  <a:cubicBezTo>
                    <a:pt x="114226" y="348117"/>
                    <a:pt x="119665" y="326360"/>
                    <a:pt x="125105" y="307322"/>
                  </a:cubicBezTo>
                  <a:cubicBezTo>
                    <a:pt x="130544" y="285565"/>
                    <a:pt x="135983" y="263808"/>
                    <a:pt x="141423" y="242051"/>
                  </a:cubicBezTo>
                  <a:cubicBezTo>
                    <a:pt x="146862" y="220293"/>
                    <a:pt x="152301" y="198536"/>
                    <a:pt x="155021" y="179498"/>
                  </a:cubicBezTo>
                  <a:cubicBezTo>
                    <a:pt x="157740" y="160461"/>
                    <a:pt x="163181" y="138703"/>
                    <a:pt x="168620" y="119665"/>
                  </a:cubicBezTo>
                  <a:cubicBezTo>
                    <a:pt x="176779" y="100627"/>
                    <a:pt x="182218" y="76150"/>
                    <a:pt x="193097" y="57113"/>
                  </a:cubicBezTo>
                  <a:lnTo>
                    <a:pt x="201256" y="38075"/>
                  </a:lnTo>
                  <a:cubicBezTo>
                    <a:pt x="206695" y="29916"/>
                    <a:pt x="209415" y="19038"/>
                    <a:pt x="217574" y="13598"/>
                  </a:cubicBezTo>
                  <a:cubicBezTo>
                    <a:pt x="231172" y="2720"/>
                    <a:pt x="255649" y="0"/>
                    <a:pt x="274687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/>
            </a:p>
          </p:txBody>
        </p:sp>
        <p:sp>
          <p:nvSpPr>
            <p:cNvPr id="37" name="Freeform: Shape 36">
              <a:extLst>
                <a:ext uri="{FF2B5EF4-FFF2-40B4-BE49-F238E27FC236}">
                  <a16:creationId xmlns:a16="http://schemas.microsoft.com/office/drawing/2014/main" id="{0195EC85-116E-4D1D-AAC5-E1EE778E9F14}"/>
                </a:ext>
              </a:extLst>
            </p:cNvPr>
            <p:cNvSpPr/>
            <p:nvPr/>
          </p:nvSpPr>
          <p:spPr>
            <a:xfrm>
              <a:off x="3443268" y="4186718"/>
              <a:ext cx="435145" cy="761503"/>
            </a:xfrm>
            <a:custGeom>
              <a:avLst/>
              <a:gdLst>
                <a:gd name="connsiteX0" fmla="*/ 400855 w 435145"/>
                <a:gd name="connsiteY0" fmla="*/ 678260 h 761503"/>
                <a:gd name="connsiteX1" fmla="*/ 384537 w 435145"/>
                <a:gd name="connsiteY1" fmla="*/ 719054 h 761503"/>
                <a:gd name="connsiteX2" fmla="*/ 368219 w 435145"/>
                <a:gd name="connsiteY2" fmla="*/ 713615 h 761503"/>
                <a:gd name="connsiteX3" fmla="*/ 360060 w 435145"/>
                <a:gd name="connsiteY3" fmla="*/ 697297 h 761503"/>
                <a:gd name="connsiteX4" fmla="*/ 360060 w 435145"/>
                <a:gd name="connsiteY4" fmla="*/ 651063 h 761503"/>
                <a:gd name="connsiteX5" fmla="*/ 332864 w 435145"/>
                <a:gd name="connsiteY5" fmla="*/ 686418 h 761503"/>
                <a:gd name="connsiteX6" fmla="*/ 251274 w 435145"/>
                <a:gd name="connsiteY6" fmla="*/ 721774 h 761503"/>
                <a:gd name="connsiteX7" fmla="*/ 229517 w 435145"/>
                <a:gd name="connsiteY7" fmla="*/ 719054 h 761503"/>
                <a:gd name="connsiteX8" fmla="*/ 158806 w 435145"/>
                <a:gd name="connsiteY8" fmla="*/ 694578 h 761503"/>
                <a:gd name="connsiteX9" fmla="*/ 112571 w 435145"/>
                <a:gd name="connsiteY9" fmla="*/ 659222 h 761503"/>
                <a:gd name="connsiteX10" fmla="*/ 79936 w 435145"/>
                <a:gd name="connsiteY10" fmla="*/ 607548 h 761503"/>
                <a:gd name="connsiteX11" fmla="*/ 63618 w 435145"/>
                <a:gd name="connsiteY11" fmla="*/ 542277 h 761503"/>
                <a:gd name="connsiteX12" fmla="*/ 58178 w 435145"/>
                <a:gd name="connsiteY12" fmla="*/ 471566 h 761503"/>
                <a:gd name="connsiteX13" fmla="*/ 60898 w 435145"/>
                <a:gd name="connsiteY13" fmla="*/ 400855 h 761503"/>
                <a:gd name="connsiteX14" fmla="*/ 66337 w 435145"/>
                <a:gd name="connsiteY14" fmla="*/ 335583 h 761503"/>
                <a:gd name="connsiteX15" fmla="*/ 85375 w 435145"/>
                <a:gd name="connsiteY15" fmla="*/ 267592 h 761503"/>
                <a:gd name="connsiteX16" fmla="*/ 109852 w 435145"/>
                <a:gd name="connsiteY16" fmla="*/ 199600 h 761503"/>
                <a:gd name="connsiteX17" fmla="*/ 145207 w 435145"/>
                <a:gd name="connsiteY17" fmla="*/ 145207 h 761503"/>
                <a:gd name="connsiteX18" fmla="*/ 188722 w 435145"/>
                <a:gd name="connsiteY18" fmla="*/ 96253 h 761503"/>
                <a:gd name="connsiteX19" fmla="*/ 243115 w 435145"/>
                <a:gd name="connsiteY19" fmla="*/ 71776 h 761503"/>
                <a:gd name="connsiteX20" fmla="*/ 286630 w 435145"/>
                <a:gd name="connsiteY20" fmla="*/ 63617 h 761503"/>
                <a:gd name="connsiteX21" fmla="*/ 305667 w 435145"/>
                <a:gd name="connsiteY21" fmla="*/ 66337 h 761503"/>
                <a:gd name="connsiteX22" fmla="*/ 324705 w 435145"/>
                <a:gd name="connsiteY22" fmla="*/ 79936 h 761503"/>
                <a:gd name="connsiteX23" fmla="*/ 341023 w 435145"/>
                <a:gd name="connsiteY23" fmla="*/ 101693 h 761503"/>
                <a:gd name="connsiteX24" fmla="*/ 354621 w 435145"/>
                <a:gd name="connsiteY24" fmla="*/ 123450 h 761503"/>
                <a:gd name="connsiteX25" fmla="*/ 354621 w 435145"/>
                <a:gd name="connsiteY25" fmla="*/ 98973 h 761503"/>
                <a:gd name="connsiteX26" fmla="*/ 360060 w 435145"/>
                <a:gd name="connsiteY26" fmla="*/ 74496 h 761503"/>
                <a:gd name="connsiteX27" fmla="*/ 365500 w 435145"/>
                <a:gd name="connsiteY27" fmla="*/ 63617 h 761503"/>
                <a:gd name="connsiteX28" fmla="*/ 373659 w 435145"/>
                <a:gd name="connsiteY28" fmla="*/ 58178 h 761503"/>
                <a:gd name="connsiteX29" fmla="*/ 381818 w 435145"/>
                <a:gd name="connsiteY29" fmla="*/ 63617 h 761503"/>
                <a:gd name="connsiteX30" fmla="*/ 389977 w 435145"/>
                <a:gd name="connsiteY30" fmla="*/ 82655 h 761503"/>
                <a:gd name="connsiteX31" fmla="*/ 392696 w 435145"/>
                <a:gd name="connsiteY31" fmla="*/ 126170 h 761503"/>
                <a:gd name="connsiteX32" fmla="*/ 395416 w 435145"/>
                <a:gd name="connsiteY32" fmla="*/ 186002 h 761503"/>
                <a:gd name="connsiteX33" fmla="*/ 398136 w 435145"/>
                <a:gd name="connsiteY33" fmla="*/ 237675 h 761503"/>
                <a:gd name="connsiteX34" fmla="*/ 398136 w 435145"/>
                <a:gd name="connsiteY34" fmla="*/ 243115 h 761503"/>
                <a:gd name="connsiteX35" fmla="*/ 395416 w 435145"/>
                <a:gd name="connsiteY35" fmla="*/ 256713 h 761503"/>
                <a:gd name="connsiteX36" fmla="*/ 379098 w 435145"/>
                <a:gd name="connsiteY36" fmla="*/ 278470 h 761503"/>
                <a:gd name="connsiteX37" fmla="*/ 362780 w 435145"/>
                <a:gd name="connsiteY37" fmla="*/ 273031 h 761503"/>
                <a:gd name="connsiteX38" fmla="*/ 354621 w 435145"/>
                <a:gd name="connsiteY38" fmla="*/ 256713 h 761503"/>
                <a:gd name="connsiteX39" fmla="*/ 354621 w 435145"/>
                <a:gd name="connsiteY39" fmla="*/ 213198 h 761503"/>
                <a:gd name="connsiteX40" fmla="*/ 354621 w 435145"/>
                <a:gd name="connsiteY40" fmla="*/ 205040 h 761503"/>
                <a:gd name="connsiteX41" fmla="*/ 338303 w 435145"/>
                <a:gd name="connsiteY41" fmla="*/ 147927 h 761503"/>
                <a:gd name="connsiteX42" fmla="*/ 292069 w 435145"/>
                <a:gd name="connsiteY42" fmla="*/ 107132 h 761503"/>
                <a:gd name="connsiteX43" fmla="*/ 262153 w 435145"/>
                <a:gd name="connsiteY43" fmla="*/ 120730 h 761503"/>
                <a:gd name="connsiteX44" fmla="*/ 251274 w 435145"/>
                <a:gd name="connsiteY44" fmla="*/ 131609 h 761503"/>
                <a:gd name="connsiteX45" fmla="*/ 240395 w 435145"/>
                <a:gd name="connsiteY45" fmla="*/ 139768 h 761503"/>
                <a:gd name="connsiteX46" fmla="*/ 237676 w 435145"/>
                <a:gd name="connsiteY46" fmla="*/ 164245 h 761503"/>
                <a:gd name="connsiteX47" fmla="*/ 226797 w 435145"/>
                <a:gd name="connsiteY47" fmla="*/ 196881 h 761503"/>
                <a:gd name="connsiteX48" fmla="*/ 213199 w 435145"/>
                <a:gd name="connsiteY48" fmla="*/ 259433 h 761503"/>
                <a:gd name="connsiteX49" fmla="*/ 207759 w 435145"/>
                <a:gd name="connsiteY49" fmla="*/ 324704 h 761503"/>
                <a:gd name="connsiteX50" fmla="*/ 207759 w 435145"/>
                <a:gd name="connsiteY50" fmla="*/ 335583 h 761503"/>
                <a:gd name="connsiteX51" fmla="*/ 205040 w 435145"/>
                <a:gd name="connsiteY51" fmla="*/ 349181 h 761503"/>
                <a:gd name="connsiteX52" fmla="*/ 207759 w 435145"/>
                <a:gd name="connsiteY52" fmla="*/ 368219 h 761503"/>
                <a:gd name="connsiteX53" fmla="*/ 207759 w 435145"/>
                <a:gd name="connsiteY53" fmla="*/ 376378 h 761503"/>
                <a:gd name="connsiteX54" fmla="*/ 205040 w 435145"/>
                <a:gd name="connsiteY54" fmla="*/ 387256 h 761503"/>
                <a:gd name="connsiteX55" fmla="*/ 205040 w 435145"/>
                <a:gd name="connsiteY55" fmla="*/ 395415 h 761503"/>
                <a:gd name="connsiteX56" fmla="*/ 205040 w 435145"/>
                <a:gd name="connsiteY56" fmla="*/ 406294 h 761503"/>
                <a:gd name="connsiteX57" fmla="*/ 205040 w 435145"/>
                <a:gd name="connsiteY57" fmla="*/ 425332 h 761503"/>
                <a:gd name="connsiteX58" fmla="*/ 213199 w 435145"/>
                <a:gd name="connsiteY58" fmla="*/ 493323 h 761503"/>
                <a:gd name="connsiteX59" fmla="*/ 221358 w 435145"/>
                <a:gd name="connsiteY59" fmla="*/ 561314 h 761503"/>
                <a:gd name="connsiteX60" fmla="*/ 226797 w 435145"/>
                <a:gd name="connsiteY60" fmla="*/ 591231 h 761503"/>
                <a:gd name="connsiteX61" fmla="*/ 240395 w 435145"/>
                <a:gd name="connsiteY61" fmla="*/ 618427 h 761503"/>
                <a:gd name="connsiteX62" fmla="*/ 283910 w 435145"/>
                <a:gd name="connsiteY62" fmla="*/ 651063 h 761503"/>
                <a:gd name="connsiteX63" fmla="*/ 338303 w 435145"/>
                <a:gd name="connsiteY63" fmla="*/ 612988 h 761503"/>
                <a:gd name="connsiteX64" fmla="*/ 354621 w 435145"/>
                <a:gd name="connsiteY64" fmla="*/ 577632 h 761503"/>
                <a:gd name="connsiteX65" fmla="*/ 357341 w 435145"/>
                <a:gd name="connsiteY65" fmla="*/ 509641 h 761503"/>
                <a:gd name="connsiteX66" fmla="*/ 362780 w 435145"/>
                <a:gd name="connsiteY66" fmla="*/ 485164 h 761503"/>
                <a:gd name="connsiteX67" fmla="*/ 368219 w 435145"/>
                <a:gd name="connsiteY67" fmla="*/ 474286 h 761503"/>
                <a:gd name="connsiteX68" fmla="*/ 376378 w 435145"/>
                <a:gd name="connsiteY68" fmla="*/ 468846 h 761503"/>
                <a:gd name="connsiteX69" fmla="*/ 384537 w 435145"/>
                <a:gd name="connsiteY69" fmla="*/ 474286 h 761503"/>
                <a:gd name="connsiteX70" fmla="*/ 392696 w 435145"/>
                <a:gd name="connsiteY70" fmla="*/ 493323 h 761503"/>
                <a:gd name="connsiteX71" fmla="*/ 395416 w 435145"/>
                <a:gd name="connsiteY71" fmla="*/ 558595 h 761503"/>
                <a:gd name="connsiteX72" fmla="*/ 398136 w 435145"/>
                <a:gd name="connsiteY72" fmla="*/ 618427 h 761503"/>
                <a:gd name="connsiteX73" fmla="*/ 400855 w 435145"/>
                <a:gd name="connsiteY73" fmla="*/ 678260 h 761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</a:cxnLst>
              <a:rect l="l" t="t" r="r" b="b"/>
              <a:pathLst>
                <a:path w="435145" h="761503">
                  <a:moveTo>
                    <a:pt x="400855" y="678260"/>
                  </a:moveTo>
                  <a:cubicBezTo>
                    <a:pt x="400855" y="689138"/>
                    <a:pt x="400855" y="719054"/>
                    <a:pt x="384537" y="719054"/>
                  </a:cubicBezTo>
                  <a:cubicBezTo>
                    <a:pt x="376378" y="719054"/>
                    <a:pt x="373659" y="716335"/>
                    <a:pt x="368219" y="713615"/>
                  </a:cubicBezTo>
                  <a:cubicBezTo>
                    <a:pt x="362780" y="710895"/>
                    <a:pt x="360060" y="702736"/>
                    <a:pt x="360060" y="697297"/>
                  </a:cubicBezTo>
                  <a:cubicBezTo>
                    <a:pt x="357341" y="680979"/>
                    <a:pt x="357341" y="664661"/>
                    <a:pt x="360060" y="651063"/>
                  </a:cubicBezTo>
                  <a:cubicBezTo>
                    <a:pt x="354621" y="659222"/>
                    <a:pt x="341023" y="678260"/>
                    <a:pt x="332864" y="686418"/>
                  </a:cubicBezTo>
                  <a:cubicBezTo>
                    <a:pt x="311107" y="708176"/>
                    <a:pt x="283910" y="721774"/>
                    <a:pt x="251274" y="721774"/>
                  </a:cubicBezTo>
                  <a:cubicBezTo>
                    <a:pt x="243115" y="721774"/>
                    <a:pt x="237676" y="721774"/>
                    <a:pt x="229517" y="719054"/>
                  </a:cubicBezTo>
                  <a:cubicBezTo>
                    <a:pt x="207759" y="716335"/>
                    <a:pt x="183283" y="708176"/>
                    <a:pt x="158806" y="694578"/>
                  </a:cubicBezTo>
                  <a:cubicBezTo>
                    <a:pt x="142488" y="686418"/>
                    <a:pt x="126170" y="672820"/>
                    <a:pt x="112571" y="659222"/>
                  </a:cubicBezTo>
                  <a:cubicBezTo>
                    <a:pt x="98973" y="642904"/>
                    <a:pt x="88095" y="626586"/>
                    <a:pt x="79936" y="607548"/>
                  </a:cubicBezTo>
                  <a:cubicBezTo>
                    <a:pt x="71777" y="585791"/>
                    <a:pt x="66337" y="566754"/>
                    <a:pt x="63618" y="542277"/>
                  </a:cubicBezTo>
                  <a:cubicBezTo>
                    <a:pt x="60898" y="517800"/>
                    <a:pt x="58178" y="493323"/>
                    <a:pt x="58178" y="471566"/>
                  </a:cubicBezTo>
                  <a:cubicBezTo>
                    <a:pt x="58178" y="447089"/>
                    <a:pt x="58178" y="425332"/>
                    <a:pt x="60898" y="400855"/>
                  </a:cubicBezTo>
                  <a:cubicBezTo>
                    <a:pt x="63618" y="379098"/>
                    <a:pt x="60898" y="357340"/>
                    <a:pt x="66337" y="335583"/>
                  </a:cubicBezTo>
                  <a:cubicBezTo>
                    <a:pt x="69057" y="313826"/>
                    <a:pt x="77216" y="289349"/>
                    <a:pt x="85375" y="267592"/>
                  </a:cubicBezTo>
                  <a:cubicBezTo>
                    <a:pt x="93534" y="243115"/>
                    <a:pt x="98973" y="221357"/>
                    <a:pt x="109852" y="199600"/>
                  </a:cubicBezTo>
                  <a:cubicBezTo>
                    <a:pt x="118011" y="177843"/>
                    <a:pt x="131609" y="161525"/>
                    <a:pt x="145207" y="145207"/>
                  </a:cubicBezTo>
                  <a:cubicBezTo>
                    <a:pt x="158806" y="128889"/>
                    <a:pt x="172404" y="109852"/>
                    <a:pt x="188722" y="96253"/>
                  </a:cubicBezTo>
                  <a:cubicBezTo>
                    <a:pt x="205040" y="82655"/>
                    <a:pt x="224077" y="77216"/>
                    <a:pt x="243115" y="71776"/>
                  </a:cubicBezTo>
                  <a:cubicBezTo>
                    <a:pt x="256713" y="69057"/>
                    <a:pt x="273031" y="63617"/>
                    <a:pt x="286630" y="63617"/>
                  </a:cubicBezTo>
                  <a:cubicBezTo>
                    <a:pt x="292069" y="63617"/>
                    <a:pt x="297508" y="63617"/>
                    <a:pt x="305667" y="66337"/>
                  </a:cubicBezTo>
                  <a:cubicBezTo>
                    <a:pt x="313826" y="69057"/>
                    <a:pt x="319266" y="74496"/>
                    <a:pt x="324705" y="79936"/>
                  </a:cubicBezTo>
                  <a:cubicBezTo>
                    <a:pt x="332864" y="85375"/>
                    <a:pt x="332864" y="93534"/>
                    <a:pt x="341023" y="101693"/>
                  </a:cubicBezTo>
                  <a:cubicBezTo>
                    <a:pt x="346462" y="107132"/>
                    <a:pt x="349182" y="118011"/>
                    <a:pt x="354621" y="123450"/>
                  </a:cubicBezTo>
                  <a:cubicBezTo>
                    <a:pt x="354621" y="115291"/>
                    <a:pt x="354621" y="101693"/>
                    <a:pt x="354621" y="98973"/>
                  </a:cubicBezTo>
                  <a:cubicBezTo>
                    <a:pt x="354621" y="90814"/>
                    <a:pt x="354621" y="79936"/>
                    <a:pt x="360060" y="74496"/>
                  </a:cubicBezTo>
                  <a:cubicBezTo>
                    <a:pt x="362780" y="71776"/>
                    <a:pt x="362780" y="69057"/>
                    <a:pt x="365500" y="63617"/>
                  </a:cubicBezTo>
                  <a:cubicBezTo>
                    <a:pt x="368219" y="60898"/>
                    <a:pt x="370939" y="58178"/>
                    <a:pt x="373659" y="58178"/>
                  </a:cubicBezTo>
                  <a:cubicBezTo>
                    <a:pt x="376378" y="58178"/>
                    <a:pt x="379098" y="60898"/>
                    <a:pt x="381818" y="63617"/>
                  </a:cubicBezTo>
                  <a:cubicBezTo>
                    <a:pt x="384537" y="69057"/>
                    <a:pt x="387257" y="77216"/>
                    <a:pt x="389977" y="82655"/>
                  </a:cubicBezTo>
                  <a:cubicBezTo>
                    <a:pt x="389977" y="90814"/>
                    <a:pt x="392696" y="107132"/>
                    <a:pt x="392696" y="126170"/>
                  </a:cubicBezTo>
                  <a:cubicBezTo>
                    <a:pt x="392696" y="150647"/>
                    <a:pt x="392696" y="177843"/>
                    <a:pt x="395416" y="186002"/>
                  </a:cubicBezTo>
                  <a:cubicBezTo>
                    <a:pt x="398136" y="205040"/>
                    <a:pt x="398136" y="215918"/>
                    <a:pt x="398136" y="237675"/>
                  </a:cubicBezTo>
                  <a:cubicBezTo>
                    <a:pt x="398136" y="240395"/>
                    <a:pt x="398136" y="243115"/>
                    <a:pt x="398136" y="243115"/>
                  </a:cubicBezTo>
                  <a:cubicBezTo>
                    <a:pt x="398136" y="248554"/>
                    <a:pt x="398136" y="251274"/>
                    <a:pt x="395416" y="256713"/>
                  </a:cubicBezTo>
                  <a:cubicBezTo>
                    <a:pt x="392696" y="267592"/>
                    <a:pt x="389977" y="278470"/>
                    <a:pt x="379098" y="278470"/>
                  </a:cubicBezTo>
                  <a:cubicBezTo>
                    <a:pt x="370939" y="278470"/>
                    <a:pt x="368219" y="275751"/>
                    <a:pt x="362780" y="273031"/>
                  </a:cubicBezTo>
                  <a:cubicBezTo>
                    <a:pt x="357341" y="270311"/>
                    <a:pt x="354621" y="262152"/>
                    <a:pt x="354621" y="256713"/>
                  </a:cubicBezTo>
                  <a:cubicBezTo>
                    <a:pt x="349182" y="237675"/>
                    <a:pt x="354621" y="232236"/>
                    <a:pt x="354621" y="213198"/>
                  </a:cubicBezTo>
                  <a:cubicBezTo>
                    <a:pt x="354621" y="210479"/>
                    <a:pt x="354621" y="207759"/>
                    <a:pt x="354621" y="205040"/>
                  </a:cubicBezTo>
                  <a:cubicBezTo>
                    <a:pt x="349182" y="186002"/>
                    <a:pt x="343742" y="169684"/>
                    <a:pt x="338303" y="147927"/>
                  </a:cubicBezTo>
                  <a:cubicBezTo>
                    <a:pt x="332864" y="131609"/>
                    <a:pt x="311107" y="107132"/>
                    <a:pt x="292069" y="107132"/>
                  </a:cubicBezTo>
                  <a:cubicBezTo>
                    <a:pt x="281190" y="107132"/>
                    <a:pt x="270312" y="115291"/>
                    <a:pt x="262153" y="120730"/>
                  </a:cubicBezTo>
                  <a:cubicBezTo>
                    <a:pt x="259433" y="123450"/>
                    <a:pt x="256713" y="126170"/>
                    <a:pt x="251274" y="131609"/>
                  </a:cubicBezTo>
                  <a:cubicBezTo>
                    <a:pt x="248554" y="134329"/>
                    <a:pt x="243115" y="137048"/>
                    <a:pt x="240395" y="139768"/>
                  </a:cubicBezTo>
                  <a:cubicBezTo>
                    <a:pt x="237676" y="145207"/>
                    <a:pt x="240395" y="156086"/>
                    <a:pt x="237676" y="164245"/>
                  </a:cubicBezTo>
                  <a:cubicBezTo>
                    <a:pt x="232236" y="175123"/>
                    <a:pt x="229517" y="186002"/>
                    <a:pt x="226797" y="196881"/>
                  </a:cubicBezTo>
                  <a:cubicBezTo>
                    <a:pt x="221358" y="218638"/>
                    <a:pt x="218638" y="237675"/>
                    <a:pt x="213199" y="259433"/>
                  </a:cubicBezTo>
                  <a:cubicBezTo>
                    <a:pt x="210479" y="281190"/>
                    <a:pt x="207759" y="302947"/>
                    <a:pt x="207759" y="324704"/>
                  </a:cubicBezTo>
                  <a:cubicBezTo>
                    <a:pt x="207759" y="327424"/>
                    <a:pt x="207759" y="332863"/>
                    <a:pt x="207759" y="335583"/>
                  </a:cubicBezTo>
                  <a:cubicBezTo>
                    <a:pt x="207759" y="341022"/>
                    <a:pt x="205040" y="343742"/>
                    <a:pt x="205040" y="349181"/>
                  </a:cubicBezTo>
                  <a:cubicBezTo>
                    <a:pt x="205040" y="354621"/>
                    <a:pt x="207759" y="362779"/>
                    <a:pt x="207759" y="368219"/>
                  </a:cubicBezTo>
                  <a:cubicBezTo>
                    <a:pt x="207759" y="370939"/>
                    <a:pt x="207759" y="373658"/>
                    <a:pt x="207759" y="376378"/>
                  </a:cubicBezTo>
                  <a:cubicBezTo>
                    <a:pt x="205040" y="381817"/>
                    <a:pt x="205040" y="384537"/>
                    <a:pt x="205040" y="387256"/>
                  </a:cubicBezTo>
                  <a:cubicBezTo>
                    <a:pt x="205040" y="389976"/>
                    <a:pt x="205040" y="392696"/>
                    <a:pt x="205040" y="395415"/>
                  </a:cubicBezTo>
                  <a:cubicBezTo>
                    <a:pt x="205040" y="398135"/>
                    <a:pt x="205040" y="403574"/>
                    <a:pt x="205040" y="406294"/>
                  </a:cubicBezTo>
                  <a:cubicBezTo>
                    <a:pt x="205040" y="411733"/>
                    <a:pt x="205040" y="417173"/>
                    <a:pt x="205040" y="425332"/>
                  </a:cubicBezTo>
                  <a:cubicBezTo>
                    <a:pt x="205040" y="449809"/>
                    <a:pt x="213199" y="471566"/>
                    <a:pt x="213199" y="493323"/>
                  </a:cubicBezTo>
                  <a:cubicBezTo>
                    <a:pt x="213199" y="517800"/>
                    <a:pt x="215919" y="539557"/>
                    <a:pt x="221358" y="561314"/>
                  </a:cubicBezTo>
                  <a:cubicBezTo>
                    <a:pt x="224077" y="572193"/>
                    <a:pt x="224077" y="580352"/>
                    <a:pt x="226797" y="591231"/>
                  </a:cubicBezTo>
                  <a:cubicBezTo>
                    <a:pt x="229517" y="599390"/>
                    <a:pt x="237676" y="607548"/>
                    <a:pt x="240395" y="618427"/>
                  </a:cubicBezTo>
                  <a:cubicBezTo>
                    <a:pt x="248554" y="637465"/>
                    <a:pt x="262153" y="651063"/>
                    <a:pt x="283910" y="651063"/>
                  </a:cubicBezTo>
                  <a:cubicBezTo>
                    <a:pt x="302948" y="651063"/>
                    <a:pt x="330144" y="629306"/>
                    <a:pt x="338303" y="612988"/>
                  </a:cubicBezTo>
                  <a:cubicBezTo>
                    <a:pt x="346462" y="599390"/>
                    <a:pt x="351901" y="591231"/>
                    <a:pt x="354621" y="577632"/>
                  </a:cubicBezTo>
                  <a:cubicBezTo>
                    <a:pt x="354621" y="550436"/>
                    <a:pt x="354621" y="517800"/>
                    <a:pt x="357341" y="509641"/>
                  </a:cubicBezTo>
                  <a:cubicBezTo>
                    <a:pt x="357341" y="501482"/>
                    <a:pt x="357341" y="490603"/>
                    <a:pt x="362780" y="485164"/>
                  </a:cubicBezTo>
                  <a:cubicBezTo>
                    <a:pt x="365500" y="482444"/>
                    <a:pt x="365500" y="479725"/>
                    <a:pt x="368219" y="474286"/>
                  </a:cubicBezTo>
                  <a:cubicBezTo>
                    <a:pt x="370939" y="471566"/>
                    <a:pt x="373659" y="468846"/>
                    <a:pt x="376378" y="468846"/>
                  </a:cubicBezTo>
                  <a:cubicBezTo>
                    <a:pt x="379098" y="468846"/>
                    <a:pt x="381818" y="471566"/>
                    <a:pt x="384537" y="474286"/>
                  </a:cubicBezTo>
                  <a:cubicBezTo>
                    <a:pt x="387257" y="479725"/>
                    <a:pt x="389977" y="487884"/>
                    <a:pt x="392696" y="493323"/>
                  </a:cubicBezTo>
                  <a:cubicBezTo>
                    <a:pt x="392696" y="501482"/>
                    <a:pt x="395416" y="539557"/>
                    <a:pt x="395416" y="558595"/>
                  </a:cubicBezTo>
                  <a:cubicBezTo>
                    <a:pt x="395416" y="583072"/>
                    <a:pt x="395416" y="610268"/>
                    <a:pt x="398136" y="618427"/>
                  </a:cubicBezTo>
                  <a:cubicBezTo>
                    <a:pt x="398136" y="648343"/>
                    <a:pt x="400855" y="659222"/>
                    <a:pt x="400855" y="678260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/>
            </a:p>
          </p:txBody>
        </p:sp>
        <p:sp>
          <p:nvSpPr>
            <p:cNvPr id="38" name="Freeform: Shape 37">
              <a:extLst>
                <a:ext uri="{FF2B5EF4-FFF2-40B4-BE49-F238E27FC236}">
                  <a16:creationId xmlns:a16="http://schemas.microsoft.com/office/drawing/2014/main" id="{91199EB2-8CF7-412C-88D7-2C906A9B506E}"/>
                </a:ext>
              </a:extLst>
            </p:cNvPr>
            <p:cNvSpPr/>
            <p:nvPr/>
          </p:nvSpPr>
          <p:spPr>
            <a:xfrm>
              <a:off x="3829459" y="4200317"/>
              <a:ext cx="598325" cy="761503"/>
            </a:xfrm>
            <a:custGeom>
              <a:avLst/>
              <a:gdLst>
                <a:gd name="connsiteX0" fmla="*/ 360060 w 598324"/>
                <a:gd name="connsiteY0" fmla="*/ 332863 h 761503"/>
                <a:gd name="connsiteX1" fmla="*/ 341023 w 598324"/>
                <a:gd name="connsiteY1" fmla="*/ 370939 h 761503"/>
                <a:gd name="connsiteX2" fmla="*/ 376378 w 598324"/>
                <a:gd name="connsiteY2" fmla="*/ 389976 h 761503"/>
                <a:gd name="connsiteX3" fmla="*/ 425332 w 598324"/>
                <a:gd name="connsiteY3" fmla="*/ 433491 h 761503"/>
                <a:gd name="connsiteX4" fmla="*/ 438930 w 598324"/>
                <a:gd name="connsiteY4" fmla="*/ 463407 h 761503"/>
                <a:gd name="connsiteX5" fmla="*/ 449809 w 598324"/>
                <a:gd name="connsiteY5" fmla="*/ 498762 h 761503"/>
                <a:gd name="connsiteX6" fmla="*/ 457968 w 598324"/>
                <a:gd name="connsiteY6" fmla="*/ 528679 h 761503"/>
                <a:gd name="connsiteX7" fmla="*/ 466127 w 598324"/>
                <a:gd name="connsiteY7" fmla="*/ 564034 h 761503"/>
                <a:gd name="connsiteX8" fmla="*/ 471566 w 598324"/>
                <a:gd name="connsiteY8" fmla="*/ 593950 h 761503"/>
                <a:gd name="connsiteX9" fmla="*/ 479725 w 598324"/>
                <a:gd name="connsiteY9" fmla="*/ 607548 h 761503"/>
                <a:gd name="connsiteX10" fmla="*/ 487884 w 598324"/>
                <a:gd name="connsiteY10" fmla="*/ 623867 h 761503"/>
                <a:gd name="connsiteX11" fmla="*/ 501482 w 598324"/>
                <a:gd name="connsiteY11" fmla="*/ 651063 h 761503"/>
                <a:gd name="connsiteX12" fmla="*/ 523240 w 598324"/>
                <a:gd name="connsiteY12" fmla="*/ 670101 h 761503"/>
                <a:gd name="connsiteX13" fmla="*/ 534119 w 598324"/>
                <a:gd name="connsiteY13" fmla="*/ 686418 h 761503"/>
                <a:gd name="connsiteX14" fmla="*/ 531399 w 598324"/>
                <a:gd name="connsiteY14" fmla="*/ 694578 h 761503"/>
                <a:gd name="connsiteX15" fmla="*/ 498763 w 598324"/>
                <a:gd name="connsiteY15" fmla="*/ 708176 h 761503"/>
                <a:gd name="connsiteX16" fmla="*/ 449809 w 598324"/>
                <a:gd name="connsiteY16" fmla="*/ 700017 h 761503"/>
                <a:gd name="connsiteX17" fmla="*/ 400855 w 598324"/>
                <a:gd name="connsiteY17" fmla="*/ 667381 h 761503"/>
                <a:gd name="connsiteX18" fmla="*/ 381817 w 598324"/>
                <a:gd name="connsiteY18" fmla="*/ 642904 h 761503"/>
                <a:gd name="connsiteX19" fmla="*/ 368219 w 598324"/>
                <a:gd name="connsiteY19" fmla="*/ 610268 h 761503"/>
                <a:gd name="connsiteX20" fmla="*/ 349182 w 598324"/>
                <a:gd name="connsiteY20" fmla="*/ 550436 h 761503"/>
                <a:gd name="connsiteX21" fmla="*/ 338303 w 598324"/>
                <a:gd name="connsiteY21" fmla="*/ 504202 h 761503"/>
                <a:gd name="connsiteX22" fmla="*/ 330144 w 598324"/>
                <a:gd name="connsiteY22" fmla="*/ 477005 h 761503"/>
                <a:gd name="connsiteX23" fmla="*/ 321985 w 598324"/>
                <a:gd name="connsiteY23" fmla="*/ 455248 h 761503"/>
                <a:gd name="connsiteX24" fmla="*/ 305667 w 598324"/>
                <a:gd name="connsiteY24" fmla="*/ 436210 h 761503"/>
                <a:gd name="connsiteX25" fmla="*/ 294788 w 598324"/>
                <a:gd name="connsiteY25" fmla="*/ 441650 h 761503"/>
                <a:gd name="connsiteX26" fmla="*/ 278471 w 598324"/>
                <a:gd name="connsiteY26" fmla="*/ 463407 h 761503"/>
                <a:gd name="connsiteX27" fmla="*/ 264872 w 598324"/>
                <a:gd name="connsiteY27" fmla="*/ 496043 h 761503"/>
                <a:gd name="connsiteX28" fmla="*/ 262153 w 598324"/>
                <a:gd name="connsiteY28" fmla="*/ 517800 h 761503"/>
                <a:gd name="connsiteX29" fmla="*/ 262153 w 598324"/>
                <a:gd name="connsiteY29" fmla="*/ 523239 h 761503"/>
                <a:gd name="connsiteX30" fmla="*/ 262153 w 598324"/>
                <a:gd name="connsiteY30" fmla="*/ 553155 h 761503"/>
                <a:gd name="connsiteX31" fmla="*/ 262153 w 598324"/>
                <a:gd name="connsiteY31" fmla="*/ 629306 h 761503"/>
                <a:gd name="connsiteX32" fmla="*/ 259433 w 598324"/>
                <a:gd name="connsiteY32" fmla="*/ 659222 h 761503"/>
                <a:gd name="connsiteX33" fmla="*/ 283910 w 598324"/>
                <a:gd name="connsiteY33" fmla="*/ 659222 h 761503"/>
                <a:gd name="connsiteX34" fmla="*/ 321985 w 598324"/>
                <a:gd name="connsiteY34" fmla="*/ 675540 h 761503"/>
                <a:gd name="connsiteX35" fmla="*/ 316546 w 598324"/>
                <a:gd name="connsiteY35" fmla="*/ 691858 h 761503"/>
                <a:gd name="connsiteX36" fmla="*/ 300228 w 598324"/>
                <a:gd name="connsiteY36" fmla="*/ 700017 h 761503"/>
                <a:gd name="connsiteX37" fmla="*/ 278471 w 598324"/>
                <a:gd name="connsiteY37" fmla="*/ 702736 h 761503"/>
                <a:gd name="connsiteX38" fmla="*/ 243115 w 598324"/>
                <a:gd name="connsiteY38" fmla="*/ 702736 h 761503"/>
                <a:gd name="connsiteX39" fmla="*/ 221358 w 598324"/>
                <a:gd name="connsiteY39" fmla="*/ 710895 h 761503"/>
                <a:gd name="connsiteX40" fmla="*/ 194161 w 598324"/>
                <a:gd name="connsiteY40" fmla="*/ 702736 h 761503"/>
                <a:gd name="connsiteX41" fmla="*/ 177843 w 598324"/>
                <a:gd name="connsiteY41" fmla="*/ 702736 h 761503"/>
                <a:gd name="connsiteX42" fmla="*/ 126170 w 598324"/>
                <a:gd name="connsiteY42" fmla="*/ 702736 h 761503"/>
                <a:gd name="connsiteX43" fmla="*/ 101693 w 598324"/>
                <a:gd name="connsiteY43" fmla="*/ 702736 h 761503"/>
                <a:gd name="connsiteX44" fmla="*/ 74496 w 598324"/>
                <a:gd name="connsiteY44" fmla="*/ 697297 h 761503"/>
                <a:gd name="connsiteX45" fmla="*/ 58178 w 598324"/>
                <a:gd name="connsiteY45" fmla="*/ 680979 h 761503"/>
                <a:gd name="connsiteX46" fmla="*/ 63617 w 598324"/>
                <a:gd name="connsiteY46" fmla="*/ 672820 h 761503"/>
                <a:gd name="connsiteX47" fmla="*/ 85375 w 598324"/>
                <a:gd name="connsiteY47" fmla="*/ 664661 h 761503"/>
                <a:gd name="connsiteX48" fmla="*/ 128889 w 598324"/>
                <a:gd name="connsiteY48" fmla="*/ 659222 h 761503"/>
                <a:gd name="connsiteX49" fmla="*/ 147927 w 598324"/>
                <a:gd name="connsiteY49" fmla="*/ 659222 h 761503"/>
                <a:gd name="connsiteX50" fmla="*/ 145207 w 598324"/>
                <a:gd name="connsiteY50" fmla="*/ 653783 h 761503"/>
                <a:gd name="connsiteX51" fmla="*/ 131609 w 598324"/>
                <a:gd name="connsiteY51" fmla="*/ 585791 h 761503"/>
                <a:gd name="connsiteX52" fmla="*/ 134329 w 598324"/>
                <a:gd name="connsiteY52" fmla="*/ 498762 h 761503"/>
                <a:gd name="connsiteX53" fmla="*/ 137048 w 598324"/>
                <a:gd name="connsiteY53" fmla="*/ 406294 h 761503"/>
                <a:gd name="connsiteX54" fmla="*/ 134329 w 598324"/>
                <a:gd name="connsiteY54" fmla="*/ 327424 h 761503"/>
                <a:gd name="connsiteX55" fmla="*/ 137048 w 598324"/>
                <a:gd name="connsiteY55" fmla="*/ 253993 h 761503"/>
                <a:gd name="connsiteX56" fmla="*/ 139768 w 598324"/>
                <a:gd name="connsiteY56" fmla="*/ 207759 h 761503"/>
                <a:gd name="connsiteX57" fmla="*/ 137048 w 598324"/>
                <a:gd name="connsiteY57" fmla="*/ 172404 h 761503"/>
                <a:gd name="connsiteX58" fmla="*/ 137048 w 598324"/>
                <a:gd name="connsiteY58" fmla="*/ 112571 h 761503"/>
                <a:gd name="connsiteX59" fmla="*/ 126170 w 598324"/>
                <a:gd name="connsiteY59" fmla="*/ 112571 h 761503"/>
                <a:gd name="connsiteX60" fmla="*/ 101693 w 598324"/>
                <a:gd name="connsiteY60" fmla="*/ 112571 h 761503"/>
                <a:gd name="connsiteX61" fmla="*/ 74496 w 598324"/>
                <a:gd name="connsiteY61" fmla="*/ 107132 h 761503"/>
                <a:gd name="connsiteX62" fmla="*/ 58178 w 598324"/>
                <a:gd name="connsiteY62" fmla="*/ 90814 h 761503"/>
                <a:gd name="connsiteX63" fmla="*/ 63617 w 598324"/>
                <a:gd name="connsiteY63" fmla="*/ 82655 h 761503"/>
                <a:gd name="connsiteX64" fmla="*/ 85375 w 598324"/>
                <a:gd name="connsiteY64" fmla="*/ 74496 h 761503"/>
                <a:gd name="connsiteX65" fmla="*/ 137048 w 598324"/>
                <a:gd name="connsiteY65" fmla="*/ 69057 h 761503"/>
                <a:gd name="connsiteX66" fmla="*/ 145207 w 598324"/>
                <a:gd name="connsiteY66" fmla="*/ 69057 h 761503"/>
                <a:gd name="connsiteX67" fmla="*/ 169684 w 598324"/>
                <a:gd name="connsiteY67" fmla="*/ 58178 h 761503"/>
                <a:gd name="connsiteX68" fmla="*/ 177843 w 598324"/>
                <a:gd name="connsiteY68" fmla="*/ 58178 h 761503"/>
                <a:gd name="connsiteX69" fmla="*/ 205040 w 598324"/>
                <a:gd name="connsiteY69" fmla="*/ 66337 h 761503"/>
                <a:gd name="connsiteX70" fmla="*/ 286629 w 598324"/>
                <a:gd name="connsiteY70" fmla="*/ 63617 h 761503"/>
                <a:gd name="connsiteX71" fmla="*/ 324705 w 598324"/>
                <a:gd name="connsiteY71" fmla="*/ 79936 h 761503"/>
                <a:gd name="connsiteX72" fmla="*/ 319265 w 598324"/>
                <a:gd name="connsiteY72" fmla="*/ 96253 h 761503"/>
                <a:gd name="connsiteX73" fmla="*/ 302948 w 598324"/>
                <a:gd name="connsiteY73" fmla="*/ 104412 h 761503"/>
                <a:gd name="connsiteX74" fmla="*/ 278471 w 598324"/>
                <a:gd name="connsiteY74" fmla="*/ 112571 h 761503"/>
                <a:gd name="connsiteX75" fmla="*/ 232236 w 598324"/>
                <a:gd name="connsiteY75" fmla="*/ 112571 h 761503"/>
                <a:gd name="connsiteX76" fmla="*/ 240395 w 598324"/>
                <a:gd name="connsiteY76" fmla="*/ 137048 h 761503"/>
                <a:gd name="connsiteX77" fmla="*/ 240395 w 598324"/>
                <a:gd name="connsiteY77" fmla="*/ 150647 h 761503"/>
                <a:gd name="connsiteX78" fmla="*/ 243115 w 598324"/>
                <a:gd name="connsiteY78" fmla="*/ 158805 h 761503"/>
                <a:gd name="connsiteX79" fmla="*/ 248554 w 598324"/>
                <a:gd name="connsiteY79" fmla="*/ 188722 h 761503"/>
                <a:gd name="connsiteX80" fmla="*/ 248554 w 598324"/>
                <a:gd name="connsiteY80" fmla="*/ 199600 h 761503"/>
                <a:gd name="connsiteX81" fmla="*/ 248554 w 598324"/>
                <a:gd name="connsiteY81" fmla="*/ 221357 h 761503"/>
                <a:gd name="connsiteX82" fmla="*/ 253994 w 598324"/>
                <a:gd name="connsiteY82" fmla="*/ 264872 h 761503"/>
                <a:gd name="connsiteX83" fmla="*/ 262153 w 598324"/>
                <a:gd name="connsiteY83" fmla="*/ 297508 h 761503"/>
                <a:gd name="connsiteX84" fmla="*/ 264872 w 598324"/>
                <a:gd name="connsiteY84" fmla="*/ 324704 h 761503"/>
                <a:gd name="connsiteX85" fmla="*/ 264872 w 598324"/>
                <a:gd name="connsiteY85" fmla="*/ 332863 h 761503"/>
                <a:gd name="connsiteX86" fmla="*/ 264872 w 598324"/>
                <a:gd name="connsiteY86" fmla="*/ 351901 h 761503"/>
                <a:gd name="connsiteX87" fmla="*/ 262153 w 598324"/>
                <a:gd name="connsiteY87" fmla="*/ 370939 h 761503"/>
                <a:gd name="connsiteX88" fmla="*/ 267592 w 598324"/>
                <a:gd name="connsiteY88" fmla="*/ 384537 h 761503"/>
                <a:gd name="connsiteX89" fmla="*/ 278471 w 598324"/>
                <a:gd name="connsiteY89" fmla="*/ 370939 h 761503"/>
                <a:gd name="connsiteX90" fmla="*/ 297508 w 598324"/>
                <a:gd name="connsiteY90" fmla="*/ 332863 h 761503"/>
                <a:gd name="connsiteX91" fmla="*/ 311106 w 598324"/>
                <a:gd name="connsiteY91" fmla="*/ 305667 h 761503"/>
                <a:gd name="connsiteX92" fmla="*/ 335583 w 598324"/>
                <a:gd name="connsiteY92" fmla="*/ 259433 h 761503"/>
                <a:gd name="connsiteX93" fmla="*/ 354621 w 598324"/>
                <a:gd name="connsiteY93" fmla="*/ 224077 h 761503"/>
                <a:gd name="connsiteX94" fmla="*/ 381817 w 598324"/>
                <a:gd name="connsiteY94" fmla="*/ 172404 h 761503"/>
                <a:gd name="connsiteX95" fmla="*/ 409014 w 598324"/>
                <a:gd name="connsiteY95" fmla="*/ 118011 h 761503"/>
                <a:gd name="connsiteX96" fmla="*/ 411734 w 598324"/>
                <a:gd name="connsiteY96" fmla="*/ 115291 h 761503"/>
                <a:gd name="connsiteX97" fmla="*/ 398136 w 598324"/>
                <a:gd name="connsiteY97" fmla="*/ 115291 h 761503"/>
                <a:gd name="connsiteX98" fmla="*/ 379098 w 598324"/>
                <a:gd name="connsiteY98" fmla="*/ 109852 h 761503"/>
                <a:gd name="connsiteX99" fmla="*/ 368219 w 598324"/>
                <a:gd name="connsiteY99" fmla="*/ 93534 h 761503"/>
                <a:gd name="connsiteX100" fmla="*/ 370939 w 598324"/>
                <a:gd name="connsiteY100" fmla="*/ 85375 h 761503"/>
                <a:gd name="connsiteX101" fmla="*/ 387257 w 598324"/>
                <a:gd name="connsiteY101" fmla="*/ 77216 h 761503"/>
                <a:gd name="connsiteX102" fmla="*/ 422612 w 598324"/>
                <a:gd name="connsiteY102" fmla="*/ 71776 h 761503"/>
                <a:gd name="connsiteX103" fmla="*/ 436211 w 598324"/>
                <a:gd name="connsiteY103" fmla="*/ 71776 h 761503"/>
                <a:gd name="connsiteX104" fmla="*/ 438930 w 598324"/>
                <a:gd name="connsiteY104" fmla="*/ 69057 h 761503"/>
                <a:gd name="connsiteX105" fmla="*/ 452529 w 598324"/>
                <a:gd name="connsiteY105" fmla="*/ 66337 h 761503"/>
                <a:gd name="connsiteX106" fmla="*/ 466127 w 598324"/>
                <a:gd name="connsiteY106" fmla="*/ 69057 h 761503"/>
                <a:gd name="connsiteX107" fmla="*/ 471566 w 598324"/>
                <a:gd name="connsiteY107" fmla="*/ 71776 h 761503"/>
                <a:gd name="connsiteX108" fmla="*/ 515081 w 598324"/>
                <a:gd name="connsiteY108" fmla="*/ 71776 h 761503"/>
                <a:gd name="connsiteX109" fmla="*/ 542277 w 598324"/>
                <a:gd name="connsiteY109" fmla="*/ 88094 h 761503"/>
                <a:gd name="connsiteX110" fmla="*/ 536838 w 598324"/>
                <a:gd name="connsiteY110" fmla="*/ 104412 h 761503"/>
                <a:gd name="connsiteX111" fmla="*/ 525959 w 598324"/>
                <a:gd name="connsiteY111" fmla="*/ 112571 h 761503"/>
                <a:gd name="connsiteX112" fmla="*/ 509642 w 598324"/>
                <a:gd name="connsiteY112" fmla="*/ 115291 h 761503"/>
                <a:gd name="connsiteX113" fmla="*/ 468847 w 598324"/>
                <a:gd name="connsiteY113" fmla="*/ 115291 h 761503"/>
                <a:gd name="connsiteX114" fmla="*/ 457968 w 598324"/>
                <a:gd name="connsiteY114" fmla="*/ 137048 h 761503"/>
                <a:gd name="connsiteX115" fmla="*/ 430771 w 598324"/>
                <a:gd name="connsiteY115" fmla="*/ 194161 h 761503"/>
                <a:gd name="connsiteX116" fmla="*/ 400855 w 598324"/>
                <a:gd name="connsiteY116" fmla="*/ 262152 h 761503"/>
                <a:gd name="connsiteX117" fmla="*/ 360060 w 598324"/>
                <a:gd name="connsiteY117" fmla="*/ 332863 h 761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</a:cxnLst>
              <a:rect l="l" t="t" r="r" b="b"/>
              <a:pathLst>
                <a:path w="598324" h="761503">
                  <a:moveTo>
                    <a:pt x="360060" y="332863"/>
                  </a:moveTo>
                  <a:cubicBezTo>
                    <a:pt x="351901" y="343742"/>
                    <a:pt x="341023" y="357340"/>
                    <a:pt x="341023" y="370939"/>
                  </a:cubicBezTo>
                  <a:cubicBezTo>
                    <a:pt x="341023" y="379098"/>
                    <a:pt x="357341" y="381817"/>
                    <a:pt x="376378" y="389976"/>
                  </a:cubicBezTo>
                  <a:cubicBezTo>
                    <a:pt x="395416" y="398135"/>
                    <a:pt x="417173" y="417173"/>
                    <a:pt x="425332" y="433491"/>
                  </a:cubicBezTo>
                  <a:cubicBezTo>
                    <a:pt x="430771" y="444369"/>
                    <a:pt x="436211" y="452528"/>
                    <a:pt x="438930" y="463407"/>
                  </a:cubicBezTo>
                  <a:cubicBezTo>
                    <a:pt x="444370" y="474286"/>
                    <a:pt x="447089" y="487884"/>
                    <a:pt x="449809" y="498762"/>
                  </a:cubicBezTo>
                  <a:cubicBezTo>
                    <a:pt x="452529" y="512361"/>
                    <a:pt x="452529" y="517800"/>
                    <a:pt x="457968" y="528679"/>
                  </a:cubicBezTo>
                  <a:cubicBezTo>
                    <a:pt x="463407" y="539557"/>
                    <a:pt x="463407" y="553155"/>
                    <a:pt x="466127" y="564034"/>
                  </a:cubicBezTo>
                  <a:cubicBezTo>
                    <a:pt x="468847" y="572193"/>
                    <a:pt x="468847" y="585791"/>
                    <a:pt x="471566" y="593950"/>
                  </a:cubicBezTo>
                  <a:cubicBezTo>
                    <a:pt x="474286" y="599390"/>
                    <a:pt x="477006" y="602109"/>
                    <a:pt x="479725" y="607548"/>
                  </a:cubicBezTo>
                  <a:cubicBezTo>
                    <a:pt x="482445" y="612988"/>
                    <a:pt x="487884" y="618427"/>
                    <a:pt x="487884" y="623867"/>
                  </a:cubicBezTo>
                  <a:cubicBezTo>
                    <a:pt x="490604" y="634745"/>
                    <a:pt x="496043" y="642904"/>
                    <a:pt x="501482" y="651063"/>
                  </a:cubicBezTo>
                  <a:cubicBezTo>
                    <a:pt x="506922" y="661942"/>
                    <a:pt x="512361" y="664661"/>
                    <a:pt x="523240" y="670101"/>
                  </a:cubicBezTo>
                  <a:cubicBezTo>
                    <a:pt x="528679" y="672820"/>
                    <a:pt x="534119" y="680979"/>
                    <a:pt x="534119" y="686418"/>
                  </a:cubicBezTo>
                  <a:cubicBezTo>
                    <a:pt x="534119" y="689138"/>
                    <a:pt x="534119" y="691858"/>
                    <a:pt x="531399" y="694578"/>
                  </a:cubicBezTo>
                  <a:cubicBezTo>
                    <a:pt x="525959" y="702736"/>
                    <a:pt x="512361" y="708176"/>
                    <a:pt x="498763" y="708176"/>
                  </a:cubicBezTo>
                  <a:cubicBezTo>
                    <a:pt x="485165" y="708176"/>
                    <a:pt x="466127" y="705456"/>
                    <a:pt x="449809" y="700017"/>
                  </a:cubicBezTo>
                  <a:cubicBezTo>
                    <a:pt x="430771" y="694578"/>
                    <a:pt x="409014" y="675540"/>
                    <a:pt x="400855" y="667381"/>
                  </a:cubicBezTo>
                  <a:cubicBezTo>
                    <a:pt x="392696" y="659222"/>
                    <a:pt x="387257" y="651063"/>
                    <a:pt x="381817" y="642904"/>
                  </a:cubicBezTo>
                  <a:cubicBezTo>
                    <a:pt x="376378" y="632025"/>
                    <a:pt x="370939" y="623867"/>
                    <a:pt x="368219" y="610268"/>
                  </a:cubicBezTo>
                  <a:cubicBezTo>
                    <a:pt x="360060" y="588511"/>
                    <a:pt x="357341" y="574913"/>
                    <a:pt x="349182" y="550436"/>
                  </a:cubicBezTo>
                  <a:cubicBezTo>
                    <a:pt x="343742" y="534118"/>
                    <a:pt x="341023" y="520520"/>
                    <a:pt x="338303" y="504202"/>
                  </a:cubicBezTo>
                  <a:cubicBezTo>
                    <a:pt x="335583" y="493323"/>
                    <a:pt x="332864" y="485164"/>
                    <a:pt x="330144" y="477005"/>
                  </a:cubicBezTo>
                  <a:cubicBezTo>
                    <a:pt x="327424" y="471566"/>
                    <a:pt x="324705" y="463407"/>
                    <a:pt x="321985" y="455248"/>
                  </a:cubicBezTo>
                  <a:cubicBezTo>
                    <a:pt x="316546" y="444369"/>
                    <a:pt x="311106" y="436210"/>
                    <a:pt x="305667" y="436210"/>
                  </a:cubicBezTo>
                  <a:cubicBezTo>
                    <a:pt x="302948" y="436210"/>
                    <a:pt x="300228" y="438930"/>
                    <a:pt x="294788" y="441650"/>
                  </a:cubicBezTo>
                  <a:cubicBezTo>
                    <a:pt x="289349" y="447089"/>
                    <a:pt x="283910" y="455248"/>
                    <a:pt x="278471" y="463407"/>
                  </a:cubicBezTo>
                  <a:cubicBezTo>
                    <a:pt x="270312" y="474286"/>
                    <a:pt x="267592" y="485164"/>
                    <a:pt x="264872" y="496043"/>
                  </a:cubicBezTo>
                  <a:cubicBezTo>
                    <a:pt x="264872" y="504202"/>
                    <a:pt x="262153" y="512361"/>
                    <a:pt x="262153" y="517800"/>
                  </a:cubicBezTo>
                  <a:cubicBezTo>
                    <a:pt x="262153" y="520520"/>
                    <a:pt x="262153" y="520520"/>
                    <a:pt x="262153" y="523239"/>
                  </a:cubicBezTo>
                  <a:cubicBezTo>
                    <a:pt x="262153" y="528679"/>
                    <a:pt x="262153" y="544997"/>
                    <a:pt x="262153" y="553155"/>
                  </a:cubicBezTo>
                  <a:cubicBezTo>
                    <a:pt x="262153" y="583072"/>
                    <a:pt x="264872" y="599390"/>
                    <a:pt x="262153" y="629306"/>
                  </a:cubicBezTo>
                  <a:cubicBezTo>
                    <a:pt x="262153" y="640184"/>
                    <a:pt x="262153" y="648343"/>
                    <a:pt x="259433" y="659222"/>
                  </a:cubicBezTo>
                  <a:cubicBezTo>
                    <a:pt x="270312" y="659222"/>
                    <a:pt x="278471" y="659222"/>
                    <a:pt x="283910" y="659222"/>
                  </a:cubicBezTo>
                  <a:cubicBezTo>
                    <a:pt x="297508" y="659222"/>
                    <a:pt x="321985" y="659222"/>
                    <a:pt x="321985" y="675540"/>
                  </a:cubicBezTo>
                  <a:cubicBezTo>
                    <a:pt x="321985" y="683699"/>
                    <a:pt x="319265" y="686418"/>
                    <a:pt x="316546" y="691858"/>
                  </a:cubicBezTo>
                  <a:cubicBezTo>
                    <a:pt x="311106" y="697297"/>
                    <a:pt x="305667" y="700017"/>
                    <a:pt x="300228" y="700017"/>
                  </a:cubicBezTo>
                  <a:cubicBezTo>
                    <a:pt x="292069" y="702736"/>
                    <a:pt x="283910" y="702736"/>
                    <a:pt x="278471" y="702736"/>
                  </a:cubicBezTo>
                  <a:cubicBezTo>
                    <a:pt x="275751" y="702736"/>
                    <a:pt x="259433" y="702736"/>
                    <a:pt x="243115" y="702736"/>
                  </a:cubicBezTo>
                  <a:cubicBezTo>
                    <a:pt x="237676" y="708176"/>
                    <a:pt x="229517" y="710895"/>
                    <a:pt x="221358" y="710895"/>
                  </a:cubicBezTo>
                  <a:cubicBezTo>
                    <a:pt x="213199" y="710895"/>
                    <a:pt x="202320" y="708176"/>
                    <a:pt x="194161" y="702736"/>
                  </a:cubicBezTo>
                  <a:cubicBezTo>
                    <a:pt x="186002" y="702736"/>
                    <a:pt x="180563" y="702736"/>
                    <a:pt x="177843" y="702736"/>
                  </a:cubicBezTo>
                  <a:cubicBezTo>
                    <a:pt x="164245" y="702736"/>
                    <a:pt x="139768" y="702736"/>
                    <a:pt x="126170" y="702736"/>
                  </a:cubicBezTo>
                  <a:cubicBezTo>
                    <a:pt x="118011" y="702736"/>
                    <a:pt x="109852" y="702736"/>
                    <a:pt x="101693" y="702736"/>
                  </a:cubicBezTo>
                  <a:cubicBezTo>
                    <a:pt x="93534" y="702736"/>
                    <a:pt x="82655" y="702736"/>
                    <a:pt x="74496" y="697297"/>
                  </a:cubicBezTo>
                  <a:cubicBezTo>
                    <a:pt x="66337" y="694578"/>
                    <a:pt x="58178" y="686418"/>
                    <a:pt x="58178" y="680979"/>
                  </a:cubicBezTo>
                  <a:cubicBezTo>
                    <a:pt x="58178" y="678260"/>
                    <a:pt x="58178" y="675540"/>
                    <a:pt x="63617" y="672820"/>
                  </a:cubicBezTo>
                  <a:cubicBezTo>
                    <a:pt x="69057" y="670101"/>
                    <a:pt x="79935" y="667381"/>
                    <a:pt x="85375" y="664661"/>
                  </a:cubicBezTo>
                  <a:cubicBezTo>
                    <a:pt x="104412" y="661942"/>
                    <a:pt x="123450" y="659222"/>
                    <a:pt x="128889" y="659222"/>
                  </a:cubicBezTo>
                  <a:cubicBezTo>
                    <a:pt x="134329" y="659222"/>
                    <a:pt x="139768" y="659222"/>
                    <a:pt x="147927" y="659222"/>
                  </a:cubicBezTo>
                  <a:cubicBezTo>
                    <a:pt x="147927" y="656502"/>
                    <a:pt x="145207" y="653783"/>
                    <a:pt x="145207" y="653783"/>
                  </a:cubicBezTo>
                  <a:cubicBezTo>
                    <a:pt x="131609" y="632025"/>
                    <a:pt x="131609" y="610268"/>
                    <a:pt x="131609" y="585791"/>
                  </a:cubicBezTo>
                  <a:cubicBezTo>
                    <a:pt x="131609" y="555875"/>
                    <a:pt x="131609" y="528679"/>
                    <a:pt x="134329" y="498762"/>
                  </a:cubicBezTo>
                  <a:cubicBezTo>
                    <a:pt x="134329" y="468846"/>
                    <a:pt x="137048" y="436210"/>
                    <a:pt x="137048" y="406294"/>
                  </a:cubicBezTo>
                  <a:cubicBezTo>
                    <a:pt x="137048" y="379098"/>
                    <a:pt x="134329" y="354621"/>
                    <a:pt x="134329" y="327424"/>
                  </a:cubicBezTo>
                  <a:cubicBezTo>
                    <a:pt x="134329" y="302947"/>
                    <a:pt x="137048" y="278470"/>
                    <a:pt x="137048" y="253993"/>
                  </a:cubicBezTo>
                  <a:cubicBezTo>
                    <a:pt x="137048" y="237675"/>
                    <a:pt x="139768" y="224077"/>
                    <a:pt x="139768" y="207759"/>
                  </a:cubicBezTo>
                  <a:cubicBezTo>
                    <a:pt x="139768" y="196881"/>
                    <a:pt x="137048" y="183282"/>
                    <a:pt x="137048" y="172404"/>
                  </a:cubicBezTo>
                  <a:cubicBezTo>
                    <a:pt x="137048" y="150647"/>
                    <a:pt x="137048" y="131609"/>
                    <a:pt x="137048" y="112571"/>
                  </a:cubicBezTo>
                  <a:cubicBezTo>
                    <a:pt x="134329" y="112571"/>
                    <a:pt x="137048" y="112571"/>
                    <a:pt x="126170" y="112571"/>
                  </a:cubicBezTo>
                  <a:cubicBezTo>
                    <a:pt x="118011" y="112571"/>
                    <a:pt x="109852" y="112571"/>
                    <a:pt x="101693" y="112571"/>
                  </a:cubicBezTo>
                  <a:cubicBezTo>
                    <a:pt x="93534" y="112571"/>
                    <a:pt x="82655" y="109852"/>
                    <a:pt x="74496" y="107132"/>
                  </a:cubicBezTo>
                  <a:cubicBezTo>
                    <a:pt x="66337" y="104412"/>
                    <a:pt x="58178" y="96253"/>
                    <a:pt x="58178" y="90814"/>
                  </a:cubicBezTo>
                  <a:cubicBezTo>
                    <a:pt x="58178" y="88094"/>
                    <a:pt x="58178" y="85375"/>
                    <a:pt x="63617" y="82655"/>
                  </a:cubicBezTo>
                  <a:cubicBezTo>
                    <a:pt x="69057" y="79936"/>
                    <a:pt x="79935" y="77216"/>
                    <a:pt x="85375" y="74496"/>
                  </a:cubicBezTo>
                  <a:cubicBezTo>
                    <a:pt x="104412" y="71776"/>
                    <a:pt x="128889" y="69057"/>
                    <a:pt x="137048" y="69057"/>
                  </a:cubicBezTo>
                  <a:cubicBezTo>
                    <a:pt x="137048" y="69057"/>
                    <a:pt x="139768" y="69057"/>
                    <a:pt x="145207" y="69057"/>
                  </a:cubicBezTo>
                  <a:cubicBezTo>
                    <a:pt x="150646" y="60898"/>
                    <a:pt x="158806" y="58178"/>
                    <a:pt x="169684" y="58178"/>
                  </a:cubicBezTo>
                  <a:cubicBezTo>
                    <a:pt x="172404" y="58178"/>
                    <a:pt x="175123" y="58178"/>
                    <a:pt x="177843" y="58178"/>
                  </a:cubicBezTo>
                  <a:cubicBezTo>
                    <a:pt x="186002" y="58178"/>
                    <a:pt x="196881" y="63617"/>
                    <a:pt x="205040" y="66337"/>
                  </a:cubicBezTo>
                  <a:cubicBezTo>
                    <a:pt x="237676" y="66337"/>
                    <a:pt x="273031" y="63617"/>
                    <a:pt x="286629" y="63617"/>
                  </a:cubicBezTo>
                  <a:cubicBezTo>
                    <a:pt x="300228" y="63617"/>
                    <a:pt x="324705" y="63617"/>
                    <a:pt x="324705" y="79936"/>
                  </a:cubicBezTo>
                  <a:cubicBezTo>
                    <a:pt x="324705" y="88094"/>
                    <a:pt x="321985" y="90814"/>
                    <a:pt x="319265" y="96253"/>
                  </a:cubicBezTo>
                  <a:cubicBezTo>
                    <a:pt x="313826" y="101693"/>
                    <a:pt x="308387" y="104412"/>
                    <a:pt x="302948" y="104412"/>
                  </a:cubicBezTo>
                  <a:cubicBezTo>
                    <a:pt x="289349" y="112571"/>
                    <a:pt x="283910" y="112571"/>
                    <a:pt x="278471" y="112571"/>
                  </a:cubicBezTo>
                  <a:cubicBezTo>
                    <a:pt x="273031" y="112571"/>
                    <a:pt x="253994" y="112571"/>
                    <a:pt x="232236" y="112571"/>
                  </a:cubicBezTo>
                  <a:cubicBezTo>
                    <a:pt x="237676" y="120730"/>
                    <a:pt x="240395" y="128889"/>
                    <a:pt x="240395" y="137048"/>
                  </a:cubicBezTo>
                  <a:cubicBezTo>
                    <a:pt x="240395" y="142487"/>
                    <a:pt x="240395" y="145207"/>
                    <a:pt x="240395" y="150647"/>
                  </a:cubicBezTo>
                  <a:cubicBezTo>
                    <a:pt x="240395" y="153366"/>
                    <a:pt x="240395" y="156086"/>
                    <a:pt x="243115" y="158805"/>
                  </a:cubicBezTo>
                  <a:cubicBezTo>
                    <a:pt x="245835" y="169684"/>
                    <a:pt x="245835" y="180563"/>
                    <a:pt x="248554" y="188722"/>
                  </a:cubicBezTo>
                  <a:cubicBezTo>
                    <a:pt x="248554" y="191441"/>
                    <a:pt x="248554" y="194161"/>
                    <a:pt x="248554" y="199600"/>
                  </a:cubicBezTo>
                  <a:cubicBezTo>
                    <a:pt x="248554" y="207759"/>
                    <a:pt x="248554" y="213198"/>
                    <a:pt x="248554" y="221357"/>
                  </a:cubicBezTo>
                  <a:cubicBezTo>
                    <a:pt x="248554" y="234956"/>
                    <a:pt x="251274" y="248554"/>
                    <a:pt x="253994" y="264872"/>
                  </a:cubicBezTo>
                  <a:cubicBezTo>
                    <a:pt x="256713" y="275751"/>
                    <a:pt x="259433" y="286629"/>
                    <a:pt x="262153" y="297508"/>
                  </a:cubicBezTo>
                  <a:cubicBezTo>
                    <a:pt x="264872" y="305667"/>
                    <a:pt x="264872" y="313826"/>
                    <a:pt x="264872" y="324704"/>
                  </a:cubicBezTo>
                  <a:cubicBezTo>
                    <a:pt x="264872" y="327424"/>
                    <a:pt x="264872" y="330144"/>
                    <a:pt x="264872" y="332863"/>
                  </a:cubicBezTo>
                  <a:cubicBezTo>
                    <a:pt x="264872" y="338303"/>
                    <a:pt x="264872" y="346462"/>
                    <a:pt x="264872" y="351901"/>
                  </a:cubicBezTo>
                  <a:cubicBezTo>
                    <a:pt x="264872" y="357340"/>
                    <a:pt x="262153" y="365499"/>
                    <a:pt x="262153" y="370939"/>
                  </a:cubicBezTo>
                  <a:cubicBezTo>
                    <a:pt x="262153" y="376378"/>
                    <a:pt x="264872" y="384537"/>
                    <a:pt x="267592" y="384537"/>
                  </a:cubicBezTo>
                  <a:cubicBezTo>
                    <a:pt x="273031" y="384537"/>
                    <a:pt x="275751" y="376378"/>
                    <a:pt x="278471" y="370939"/>
                  </a:cubicBezTo>
                  <a:cubicBezTo>
                    <a:pt x="283910" y="360060"/>
                    <a:pt x="289349" y="346462"/>
                    <a:pt x="297508" y="332863"/>
                  </a:cubicBezTo>
                  <a:cubicBezTo>
                    <a:pt x="302948" y="324704"/>
                    <a:pt x="305667" y="313826"/>
                    <a:pt x="311106" y="305667"/>
                  </a:cubicBezTo>
                  <a:cubicBezTo>
                    <a:pt x="319265" y="289349"/>
                    <a:pt x="327424" y="275751"/>
                    <a:pt x="335583" y="259433"/>
                  </a:cubicBezTo>
                  <a:cubicBezTo>
                    <a:pt x="341023" y="248554"/>
                    <a:pt x="349182" y="234956"/>
                    <a:pt x="354621" y="224077"/>
                  </a:cubicBezTo>
                  <a:cubicBezTo>
                    <a:pt x="362780" y="207759"/>
                    <a:pt x="370939" y="191441"/>
                    <a:pt x="381817" y="172404"/>
                  </a:cubicBezTo>
                  <a:cubicBezTo>
                    <a:pt x="389977" y="153366"/>
                    <a:pt x="400855" y="134329"/>
                    <a:pt x="409014" y="118011"/>
                  </a:cubicBezTo>
                  <a:cubicBezTo>
                    <a:pt x="409014" y="115291"/>
                    <a:pt x="409014" y="115291"/>
                    <a:pt x="411734" y="115291"/>
                  </a:cubicBezTo>
                  <a:cubicBezTo>
                    <a:pt x="406294" y="115291"/>
                    <a:pt x="400855" y="115291"/>
                    <a:pt x="398136" y="115291"/>
                  </a:cubicBezTo>
                  <a:cubicBezTo>
                    <a:pt x="392696" y="115291"/>
                    <a:pt x="384537" y="115291"/>
                    <a:pt x="379098" y="109852"/>
                  </a:cubicBezTo>
                  <a:cubicBezTo>
                    <a:pt x="373659" y="107132"/>
                    <a:pt x="368219" y="98973"/>
                    <a:pt x="368219" y="93534"/>
                  </a:cubicBezTo>
                  <a:cubicBezTo>
                    <a:pt x="368219" y="90814"/>
                    <a:pt x="368219" y="88094"/>
                    <a:pt x="370939" y="85375"/>
                  </a:cubicBezTo>
                  <a:cubicBezTo>
                    <a:pt x="373659" y="82655"/>
                    <a:pt x="381817" y="79936"/>
                    <a:pt x="387257" y="77216"/>
                  </a:cubicBezTo>
                  <a:cubicBezTo>
                    <a:pt x="400855" y="74496"/>
                    <a:pt x="414453" y="71776"/>
                    <a:pt x="422612" y="71776"/>
                  </a:cubicBezTo>
                  <a:cubicBezTo>
                    <a:pt x="425332" y="71776"/>
                    <a:pt x="430771" y="71776"/>
                    <a:pt x="436211" y="71776"/>
                  </a:cubicBezTo>
                  <a:cubicBezTo>
                    <a:pt x="436211" y="71776"/>
                    <a:pt x="438930" y="69057"/>
                    <a:pt x="438930" y="69057"/>
                  </a:cubicBezTo>
                  <a:cubicBezTo>
                    <a:pt x="444370" y="66337"/>
                    <a:pt x="447089" y="66337"/>
                    <a:pt x="452529" y="66337"/>
                  </a:cubicBezTo>
                  <a:cubicBezTo>
                    <a:pt x="457968" y="66337"/>
                    <a:pt x="460688" y="66337"/>
                    <a:pt x="466127" y="69057"/>
                  </a:cubicBezTo>
                  <a:cubicBezTo>
                    <a:pt x="468847" y="69057"/>
                    <a:pt x="471566" y="71776"/>
                    <a:pt x="471566" y="71776"/>
                  </a:cubicBezTo>
                  <a:cubicBezTo>
                    <a:pt x="490604" y="71776"/>
                    <a:pt x="506922" y="71776"/>
                    <a:pt x="515081" y="71776"/>
                  </a:cubicBezTo>
                  <a:cubicBezTo>
                    <a:pt x="523240" y="71776"/>
                    <a:pt x="542277" y="71776"/>
                    <a:pt x="542277" y="88094"/>
                  </a:cubicBezTo>
                  <a:cubicBezTo>
                    <a:pt x="542277" y="96253"/>
                    <a:pt x="542277" y="98973"/>
                    <a:pt x="536838" y="104412"/>
                  </a:cubicBezTo>
                  <a:cubicBezTo>
                    <a:pt x="534119" y="109852"/>
                    <a:pt x="528679" y="112571"/>
                    <a:pt x="525959" y="112571"/>
                  </a:cubicBezTo>
                  <a:cubicBezTo>
                    <a:pt x="520520" y="115291"/>
                    <a:pt x="515081" y="115291"/>
                    <a:pt x="509642" y="115291"/>
                  </a:cubicBezTo>
                  <a:cubicBezTo>
                    <a:pt x="506922" y="115291"/>
                    <a:pt x="487884" y="115291"/>
                    <a:pt x="468847" y="115291"/>
                  </a:cubicBezTo>
                  <a:cubicBezTo>
                    <a:pt x="466127" y="123450"/>
                    <a:pt x="460688" y="128889"/>
                    <a:pt x="457968" y="137048"/>
                  </a:cubicBezTo>
                  <a:cubicBezTo>
                    <a:pt x="447089" y="156086"/>
                    <a:pt x="438930" y="175123"/>
                    <a:pt x="430771" y="194161"/>
                  </a:cubicBezTo>
                  <a:cubicBezTo>
                    <a:pt x="419893" y="215918"/>
                    <a:pt x="411734" y="240395"/>
                    <a:pt x="400855" y="262152"/>
                  </a:cubicBezTo>
                  <a:cubicBezTo>
                    <a:pt x="387257" y="289349"/>
                    <a:pt x="373659" y="311106"/>
                    <a:pt x="360060" y="332863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/>
            </a:p>
          </p:txBody>
        </p:sp>
        <p:sp>
          <p:nvSpPr>
            <p:cNvPr id="39" name="Freeform: Shape 38">
              <a:extLst>
                <a:ext uri="{FF2B5EF4-FFF2-40B4-BE49-F238E27FC236}">
                  <a16:creationId xmlns:a16="http://schemas.microsoft.com/office/drawing/2014/main" id="{AA54ECDD-525B-4F0D-A32C-CAD98CC4E1E2}"/>
                </a:ext>
              </a:extLst>
            </p:cNvPr>
            <p:cNvSpPr/>
            <p:nvPr/>
          </p:nvSpPr>
          <p:spPr>
            <a:xfrm>
              <a:off x="4335316" y="4186718"/>
              <a:ext cx="353556" cy="761503"/>
            </a:xfrm>
            <a:custGeom>
              <a:avLst/>
              <a:gdLst>
                <a:gd name="connsiteX0" fmla="*/ 283910 w 353555"/>
                <a:gd name="connsiteY0" fmla="*/ 672820 h 761503"/>
                <a:gd name="connsiteX1" fmla="*/ 321985 w 353555"/>
                <a:gd name="connsiteY1" fmla="*/ 689138 h 761503"/>
                <a:gd name="connsiteX2" fmla="*/ 316546 w 353555"/>
                <a:gd name="connsiteY2" fmla="*/ 705456 h 761503"/>
                <a:gd name="connsiteX3" fmla="*/ 300228 w 353555"/>
                <a:gd name="connsiteY3" fmla="*/ 713615 h 761503"/>
                <a:gd name="connsiteX4" fmla="*/ 278471 w 353555"/>
                <a:gd name="connsiteY4" fmla="*/ 716335 h 761503"/>
                <a:gd name="connsiteX5" fmla="*/ 237676 w 353555"/>
                <a:gd name="connsiteY5" fmla="*/ 716335 h 761503"/>
                <a:gd name="connsiteX6" fmla="*/ 180563 w 353555"/>
                <a:gd name="connsiteY6" fmla="*/ 719054 h 761503"/>
                <a:gd name="connsiteX7" fmla="*/ 126170 w 353555"/>
                <a:gd name="connsiteY7" fmla="*/ 719054 h 761503"/>
                <a:gd name="connsiteX8" fmla="*/ 101693 w 353555"/>
                <a:gd name="connsiteY8" fmla="*/ 719054 h 761503"/>
                <a:gd name="connsiteX9" fmla="*/ 74496 w 353555"/>
                <a:gd name="connsiteY9" fmla="*/ 713615 h 761503"/>
                <a:gd name="connsiteX10" fmla="*/ 58178 w 353555"/>
                <a:gd name="connsiteY10" fmla="*/ 697297 h 761503"/>
                <a:gd name="connsiteX11" fmla="*/ 63617 w 353555"/>
                <a:gd name="connsiteY11" fmla="*/ 689138 h 761503"/>
                <a:gd name="connsiteX12" fmla="*/ 85375 w 353555"/>
                <a:gd name="connsiteY12" fmla="*/ 680979 h 761503"/>
                <a:gd name="connsiteX13" fmla="*/ 131609 w 353555"/>
                <a:gd name="connsiteY13" fmla="*/ 675540 h 761503"/>
                <a:gd name="connsiteX14" fmla="*/ 142488 w 353555"/>
                <a:gd name="connsiteY14" fmla="*/ 675540 h 761503"/>
                <a:gd name="connsiteX15" fmla="*/ 131609 w 353555"/>
                <a:gd name="connsiteY15" fmla="*/ 653783 h 761503"/>
                <a:gd name="connsiteX16" fmla="*/ 128889 w 353555"/>
                <a:gd name="connsiteY16" fmla="*/ 640184 h 761503"/>
                <a:gd name="connsiteX17" fmla="*/ 128889 w 353555"/>
                <a:gd name="connsiteY17" fmla="*/ 629306 h 761503"/>
                <a:gd name="connsiteX18" fmla="*/ 128889 w 353555"/>
                <a:gd name="connsiteY18" fmla="*/ 621147 h 761503"/>
                <a:gd name="connsiteX19" fmla="*/ 128889 w 353555"/>
                <a:gd name="connsiteY19" fmla="*/ 593950 h 761503"/>
                <a:gd name="connsiteX20" fmla="*/ 128889 w 353555"/>
                <a:gd name="connsiteY20" fmla="*/ 583072 h 761503"/>
                <a:gd name="connsiteX21" fmla="*/ 128889 w 353555"/>
                <a:gd name="connsiteY21" fmla="*/ 436210 h 761503"/>
                <a:gd name="connsiteX22" fmla="*/ 128889 w 353555"/>
                <a:gd name="connsiteY22" fmla="*/ 357340 h 761503"/>
                <a:gd name="connsiteX23" fmla="*/ 131609 w 353555"/>
                <a:gd name="connsiteY23" fmla="*/ 289349 h 761503"/>
                <a:gd name="connsiteX24" fmla="*/ 131609 w 353555"/>
                <a:gd name="connsiteY24" fmla="*/ 251274 h 761503"/>
                <a:gd name="connsiteX25" fmla="*/ 131609 w 353555"/>
                <a:gd name="connsiteY25" fmla="*/ 205040 h 761503"/>
                <a:gd name="connsiteX26" fmla="*/ 131609 w 353555"/>
                <a:gd name="connsiteY26" fmla="*/ 139768 h 761503"/>
                <a:gd name="connsiteX27" fmla="*/ 131609 w 353555"/>
                <a:gd name="connsiteY27" fmla="*/ 128889 h 761503"/>
                <a:gd name="connsiteX28" fmla="*/ 126170 w 353555"/>
                <a:gd name="connsiteY28" fmla="*/ 128889 h 761503"/>
                <a:gd name="connsiteX29" fmla="*/ 101693 w 353555"/>
                <a:gd name="connsiteY29" fmla="*/ 128889 h 761503"/>
                <a:gd name="connsiteX30" fmla="*/ 74496 w 353555"/>
                <a:gd name="connsiteY30" fmla="*/ 123450 h 761503"/>
                <a:gd name="connsiteX31" fmla="*/ 58178 w 353555"/>
                <a:gd name="connsiteY31" fmla="*/ 107132 h 761503"/>
                <a:gd name="connsiteX32" fmla="*/ 60898 w 353555"/>
                <a:gd name="connsiteY32" fmla="*/ 98973 h 761503"/>
                <a:gd name="connsiteX33" fmla="*/ 82655 w 353555"/>
                <a:gd name="connsiteY33" fmla="*/ 93534 h 761503"/>
                <a:gd name="connsiteX34" fmla="*/ 131609 w 353555"/>
                <a:gd name="connsiteY34" fmla="*/ 88094 h 761503"/>
                <a:gd name="connsiteX35" fmla="*/ 131609 w 353555"/>
                <a:gd name="connsiteY35" fmla="*/ 82655 h 761503"/>
                <a:gd name="connsiteX36" fmla="*/ 134329 w 353555"/>
                <a:gd name="connsiteY36" fmla="*/ 71776 h 761503"/>
                <a:gd name="connsiteX37" fmla="*/ 147927 w 353555"/>
                <a:gd name="connsiteY37" fmla="*/ 63617 h 761503"/>
                <a:gd name="connsiteX38" fmla="*/ 164245 w 353555"/>
                <a:gd name="connsiteY38" fmla="*/ 58178 h 761503"/>
                <a:gd name="connsiteX39" fmla="*/ 177843 w 353555"/>
                <a:gd name="connsiteY39" fmla="*/ 58178 h 761503"/>
                <a:gd name="connsiteX40" fmla="*/ 196881 w 353555"/>
                <a:gd name="connsiteY40" fmla="*/ 60898 h 761503"/>
                <a:gd name="connsiteX41" fmla="*/ 232236 w 353555"/>
                <a:gd name="connsiteY41" fmla="*/ 88094 h 761503"/>
                <a:gd name="connsiteX42" fmla="*/ 278471 w 353555"/>
                <a:gd name="connsiteY42" fmla="*/ 88094 h 761503"/>
                <a:gd name="connsiteX43" fmla="*/ 316546 w 353555"/>
                <a:gd name="connsiteY43" fmla="*/ 104412 h 761503"/>
                <a:gd name="connsiteX44" fmla="*/ 311106 w 353555"/>
                <a:gd name="connsiteY44" fmla="*/ 120730 h 761503"/>
                <a:gd name="connsiteX45" fmla="*/ 294788 w 353555"/>
                <a:gd name="connsiteY45" fmla="*/ 128889 h 761503"/>
                <a:gd name="connsiteX46" fmla="*/ 273031 w 353555"/>
                <a:gd name="connsiteY46" fmla="*/ 131609 h 761503"/>
                <a:gd name="connsiteX47" fmla="*/ 243115 w 353555"/>
                <a:gd name="connsiteY47" fmla="*/ 131609 h 761503"/>
                <a:gd name="connsiteX48" fmla="*/ 243115 w 353555"/>
                <a:gd name="connsiteY48" fmla="*/ 134329 h 761503"/>
                <a:gd name="connsiteX49" fmla="*/ 248554 w 353555"/>
                <a:gd name="connsiteY49" fmla="*/ 169684 h 761503"/>
                <a:gd name="connsiteX50" fmla="*/ 251274 w 353555"/>
                <a:gd name="connsiteY50" fmla="*/ 205040 h 761503"/>
                <a:gd name="connsiteX51" fmla="*/ 251274 w 353555"/>
                <a:gd name="connsiteY51" fmla="*/ 240395 h 761503"/>
                <a:gd name="connsiteX52" fmla="*/ 251274 w 353555"/>
                <a:gd name="connsiteY52" fmla="*/ 256713 h 761503"/>
                <a:gd name="connsiteX53" fmla="*/ 253994 w 353555"/>
                <a:gd name="connsiteY53" fmla="*/ 270311 h 761503"/>
                <a:gd name="connsiteX54" fmla="*/ 259433 w 353555"/>
                <a:gd name="connsiteY54" fmla="*/ 343742 h 761503"/>
                <a:gd name="connsiteX55" fmla="*/ 262153 w 353555"/>
                <a:gd name="connsiteY55" fmla="*/ 425332 h 761503"/>
                <a:gd name="connsiteX56" fmla="*/ 264872 w 353555"/>
                <a:gd name="connsiteY56" fmla="*/ 490603 h 761503"/>
                <a:gd name="connsiteX57" fmla="*/ 270312 w 353555"/>
                <a:gd name="connsiteY57" fmla="*/ 564034 h 761503"/>
                <a:gd name="connsiteX58" fmla="*/ 270312 w 353555"/>
                <a:gd name="connsiteY58" fmla="*/ 599390 h 761503"/>
                <a:gd name="connsiteX59" fmla="*/ 270312 w 353555"/>
                <a:gd name="connsiteY59" fmla="*/ 637465 h 761503"/>
                <a:gd name="connsiteX60" fmla="*/ 264872 w 353555"/>
                <a:gd name="connsiteY60" fmla="*/ 670101 h 761503"/>
                <a:gd name="connsiteX61" fmla="*/ 283910 w 353555"/>
                <a:gd name="connsiteY61" fmla="*/ 672820 h 761503"/>
                <a:gd name="connsiteX62" fmla="*/ 283910 w 353555"/>
                <a:gd name="connsiteY62" fmla="*/ 672820 h 761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</a:cxnLst>
              <a:rect l="l" t="t" r="r" b="b"/>
              <a:pathLst>
                <a:path w="353555" h="761503">
                  <a:moveTo>
                    <a:pt x="283910" y="672820"/>
                  </a:moveTo>
                  <a:cubicBezTo>
                    <a:pt x="297508" y="672820"/>
                    <a:pt x="321985" y="672820"/>
                    <a:pt x="321985" y="689138"/>
                  </a:cubicBezTo>
                  <a:cubicBezTo>
                    <a:pt x="321985" y="697297"/>
                    <a:pt x="319265" y="697297"/>
                    <a:pt x="316546" y="705456"/>
                  </a:cubicBezTo>
                  <a:cubicBezTo>
                    <a:pt x="311106" y="710895"/>
                    <a:pt x="305667" y="713615"/>
                    <a:pt x="300228" y="713615"/>
                  </a:cubicBezTo>
                  <a:cubicBezTo>
                    <a:pt x="292069" y="716335"/>
                    <a:pt x="283910" y="716335"/>
                    <a:pt x="278471" y="716335"/>
                  </a:cubicBezTo>
                  <a:cubicBezTo>
                    <a:pt x="275751" y="716335"/>
                    <a:pt x="256713" y="716335"/>
                    <a:pt x="237676" y="716335"/>
                  </a:cubicBezTo>
                  <a:cubicBezTo>
                    <a:pt x="213199" y="716335"/>
                    <a:pt x="186002" y="719054"/>
                    <a:pt x="180563" y="719054"/>
                  </a:cubicBezTo>
                  <a:cubicBezTo>
                    <a:pt x="166965" y="719054"/>
                    <a:pt x="142488" y="719054"/>
                    <a:pt x="126170" y="719054"/>
                  </a:cubicBezTo>
                  <a:cubicBezTo>
                    <a:pt x="118011" y="719054"/>
                    <a:pt x="109852" y="719054"/>
                    <a:pt x="101693" y="719054"/>
                  </a:cubicBezTo>
                  <a:cubicBezTo>
                    <a:pt x="93534" y="719054"/>
                    <a:pt x="82655" y="719054"/>
                    <a:pt x="74496" y="713615"/>
                  </a:cubicBezTo>
                  <a:cubicBezTo>
                    <a:pt x="66337" y="710895"/>
                    <a:pt x="58178" y="702736"/>
                    <a:pt x="58178" y="697297"/>
                  </a:cubicBezTo>
                  <a:cubicBezTo>
                    <a:pt x="58178" y="694578"/>
                    <a:pt x="58178" y="691858"/>
                    <a:pt x="63617" y="689138"/>
                  </a:cubicBezTo>
                  <a:cubicBezTo>
                    <a:pt x="69057" y="686418"/>
                    <a:pt x="79935" y="683699"/>
                    <a:pt x="85375" y="680979"/>
                  </a:cubicBezTo>
                  <a:cubicBezTo>
                    <a:pt x="104412" y="678260"/>
                    <a:pt x="123450" y="675540"/>
                    <a:pt x="131609" y="675540"/>
                  </a:cubicBezTo>
                  <a:cubicBezTo>
                    <a:pt x="134329" y="675540"/>
                    <a:pt x="137048" y="675540"/>
                    <a:pt x="142488" y="675540"/>
                  </a:cubicBezTo>
                  <a:cubicBezTo>
                    <a:pt x="134329" y="670101"/>
                    <a:pt x="131609" y="661942"/>
                    <a:pt x="131609" y="653783"/>
                  </a:cubicBezTo>
                  <a:cubicBezTo>
                    <a:pt x="131609" y="648343"/>
                    <a:pt x="131609" y="642904"/>
                    <a:pt x="128889" y="640184"/>
                  </a:cubicBezTo>
                  <a:cubicBezTo>
                    <a:pt x="128889" y="637465"/>
                    <a:pt x="128889" y="634745"/>
                    <a:pt x="128889" y="629306"/>
                  </a:cubicBezTo>
                  <a:cubicBezTo>
                    <a:pt x="128889" y="626586"/>
                    <a:pt x="128889" y="623867"/>
                    <a:pt x="128889" y="621147"/>
                  </a:cubicBezTo>
                  <a:cubicBezTo>
                    <a:pt x="128889" y="612988"/>
                    <a:pt x="128889" y="604829"/>
                    <a:pt x="128889" y="593950"/>
                  </a:cubicBezTo>
                  <a:cubicBezTo>
                    <a:pt x="128889" y="591231"/>
                    <a:pt x="128889" y="585791"/>
                    <a:pt x="128889" y="583072"/>
                  </a:cubicBezTo>
                  <a:cubicBezTo>
                    <a:pt x="128889" y="534118"/>
                    <a:pt x="131609" y="485164"/>
                    <a:pt x="128889" y="436210"/>
                  </a:cubicBezTo>
                  <a:cubicBezTo>
                    <a:pt x="128889" y="409014"/>
                    <a:pt x="128889" y="384537"/>
                    <a:pt x="128889" y="357340"/>
                  </a:cubicBezTo>
                  <a:cubicBezTo>
                    <a:pt x="128889" y="335583"/>
                    <a:pt x="131609" y="313826"/>
                    <a:pt x="131609" y="289349"/>
                  </a:cubicBezTo>
                  <a:cubicBezTo>
                    <a:pt x="131609" y="275751"/>
                    <a:pt x="131609" y="264872"/>
                    <a:pt x="131609" y="251274"/>
                  </a:cubicBezTo>
                  <a:cubicBezTo>
                    <a:pt x="131609" y="234956"/>
                    <a:pt x="131609" y="221357"/>
                    <a:pt x="131609" y="205040"/>
                  </a:cubicBezTo>
                  <a:cubicBezTo>
                    <a:pt x="131609" y="183282"/>
                    <a:pt x="131609" y="161525"/>
                    <a:pt x="131609" y="139768"/>
                  </a:cubicBezTo>
                  <a:cubicBezTo>
                    <a:pt x="131609" y="137048"/>
                    <a:pt x="131609" y="134329"/>
                    <a:pt x="131609" y="128889"/>
                  </a:cubicBezTo>
                  <a:cubicBezTo>
                    <a:pt x="128889" y="128889"/>
                    <a:pt x="126170" y="128889"/>
                    <a:pt x="126170" y="128889"/>
                  </a:cubicBezTo>
                  <a:cubicBezTo>
                    <a:pt x="118011" y="128889"/>
                    <a:pt x="109852" y="128889"/>
                    <a:pt x="101693" y="128889"/>
                  </a:cubicBezTo>
                  <a:cubicBezTo>
                    <a:pt x="93534" y="128889"/>
                    <a:pt x="82655" y="128889"/>
                    <a:pt x="74496" y="123450"/>
                  </a:cubicBezTo>
                  <a:cubicBezTo>
                    <a:pt x="66337" y="120730"/>
                    <a:pt x="58178" y="112571"/>
                    <a:pt x="58178" y="107132"/>
                  </a:cubicBezTo>
                  <a:cubicBezTo>
                    <a:pt x="58178" y="104412"/>
                    <a:pt x="58178" y="101693"/>
                    <a:pt x="60898" y="98973"/>
                  </a:cubicBezTo>
                  <a:cubicBezTo>
                    <a:pt x="63617" y="96253"/>
                    <a:pt x="77216" y="93534"/>
                    <a:pt x="82655" y="93534"/>
                  </a:cubicBezTo>
                  <a:cubicBezTo>
                    <a:pt x="98973" y="90814"/>
                    <a:pt x="123450" y="88094"/>
                    <a:pt x="131609" y="88094"/>
                  </a:cubicBezTo>
                  <a:cubicBezTo>
                    <a:pt x="131609" y="85375"/>
                    <a:pt x="131609" y="85375"/>
                    <a:pt x="131609" y="82655"/>
                  </a:cubicBezTo>
                  <a:cubicBezTo>
                    <a:pt x="131609" y="77216"/>
                    <a:pt x="131609" y="74496"/>
                    <a:pt x="134329" y="71776"/>
                  </a:cubicBezTo>
                  <a:cubicBezTo>
                    <a:pt x="137048" y="69057"/>
                    <a:pt x="145207" y="66337"/>
                    <a:pt x="147927" y="63617"/>
                  </a:cubicBezTo>
                  <a:cubicBezTo>
                    <a:pt x="153366" y="60898"/>
                    <a:pt x="158806" y="58178"/>
                    <a:pt x="164245" y="58178"/>
                  </a:cubicBezTo>
                  <a:cubicBezTo>
                    <a:pt x="169684" y="58178"/>
                    <a:pt x="175123" y="58178"/>
                    <a:pt x="177843" y="58178"/>
                  </a:cubicBezTo>
                  <a:cubicBezTo>
                    <a:pt x="183283" y="58178"/>
                    <a:pt x="191442" y="58178"/>
                    <a:pt x="196881" y="60898"/>
                  </a:cubicBezTo>
                  <a:cubicBezTo>
                    <a:pt x="213199" y="63617"/>
                    <a:pt x="224077" y="74496"/>
                    <a:pt x="232236" y="88094"/>
                  </a:cubicBezTo>
                  <a:cubicBezTo>
                    <a:pt x="253994" y="88094"/>
                    <a:pt x="270312" y="88094"/>
                    <a:pt x="278471" y="88094"/>
                  </a:cubicBezTo>
                  <a:cubicBezTo>
                    <a:pt x="292069" y="88094"/>
                    <a:pt x="316546" y="88094"/>
                    <a:pt x="316546" y="104412"/>
                  </a:cubicBezTo>
                  <a:cubicBezTo>
                    <a:pt x="316546" y="112571"/>
                    <a:pt x="313826" y="112571"/>
                    <a:pt x="311106" y="120730"/>
                  </a:cubicBezTo>
                  <a:cubicBezTo>
                    <a:pt x="305667" y="126170"/>
                    <a:pt x="300228" y="128889"/>
                    <a:pt x="294788" y="128889"/>
                  </a:cubicBezTo>
                  <a:cubicBezTo>
                    <a:pt x="286630" y="131609"/>
                    <a:pt x="278471" y="131609"/>
                    <a:pt x="273031" y="131609"/>
                  </a:cubicBezTo>
                  <a:cubicBezTo>
                    <a:pt x="270312" y="131609"/>
                    <a:pt x="259433" y="131609"/>
                    <a:pt x="243115" y="131609"/>
                  </a:cubicBezTo>
                  <a:lnTo>
                    <a:pt x="243115" y="134329"/>
                  </a:lnTo>
                  <a:cubicBezTo>
                    <a:pt x="245835" y="145207"/>
                    <a:pt x="245835" y="158805"/>
                    <a:pt x="248554" y="169684"/>
                  </a:cubicBezTo>
                  <a:cubicBezTo>
                    <a:pt x="251274" y="180563"/>
                    <a:pt x="251274" y="194161"/>
                    <a:pt x="251274" y="205040"/>
                  </a:cubicBezTo>
                  <a:cubicBezTo>
                    <a:pt x="251274" y="215918"/>
                    <a:pt x="251274" y="226797"/>
                    <a:pt x="251274" y="240395"/>
                  </a:cubicBezTo>
                  <a:cubicBezTo>
                    <a:pt x="251274" y="245834"/>
                    <a:pt x="251274" y="251274"/>
                    <a:pt x="251274" y="256713"/>
                  </a:cubicBezTo>
                  <a:cubicBezTo>
                    <a:pt x="251274" y="262152"/>
                    <a:pt x="251274" y="267592"/>
                    <a:pt x="253994" y="270311"/>
                  </a:cubicBezTo>
                  <a:cubicBezTo>
                    <a:pt x="256713" y="294788"/>
                    <a:pt x="256713" y="319265"/>
                    <a:pt x="259433" y="343742"/>
                  </a:cubicBezTo>
                  <a:cubicBezTo>
                    <a:pt x="259433" y="370939"/>
                    <a:pt x="262153" y="398135"/>
                    <a:pt x="262153" y="425332"/>
                  </a:cubicBezTo>
                  <a:cubicBezTo>
                    <a:pt x="262153" y="447089"/>
                    <a:pt x="262153" y="468846"/>
                    <a:pt x="264872" y="490603"/>
                  </a:cubicBezTo>
                  <a:cubicBezTo>
                    <a:pt x="264872" y="515080"/>
                    <a:pt x="270312" y="539557"/>
                    <a:pt x="270312" y="564034"/>
                  </a:cubicBezTo>
                  <a:cubicBezTo>
                    <a:pt x="270312" y="574913"/>
                    <a:pt x="270312" y="588511"/>
                    <a:pt x="270312" y="599390"/>
                  </a:cubicBezTo>
                  <a:cubicBezTo>
                    <a:pt x="270312" y="612988"/>
                    <a:pt x="270312" y="623867"/>
                    <a:pt x="270312" y="637465"/>
                  </a:cubicBezTo>
                  <a:cubicBezTo>
                    <a:pt x="270312" y="648343"/>
                    <a:pt x="270312" y="661942"/>
                    <a:pt x="264872" y="670101"/>
                  </a:cubicBezTo>
                  <a:cubicBezTo>
                    <a:pt x="273031" y="672820"/>
                    <a:pt x="278471" y="672820"/>
                    <a:pt x="283910" y="672820"/>
                  </a:cubicBezTo>
                  <a:lnTo>
                    <a:pt x="283910" y="672820"/>
                  </a:ln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/>
            </a:p>
          </p:txBody>
        </p:sp>
        <p:sp>
          <p:nvSpPr>
            <p:cNvPr id="40" name="Freeform: Shape 39">
              <a:extLst>
                <a:ext uri="{FF2B5EF4-FFF2-40B4-BE49-F238E27FC236}">
                  <a16:creationId xmlns:a16="http://schemas.microsoft.com/office/drawing/2014/main" id="{099AA5A5-B810-47BF-9870-E078E580E225}"/>
                </a:ext>
              </a:extLst>
            </p:cNvPr>
            <p:cNvSpPr/>
            <p:nvPr/>
          </p:nvSpPr>
          <p:spPr>
            <a:xfrm>
              <a:off x="4620880" y="4194877"/>
              <a:ext cx="598325" cy="761503"/>
            </a:xfrm>
            <a:custGeom>
              <a:avLst/>
              <a:gdLst>
                <a:gd name="connsiteX0" fmla="*/ 515081 w 598324"/>
                <a:gd name="connsiteY0" fmla="*/ 79935 h 761503"/>
                <a:gd name="connsiteX1" fmla="*/ 542277 w 598324"/>
                <a:gd name="connsiteY1" fmla="*/ 96253 h 761503"/>
                <a:gd name="connsiteX2" fmla="*/ 536838 w 598324"/>
                <a:gd name="connsiteY2" fmla="*/ 112571 h 761503"/>
                <a:gd name="connsiteX3" fmla="*/ 523240 w 598324"/>
                <a:gd name="connsiteY3" fmla="*/ 120730 h 761503"/>
                <a:gd name="connsiteX4" fmla="*/ 506922 w 598324"/>
                <a:gd name="connsiteY4" fmla="*/ 123450 h 761503"/>
                <a:gd name="connsiteX5" fmla="*/ 477006 w 598324"/>
                <a:gd name="connsiteY5" fmla="*/ 123450 h 761503"/>
                <a:gd name="connsiteX6" fmla="*/ 479725 w 598324"/>
                <a:gd name="connsiteY6" fmla="*/ 145207 h 761503"/>
                <a:gd name="connsiteX7" fmla="*/ 477006 w 598324"/>
                <a:gd name="connsiteY7" fmla="*/ 180563 h 761503"/>
                <a:gd name="connsiteX8" fmla="*/ 482445 w 598324"/>
                <a:gd name="connsiteY8" fmla="*/ 232236 h 761503"/>
                <a:gd name="connsiteX9" fmla="*/ 485165 w 598324"/>
                <a:gd name="connsiteY9" fmla="*/ 283909 h 761503"/>
                <a:gd name="connsiteX10" fmla="*/ 485165 w 598324"/>
                <a:gd name="connsiteY10" fmla="*/ 327424 h 761503"/>
                <a:gd name="connsiteX11" fmla="*/ 487884 w 598324"/>
                <a:gd name="connsiteY11" fmla="*/ 373658 h 761503"/>
                <a:gd name="connsiteX12" fmla="*/ 485165 w 598324"/>
                <a:gd name="connsiteY12" fmla="*/ 419892 h 761503"/>
                <a:gd name="connsiteX13" fmla="*/ 485165 w 598324"/>
                <a:gd name="connsiteY13" fmla="*/ 463407 h 761503"/>
                <a:gd name="connsiteX14" fmla="*/ 482445 w 598324"/>
                <a:gd name="connsiteY14" fmla="*/ 515080 h 761503"/>
                <a:gd name="connsiteX15" fmla="*/ 482445 w 598324"/>
                <a:gd name="connsiteY15" fmla="*/ 558595 h 761503"/>
                <a:gd name="connsiteX16" fmla="*/ 479725 w 598324"/>
                <a:gd name="connsiteY16" fmla="*/ 602109 h 761503"/>
                <a:gd name="connsiteX17" fmla="*/ 485165 w 598324"/>
                <a:gd name="connsiteY17" fmla="*/ 648343 h 761503"/>
                <a:gd name="connsiteX18" fmla="*/ 474286 w 598324"/>
                <a:gd name="connsiteY18" fmla="*/ 675540 h 761503"/>
                <a:gd name="connsiteX19" fmla="*/ 428052 w 598324"/>
                <a:gd name="connsiteY19" fmla="*/ 691858 h 761503"/>
                <a:gd name="connsiteX20" fmla="*/ 387257 w 598324"/>
                <a:gd name="connsiteY20" fmla="*/ 683699 h 761503"/>
                <a:gd name="connsiteX21" fmla="*/ 351901 w 598324"/>
                <a:gd name="connsiteY21" fmla="*/ 664661 h 761503"/>
                <a:gd name="connsiteX22" fmla="*/ 305667 w 598324"/>
                <a:gd name="connsiteY22" fmla="*/ 596670 h 761503"/>
                <a:gd name="connsiteX23" fmla="*/ 270312 w 598324"/>
                <a:gd name="connsiteY23" fmla="*/ 509641 h 761503"/>
                <a:gd name="connsiteX24" fmla="*/ 251274 w 598324"/>
                <a:gd name="connsiteY24" fmla="*/ 460687 h 761503"/>
                <a:gd name="connsiteX25" fmla="*/ 224077 w 598324"/>
                <a:gd name="connsiteY25" fmla="*/ 381817 h 761503"/>
                <a:gd name="connsiteX26" fmla="*/ 207759 w 598324"/>
                <a:gd name="connsiteY26" fmla="*/ 330144 h 761503"/>
                <a:gd name="connsiteX27" fmla="*/ 191442 w 598324"/>
                <a:gd name="connsiteY27" fmla="*/ 286629 h 761503"/>
                <a:gd name="connsiteX28" fmla="*/ 183283 w 598324"/>
                <a:gd name="connsiteY28" fmla="*/ 278470 h 761503"/>
                <a:gd name="connsiteX29" fmla="*/ 180563 w 598324"/>
                <a:gd name="connsiteY29" fmla="*/ 292068 h 761503"/>
                <a:gd name="connsiteX30" fmla="*/ 180563 w 598324"/>
                <a:gd name="connsiteY30" fmla="*/ 305667 h 761503"/>
                <a:gd name="connsiteX31" fmla="*/ 183283 w 598324"/>
                <a:gd name="connsiteY31" fmla="*/ 354620 h 761503"/>
                <a:gd name="connsiteX32" fmla="*/ 188722 w 598324"/>
                <a:gd name="connsiteY32" fmla="*/ 449808 h 761503"/>
                <a:gd name="connsiteX33" fmla="*/ 188722 w 598324"/>
                <a:gd name="connsiteY33" fmla="*/ 479725 h 761503"/>
                <a:gd name="connsiteX34" fmla="*/ 188722 w 598324"/>
                <a:gd name="connsiteY34" fmla="*/ 542277 h 761503"/>
                <a:gd name="connsiteX35" fmla="*/ 186002 w 598324"/>
                <a:gd name="connsiteY35" fmla="*/ 615708 h 761503"/>
                <a:gd name="connsiteX36" fmla="*/ 186002 w 598324"/>
                <a:gd name="connsiteY36" fmla="*/ 637465 h 761503"/>
                <a:gd name="connsiteX37" fmla="*/ 183283 w 598324"/>
                <a:gd name="connsiteY37" fmla="*/ 664661 h 761503"/>
                <a:gd name="connsiteX38" fmla="*/ 226797 w 598324"/>
                <a:gd name="connsiteY38" fmla="*/ 664661 h 761503"/>
                <a:gd name="connsiteX39" fmla="*/ 253994 w 598324"/>
                <a:gd name="connsiteY39" fmla="*/ 680979 h 761503"/>
                <a:gd name="connsiteX40" fmla="*/ 248554 w 598324"/>
                <a:gd name="connsiteY40" fmla="*/ 697297 h 761503"/>
                <a:gd name="connsiteX41" fmla="*/ 234956 w 598324"/>
                <a:gd name="connsiteY41" fmla="*/ 705456 h 761503"/>
                <a:gd name="connsiteX42" fmla="*/ 218638 w 598324"/>
                <a:gd name="connsiteY42" fmla="*/ 708176 h 761503"/>
                <a:gd name="connsiteX43" fmla="*/ 183283 w 598324"/>
                <a:gd name="connsiteY43" fmla="*/ 708176 h 761503"/>
                <a:gd name="connsiteX44" fmla="*/ 150647 w 598324"/>
                <a:gd name="connsiteY44" fmla="*/ 708176 h 761503"/>
                <a:gd name="connsiteX45" fmla="*/ 107132 w 598324"/>
                <a:gd name="connsiteY45" fmla="*/ 708176 h 761503"/>
                <a:gd name="connsiteX46" fmla="*/ 88094 w 598324"/>
                <a:gd name="connsiteY46" fmla="*/ 708176 h 761503"/>
                <a:gd name="connsiteX47" fmla="*/ 69057 w 598324"/>
                <a:gd name="connsiteY47" fmla="*/ 702736 h 761503"/>
                <a:gd name="connsiteX48" fmla="*/ 58178 w 598324"/>
                <a:gd name="connsiteY48" fmla="*/ 686418 h 761503"/>
                <a:gd name="connsiteX49" fmla="*/ 60898 w 598324"/>
                <a:gd name="connsiteY49" fmla="*/ 678259 h 761503"/>
                <a:gd name="connsiteX50" fmla="*/ 77216 w 598324"/>
                <a:gd name="connsiteY50" fmla="*/ 670101 h 761503"/>
                <a:gd name="connsiteX51" fmla="*/ 120730 w 598324"/>
                <a:gd name="connsiteY51" fmla="*/ 664661 h 761503"/>
                <a:gd name="connsiteX52" fmla="*/ 131609 w 598324"/>
                <a:gd name="connsiteY52" fmla="*/ 664661 h 761503"/>
                <a:gd name="connsiteX53" fmla="*/ 134329 w 598324"/>
                <a:gd name="connsiteY53" fmla="*/ 539557 h 761503"/>
                <a:gd name="connsiteX54" fmla="*/ 134329 w 598324"/>
                <a:gd name="connsiteY54" fmla="*/ 504201 h 761503"/>
                <a:gd name="connsiteX55" fmla="*/ 131609 w 598324"/>
                <a:gd name="connsiteY55" fmla="*/ 376378 h 761503"/>
                <a:gd name="connsiteX56" fmla="*/ 131609 w 598324"/>
                <a:gd name="connsiteY56" fmla="*/ 302947 h 761503"/>
                <a:gd name="connsiteX57" fmla="*/ 134329 w 598324"/>
                <a:gd name="connsiteY57" fmla="*/ 221357 h 761503"/>
                <a:gd name="connsiteX58" fmla="*/ 137048 w 598324"/>
                <a:gd name="connsiteY58" fmla="*/ 123450 h 761503"/>
                <a:gd name="connsiteX59" fmla="*/ 107132 w 598324"/>
                <a:gd name="connsiteY59" fmla="*/ 123450 h 761503"/>
                <a:gd name="connsiteX60" fmla="*/ 88094 w 598324"/>
                <a:gd name="connsiteY60" fmla="*/ 123450 h 761503"/>
                <a:gd name="connsiteX61" fmla="*/ 69057 w 598324"/>
                <a:gd name="connsiteY61" fmla="*/ 118011 h 761503"/>
                <a:gd name="connsiteX62" fmla="*/ 58178 w 598324"/>
                <a:gd name="connsiteY62" fmla="*/ 101693 h 761503"/>
                <a:gd name="connsiteX63" fmla="*/ 60898 w 598324"/>
                <a:gd name="connsiteY63" fmla="*/ 93534 h 761503"/>
                <a:gd name="connsiteX64" fmla="*/ 77216 w 598324"/>
                <a:gd name="connsiteY64" fmla="*/ 85375 h 761503"/>
                <a:gd name="connsiteX65" fmla="*/ 131609 w 598324"/>
                <a:gd name="connsiteY65" fmla="*/ 79935 h 761503"/>
                <a:gd name="connsiteX66" fmla="*/ 161525 w 598324"/>
                <a:gd name="connsiteY66" fmla="*/ 79935 h 761503"/>
                <a:gd name="connsiteX67" fmla="*/ 177843 w 598324"/>
                <a:gd name="connsiteY67" fmla="*/ 66337 h 761503"/>
                <a:gd name="connsiteX68" fmla="*/ 202320 w 598324"/>
                <a:gd name="connsiteY68" fmla="*/ 58178 h 761503"/>
                <a:gd name="connsiteX69" fmla="*/ 234956 w 598324"/>
                <a:gd name="connsiteY69" fmla="*/ 77216 h 761503"/>
                <a:gd name="connsiteX70" fmla="*/ 251274 w 598324"/>
                <a:gd name="connsiteY70" fmla="*/ 107132 h 761503"/>
                <a:gd name="connsiteX71" fmla="*/ 267592 w 598324"/>
                <a:gd name="connsiteY71" fmla="*/ 147927 h 761503"/>
                <a:gd name="connsiteX72" fmla="*/ 281190 w 598324"/>
                <a:gd name="connsiteY72" fmla="*/ 183282 h 761503"/>
                <a:gd name="connsiteX73" fmla="*/ 297508 w 598324"/>
                <a:gd name="connsiteY73" fmla="*/ 224077 h 761503"/>
                <a:gd name="connsiteX74" fmla="*/ 308387 w 598324"/>
                <a:gd name="connsiteY74" fmla="*/ 264872 h 761503"/>
                <a:gd name="connsiteX75" fmla="*/ 319265 w 598324"/>
                <a:gd name="connsiteY75" fmla="*/ 300227 h 761503"/>
                <a:gd name="connsiteX76" fmla="*/ 351901 w 598324"/>
                <a:gd name="connsiteY76" fmla="*/ 379097 h 761503"/>
                <a:gd name="connsiteX77" fmla="*/ 365500 w 598324"/>
                <a:gd name="connsiteY77" fmla="*/ 417173 h 761503"/>
                <a:gd name="connsiteX78" fmla="*/ 379098 w 598324"/>
                <a:gd name="connsiteY78" fmla="*/ 457967 h 761503"/>
                <a:gd name="connsiteX79" fmla="*/ 395416 w 598324"/>
                <a:gd name="connsiteY79" fmla="*/ 496043 h 761503"/>
                <a:gd name="connsiteX80" fmla="*/ 406294 w 598324"/>
                <a:gd name="connsiteY80" fmla="*/ 512361 h 761503"/>
                <a:gd name="connsiteX81" fmla="*/ 411734 w 598324"/>
                <a:gd name="connsiteY81" fmla="*/ 531398 h 761503"/>
                <a:gd name="connsiteX82" fmla="*/ 419893 w 598324"/>
                <a:gd name="connsiteY82" fmla="*/ 558595 h 761503"/>
                <a:gd name="connsiteX83" fmla="*/ 425332 w 598324"/>
                <a:gd name="connsiteY83" fmla="*/ 564034 h 761503"/>
                <a:gd name="connsiteX84" fmla="*/ 430771 w 598324"/>
                <a:gd name="connsiteY84" fmla="*/ 558595 h 761503"/>
                <a:gd name="connsiteX85" fmla="*/ 430771 w 598324"/>
                <a:gd name="connsiteY85" fmla="*/ 550436 h 761503"/>
                <a:gd name="connsiteX86" fmla="*/ 430771 w 598324"/>
                <a:gd name="connsiteY86" fmla="*/ 501482 h 761503"/>
                <a:gd name="connsiteX87" fmla="*/ 430771 w 598324"/>
                <a:gd name="connsiteY87" fmla="*/ 403574 h 761503"/>
                <a:gd name="connsiteX88" fmla="*/ 425332 w 598324"/>
                <a:gd name="connsiteY88" fmla="*/ 313826 h 761503"/>
                <a:gd name="connsiteX89" fmla="*/ 425332 w 598324"/>
                <a:gd name="connsiteY89" fmla="*/ 248554 h 761503"/>
                <a:gd name="connsiteX90" fmla="*/ 425332 w 598324"/>
                <a:gd name="connsiteY90" fmla="*/ 210479 h 761503"/>
                <a:gd name="connsiteX91" fmla="*/ 422613 w 598324"/>
                <a:gd name="connsiteY91" fmla="*/ 153366 h 761503"/>
                <a:gd name="connsiteX92" fmla="*/ 425332 w 598324"/>
                <a:gd name="connsiteY92" fmla="*/ 123450 h 761503"/>
                <a:gd name="connsiteX93" fmla="*/ 398136 w 598324"/>
                <a:gd name="connsiteY93" fmla="*/ 123450 h 761503"/>
                <a:gd name="connsiteX94" fmla="*/ 379098 w 598324"/>
                <a:gd name="connsiteY94" fmla="*/ 123450 h 761503"/>
                <a:gd name="connsiteX95" fmla="*/ 360060 w 598324"/>
                <a:gd name="connsiteY95" fmla="*/ 118011 h 761503"/>
                <a:gd name="connsiteX96" fmla="*/ 349182 w 598324"/>
                <a:gd name="connsiteY96" fmla="*/ 101693 h 761503"/>
                <a:gd name="connsiteX97" fmla="*/ 351901 w 598324"/>
                <a:gd name="connsiteY97" fmla="*/ 93534 h 761503"/>
                <a:gd name="connsiteX98" fmla="*/ 368219 w 598324"/>
                <a:gd name="connsiteY98" fmla="*/ 85375 h 761503"/>
                <a:gd name="connsiteX99" fmla="*/ 422613 w 598324"/>
                <a:gd name="connsiteY99" fmla="*/ 79935 h 761503"/>
                <a:gd name="connsiteX100" fmla="*/ 444370 w 598324"/>
                <a:gd name="connsiteY100" fmla="*/ 79935 h 761503"/>
                <a:gd name="connsiteX101" fmla="*/ 463407 w 598324"/>
                <a:gd name="connsiteY101" fmla="*/ 71776 h 761503"/>
                <a:gd name="connsiteX102" fmla="*/ 477006 w 598324"/>
                <a:gd name="connsiteY102" fmla="*/ 79935 h 761503"/>
                <a:gd name="connsiteX103" fmla="*/ 515081 w 598324"/>
                <a:gd name="connsiteY103" fmla="*/ 79935 h 761503"/>
                <a:gd name="connsiteX104" fmla="*/ 515081 w 598324"/>
                <a:gd name="connsiteY104" fmla="*/ 79935 h 761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</a:cxnLst>
              <a:rect l="l" t="t" r="r" b="b"/>
              <a:pathLst>
                <a:path w="598324" h="761503">
                  <a:moveTo>
                    <a:pt x="515081" y="79935"/>
                  </a:moveTo>
                  <a:cubicBezTo>
                    <a:pt x="523240" y="79935"/>
                    <a:pt x="542277" y="79935"/>
                    <a:pt x="542277" y="96253"/>
                  </a:cubicBezTo>
                  <a:cubicBezTo>
                    <a:pt x="542277" y="104412"/>
                    <a:pt x="542277" y="107132"/>
                    <a:pt x="536838" y="112571"/>
                  </a:cubicBezTo>
                  <a:cubicBezTo>
                    <a:pt x="534119" y="118011"/>
                    <a:pt x="528679" y="120730"/>
                    <a:pt x="523240" y="120730"/>
                  </a:cubicBezTo>
                  <a:cubicBezTo>
                    <a:pt x="515081" y="123450"/>
                    <a:pt x="512361" y="123450"/>
                    <a:pt x="506922" y="123450"/>
                  </a:cubicBezTo>
                  <a:cubicBezTo>
                    <a:pt x="504202" y="123450"/>
                    <a:pt x="490604" y="123450"/>
                    <a:pt x="477006" y="123450"/>
                  </a:cubicBezTo>
                  <a:cubicBezTo>
                    <a:pt x="477006" y="131609"/>
                    <a:pt x="479725" y="137048"/>
                    <a:pt x="479725" y="145207"/>
                  </a:cubicBezTo>
                  <a:cubicBezTo>
                    <a:pt x="479725" y="156086"/>
                    <a:pt x="477006" y="166964"/>
                    <a:pt x="477006" y="180563"/>
                  </a:cubicBezTo>
                  <a:cubicBezTo>
                    <a:pt x="477006" y="196881"/>
                    <a:pt x="479725" y="215918"/>
                    <a:pt x="482445" y="232236"/>
                  </a:cubicBezTo>
                  <a:cubicBezTo>
                    <a:pt x="485165" y="248554"/>
                    <a:pt x="485165" y="267592"/>
                    <a:pt x="485165" y="283909"/>
                  </a:cubicBezTo>
                  <a:cubicBezTo>
                    <a:pt x="485165" y="297508"/>
                    <a:pt x="485165" y="313826"/>
                    <a:pt x="485165" y="327424"/>
                  </a:cubicBezTo>
                  <a:cubicBezTo>
                    <a:pt x="485165" y="343742"/>
                    <a:pt x="487884" y="357340"/>
                    <a:pt x="487884" y="373658"/>
                  </a:cubicBezTo>
                  <a:cubicBezTo>
                    <a:pt x="487884" y="389976"/>
                    <a:pt x="485165" y="403574"/>
                    <a:pt x="485165" y="419892"/>
                  </a:cubicBezTo>
                  <a:cubicBezTo>
                    <a:pt x="485165" y="436210"/>
                    <a:pt x="485165" y="449808"/>
                    <a:pt x="485165" y="463407"/>
                  </a:cubicBezTo>
                  <a:cubicBezTo>
                    <a:pt x="485165" y="479725"/>
                    <a:pt x="485165" y="498762"/>
                    <a:pt x="482445" y="515080"/>
                  </a:cubicBezTo>
                  <a:cubicBezTo>
                    <a:pt x="482445" y="528678"/>
                    <a:pt x="482445" y="542277"/>
                    <a:pt x="482445" y="558595"/>
                  </a:cubicBezTo>
                  <a:cubicBezTo>
                    <a:pt x="482445" y="572193"/>
                    <a:pt x="479725" y="588511"/>
                    <a:pt x="479725" y="602109"/>
                  </a:cubicBezTo>
                  <a:cubicBezTo>
                    <a:pt x="479725" y="615708"/>
                    <a:pt x="485165" y="632025"/>
                    <a:pt x="485165" y="648343"/>
                  </a:cubicBezTo>
                  <a:cubicBezTo>
                    <a:pt x="485165" y="659222"/>
                    <a:pt x="482445" y="670101"/>
                    <a:pt x="474286" y="675540"/>
                  </a:cubicBezTo>
                  <a:cubicBezTo>
                    <a:pt x="460688" y="686418"/>
                    <a:pt x="444370" y="691858"/>
                    <a:pt x="428052" y="691858"/>
                  </a:cubicBezTo>
                  <a:cubicBezTo>
                    <a:pt x="414453" y="691858"/>
                    <a:pt x="400855" y="689138"/>
                    <a:pt x="387257" y="683699"/>
                  </a:cubicBezTo>
                  <a:cubicBezTo>
                    <a:pt x="373659" y="678259"/>
                    <a:pt x="360060" y="672820"/>
                    <a:pt x="351901" y="664661"/>
                  </a:cubicBezTo>
                  <a:cubicBezTo>
                    <a:pt x="330144" y="645624"/>
                    <a:pt x="316546" y="621147"/>
                    <a:pt x="305667" y="596670"/>
                  </a:cubicBezTo>
                  <a:cubicBezTo>
                    <a:pt x="292069" y="569473"/>
                    <a:pt x="281190" y="539557"/>
                    <a:pt x="270312" y="509641"/>
                  </a:cubicBezTo>
                  <a:cubicBezTo>
                    <a:pt x="264872" y="493323"/>
                    <a:pt x="256713" y="477005"/>
                    <a:pt x="251274" y="460687"/>
                  </a:cubicBezTo>
                  <a:cubicBezTo>
                    <a:pt x="240395" y="433490"/>
                    <a:pt x="232236" y="409014"/>
                    <a:pt x="224077" y="381817"/>
                  </a:cubicBezTo>
                  <a:cubicBezTo>
                    <a:pt x="218638" y="365499"/>
                    <a:pt x="213199" y="346462"/>
                    <a:pt x="207759" y="330144"/>
                  </a:cubicBezTo>
                  <a:cubicBezTo>
                    <a:pt x="202320" y="316545"/>
                    <a:pt x="196881" y="300227"/>
                    <a:pt x="191442" y="286629"/>
                  </a:cubicBezTo>
                  <a:cubicBezTo>
                    <a:pt x="188722" y="281190"/>
                    <a:pt x="186002" y="278470"/>
                    <a:pt x="183283" y="278470"/>
                  </a:cubicBezTo>
                  <a:cubicBezTo>
                    <a:pt x="180563" y="278470"/>
                    <a:pt x="180563" y="286629"/>
                    <a:pt x="180563" y="292068"/>
                  </a:cubicBezTo>
                  <a:cubicBezTo>
                    <a:pt x="180563" y="297508"/>
                    <a:pt x="180563" y="302947"/>
                    <a:pt x="180563" y="305667"/>
                  </a:cubicBezTo>
                  <a:cubicBezTo>
                    <a:pt x="180563" y="321985"/>
                    <a:pt x="183283" y="338303"/>
                    <a:pt x="183283" y="354620"/>
                  </a:cubicBezTo>
                  <a:cubicBezTo>
                    <a:pt x="183283" y="387256"/>
                    <a:pt x="186002" y="417173"/>
                    <a:pt x="188722" y="449808"/>
                  </a:cubicBezTo>
                  <a:cubicBezTo>
                    <a:pt x="188722" y="460687"/>
                    <a:pt x="188722" y="468846"/>
                    <a:pt x="188722" y="479725"/>
                  </a:cubicBezTo>
                  <a:cubicBezTo>
                    <a:pt x="188722" y="501482"/>
                    <a:pt x="188722" y="523239"/>
                    <a:pt x="188722" y="542277"/>
                  </a:cubicBezTo>
                  <a:cubicBezTo>
                    <a:pt x="188722" y="566754"/>
                    <a:pt x="186002" y="591231"/>
                    <a:pt x="186002" y="615708"/>
                  </a:cubicBezTo>
                  <a:cubicBezTo>
                    <a:pt x="186002" y="623866"/>
                    <a:pt x="186002" y="632025"/>
                    <a:pt x="186002" y="637465"/>
                  </a:cubicBezTo>
                  <a:cubicBezTo>
                    <a:pt x="186002" y="645624"/>
                    <a:pt x="183283" y="656502"/>
                    <a:pt x="183283" y="664661"/>
                  </a:cubicBezTo>
                  <a:cubicBezTo>
                    <a:pt x="202320" y="664661"/>
                    <a:pt x="218638" y="664661"/>
                    <a:pt x="226797" y="664661"/>
                  </a:cubicBezTo>
                  <a:cubicBezTo>
                    <a:pt x="234956" y="664661"/>
                    <a:pt x="253994" y="664661"/>
                    <a:pt x="253994" y="680979"/>
                  </a:cubicBezTo>
                  <a:cubicBezTo>
                    <a:pt x="253994" y="689138"/>
                    <a:pt x="253994" y="691858"/>
                    <a:pt x="248554" y="697297"/>
                  </a:cubicBezTo>
                  <a:cubicBezTo>
                    <a:pt x="245835" y="702736"/>
                    <a:pt x="240395" y="705456"/>
                    <a:pt x="234956" y="705456"/>
                  </a:cubicBezTo>
                  <a:cubicBezTo>
                    <a:pt x="226797" y="708176"/>
                    <a:pt x="224077" y="708176"/>
                    <a:pt x="218638" y="708176"/>
                  </a:cubicBezTo>
                  <a:cubicBezTo>
                    <a:pt x="215918" y="708176"/>
                    <a:pt x="199600" y="708176"/>
                    <a:pt x="183283" y="708176"/>
                  </a:cubicBezTo>
                  <a:cubicBezTo>
                    <a:pt x="166965" y="708176"/>
                    <a:pt x="153366" y="708176"/>
                    <a:pt x="150647" y="708176"/>
                  </a:cubicBezTo>
                  <a:cubicBezTo>
                    <a:pt x="139768" y="708176"/>
                    <a:pt x="120730" y="708176"/>
                    <a:pt x="107132" y="708176"/>
                  </a:cubicBezTo>
                  <a:cubicBezTo>
                    <a:pt x="101693" y="708176"/>
                    <a:pt x="96254" y="708176"/>
                    <a:pt x="88094" y="708176"/>
                  </a:cubicBezTo>
                  <a:cubicBezTo>
                    <a:pt x="82655" y="708176"/>
                    <a:pt x="74496" y="708176"/>
                    <a:pt x="69057" y="702736"/>
                  </a:cubicBezTo>
                  <a:cubicBezTo>
                    <a:pt x="63617" y="700017"/>
                    <a:pt x="58178" y="691858"/>
                    <a:pt x="58178" y="686418"/>
                  </a:cubicBezTo>
                  <a:cubicBezTo>
                    <a:pt x="58178" y="683699"/>
                    <a:pt x="58178" y="680979"/>
                    <a:pt x="60898" y="678259"/>
                  </a:cubicBezTo>
                  <a:cubicBezTo>
                    <a:pt x="63617" y="675540"/>
                    <a:pt x="71777" y="672820"/>
                    <a:pt x="77216" y="670101"/>
                  </a:cubicBezTo>
                  <a:cubicBezTo>
                    <a:pt x="90814" y="667381"/>
                    <a:pt x="115291" y="664661"/>
                    <a:pt x="120730" y="664661"/>
                  </a:cubicBezTo>
                  <a:cubicBezTo>
                    <a:pt x="123450" y="664661"/>
                    <a:pt x="126170" y="664661"/>
                    <a:pt x="131609" y="664661"/>
                  </a:cubicBezTo>
                  <a:cubicBezTo>
                    <a:pt x="131609" y="623866"/>
                    <a:pt x="134329" y="583072"/>
                    <a:pt x="134329" y="539557"/>
                  </a:cubicBezTo>
                  <a:cubicBezTo>
                    <a:pt x="134329" y="528678"/>
                    <a:pt x="134329" y="515080"/>
                    <a:pt x="134329" y="504201"/>
                  </a:cubicBezTo>
                  <a:cubicBezTo>
                    <a:pt x="131609" y="460687"/>
                    <a:pt x="131609" y="417173"/>
                    <a:pt x="131609" y="376378"/>
                  </a:cubicBezTo>
                  <a:cubicBezTo>
                    <a:pt x="131609" y="351901"/>
                    <a:pt x="131609" y="327424"/>
                    <a:pt x="131609" y="302947"/>
                  </a:cubicBezTo>
                  <a:cubicBezTo>
                    <a:pt x="131609" y="275751"/>
                    <a:pt x="131609" y="248554"/>
                    <a:pt x="134329" y="221357"/>
                  </a:cubicBezTo>
                  <a:cubicBezTo>
                    <a:pt x="134329" y="188722"/>
                    <a:pt x="137048" y="156086"/>
                    <a:pt x="137048" y="123450"/>
                  </a:cubicBezTo>
                  <a:cubicBezTo>
                    <a:pt x="126170" y="123450"/>
                    <a:pt x="115291" y="123450"/>
                    <a:pt x="107132" y="123450"/>
                  </a:cubicBezTo>
                  <a:cubicBezTo>
                    <a:pt x="101693" y="123450"/>
                    <a:pt x="96254" y="123450"/>
                    <a:pt x="88094" y="123450"/>
                  </a:cubicBezTo>
                  <a:cubicBezTo>
                    <a:pt x="82655" y="123450"/>
                    <a:pt x="74496" y="120730"/>
                    <a:pt x="69057" y="118011"/>
                  </a:cubicBezTo>
                  <a:cubicBezTo>
                    <a:pt x="63617" y="115291"/>
                    <a:pt x="58178" y="107132"/>
                    <a:pt x="58178" y="101693"/>
                  </a:cubicBezTo>
                  <a:cubicBezTo>
                    <a:pt x="58178" y="98973"/>
                    <a:pt x="58178" y="96253"/>
                    <a:pt x="60898" y="93534"/>
                  </a:cubicBezTo>
                  <a:cubicBezTo>
                    <a:pt x="63617" y="90814"/>
                    <a:pt x="71777" y="88094"/>
                    <a:pt x="77216" y="85375"/>
                  </a:cubicBezTo>
                  <a:cubicBezTo>
                    <a:pt x="90814" y="82655"/>
                    <a:pt x="126170" y="79935"/>
                    <a:pt x="131609" y="79935"/>
                  </a:cubicBezTo>
                  <a:cubicBezTo>
                    <a:pt x="137048" y="79935"/>
                    <a:pt x="147927" y="79935"/>
                    <a:pt x="161525" y="79935"/>
                  </a:cubicBezTo>
                  <a:cubicBezTo>
                    <a:pt x="166965" y="74496"/>
                    <a:pt x="172404" y="71776"/>
                    <a:pt x="177843" y="66337"/>
                  </a:cubicBezTo>
                  <a:cubicBezTo>
                    <a:pt x="186002" y="60898"/>
                    <a:pt x="194161" y="58178"/>
                    <a:pt x="202320" y="58178"/>
                  </a:cubicBezTo>
                  <a:cubicBezTo>
                    <a:pt x="215918" y="58178"/>
                    <a:pt x="226797" y="63617"/>
                    <a:pt x="234956" y="77216"/>
                  </a:cubicBezTo>
                  <a:cubicBezTo>
                    <a:pt x="240395" y="88094"/>
                    <a:pt x="248554" y="96253"/>
                    <a:pt x="251274" y="107132"/>
                  </a:cubicBezTo>
                  <a:cubicBezTo>
                    <a:pt x="256713" y="120730"/>
                    <a:pt x="259433" y="134328"/>
                    <a:pt x="267592" y="147927"/>
                  </a:cubicBezTo>
                  <a:cubicBezTo>
                    <a:pt x="273031" y="158805"/>
                    <a:pt x="275751" y="172404"/>
                    <a:pt x="281190" y="183282"/>
                  </a:cubicBezTo>
                  <a:cubicBezTo>
                    <a:pt x="286630" y="196881"/>
                    <a:pt x="292069" y="210479"/>
                    <a:pt x="297508" y="224077"/>
                  </a:cubicBezTo>
                  <a:cubicBezTo>
                    <a:pt x="300228" y="237675"/>
                    <a:pt x="305667" y="251274"/>
                    <a:pt x="308387" y="264872"/>
                  </a:cubicBezTo>
                  <a:cubicBezTo>
                    <a:pt x="311106" y="278470"/>
                    <a:pt x="311106" y="289349"/>
                    <a:pt x="319265" y="300227"/>
                  </a:cubicBezTo>
                  <a:cubicBezTo>
                    <a:pt x="332864" y="324704"/>
                    <a:pt x="346462" y="351901"/>
                    <a:pt x="351901" y="379097"/>
                  </a:cubicBezTo>
                  <a:cubicBezTo>
                    <a:pt x="354621" y="392696"/>
                    <a:pt x="360060" y="403574"/>
                    <a:pt x="365500" y="417173"/>
                  </a:cubicBezTo>
                  <a:cubicBezTo>
                    <a:pt x="373659" y="430771"/>
                    <a:pt x="373659" y="444369"/>
                    <a:pt x="379098" y="457967"/>
                  </a:cubicBezTo>
                  <a:cubicBezTo>
                    <a:pt x="381818" y="471566"/>
                    <a:pt x="387257" y="482444"/>
                    <a:pt x="395416" y="496043"/>
                  </a:cubicBezTo>
                  <a:cubicBezTo>
                    <a:pt x="398136" y="501482"/>
                    <a:pt x="403575" y="506921"/>
                    <a:pt x="406294" y="512361"/>
                  </a:cubicBezTo>
                  <a:cubicBezTo>
                    <a:pt x="409014" y="517800"/>
                    <a:pt x="409014" y="525959"/>
                    <a:pt x="411734" y="531398"/>
                  </a:cubicBezTo>
                  <a:cubicBezTo>
                    <a:pt x="414453" y="539557"/>
                    <a:pt x="417173" y="550436"/>
                    <a:pt x="419893" y="558595"/>
                  </a:cubicBezTo>
                  <a:cubicBezTo>
                    <a:pt x="422613" y="561314"/>
                    <a:pt x="422613" y="564034"/>
                    <a:pt x="425332" y="564034"/>
                  </a:cubicBezTo>
                  <a:cubicBezTo>
                    <a:pt x="428052" y="564034"/>
                    <a:pt x="428052" y="561314"/>
                    <a:pt x="430771" y="558595"/>
                  </a:cubicBezTo>
                  <a:cubicBezTo>
                    <a:pt x="430771" y="555875"/>
                    <a:pt x="430771" y="553155"/>
                    <a:pt x="430771" y="550436"/>
                  </a:cubicBezTo>
                  <a:cubicBezTo>
                    <a:pt x="430771" y="534118"/>
                    <a:pt x="430771" y="517800"/>
                    <a:pt x="430771" y="501482"/>
                  </a:cubicBezTo>
                  <a:cubicBezTo>
                    <a:pt x="430771" y="468846"/>
                    <a:pt x="433491" y="436210"/>
                    <a:pt x="430771" y="403574"/>
                  </a:cubicBezTo>
                  <a:cubicBezTo>
                    <a:pt x="430771" y="373658"/>
                    <a:pt x="425332" y="343742"/>
                    <a:pt x="425332" y="313826"/>
                  </a:cubicBezTo>
                  <a:cubicBezTo>
                    <a:pt x="425332" y="292068"/>
                    <a:pt x="425332" y="270311"/>
                    <a:pt x="425332" y="248554"/>
                  </a:cubicBezTo>
                  <a:cubicBezTo>
                    <a:pt x="425332" y="234956"/>
                    <a:pt x="425332" y="224077"/>
                    <a:pt x="425332" y="210479"/>
                  </a:cubicBezTo>
                  <a:cubicBezTo>
                    <a:pt x="425332" y="191441"/>
                    <a:pt x="422613" y="172404"/>
                    <a:pt x="422613" y="153366"/>
                  </a:cubicBezTo>
                  <a:cubicBezTo>
                    <a:pt x="422613" y="142487"/>
                    <a:pt x="422613" y="134328"/>
                    <a:pt x="425332" y="123450"/>
                  </a:cubicBezTo>
                  <a:cubicBezTo>
                    <a:pt x="417173" y="123450"/>
                    <a:pt x="406294" y="123450"/>
                    <a:pt x="398136" y="123450"/>
                  </a:cubicBezTo>
                  <a:cubicBezTo>
                    <a:pt x="392696" y="123450"/>
                    <a:pt x="387257" y="123450"/>
                    <a:pt x="379098" y="123450"/>
                  </a:cubicBezTo>
                  <a:cubicBezTo>
                    <a:pt x="373659" y="123450"/>
                    <a:pt x="365500" y="120730"/>
                    <a:pt x="360060" y="118011"/>
                  </a:cubicBezTo>
                  <a:cubicBezTo>
                    <a:pt x="354621" y="115291"/>
                    <a:pt x="349182" y="107132"/>
                    <a:pt x="349182" y="101693"/>
                  </a:cubicBezTo>
                  <a:cubicBezTo>
                    <a:pt x="349182" y="98973"/>
                    <a:pt x="349182" y="96253"/>
                    <a:pt x="351901" y="93534"/>
                  </a:cubicBezTo>
                  <a:cubicBezTo>
                    <a:pt x="354621" y="90814"/>
                    <a:pt x="362780" y="88094"/>
                    <a:pt x="368219" y="85375"/>
                  </a:cubicBezTo>
                  <a:cubicBezTo>
                    <a:pt x="381818" y="82655"/>
                    <a:pt x="417173" y="79935"/>
                    <a:pt x="422613" y="79935"/>
                  </a:cubicBezTo>
                  <a:cubicBezTo>
                    <a:pt x="428052" y="79935"/>
                    <a:pt x="433491" y="79935"/>
                    <a:pt x="444370" y="79935"/>
                  </a:cubicBezTo>
                  <a:cubicBezTo>
                    <a:pt x="449809" y="74496"/>
                    <a:pt x="455248" y="71776"/>
                    <a:pt x="463407" y="71776"/>
                  </a:cubicBezTo>
                  <a:cubicBezTo>
                    <a:pt x="471566" y="71776"/>
                    <a:pt x="477006" y="74496"/>
                    <a:pt x="477006" y="79935"/>
                  </a:cubicBezTo>
                  <a:cubicBezTo>
                    <a:pt x="493324" y="79935"/>
                    <a:pt x="506922" y="79935"/>
                    <a:pt x="515081" y="79935"/>
                  </a:cubicBezTo>
                  <a:lnTo>
                    <a:pt x="515081" y="79935"/>
                  </a:ln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/>
            </a:p>
          </p:txBody>
        </p:sp>
        <p:sp>
          <p:nvSpPr>
            <p:cNvPr id="41" name="Freeform: Shape 40">
              <a:extLst>
                <a:ext uri="{FF2B5EF4-FFF2-40B4-BE49-F238E27FC236}">
                  <a16:creationId xmlns:a16="http://schemas.microsoft.com/office/drawing/2014/main" id="{8176AE20-94DB-48D9-93A0-3EB3C1F5FB2E}"/>
                </a:ext>
              </a:extLst>
            </p:cNvPr>
            <p:cNvSpPr/>
            <p:nvPr/>
          </p:nvSpPr>
          <p:spPr>
            <a:xfrm>
              <a:off x="5139126" y="4192158"/>
              <a:ext cx="516735" cy="788700"/>
            </a:xfrm>
            <a:custGeom>
              <a:avLst/>
              <a:gdLst>
                <a:gd name="connsiteX0" fmla="*/ 464616 w 516735"/>
                <a:gd name="connsiteY0" fmla="*/ 436210 h 788699"/>
                <a:gd name="connsiteX1" fmla="*/ 445578 w 516735"/>
                <a:gd name="connsiteY1" fmla="*/ 455248 h 788699"/>
                <a:gd name="connsiteX2" fmla="*/ 404784 w 516735"/>
                <a:gd name="connsiteY2" fmla="*/ 466126 h 788699"/>
                <a:gd name="connsiteX3" fmla="*/ 385746 w 516735"/>
                <a:gd name="connsiteY3" fmla="*/ 479725 h 788699"/>
                <a:gd name="connsiteX4" fmla="*/ 388466 w 516735"/>
                <a:gd name="connsiteY4" fmla="*/ 512361 h 788699"/>
                <a:gd name="connsiteX5" fmla="*/ 388466 w 516735"/>
                <a:gd name="connsiteY5" fmla="*/ 544997 h 788699"/>
                <a:gd name="connsiteX6" fmla="*/ 388466 w 516735"/>
                <a:gd name="connsiteY6" fmla="*/ 566754 h 788699"/>
                <a:gd name="connsiteX7" fmla="*/ 391185 w 516735"/>
                <a:gd name="connsiteY7" fmla="*/ 632026 h 788699"/>
                <a:gd name="connsiteX8" fmla="*/ 393905 w 516735"/>
                <a:gd name="connsiteY8" fmla="*/ 683699 h 788699"/>
                <a:gd name="connsiteX9" fmla="*/ 377587 w 516735"/>
                <a:gd name="connsiteY9" fmla="*/ 724494 h 788699"/>
                <a:gd name="connsiteX10" fmla="*/ 361269 w 516735"/>
                <a:gd name="connsiteY10" fmla="*/ 719054 h 788699"/>
                <a:gd name="connsiteX11" fmla="*/ 353110 w 516735"/>
                <a:gd name="connsiteY11" fmla="*/ 702737 h 788699"/>
                <a:gd name="connsiteX12" fmla="*/ 350390 w 516735"/>
                <a:gd name="connsiteY12" fmla="*/ 686419 h 788699"/>
                <a:gd name="connsiteX13" fmla="*/ 353110 w 516735"/>
                <a:gd name="connsiteY13" fmla="*/ 659222 h 788699"/>
                <a:gd name="connsiteX14" fmla="*/ 353110 w 516735"/>
                <a:gd name="connsiteY14" fmla="*/ 656502 h 788699"/>
                <a:gd name="connsiteX15" fmla="*/ 317755 w 516735"/>
                <a:gd name="connsiteY15" fmla="*/ 708176 h 788699"/>
                <a:gd name="connsiteX16" fmla="*/ 241604 w 516735"/>
                <a:gd name="connsiteY16" fmla="*/ 735372 h 788699"/>
                <a:gd name="connsiteX17" fmla="*/ 187211 w 516735"/>
                <a:gd name="connsiteY17" fmla="*/ 727214 h 788699"/>
                <a:gd name="connsiteX18" fmla="*/ 135538 w 516735"/>
                <a:gd name="connsiteY18" fmla="*/ 694578 h 788699"/>
                <a:gd name="connsiteX19" fmla="*/ 86584 w 516735"/>
                <a:gd name="connsiteY19" fmla="*/ 621147 h 788699"/>
                <a:gd name="connsiteX20" fmla="*/ 67546 w 516735"/>
                <a:gd name="connsiteY20" fmla="*/ 555875 h 788699"/>
                <a:gd name="connsiteX21" fmla="*/ 59387 w 516735"/>
                <a:gd name="connsiteY21" fmla="*/ 509641 h 788699"/>
                <a:gd name="connsiteX22" fmla="*/ 59387 w 516735"/>
                <a:gd name="connsiteY22" fmla="*/ 468846 h 788699"/>
                <a:gd name="connsiteX23" fmla="*/ 86584 w 516735"/>
                <a:gd name="connsiteY23" fmla="*/ 302947 h 788699"/>
                <a:gd name="connsiteX24" fmla="*/ 108341 w 516735"/>
                <a:gd name="connsiteY24" fmla="*/ 224077 h 788699"/>
                <a:gd name="connsiteX25" fmla="*/ 146416 w 516735"/>
                <a:gd name="connsiteY25" fmla="*/ 145207 h 788699"/>
                <a:gd name="connsiteX26" fmla="*/ 198090 w 516735"/>
                <a:gd name="connsiteY26" fmla="*/ 85375 h 788699"/>
                <a:gd name="connsiteX27" fmla="*/ 228006 w 516735"/>
                <a:gd name="connsiteY27" fmla="*/ 69057 h 788699"/>
                <a:gd name="connsiteX28" fmla="*/ 268801 w 516735"/>
                <a:gd name="connsiteY28" fmla="*/ 58178 h 788699"/>
                <a:gd name="connsiteX29" fmla="*/ 274240 w 516735"/>
                <a:gd name="connsiteY29" fmla="*/ 58178 h 788699"/>
                <a:gd name="connsiteX30" fmla="*/ 295997 w 516735"/>
                <a:gd name="connsiteY30" fmla="*/ 60898 h 788699"/>
                <a:gd name="connsiteX31" fmla="*/ 331353 w 516735"/>
                <a:gd name="connsiteY31" fmla="*/ 71776 h 788699"/>
                <a:gd name="connsiteX32" fmla="*/ 350390 w 516735"/>
                <a:gd name="connsiteY32" fmla="*/ 93534 h 788699"/>
                <a:gd name="connsiteX33" fmla="*/ 353110 w 516735"/>
                <a:gd name="connsiteY33" fmla="*/ 74496 h 788699"/>
                <a:gd name="connsiteX34" fmla="*/ 358549 w 516735"/>
                <a:gd name="connsiteY34" fmla="*/ 63618 h 788699"/>
                <a:gd name="connsiteX35" fmla="*/ 366708 w 516735"/>
                <a:gd name="connsiteY35" fmla="*/ 58178 h 788699"/>
                <a:gd name="connsiteX36" fmla="*/ 374867 w 516735"/>
                <a:gd name="connsiteY36" fmla="*/ 63618 h 788699"/>
                <a:gd name="connsiteX37" fmla="*/ 383026 w 516735"/>
                <a:gd name="connsiteY37" fmla="*/ 82655 h 788699"/>
                <a:gd name="connsiteX38" fmla="*/ 385746 w 516735"/>
                <a:gd name="connsiteY38" fmla="*/ 126170 h 788699"/>
                <a:gd name="connsiteX39" fmla="*/ 388466 w 516735"/>
                <a:gd name="connsiteY39" fmla="*/ 186002 h 788699"/>
                <a:gd name="connsiteX40" fmla="*/ 391185 w 516735"/>
                <a:gd name="connsiteY40" fmla="*/ 237676 h 788699"/>
                <a:gd name="connsiteX41" fmla="*/ 374867 w 516735"/>
                <a:gd name="connsiteY41" fmla="*/ 278470 h 788699"/>
                <a:gd name="connsiteX42" fmla="*/ 358549 w 516735"/>
                <a:gd name="connsiteY42" fmla="*/ 273031 h 788699"/>
                <a:gd name="connsiteX43" fmla="*/ 350390 w 516735"/>
                <a:gd name="connsiteY43" fmla="*/ 256713 h 788699"/>
                <a:gd name="connsiteX44" fmla="*/ 347671 w 516735"/>
                <a:gd name="connsiteY44" fmla="*/ 240395 h 788699"/>
                <a:gd name="connsiteX45" fmla="*/ 347671 w 516735"/>
                <a:gd name="connsiteY45" fmla="*/ 213199 h 788699"/>
                <a:gd name="connsiteX46" fmla="*/ 344951 w 516735"/>
                <a:gd name="connsiteY46" fmla="*/ 194161 h 788699"/>
                <a:gd name="connsiteX47" fmla="*/ 339512 w 516735"/>
                <a:gd name="connsiteY47" fmla="*/ 150647 h 788699"/>
                <a:gd name="connsiteX48" fmla="*/ 323194 w 516735"/>
                <a:gd name="connsiteY48" fmla="*/ 112571 h 788699"/>
                <a:gd name="connsiteX49" fmla="*/ 293278 w 516735"/>
                <a:gd name="connsiteY49" fmla="*/ 101693 h 788699"/>
                <a:gd name="connsiteX50" fmla="*/ 263361 w 516735"/>
                <a:gd name="connsiteY50" fmla="*/ 120730 h 788699"/>
                <a:gd name="connsiteX51" fmla="*/ 241604 w 516735"/>
                <a:gd name="connsiteY51" fmla="*/ 153366 h 788699"/>
                <a:gd name="connsiteX52" fmla="*/ 233445 w 516735"/>
                <a:gd name="connsiteY52" fmla="*/ 194161 h 788699"/>
                <a:gd name="connsiteX53" fmla="*/ 225286 w 516735"/>
                <a:gd name="connsiteY53" fmla="*/ 232236 h 788699"/>
                <a:gd name="connsiteX54" fmla="*/ 217127 w 516735"/>
                <a:gd name="connsiteY54" fmla="*/ 275751 h 788699"/>
                <a:gd name="connsiteX55" fmla="*/ 211688 w 516735"/>
                <a:gd name="connsiteY55" fmla="*/ 316545 h 788699"/>
                <a:gd name="connsiteX56" fmla="*/ 206249 w 516735"/>
                <a:gd name="connsiteY56" fmla="*/ 354621 h 788699"/>
                <a:gd name="connsiteX57" fmla="*/ 200809 w 516735"/>
                <a:gd name="connsiteY57" fmla="*/ 398135 h 788699"/>
                <a:gd name="connsiteX58" fmla="*/ 195370 w 516735"/>
                <a:gd name="connsiteY58" fmla="*/ 438930 h 788699"/>
                <a:gd name="connsiteX59" fmla="*/ 192650 w 516735"/>
                <a:gd name="connsiteY59" fmla="*/ 474286 h 788699"/>
                <a:gd name="connsiteX60" fmla="*/ 195370 w 516735"/>
                <a:gd name="connsiteY60" fmla="*/ 525959 h 788699"/>
                <a:gd name="connsiteX61" fmla="*/ 208968 w 516735"/>
                <a:gd name="connsiteY61" fmla="*/ 596670 h 788699"/>
                <a:gd name="connsiteX62" fmla="*/ 214407 w 516735"/>
                <a:gd name="connsiteY62" fmla="*/ 623867 h 788699"/>
                <a:gd name="connsiteX63" fmla="*/ 228006 w 516735"/>
                <a:gd name="connsiteY63" fmla="*/ 656502 h 788699"/>
                <a:gd name="connsiteX64" fmla="*/ 271520 w 516735"/>
                <a:gd name="connsiteY64" fmla="*/ 689138 h 788699"/>
                <a:gd name="connsiteX65" fmla="*/ 306876 w 516735"/>
                <a:gd name="connsiteY65" fmla="*/ 664661 h 788699"/>
                <a:gd name="connsiteX66" fmla="*/ 331353 w 516735"/>
                <a:gd name="connsiteY66" fmla="*/ 602109 h 788699"/>
                <a:gd name="connsiteX67" fmla="*/ 336792 w 516735"/>
                <a:gd name="connsiteY67" fmla="*/ 544997 h 788699"/>
                <a:gd name="connsiteX68" fmla="*/ 336792 w 516735"/>
                <a:gd name="connsiteY68" fmla="*/ 498762 h 788699"/>
                <a:gd name="connsiteX69" fmla="*/ 336792 w 516735"/>
                <a:gd name="connsiteY69" fmla="*/ 490603 h 788699"/>
                <a:gd name="connsiteX70" fmla="*/ 320474 w 516735"/>
                <a:gd name="connsiteY70" fmla="*/ 477005 h 788699"/>
                <a:gd name="connsiteX71" fmla="*/ 282399 w 516735"/>
                <a:gd name="connsiteY71" fmla="*/ 479725 h 788699"/>
                <a:gd name="connsiteX72" fmla="*/ 252483 w 516735"/>
                <a:gd name="connsiteY72" fmla="*/ 474286 h 788699"/>
                <a:gd name="connsiteX73" fmla="*/ 247043 w 516735"/>
                <a:gd name="connsiteY73" fmla="*/ 466126 h 788699"/>
                <a:gd name="connsiteX74" fmla="*/ 249763 w 516735"/>
                <a:gd name="connsiteY74" fmla="*/ 457968 h 788699"/>
                <a:gd name="connsiteX75" fmla="*/ 268801 w 516735"/>
                <a:gd name="connsiteY75" fmla="*/ 447089 h 788699"/>
                <a:gd name="connsiteX76" fmla="*/ 312315 w 516735"/>
                <a:gd name="connsiteY76" fmla="*/ 436210 h 788699"/>
                <a:gd name="connsiteX77" fmla="*/ 353110 w 516735"/>
                <a:gd name="connsiteY77" fmla="*/ 430771 h 788699"/>
                <a:gd name="connsiteX78" fmla="*/ 385746 w 516735"/>
                <a:gd name="connsiteY78" fmla="*/ 430771 h 788699"/>
                <a:gd name="connsiteX79" fmla="*/ 437420 w 516735"/>
                <a:gd name="connsiteY79" fmla="*/ 428051 h 788699"/>
                <a:gd name="connsiteX80" fmla="*/ 464616 w 516735"/>
                <a:gd name="connsiteY80" fmla="*/ 436210 h 7886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</a:cxnLst>
              <a:rect l="l" t="t" r="r" b="b"/>
              <a:pathLst>
                <a:path w="516735" h="788699">
                  <a:moveTo>
                    <a:pt x="464616" y="436210"/>
                  </a:moveTo>
                  <a:cubicBezTo>
                    <a:pt x="464616" y="447089"/>
                    <a:pt x="453737" y="452528"/>
                    <a:pt x="445578" y="455248"/>
                  </a:cubicBezTo>
                  <a:cubicBezTo>
                    <a:pt x="434700" y="460687"/>
                    <a:pt x="415662" y="463407"/>
                    <a:pt x="404784" y="466126"/>
                  </a:cubicBezTo>
                  <a:cubicBezTo>
                    <a:pt x="393905" y="466126"/>
                    <a:pt x="385746" y="468846"/>
                    <a:pt x="385746" y="479725"/>
                  </a:cubicBezTo>
                  <a:cubicBezTo>
                    <a:pt x="385746" y="487884"/>
                    <a:pt x="388466" y="506921"/>
                    <a:pt x="388466" y="512361"/>
                  </a:cubicBezTo>
                  <a:cubicBezTo>
                    <a:pt x="388466" y="515080"/>
                    <a:pt x="388466" y="539557"/>
                    <a:pt x="388466" y="544997"/>
                  </a:cubicBezTo>
                  <a:cubicBezTo>
                    <a:pt x="388466" y="550436"/>
                    <a:pt x="388466" y="558595"/>
                    <a:pt x="388466" y="566754"/>
                  </a:cubicBezTo>
                  <a:cubicBezTo>
                    <a:pt x="388466" y="591231"/>
                    <a:pt x="388466" y="621147"/>
                    <a:pt x="391185" y="632026"/>
                  </a:cubicBezTo>
                  <a:cubicBezTo>
                    <a:pt x="393905" y="653783"/>
                    <a:pt x="393905" y="661942"/>
                    <a:pt x="393905" y="683699"/>
                  </a:cubicBezTo>
                  <a:cubicBezTo>
                    <a:pt x="393905" y="694578"/>
                    <a:pt x="393905" y="724494"/>
                    <a:pt x="377587" y="724494"/>
                  </a:cubicBezTo>
                  <a:cubicBezTo>
                    <a:pt x="369428" y="724494"/>
                    <a:pt x="366708" y="721774"/>
                    <a:pt x="361269" y="719054"/>
                  </a:cubicBezTo>
                  <a:cubicBezTo>
                    <a:pt x="355830" y="716335"/>
                    <a:pt x="353110" y="708176"/>
                    <a:pt x="353110" y="702737"/>
                  </a:cubicBezTo>
                  <a:cubicBezTo>
                    <a:pt x="350390" y="694578"/>
                    <a:pt x="350390" y="689138"/>
                    <a:pt x="350390" y="686419"/>
                  </a:cubicBezTo>
                  <a:cubicBezTo>
                    <a:pt x="350390" y="678260"/>
                    <a:pt x="353110" y="672820"/>
                    <a:pt x="353110" y="659222"/>
                  </a:cubicBezTo>
                  <a:lnTo>
                    <a:pt x="353110" y="656502"/>
                  </a:lnTo>
                  <a:cubicBezTo>
                    <a:pt x="347671" y="675540"/>
                    <a:pt x="334072" y="694578"/>
                    <a:pt x="317755" y="708176"/>
                  </a:cubicBezTo>
                  <a:cubicBezTo>
                    <a:pt x="293278" y="727214"/>
                    <a:pt x="274240" y="735372"/>
                    <a:pt x="241604" y="735372"/>
                  </a:cubicBezTo>
                  <a:cubicBezTo>
                    <a:pt x="222566" y="735372"/>
                    <a:pt x="203529" y="732653"/>
                    <a:pt x="187211" y="727214"/>
                  </a:cubicBezTo>
                  <a:cubicBezTo>
                    <a:pt x="165454" y="719054"/>
                    <a:pt x="149136" y="708176"/>
                    <a:pt x="135538" y="694578"/>
                  </a:cubicBezTo>
                  <a:cubicBezTo>
                    <a:pt x="113780" y="672820"/>
                    <a:pt x="100182" y="648343"/>
                    <a:pt x="86584" y="621147"/>
                  </a:cubicBezTo>
                  <a:cubicBezTo>
                    <a:pt x="75705" y="599390"/>
                    <a:pt x="70266" y="580352"/>
                    <a:pt x="67546" y="555875"/>
                  </a:cubicBezTo>
                  <a:cubicBezTo>
                    <a:pt x="64826" y="539557"/>
                    <a:pt x="62107" y="525959"/>
                    <a:pt x="59387" y="509641"/>
                  </a:cubicBezTo>
                  <a:cubicBezTo>
                    <a:pt x="56667" y="493323"/>
                    <a:pt x="59387" y="485164"/>
                    <a:pt x="59387" y="468846"/>
                  </a:cubicBezTo>
                  <a:cubicBezTo>
                    <a:pt x="59387" y="414453"/>
                    <a:pt x="72985" y="362780"/>
                    <a:pt x="86584" y="302947"/>
                  </a:cubicBezTo>
                  <a:cubicBezTo>
                    <a:pt x="92023" y="275751"/>
                    <a:pt x="100182" y="248554"/>
                    <a:pt x="108341" y="224077"/>
                  </a:cubicBezTo>
                  <a:cubicBezTo>
                    <a:pt x="116500" y="196881"/>
                    <a:pt x="130098" y="169684"/>
                    <a:pt x="146416" y="145207"/>
                  </a:cubicBezTo>
                  <a:cubicBezTo>
                    <a:pt x="160014" y="123450"/>
                    <a:pt x="176332" y="101693"/>
                    <a:pt x="198090" y="85375"/>
                  </a:cubicBezTo>
                  <a:cubicBezTo>
                    <a:pt x="206249" y="77216"/>
                    <a:pt x="217127" y="71776"/>
                    <a:pt x="228006" y="69057"/>
                  </a:cubicBezTo>
                  <a:cubicBezTo>
                    <a:pt x="241604" y="63618"/>
                    <a:pt x="255202" y="58178"/>
                    <a:pt x="268801" y="58178"/>
                  </a:cubicBezTo>
                  <a:cubicBezTo>
                    <a:pt x="271520" y="58178"/>
                    <a:pt x="274240" y="58178"/>
                    <a:pt x="274240" y="58178"/>
                  </a:cubicBezTo>
                  <a:cubicBezTo>
                    <a:pt x="279679" y="58178"/>
                    <a:pt x="285119" y="58178"/>
                    <a:pt x="295997" y="60898"/>
                  </a:cubicBezTo>
                  <a:cubicBezTo>
                    <a:pt x="309595" y="63618"/>
                    <a:pt x="320474" y="66337"/>
                    <a:pt x="331353" y="71776"/>
                  </a:cubicBezTo>
                  <a:cubicBezTo>
                    <a:pt x="339512" y="77216"/>
                    <a:pt x="347671" y="85375"/>
                    <a:pt x="350390" y="93534"/>
                  </a:cubicBezTo>
                  <a:cubicBezTo>
                    <a:pt x="350390" y="88095"/>
                    <a:pt x="353110" y="79936"/>
                    <a:pt x="353110" y="74496"/>
                  </a:cubicBezTo>
                  <a:cubicBezTo>
                    <a:pt x="355830" y="71776"/>
                    <a:pt x="355830" y="69057"/>
                    <a:pt x="358549" y="63618"/>
                  </a:cubicBezTo>
                  <a:cubicBezTo>
                    <a:pt x="361269" y="60898"/>
                    <a:pt x="363989" y="58178"/>
                    <a:pt x="366708" y="58178"/>
                  </a:cubicBezTo>
                  <a:cubicBezTo>
                    <a:pt x="369428" y="58178"/>
                    <a:pt x="372148" y="60898"/>
                    <a:pt x="374867" y="63618"/>
                  </a:cubicBezTo>
                  <a:cubicBezTo>
                    <a:pt x="377587" y="69057"/>
                    <a:pt x="380307" y="77216"/>
                    <a:pt x="383026" y="82655"/>
                  </a:cubicBezTo>
                  <a:cubicBezTo>
                    <a:pt x="383026" y="90814"/>
                    <a:pt x="385746" y="107132"/>
                    <a:pt x="385746" y="126170"/>
                  </a:cubicBezTo>
                  <a:cubicBezTo>
                    <a:pt x="385746" y="150647"/>
                    <a:pt x="385746" y="177843"/>
                    <a:pt x="388466" y="186002"/>
                  </a:cubicBezTo>
                  <a:cubicBezTo>
                    <a:pt x="391185" y="207759"/>
                    <a:pt x="391185" y="215918"/>
                    <a:pt x="391185" y="237676"/>
                  </a:cubicBezTo>
                  <a:cubicBezTo>
                    <a:pt x="391185" y="248554"/>
                    <a:pt x="391185" y="278470"/>
                    <a:pt x="374867" y="278470"/>
                  </a:cubicBezTo>
                  <a:cubicBezTo>
                    <a:pt x="366708" y="278470"/>
                    <a:pt x="363989" y="275751"/>
                    <a:pt x="358549" y="273031"/>
                  </a:cubicBezTo>
                  <a:cubicBezTo>
                    <a:pt x="353110" y="270311"/>
                    <a:pt x="350390" y="262152"/>
                    <a:pt x="350390" y="256713"/>
                  </a:cubicBezTo>
                  <a:cubicBezTo>
                    <a:pt x="350390" y="251274"/>
                    <a:pt x="347671" y="245834"/>
                    <a:pt x="347671" y="240395"/>
                  </a:cubicBezTo>
                  <a:cubicBezTo>
                    <a:pt x="347671" y="232236"/>
                    <a:pt x="347671" y="224077"/>
                    <a:pt x="347671" y="213199"/>
                  </a:cubicBezTo>
                  <a:cubicBezTo>
                    <a:pt x="347671" y="207759"/>
                    <a:pt x="347671" y="199600"/>
                    <a:pt x="344951" y="194161"/>
                  </a:cubicBezTo>
                  <a:cubicBezTo>
                    <a:pt x="342232" y="180563"/>
                    <a:pt x="342232" y="164245"/>
                    <a:pt x="339512" y="150647"/>
                  </a:cubicBezTo>
                  <a:cubicBezTo>
                    <a:pt x="336792" y="137048"/>
                    <a:pt x="331353" y="123450"/>
                    <a:pt x="323194" y="112571"/>
                  </a:cubicBezTo>
                  <a:cubicBezTo>
                    <a:pt x="317755" y="104412"/>
                    <a:pt x="304156" y="101693"/>
                    <a:pt x="293278" y="101693"/>
                  </a:cubicBezTo>
                  <a:cubicBezTo>
                    <a:pt x="279679" y="101693"/>
                    <a:pt x="271520" y="109852"/>
                    <a:pt x="263361" y="120730"/>
                  </a:cubicBezTo>
                  <a:cubicBezTo>
                    <a:pt x="257922" y="131609"/>
                    <a:pt x="247043" y="139768"/>
                    <a:pt x="241604" y="153366"/>
                  </a:cubicBezTo>
                  <a:cubicBezTo>
                    <a:pt x="236165" y="166964"/>
                    <a:pt x="233445" y="180563"/>
                    <a:pt x="233445" y="194161"/>
                  </a:cubicBezTo>
                  <a:cubicBezTo>
                    <a:pt x="233445" y="207759"/>
                    <a:pt x="230726" y="218638"/>
                    <a:pt x="225286" y="232236"/>
                  </a:cubicBezTo>
                  <a:cubicBezTo>
                    <a:pt x="219847" y="245834"/>
                    <a:pt x="219847" y="262152"/>
                    <a:pt x="217127" y="275751"/>
                  </a:cubicBezTo>
                  <a:cubicBezTo>
                    <a:pt x="214407" y="289349"/>
                    <a:pt x="214407" y="302947"/>
                    <a:pt x="211688" y="316545"/>
                  </a:cubicBezTo>
                  <a:cubicBezTo>
                    <a:pt x="211688" y="330144"/>
                    <a:pt x="206249" y="341022"/>
                    <a:pt x="206249" y="354621"/>
                  </a:cubicBezTo>
                  <a:cubicBezTo>
                    <a:pt x="203529" y="368219"/>
                    <a:pt x="203529" y="381817"/>
                    <a:pt x="200809" y="398135"/>
                  </a:cubicBezTo>
                  <a:cubicBezTo>
                    <a:pt x="198090" y="411733"/>
                    <a:pt x="198090" y="425332"/>
                    <a:pt x="195370" y="438930"/>
                  </a:cubicBezTo>
                  <a:cubicBezTo>
                    <a:pt x="195370" y="449809"/>
                    <a:pt x="192650" y="463407"/>
                    <a:pt x="192650" y="474286"/>
                  </a:cubicBezTo>
                  <a:cubicBezTo>
                    <a:pt x="192650" y="490603"/>
                    <a:pt x="195370" y="509641"/>
                    <a:pt x="195370" y="525959"/>
                  </a:cubicBezTo>
                  <a:cubicBezTo>
                    <a:pt x="195370" y="550436"/>
                    <a:pt x="203529" y="572193"/>
                    <a:pt x="208968" y="596670"/>
                  </a:cubicBezTo>
                  <a:cubicBezTo>
                    <a:pt x="211688" y="604829"/>
                    <a:pt x="211688" y="615708"/>
                    <a:pt x="214407" y="623867"/>
                  </a:cubicBezTo>
                  <a:cubicBezTo>
                    <a:pt x="217127" y="634745"/>
                    <a:pt x="222566" y="645624"/>
                    <a:pt x="228006" y="656502"/>
                  </a:cubicBezTo>
                  <a:cubicBezTo>
                    <a:pt x="236165" y="670101"/>
                    <a:pt x="252483" y="689138"/>
                    <a:pt x="271520" y="689138"/>
                  </a:cubicBezTo>
                  <a:cubicBezTo>
                    <a:pt x="287838" y="689138"/>
                    <a:pt x="298717" y="675540"/>
                    <a:pt x="306876" y="664661"/>
                  </a:cubicBezTo>
                  <a:cubicBezTo>
                    <a:pt x="320474" y="645624"/>
                    <a:pt x="325914" y="623867"/>
                    <a:pt x="331353" y="602109"/>
                  </a:cubicBezTo>
                  <a:cubicBezTo>
                    <a:pt x="334072" y="583072"/>
                    <a:pt x="336792" y="564034"/>
                    <a:pt x="336792" y="544997"/>
                  </a:cubicBezTo>
                  <a:cubicBezTo>
                    <a:pt x="336792" y="531398"/>
                    <a:pt x="336792" y="512361"/>
                    <a:pt x="336792" y="498762"/>
                  </a:cubicBezTo>
                  <a:cubicBezTo>
                    <a:pt x="336792" y="496043"/>
                    <a:pt x="336792" y="493323"/>
                    <a:pt x="336792" y="490603"/>
                  </a:cubicBezTo>
                  <a:cubicBezTo>
                    <a:pt x="336792" y="479725"/>
                    <a:pt x="336792" y="477005"/>
                    <a:pt x="320474" y="477005"/>
                  </a:cubicBezTo>
                  <a:cubicBezTo>
                    <a:pt x="309595" y="477005"/>
                    <a:pt x="295997" y="479725"/>
                    <a:pt x="282399" y="479725"/>
                  </a:cubicBezTo>
                  <a:cubicBezTo>
                    <a:pt x="271520" y="479725"/>
                    <a:pt x="260642" y="479725"/>
                    <a:pt x="252483" y="474286"/>
                  </a:cubicBezTo>
                  <a:cubicBezTo>
                    <a:pt x="249763" y="471566"/>
                    <a:pt x="247043" y="468846"/>
                    <a:pt x="247043" y="466126"/>
                  </a:cubicBezTo>
                  <a:cubicBezTo>
                    <a:pt x="247043" y="463407"/>
                    <a:pt x="247043" y="460687"/>
                    <a:pt x="249763" y="457968"/>
                  </a:cubicBezTo>
                  <a:cubicBezTo>
                    <a:pt x="255202" y="452528"/>
                    <a:pt x="260642" y="449809"/>
                    <a:pt x="268801" y="447089"/>
                  </a:cubicBezTo>
                  <a:cubicBezTo>
                    <a:pt x="282399" y="441650"/>
                    <a:pt x="295997" y="438930"/>
                    <a:pt x="312315" y="436210"/>
                  </a:cubicBezTo>
                  <a:cubicBezTo>
                    <a:pt x="325914" y="433491"/>
                    <a:pt x="339512" y="433491"/>
                    <a:pt x="353110" y="430771"/>
                  </a:cubicBezTo>
                  <a:cubicBezTo>
                    <a:pt x="363989" y="430771"/>
                    <a:pt x="374867" y="430771"/>
                    <a:pt x="385746" y="430771"/>
                  </a:cubicBezTo>
                  <a:cubicBezTo>
                    <a:pt x="402064" y="430771"/>
                    <a:pt x="426541" y="428051"/>
                    <a:pt x="437420" y="428051"/>
                  </a:cubicBezTo>
                  <a:cubicBezTo>
                    <a:pt x="451018" y="419892"/>
                    <a:pt x="464616" y="425332"/>
                    <a:pt x="464616" y="436210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/>
            </a:p>
          </p:txBody>
        </p:sp>
        <p:sp>
          <p:nvSpPr>
            <p:cNvPr id="42" name="Freeform: Shape 41">
              <a:extLst>
                <a:ext uri="{FF2B5EF4-FFF2-40B4-BE49-F238E27FC236}">
                  <a16:creationId xmlns:a16="http://schemas.microsoft.com/office/drawing/2014/main" id="{35CAD56A-462D-4366-9EFB-54581CD299AF}"/>
                </a:ext>
              </a:extLst>
            </p:cNvPr>
            <p:cNvSpPr/>
            <p:nvPr/>
          </p:nvSpPr>
          <p:spPr>
            <a:xfrm>
              <a:off x="5651630" y="4181279"/>
              <a:ext cx="734308" cy="788700"/>
            </a:xfrm>
            <a:custGeom>
              <a:avLst/>
              <a:gdLst>
                <a:gd name="connsiteX0" fmla="*/ 653783 w 734307"/>
                <a:gd name="connsiteY0" fmla="*/ 678259 h 788699"/>
                <a:gd name="connsiteX1" fmla="*/ 691859 w 734307"/>
                <a:gd name="connsiteY1" fmla="*/ 694577 h 788699"/>
                <a:gd name="connsiteX2" fmla="*/ 686419 w 734307"/>
                <a:gd name="connsiteY2" fmla="*/ 710895 h 788699"/>
                <a:gd name="connsiteX3" fmla="*/ 670101 w 734307"/>
                <a:gd name="connsiteY3" fmla="*/ 719054 h 788699"/>
                <a:gd name="connsiteX4" fmla="*/ 648344 w 734307"/>
                <a:gd name="connsiteY4" fmla="*/ 721774 h 788699"/>
                <a:gd name="connsiteX5" fmla="*/ 618428 w 734307"/>
                <a:gd name="connsiteY5" fmla="*/ 721774 h 788699"/>
                <a:gd name="connsiteX6" fmla="*/ 572194 w 734307"/>
                <a:gd name="connsiteY6" fmla="*/ 735372 h 788699"/>
                <a:gd name="connsiteX7" fmla="*/ 544997 w 734307"/>
                <a:gd name="connsiteY7" fmla="*/ 729933 h 788699"/>
                <a:gd name="connsiteX8" fmla="*/ 534119 w 734307"/>
                <a:gd name="connsiteY8" fmla="*/ 721774 h 788699"/>
                <a:gd name="connsiteX9" fmla="*/ 496043 w 734307"/>
                <a:gd name="connsiteY9" fmla="*/ 721774 h 788699"/>
                <a:gd name="connsiteX10" fmla="*/ 471566 w 734307"/>
                <a:gd name="connsiteY10" fmla="*/ 721774 h 788699"/>
                <a:gd name="connsiteX11" fmla="*/ 444370 w 734307"/>
                <a:gd name="connsiteY11" fmla="*/ 716335 h 788699"/>
                <a:gd name="connsiteX12" fmla="*/ 428052 w 734307"/>
                <a:gd name="connsiteY12" fmla="*/ 700017 h 788699"/>
                <a:gd name="connsiteX13" fmla="*/ 433491 w 734307"/>
                <a:gd name="connsiteY13" fmla="*/ 691858 h 788699"/>
                <a:gd name="connsiteX14" fmla="*/ 455248 w 734307"/>
                <a:gd name="connsiteY14" fmla="*/ 683699 h 788699"/>
                <a:gd name="connsiteX15" fmla="*/ 506922 w 734307"/>
                <a:gd name="connsiteY15" fmla="*/ 678259 h 788699"/>
                <a:gd name="connsiteX16" fmla="*/ 509641 w 734307"/>
                <a:gd name="connsiteY16" fmla="*/ 678259 h 788699"/>
                <a:gd name="connsiteX17" fmla="*/ 506922 w 734307"/>
                <a:gd name="connsiteY17" fmla="*/ 664661 h 788699"/>
                <a:gd name="connsiteX18" fmla="*/ 498763 w 734307"/>
                <a:gd name="connsiteY18" fmla="*/ 580352 h 788699"/>
                <a:gd name="connsiteX19" fmla="*/ 496043 w 734307"/>
                <a:gd name="connsiteY19" fmla="*/ 479725 h 788699"/>
                <a:gd name="connsiteX20" fmla="*/ 493324 w 734307"/>
                <a:gd name="connsiteY20" fmla="*/ 389976 h 788699"/>
                <a:gd name="connsiteX21" fmla="*/ 490604 w 734307"/>
                <a:gd name="connsiteY21" fmla="*/ 302947 h 788699"/>
                <a:gd name="connsiteX22" fmla="*/ 487884 w 734307"/>
                <a:gd name="connsiteY22" fmla="*/ 229516 h 788699"/>
                <a:gd name="connsiteX23" fmla="*/ 485165 w 734307"/>
                <a:gd name="connsiteY23" fmla="*/ 221357 h 788699"/>
                <a:gd name="connsiteX24" fmla="*/ 482445 w 734307"/>
                <a:gd name="connsiteY24" fmla="*/ 226797 h 788699"/>
                <a:gd name="connsiteX25" fmla="*/ 477006 w 734307"/>
                <a:gd name="connsiteY25" fmla="*/ 262152 h 788699"/>
                <a:gd name="connsiteX26" fmla="*/ 460688 w 734307"/>
                <a:gd name="connsiteY26" fmla="*/ 341022 h 788699"/>
                <a:gd name="connsiteX27" fmla="*/ 444370 w 734307"/>
                <a:gd name="connsiteY27" fmla="*/ 417173 h 788699"/>
                <a:gd name="connsiteX28" fmla="*/ 436211 w 734307"/>
                <a:gd name="connsiteY28" fmla="*/ 455248 h 788699"/>
                <a:gd name="connsiteX29" fmla="*/ 425332 w 734307"/>
                <a:gd name="connsiteY29" fmla="*/ 493323 h 788699"/>
                <a:gd name="connsiteX30" fmla="*/ 411734 w 734307"/>
                <a:gd name="connsiteY30" fmla="*/ 531398 h 788699"/>
                <a:gd name="connsiteX31" fmla="*/ 376378 w 734307"/>
                <a:gd name="connsiteY31" fmla="*/ 547716 h 788699"/>
                <a:gd name="connsiteX32" fmla="*/ 319265 w 734307"/>
                <a:gd name="connsiteY32" fmla="*/ 525959 h 788699"/>
                <a:gd name="connsiteX33" fmla="*/ 289349 w 734307"/>
                <a:gd name="connsiteY33" fmla="*/ 455248 h 788699"/>
                <a:gd name="connsiteX34" fmla="*/ 273031 w 734307"/>
                <a:gd name="connsiteY34" fmla="*/ 373658 h 788699"/>
                <a:gd name="connsiteX35" fmla="*/ 262153 w 734307"/>
                <a:gd name="connsiteY35" fmla="*/ 316545 h 788699"/>
                <a:gd name="connsiteX36" fmla="*/ 245835 w 734307"/>
                <a:gd name="connsiteY36" fmla="*/ 237675 h 788699"/>
                <a:gd name="connsiteX37" fmla="*/ 234956 w 734307"/>
                <a:gd name="connsiteY37" fmla="*/ 196881 h 788699"/>
                <a:gd name="connsiteX38" fmla="*/ 232236 w 734307"/>
                <a:gd name="connsiteY38" fmla="*/ 191441 h 788699"/>
                <a:gd name="connsiteX39" fmla="*/ 226797 w 734307"/>
                <a:gd name="connsiteY39" fmla="*/ 207759 h 788699"/>
                <a:gd name="connsiteX40" fmla="*/ 226797 w 734307"/>
                <a:gd name="connsiteY40" fmla="*/ 232236 h 788699"/>
                <a:gd name="connsiteX41" fmla="*/ 224077 w 734307"/>
                <a:gd name="connsiteY41" fmla="*/ 267592 h 788699"/>
                <a:gd name="connsiteX42" fmla="*/ 221358 w 734307"/>
                <a:gd name="connsiteY42" fmla="*/ 311106 h 788699"/>
                <a:gd name="connsiteX43" fmla="*/ 218638 w 734307"/>
                <a:gd name="connsiteY43" fmla="*/ 360060 h 788699"/>
                <a:gd name="connsiteX44" fmla="*/ 215919 w 734307"/>
                <a:gd name="connsiteY44" fmla="*/ 398135 h 788699"/>
                <a:gd name="connsiteX45" fmla="*/ 213199 w 734307"/>
                <a:gd name="connsiteY45" fmla="*/ 430771 h 788699"/>
                <a:gd name="connsiteX46" fmla="*/ 213199 w 734307"/>
                <a:gd name="connsiteY46" fmla="*/ 455248 h 788699"/>
                <a:gd name="connsiteX47" fmla="*/ 213199 w 734307"/>
                <a:gd name="connsiteY47" fmla="*/ 477005 h 788699"/>
                <a:gd name="connsiteX48" fmla="*/ 207759 w 734307"/>
                <a:gd name="connsiteY48" fmla="*/ 520520 h 788699"/>
                <a:gd name="connsiteX49" fmla="*/ 196881 w 734307"/>
                <a:gd name="connsiteY49" fmla="*/ 610268 h 788699"/>
                <a:gd name="connsiteX50" fmla="*/ 194161 w 734307"/>
                <a:gd name="connsiteY50" fmla="*/ 653783 h 788699"/>
                <a:gd name="connsiteX51" fmla="*/ 191441 w 734307"/>
                <a:gd name="connsiteY51" fmla="*/ 667381 h 788699"/>
                <a:gd name="connsiteX52" fmla="*/ 243115 w 734307"/>
                <a:gd name="connsiteY52" fmla="*/ 667381 h 788699"/>
                <a:gd name="connsiteX53" fmla="*/ 273031 w 734307"/>
                <a:gd name="connsiteY53" fmla="*/ 683699 h 788699"/>
                <a:gd name="connsiteX54" fmla="*/ 262153 w 734307"/>
                <a:gd name="connsiteY54" fmla="*/ 697297 h 788699"/>
                <a:gd name="connsiteX55" fmla="*/ 248554 w 734307"/>
                <a:gd name="connsiteY55" fmla="*/ 705456 h 788699"/>
                <a:gd name="connsiteX56" fmla="*/ 232236 w 734307"/>
                <a:gd name="connsiteY56" fmla="*/ 708176 h 788699"/>
                <a:gd name="connsiteX57" fmla="*/ 166965 w 734307"/>
                <a:gd name="connsiteY57" fmla="*/ 708176 h 788699"/>
                <a:gd name="connsiteX58" fmla="*/ 109852 w 734307"/>
                <a:gd name="connsiteY58" fmla="*/ 708176 h 788699"/>
                <a:gd name="connsiteX59" fmla="*/ 90814 w 734307"/>
                <a:gd name="connsiteY59" fmla="*/ 708176 h 788699"/>
                <a:gd name="connsiteX60" fmla="*/ 69057 w 734307"/>
                <a:gd name="connsiteY60" fmla="*/ 702736 h 788699"/>
                <a:gd name="connsiteX61" fmla="*/ 58178 w 734307"/>
                <a:gd name="connsiteY61" fmla="*/ 686418 h 788699"/>
                <a:gd name="connsiteX62" fmla="*/ 60898 w 734307"/>
                <a:gd name="connsiteY62" fmla="*/ 678259 h 788699"/>
                <a:gd name="connsiteX63" fmla="*/ 77216 w 734307"/>
                <a:gd name="connsiteY63" fmla="*/ 670101 h 788699"/>
                <a:gd name="connsiteX64" fmla="*/ 126170 w 734307"/>
                <a:gd name="connsiteY64" fmla="*/ 664661 h 788699"/>
                <a:gd name="connsiteX65" fmla="*/ 142487 w 734307"/>
                <a:gd name="connsiteY65" fmla="*/ 664661 h 788699"/>
                <a:gd name="connsiteX66" fmla="*/ 147927 w 734307"/>
                <a:gd name="connsiteY66" fmla="*/ 588511 h 788699"/>
                <a:gd name="connsiteX67" fmla="*/ 153366 w 734307"/>
                <a:gd name="connsiteY67" fmla="*/ 493323 h 788699"/>
                <a:gd name="connsiteX68" fmla="*/ 156086 w 734307"/>
                <a:gd name="connsiteY68" fmla="*/ 411733 h 788699"/>
                <a:gd name="connsiteX69" fmla="*/ 161525 w 734307"/>
                <a:gd name="connsiteY69" fmla="*/ 297508 h 788699"/>
                <a:gd name="connsiteX70" fmla="*/ 166965 w 734307"/>
                <a:gd name="connsiteY70" fmla="*/ 240395 h 788699"/>
                <a:gd name="connsiteX71" fmla="*/ 177843 w 734307"/>
                <a:gd name="connsiteY71" fmla="*/ 161525 h 788699"/>
                <a:gd name="connsiteX72" fmla="*/ 183282 w 734307"/>
                <a:gd name="connsiteY72" fmla="*/ 118011 h 788699"/>
                <a:gd name="connsiteX73" fmla="*/ 183282 w 734307"/>
                <a:gd name="connsiteY73" fmla="*/ 115291 h 788699"/>
                <a:gd name="connsiteX74" fmla="*/ 161525 w 734307"/>
                <a:gd name="connsiteY74" fmla="*/ 115291 h 788699"/>
                <a:gd name="connsiteX75" fmla="*/ 137048 w 734307"/>
                <a:gd name="connsiteY75" fmla="*/ 115291 h 788699"/>
                <a:gd name="connsiteX76" fmla="*/ 109852 w 734307"/>
                <a:gd name="connsiteY76" fmla="*/ 109851 h 788699"/>
                <a:gd name="connsiteX77" fmla="*/ 93534 w 734307"/>
                <a:gd name="connsiteY77" fmla="*/ 93534 h 788699"/>
                <a:gd name="connsiteX78" fmla="*/ 98973 w 734307"/>
                <a:gd name="connsiteY78" fmla="*/ 85375 h 788699"/>
                <a:gd name="connsiteX79" fmla="*/ 120730 w 734307"/>
                <a:gd name="connsiteY79" fmla="*/ 77216 h 788699"/>
                <a:gd name="connsiteX80" fmla="*/ 172404 w 734307"/>
                <a:gd name="connsiteY80" fmla="*/ 71776 h 788699"/>
                <a:gd name="connsiteX81" fmla="*/ 234956 w 734307"/>
                <a:gd name="connsiteY81" fmla="*/ 69057 h 788699"/>
                <a:gd name="connsiteX82" fmla="*/ 243115 w 734307"/>
                <a:gd name="connsiteY82" fmla="*/ 69057 h 788699"/>
                <a:gd name="connsiteX83" fmla="*/ 270312 w 734307"/>
                <a:gd name="connsiteY83" fmla="*/ 74496 h 788699"/>
                <a:gd name="connsiteX84" fmla="*/ 308387 w 734307"/>
                <a:gd name="connsiteY84" fmla="*/ 123450 h 788699"/>
                <a:gd name="connsiteX85" fmla="*/ 332864 w 734307"/>
                <a:gd name="connsiteY85" fmla="*/ 202320 h 788699"/>
                <a:gd name="connsiteX86" fmla="*/ 338303 w 734307"/>
                <a:gd name="connsiteY86" fmla="*/ 237675 h 788699"/>
                <a:gd name="connsiteX87" fmla="*/ 349182 w 734307"/>
                <a:gd name="connsiteY87" fmla="*/ 281190 h 788699"/>
                <a:gd name="connsiteX88" fmla="*/ 357341 w 734307"/>
                <a:gd name="connsiteY88" fmla="*/ 316545 h 788699"/>
                <a:gd name="connsiteX89" fmla="*/ 365500 w 734307"/>
                <a:gd name="connsiteY89" fmla="*/ 351901 h 788699"/>
                <a:gd name="connsiteX90" fmla="*/ 376378 w 734307"/>
                <a:gd name="connsiteY90" fmla="*/ 389976 h 788699"/>
                <a:gd name="connsiteX91" fmla="*/ 387257 w 734307"/>
                <a:gd name="connsiteY91" fmla="*/ 414453 h 788699"/>
                <a:gd name="connsiteX92" fmla="*/ 398136 w 734307"/>
                <a:gd name="connsiteY92" fmla="*/ 376378 h 788699"/>
                <a:gd name="connsiteX93" fmla="*/ 406295 w 734307"/>
                <a:gd name="connsiteY93" fmla="*/ 332863 h 788699"/>
                <a:gd name="connsiteX94" fmla="*/ 425332 w 734307"/>
                <a:gd name="connsiteY94" fmla="*/ 243115 h 788699"/>
                <a:gd name="connsiteX95" fmla="*/ 444370 w 734307"/>
                <a:gd name="connsiteY95" fmla="*/ 150646 h 788699"/>
                <a:gd name="connsiteX96" fmla="*/ 477006 w 734307"/>
                <a:gd name="connsiteY96" fmla="*/ 79935 h 788699"/>
                <a:gd name="connsiteX97" fmla="*/ 523240 w 734307"/>
                <a:gd name="connsiteY97" fmla="*/ 58178 h 788699"/>
                <a:gd name="connsiteX98" fmla="*/ 544997 w 734307"/>
                <a:gd name="connsiteY98" fmla="*/ 63617 h 788699"/>
                <a:gd name="connsiteX99" fmla="*/ 612988 w 734307"/>
                <a:gd name="connsiteY99" fmla="*/ 63617 h 788699"/>
                <a:gd name="connsiteX100" fmla="*/ 651064 w 734307"/>
                <a:gd name="connsiteY100" fmla="*/ 79935 h 788699"/>
                <a:gd name="connsiteX101" fmla="*/ 645624 w 734307"/>
                <a:gd name="connsiteY101" fmla="*/ 96253 h 788699"/>
                <a:gd name="connsiteX102" fmla="*/ 629307 w 734307"/>
                <a:gd name="connsiteY102" fmla="*/ 104412 h 788699"/>
                <a:gd name="connsiteX103" fmla="*/ 607549 w 734307"/>
                <a:gd name="connsiteY103" fmla="*/ 107132 h 788699"/>
                <a:gd name="connsiteX104" fmla="*/ 580353 w 734307"/>
                <a:gd name="connsiteY104" fmla="*/ 107132 h 788699"/>
                <a:gd name="connsiteX105" fmla="*/ 583072 w 734307"/>
                <a:gd name="connsiteY105" fmla="*/ 115291 h 788699"/>
                <a:gd name="connsiteX106" fmla="*/ 588512 w 734307"/>
                <a:gd name="connsiteY106" fmla="*/ 156086 h 788699"/>
                <a:gd name="connsiteX107" fmla="*/ 593951 w 734307"/>
                <a:gd name="connsiteY107" fmla="*/ 196881 h 788699"/>
                <a:gd name="connsiteX108" fmla="*/ 599390 w 734307"/>
                <a:gd name="connsiteY108" fmla="*/ 226797 h 788699"/>
                <a:gd name="connsiteX109" fmla="*/ 599390 w 734307"/>
                <a:gd name="connsiteY109" fmla="*/ 232236 h 788699"/>
                <a:gd name="connsiteX110" fmla="*/ 599390 w 734307"/>
                <a:gd name="connsiteY110" fmla="*/ 240395 h 788699"/>
                <a:gd name="connsiteX111" fmla="*/ 602110 w 734307"/>
                <a:gd name="connsiteY111" fmla="*/ 270311 h 788699"/>
                <a:gd name="connsiteX112" fmla="*/ 607549 w 734307"/>
                <a:gd name="connsiteY112" fmla="*/ 308386 h 788699"/>
                <a:gd name="connsiteX113" fmla="*/ 607549 w 734307"/>
                <a:gd name="connsiteY113" fmla="*/ 319265 h 788699"/>
                <a:gd name="connsiteX114" fmla="*/ 612988 w 734307"/>
                <a:gd name="connsiteY114" fmla="*/ 335583 h 788699"/>
                <a:gd name="connsiteX115" fmla="*/ 612988 w 734307"/>
                <a:gd name="connsiteY115" fmla="*/ 346462 h 788699"/>
                <a:gd name="connsiteX116" fmla="*/ 612988 w 734307"/>
                <a:gd name="connsiteY116" fmla="*/ 370939 h 788699"/>
                <a:gd name="connsiteX117" fmla="*/ 612988 w 734307"/>
                <a:gd name="connsiteY117" fmla="*/ 395415 h 788699"/>
                <a:gd name="connsiteX118" fmla="*/ 615708 w 734307"/>
                <a:gd name="connsiteY118" fmla="*/ 422612 h 788699"/>
                <a:gd name="connsiteX119" fmla="*/ 618428 w 734307"/>
                <a:gd name="connsiteY119" fmla="*/ 441650 h 788699"/>
                <a:gd name="connsiteX120" fmla="*/ 618428 w 734307"/>
                <a:gd name="connsiteY120" fmla="*/ 455248 h 788699"/>
                <a:gd name="connsiteX121" fmla="*/ 621147 w 734307"/>
                <a:gd name="connsiteY121" fmla="*/ 463407 h 788699"/>
                <a:gd name="connsiteX122" fmla="*/ 626587 w 734307"/>
                <a:gd name="connsiteY122" fmla="*/ 482444 h 788699"/>
                <a:gd name="connsiteX123" fmla="*/ 629307 w 734307"/>
                <a:gd name="connsiteY123" fmla="*/ 517800 h 788699"/>
                <a:gd name="connsiteX124" fmla="*/ 634746 w 734307"/>
                <a:gd name="connsiteY124" fmla="*/ 561314 h 788699"/>
                <a:gd name="connsiteX125" fmla="*/ 634746 w 734307"/>
                <a:gd name="connsiteY125" fmla="*/ 566754 h 788699"/>
                <a:gd name="connsiteX126" fmla="*/ 634746 w 734307"/>
                <a:gd name="connsiteY126" fmla="*/ 583072 h 788699"/>
                <a:gd name="connsiteX127" fmla="*/ 637466 w 734307"/>
                <a:gd name="connsiteY127" fmla="*/ 607548 h 788699"/>
                <a:gd name="connsiteX128" fmla="*/ 640185 w 734307"/>
                <a:gd name="connsiteY128" fmla="*/ 618427 h 788699"/>
                <a:gd name="connsiteX129" fmla="*/ 640185 w 734307"/>
                <a:gd name="connsiteY129" fmla="*/ 632025 h 788699"/>
                <a:gd name="connsiteX130" fmla="*/ 640185 w 734307"/>
                <a:gd name="connsiteY130" fmla="*/ 640184 h 788699"/>
                <a:gd name="connsiteX131" fmla="*/ 642905 w 734307"/>
                <a:gd name="connsiteY131" fmla="*/ 659222 h 788699"/>
                <a:gd name="connsiteX132" fmla="*/ 642905 w 734307"/>
                <a:gd name="connsiteY132" fmla="*/ 664661 h 788699"/>
                <a:gd name="connsiteX133" fmla="*/ 653783 w 734307"/>
                <a:gd name="connsiteY133" fmla="*/ 678259 h 788699"/>
                <a:gd name="connsiteX134" fmla="*/ 653783 w 734307"/>
                <a:gd name="connsiteY134" fmla="*/ 678259 h 7886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</a:cxnLst>
              <a:rect l="l" t="t" r="r" b="b"/>
              <a:pathLst>
                <a:path w="734307" h="788699">
                  <a:moveTo>
                    <a:pt x="653783" y="678259"/>
                  </a:moveTo>
                  <a:cubicBezTo>
                    <a:pt x="667382" y="678259"/>
                    <a:pt x="691859" y="678259"/>
                    <a:pt x="691859" y="694577"/>
                  </a:cubicBezTo>
                  <a:cubicBezTo>
                    <a:pt x="691859" y="702736"/>
                    <a:pt x="689139" y="705456"/>
                    <a:pt x="686419" y="710895"/>
                  </a:cubicBezTo>
                  <a:cubicBezTo>
                    <a:pt x="683700" y="716335"/>
                    <a:pt x="675541" y="719054"/>
                    <a:pt x="670101" y="719054"/>
                  </a:cubicBezTo>
                  <a:cubicBezTo>
                    <a:pt x="661942" y="721774"/>
                    <a:pt x="653783" y="721774"/>
                    <a:pt x="648344" y="721774"/>
                  </a:cubicBezTo>
                  <a:cubicBezTo>
                    <a:pt x="645624" y="721774"/>
                    <a:pt x="634746" y="721774"/>
                    <a:pt x="618428" y="721774"/>
                  </a:cubicBezTo>
                  <a:cubicBezTo>
                    <a:pt x="604829" y="729933"/>
                    <a:pt x="588512" y="735372"/>
                    <a:pt x="572194" y="735372"/>
                  </a:cubicBezTo>
                  <a:cubicBezTo>
                    <a:pt x="564035" y="735372"/>
                    <a:pt x="553156" y="732653"/>
                    <a:pt x="544997" y="729933"/>
                  </a:cubicBezTo>
                  <a:cubicBezTo>
                    <a:pt x="539558" y="727213"/>
                    <a:pt x="536838" y="724494"/>
                    <a:pt x="534119" y="721774"/>
                  </a:cubicBezTo>
                  <a:cubicBezTo>
                    <a:pt x="520520" y="721774"/>
                    <a:pt x="509641" y="721774"/>
                    <a:pt x="496043" y="721774"/>
                  </a:cubicBezTo>
                  <a:cubicBezTo>
                    <a:pt x="487884" y="721774"/>
                    <a:pt x="479725" y="721774"/>
                    <a:pt x="471566" y="721774"/>
                  </a:cubicBezTo>
                  <a:cubicBezTo>
                    <a:pt x="463407" y="721774"/>
                    <a:pt x="452529" y="721774"/>
                    <a:pt x="444370" y="716335"/>
                  </a:cubicBezTo>
                  <a:cubicBezTo>
                    <a:pt x="436211" y="713615"/>
                    <a:pt x="428052" y="705456"/>
                    <a:pt x="428052" y="700017"/>
                  </a:cubicBezTo>
                  <a:cubicBezTo>
                    <a:pt x="428052" y="697297"/>
                    <a:pt x="428052" y="694577"/>
                    <a:pt x="433491" y="691858"/>
                  </a:cubicBezTo>
                  <a:cubicBezTo>
                    <a:pt x="438930" y="689138"/>
                    <a:pt x="449809" y="686418"/>
                    <a:pt x="455248" y="683699"/>
                  </a:cubicBezTo>
                  <a:cubicBezTo>
                    <a:pt x="474286" y="680979"/>
                    <a:pt x="498763" y="678259"/>
                    <a:pt x="506922" y="678259"/>
                  </a:cubicBezTo>
                  <a:cubicBezTo>
                    <a:pt x="506922" y="678259"/>
                    <a:pt x="509641" y="678259"/>
                    <a:pt x="509641" y="678259"/>
                  </a:cubicBezTo>
                  <a:cubicBezTo>
                    <a:pt x="509641" y="672820"/>
                    <a:pt x="506922" y="670101"/>
                    <a:pt x="506922" y="664661"/>
                  </a:cubicBezTo>
                  <a:cubicBezTo>
                    <a:pt x="501483" y="640184"/>
                    <a:pt x="501483" y="612988"/>
                    <a:pt x="498763" y="580352"/>
                  </a:cubicBezTo>
                  <a:cubicBezTo>
                    <a:pt x="496043" y="547716"/>
                    <a:pt x="498763" y="512361"/>
                    <a:pt x="496043" y="479725"/>
                  </a:cubicBezTo>
                  <a:cubicBezTo>
                    <a:pt x="493324" y="449808"/>
                    <a:pt x="493324" y="419892"/>
                    <a:pt x="493324" y="389976"/>
                  </a:cubicBezTo>
                  <a:cubicBezTo>
                    <a:pt x="493324" y="360060"/>
                    <a:pt x="490604" y="332863"/>
                    <a:pt x="490604" y="302947"/>
                  </a:cubicBezTo>
                  <a:cubicBezTo>
                    <a:pt x="487884" y="275751"/>
                    <a:pt x="487884" y="240395"/>
                    <a:pt x="487884" y="229516"/>
                  </a:cubicBezTo>
                  <a:cubicBezTo>
                    <a:pt x="487884" y="224077"/>
                    <a:pt x="487884" y="221357"/>
                    <a:pt x="485165" y="221357"/>
                  </a:cubicBezTo>
                  <a:cubicBezTo>
                    <a:pt x="485165" y="221357"/>
                    <a:pt x="482445" y="224077"/>
                    <a:pt x="482445" y="226797"/>
                  </a:cubicBezTo>
                  <a:cubicBezTo>
                    <a:pt x="479725" y="237675"/>
                    <a:pt x="479725" y="251274"/>
                    <a:pt x="477006" y="262152"/>
                  </a:cubicBezTo>
                  <a:cubicBezTo>
                    <a:pt x="471566" y="289349"/>
                    <a:pt x="466127" y="316545"/>
                    <a:pt x="460688" y="341022"/>
                  </a:cubicBezTo>
                  <a:cubicBezTo>
                    <a:pt x="455248" y="365499"/>
                    <a:pt x="447090" y="392696"/>
                    <a:pt x="444370" y="417173"/>
                  </a:cubicBezTo>
                  <a:cubicBezTo>
                    <a:pt x="441650" y="430771"/>
                    <a:pt x="438930" y="441650"/>
                    <a:pt x="436211" y="455248"/>
                  </a:cubicBezTo>
                  <a:cubicBezTo>
                    <a:pt x="433491" y="468846"/>
                    <a:pt x="428052" y="479725"/>
                    <a:pt x="425332" y="493323"/>
                  </a:cubicBezTo>
                  <a:cubicBezTo>
                    <a:pt x="422612" y="506921"/>
                    <a:pt x="419893" y="520520"/>
                    <a:pt x="411734" y="531398"/>
                  </a:cubicBezTo>
                  <a:cubicBezTo>
                    <a:pt x="406295" y="539557"/>
                    <a:pt x="395416" y="547716"/>
                    <a:pt x="376378" y="547716"/>
                  </a:cubicBezTo>
                  <a:cubicBezTo>
                    <a:pt x="357341" y="547716"/>
                    <a:pt x="335583" y="539557"/>
                    <a:pt x="319265" y="525959"/>
                  </a:cubicBezTo>
                  <a:cubicBezTo>
                    <a:pt x="300228" y="506921"/>
                    <a:pt x="294788" y="479725"/>
                    <a:pt x="289349" y="455248"/>
                  </a:cubicBezTo>
                  <a:cubicBezTo>
                    <a:pt x="283910" y="428051"/>
                    <a:pt x="278470" y="400855"/>
                    <a:pt x="273031" y="373658"/>
                  </a:cubicBezTo>
                  <a:cubicBezTo>
                    <a:pt x="273031" y="368219"/>
                    <a:pt x="267592" y="346462"/>
                    <a:pt x="262153" y="316545"/>
                  </a:cubicBezTo>
                  <a:cubicBezTo>
                    <a:pt x="256713" y="292068"/>
                    <a:pt x="251274" y="262152"/>
                    <a:pt x="245835" y="237675"/>
                  </a:cubicBezTo>
                  <a:cubicBezTo>
                    <a:pt x="240395" y="218638"/>
                    <a:pt x="237675" y="205039"/>
                    <a:pt x="234956" y="196881"/>
                  </a:cubicBezTo>
                  <a:cubicBezTo>
                    <a:pt x="232236" y="191441"/>
                    <a:pt x="232236" y="191441"/>
                    <a:pt x="232236" y="191441"/>
                  </a:cubicBezTo>
                  <a:cubicBezTo>
                    <a:pt x="229517" y="191441"/>
                    <a:pt x="229517" y="196881"/>
                    <a:pt x="226797" y="207759"/>
                  </a:cubicBezTo>
                  <a:cubicBezTo>
                    <a:pt x="226797" y="215918"/>
                    <a:pt x="226797" y="229516"/>
                    <a:pt x="226797" y="232236"/>
                  </a:cubicBezTo>
                  <a:cubicBezTo>
                    <a:pt x="226797" y="243115"/>
                    <a:pt x="224077" y="256713"/>
                    <a:pt x="224077" y="267592"/>
                  </a:cubicBezTo>
                  <a:cubicBezTo>
                    <a:pt x="224077" y="278470"/>
                    <a:pt x="224077" y="294788"/>
                    <a:pt x="221358" y="311106"/>
                  </a:cubicBezTo>
                  <a:cubicBezTo>
                    <a:pt x="221358" y="327424"/>
                    <a:pt x="218638" y="343742"/>
                    <a:pt x="218638" y="360060"/>
                  </a:cubicBezTo>
                  <a:cubicBezTo>
                    <a:pt x="218638" y="373658"/>
                    <a:pt x="215919" y="384537"/>
                    <a:pt x="215919" y="398135"/>
                  </a:cubicBezTo>
                  <a:cubicBezTo>
                    <a:pt x="215919" y="409014"/>
                    <a:pt x="213199" y="419892"/>
                    <a:pt x="213199" y="430771"/>
                  </a:cubicBezTo>
                  <a:cubicBezTo>
                    <a:pt x="213199" y="438930"/>
                    <a:pt x="213199" y="447089"/>
                    <a:pt x="213199" y="455248"/>
                  </a:cubicBezTo>
                  <a:cubicBezTo>
                    <a:pt x="213199" y="463407"/>
                    <a:pt x="213199" y="471566"/>
                    <a:pt x="213199" y="477005"/>
                  </a:cubicBezTo>
                  <a:cubicBezTo>
                    <a:pt x="210479" y="490603"/>
                    <a:pt x="207759" y="506921"/>
                    <a:pt x="207759" y="520520"/>
                  </a:cubicBezTo>
                  <a:cubicBezTo>
                    <a:pt x="202320" y="550436"/>
                    <a:pt x="199600" y="580352"/>
                    <a:pt x="196881" y="610268"/>
                  </a:cubicBezTo>
                  <a:cubicBezTo>
                    <a:pt x="196881" y="623866"/>
                    <a:pt x="196881" y="640184"/>
                    <a:pt x="194161" y="653783"/>
                  </a:cubicBezTo>
                  <a:cubicBezTo>
                    <a:pt x="194161" y="659222"/>
                    <a:pt x="194161" y="661942"/>
                    <a:pt x="191441" y="667381"/>
                  </a:cubicBezTo>
                  <a:cubicBezTo>
                    <a:pt x="213199" y="667381"/>
                    <a:pt x="232236" y="667381"/>
                    <a:pt x="243115" y="667381"/>
                  </a:cubicBezTo>
                  <a:cubicBezTo>
                    <a:pt x="253994" y="667381"/>
                    <a:pt x="273031" y="670101"/>
                    <a:pt x="273031" y="683699"/>
                  </a:cubicBezTo>
                  <a:cubicBezTo>
                    <a:pt x="273031" y="691858"/>
                    <a:pt x="267592" y="691858"/>
                    <a:pt x="262153" y="697297"/>
                  </a:cubicBezTo>
                  <a:cubicBezTo>
                    <a:pt x="259433" y="702736"/>
                    <a:pt x="253994" y="705456"/>
                    <a:pt x="248554" y="705456"/>
                  </a:cubicBezTo>
                  <a:cubicBezTo>
                    <a:pt x="240395" y="708176"/>
                    <a:pt x="234956" y="708176"/>
                    <a:pt x="232236" y="708176"/>
                  </a:cubicBezTo>
                  <a:cubicBezTo>
                    <a:pt x="226797" y="708176"/>
                    <a:pt x="175124" y="708176"/>
                    <a:pt x="166965" y="708176"/>
                  </a:cubicBezTo>
                  <a:cubicBezTo>
                    <a:pt x="156086" y="708176"/>
                    <a:pt x="120730" y="708176"/>
                    <a:pt x="109852" y="708176"/>
                  </a:cubicBezTo>
                  <a:cubicBezTo>
                    <a:pt x="104412" y="708176"/>
                    <a:pt x="96253" y="708176"/>
                    <a:pt x="90814" y="708176"/>
                  </a:cubicBezTo>
                  <a:cubicBezTo>
                    <a:pt x="85375" y="708176"/>
                    <a:pt x="77216" y="705456"/>
                    <a:pt x="69057" y="702736"/>
                  </a:cubicBezTo>
                  <a:cubicBezTo>
                    <a:pt x="63617" y="700017"/>
                    <a:pt x="58178" y="691858"/>
                    <a:pt x="58178" y="686418"/>
                  </a:cubicBezTo>
                  <a:cubicBezTo>
                    <a:pt x="58178" y="683699"/>
                    <a:pt x="58178" y="680979"/>
                    <a:pt x="60898" y="678259"/>
                  </a:cubicBezTo>
                  <a:cubicBezTo>
                    <a:pt x="63617" y="675540"/>
                    <a:pt x="71777" y="672820"/>
                    <a:pt x="77216" y="670101"/>
                  </a:cubicBezTo>
                  <a:cubicBezTo>
                    <a:pt x="90814" y="667381"/>
                    <a:pt x="120730" y="664661"/>
                    <a:pt x="126170" y="664661"/>
                  </a:cubicBezTo>
                  <a:cubicBezTo>
                    <a:pt x="128889" y="664661"/>
                    <a:pt x="134329" y="664661"/>
                    <a:pt x="142487" y="664661"/>
                  </a:cubicBezTo>
                  <a:cubicBezTo>
                    <a:pt x="142487" y="640184"/>
                    <a:pt x="147927" y="612988"/>
                    <a:pt x="147927" y="588511"/>
                  </a:cubicBezTo>
                  <a:cubicBezTo>
                    <a:pt x="150646" y="555875"/>
                    <a:pt x="153366" y="523239"/>
                    <a:pt x="153366" y="493323"/>
                  </a:cubicBezTo>
                  <a:cubicBezTo>
                    <a:pt x="153366" y="466126"/>
                    <a:pt x="156086" y="438930"/>
                    <a:pt x="156086" y="411733"/>
                  </a:cubicBezTo>
                  <a:cubicBezTo>
                    <a:pt x="158806" y="373658"/>
                    <a:pt x="158806" y="335583"/>
                    <a:pt x="161525" y="297508"/>
                  </a:cubicBezTo>
                  <a:cubicBezTo>
                    <a:pt x="161525" y="278470"/>
                    <a:pt x="164245" y="259433"/>
                    <a:pt x="166965" y="240395"/>
                  </a:cubicBezTo>
                  <a:cubicBezTo>
                    <a:pt x="169684" y="210479"/>
                    <a:pt x="172404" y="191441"/>
                    <a:pt x="177843" y="161525"/>
                  </a:cubicBezTo>
                  <a:cubicBezTo>
                    <a:pt x="180563" y="147927"/>
                    <a:pt x="180563" y="131609"/>
                    <a:pt x="183282" y="118011"/>
                  </a:cubicBezTo>
                  <a:cubicBezTo>
                    <a:pt x="183282" y="118011"/>
                    <a:pt x="183282" y="115291"/>
                    <a:pt x="183282" y="115291"/>
                  </a:cubicBezTo>
                  <a:cubicBezTo>
                    <a:pt x="177843" y="115291"/>
                    <a:pt x="172404" y="115291"/>
                    <a:pt x="161525" y="115291"/>
                  </a:cubicBezTo>
                  <a:cubicBezTo>
                    <a:pt x="153366" y="115291"/>
                    <a:pt x="145207" y="115291"/>
                    <a:pt x="137048" y="115291"/>
                  </a:cubicBezTo>
                  <a:cubicBezTo>
                    <a:pt x="128889" y="115291"/>
                    <a:pt x="118011" y="115291"/>
                    <a:pt x="109852" y="109851"/>
                  </a:cubicBezTo>
                  <a:cubicBezTo>
                    <a:pt x="101693" y="107132"/>
                    <a:pt x="93534" y="98973"/>
                    <a:pt x="93534" y="93534"/>
                  </a:cubicBezTo>
                  <a:cubicBezTo>
                    <a:pt x="93534" y="90814"/>
                    <a:pt x="93534" y="88094"/>
                    <a:pt x="98973" y="85375"/>
                  </a:cubicBezTo>
                  <a:cubicBezTo>
                    <a:pt x="104412" y="82655"/>
                    <a:pt x="115291" y="79935"/>
                    <a:pt x="120730" y="77216"/>
                  </a:cubicBezTo>
                  <a:cubicBezTo>
                    <a:pt x="139768" y="74496"/>
                    <a:pt x="164245" y="71776"/>
                    <a:pt x="172404" y="71776"/>
                  </a:cubicBezTo>
                  <a:cubicBezTo>
                    <a:pt x="194161" y="71776"/>
                    <a:pt x="210479" y="69057"/>
                    <a:pt x="234956" y="69057"/>
                  </a:cubicBezTo>
                  <a:cubicBezTo>
                    <a:pt x="237675" y="69057"/>
                    <a:pt x="240395" y="69057"/>
                    <a:pt x="243115" y="69057"/>
                  </a:cubicBezTo>
                  <a:cubicBezTo>
                    <a:pt x="251274" y="69057"/>
                    <a:pt x="262153" y="69057"/>
                    <a:pt x="270312" y="74496"/>
                  </a:cubicBezTo>
                  <a:cubicBezTo>
                    <a:pt x="283910" y="82655"/>
                    <a:pt x="300228" y="96253"/>
                    <a:pt x="308387" y="123450"/>
                  </a:cubicBezTo>
                  <a:cubicBezTo>
                    <a:pt x="316546" y="147927"/>
                    <a:pt x="327424" y="175123"/>
                    <a:pt x="332864" y="202320"/>
                  </a:cubicBezTo>
                  <a:cubicBezTo>
                    <a:pt x="335583" y="213198"/>
                    <a:pt x="335583" y="226797"/>
                    <a:pt x="338303" y="237675"/>
                  </a:cubicBezTo>
                  <a:cubicBezTo>
                    <a:pt x="343742" y="251274"/>
                    <a:pt x="346462" y="264872"/>
                    <a:pt x="349182" y="281190"/>
                  </a:cubicBezTo>
                  <a:cubicBezTo>
                    <a:pt x="351901" y="292068"/>
                    <a:pt x="351901" y="305667"/>
                    <a:pt x="357341" y="316545"/>
                  </a:cubicBezTo>
                  <a:cubicBezTo>
                    <a:pt x="362780" y="327424"/>
                    <a:pt x="362780" y="338303"/>
                    <a:pt x="365500" y="351901"/>
                  </a:cubicBezTo>
                  <a:cubicBezTo>
                    <a:pt x="365500" y="357340"/>
                    <a:pt x="373658" y="373658"/>
                    <a:pt x="376378" y="389976"/>
                  </a:cubicBezTo>
                  <a:cubicBezTo>
                    <a:pt x="381817" y="403574"/>
                    <a:pt x="384537" y="414453"/>
                    <a:pt x="387257" y="414453"/>
                  </a:cubicBezTo>
                  <a:cubicBezTo>
                    <a:pt x="392696" y="414453"/>
                    <a:pt x="395416" y="381817"/>
                    <a:pt x="398136" y="376378"/>
                  </a:cubicBezTo>
                  <a:cubicBezTo>
                    <a:pt x="400855" y="362779"/>
                    <a:pt x="403575" y="346462"/>
                    <a:pt x="406295" y="332863"/>
                  </a:cubicBezTo>
                  <a:cubicBezTo>
                    <a:pt x="411734" y="302947"/>
                    <a:pt x="417173" y="273031"/>
                    <a:pt x="425332" y="243115"/>
                  </a:cubicBezTo>
                  <a:cubicBezTo>
                    <a:pt x="430771" y="213198"/>
                    <a:pt x="436211" y="180563"/>
                    <a:pt x="444370" y="150646"/>
                  </a:cubicBezTo>
                  <a:cubicBezTo>
                    <a:pt x="449809" y="126170"/>
                    <a:pt x="460688" y="98973"/>
                    <a:pt x="477006" y="79935"/>
                  </a:cubicBezTo>
                  <a:cubicBezTo>
                    <a:pt x="487884" y="66337"/>
                    <a:pt x="506922" y="58178"/>
                    <a:pt x="523240" y="58178"/>
                  </a:cubicBezTo>
                  <a:cubicBezTo>
                    <a:pt x="528679" y="58178"/>
                    <a:pt x="539558" y="58178"/>
                    <a:pt x="544997" y="63617"/>
                  </a:cubicBezTo>
                  <a:lnTo>
                    <a:pt x="612988" y="63617"/>
                  </a:lnTo>
                  <a:cubicBezTo>
                    <a:pt x="626587" y="63617"/>
                    <a:pt x="651064" y="63617"/>
                    <a:pt x="651064" y="79935"/>
                  </a:cubicBezTo>
                  <a:cubicBezTo>
                    <a:pt x="651064" y="88094"/>
                    <a:pt x="648344" y="88094"/>
                    <a:pt x="645624" y="96253"/>
                  </a:cubicBezTo>
                  <a:cubicBezTo>
                    <a:pt x="640185" y="101693"/>
                    <a:pt x="634746" y="104412"/>
                    <a:pt x="629307" y="104412"/>
                  </a:cubicBezTo>
                  <a:cubicBezTo>
                    <a:pt x="621147" y="107132"/>
                    <a:pt x="612988" y="107132"/>
                    <a:pt x="607549" y="107132"/>
                  </a:cubicBezTo>
                  <a:cubicBezTo>
                    <a:pt x="604829" y="107132"/>
                    <a:pt x="591231" y="107132"/>
                    <a:pt x="580353" y="107132"/>
                  </a:cubicBezTo>
                  <a:cubicBezTo>
                    <a:pt x="580353" y="109851"/>
                    <a:pt x="583072" y="112571"/>
                    <a:pt x="583072" y="115291"/>
                  </a:cubicBezTo>
                  <a:cubicBezTo>
                    <a:pt x="585792" y="128889"/>
                    <a:pt x="585792" y="142487"/>
                    <a:pt x="588512" y="156086"/>
                  </a:cubicBezTo>
                  <a:cubicBezTo>
                    <a:pt x="591231" y="169684"/>
                    <a:pt x="591231" y="183282"/>
                    <a:pt x="593951" y="196881"/>
                  </a:cubicBezTo>
                  <a:cubicBezTo>
                    <a:pt x="593951" y="207759"/>
                    <a:pt x="599390" y="215918"/>
                    <a:pt x="599390" y="226797"/>
                  </a:cubicBezTo>
                  <a:cubicBezTo>
                    <a:pt x="599390" y="229516"/>
                    <a:pt x="599390" y="229516"/>
                    <a:pt x="599390" y="232236"/>
                  </a:cubicBezTo>
                  <a:cubicBezTo>
                    <a:pt x="599390" y="234956"/>
                    <a:pt x="599390" y="237675"/>
                    <a:pt x="599390" y="240395"/>
                  </a:cubicBezTo>
                  <a:cubicBezTo>
                    <a:pt x="599390" y="251274"/>
                    <a:pt x="599390" y="259433"/>
                    <a:pt x="602110" y="270311"/>
                  </a:cubicBezTo>
                  <a:cubicBezTo>
                    <a:pt x="604829" y="283909"/>
                    <a:pt x="607549" y="294788"/>
                    <a:pt x="607549" y="308386"/>
                  </a:cubicBezTo>
                  <a:cubicBezTo>
                    <a:pt x="607549" y="311106"/>
                    <a:pt x="607549" y="316545"/>
                    <a:pt x="607549" y="319265"/>
                  </a:cubicBezTo>
                  <a:cubicBezTo>
                    <a:pt x="607549" y="324704"/>
                    <a:pt x="610269" y="330144"/>
                    <a:pt x="612988" y="335583"/>
                  </a:cubicBezTo>
                  <a:cubicBezTo>
                    <a:pt x="612988" y="338303"/>
                    <a:pt x="612988" y="343742"/>
                    <a:pt x="612988" y="346462"/>
                  </a:cubicBezTo>
                  <a:cubicBezTo>
                    <a:pt x="612988" y="354620"/>
                    <a:pt x="612988" y="362779"/>
                    <a:pt x="612988" y="370939"/>
                  </a:cubicBezTo>
                  <a:cubicBezTo>
                    <a:pt x="612988" y="379097"/>
                    <a:pt x="612988" y="387256"/>
                    <a:pt x="612988" y="395415"/>
                  </a:cubicBezTo>
                  <a:cubicBezTo>
                    <a:pt x="612988" y="403574"/>
                    <a:pt x="615708" y="414453"/>
                    <a:pt x="615708" y="422612"/>
                  </a:cubicBezTo>
                  <a:cubicBezTo>
                    <a:pt x="618428" y="430771"/>
                    <a:pt x="618428" y="436210"/>
                    <a:pt x="618428" y="441650"/>
                  </a:cubicBezTo>
                  <a:cubicBezTo>
                    <a:pt x="618428" y="444369"/>
                    <a:pt x="618428" y="449808"/>
                    <a:pt x="618428" y="455248"/>
                  </a:cubicBezTo>
                  <a:cubicBezTo>
                    <a:pt x="618428" y="460687"/>
                    <a:pt x="618428" y="460687"/>
                    <a:pt x="621147" y="463407"/>
                  </a:cubicBezTo>
                  <a:cubicBezTo>
                    <a:pt x="623867" y="471566"/>
                    <a:pt x="623867" y="477005"/>
                    <a:pt x="626587" y="482444"/>
                  </a:cubicBezTo>
                  <a:cubicBezTo>
                    <a:pt x="629307" y="493323"/>
                    <a:pt x="629307" y="506921"/>
                    <a:pt x="629307" y="517800"/>
                  </a:cubicBezTo>
                  <a:cubicBezTo>
                    <a:pt x="632026" y="534118"/>
                    <a:pt x="632026" y="547716"/>
                    <a:pt x="634746" y="561314"/>
                  </a:cubicBezTo>
                  <a:cubicBezTo>
                    <a:pt x="634746" y="564034"/>
                    <a:pt x="634746" y="564034"/>
                    <a:pt x="634746" y="566754"/>
                  </a:cubicBezTo>
                  <a:cubicBezTo>
                    <a:pt x="634746" y="572193"/>
                    <a:pt x="634746" y="577632"/>
                    <a:pt x="634746" y="583072"/>
                  </a:cubicBezTo>
                  <a:cubicBezTo>
                    <a:pt x="634746" y="596670"/>
                    <a:pt x="637466" y="602109"/>
                    <a:pt x="637466" y="607548"/>
                  </a:cubicBezTo>
                  <a:cubicBezTo>
                    <a:pt x="637466" y="610268"/>
                    <a:pt x="640185" y="615708"/>
                    <a:pt x="640185" y="618427"/>
                  </a:cubicBezTo>
                  <a:cubicBezTo>
                    <a:pt x="640185" y="623866"/>
                    <a:pt x="640185" y="629306"/>
                    <a:pt x="640185" y="632025"/>
                  </a:cubicBezTo>
                  <a:cubicBezTo>
                    <a:pt x="640185" y="634745"/>
                    <a:pt x="640185" y="637465"/>
                    <a:pt x="640185" y="640184"/>
                  </a:cubicBezTo>
                  <a:cubicBezTo>
                    <a:pt x="640185" y="645624"/>
                    <a:pt x="642905" y="653783"/>
                    <a:pt x="642905" y="659222"/>
                  </a:cubicBezTo>
                  <a:cubicBezTo>
                    <a:pt x="642905" y="661942"/>
                    <a:pt x="642905" y="661942"/>
                    <a:pt x="642905" y="664661"/>
                  </a:cubicBezTo>
                  <a:cubicBezTo>
                    <a:pt x="645624" y="678259"/>
                    <a:pt x="651064" y="678259"/>
                    <a:pt x="653783" y="678259"/>
                  </a:cubicBezTo>
                  <a:lnTo>
                    <a:pt x="653783" y="678259"/>
                  </a:ln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/>
            </a:p>
          </p:txBody>
        </p:sp>
        <p:sp>
          <p:nvSpPr>
            <p:cNvPr id="43" name="Freeform: Shape 42">
              <a:extLst>
                <a:ext uri="{FF2B5EF4-FFF2-40B4-BE49-F238E27FC236}">
                  <a16:creationId xmlns:a16="http://schemas.microsoft.com/office/drawing/2014/main" id="{277C2FCB-7D05-4824-AE10-F453FE482C72}"/>
                </a:ext>
              </a:extLst>
            </p:cNvPr>
            <p:cNvSpPr/>
            <p:nvPr/>
          </p:nvSpPr>
          <p:spPr>
            <a:xfrm>
              <a:off x="6362526" y="4242177"/>
              <a:ext cx="492259" cy="674476"/>
            </a:xfrm>
            <a:custGeom>
              <a:avLst/>
              <a:gdLst>
                <a:gd name="connsiteX0" fmla="*/ 225733 w 492259"/>
                <a:gd name="connsiteY0" fmla="*/ 97907 h 674476"/>
                <a:gd name="connsiteX1" fmla="*/ 209415 w 492259"/>
                <a:gd name="connsiteY1" fmla="*/ 119665 h 674476"/>
                <a:gd name="connsiteX2" fmla="*/ 201256 w 492259"/>
                <a:gd name="connsiteY2" fmla="*/ 152300 h 674476"/>
                <a:gd name="connsiteX3" fmla="*/ 198536 w 492259"/>
                <a:gd name="connsiteY3" fmla="*/ 168618 h 674476"/>
                <a:gd name="connsiteX4" fmla="*/ 195817 w 492259"/>
                <a:gd name="connsiteY4" fmla="*/ 184936 h 674476"/>
                <a:gd name="connsiteX5" fmla="*/ 187658 w 492259"/>
                <a:gd name="connsiteY5" fmla="*/ 220292 h 674476"/>
                <a:gd name="connsiteX6" fmla="*/ 168620 w 492259"/>
                <a:gd name="connsiteY6" fmla="*/ 291003 h 674476"/>
                <a:gd name="connsiteX7" fmla="*/ 160461 w 492259"/>
                <a:gd name="connsiteY7" fmla="*/ 323639 h 674476"/>
                <a:gd name="connsiteX8" fmla="*/ 149582 w 492259"/>
                <a:gd name="connsiteY8" fmla="*/ 361714 h 674476"/>
                <a:gd name="connsiteX9" fmla="*/ 144143 w 492259"/>
                <a:gd name="connsiteY9" fmla="*/ 388910 h 674476"/>
                <a:gd name="connsiteX10" fmla="*/ 149582 w 492259"/>
                <a:gd name="connsiteY10" fmla="*/ 391630 h 674476"/>
                <a:gd name="connsiteX11" fmla="*/ 171340 w 492259"/>
                <a:gd name="connsiteY11" fmla="*/ 391630 h 674476"/>
                <a:gd name="connsiteX12" fmla="*/ 193097 w 492259"/>
                <a:gd name="connsiteY12" fmla="*/ 388910 h 674476"/>
                <a:gd name="connsiteX13" fmla="*/ 212135 w 492259"/>
                <a:gd name="connsiteY13" fmla="*/ 388910 h 674476"/>
                <a:gd name="connsiteX14" fmla="*/ 236611 w 492259"/>
                <a:gd name="connsiteY14" fmla="*/ 388910 h 674476"/>
                <a:gd name="connsiteX15" fmla="*/ 250210 w 492259"/>
                <a:gd name="connsiteY15" fmla="*/ 386191 h 674476"/>
                <a:gd name="connsiteX16" fmla="*/ 258369 w 492259"/>
                <a:gd name="connsiteY16" fmla="*/ 386191 h 674476"/>
                <a:gd name="connsiteX17" fmla="*/ 255649 w 492259"/>
                <a:gd name="connsiteY17" fmla="*/ 367153 h 674476"/>
                <a:gd name="connsiteX18" fmla="*/ 250210 w 492259"/>
                <a:gd name="connsiteY18" fmla="*/ 331797 h 674476"/>
                <a:gd name="connsiteX19" fmla="*/ 247490 w 492259"/>
                <a:gd name="connsiteY19" fmla="*/ 244769 h 674476"/>
                <a:gd name="connsiteX20" fmla="*/ 242051 w 492259"/>
                <a:gd name="connsiteY20" fmla="*/ 203974 h 674476"/>
                <a:gd name="connsiteX21" fmla="*/ 236611 w 492259"/>
                <a:gd name="connsiteY21" fmla="*/ 157740 h 674476"/>
                <a:gd name="connsiteX22" fmla="*/ 233892 w 492259"/>
                <a:gd name="connsiteY22" fmla="*/ 119665 h 674476"/>
                <a:gd name="connsiteX23" fmla="*/ 225733 w 492259"/>
                <a:gd name="connsiteY23" fmla="*/ 97907 h 674476"/>
                <a:gd name="connsiteX24" fmla="*/ 274687 w 492259"/>
                <a:gd name="connsiteY24" fmla="*/ 0 h 674476"/>
                <a:gd name="connsiteX25" fmla="*/ 304603 w 492259"/>
                <a:gd name="connsiteY25" fmla="*/ 5439 h 674476"/>
                <a:gd name="connsiteX26" fmla="*/ 320921 w 492259"/>
                <a:gd name="connsiteY26" fmla="*/ 24477 h 674476"/>
                <a:gd name="connsiteX27" fmla="*/ 334519 w 492259"/>
                <a:gd name="connsiteY27" fmla="*/ 43515 h 674476"/>
                <a:gd name="connsiteX28" fmla="*/ 339959 w 492259"/>
                <a:gd name="connsiteY28" fmla="*/ 65272 h 674476"/>
                <a:gd name="connsiteX29" fmla="*/ 348118 w 492259"/>
                <a:gd name="connsiteY29" fmla="*/ 114226 h 674476"/>
                <a:gd name="connsiteX30" fmla="*/ 361716 w 492259"/>
                <a:gd name="connsiteY30" fmla="*/ 163180 h 674476"/>
                <a:gd name="connsiteX31" fmla="*/ 369875 w 492259"/>
                <a:gd name="connsiteY31" fmla="*/ 220293 h 674476"/>
                <a:gd name="connsiteX32" fmla="*/ 378034 w 492259"/>
                <a:gd name="connsiteY32" fmla="*/ 274686 h 674476"/>
                <a:gd name="connsiteX33" fmla="*/ 383473 w 492259"/>
                <a:gd name="connsiteY33" fmla="*/ 301883 h 674476"/>
                <a:gd name="connsiteX34" fmla="*/ 391632 w 492259"/>
                <a:gd name="connsiteY34" fmla="*/ 337238 h 674476"/>
                <a:gd name="connsiteX35" fmla="*/ 397071 w 492259"/>
                <a:gd name="connsiteY35" fmla="*/ 364435 h 674476"/>
                <a:gd name="connsiteX36" fmla="*/ 405230 w 492259"/>
                <a:gd name="connsiteY36" fmla="*/ 383473 h 674476"/>
                <a:gd name="connsiteX37" fmla="*/ 416109 w 492259"/>
                <a:gd name="connsiteY37" fmla="*/ 386192 h 674476"/>
                <a:gd name="connsiteX38" fmla="*/ 426988 w 492259"/>
                <a:gd name="connsiteY38" fmla="*/ 386192 h 674476"/>
                <a:gd name="connsiteX39" fmla="*/ 454184 w 492259"/>
                <a:gd name="connsiteY39" fmla="*/ 397071 h 674476"/>
                <a:gd name="connsiteX40" fmla="*/ 456904 w 492259"/>
                <a:gd name="connsiteY40" fmla="*/ 405230 h 674476"/>
                <a:gd name="connsiteX41" fmla="*/ 451464 w 492259"/>
                <a:gd name="connsiteY41" fmla="*/ 416108 h 674476"/>
                <a:gd name="connsiteX42" fmla="*/ 432427 w 492259"/>
                <a:gd name="connsiteY42" fmla="*/ 429707 h 674476"/>
                <a:gd name="connsiteX43" fmla="*/ 421548 w 492259"/>
                <a:gd name="connsiteY43" fmla="*/ 432426 h 674476"/>
                <a:gd name="connsiteX44" fmla="*/ 413389 w 492259"/>
                <a:gd name="connsiteY44" fmla="*/ 435146 h 674476"/>
                <a:gd name="connsiteX45" fmla="*/ 413389 w 492259"/>
                <a:gd name="connsiteY45" fmla="*/ 440585 h 674476"/>
                <a:gd name="connsiteX46" fmla="*/ 416109 w 492259"/>
                <a:gd name="connsiteY46" fmla="*/ 451464 h 674476"/>
                <a:gd name="connsiteX47" fmla="*/ 418829 w 492259"/>
                <a:gd name="connsiteY47" fmla="*/ 465062 h 674476"/>
                <a:gd name="connsiteX48" fmla="*/ 418829 w 492259"/>
                <a:gd name="connsiteY48" fmla="*/ 475941 h 674476"/>
                <a:gd name="connsiteX49" fmla="*/ 418829 w 492259"/>
                <a:gd name="connsiteY49" fmla="*/ 486820 h 674476"/>
                <a:gd name="connsiteX50" fmla="*/ 426988 w 492259"/>
                <a:gd name="connsiteY50" fmla="*/ 516736 h 674476"/>
                <a:gd name="connsiteX51" fmla="*/ 432427 w 492259"/>
                <a:gd name="connsiteY51" fmla="*/ 543932 h 674476"/>
                <a:gd name="connsiteX52" fmla="*/ 437866 w 492259"/>
                <a:gd name="connsiteY52" fmla="*/ 573848 h 674476"/>
                <a:gd name="connsiteX53" fmla="*/ 443306 w 492259"/>
                <a:gd name="connsiteY53" fmla="*/ 606484 h 674476"/>
                <a:gd name="connsiteX54" fmla="*/ 446025 w 492259"/>
                <a:gd name="connsiteY54" fmla="*/ 617363 h 674476"/>
                <a:gd name="connsiteX55" fmla="*/ 470502 w 492259"/>
                <a:gd name="connsiteY55" fmla="*/ 617363 h 674476"/>
                <a:gd name="connsiteX56" fmla="*/ 492259 w 492259"/>
                <a:gd name="connsiteY56" fmla="*/ 641840 h 674476"/>
                <a:gd name="connsiteX57" fmla="*/ 484101 w 492259"/>
                <a:gd name="connsiteY57" fmla="*/ 655438 h 674476"/>
                <a:gd name="connsiteX58" fmla="*/ 467782 w 492259"/>
                <a:gd name="connsiteY58" fmla="*/ 663597 h 674476"/>
                <a:gd name="connsiteX59" fmla="*/ 443306 w 492259"/>
                <a:gd name="connsiteY59" fmla="*/ 666317 h 674476"/>
                <a:gd name="connsiteX60" fmla="*/ 421548 w 492259"/>
                <a:gd name="connsiteY60" fmla="*/ 666317 h 674476"/>
                <a:gd name="connsiteX61" fmla="*/ 413389 w 492259"/>
                <a:gd name="connsiteY61" fmla="*/ 666317 h 674476"/>
                <a:gd name="connsiteX62" fmla="*/ 399791 w 492259"/>
                <a:gd name="connsiteY62" fmla="*/ 671756 h 674476"/>
                <a:gd name="connsiteX63" fmla="*/ 383473 w 492259"/>
                <a:gd name="connsiteY63" fmla="*/ 674476 h 674476"/>
                <a:gd name="connsiteX64" fmla="*/ 348118 w 492259"/>
                <a:gd name="connsiteY64" fmla="*/ 669036 h 674476"/>
                <a:gd name="connsiteX65" fmla="*/ 326360 w 492259"/>
                <a:gd name="connsiteY65" fmla="*/ 669036 h 674476"/>
                <a:gd name="connsiteX66" fmla="*/ 277406 w 492259"/>
                <a:gd name="connsiteY66" fmla="*/ 669036 h 674476"/>
                <a:gd name="connsiteX67" fmla="*/ 252930 w 492259"/>
                <a:gd name="connsiteY67" fmla="*/ 663597 h 674476"/>
                <a:gd name="connsiteX68" fmla="*/ 236611 w 492259"/>
                <a:gd name="connsiteY68" fmla="*/ 647279 h 674476"/>
                <a:gd name="connsiteX69" fmla="*/ 261088 w 492259"/>
                <a:gd name="connsiteY69" fmla="*/ 630961 h 674476"/>
                <a:gd name="connsiteX70" fmla="*/ 288285 w 492259"/>
                <a:gd name="connsiteY70" fmla="*/ 628241 h 674476"/>
                <a:gd name="connsiteX71" fmla="*/ 285565 w 492259"/>
                <a:gd name="connsiteY71" fmla="*/ 609204 h 674476"/>
                <a:gd name="connsiteX72" fmla="*/ 282846 w 492259"/>
                <a:gd name="connsiteY72" fmla="*/ 582007 h 674476"/>
                <a:gd name="connsiteX73" fmla="*/ 280126 w 492259"/>
                <a:gd name="connsiteY73" fmla="*/ 568409 h 674476"/>
                <a:gd name="connsiteX74" fmla="*/ 282846 w 492259"/>
                <a:gd name="connsiteY74" fmla="*/ 554811 h 674476"/>
                <a:gd name="connsiteX75" fmla="*/ 277406 w 492259"/>
                <a:gd name="connsiteY75" fmla="*/ 538493 h 674476"/>
                <a:gd name="connsiteX76" fmla="*/ 271967 w 492259"/>
                <a:gd name="connsiteY76" fmla="*/ 505857 h 674476"/>
                <a:gd name="connsiteX77" fmla="*/ 269247 w 492259"/>
                <a:gd name="connsiteY77" fmla="*/ 478660 h 674476"/>
                <a:gd name="connsiteX78" fmla="*/ 266528 w 492259"/>
                <a:gd name="connsiteY78" fmla="*/ 446025 h 674476"/>
                <a:gd name="connsiteX79" fmla="*/ 261088 w 492259"/>
                <a:gd name="connsiteY79" fmla="*/ 437866 h 674476"/>
                <a:gd name="connsiteX80" fmla="*/ 250210 w 492259"/>
                <a:gd name="connsiteY80" fmla="*/ 437866 h 674476"/>
                <a:gd name="connsiteX81" fmla="*/ 220293 w 492259"/>
                <a:gd name="connsiteY81" fmla="*/ 440585 h 674476"/>
                <a:gd name="connsiteX82" fmla="*/ 190377 w 492259"/>
                <a:gd name="connsiteY82" fmla="*/ 443305 h 674476"/>
                <a:gd name="connsiteX83" fmla="*/ 165900 w 492259"/>
                <a:gd name="connsiteY83" fmla="*/ 443305 h 674476"/>
                <a:gd name="connsiteX84" fmla="*/ 144143 w 492259"/>
                <a:gd name="connsiteY84" fmla="*/ 440585 h 674476"/>
                <a:gd name="connsiteX85" fmla="*/ 135984 w 492259"/>
                <a:gd name="connsiteY85" fmla="*/ 454184 h 674476"/>
                <a:gd name="connsiteX86" fmla="*/ 130545 w 492259"/>
                <a:gd name="connsiteY86" fmla="*/ 486820 h 674476"/>
                <a:gd name="connsiteX87" fmla="*/ 119666 w 492259"/>
                <a:gd name="connsiteY87" fmla="*/ 541213 h 674476"/>
                <a:gd name="connsiteX88" fmla="*/ 103348 w 492259"/>
                <a:gd name="connsiteY88" fmla="*/ 614643 h 674476"/>
                <a:gd name="connsiteX89" fmla="*/ 133264 w 492259"/>
                <a:gd name="connsiteY89" fmla="*/ 614643 h 674476"/>
                <a:gd name="connsiteX90" fmla="*/ 168620 w 492259"/>
                <a:gd name="connsiteY90" fmla="*/ 630961 h 674476"/>
                <a:gd name="connsiteX91" fmla="*/ 163181 w 492259"/>
                <a:gd name="connsiteY91" fmla="*/ 647279 h 674476"/>
                <a:gd name="connsiteX92" fmla="*/ 146863 w 492259"/>
                <a:gd name="connsiteY92" fmla="*/ 655438 h 674476"/>
                <a:gd name="connsiteX93" fmla="*/ 127825 w 492259"/>
                <a:gd name="connsiteY93" fmla="*/ 658158 h 674476"/>
                <a:gd name="connsiteX94" fmla="*/ 106068 w 492259"/>
                <a:gd name="connsiteY94" fmla="*/ 658158 h 674476"/>
                <a:gd name="connsiteX95" fmla="*/ 62552 w 492259"/>
                <a:gd name="connsiteY95" fmla="*/ 658158 h 674476"/>
                <a:gd name="connsiteX96" fmla="*/ 40795 w 492259"/>
                <a:gd name="connsiteY96" fmla="*/ 658158 h 674476"/>
                <a:gd name="connsiteX97" fmla="*/ 16318 w 492259"/>
                <a:gd name="connsiteY97" fmla="*/ 652718 h 674476"/>
                <a:gd name="connsiteX98" fmla="*/ 0 w 492259"/>
                <a:gd name="connsiteY98" fmla="*/ 636401 h 674476"/>
                <a:gd name="connsiteX99" fmla="*/ 2720 w 492259"/>
                <a:gd name="connsiteY99" fmla="*/ 628241 h 674476"/>
                <a:gd name="connsiteX100" fmla="*/ 24477 w 492259"/>
                <a:gd name="connsiteY100" fmla="*/ 620082 h 674476"/>
                <a:gd name="connsiteX101" fmla="*/ 62552 w 492259"/>
                <a:gd name="connsiteY101" fmla="*/ 617363 h 674476"/>
                <a:gd name="connsiteX102" fmla="*/ 62552 w 492259"/>
                <a:gd name="connsiteY102" fmla="*/ 614643 h 674476"/>
                <a:gd name="connsiteX103" fmla="*/ 65272 w 492259"/>
                <a:gd name="connsiteY103" fmla="*/ 587447 h 674476"/>
                <a:gd name="connsiteX104" fmla="*/ 76151 w 492259"/>
                <a:gd name="connsiteY104" fmla="*/ 522175 h 674476"/>
                <a:gd name="connsiteX105" fmla="*/ 87029 w 492259"/>
                <a:gd name="connsiteY105" fmla="*/ 470501 h 674476"/>
                <a:gd name="connsiteX106" fmla="*/ 92468 w 492259"/>
                <a:gd name="connsiteY106" fmla="*/ 446025 h 674476"/>
                <a:gd name="connsiteX107" fmla="*/ 65272 w 492259"/>
                <a:gd name="connsiteY107" fmla="*/ 432426 h 674476"/>
                <a:gd name="connsiteX108" fmla="*/ 54393 w 492259"/>
                <a:gd name="connsiteY108" fmla="*/ 421548 h 674476"/>
                <a:gd name="connsiteX109" fmla="*/ 73431 w 492259"/>
                <a:gd name="connsiteY109" fmla="*/ 407949 h 674476"/>
                <a:gd name="connsiteX110" fmla="*/ 100629 w 492259"/>
                <a:gd name="connsiteY110" fmla="*/ 399790 h 674476"/>
                <a:gd name="connsiteX111" fmla="*/ 108788 w 492259"/>
                <a:gd name="connsiteY111" fmla="*/ 369874 h 674476"/>
                <a:gd name="connsiteX112" fmla="*/ 125105 w 492259"/>
                <a:gd name="connsiteY112" fmla="*/ 307322 h 674476"/>
                <a:gd name="connsiteX113" fmla="*/ 141423 w 492259"/>
                <a:gd name="connsiteY113" fmla="*/ 242051 h 674476"/>
                <a:gd name="connsiteX114" fmla="*/ 155022 w 492259"/>
                <a:gd name="connsiteY114" fmla="*/ 179498 h 674476"/>
                <a:gd name="connsiteX115" fmla="*/ 168620 w 492259"/>
                <a:gd name="connsiteY115" fmla="*/ 119665 h 674476"/>
                <a:gd name="connsiteX116" fmla="*/ 193097 w 492259"/>
                <a:gd name="connsiteY116" fmla="*/ 57113 h 674476"/>
                <a:gd name="connsiteX117" fmla="*/ 201256 w 492259"/>
                <a:gd name="connsiteY117" fmla="*/ 38075 h 674476"/>
                <a:gd name="connsiteX118" fmla="*/ 217574 w 492259"/>
                <a:gd name="connsiteY118" fmla="*/ 13598 h 674476"/>
                <a:gd name="connsiteX119" fmla="*/ 274687 w 492259"/>
                <a:gd name="connsiteY119" fmla="*/ 0 h 6744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</a:cxnLst>
              <a:rect l="l" t="t" r="r" b="b"/>
              <a:pathLst>
                <a:path w="492259" h="674476">
                  <a:moveTo>
                    <a:pt x="225733" y="97907"/>
                  </a:moveTo>
                  <a:cubicBezTo>
                    <a:pt x="217574" y="97907"/>
                    <a:pt x="209415" y="114225"/>
                    <a:pt x="209415" y="119665"/>
                  </a:cubicBezTo>
                  <a:cubicBezTo>
                    <a:pt x="206695" y="130543"/>
                    <a:pt x="203976" y="144141"/>
                    <a:pt x="201256" y="152300"/>
                  </a:cubicBezTo>
                  <a:cubicBezTo>
                    <a:pt x="198536" y="157740"/>
                    <a:pt x="198536" y="163179"/>
                    <a:pt x="198536" y="168618"/>
                  </a:cubicBezTo>
                  <a:cubicBezTo>
                    <a:pt x="198536" y="174058"/>
                    <a:pt x="195817" y="179497"/>
                    <a:pt x="195817" y="184936"/>
                  </a:cubicBezTo>
                  <a:cubicBezTo>
                    <a:pt x="193097" y="195815"/>
                    <a:pt x="190377" y="209413"/>
                    <a:pt x="187658" y="220292"/>
                  </a:cubicBezTo>
                  <a:cubicBezTo>
                    <a:pt x="184938" y="244769"/>
                    <a:pt x="176779" y="269246"/>
                    <a:pt x="168620" y="291003"/>
                  </a:cubicBezTo>
                  <a:cubicBezTo>
                    <a:pt x="165900" y="301881"/>
                    <a:pt x="163181" y="312760"/>
                    <a:pt x="160461" y="323639"/>
                  </a:cubicBezTo>
                  <a:cubicBezTo>
                    <a:pt x="157742" y="337237"/>
                    <a:pt x="155022" y="348115"/>
                    <a:pt x="149582" y="361714"/>
                  </a:cubicBezTo>
                  <a:cubicBezTo>
                    <a:pt x="146863" y="367153"/>
                    <a:pt x="144143" y="383471"/>
                    <a:pt x="144143" y="388910"/>
                  </a:cubicBezTo>
                  <a:cubicBezTo>
                    <a:pt x="144143" y="391630"/>
                    <a:pt x="146863" y="391630"/>
                    <a:pt x="149582" y="391630"/>
                  </a:cubicBezTo>
                  <a:cubicBezTo>
                    <a:pt x="155022" y="391630"/>
                    <a:pt x="168620" y="391630"/>
                    <a:pt x="171340" y="391630"/>
                  </a:cubicBezTo>
                  <a:cubicBezTo>
                    <a:pt x="179498" y="391630"/>
                    <a:pt x="187658" y="391630"/>
                    <a:pt x="193097" y="388910"/>
                  </a:cubicBezTo>
                  <a:cubicBezTo>
                    <a:pt x="198536" y="388910"/>
                    <a:pt x="203976" y="388910"/>
                    <a:pt x="212135" y="388910"/>
                  </a:cubicBezTo>
                  <a:cubicBezTo>
                    <a:pt x="217574" y="388910"/>
                    <a:pt x="225733" y="388910"/>
                    <a:pt x="236611" y="388910"/>
                  </a:cubicBezTo>
                  <a:cubicBezTo>
                    <a:pt x="242051" y="388910"/>
                    <a:pt x="247490" y="388910"/>
                    <a:pt x="250210" y="386191"/>
                  </a:cubicBezTo>
                  <a:cubicBezTo>
                    <a:pt x="255649" y="391630"/>
                    <a:pt x="258369" y="388910"/>
                    <a:pt x="258369" y="386191"/>
                  </a:cubicBezTo>
                  <a:cubicBezTo>
                    <a:pt x="258369" y="380751"/>
                    <a:pt x="255649" y="372592"/>
                    <a:pt x="255649" y="367153"/>
                  </a:cubicBezTo>
                  <a:cubicBezTo>
                    <a:pt x="252930" y="353555"/>
                    <a:pt x="250210" y="342676"/>
                    <a:pt x="250210" y="331797"/>
                  </a:cubicBezTo>
                  <a:cubicBezTo>
                    <a:pt x="250210" y="301881"/>
                    <a:pt x="250210" y="274685"/>
                    <a:pt x="247490" y="244769"/>
                  </a:cubicBezTo>
                  <a:cubicBezTo>
                    <a:pt x="247490" y="231170"/>
                    <a:pt x="244771" y="217572"/>
                    <a:pt x="242051" y="203974"/>
                  </a:cubicBezTo>
                  <a:cubicBezTo>
                    <a:pt x="239331" y="187656"/>
                    <a:pt x="236611" y="174058"/>
                    <a:pt x="236611" y="157740"/>
                  </a:cubicBezTo>
                  <a:cubicBezTo>
                    <a:pt x="236611" y="152300"/>
                    <a:pt x="236611" y="133263"/>
                    <a:pt x="233892" y="119665"/>
                  </a:cubicBezTo>
                  <a:cubicBezTo>
                    <a:pt x="233892" y="106066"/>
                    <a:pt x="231172" y="97907"/>
                    <a:pt x="225733" y="97907"/>
                  </a:cubicBezTo>
                  <a:close/>
                  <a:moveTo>
                    <a:pt x="274687" y="0"/>
                  </a:moveTo>
                  <a:cubicBezTo>
                    <a:pt x="288285" y="0"/>
                    <a:pt x="293724" y="2720"/>
                    <a:pt x="304603" y="5439"/>
                  </a:cubicBezTo>
                  <a:cubicBezTo>
                    <a:pt x="315481" y="10879"/>
                    <a:pt x="315481" y="16318"/>
                    <a:pt x="320921" y="24477"/>
                  </a:cubicBezTo>
                  <a:cubicBezTo>
                    <a:pt x="326360" y="29916"/>
                    <a:pt x="331800" y="35356"/>
                    <a:pt x="334519" y="43515"/>
                  </a:cubicBezTo>
                  <a:cubicBezTo>
                    <a:pt x="337239" y="51674"/>
                    <a:pt x="337239" y="57113"/>
                    <a:pt x="339959" y="65272"/>
                  </a:cubicBezTo>
                  <a:cubicBezTo>
                    <a:pt x="345398" y="78870"/>
                    <a:pt x="342678" y="97908"/>
                    <a:pt x="348118" y="114226"/>
                  </a:cubicBezTo>
                  <a:cubicBezTo>
                    <a:pt x="350837" y="130544"/>
                    <a:pt x="358996" y="146863"/>
                    <a:pt x="361716" y="163180"/>
                  </a:cubicBezTo>
                  <a:cubicBezTo>
                    <a:pt x="364435" y="182218"/>
                    <a:pt x="364435" y="201256"/>
                    <a:pt x="369875" y="220293"/>
                  </a:cubicBezTo>
                  <a:cubicBezTo>
                    <a:pt x="375314" y="239331"/>
                    <a:pt x="378034" y="255649"/>
                    <a:pt x="378034" y="274686"/>
                  </a:cubicBezTo>
                  <a:cubicBezTo>
                    <a:pt x="378034" y="282845"/>
                    <a:pt x="380753" y="293724"/>
                    <a:pt x="383473" y="301883"/>
                  </a:cubicBezTo>
                  <a:cubicBezTo>
                    <a:pt x="386193" y="312762"/>
                    <a:pt x="388913" y="326360"/>
                    <a:pt x="391632" y="337238"/>
                  </a:cubicBezTo>
                  <a:cubicBezTo>
                    <a:pt x="391632" y="342678"/>
                    <a:pt x="394352" y="353556"/>
                    <a:pt x="397071" y="364435"/>
                  </a:cubicBezTo>
                  <a:cubicBezTo>
                    <a:pt x="399791" y="372594"/>
                    <a:pt x="402511" y="380753"/>
                    <a:pt x="405230" y="383473"/>
                  </a:cubicBezTo>
                  <a:cubicBezTo>
                    <a:pt x="407950" y="386192"/>
                    <a:pt x="413389" y="386192"/>
                    <a:pt x="416109" y="386192"/>
                  </a:cubicBezTo>
                  <a:cubicBezTo>
                    <a:pt x="418829" y="386192"/>
                    <a:pt x="424268" y="386192"/>
                    <a:pt x="426988" y="386192"/>
                  </a:cubicBezTo>
                  <a:cubicBezTo>
                    <a:pt x="437866" y="386192"/>
                    <a:pt x="448745" y="388912"/>
                    <a:pt x="454184" y="397071"/>
                  </a:cubicBezTo>
                  <a:cubicBezTo>
                    <a:pt x="456904" y="399790"/>
                    <a:pt x="456904" y="402510"/>
                    <a:pt x="456904" y="405230"/>
                  </a:cubicBezTo>
                  <a:cubicBezTo>
                    <a:pt x="456904" y="407949"/>
                    <a:pt x="454184" y="410669"/>
                    <a:pt x="451464" y="416108"/>
                  </a:cubicBezTo>
                  <a:cubicBezTo>
                    <a:pt x="446025" y="421548"/>
                    <a:pt x="440586" y="426987"/>
                    <a:pt x="432427" y="429707"/>
                  </a:cubicBezTo>
                  <a:cubicBezTo>
                    <a:pt x="429707" y="429707"/>
                    <a:pt x="426988" y="432426"/>
                    <a:pt x="421548" y="432426"/>
                  </a:cubicBezTo>
                  <a:cubicBezTo>
                    <a:pt x="418829" y="432426"/>
                    <a:pt x="416109" y="432426"/>
                    <a:pt x="413389" y="435146"/>
                  </a:cubicBezTo>
                  <a:cubicBezTo>
                    <a:pt x="413389" y="435146"/>
                    <a:pt x="413389" y="437866"/>
                    <a:pt x="413389" y="440585"/>
                  </a:cubicBezTo>
                  <a:cubicBezTo>
                    <a:pt x="413389" y="443305"/>
                    <a:pt x="413389" y="448744"/>
                    <a:pt x="416109" y="451464"/>
                  </a:cubicBezTo>
                  <a:cubicBezTo>
                    <a:pt x="416109" y="456903"/>
                    <a:pt x="418829" y="462343"/>
                    <a:pt x="418829" y="465062"/>
                  </a:cubicBezTo>
                  <a:lnTo>
                    <a:pt x="418829" y="475941"/>
                  </a:lnTo>
                  <a:cubicBezTo>
                    <a:pt x="418829" y="481380"/>
                    <a:pt x="418829" y="484100"/>
                    <a:pt x="418829" y="486820"/>
                  </a:cubicBezTo>
                  <a:cubicBezTo>
                    <a:pt x="421548" y="497698"/>
                    <a:pt x="424268" y="505857"/>
                    <a:pt x="426988" y="516736"/>
                  </a:cubicBezTo>
                  <a:cubicBezTo>
                    <a:pt x="426988" y="524895"/>
                    <a:pt x="429707" y="535773"/>
                    <a:pt x="432427" y="543932"/>
                  </a:cubicBezTo>
                  <a:cubicBezTo>
                    <a:pt x="435147" y="554811"/>
                    <a:pt x="437866" y="562970"/>
                    <a:pt x="437866" y="573848"/>
                  </a:cubicBezTo>
                  <a:cubicBezTo>
                    <a:pt x="437866" y="587447"/>
                    <a:pt x="440586" y="595606"/>
                    <a:pt x="443306" y="606484"/>
                  </a:cubicBezTo>
                  <a:cubicBezTo>
                    <a:pt x="443306" y="609204"/>
                    <a:pt x="446025" y="614643"/>
                    <a:pt x="446025" y="617363"/>
                  </a:cubicBezTo>
                  <a:cubicBezTo>
                    <a:pt x="454184" y="617363"/>
                    <a:pt x="462343" y="617363"/>
                    <a:pt x="470502" y="617363"/>
                  </a:cubicBezTo>
                  <a:cubicBezTo>
                    <a:pt x="475942" y="625522"/>
                    <a:pt x="492259" y="630961"/>
                    <a:pt x="492259" y="641840"/>
                  </a:cubicBezTo>
                  <a:cubicBezTo>
                    <a:pt x="492259" y="647279"/>
                    <a:pt x="486820" y="649999"/>
                    <a:pt x="484101" y="655438"/>
                  </a:cubicBezTo>
                  <a:cubicBezTo>
                    <a:pt x="481381" y="660877"/>
                    <a:pt x="473222" y="663597"/>
                    <a:pt x="467782" y="663597"/>
                  </a:cubicBezTo>
                  <a:cubicBezTo>
                    <a:pt x="456904" y="666317"/>
                    <a:pt x="451464" y="666317"/>
                    <a:pt x="443306" y="666317"/>
                  </a:cubicBezTo>
                  <a:cubicBezTo>
                    <a:pt x="437866" y="666317"/>
                    <a:pt x="429707" y="666317"/>
                    <a:pt x="421548" y="666317"/>
                  </a:cubicBezTo>
                  <a:cubicBezTo>
                    <a:pt x="418829" y="666317"/>
                    <a:pt x="416109" y="666317"/>
                    <a:pt x="413389" y="666317"/>
                  </a:cubicBezTo>
                  <a:cubicBezTo>
                    <a:pt x="407950" y="669036"/>
                    <a:pt x="405230" y="669036"/>
                    <a:pt x="399791" y="671756"/>
                  </a:cubicBezTo>
                  <a:cubicBezTo>
                    <a:pt x="394352" y="671756"/>
                    <a:pt x="388913" y="674476"/>
                    <a:pt x="383473" y="674476"/>
                  </a:cubicBezTo>
                  <a:cubicBezTo>
                    <a:pt x="372594" y="674476"/>
                    <a:pt x="358996" y="671756"/>
                    <a:pt x="348118" y="669036"/>
                  </a:cubicBezTo>
                  <a:cubicBezTo>
                    <a:pt x="339959" y="669036"/>
                    <a:pt x="331800" y="669036"/>
                    <a:pt x="326360" y="669036"/>
                  </a:cubicBezTo>
                  <a:cubicBezTo>
                    <a:pt x="304603" y="669036"/>
                    <a:pt x="285565" y="669036"/>
                    <a:pt x="277406" y="669036"/>
                  </a:cubicBezTo>
                  <a:cubicBezTo>
                    <a:pt x="269247" y="669036"/>
                    <a:pt x="258369" y="669036"/>
                    <a:pt x="252930" y="663597"/>
                  </a:cubicBezTo>
                  <a:cubicBezTo>
                    <a:pt x="247490" y="660877"/>
                    <a:pt x="236611" y="655438"/>
                    <a:pt x="236611" y="647279"/>
                  </a:cubicBezTo>
                  <a:cubicBezTo>
                    <a:pt x="236611" y="636401"/>
                    <a:pt x="252930" y="633681"/>
                    <a:pt x="261088" y="630961"/>
                  </a:cubicBezTo>
                  <a:cubicBezTo>
                    <a:pt x="266528" y="630961"/>
                    <a:pt x="274687" y="630961"/>
                    <a:pt x="288285" y="628241"/>
                  </a:cubicBezTo>
                  <a:cubicBezTo>
                    <a:pt x="288285" y="620082"/>
                    <a:pt x="288285" y="614643"/>
                    <a:pt x="285565" y="609204"/>
                  </a:cubicBezTo>
                  <a:cubicBezTo>
                    <a:pt x="285565" y="601045"/>
                    <a:pt x="282846" y="590166"/>
                    <a:pt x="282846" y="582007"/>
                  </a:cubicBezTo>
                  <a:cubicBezTo>
                    <a:pt x="282846" y="576568"/>
                    <a:pt x="280126" y="573848"/>
                    <a:pt x="280126" y="568409"/>
                  </a:cubicBezTo>
                  <a:cubicBezTo>
                    <a:pt x="280126" y="562970"/>
                    <a:pt x="282846" y="557531"/>
                    <a:pt x="282846" y="554811"/>
                  </a:cubicBezTo>
                  <a:cubicBezTo>
                    <a:pt x="282846" y="549371"/>
                    <a:pt x="280126" y="546652"/>
                    <a:pt x="277406" y="538493"/>
                  </a:cubicBezTo>
                  <a:cubicBezTo>
                    <a:pt x="277406" y="527614"/>
                    <a:pt x="271967" y="516736"/>
                    <a:pt x="271967" y="505857"/>
                  </a:cubicBezTo>
                  <a:cubicBezTo>
                    <a:pt x="271967" y="494978"/>
                    <a:pt x="271967" y="486820"/>
                    <a:pt x="269247" y="478660"/>
                  </a:cubicBezTo>
                  <a:cubicBezTo>
                    <a:pt x="266528" y="467782"/>
                    <a:pt x="266528" y="456903"/>
                    <a:pt x="266528" y="446025"/>
                  </a:cubicBezTo>
                  <a:cubicBezTo>
                    <a:pt x="266528" y="440585"/>
                    <a:pt x="263808" y="437866"/>
                    <a:pt x="261088" y="437866"/>
                  </a:cubicBezTo>
                  <a:cubicBezTo>
                    <a:pt x="258369" y="437866"/>
                    <a:pt x="255649" y="437866"/>
                    <a:pt x="250210" y="437866"/>
                  </a:cubicBezTo>
                  <a:cubicBezTo>
                    <a:pt x="239331" y="437866"/>
                    <a:pt x="228452" y="437866"/>
                    <a:pt x="220293" y="440585"/>
                  </a:cubicBezTo>
                  <a:cubicBezTo>
                    <a:pt x="209415" y="440585"/>
                    <a:pt x="201256" y="443305"/>
                    <a:pt x="190377" y="443305"/>
                  </a:cubicBezTo>
                  <a:cubicBezTo>
                    <a:pt x="182218" y="443305"/>
                    <a:pt x="174059" y="443305"/>
                    <a:pt x="165900" y="443305"/>
                  </a:cubicBezTo>
                  <a:cubicBezTo>
                    <a:pt x="163181" y="443305"/>
                    <a:pt x="152302" y="440585"/>
                    <a:pt x="144143" y="440585"/>
                  </a:cubicBezTo>
                  <a:cubicBezTo>
                    <a:pt x="135984" y="440585"/>
                    <a:pt x="135984" y="448744"/>
                    <a:pt x="135984" y="454184"/>
                  </a:cubicBezTo>
                  <a:cubicBezTo>
                    <a:pt x="135984" y="465062"/>
                    <a:pt x="133264" y="475941"/>
                    <a:pt x="130545" y="486820"/>
                  </a:cubicBezTo>
                  <a:cubicBezTo>
                    <a:pt x="127825" y="505857"/>
                    <a:pt x="122386" y="522175"/>
                    <a:pt x="119666" y="541213"/>
                  </a:cubicBezTo>
                  <a:cubicBezTo>
                    <a:pt x="116947" y="560250"/>
                    <a:pt x="108788" y="595606"/>
                    <a:pt x="103348" y="614643"/>
                  </a:cubicBezTo>
                  <a:cubicBezTo>
                    <a:pt x="111507" y="614643"/>
                    <a:pt x="122386" y="614643"/>
                    <a:pt x="133264" y="614643"/>
                  </a:cubicBezTo>
                  <a:cubicBezTo>
                    <a:pt x="146863" y="614643"/>
                    <a:pt x="168620" y="614643"/>
                    <a:pt x="168620" y="630961"/>
                  </a:cubicBezTo>
                  <a:cubicBezTo>
                    <a:pt x="168620" y="639120"/>
                    <a:pt x="165900" y="639120"/>
                    <a:pt x="163181" y="647279"/>
                  </a:cubicBezTo>
                  <a:cubicBezTo>
                    <a:pt x="160461" y="652718"/>
                    <a:pt x="152302" y="655438"/>
                    <a:pt x="146863" y="655438"/>
                  </a:cubicBezTo>
                  <a:cubicBezTo>
                    <a:pt x="138704" y="658158"/>
                    <a:pt x="133264" y="658158"/>
                    <a:pt x="127825" y="658158"/>
                  </a:cubicBezTo>
                  <a:cubicBezTo>
                    <a:pt x="122386" y="658158"/>
                    <a:pt x="116947" y="658158"/>
                    <a:pt x="106068" y="658158"/>
                  </a:cubicBezTo>
                  <a:cubicBezTo>
                    <a:pt x="92468" y="658158"/>
                    <a:pt x="78870" y="658158"/>
                    <a:pt x="62552" y="658158"/>
                  </a:cubicBezTo>
                  <a:cubicBezTo>
                    <a:pt x="54393" y="658158"/>
                    <a:pt x="46234" y="658158"/>
                    <a:pt x="40795" y="658158"/>
                  </a:cubicBezTo>
                  <a:cubicBezTo>
                    <a:pt x="32636" y="658158"/>
                    <a:pt x="21758" y="658158"/>
                    <a:pt x="16318" y="652718"/>
                  </a:cubicBezTo>
                  <a:cubicBezTo>
                    <a:pt x="8159" y="649999"/>
                    <a:pt x="0" y="641840"/>
                    <a:pt x="0" y="636401"/>
                  </a:cubicBezTo>
                  <a:cubicBezTo>
                    <a:pt x="0" y="633681"/>
                    <a:pt x="0" y="630961"/>
                    <a:pt x="2720" y="628241"/>
                  </a:cubicBezTo>
                  <a:cubicBezTo>
                    <a:pt x="8159" y="625522"/>
                    <a:pt x="16318" y="622802"/>
                    <a:pt x="24477" y="620082"/>
                  </a:cubicBezTo>
                  <a:cubicBezTo>
                    <a:pt x="38075" y="617363"/>
                    <a:pt x="48954" y="617363"/>
                    <a:pt x="62552" y="617363"/>
                  </a:cubicBezTo>
                  <a:cubicBezTo>
                    <a:pt x="62552" y="617363"/>
                    <a:pt x="62552" y="614643"/>
                    <a:pt x="62552" y="614643"/>
                  </a:cubicBezTo>
                  <a:cubicBezTo>
                    <a:pt x="62552" y="603765"/>
                    <a:pt x="65272" y="590166"/>
                    <a:pt x="65272" y="587447"/>
                  </a:cubicBezTo>
                  <a:cubicBezTo>
                    <a:pt x="67992" y="565689"/>
                    <a:pt x="73431" y="543932"/>
                    <a:pt x="76151" y="522175"/>
                  </a:cubicBezTo>
                  <a:cubicBezTo>
                    <a:pt x="78870" y="505857"/>
                    <a:pt x="81590" y="486820"/>
                    <a:pt x="87029" y="470501"/>
                  </a:cubicBezTo>
                  <a:cubicBezTo>
                    <a:pt x="87029" y="465062"/>
                    <a:pt x="92468" y="451464"/>
                    <a:pt x="92468" y="446025"/>
                  </a:cubicBezTo>
                  <a:cubicBezTo>
                    <a:pt x="92468" y="437866"/>
                    <a:pt x="73431" y="437866"/>
                    <a:pt x="65272" y="432426"/>
                  </a:cubicBezTo>
                  <a:cubicBezTo>
                    <a:pt x="59833" y="429707"/>
                    <a:pt x="54393" y="426987"/>
                    <a:pt x="54393" y="421548"/>
                  </a:cubicBezTo>
                  <a:cubicBezTo>
                    <a:pt x="54393" y="413389"/>
                    <a:pt x="62552" y="410669"/>
                    <a:pt x="73431" y="407949"/>
                  </a:cubicBezTo>
                  <a:cubicBezTo>
                    <a:pt x="78870" y="407949"/>
                    <a:pt x="92468" y="405230"/>
                    <a:pt x="100629" y="399790"/>
                  </a:cubicBezTo>
                  <a:cubicBezTo>
                    <a:pt x="106068" y="394351"/>
                    <a:pt x="106068" y="378033"/>
                    <a:pt x="108788" y="369874"/>
                  </a:cubicBezTo>
                  <a:cubicBezTo>
                    <a:pt x="114227" y="348117"/>
                    <a:pt x="119666" y="326360"/>
                    <a:pt x="125105" y="307322"/>
                  </a:cubicBezTo>
                  <a:cubicBezTo>
                    <a:pt x="130545" y="285565"/>
                    <a:pt x="135984" y="263808"/>
                    <a:pt x="141423" y="242051"/>
                  </a:cubicBezTo>
                  <a:cubicBezTo>
                    <a:pt x="146863" y="220293"/>
                    <a:pt x="152302" y="198536"/>
                    <a:pt x="155022" y="179498"/>
                  </a:cubicBezTo>
                  <a:cubicBezTo>
                    <a:pt x="157742" y="160461"/>
                    <a:pt x="163181" y="138703"/>
                    <a:pt x="168620" y="119665"/>
                  </a:cubicBezTo>
                  <a:cubicBezTo>
                    <a:pt x="176779" y="100627"/>
                    <a:pt x="182218" y="76150"/>
                    <a:pt x="193097" y="57113"/>
                  </a:cubicBezTo>
                  <a:lnTo>
                    <a:pt x="201256" y="38075"/>
                  </a:lnTo>
                  <a:cubicBezTo>
                    <a:pt x="206695" y="29916"/>
                    <a:pt x="209415" y="19038"/>
                    <a:pt x="217574" y="13598"/>
                  </a:cubicBezTo>
                  <a:cubicBezTo>
                    <a:pt x="231172" y="2720"/>
                    <a:pt x="255649" y="0"/>
                    <a:pt x="274687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/>
            </a:p>
          </p:txBody>
        </p:sp>
        <p:sp>
          <p:nvSpPr>
            <p:cNvPr id="44" name="Freeform: Shape 43">
              <a:extLst>
                <a:ext uri="{FF2B5EF4-FFF2-40B4-BE49-F238E27FC236}">
                  <a16:creationId xmlns:a16="http://schemas.microsoft.com/office/drawing/2014/main" id="{6019EDE9-B07A-4FD5-87B9-487B5E3194EF}"/>
                </a:ext>
              </a:extLst>
            </p:cNvPr>
            <p:cNvSpPr/>
            <p:nvPr/>
          </p:nvSpPr>
          <p:spPr>
            <a:xfrm>
              <a:off x="6876542" y="4244897"/>
              <a:ext cx="462342" cy="677195"/>
            </a:xfrm>
            <a:custGeom>
              <a:avLst/>
              <a:gdLst>
                <a:gd name="connsiteX0" fmla="*/ 214853 w 462342"/>
                <a:gd name="connsiteY0" fmla="*/ 65272 h 677195"/>
                <a:gd name="connsiteX1" fmla="*/ 195815 w 462342"/>
                <a:gd name="connsiteY1" fmla="*/ 73431 h 677195"/>
                <a:gd name="connsiteX2" fmla="*/ 193096 w 462342"/>
                <a:gd name="connsiteY2" fmla="*/ 125105 h 677195"/>
                <a:gd name="connsiteX3" fmla="*/ 190376 w 462342"/>
                <a:gd name="connsiteY3" fmla="*/ 280125 h 677195"/>
                <a:gd name="connsiteX4" fmla="*/ 190376 w 462342"/>
                <a:gd name="connsiteY4" fmla="*/ 301882 h 677195"/>
                <a:gd name="connsiteX5" fmla="*/ 193096 w 462342"/>
                <a:gd name="connsiteY5" fmla="*/ 342677 h 677195"/>
                <a:gd name="connsiteX6" fmla="*/ 195815 w 462342"/>
                <a:gd name="connsiteY6" fmla="*/ 397070 h 677195"/>
                <a:gd name="connsiteX7" fmla="*/ 195815 w 462342"/>
                <a:gd name="connsiteY7" fmla="*/ 443304 h 677195"/>
                <a:gd name="connsiteX8" fmla="*/ 195815 w 462342"/>
                <a:gd name="connsiteY8" fmla="*/ 530333 h 677195"/>
                <a:gd name="connsiteX9" fmla="*/ 193096 w 462342"/>
                <a:gd name="connsiteY9" fmla="*/ 554810 h 677195"/>
                <a:gd name="connsiteX10" fmla="*/ 190376 w 462342"/>
                <a:gd name="connsiteY10" fmla="*/ 603764 h 677195"/>
                <a:gd name="connsiteX11" fmla="*/ 198535 w 462342"/>
                <a:gd name="connsiteY11" fmla="*/ 611923 h 677195"/>
                <a:gd name="connsiteX12" fmla="*/ 214853 w 462342"/>
                <a:gd name="connsiteY12" fmla="*/ 611923 h 677195"/>
                <a:gd name="connsiteX13" fmla="*/ 236610 w 462342"/>
                <a:gd name="connsiteY13" fmla="*/ 611923 h 677195"/>
                <a:gd name="connsiteX14" fmla="*/ 263807 w 462342"/>
                <a:gd name="connsiteY14" fmla="*/ 598325 h 677195"/>
                <a:gd name="connsiteX15" fmla="*/ 277405 w 462342"/>
                <a:gd name="connsiteY15" fmla="*/ 592885 h 677195"/>
                <a:gd name="connsiteX16" fmla="*/ 291004 w 462342"/>
                <a:gd name="connsiteY16" fmla="*/ 573848 h 677195"/>
                <a:gd name="connsiteX17" fmla="*/ 307322 w 462342"/>
                <a:gd name="connsiteY17" fmla="*/ 543931 h 677195"/>
                <a:gd name="connsiteX18" fmla="*/ 326359 w 462342"/>
                <a:gd name="connsiteY18" fmla="*/ 481379 h 677195"/>
                <a:gd name="connsiteX19" fmla="*/ 337238 w 462342"/>
                <a:gd name="connsiteY19" fmla="*/ 413388 h 677195"/>
                <a:gd name="connsiteX20" fmla="*/ 337238 w 462342"/>
                <a:gd name="connsiteY20" fmla="*/ 350836 h 677195"/>
                <a:gd name="connsiteX21" fmla="*/ 334518 w 462342"/>
                <a:gd name="connsiteY21" fmla="*/ 296443 h 677195"/>
                <a:gd name="connsiteX22" fmla="*/ 329079 w 462342"/>
                <a:gd name="connsiteY22" fmla="*/ 244769 h 677195"/>
                <a:gd name="connsiteX23" fmla="*/ 307322 w 462342"/>
                <a:gd name="connsiteY23" fmla="*/ 135983 h 677195"/>
                <a:gd name="connsiteX24" fmla="*/ 271966 w 462342"/>
                <a:gd name="connsiteY24" fmla="*/ 78870 h 677195"/>
                <a:gd name="connsiteX25" fmla="*/ 214853 w 462342"/>
                <a:gd name="connsiteY25" fmla="*/ 65272 h 677195"/>
                <a:gd name="connsiteX26" fmla="*/ 114226 w 462342"/>
                <a:gd name="connsiteY26" fmla="*/ 0 h 677195"/>
                <a:gd name="connsiteX27" fmla="*/ 127824 w 462342"/>
                <a:gd name="connsiteY27" fmla="*/ 0 h 677195"/>
                <a:gd name="connsiteX28" fmla="*/ 146862 w 462342"/>
                <a:gd name="connsiteY28" fmla="*/ 2720 h 677195"/>
                <a:gd name="connsiteX29" fmla="*/ 174059 w 462342"/>
                <a:gd name="connsiteY29" fmla="*/ 21758 h 677195"/>
                <a:gd name="connsiteX30" fmla="*/ 193096 w 462342"/>
                <a:gd name="connsiteY30" fmla="*/ 21758 h 677195"/>
                <a:gd name="connsiteX31" fmla="*/ 261088 w 462342"/>
                <a:gd name="connsiteY31" fmla="*/ 27197 h 677195"/>
                <a:gd name="connsiteX32" fmla="*/ 310042 w 462342"/>
                <a:gd name="connsiteY32" fmla="*/ 35356 h 677195"/>
                <a:gd name="connsiteX33" fmla="*/ 334518 w 462342"/>
                <a:gd name="connsiteY33" fmla="*/ 40795 h 677195"/>
                <a:gd name="connsiteX34" fmla="*/ 356276 w 462342"/>
                <a:gd name="connsiteY34" fmla="*/ 59833 h 677195"/>
                <a:gd name="connsiteX35" fmla="*/ 372593 w 462342"/>
                <a:gd name="connsiteY35" fmla="*/ 76151 h 677195"/>
                <a:gd name="connsiteX36" fmla="*/ 380752 w 462342"/>
                <a:gd name="connsiteY36" fmla="*/ 95188 h 677195"/>
                <a:gd name="connsiteX37" fmla="*/ 405230 w 462342"/>
                <a:gd name="connsiteY37" fmla="*/ 114226 h 677195"/>
                <a:gd name="connsiteX38" fmla="*/ 416108 w 462342"/>
                <a:gd name="connsiteY38" fmla="*/ 141422 h 677195"/>
                <a:gd name="connsiteX39" fmla="*/ 451464 w 462342"/>
                <a:gd name="connsiteY39" fmla="*/ 201256 h 677195"/>
                <a:gd name="connsiteX40" fmla="*/ 456903 w 462342"/>
                <a:gd name="connsiteY40" fmla="*/ 252929 h 677195"/>
                <a:gd name="connsiteX41" fmla="*/ 456903 w 462342"/>
                <a:gd name="connsiteY41" fmla="*/ 291004 h 677195"/>
                <a:gd name="connsiteX42" fmla="*/ 459623 w 462342"/>
                <a:gd name="connsiteY42" fmla="*/ 318201 h 677195"/>
                <a:gd name="connsiteX43" fmla="*/ 459623 w 462342"/>
                <a:gd name="connsiteY43" fmla="*/ 326360 h 677195"/>
                <a:gd name="connsiteX44" fmla="*/ 459623 w 462342"/>
                <a:gd name="connsiteY44" fmla="*/ 348117 h 677195"/>
                <a:gd name="connsiteX45" fmla="*/ 462342 w 462342"/>
                <a:gd name="connsiteY45" fmla="*/ 367155 h 677195"/>
                <a:gd name="connsiteX46" fmla="*/ 456903 w 462342"/>
                <a:gd name="connsiteY46" fmla="*/ 391632 h 677195"/>
                <a:gd name="connsiteX47" fmla="*/ 456903 w 462342"/>
                <a:gd name="connsiteY47" fmla="*/ 418828 h 677195"/>
                <a:gd name="connsiteX48" fmla="*/ 451464 w 462342"/>
                <a:gd name="connsiteY48" fmla="*/ 437866 h 677195"/>
                <a:gd name="connsiteX49" fmla="*/ 446025 w 462342"/>
                <a:gd name="connsiteY49" fmla="*/ 454184 h 677195"/>
                <a:gd name="connsiteX50" fmla="*/ 440585 w 462342"/>
                <a:gd name="connsiteY50" fmla="*/ 481380 h 677195"/>
                <a:gd name="connsiteX51" fmla="*/ 432426 w 462342"/>
                <a:gd name="connsiteY51" fmla="*/ 508577 h 677195"/>
                <a:gd name="connsiteX52" fmla="*/ 418828 w 462342"/>
                <a:gd name="connsiteY52" fmla="*/ 530334 h 677195"/>
                <a:gd name="connsiteX53" fmla="*/ 410669 w 462342"/>
                <a:gd name="connsiteY53" fmla="*/ 549371 h 677195"/>
                <a:gd name="connsiteX54" fmla="*/ 391631 w 462342"/>
                <a:gd name="connsiteY54" fmla="*/ 579288 h 677195"/>
                <a:gd name="connsiteX55" fmla="*/ 337238 w 462342"/>
                <a:gd name="connsiteY55" fmla="*/ 630961 h 677195"/>
                <a:gd name="connsiteX56" fmla="*/ 301883 w 462342"/>
                <a:gd name="connsiteY56" fmla="*/ 647279 h 677195"/>
                <a:gd name="connsiteX57" fmla="*/ 263807 w 462342"/>
                <a:gd name="connsiteY57" fmla="*/ 652718 h 677195"/>
                <a:gd name="connsiteX58" fmla="*/ 233891 w 462342"/>
                <a:gd name="connsiteY58" fmla="*/ 649999 h 677195"/>
                <a:gd name="connsiteX59" fmla="*/ 187657 w 462342"/>
                <a:gd name="connsiteY59" fmla="*/ 652718 h 677195"/>
                <a:gd name="connsiteX60" fmla="*/ 171339 w 462342"/>
                <a:gd name="connsiteY60" fmla="*/ 669036 h 677195"/>
                <a:gd name="connsiteX61" fmla="*/ 155021 w 462342"/>
                <a:gd name="connsiteY61" fmla="*/ 671756 h 677195"/>
                <a:gd name="connsiteX62" fmla="*/ 138703 w 462342"/>
                <a:gd name="connsiteY62" fmla="*/ 674476 h 677195"/>
                <a:gd name="connsiteX63" fmla="*/ 125105 w 462342"/>
                <a:gd name="connsiteY63" fmla="*/ 677195 h 677195"/>
                <a:gd name="connsiteX64" fmla="*/ 106067 w 462342"/>
                <a:gd name="connsiteY64" fmla="*/ 671756 h 677195"/>
                <a:gd name="connsiteX65" fmla="*/ 87029 w 462342"/>
                <a:gd name="connsiteY65" fmla="*/ 658158 h 677195"/>
                <a:gd name="connsiteX66" fmla="*/ 81590 w 462342"/>
                <a:gd name="connsiteY66" fmla="*/ 652718 h 677195"/>
                <a:gd name="connsiteX67" fmla="*/ 67992 w 462342"/>
                <a:gd name="connsiteY67" fmla="*/ 652718 h 677195"/>
                <a:gd name="connsiteX68" fmla="*/ 43515 w 462342"/>
                <a:gd name="connsiteY68" fmla="*/ 652718 h 677195"/>
                <a:gd name="connsiteX69" fmla="*/ 16318 w 462342"/>
                <a:gd name="connsiteY69" fmla="*/ 647279 h 677195"/>
                <a:gd name="connsiteX70" fmla="*/ 0 w 462342"/>
                <a:gd name="connsiteY70" fmla="*/ 630961 h 677195"/>
                <a:gd name="connsiteX71" fmla="*/ 5439 w 462342"/>
                <a:gd name="connsiteY71" fmla="*/ 620083 h 677195"/>
                <a:gd name="connsiteX72" fmla="*/ 27197 w 462342"/>
                <a:gd name="connsiteY72" fmla="*/ 611924 h 677195"/>
                <a:gd name="connsiteX73" fmla="*/ 65272 w 462342"/>
                <a:gd name="connsiteY73" fmla="*/ 609204 h 677195"/>
                <a:gd name="connsiteX74" fmla="*/ 65272 w 462342"/>
                <a:gd name="connsiteY74" fmla="*/ 584727 h 677195"/>
                <a:gd name="connsiteX75" fmla="*/ 62552 w 462342"/>
                <a:gd name="connsiteY75" fmla="*/ 456903 h 677195"/>
                <a:gd name="connsiteX76" fmla="*/ 65272 w 462342"/>
                <a:gd name="connsiteY76" fmla="*/ 337238 h 677195"/>
                <a:gd name="connsiteX77" fmla="*/ 67992 w 462342"/>
                <a:gd name="connsiteY77" fmla="*/ 203975 h 677195"/>
                <a:gd name="connsiteX78" fmla="*/ 70712 w 462342"/>
                <a:gd name="connsiteY78" fmla="*/ 119665 h 677195"/>
                <a:gd name="connsiteX79" fmla="*/ 73431 w 462342"/>
                <a:gd name="connsiteY79" fmla="*/ 67992 h 677195"/>
                <a:gd name="connsiteX80" fmla="*/ 67992 w 462342"/>
                <a:gd name="connsiteY80" fmla="*/ 67992 h 677195"/>
                <a:gd name="connsiteX81" fmla="*/ 43515 w 462342"/>
                <a:gd name="connsiteY81" fmla="*/ 67992 h 677195"/>
                <a:gd name="connsiteX82" fmla="*/ 16318 w 462342"/>
                <a:gd name="connsiteY82" fmla="*/ 62552 h 677195"/>
                <a:gd name="connsiteX83" fmla="*/ 0 w 462342"/>
                <a:gd name="connsiteY83" fmla="*/ 46234 h 677195"/>
                <a:gd name="connsiteX84" fmla="*/ 5439 w 462342"/>
                <a:gd name="connsiteY84" fmla="*/ 35356 h 677195"/>
                <a:gd name="connsiteX85" fmla="*/ 27197 w 462342"/>
                <a:gd name="connsiteY85" fmla="*/ 27197 h 677195"/>
                <a:gd name="connsiteX86" fmla="*/ 76151 w 462342"/>
                <a:gd name="connsiteY86" fmla="*/ 21758 h 677195"/>
                <a:gd name="connsiteX87" fmla="*/ 81590 w 462342"/>
                <a:gd name="connsiteY87" fmla="*/ 13598 h 677195"/>
                <a:gd name="connsiteX88" fmla="*/ 97908 w 462342"/>
                <a:gd name="connsiteY88" fmla="*/ 5439 h 677195"/>
                <a:gd name="connsiteX89" fmla="*/ 114226 w 462342"/>
                <a:gd name="connsiteY89" fmla="*/ 0 h 6771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</a:cxnLst>
              <a:rect l="l" t="t" r="r" b="b"/>
              <a:pathLst>
                <a:path w="462342" h="677195">
                  <a:moveTo>
                    <a:pt x="214853" y="65272"/>
                  </a:moveTo>
                  <a:cubicBezTo>
                    <a:pt x="203975" y="65272"/>
                    <a:pt x="195815" y="67992"/>
                    <a:pt x="195815" y="73431"/>
                  </a:cubicBezTo>
                  <a:cubicBezTo>
                    <a:pt x="193096" y="78870"/>
                    <a:pt x="193096" y="100628"/>
                    <a:pt x="193096" y="125105"/>
                  </a:cubicBezTo>
                  <a:cubicBezTo>
                    <a:pt x="193096" y="182217"/>
                    <a:pt x="193096" y="266527"/>
                    <a:pt x="190376" y="280125"/>
                  </a:cubicBezTo>
                  <a:cubicBezTo>
                    <a:pt x="190376" y="288284"/>
                    <a:pt x="190376" y="293723"/>
                    <a:pt x="190376" y="301882"/>
                  </a:cubicBezTo>
                  <a:cubicBezTo>
                    <a:pt x="190376" y="315480"/>
                    <a:pt x="190376" y="329079"/>
                    <a:pt x="193096" y="342677"/>
                  </a:cubicBezTo>
                  <a:cubicBezTo>
                    <a:pt x="193096" y="361715"/>
                    <a:pt x="193096" y="378033"/>
                    <a:pt x="195815" y="397070"/>
                  </a:cubicBezTo>
                  <a:cubicBezTo>
                    <a:pt x="195815" y="413388"/>
                    <a:pt x="195815" y="426986"/>
                    <a:pt x="195815" y="443304"/>
                  </a:cubicBezTo>
                  <a:cubicBezTo>
                    <a:pt x="195815" y="465061"/>
                    <a:pt x="198535" y="508576"/>
                    <a:pt x="195815" y="530333"/>
                  </a:cubicBezTo>
                  <a:cubicBezTo>
                    <a:pt x="195815" y="538492"/>
                    <a:pt x="193096" y="546651"/>
                    <a:pt x="193096" y="554810"/>
                  </a:cubicBezTo>
                  <a:cubicBezTo>
                    <a:pt x="193096" y="560249"/>
                    <a:pt x="190376" y="590166"/>
                    <a:pt x="190376" y="603764"/>
                  </a:cubicBezTo>
                  <a:cubicBezTo>
                    <a:pt x="190376" y="609203"/>
                    <a:pt x="190376" y="611923"/>
                    <a:pt x="198535" y="611923"/>
                  </a:cubicBezTo>
                  <a:cubicBezTo>
                    <a:pt x="206694" y="611923"/>
                    <a:pt x="209414" y="611923"/>
                    <a:pt x="214853" y="611923"/>
                  </a:cubicBezTo>
                  <a:cubicBezTo>
                    <a:pt x="223012" y="611923"/>
                    <a:pt x="220293" y="611923"/>
                    <a:pt x="236610" y="611923"/>
                  </a:cubicBezTo>
                  <a:cubicBezTo>
                    <a:pt x="242050" y="611923"/>
                    <a:pt x="258368" y="601044"/>
                    <a:pt x="263807" y="598325"/>
                  </a:cubicBezTo>
                  <a:cubicBezTo>
                    <a:pt x="266527" y="598325"/>
                    <a:pt x="274686" y="592885"/>
                    <a:pt x="277405" y="592885"/>
                  </a:cubicBezTo>
                  <a:cubicBezTo>
                    <a:pt x="285564" y="587446"/>
                    <a:pt x="288284" y="579287"/>
                    <a:pt x="291004" y="573848"/>
                  </a:cubicBezTo>
                  <a:cubicBezTo>
                    <a:pt x="296443" y="562969"/>
                    <a:pt x="301882" y="554810"/>
                    <a:pt x="307322" y="543931"/>
                  </a:cubicBezTo>
                  <a:cubicBezTo>
                    <a:pt x="315481" y="524894"/>
                    <a:pt x="320920" y="524894"/>
                    <a:pt x="326359" y="481379"/>
                  </a:cubicBezTo>
                  <a:cubicBezTo>
                    <a:pt x="329079" y="456903"/>
                    <a:pt x="334518" y="435145"/>
                    <a:pt x="337238" y="413388"/>
                  </a:cubicBezTo>
                  <a:cubicBezTo>
                    <a:pt x="337238" y="391631"/>
                    <a:pt x="337238" y="369873"/>
                    <a:pt x="337238" y="350836"/>
                  </a:cubicBezTo>
                  <a:cubicBezTo>
                    <a:pt x="337238" y="339957"/>
                    <a:pt x="337238" y="320920"/>
                    <a:pt x="334518" y="296443"/>
                  </a:cubicBezTo>
                  <a:cubicBezTo>
                    <a:pt x="331798" y="269246"/>
                    <a:pt x="329079" y="250209"/>
                    <a:pt x="329079" y="244769"/>
                  </a:cubicBezTo>
                  <a:cubicBezTo>
                    <a:pt x="323640" y="206694"/>
                    <a:pt x="318200" y="174058"/>
                    <a:pt x="307322" y="135983"/>
                  </a:cubicBezTo>
                  <a:cubicBezTo>
                    <a:pt x="304602" y="125105"/>
                    <a:pt x="304602" y="108787"/>
                    <a:pt x="271966" y="78870"/>
                  </a:cubicBezTo>
                  <a:cubicBezTo>
                    <a:pt x="263807" y="73431"/>
                    <a:pt x="233891" y="65272"/>
                    <a:pt x="214853" y="65272"/>
                  </a:cubicBezTo>
                  <a:close/>
                  <a:moveTo>
                    <a:pt x="114226" y="0"/>
                  </a:moveTo>
                  <a:cubicBezTo>
                    <a:pt x="119665" y="0"/>
                    <a:pt x="125105" y="0"/>
                    <a:pt x="127824" y="0"/>
                  </a:cubicBezTo>
                  <a:cubicBezTo>
                    <a:pt x="133264" y="0"/>
                    <a:pt x="141422" y="0"/>
                    <a:pt x="146862" y="2720"/>
                  </a:cubicBezTo>
                  <a:cubicBezTo>
                    <a:pt x="157741" y="5439"/>
                    <a:pt x="165900" y="13598"/>
                    <a:pt x="174059" y="21758"/>
                  </a:cubicBezTo>
                  <a:cubicBezTo>
                    <a:pt x="179498" y="21758"/>
                    <a:pt x="187657" y="21758"/>
                    <a:pt x="193096" y="21758"/>
                  </a:cubicBezTo>
                  <a:cubicBezTo>
                    <a:pt x="212134" y="21758"/>
                    <a:pt x="228452" y="27197"/>
                    <a:pt x="261088" y="27197"/>
                  </a:cubicBezTo>
                  <a:cubicBezTo>
                    <a:pt x="277405" y="27197"/>
                    <a:pt x="293723" y="35356"/>
                    <a:pt x="310042" y="35356"/>
                  </a:cubicBezTo>
                  <a:cubicBezTo>
                    <a:pt x="318200" y="35356"/>
                    <a:pt x="329079" y="35356"/>
                    <a:pt x="334518" y="40795"/>
                  </a:cubicBezTo>
                  <a:cubicBezTo>
                    <a:pt x="342677" y="46234"/>
                    <a:pt x="348117" y="54393"/>
                    <a:pt x="356276" y="59833"/>
                  </a:cubicBezTo>
                  <a:cubicBezTo>
                    <a:pt x="361715" y="65272"/>
                    <a:pt x="369874" y="67992"/>
                    <a:pt x="372593" y="76151"/>
                  </a:cubicBezTo>
                  <a:cubicBezTo>
                    <a:pt x="375313" y="81590"/>
                    <a:pt x="378033" y="89749"/>
                    <a:pt x="380752" y="95188"/>
                  </a:cubicBezTo>
                  <a:cubicBezTo>
                    <a:pt x="386192" y="103347"/>
                    <a:pt x="391631" y="106067"/>
                    <a:pt x="405230" y="114226"/>
                  </a:cubicBezTo>
                  <a:cubicBezTo>
                    <a:pt x="413388" y="119665"/>
                    <a:pt x="410669" y="133263"/>
                    <a:pt x="416108" y="141422"/>
                  </a:cubicBezTo>
                  <a:cubicBezTo>
                    <a:pt x="426987" y="160461"/>
                    <a:pt x="446025" y="182218"/>
                    <a:pt x="451464" y="201256"/>
                  </a:cubicBezTo>
                  <a:cubicBezTo>
                    <a:pt x="456903" y="220293"/>
                    <a:pt x="456903" y="236611"/>
                    <a:pt x="456903" y="252929"/>
                  </a:cubicBezTo>
                  <a:cubicBezTo>
                    <a:pt x="456903" y="266527"/>
                    <a:pt x="456903" y="277406"/>
                    <a:pt x="456903" y="291004"/>
                  </a:cubicBezTo>
                  <a:cubicBezTo>
                    <a:pt x="456903" y="299163"/>
                    <a:pt x="456903" y="307322"/>
                    <a:pt x="459623" y="318201"/>
                  </a:cubicBezTo>
                  <a:cubicBezTo>
                    <a:pt x="459623" y="320921"/>
                    <a:pt x="459623" y="323640"/>
                    <a:pt x="459623" y="326360"/>
                  </a:cubicBezTo>
                  <a:cubicBezTo>
                    <a:pt x="462342" y="331799"/>
                    <a:pt x="459623" y="337238"/>
                    <a:pt x="459623" y="348117"/>
                  </a:cubicBezTo>
                  <a:cubicBezTo>
                    <a:pt x="459623" y="350837"/>
                    <a:pt x="462342" y="361715"/>
                    <a:pt x="462342" y="367155"/>
                  </a:cubicBezTo>
                  <a:cubicBezTo>
                    <a:pt x="462342" y="375314"/>
                    <a:pt x="456903" y="383473"/>
                    <a:pt x="456903" y="391632"/>
                  </a:cubicBezTo>
                  <a:cubicBezTo>
                    <a:pt x="456903" y="399790"/>
                    <a:pt x="456903" y="410669"/>
                    <a:pt x="456903" y="418828"/>
                  </a:cubicBezTo>
                  <a:cubicBezTo>
                    <a:pt x="456903" y="421548"/>
                    <a:pt x="454183" y="429707"/>
                    <a:pt x="451464" y="437866"/>
                  </a:cubicBezTo>
                  <a:cubicBezTo>
                    <a:pt x="448744" y="443305"/>
                    <a:pt x="448744" y="451464"/>
                    <a:pt x="446025" y="454184"/>
                  </a:cubicBezTo>
                  <a:cubicBezTo>
                    <a:pt x="443305" y="462343"/>
                    <a:pt x="440585" y="473221"/>
                    <a:pt x="440585" y="481380"/>
                  </a:cubicBezTo>
                  <a:cubicBezTo>
                    <a:pt x="437865" y="489539"/>
                    <a:pt x="437865" y="500418"/>
                    <a:pt x="432426" y="508577"/>
                  </a:cubicBezTo>
                  <a:cubicBezTo>
                    <a:pt x="429706" y="516736"/>
                    <a:pt x="424267" y="522175"/>
                    <a:pt x="418828" y="530334"/>
                  </a:cubicBezTo>
                  <a:cubicBezTo>
                    <a:pt x="416108" y="535773"/>
                    <a:pt x="413388" y="543932"/>
                    <a:pt x="410669" y="549371"/>
                  </a:cubicBezTo>
                  <a:cubicBezTo>
                    <a:pt x="405230" y="557531"/>
                    <a:pt x="397071" y="573848"/>
                    <a:pt x="391631" y="579288"/>
                  </a:cubicBezTo>
                  <a:cubicBezTo>
                    <a:pt x="369874" y="609204"/>
                    <a:pt x="350836" y="620083"/>
                    <a:pt x="337238" y="630961"/>
                  </a:cubicBezTo>
                  <a:cubicBezTo>
                    <a:pt x="326359" y="639120"/>
                    <a:pt x="315481" y="641840"/>
                    <a:pt x="301883" y="647279"/>
                  </a:cubicBezTo>
                  <a:cubicBezTo>
                    <a:pt x="291004" y="649999"/>
                    <a:pt x="277405" y="652718"/>
                    <a:pt x="263807" y="652718"/>
                  </a:cubicBezTo>
                  <a:cubicBezTo>
                    <a:pt x="252929" y="652718"/>
                    <a:pt x="244770" y="649999"/>
                    <a:pt x="233891" y="649999"/>
                  </a:cubicBezTo>
                  <a:cubicBezTo>
                    <a:pt x="206694" y="649999"/>
                    <a:pt x="217573" y="652718"/>
                    <a:pt x="187657" y="652718"/>
                  </a:cubicBezTo>
                  <a:cubicBezTo>
                    <a:pt x="184937" y="660877"/>
                    <a:pt x="179498" y="666317"/>
                    <a:pt x="171339" y="669036"/>
                  </a:cubicBezTo>
                  <a:cubicBezTo>
                    <a:pt x="165900" y="671756"/>
                    <a:pt x="160460" y="671756"/>
                    <a:pt x="155021" y="671756"/>
                  </a:cubicBezTo>
                  <a:cubicBezTo>
                    <a:pt x="149581" y="671756"/>
                    <a:pt x="144142" y="674476"/>
                    <a:pt x="138703" y="674476"/>
                  </a:cubicBezTo>
                  <a:cubicBezTo>
                    <a:pt x="135983" y="674476"/>
                    <a:pt x="127824" y="677195"/>
                    <a:pt x="125105" y="677195"/>
                  </a:cubicBezTo>
                  <a:cubicBezTo>
                    <a:pt x="116946" y="677195"/>
                    <a:pt x="108787" y="671756"/>
                    <a:pt x="106067" y="671756"/>
                  </a:cubicBezTo>
                  <a:cubicBezTo>
                    <a:pt x="100628" y="669036"/>
                    <a:pt x="95188" y="663597"/>
                    <a:pt x="87029" y="658158"/>
                  </a:cubicBezTo>
                  <a:cubicBezTo>
                    <a:pt x="84310" y="655438"/>
                    <a:pt x="81590" y="655438"/>
                    <a:pt x="81590" y="652718"/>
                  </a:cubicBezTo>
                  <a:cubicBezTo>
                    <a:pt x="73431" y="652718"/>
                    <a:pt x="81590" y="652718"/>
                    <a:pt x="67992" y="652718"/>
                  </a:cubicBezTo>
                  <a:cubicBezTo>
                    <a:pt x="59833" y="652718"/>
                    <a:pt x="51674" y="652718"/>
                    <a:pt x="43515" y="652718"/>
                  </a:cubicBezTo>
                  <a:cubicBezTo>
                    <a:pt x="35356" y="652718"/>
                    <a:pt x="24477" y="652718"/>
                    <a:pt x="16318" y="647279"/>
                  </a:cubicBezTo>
                  <a:cubicBezTo>
                    <a:pt x="8159" y="644559"/>
                    <a:pt x="0" y="636401"/>
                    <a:pt x="0" y="630961"/>
                  </a:cubicBezTo>
                  <a:cubicBezTo>
                    <a:pt x="0" y="625522"/>
                    <a:pt x="0" y="622802"/>
                    <a:pt x="5439" y="620083"/>
                  </a:cubicBezTo>
                  <a:cubicBezTo>
                    <a:pt x="10879" y="617363"/>
                    <a:pt x="21758" y="614643"/>
                    <a:pt x="27197" y="611924"/>
                  </a:cubicBezTo>
                  <a:cubicBezTo>
                    <a:pt x="38076" y="609204"/>
                    <a:pt x="54393" y="609204"/>
                    <a:pt x="65272" y="609204"/>
                  </a:cubicBezTo>
                  <a:cubicBezTo>
                    <a:pt x="65272" y="601045"/>
                    <a:pt x="65272" y="592886"/>
                    <a:pt x="65272" y="584727"/>
                  </a:cubicBezTo>
                  <a:cubicBezTo>
                    <a:pt x="65272" y="541213"/>
                    <a:pt x="62552" y="500418"/>
                    <a:pt x="62552" y="456903"/>
                  </a:cubicBezTo>
                  <a:cubicBezTo>
                    <a:pt x="62552" y="440585"/>
                    <a:pt x="65272" y="397071"/>
                    <a:pt x="65272" y="337238"/>
                  </a:cubicBezTo>
                  <a:cubicBezTo>
                    <a:pt x="65272" y="293724"/>
                    <a:pt x="67992" y="247490"/>
                    <a:pt x="67992" y="203975"/>
                  </a:cubicBezTo>
                  <a:cubicBezTo>
                    <a:pt x="67992" y="179498"/>
                    <a:pt x="67992" y="149582"/>
                    <a:pt x="70712" y="119665"/>
                  </a:cubicBezTo>
                  <a:cubicBezTo>
                    <a:pt x="70712" y="103347"/>
                    <a:pt x="73431" y="84309"/>
                    <a:pt x="73431" y="67992"/>
                  </a:cubicBezTo>
                  <a:cubicBezTo>
                    <a:pt x="73431" y="67992"/>
                    <a:pt x="70712" y="67992"/>
                    <a:pt x="67992" y="67992"/>
                  </a:cubicBezTo>
                  <a:cubicBezTo>
                    <a:pt x="59833" y="67992"/>
                    <a:pt x="51674" y="67992"/>
                    <a:pt x="43515" y="67992"/>
                  </a:cubicBezTo>
                  <a:cubicBezTo>
                    <a:pt x="35356" y="67992"/>
                    <a:pt x="24477" y="67992"/>
                    <a:pt x="16318" y="62552"/>
                  </a:cubicBezTo>
                  <a:cubicBezTo>
                    <a:pt x="8159" y="59833"/>
                    <a:pt x="0" y="51674"/>
                    <a:pt x="0" y="46234"/>
                  </a:cubicBezTo>
                  <a:cubicBezTo>
                    <a:pt x="0" y="43515"/>
                    <a:pt x="0" y="38075"/>
                    <a:pt x="5439" y="35356"/>
                  </a:cubicBezTo>
                  <a:cubicBezTo>
                    <a:pt x="10879" y="32636"/>
                    <a:pt x="21758" y="29916"/>
                    <a:pt x="27197" y="27197"/>
                  </a:cubicBezTo>
                  <a:cubicBezTo>
                    <a:pt x="46234" y="24477"/>
                    <a:pt x="65272" y="21758"/>
                    <a:pt x="76151" y="21758"/>
                  </a:cubicBezTo>
                  <a:cubicBezTo>
                    <a:pt x="76151" y="19038"/>
                    <a:pt x="78871" y="16318"/>
                    <a:pt x="81590" y="13598"/>
                  </a:cubicBezTo>
                  <a:cubicBezTo>
                    <a:pt x="84310" y="10879"/>
                    <a:pt x="92469" y="5439"/>
                    <a:pt x="97908" y="5439"/>
                  </a:cubicBezTo>
                  <a:cubicBezTo>
                    <a:pt x="103347" y="2720"/>
                    <a:pt x="108787" y="0"/>
                    <a:pt x="114226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/>
            </a:p>
          </p:txBody>
        </p:sp>
        <p:sp>
          <p:nvSpPr>
            <p:cNvPr id="45" name="Freeform: Shape 44">
              <a:extLst>
                <a:ext uri="{FF2B5EF4-FFF2-40B4-BE49-F238E27FC236}">
                  <a16:creationId xmlns:a16="http://schemas.microsoft.com/office/drawing/2014/main" id="{E57DE58C-884C-473D-88BB-56EE3548B302}"/>
                </a:ext>
              </a:extLst>
            </p:cNvPr>
            <p:cNvSpPr/>
            <p:nvPr/>
          </p:nvSpPr>
          <p:spPr>
            <a:xfrm>
              <a:off x="7310622" y="4197597"/>
              <a:ext cx="489539" cy="761503"/>
            </a:xfrm>
            <a:custGeom>
              <a:avLst/>
              <a:gdLst>
                <a:gd name="connsiteX0" fmla="*/ 433491 w 489538"/>
                <a:gd name="connsiteY0" fmla="*/ 651063 h 761503"/>
                <a:gd name="connsiteX1" fmla="*/ 438930 w 489538"/>
                <a:gd name="connsiteY1" fmla="*/ 661942 h 761503"/>
                <a:gd name="connsiteX2" fmla="*/ 425332 w 489538"/>
                <a:gd name="connsiteY2" fmla="*/ 683699 h 761503"/>
                <a:gd name="connsiteX3" fmla="*/ 400855 w 489538"/>
                <a:gd name="connsiteY3" fmla="*/ 691858 h 761503"/>
                <a:gd name="connsiteX4" fmla="*/ 343742 w 489538"/>
                <a:gd name="connsiteY4" fmla="*/ 700017 h 761503"/>
                <a:gd name="connsiteX5" fmla="*/ 316546 w 489538"/>
                <a:gd name="connsiteY5" fmla="*/ 705456 h 761503"/>
                <a:gd name="connsiteX6" fmla="*/ 275751 w 489538"/>
                <a:gd name="connsiteY6" fmla="*/ 705456 h 761503"/>
                <a:gd name="connsiteX7" fmla="*/ 264872 w 489538"/>
                <a:gd name="connsiteY7" fmla="*/ 708176 h 761503"/>
                <a:gd name="connsiteX8" fmla="*/ 253994 w 489538"/>
                <a:gd name="connsiteY8" fmla="*/ 708176 h 761503"/>
                <a:gd name="connsiteX9" fmla="*/ 240395 w 489538"/>
                <a:gd name="connsiteY9" fmla="*/ 719054 h 761503"/>
                <a:gd name="connsiteX10" fmla="*/ 224077 w 489538"/>
                <a:gd name="connsiteY10" fmla="*/ 721774 h 761503"/>
                <a:gd name="connsiteX11" fmla="*/ 205040 w 489538"/>
                <a:gd name="connsiteY11" fmla="*/ 724494 h 761503"/>
                <a:gd name="connsiteX12" fmla="*/ 191441 w 489538"/>
                <a:gd name="connsiteY12" fmla="*/ 727213 h 761503"/>
                <a:gd name="connsiteX13" fmla="*/ 169684 w 489538"/>
                <a:gd name="connsiteY13" fmla="*/ 721774 h 761503"/>
                <a:gd name="connsiteX14" fmla="*/ 150646 w 489538"/>
                <a:gd name="connsiteY14" fmla="*/ 708176 h 761503"/>
                <a:gd name="connsiteX15" fmla="*/ 139768 w 489538"/>
                <a:gd name="connsiteY15" fmla="*/ 708176 h 761503"/>
                <a:gd name="connsiteX16" fmla="*/ 120730 w 489538"/>
                <a:gd name="connsiteY16" fmla="*/ 708176 h 761503"/>
                <a:gd name="connsiteX17" fmla="*/ 98973 w 489538"/>
                <a:gd name="connsiteY17" fmla="*/ 708176 h 761503"/>
                <a:gd name="connsiteX18" fmla="*/ 74496 w 489538"/>
                <a:gd name="connsiteY18" fmla="*/ 702736 h 761503"/>
                <a:gd name="connsiteX19" fmla="*/ 58178 w 489538"/>
                <a:gd name="connsiteY19" fmla="*/ 683699 h 761503"/>
                <a:gd name="connsiteX20" fmla="*/ 63617 w 489538"/>
                <a:gd name="connsiteY20" fmla="*/ 675540 h 761503"/>
                <a:gd name="connsiteX21" fmla="*/ 85375 w 489538"/>
                <a:gd name="connsiteY21" fmla="*/ 667381 h 761503"/>
                <a:gd name="connsiteX22" fmla="*/ 128889 w 489538"/>
                <a:gd name="connsiteY22" fmla="*/ 661942 h 761503"/>
                <a:gd name="connsiteX23" fmla="*/ 128889 w 489538"/>
                <a:gd name="connsiteY23" fmla="*/ 602109 h 761503"/>
                <a:gd name="connsiteX24" fmla="*/ 126170 w 489538"/>
                <a:gd name="connsiteY24" fmla="*/ 523239 h 761503"/>
                <a:gd name="connsiteX25" fmla="*/ 126170 w 489538"/>
                <a:gd name="connsiteY25" fmla="*/ 468846 h 761503"/>
                <a:gd name="connsiteX26" fmla="*/ 123450 w 489538"/>
                <a:gd name="connsiteY26" fmla="*/ 409014 h 761503"/>
                <a:gd name="connsiteX27" fmla="*/ 123450 w 489538"/>
                <a:gd name="connsiteY27" fmla="*/ 384537 h 761503"/>
                <a:gd name="connsiteX28" fmla="*/ 126170 w 489538"/>
                <a:gd name="connsiteY28" fmla="*/ 349181 h 761503"/>
                <a:gd name="connsiteX29" fmla="*/ 126170 w 489538"/>
                <a:gd name="connsiteY29" fmla="*/ 324704 h 761503"/>
                <a:gd name="connsiteX30" fmla="*/ 128889 w 489538"/>
                <a:gd name="connsiteY30" fmla="*/ 292068 h 761503"/>
                <a:gd name="connsiteX31" fmla="*/ 134329 w 489538"/>
                <a:gd name="connsiteY31" fmla="*/ 234956 h 761503"/>
                <a:gd name="connsiteX32" fmla="*/ 134329 w 489538"/>
                <a:gd name="connsiteY32" fmla="*/ 172404 h 761503"/>
                <a:gd name="connsiteX33" fmla="*/ 137048 w 489538"/>
                <a:gd name="connsiteY33" fmla="*/ 123450 h 761503"/>
                <a:gd name="connsiteX34" fmla="*/ 123450 w 489538"/>
                <a:gd name="connsiteY34" fmla="*/ 123450 h 761503"/>
                <a:gd name="connsiteX35" fmla="*/ 101693 w 489538"/>
                <a:gd name="connsiteY35" fmla="*/ 123450 h 761503"/>
                <a:gd name="connsiteX36" fmla="*/ 77216 w 489538"/>
                <a:gd name="connsiteY36" fmla="*/ 118011 h 761503"/>
                <a:gd name="connsiteX37" fmla="*/ 60898 w 489538"/>
                <a:gd name="connsiteY37" fmla="*/ 98973 h 761503"/>
                <a:gd name="connsiteX38" fmla="*/ 66337 w 489538"/>
                <a:gd name="connsiteY38" fmla="*/ 90814 h 761503"/>
                <a:gd name="connsiteX39" fmla="*/ 88094 w 489538"/>
                <a:gd name="connsiteY39" fmla="*/ 82655 h 761503"/>
                <a:gd name="connsiteX40" fmla="*/ 145207 w 489538"/>
                <a:gd name="connsiteY40" fmla="*/ 77216 h 761503"/>
                <a:gd name="connsiteX41" fmla="*/ 145207 w 489538"/>
                <a:gd name="connsiteY41" fmla="*/ 77216 h 761503"/>
                <a:gd name="connsiteX42" fmla="*/ 153366 w 489538"/>
                <a:gd name="connsiteY42" fmla="*/ 69057 h 761503"/>
                <a:gd name="connsiteX43" fmla="*/ 177843 w 489538"/>
                <a:gd name="connsiteY43" fmla="*/ 60898 h 761503"/>
                <a:gd name="connsiteX44" fmla="*/ 196881 w 489538"/>
                <a:gd name="connsiteY44" fmla="*/ 58178 h 761503"/>
                <a:gd name="connsiteX45" fmla="*/ 205040 w 489538"/>
                <a:gd name="connsiteY45" fmla="*/ 58178 h 761503"/>
                <a:gd name="connsiteX46" fmla="*/ 215919 w 489538"/>
                <a:gd name="connsiteY46" fmla="*/ 63617 h 761503"/>
                <a:gd name="connsiteX47" fmla="*/ 229517 w 489538"/>
                <a:gd name="connsiteY47" fmla="*/ 69057 h 761503"/>
                <a:gd name="connsiteX48" fmla="*/ 256713 w 489538"/>
                <a:gd name="connsiteY48" fmla="*/ 77216 h 761503"/>
                <a:gd name="connsiteX49" fmla="*/ 264872 w 489538"/>
                <a:gd name="connsiteY49" fmla="*/ 77216 h 761503"/>
                <a:gd name="connsiteX50" fmla="*/ 281190 w 489538"/>
                <a:gd name="connsiteY50" fmla="*/ 77216 h 761503"/>
                <a:gd name="connsiteX51" fmla="*/ 330144 w 489538"/>
                <a:gd name="connsiteY51" fmla="*/ 77216 h 761503"/>
                <a:gd name="connsiteX52" fmla="*/ 357341 w 489538"/>
                <a:gd name="connsiteY52" fmla="*/ 79935 h 761503"/>
                <a:gd name="connsiteX53" fmla="*/ 387257 w 489538"/>
                <a:gd name="connsiteY53" fmla="*/ 82655 h 761503"/>
                <a:gd name="connsiteX54" fmla="*/ 406295 w 489538"/>
                <a:gd name="connsiteY54" fmla="*/ 85375 h 761503"/>
                <a:gd name="connsiteX55" fmla="*/ 417173 w 489538"/>
                <a:gd name="connsiteY55" fmla="*/ 79935 h 761503"/>
                <a:gd name="connsiteX56" fmla="*/ 425332 w 489538"/>
                <a:gd name="connsiteY56" fmla="*/ 85375 h 761503"/>
                <a:gd name="connsiteX57" fmla="*/ 433491 w 489538"/>
                <a:gd name="connsiteY57" fmla="*/ 104412 h 761503"/>
                <a:gd name="connsiteX58" fmla="*/ 436211 w 489538"/>
                <a:gd name="connsiteY58" fmla="*/ 137048 h 761503"/>
                <a:gd name="connsiteX59" fmla="*/ 438930 w 489538"/>
                <a:gd name="connsiteY59" fmla="*/ 183282 h 761503"/>
                <a:gd name="connsiteX60" fmla="*/ 422612 w 489538"/>
                <a:gd name="connsiteY60" fmla="*/ 218638 h 761503"/>
                <a:gd name="connsiteX61" fmla="*/ 406295 w 489538"/>
                <a:gd name="connsiteY61" fmla="*/ 213198 h 761503"/>
                <a:gd name="connsiteX62" fmla="*/ 398136 w 489538"/>
                <a:gd name="connsiteY62" fmla="*/ 196881 h 761503"/>
                <a:gd name="connsiteX63" fmla="*/ 395416 w 489538"/>
                <a:gd name="connsiteY63" fmla="*/ 175123 h 761503"/>
                <a:gd name="connsiteX64" fmla="*/ 395416 w 489538"/>
                <a:gd name="connsiteY64" fmla="*/ 153366 h 761503"/>
                <a:gd name="connsiteX65" fmla="*/ 395416 w 489538"/>
                <a:gd name="connsiteY65" fmla="*/ 126170 h 761503"/>
                <a:gd name="connsiteX66" fmla="*/ 370939 w 489538"/>
                <a:gd name="connsiteY66" fmla="*/ 128889 h 761503"/>
                <a:gd name="connsiteX67" fmla="*/ 338303 w 489538"/>
                <a:gd name="connsiteY67" fmla="*/ 131609 h 761503"/>
                <a:gd name="connsiteX68" fmla="*/ 286629 w 489538"/>
                <a:gd name="connsiteY68" fmla="*/ 134328 h 761503"/>
                <a:gd name="connsiteX69" fmla="*/ 273031 w 489538"/>
                <a:gd name="connsiteY69" fmla="*/ 137048 h 761503"/>
                <a:gd name="connsiteX70" fmla="*/ 262153 w 489538"/>
                <a:gd name="connsiteY70" fmla="*/ 142487 h 761503"/>
                <a:gd name="connsiteX71" fmla="*/ 259433 w 489538"/>
                <a:gd name="connsiteY71" fmla="*/ 153366 h 761503"/>
                <a:gd name="connsiteX72" fmla="*/ 262153 w 489538"/>
                <a:gd name="connsiteY72" fmla="*/ 166964 h 761503"/>
                <a:gd name="connsiteX73" fmla="*/ 262153 w 489538"/>
                <a:gd name="connsiteY73" fmla="*/ 196881 h 761503"/>
                <a:gd name="connsiteX74" fmla="*/ 262153 w 489538"/>
                <a:gd name="connsiteY74" fmla="*/ 215918 h 761503"/>
                <a:gd name="connsiteX75" fmla="*/ 262153 w 489538"/>
                <a:gd name="connsiteY75" fmla="*/ 251274 h 761503"/>
                <a:gd name="connsiteX76" fmla="*/ 259433 w 489538"/>
                <a:gd name="connsiteY76" fmla="*/ 278470 h 761503"/>
                <a:gd name="connsiteX77" fmla="*/ 259433 w 489538"/>
                <a:gd name="connsiteY77" fmla="*/ 308386 h 761503"/>
                <a:gd name="connsiteX78" fmla="*/ 259433 w 489538"/>
                <a:gd name="connsiteY78" fmla="*/ 321985 h 761503"/>
                <a:gd name="connsiteX79" fmla="*/ 259433 w 489538"/>
                <a:gd name="connsiteY79" fmla="*/ 332863 h 761503"/>
                <a:gd name="connsiteX80" fmla="*/ 267592 w 489538"/>
                <a:gd name="connsiteY80" fmla="*/ 335583 h 761503"/>
                <a:gd name="connsiteX81" fmla="*/ 281190 w 489538"/>
                <a:gd name="connsiteY81" fmla="*/ 335583 h 761503"/>
                <a:gd name="connsiteX82" fmla="*/ 327424 w 489538"/>
                <a:gd name="connsiteY82" fmla="*/ 338303 h 761503"/>
                <a:gd name="connsiteX83" fmla="*/ 351901 w 489538"/>
                <a:gd name="connsiteY83" fmla="*/ 341022 h 761503"/>
                <a:gd name="connsiteX84" fmla="*/ 351901 w 489538"/>
                <a:gd name="connsiteY84" fmla="*/ 335583 h 761503"/>
                <a:gd name="connsiteX85" fmla="*/ 351901 w 489538"/>
                <a:gd name="connsiteY85" fmla="*/ 313826 h 761503"/>
                <a:gd name="connsiteX86" fmla="*/ 357341 w 489538"/>
                <a:gd name="connsiteY86" fmla="*/ 289349 h 761503"/>
                <a:gd name="connsiteX87" fmla="*/ 373658 w 489538"/>
                <a:gd name="connsiteY87" fmla="*/ 273031 h 761503"/>
                <a:gd name="connsiteX88" fmla="*/ 381817 w 489538"/>
                <a:gd name="connsiteY88" fmla="*/ 278470 h 761503"/>
                <a:gd name="connsiteX89" fmla="*/ 389977 w 489538"/>
                <a:gd name="connsiteY89" fmla="*/ 300228 h 761503"/>
                <a:gd name="connsiteX90" fmla="*/ 395416 w 489538"/>
                <a:gd name="connsiteY90" fmla="*/ 351901 h 761503"/>
                <a:gd name="connsiteX91" fmla="*/ 398136 w 489538"/>
                <a:gd name="connsiteY91" fmla="*/ 409014 h 761503"/>
                <a:gd name="connsiteX92" fmla="*/ 381817 w 489538"/>
                <a:gd name="connsiteY92" fmla="*/ 444369 h 761503"/>
                <a:gd name="connsiteX93" fmla="*/ 365500 w 489538"/>
                <a:gd name="connsiteY93" fmla="*/ 438930 h 761503"/>
                <a:gd name="connsiteX94" fmla="*/ 357341 w 489538"/>
                <a:gd name="connsiteY94" fmla="*/ 422612 h 761503"/>
                <a:gd name="connsiteX95" fmla="*/ 354621 w 489538"/>
                <a:gd name="connsiteY95" fmla="*/ 400855 h 761503"/>
                <a:gd name="connsiteX96" fmla="*/ 354621 w 489538"/>
                <a:gd name="connsiteY96" fmla="*/ 381817 h 761503"/>
                <a:gd name="connsiteX97" fmla="*/ 270312 w 489538"/>
                <a:gd name="connsiteY97" fmla="*/ 381817 h 761503"/>
                <a:gd name="connsiteX98" fmla="*/ 256713 w 489538"/>
                <a:gd name="connsiteY98" fmla="*/ 395415 h 761503"/>
                <a:gd name="connsiteX99" fmla="*/ 253994 w 489538"/>
                <a:gd name="connsiteY99" fmla="*/ 422612 h 761503"/>
                <a:gd name="connsiteX100" fmla="*/ 253994 w 489538"/>
                <a:gd name="connsiteY100" fmla="*/ 433490 h 761503"/>
                <a:gd name="connsiteX101" fmla="*/ 253994 w 489538"/>
                <a:gd name="connsiteY101" fmla="*/ 449809 h 761503"/>
                <a:gd name="connsiteX102" fmla="*/ 256713 w 489538"/>
                <a:gd name="connsiteY102" fmla="*/ 474285 h 761503"/>
                <a:gd name="connsiteX103" fmla="*/ 256713 w 489538"/>
                <a:gd name="connsiteY103" fmla="*/ 496043 h 761503"/>
                <a:gd name="connsiteX104" fmla="*/ 259433 w 489538"/>
                <a:gd name="connsiteY104" fmla="*/ 534118 h 761503"/>
                <a:gd name="connsiteX105" fmla="*/ 259433 w 489538"/>
                <a:gd name="connsiteY105" fmla="*/ 591231 h 761503"/>
                <a:gd name="connsiteX106" fmla="*/ 262153 w 489538"/>
                <a:gd name="connsiteY106" fmla="*/ 618427 h 761503"/>
                <a:gd name="connsiteX107" fmla="*/ 267592 w 489538"/>
                <a:gd name="connsiteY107" fmla="*/ 648343 h 761503"/>
                <a:gd name="connsiteX108" fmla="*/ 292069 w 489538"/>
                <a:gd name="connsiteY108" fmla="*/ 651063 h 761503"/>
                <a:gd name="connsiteX109" fmla="*/ 327424 w 489538"/>
                <a:gd name="connsiteY109" fmla="*/ 651063 h 761503"/>
                <a:gd name="connsiteX110" fmla="*/ 362780 w 489538"/>
                <a:gd name="connsiteY110" fmla="*/ 653783 h 761503"/>
                <a:gd name="connsiteX111" fmla="*/ 395416 w 489538"/>
                <a:gd name="connsiteY111" fmla="*/ 648343 h 761503"/>
                <a:gd name="connsiteX112" fmla="*/ 395416 w 489538"/>
                <a:gd name="connsiteY112" fmla="*/ 618427 h 761503"/>
                <a:gd name="connsiteX113" fmla="*/ 395416 w 489538"/>
                <a:gd name="connsiteY113" fmla="*/ 596670 h 761503"/>
                <a:gd name="connsiteX114" fmla="*/ 398136 w 489538"/>
                <a:gd name="connsiteY114" fmla="*/ 574913 h 761503"/>
                <a:gd name="connsiteX115" fmla="*/ 406295 w 489538"/>
                <a:gd name="connsiteY115" fmla="*/ 558595 h 761503"/>
                <a:gd name="connsiteX116" fmla="*/ 422612 w 489538"/>
                <a:gd name="connsiteY116" fmla="*/ 553155 h 761503"/>
                <a:gd name="connsiteX117" fmla="*/ 438930 w 489538"/>
                <a:gd name="connsiteY117" fmla="*/ 588511 h 761503"/>
                <a:gd name="connsiteX118" fmla="*/ 436211 w 489538"/>
                <a:gd name="connsiteY118" fmla="*/ 645624 h 761503"/>
                <a:gd name="connsiteX119" fmla="*/ 433491 w 489538"/>
                <a:gd name="connsiteY119" fmla="*/ 651063 h 761503"/>
                <a:gd name="connsiteX120" fmla="*/ 433491 w 489538"/>
                <a:gd name="connsiteY120" fmla="*/ 651063 h 761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</a:cxnLst>
              <a:rect l="l" t="t" r="r" b="b"/>
              <a:pathLst>
                <a:path w="489538" h="761503">
                  <a:moveTo>
                    <a:pt x="433491" y="651063"/>
                  </a:moveTo>
                  <a:cubicBezTo>
                    <a:pt x="436211" y="653783"/>
                    <a:pt x="438930" y="656502"/>
                    <a:pt x="438930" y="661942"/>
                  </a:cubicBezTo>
                  <a:cubicBezTo>
                    <a:pt x="438930" y="670101"/>
                    <a:pt x="433491" y="678259"/>
                    <a:pt x="425332" y="683699"/>
                  </a:cubicBezTo>
                  <a:cubicBezTo>
                    <a:pt x="417173" y="689138"/>
                    <a:pt x="409014" y="689138"/>
                    <a:pt x="400855" y="691858"/>
                  </a:cubicBezTo>
                  <a:cubicBezTo>
                    <a:pt x="381817" y="694578"/>
                    <a:pt x="362780" y="694578"/>
                    <a:pt x="343742" y="700017"/>
                  </a:cubicBezTo>
                  <a:cubicBezTo>
                    <a:pt x="335583" y="702736"/>
                    <a:pt x="324705" y="702736"/>
                    <a:pt x="316546" y="705456"/>
                  </a:cubicBezTo>
                  <a:cubicBezTo>
                    <a:pt x="308387" y="705456"/>
                    <a:pt x="289349" y="705456"/>
                    <a:pt x="275751" y="705456"/>
                  </a:cubicBezTo>
                  <a:cubicBezTo>
                    <a:pt x="270312" y="705456"/>
                    <a:pt x="267592" y="708176"/>
                    <a:pt x="264872" y="708176"/>
                  </a:cubicBezTo>
                  <a:cubicBezTo>
                    <a:pt x="264872" y="708176"/>
                    <a:pt x="259433" y="708176"/>
                    <a:pt x="253994" y="708176"/>
                  </a:cubicBezTo>
                  <a:cubicBezTo>
                    <a:pt x="251274" y="713615"/>
                    <a:pt x="245835" y="716335"/>
                    <a:pt x="240395" y="719054"/>
                  </a:cubicBezTo>
                  <a:cubicBezTo>
                    <a:pt x="234956" y="721774"/>
                    <a:pt x="229517" y="721774"/>
                    <a:pt x="224077" y="721774"/>
                  </a:cubicBezTo>
                  <a:cubicBezTo>
                    <a:pt x="218638" y="721774"/>
                    <a:pt x="213199" y="724494"/>
                    <a:pt x="205040" y="724494"/>
                  </a:cubicBezTo>
                  <a:cubicBezTo>
                    <a:pt x="202320" y="724494"/>
                    <a:pt x="194161" y="727213"/>
                    <a:pt x="191441" y="727213"/>
                  </a:cubicBezTo>
                  <a:cubicBezTo>
                    <a:pt x="183282" y="727213"/>
                    <a:pt x="172404" y="721774"/>
                    <a:pt x="169684" y="721774"/>
                  </a:cubicBezTo>
                  <a:cubicBezTo>
                    <a:pt x="164245" y="719054"/>
                    <a:pt x="156086" y="713615"/>
                    <a:pt x="150646" y="708176"/>
                  </a:cubicBezTo>
                  <a:cubicBezTo>
                    <a:pt x="145207" y="708176"/>
                    <a:pt x="139768" y="708176"/>
                    <a:pt x="139768" y="708176"/>
                  </a:cubicBezTo>
                  <a:cubicBezTo>
                    <a:pt x="126170" y="708176"/>
                    <a:pt x="137048" y="708176"/>
                    <a:pt x="120730" y="708176"/>
                  </a:cubicBezTo>
                  <a:cubicBezTo>
                    <a:pt x="112571" y="708176"/>
                    <a:pt x="104412" y="708176"/>
                    <a:pt x="98973" y="708176"/>
                  </a:cubicBezTo>
                  <a:cubicBezTo>
                    <a:pt x="90814" y="708176"/>
                    <a:pt x="79936" y="708176"/>
                    <a:pt x="74496" y="702736"/>
                  </a:cubicBezTo>
                  <a:cubicBezTo>
                    <a:pt x="66337" y="700017"/>
                    <a:pt x="58178" y="689138"/>
                    <a:pt x="58178" y="683699"/>
                  </a:cubicBezTo>
                  <a:cubicBezTo>
                    <a:pt x="58178" y="680979"/>
                    <a:pt x="58178" y="678259"/>
                    <a:pt x="63617" y="675540"/>
                  </a:cubicBezTo>
                  <a:cubicBezTo>
                    <a:pt x="69057" y="672820"/>
                    <a:pt x="77216" y="670101"/>
                    <a:pt x="85375" y="667381"/>
                  </a:cubicBezTo>
                  <a:cubicBezTo>
                    <a:pt x="98973" y="664661"/>
                    <a:pt x="115291" y="664661"/>
                    <a:pt x="128889" y="661942"/>
                  </a:cubicBezTo>
                  <a:cubicBezTo>
                    <a:pt x="128889" y="645624"/>
                    <a:pt x="128889" y="623866"/>
                    <a:pt x="128889" y="602109"/>
                  </a:cubicBezTo>
                  <a:cubicBezTo>
                    <a:pt x="128889" y="566754"/>
                    <a:pt x="128889" y="531398"/>
                    <a:pt x="126170" y="523239"/>
                  </a:cubicBezTo>
                  <a:cubicBezTo>
                    <a:pt x="126170" y="517800"/>
                    <a:pt x="126170" y="487884"/>
                    <a:pt x="126170" y="468846"/>
                  </a:cubicBezTo>
                  <a:cubicBezTo>
                    <a:pt x="126170" y="449809"/>
                    <a:pt x="123450" y="430771"/>
                    <a:pt x="123450" y="409014"/>
                  </a:cubicBezTo>
                  <a:cubicBezTo>
                    <a:pt x="123450" y="400855"/>
                    <a:pt x="123450" y="392696"/>
                    <a:pt x="123450" y="384537"/>
                  </a:cubicBezTo>
                  <a:cubicBezTo>
                    <a:pt x="123450" y="373658"/>
                    <a:pt x="126170" y="360060"/>
                    <a:pt x="126170" y="349181"/>
                  </a:cubicBezTo>
                  <a:cubicBezTo>
                    <a:pt x="126170" y="341022"/>
                    <a:pt x="126170" y="332863"/>
                    <a:pt x="126170" y="324704"/>
                  </a:cubicBezTo>
                  <a:cubicBezTo>
                    <a:pt x="126170" y="313826"/>
                    <a:pt x="126170" y="302947"/>
                    <a:pt x="128889" y="292068"/>
                  </a:cubicBezTo>
                  <a:cubicBezTo>
                    <a:pt x="131609" y="273031"/>
                    <a:pt x="134329" y="253993"/>
                    <a:pt x="134329" y="234956"/>
                  </a:cubicBezTo>
                  <a:cubicBezTo>
                    <a:pt x="134329" y="213198"/>
                    <a:pt x="134329" y="191441"/>
                    <a:pt x="134329" y="172404"/>
                  </a:cubicBezTo>
                  <a:cubicBezTo>
                    <a:pt x="134329" y="156086"/>
                    <a:pt x="134329" y="139768"/>
                    <a:pt x="137048" y="123450"/>
                  </a:cubicBezTo>
                  <a:cubicBezTo>
                    <a:pt x="131609" y="123450"/>
                    <a:pt x="134329" y="123450"/>
                    <a:pt x="123450" y="123450"/>
                  </a:cubicBezTo>
                  <a:cubicBezTo>
                    <a:pt x="115291" y="123450"/>
                    <a:pt x="107132" y="123450"/>
                    <a:pt x="101693" y="123450"/>
                  </a:cubicBezTo>
                  <a:cubicBezTo>
                    <a:pt x="93534" y="123450"/>
                    <a:pt x="82655" y="123450"/>
                    <a:pt x="77216" y="118011"/>
                  </a:cubicBezTo>
                  <a:cubicBezTo>
                    <a:pt x="69057" y="115291"/>
                    <a:pt x="60898" y="101693"/>
                    <a:pt x="60898" y="98973"/>
                  </a:cubicBezTo>
                  <a:cubicBezTo>
                    <a:pt x="60898" y="96253"/>
                    <a:pt x="60898" y="93534"/>
                    <a:pt x="66337" y="90814"/>
                  </a:cubicBezTo>
                  <a:cubicBezTo>
                    <a:pt x="71777" y="88094"/>
                    <a:pt x="79936" y="85375"/>
                    <a:pt x="88094" y="82655"/>
                  </a:cubicBezTo>
                  <a:cubicBezTo>
                    <a:pt x="104412" y="79935"/>
                    <a:pt x="131609" y="77216"/>
                    <a:pt x="145207" y="77216"/>
                  </a:cubicBezTo>
                  <a:cubicBezTo>
                    <a:pt x="145207" y="77216"/>
                    <a:pt x="145207" y="77216"/>
                    <a:pt x="145207" y="77216"/>
                  </a:cubicBezTo>
                  <a:cubicBezTo>
                    <a:pt x="145207" y="74496"/>
                    <a:pt x="150646" y="71776"/>
                    <a:pt x="153366" y="69057"/>
                  </a:cubicBezTo>
                  <a:cubicBezTo>
                    <a:pt x="161525" y="63617"/>
                    <a:pt x="169684" y="63617"/>
                    <a:pt x="177843" y="60898"/>
                  </a:cubicBezTo>
                  <a:cubicBezTo>
                    <a:pt x="183282" y="58178"/>
                    <a:pt x="191441" y="58178"/>
                    <a:pt x="196881" y="58178"/>
                  </a:cubicBezTo>
                  <a:cubicBezTo>
                    <a:pt x="199600" y="58178"/>
                    <a:pt x="202320" y="58178"/>
                    <a:pt x="205040" y="58178"/>
                  </a:cubicBezTo>
                  <a:cubicBezTo>
                    <a:pt x="207759" y="58178"/>
                    <a:pt x="213199" y="60898"/>
                    <a:pt x="215919" y="63617"/>
                  </a:cubicBezTo>
                  <a:cubicBezTo>
                    <a:pt x="221358" y="66337"/>
                    <a:pt x="224077" y="66337"/>
                    <a:pt x="229517" y="69057"/>
                  </a:cubicBezTo>
                  <a:cubicBezTo>
                    <a:pt x="237675" y="71776"/>
                    <a:pt x="245835" y="77216"/>
                    <a:pt x="256713" y="77216"/>
                  </a:cubicBezTo>
                  <a:cubicBezTo>
                    <a:pt x="259433" y="77216"/>
                    <a:pt x="262153" y="77216"/>
                    <a:pt x="264872" y="77216"/>
                  </a:cubicBezTo>
                  <a:cubicBezTo>
                    <a:pt x="270312" y="77216"/>
                    <a:pt x="275751" y="77216"/>
                    <a:pt x="281190" y="77216"/>
                  </a:cubicBezTo>
                  <a:cubicBezTo>
                    <a:pt x="292069" y="77216"/>
                    <a:pt x="321985" y="77216"/>
                    <a:pt x="330144" y="77216"/>
                  </a:cubicBezTo>
                  <a:cubicBezTo>
                    <a:pt x="338303" y="77216"/>
                    <a:pt x="349182" y="77216"/>
                    <a:pt x="357341" y="79935"/>
                  </a:cubicBezTo>
                  <a:cubicBezTo>
                    <a:pt x="368219" y="79935"/>
                    <a:pt x="379098" y="82655"/>
                    <a:pt x="387257" y="82655"/>
                  </a:cubicBezTo>
                  <a:cubicBezTo>
                    <a:pt x="392696" y="82655"/>
                    <a:pt x="400855" y="85375"/>
                    <a:pt x="406295" y="85375"/>
                  </a:cubicBezTo>
                  <a:cubicBezTo>
                    <a:pt x="409014" y="82655"/>
                    <a:pt x="414453" y="79935"/>
                    <a:pt x="417173" y="79935"/>
                  </a:cubicBezTo>
                  <a:cubicBezTo>
                    <a:pt x="419893" y="79935"/>
                    <a:pt x="422612" y="79935"/>
                    <a:pt x="425332" y="85375"/>
                  </a:cubicBezTo>
                  <a:cubicBezTo>
                    <a:pt x="428052" y="90814"/>
                    <a:pt x="433491" y="98973"/>
                    <a:pt x="433491" y="104412"/>
                  </a:cubicBezTo>
                  <a:cubicBezTo>
                    <a:pt x="436211" y="131609"/>
                    <a:pt x="436211" y="120730"/>
                    <a:pt x="436211" y="137048"/>
                  </a:cubicBezTo>
                  <a:cubicBezTo>
                    <a:pt x="438930" y="158805"/>
                    <a:pt x="438930" y="158805"/>
                    <a:pt x="438930" y="183282"/>
                  </a:cubicBezTo>
                  <a:cubicBezTo>
                    <a:pt x="438930" y="194161"/>
                    <a:pt x="438930" y="218638"/>
                    <a:pt x="422612" y="218638"/>
                  </a:cubicBezTo>
                  <a:cubicBezTo>
                    <a:pt x="414453" y="218638"/>
                    <a:pt x="411734" y="215918"/>
                    <a:pt x="406295" y="213198"/>
                  </a:cubicBezTo>
                  <a:cubicBezTo>
                    <a:pt x="400855" y="210479"/>
                    <a:pt x="398136" y="202320"/>
                    <a:pt x="398136" y="196881"/>
                  </a:cubicBezTo>
                  <a:cubicBezTo>
                    <a:pt x="395416" y="188722"/>
                    <a:pt x="395416" y="183282"/>
                    <a:pt x="395416" y="175123"/>
                  </a:cubicBezTo>
                  <a:cubicBezTo>
                    <a:pt x="395416" y="169684"/>
                    <a:pt x="395416" y="164245"/>
                    <a:pt x="395416" y="153366"/>
                  </a:cubicBezTo>
                  <a:cubicBezTo>
                    <a:pt x="395416" y="145207"/>
                    <a:pt x="395416" y="134328"/>
                    <a:pt x="395416" y="126170"/>
                  </a:cubicBezTo>
                  <a:cubicBezTo>
                    <a:pt x="387257" y="128889"/>
                    <a:pt x="379098" y="128889"/>
                    <a:pt x="370939" y="128889"/>
                  </a:cubicBezTo>
                  <a:cubicBezTo>
                    <a:pt x="360060" y="128889"/>
                    <a:pt x="349182" y="128889"/>
                    <a:pt x="338303" y="131609"/>
                  </a:cubicBezTo>
                  <a:cubicBezTo>
                    <a:pt x="327424" y="131609"/>
                    <a:pt x="319265" y="134328"/>
                    <a:pt x="286629" y="134328"/>
                  </a:cubicBezTo>
                  <a:cubicBezTo>
                    <a:pt x="281190" y="134328"/>
                    <a:pt x="278470" y="134328"/>
                    <a:pt x="273031" y="137048"/>
                  </a:cubicBezTo>
                  <a:cubicBezTo>
                    <a:pt x="270312" y="137048"/>
                    <a:pt x="264872" y="137048"/>
                    <a:pt x="262153" y="142487"/>
                  </a:cubicBezTo>
                  <a:cubicBezTo>
                    <a:pt x="259433" y="145207"/>
                    <a:pt x="259433" y="150647"/>
                    <a:pt x="259433" y="153366"/>
                  </a:cubicBezTo>
                  <a:cubicBezTo>
                    <a:pt x="259433" y="158805"/>
                    <a:pt x="259433" y="164245"/>
                    <a:pt x="262153" y="166964"/>
                  </a:cubicBezTo>
                  <a:cubicBezTo>
                    <a:pt x="262153" y="177843"/>
                    <a:pt x="262153" y="186002"/>
                    <a:pt x="262153" y="196881"/>
                  </a:cubicBezTo>
                  <a:cubicBezTo>
                    <a:pt x="262153" y="202320"/>
                    <a:pt x="262153" y="210479"/>
                    <a:pt x="262153" y="215918"/>
                  </a:cubicBezTo>
                  <a:cubicBezTo>
                    <a:pt x="262153" y="229516"/>
                    <a:pt x="262153" y="240395"/>
                    <a:pt x="262153" y="251274"/>
                  </a:cubicBezTo>
                  <a:cubicBezTo>
                    <a:pt x="262153" y="259433"/>
                    <a:pt x="259433" y="270311"/>
                    <a:pt x="259433" y="278470"/>
                  </a:cubicBezTo>
                  <a:cubicBezTo>
                    <a:pt x="259433" y="289349"/>
                    <a:pt x="259433" y="297508"/>
                    <a:pt x="259433" y="308386"/>
                  </a:cubicBezTo>
                  <a:cubicBezTo>
                    <a:pt x="259433" y="313826"/>
                    <a:pt x="259433" y="319265"/>
                    <a:pt x="259433" y="321985"/>
                  </a:cubicBezTo>
                  <a:cubicBezTo>
                    <a:pt x="259433" y="324704"/>
                    <a:pt x="259433" y="330144"/>
                    <a:pt x="259433" y="332863"/>
                  </a:cubicBezTo>
                  <a:cubicBezTo>
                    <a:pt x="262153" y="335583"/>
                    <a:pt x="264872" y="335583"/>
                    <a:pt x="267592" y="335583"/>
                  </a:cubicBezTo>
                  <a:cubicBezTo>
                    <a:pt x="273031" y="335583"/>
                    <a:pt x="275751" y="335583"/>
                    <a:pt x="281190" y="335583"/>
                  </a:cubicBezTo>
                  <a:cubicBezTo>
                    <a:pt x="311107" y="335583"/>
                    <a:pt x="319265" y="335583"/>
                    <a:pt x="327424" y="338303"/>
                  </a:cubicBezTo>
                  <a:cubicBezTo>
                    <a:pt x="335583" y="341022"/>
                    <a:pt x="343742" y="341022"/>
                    <a:pt x="351901" y="341022"/>
                  </a:cubicBezTo>
                  <a:cubicBezTo>
                    <a:pt x="351901" y="338303"/>
                    <a:pt x="351901" y="338303"/>
                    <a:pt x="351901" y="335583"/>
                  </a:cubicBezTo>
                  <a:cubicBezTo>
                    <a:pt x="351901" y="327424"/>
                    <a:pt x="351901" y="319265"/>
                    <a:pt x="351901" y="313826"/>
                  </a:cubicBezTo>
                  <a:cubicBezTo>
                    <a:pt x="351901" y="305667"/>
                    <a:pt x="351901" y="294788"/>
                    <a:pt x="357341" y="289349"/>
                  </a:cubicBezTo>
                  <a:cubicBezTo>
                    <a:pt x="360060" y="281190"/>
                    <a:pt x="368219" y="273031"/>
                    <a:pt x="373658" y="273031"/>
                  </a:cubicBezTo>
                  <a:cubicBezTo>
                    <a:pt x="376378" y="273031"/>
                    <a:pt x="379098" y="273031"/>
                    <a:pt x="381817" y="278470"/>
                  </a:cubicBezTo>
                  <a:cubicBezTo>
                    <a:pt x="384537" y="283909"/>
                    <a:pt x="387257" y="292068"/>
                    <a:pt x="389977" y="300228"/>
                  </a:cubicBezTo>
                  <a:cubicBezTo>
                    <a:pt x="392696" y="316545"/>
                    <a:pt x="392696" y="335583"/>
                    <a:pt x="395416" y="351901"/>
                  </a:cubicBezTo>
                  <a:cubicBezTo>
                    <a:pt x="398136" y="373658"/>
                    <a:pt x="398136" y="384537"/>
                    <a:pt x="398136" y="409014"/>
                  </a:cubicBezTo>
                  <a:cubicBezTo>
                    <a:pt x="398136" y="422612"/>
                    <a:pt x="398136" y="444369"/>
                    <a:pt x="381817" y="444369"/>
                  </a:cubicBezTo>
                  <a:cubicBezTo>
                    <a:pt x="373658" y="444369"/>
                    <a:pt x="370939" y="441650"/>
                    <a:pt x="365500" y="438930"/>
                  </a:cubicBezTo>
                  <a:cubicBezTo>
                    <a:pt x="360060" y="436210"/>
                    <a:pt x="357341" y="428051"/>
                    <a:pt x="357341" y="422612"/>
                  </a:cubicBezTo>
                  <a:cubicBezTo>
                    <a:pt x="354621" y="414453"/>
                    <a:pt x="354621" y="409014"/>
                    <a:pt x="354621" y="400855"/>
                  </a:cubicBezTo>
                  <a:cubicBezTo>
                    <a:pt x="354621" y="395415"/>
                    <a:pt x="354621" y="389976"/>
                    <a:pt x="354621" y="381817"/>
                  </a:cubicBezTo>
                  <a:cubicBezTo>
                    <a:pt x="335583" y="381817"/>
                    <a:pt x="308387" y="384537"/>
                    <a:pt x="270312" y="381817"/>
                  </a:cubicBezTo>
                  <a:cubicBezTo>
                    <a:pt x="262153" y="381817"/>
                    <a:pt x="256713" y="387256"/>
                    <a:pt x="256713" y="395415"/>
                  </a:cubicBezTo>
                  <a:cubicBezTo>
                    <a:pt x="256713" y="403574"/>
                    <a:pt x="256713" y="414453"/>
                    <a:pt x="253994" y="422612"/>
                  </a:cubicBezTo>
                  <a:cubicBezTo>
                    <a:pt x="253994" y="425332"/>
                    <a:pt x="253994" y="430771"/>
                    <a:pt x="253994" y="433490"/>
                  </a:cubicBezTo>
                  <a:cubicBezTo>
                    <a:pt x="253994" y="438930"/>
                    <a:pt x="253994" y="444369"/>
                    <a:pt x="253994" y="449809"/>
                  </a:cubicBezTo>
                  <a:cubicBezTo>
                    <a:pt x="253994" y="457967"/>
                    <a:pt x="256713" y="466126"/>
                    <a:pt x="256713" y="474285"/>
                  </a:cubicBezTo>
                  <a:cubicBezTo>
                    <a:pt x="256713" y="482444"/>
                    <a:pt x="256713" y="490603"/>
                    <a:pt x="256713" y="496043"/>
                  </a:cubicBezTo>
                  <a:cubicBezTo>
                    <a:pt x="256713" y="509641"/>
                    <a:pt x="259433" y="520520"/>
                    <a:pt x="259433" y="534118"/>
                  </a:cubicBezTo>
                  <a:cubicBezTo>
                    <a:pt x="259433" y="553155"/>
                    <a:pt x="259433" y="572193"/>
                    <a:pt x="259433" y="591231"/>
                  </a:cubicBezTo>
                  <a:cubicBezTo>
                    <a:pt x="259433" y="602109"/>
                    <a:pt x="262153" y="610268"/>
                    <a:pt x="262153" y="618427"/>
                  </a:cubicBezTo>
                  <a:cubicBezTo>
                    <a:pt x="264872" y="626586"/>
                    <a:pt x="262153" y="642904"/>
                    <a:pt x="267592" y="648343"/>
                  </a:cubicBezTo>
                  <a:cubicBezTo>
                    <a:pt x="270312" y="651063"/>
                    <a:pt x="275751" y="651063"/>
                    <a:pt x="292069" y="651063"/>
                  </a:cubicBezTo>
                  <a:cubicBezTo>
                    <a:pt x="305667" y="651063"/>
                    <a:pt x="319265" y="651063"/>
                    <a:pt x="327424" y="651063"/>
                  </a:cubicBezTo>
                  <a:cubicBezTo>
                    <a:pt x="338303" y="651063"/>
                    <a:pt x="351901" y="653783"/>
                    <a:pt x="362780" y="653783"/>
                  </a:cubicBezTo>
                  <a:cubicBezTo>
                    <a:pt x="376378" y="653783"/>
                    <a:pt x="384537" y="651063"/>
                    <a:pt x="395416" y="648343"/>
                  </a:cubicBezTo>
                  <a:cubicBezTo>
                    <a:pt x="395416" y="637465"/>
                    <a:pt x="395416" y="629306"/>
                    <a:pt x="395416" y="618427"/>
                  </a:cubicBezTo>
                  <a:cubicBezTo>
                    <a:pt x="395416" y="610268"/>
                    <a:pt x="395416" y="602109"/>
                    <a:pt x="395416" y="596670"/>
                  </a:cubicBezTo>
                  <a:cubicBezTo>
                    <a:pt x="395416" y="591231"/>
                    <a:pt x="395416" y="585791"/>
                    <a:pt x="398136" y="574913"/>
                  </a:cubicBezTo>
                  <a:cubicBezTo>
                    <a:pt x="400855" y="569473"/>
                    <a:pt x="400855" y="564034"/>
                    <a:pt x="406295" y="558595"/>
                  </a:cubicBezTo>
                  <a:cubicBezTo>
                    <a:pt x="411734" y="553155"/>
                    <a:pt x="414453" y="553155"/>
                    <a:pt x="422612" y="553155"/>
                  </a:cubicBezTo>
                  <a:cubicBezTo>
                    <a:pt x="436211" y="553155"/>
                    <a:pt x="438930" y="577632"/>
                    <a:pt x="438930" y="588511"/>
                  </a:cubicBezTo>
                  <a:cubicBezTo>
                    <a:pt x="438930" y="612988"/>
                    <a:pt x="438930" y="623866"/>
                    <a:pt x="436211" y="645624"/>
                  </a:cubicBezTo>
                  <a:cubicBezTo>
                    <a:pt x="433491" y="648343"/>
                    <a:pt x="433491" y="648343"/>
                    <a:pt x="433491" y="651063"/>
                  </a:cubicBezTo>
                  <a:lnTo>
                    <a:pt x="433491" y="651063"/>
                  </a:ln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/>
            </a:p>
          </p:txBody>
        </p:sp>
        <p:sp>
          <p:nvSpPr>
            <p:cNvPr id="46" name="Freeform: Shape 45">
              <a:extLst>
                <a:ext uri="{FF2B5EF4-FFF2-40B4-BE49-F238E27FC236}">
                  <a16:creationId xmlns:a16="http://schemas.microsoft.com/office/drawing/2014/main" id="{4E622CD9-12E7-481D-9568-392632F69D07}"/>
                </a:ext>
              </a:extLst>
            </p:cNvPr>
            <p:cNvSpPr/>
            <p:nvPr/>
          </p:nvSpPr>
          <p:spPr>
            <a:xfrm>
              <a:off x="7912732" y="4250336"/>
              <a:ext cx="465062" cy="658157"/>
            </a:xfrm>
            <a:custGeom>
              <a:avLst/>
              <a:gdLst>
                <a:gd name="connsiteX0" fmla="*/ 193096 w 465062"/>
                <a:gd name="connsiteY0" fmla="*/ 59832 h 658157"/>
                <a:gd name="connsiteX1" fmla="*/ 193096 w 465062"/>
                <a:gd name="connsiteY1" fmla="*/ 114226 h 658157"/>
                <a:gd name="connsiteX2" fmla="*/ 198536 w 465062"/>
                <a:gd name="connsiteY2" fmla="*/ 209414 h 658157"/>
                <a:gd name="connsiteX3" fmla="*/ 201255 w 465062"/>
                <a:gd name="connsiteY3" fmla="*/ 282845 h 658157"/>
                <a:gd name="connsiteX4" fmla="*/ 203975 w 465062"/>
                <a:gd name="connsiteY4" fmla="*/ 315481 h 658157"/>
                <a:gd name="connsiteX5" fmla="*/ 203975 w 465062"/>
                <a:gd name="connsiteY5" fmla="*/ 320920 h 658157"/>
                <a:gd name="connsiteX6" fmla="*/ 212134 w 465062"/>
                <a:gd name="connsiteY6" fmla="*/ 329079 h 658157"/>
                <a:gd name="connsiteX7" fmla="*/ 223013 w 465062"/>
                <a:gd name="connsiteY7" fmla="*/ 329079 h 658157"/>
                <a:gd name="connsiteX8" fmla="*/ 239331 w 465062"/>
                <a:gd name="connsiteY8" fmla="*/ 329079 h 658157"/>
                <a:gd name="connsiteX9" fmla="*/ 280126 w 465062"/>
                <a:gd name="connsiteY9" fmla="*/ 312761 h 658157"/>
                <a:gd name="connsiteX10" fmla="*/ 296443 w 465062"/>
                <a:gd name="connsiteY10" fmla="*/ 288284 h 658157"/>
                <a:gd name="connsiteX11" fmla="*/ 304602 w 465062"/>
                <a:gd name="connsiteY11" fmla="*/ 258368 h 658157"/>
                <a:gd name="connsiteX12" fmla="*/ 312761 w 465062"/>
                <a:gd name="connsiteY12" fmla="*/ 225732 h 658157"/>
                <a:gd name="connsiteX13" fmla="*/ 315481 w 465062"/>
                <a:gd name="connsiteY13" fmla="*/ 195816 h 658157"/>
                <a:gd name="connsiteX14" fmla="*/ 318201 w 465062"/>
                <a:gd name="connsiteY14" fmla="*/ 168619 h 658157"/>
                <a:gd name="connsiteX15" fmla="*/ 312761 w 465062"/>
                <a:gd name="connsiteY15" fmla="*/ 135983 h 658157"/>
                <a:gd name="connsiteX16" fmla="*/ 312761 w 465062"/>
                <a:gd name="connsiteY16" fmla="*/ 122385 h 658157"/>
                <a:gd name="connsiteX17" fmla="*/ 293724 w 465062"/>
                <a:gd name="connsiteY17" fmla="*/ 84309 h 658157"/>
                <a:gd name="connsiteX18" fmla="*/ 280126 w 465062"/>
                <a:gd name="connsiteY18" fmla="*/ 73430 h 658157"/>
                <a:gd name="connsiteX19" fmla="*/ 258368 w 465062"/>
                <a:gd name="connsiteY19" fmla="*/ 62552 h 658157"/>
                <a:gd name="connsiteX20" fmla="*/ 217573 w 465062"/>
                <a:gd name="connsiteY20" fmla="*/ 59832 h 658157"/>
                <a:gd name="connsiteX21" fmla="*/ 111506 w 465062"/>
                <a:gd name="connsiteY21" fmla="*/ 0 h 658157"/>
                <a:gd name="connsiteX22" fmla="*/ 127824 w 465062"/>
                <a:gd name="connsiteY22" fmla="*/ 0 h 658157"/>
                <a:gd name="connsiteX23" fmla="*/ 157741 w 465062"/>
                <a:gd name="connsiteY23" fmla="*/ 5440 h 658157"/>
                <a:gd name="connsiteX24" fmla="*/ 179497 w 465062"/>
                <a:gd name="connsiteY24" fmla="*/ 16318 h 658157"/>
                <a:gd name="connsiteX25" fmla="*/ 209414 w 465062"/>
                <a:gd name="connsiteY25" fmla="*/ 16318 h 658157"/>
                <a:gd name="connsiteX26" fmla="*/ 247489 w 465062"/>
                <a:gd name="connsiteY26" fmla="*/ 16318 h 658157"/>
                <a:gd name="connsiteX27" fmla="*/ 266527 w 465062"/>
                <a:gd name="connsiteY27" fmla="*/ 16318 h 658157"/>
                <a:gd name="connsiteX28" fmla="*/ 312761 w 465062"/>
                <a:gd name="connsiteY28" fmla="*/ 27197 h 658157"/>
                <a:gd name="connsiteX29" fmla="*/ 337238 w 465062"/>
                <a:gd name="connsiteY29" fmla="*/ 38075 h 658157"/>
                <a:gd name="connsiteX30" fmla="*/ 364434 w 465062"/>
                <a:gd name="connsiteY30" fmla="*/ 54393 h 658157"/>
                <a:gd name="connsiteX31" fmla="*/ 386192 w 465062"/>
                <a:gd name="connsiteY31" fmla="*/ 73431 h 658157"/>
                <a:gd name="connsiteX32" fmla="*/ 407949 w 465062"/>
                <a:gd name="connsiteY32" fmla="*/ 103347 h 658157"/>
                <a:gd name="connsiteX33" fmla="*/ 416108 w 465062"/>
                <a:gd name="connsiteY33" fmla="*/ 141422 h 658157"/>
                <a:gd name="connsiteX34" fmla="*/ 418828 w 465062"/>
                <a:gd name="connsiteY34" fmla="*/ 163179 h 658157"/>
                <a:gd name="connsiteX35" fmla="*/ 418828 w 465062"/>
                <a:gd name="connsiteY35" fmla="*/ 171339 h 658157"/>
                <a:gd name="connsiteX36" fmla="*/ 421547 w 465062"/>
                <a:gd name="connsiteY36" fmla="*/ 187656 h 658157"/>
                <a:gd name="connsiteX37" fmla="*/ 418828 w 465062"/>
                <a:gd name="connsiteY37" fmla="*/ 206694 h 658157"/>
                <a:gd name="connsiteX38" fmla="*/ 416108 w 465062"/>
                <a:gd name="connsiteY38" fmla="*/ 233891 h 658157"/>
                <a:gd name="connsiteX39" fmla="*/ 405229 w 465062"/>
                <a:gd name="connsiteY39" fmla="*/ 263807 h 658157"/>
                <a:gd name="connsiteX40" fmla="*/ 394351 w 465062"/>
                <a:gd name="connsiteY40" fmla="*/ 274686 h 658157"/>
                <a:gd name="connsiteX41" fmla="*/ 388912 w 465062"/>
                <a:gd name="connsiteY41" fmla="*/ 285564 h 658157"/>
                <a:gd name="connsiteX42" fmla="*/ 369874 w 465062"/>
                <a:gd name="connsiteY42" fmla="*/ 304602 h 658157"/>
                <a:gd name="connsiteX43" fmla="*/ 358995 w 465062"/>
                <a:gd name="connsiteY43" fmla="*/ 310041 h 658157"/>
                <a:gd name="connsiteX44" fmla="*/ 348117 w 465062"/>
                <a:gd name="connsiteY44" fmla="*/ 320920 h 658157"/>
                <a:gd name="connsiteX45" fmla="*/ 326359 w 465062"/>
                <a:gd name="connsiteY45" fmla="*/ 339957 h 658157"/>
                <a:gd name="connsiteX46" fmla="*/ 312761 w 465062"/>
                <a:gd name="connsiteY46" fmla="*/ 353555 h 658157"/>
                <a:gd name="connsiteX47" fmla="*/ 337238 w 465062"/>
                <a:gd name="connsiteY47" fmla="*/ 380752 h 658157"/>
                <a:gd name="connsiteX48" fmla="*/ 358995 w 465062"/>
                <a:gd name="connsiteY48" fmla="*/ 421547 h 658157"/>
                <a:gd name="connsiteX49" fmla="*/ 372593 w 465062"/>
                <a:gd name="connsiteY49" fmla="*/ 459622 h 658157"/>
                <a:gd name="connsiteX50" fmla="*/ 386192 w 465062"/>
                <a:gd name="connsiteY50" fmla="*/ 514015 h 658157"/>
                <a:gd name="connsiteX51" fmla="*/ 407949 w 465062"/>
                <a:gd name="connsiteY51" fmla="*/ 568408 h 658157"/>
                <a:gd name="connsiteX52" fmla="*/ 421547 w 465062"/>
                <a:gd name="connsiteY52" fmla="*/ 598324 h 658157"/>
                <a:gd name="connsiteX53" fmla="*/ 451463 w 465062"/>
                <a:gd name="connsiteY53" fmla="*/ 628241 h 658157"/>
                <a:gd name="connsiteX54" fmla="*/ 465062 w 465062"/>
                <a:gd name="connsiteY54" fmla="*/ 644559 h 658157"/>
                <a:gd name="connsiteX55" fmla="*/ 462342 w 465062"/>
                <a:gd name="connsiteY55" fmla="*/ 649998 h 658157"/>
                <a:gd name="connsiteX56" fmla="*/ 437865 w 465062"/>
                <a:gd name="connsiteY56" fmla="*/ 658157 h 658157"/>
                <a:gd name="connsiteX57" fmla="*/ 361715 w 465062"/>
                <a:gd name="connsiteY57" fmla="*/ 622801 h 658157"/>
                <a:gd name="connsiteX58" fmla="*/ 320920 w 465062"/>
                <a:gd name="connsiteY58" fmla="*/ 565689 h 658157"/>
                <a:gd name="connsiteX59" fmla="*/ 304602 w 465062"/>
                <a:gd name="connsiteY59" fmla="*/ 530333 h 658157"/>
                <a:gd name="connsiteX60" fmla="*/ 293723 w 465062"/>
                <a:gd name="connsiteY60" fmla="*/ 497697 h 658157"/>
                <a:gd name="connsiteX61" fmla="*/ 282845 w 465062"/>
                <a:gd name="connsiteY61" fmla="*/ 462342 h 658157"/>
                <a:gd name="connsiteX62" fmla="*/ 269246 w 465062"/>
                <a:gd name="connsiteY62" fmla="*/ 424267 h 658157"/>
                <a:gd name="connsiteX63" fmla="*/ 255648 w 465062"/>
                <a:gd name="connsiteY63" fmla="*/ 391631 h 658157"/>
                <a:gd name="connsiteX64" fmla="*/ 236610 w 465062"/>
                <a:gd name="connsiteY64" fmla="*/ 367154 h 658157"/>
                <a:gd name="connsiteX65" fmla="*/ 217573 w 465062"/>
                <a:gd name="connsiteY65" fmla="*/ 361714 h 658157"/>
                <a:gd name="connsiteX66" fmla="*/ 201255 w 465062"/>
                <a:gd name="connsiteY66" fmla="*/ 361714 h 658157"/>
                <a:gd name="connsiteX67" fmla="*/ 198535 w 465062"/>
                <a:gd name="connsiteY67" fmla="*/ 367154 h 658157"/>
                <a:gd name="connsiteX68" fmla="*/ 201255 w 465062"/>
                <a:gd name="connsiteY68" fmla="*/ 388911 h 658157"/>
                <a:gd name="connsiteX69" fmla="*/ 198535 w 465062"/>
                <a:gd name="connsiteY69" fmla="*/ 426986 h 658157"/>
                <a:gd name="connsiteX70" fmla="*/ 203975 w 465062"/>
                <a:gd name="connsiteY70" fmla="*/ 478660 h 658157"/>
                <a:gd name="connsiteX71" fmla="*/ 198535 w 465062"/>
                <a:gd name="connsiteY71" fmla="*/ 552090 h 658157"/>
                <a:gd name="connsiteX72" fmla="*/ 195816 w 465062"/>
                <a:gd name="connsiteY72" fmla="*/ 576567 h 658157"/>
                <a:gd name="connsiteX73" fmla="*/ 198535 w 465062"/>
                <a:gd name="connsiteY73" fmla="*/ 592885 h 658157"/>
                <a:gd name="connsiteX74" fmla="*/ 233891 w 465062"/>
                <a:gd name="connsiteY74" fmla="*/ 592885 h 658157"/>
                <a:gd name="connsiteX75" fmla="*/ 271966 w 465062"/>
                <a:gd name="connsiteY75" fmla="*/ 611923 h 658157"/>
                <a:gd name="connsiteX76" fmla="*/ 266527 w 465062"/>
                <a:gd name="connsiteY76" fmla="*/ 628241 h 658157"/>
                <a:gd name="connsiteX77" fmla="*/ 250209 w 465062"/>
                <a:gd name="connsiteY77" fmla="*/ 636400 h 658157"/>
                <a:gd name="connsiteX78" fmla="*/ 228451 w 465062"/>
                <a:gd name="connsiteY78" fmla="*/ 639119 h 658157"/>
                <a:gd name="connsiteX79" fmla="*/ 187657 w 465062"/>
                <a:gd name="connsiteY79" fmla="*/ 639119 h 658157"/>
                <a:gd name="connsiteX80" fmla="*/ 152301 w 465062"/>
                <a:gd name="connsiteY80" fmla="*/ 652717 h 658157"/>
                <a:gd name="connsiteX81" fmla="*/ 133263 w 465062"/>
                <a:gd name="connsiteY81" fmla="*/ 655437 h 658157"/>
                <a:gd name="connsiteX82" fmla="*/ 122385 w 465062"/>
                <a:gd name="connsiteY82" fmla="*/ 652717 h 658157"/>
                <a:gd name="connsiteX83" fmla="*/ 97908 w 465062"/>
                <a:gd name="connsiteY83" fmla="*/ 639119 h 658157"/>
                <a:gd name="connsiteX84" fmla="*/ 70711 w 465062"/>
                <a:gd name="connsiteY84" fmla="*/ 639119 h 658157"/>
                <a:gd name="connsiteX85" fmla="*/ 46234 w 465062"/>
                <a:gd name="connsiteY85" fmla="*/ 639119 h 658157"/>
                <a:gd name="connsiteX86" fmla="*/ 19038 w 465062"/>
                <a:gd name="connsiteY86" fmla="*/ 630960 h 658157"/>
                <a:gd name="connsiteX87" fmla="*/ 2720 w 465062"/>
                <a:gd name="connsiteY87" fmla="*/ 614642 h 658157"/>
                <a:gd name="connsiteX88" fmla="*/ 8159 w 465062"/>
                <a:gd name="connsiteY88" fmla="*/ 606483 h 658157"/>
                <a:gd name="connsiteX89" fmla="*/ 29916 w 465062"/>
                <a:gd name="connsiteY89" fmla="*/ 598324 h 658157"/>
                <a:gd name="connsiteX90" fmla="*/ 76151 w 465062"/>
                <a:gd name="connsiteY90" fmla="*/ 592885 h 658157"/>
                <a:gd name="connsiteX91" fmla="*/ 73431 w 465062"/>
                <a:gd name="connsiteY91" fmla="*/ 573848 h 658157"/>
                <a:gd name="connsiteX92" fmla="*/ 70711 w 465062"/>
                <a:gd name="connsiteY92" fmla="*/ 500417 h 658157"/>
                <a:gd name="connsiteX93" fmla="*/ 73431 w 465062"/>
                <a:gd name="connsiteY93" fmla="*/ 437865 h 658157"/>
                <a:gd name="connsiteX94" fmla="*/ 70711 w 465062"/>
                <a:gd name="connsiteY94" fmla="*/ 369873 h 658157"/>
                <a:gd name="connsiteX95" fmla="*/ 70711 w 465062"/>
                <a:gd name="connsiteY95" fmla="*/ 293723 h 658157"/>
                <a:gd name="connsiteX96" fmla="*/ 73431 w 465062"/>
                <a:gd name="connsiteY96" fmla="*/ 212133 h 658157"/>
                <a:gd name="connsiteX97" fmla="*/ 76151 w 465062"/>
                <a:gd name="connsiteY97" fmla="*/ 155021 h 658157"/>
                <a:gd name="connsiteX98" fmla="*/ 76151 w 465062"/>
                <a:gd name="connsiteY98" fmla="*/ 119665 h 658157"/>
                <a:gd name="connsiteX99" fmla="*/ 78870 w 465062"/>
                <a:gd name="connsiteY99" fmla="*/ 84310 h 658157"/>
                <a:gd name="connsiteX100" fmla="*/ 76151 w 465062"/>
                <a:gd name="connsiteY100" fmla="*/ 62552 h 658157"/>
                <a:gd name="connsiteX101" fmla="*/ 67992 w 465062"/>
                <a:gd name="connsiteY101" fmla="*/ 62552 h 658157"/>
                <a:gd name="connsiteX102" fmla="*/ 43515 w 465062"/>
                <a:gd name="connsiteY102" fmla="*/ 62552 h 658157"/>
                <a:gd name="connsiteX103" fmla="*/ 16318 w 465062"/>
                <a:gd name="connsiteY103" fmla="*/ 57113 h 658157"/>
                <a:gd name="connsiteX104" fmla="*/ 0 w 465062"/>
                <a:gd name="connsiteY104" fmla="*/ 40795 h 658157"/>
                <a:gd name="connsiteX105" fmla="*/ 5439 w 465062"/>
                <a:gd name="connsiteY105" fmla="*/ 32636 h 658157"/>
                <a:gd name="connsiteX106" fmla="*/ 27197 w 465062"/>
                <a:gd name="connsiteY106" fmla="*/ 24477 h 658157"/>
                <a:gd name="connsiteX107" fmla="*/ 76151 w 465062"/>
                <a:gd name="connsiteY107" fmla="*/ 19038 h 658157"/>
                <a:gd name="connsiteX108" fmla="*/ 78870 w 465062"/>
                <a:gd name="connsiteY108" fmla="*/ 13598 h 658157"/>
                <a:gd name="connsiteX109" fmla="*/ 95188 w 465062"/>
                <a:gd name="connsiteY109" fmla="*/ 5440 h 658157"/>
                <a:gd name="connsiteX110" fmla="*/ 111506 w 465062"/>
                <a:gd name="connsiteY110" fmla="*/ 0 h 6581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</a:cxnLst>
              <a:rect l="l" t="t" r="r" b="b"/>
              <a:pathLst>
                <a:path w="465062" h="658157">
                  <a:moveTo>
                    <a:pt x="193096" y="59832"/>
                  </a:moveTo>
                  <a:cubicBezTo>
                    <a:pt x="193096" y="73430"/>
                    <a:pt x="193096" y="89748"/>
                    <a:pt x="193096" y="114226"/>
                  </a:cubicBezTo>
                  <a:cubicBezTo>
                    <a:pt x="193096" y="144142"/>
                    <a:pt x="195816" y="176778"/>
                    <a:pt x="198536" y="209414"/>
                  </a:cubicBezTo>
                  <a:cubicBezTo>
                    <a:pt x="198536" y="247489"/>
                    <a:pt x="201255" y="277406"/>
                    <a:pt x="201255" y="282845"/>
                  </a:cubicBezTo>
                  <a:cubicBezTo>
                    <a:pt x="201255" y="293723"/>
                    <a:pt x="203975" y="304602"/>
                    <a:pt x="203975" y="315481"/>
                  </a:cubicBezTo>
                  <a:cubicBezTo>
                    <a:pt x="203975" y="318200"/>
                    <a:pt x="203975" y="318200"/>
                    <a:pt x="203975" y="320920"/>
                  </a:cubicBezTo>
                  <a:cubicBezTo>
                    <a:pt x="203975" y="326359"/>
                    <a:pt x="206695" y="329079"/>
                    <a:pt x="212134" y="329079"/>
                  </a:cubicBezTo>
                  <a:cubicBezTo>
                    <a:pt x="214854" y="329079"/>
                    <a:pt x="220293" y="329079"/>
                    <a:pt x="223013" y="329079"/>
                  </a:cubicBezTo>
                  <a:cubicBezTo>
                    <a:pt x="228452" y="329079"/>
                    <a:pt x="233891" y="329079"/>
                    <a:pt x="239331" y="329079"/>
                  </a:cubicBezTo>
                  <a:cubicBezTo>
                    <a:pt x="252929" y="329079"/>
                    <a:pt x="271967" y="323640"/>
                    <a:pt x="280126" y="312761"/>
                  </a:cubicBezTo>
                  <a:cubicBezTo>
                    <a:pt x="288284" y="304602"/>
                    <a:pt x="291004" y="299163"/>
                    <a:pt x="296443" y="288284"/>
                  </a:cubicBezTo>
                  <a:cubicBezTo>
                    <a:pt x="299163" y="277406"/>
                    <a:pt x="301883" y="269247"/>
                    <a:pt x="304602" y="258368"/>
                  </a:cubicBezTo>
                  <a:cubicBezTo>
                    <a:pt x="307322" y="244770"/>
                    <a:pt x="310042" y="239330"/>
                    <a:pt x="312761" y="225732"/>
                  </a:cubicBezTo>
                  <a:cubicBezTo>
                    <a:pt x="315481" y="212134"/>
                    <a:pt x="315481" y="209414"/>
                    <a:pt x="315481" y="195816"/>
                  </a:cubicBezTo>
                  <a:cubicBezTo>
                    <a:pt x="315481" y="179498"/>
                    <a:pt x="315481" y="184937"/>
                    <a:pt x="318201" y="168619"/>
                  </a:cubicBezTo>
                  <a:cubicBezTo>
                    <a:pt x="312761" y="152302"/>
                    <a:pt x="312761" y="149582"/>
                    <a:pt x="312761" y="135983"/>
                  </a:cubicBezTo>
                  <a:cubicBezTo>
                    <a:pt x="312761" y="133264"/>
                    <a:pt x="312761" y="127825"/>
                    <a:pt x="312761" y="122385"/>
                  </a:cubicBezTo>
                  <a:cubicBezTo>
                    <a:pt x="312761" y="111507"/>
                    <a:pt x="301883" y="95188"/>
                    <a:pt x="293724" y="84309"/>
                  </a:cubicBezTo>
                  <a:cubicBezTo>
                    <a:pt x="288284" y="78870"/>
                    <a:pt x="285565" y="76150"/>
                    <a:pt x="280126" y="73430"/>
                  </a:cubicBezTo>
                  <a:cubicBezTo>
                    <a:pt x="271967" y="67991"/>
                    <a:pt x="266527" y="65271"/>
                    <a:pt x="258368" y="62552"/>
                  </a:cubicBezTo>
                  <a:cubicBezTo>
                    <a:pt x="244770" y="59832"/>
                    <a:pt x="228452" y="59832"/>
                    <a:pt x="217573" y="59832"/>
                  </a:cubicBezTo>
                  <a:close/>
                  <a:moveTo>
                    <a:pt x="111506" y="0"/>
                  </a:moveTo>
                  <a:cubicBezTo>
                    <a:pt x="114226" y="0"/>
                    <a:pt x="122385" y="0"/>
                    <a:pt x="127824" y="0"/>
                  </a:cubicBezTo>
                  <a:cubicBezTo>
                    <a:pt x="135983" y="0"/>
                    <a:pt x="146862" y="2720"/>
                    <a:pt x="157741" y="5440"/>
                  </a:cubicBezTo>
                  <a:cubicBezTo>
                    <a:pt x="168619" y="8159"/>
                    <a:pt x="176778" y="10879"/>
                    <a:pt x="179497" y="16318"/>
                  </a:cubicBezTo>
                  <a:cubicBezTo>
                    <a:pt x="193096" y="16318"/>
                    <a:pt x="201255" y="16318"/>
                    <a:pt x="209414" y="16318"/>
                  </a:cubicBezTo>
                  <a:cubicBezTo>
                    <a:pt x="220292" y="16318"/>
                    <a:pt x="231171" y="16318"/>
                    <a:pt x="247489" y="16318"/>
                  </a:cubicBezTo>
                  <a:cubicBezTo>
                    <a:pt x="250209" y="16318"/>
                    <a:pt x="258368" y="16318"/>
                    <a:pt x="266527" y="16318"/>
                  </a:cubicBezTo>
                  <a:cubicBezTo>
                    <a:pt x="277405" y="16318"/>
                    <a:pt x="291004" y="21758"/>
                    <a:pt x="312761" y="27197"/>
                  </a:cubicBezTo>
                  <a:cubicBezTo>
                    <a:pt x="320920" y="29917"/>
                    <a:pt x="329079" y="35356"/>
                    <a:pt x="337238" y="38075"/>
                  </a:cubicBezTo>
                  <a:cubicBezTo>
                    <a:pt x="342677" y="40795"/>
                    <a:pt x="353556" y="48954"/>
                    <a:pt x="364434" y="54393"/>
                  </a:cubicBezTo>
                  <a:cubicBezTo>
                    <a:pt x="375313" y="62552"/>
                    <a:pt x="386192" y="67992"/>
                    <a:pt x="386192" y="73431"/>
                  </a:cubicBezTo>
                  <a:cubicBezTo>
                    <a:pt x="391631" y="84310"/>
                    <a:pt x="402510" y="92469"/>
                    <a:pt x="407949" y="103347"/>
                  </a:cubicBezTo>
                  <a:cubicBezTo>
                    <a:pt x="413388" y="116945"/>
                    <a:pt x="416108" y="130544"/>
                    <a:pt x="416108" y="141422"/>
                  </a:cubicBezTo>
                  <a:cubicBezTo>
                    <a:pt x="416108" y="152301"/>
                    <a:pt x="418828" y="157740"/>
                    <a:pt x="418828" y="163179"/>
                  </a:cubicBezTo>
                  <a:cubicBezTo>
                    <a:pt x="418828" y="165899"/>
                    <a:pt x="418828" y="168619"/>
                    <a:pt x="418828" y="171339"/>
                  </a:cubicBezTo>
                  <a:cubicBezTo>
                    <a:pt x="418828" y="174058"/>
                    <a:pt x="421547" y="182217"/>
                    <a:pt x="421547" y="187656"/>
                  </a:cubicBezTo>
                  <a:cubicBezTo>
                    <a:pt x="421547" y="193096"/>
                    <a:pt x="418828" y="201255"/>
                    <a:pt x="418828" y="206694"/>
                  </a:cubicBezTo>
                  <a:cubicBezTo>
                    <a:pt x="418828" y="217573"/>
                    <a:pt x="418828" y="223012"/>
                    <a:pt x="416108" y="233891"/>
                  </a:cubicBezTo>
                  <a:cubicBezTo>
                    <a:pt x="413388" y="244769"/>
                    <a:pt x="410668" y="255648"/>
                    <a:pt x="405229" y="263807"/>
                  </a:cubicBezTo>
                  <a:cubicBezTo>
                    <a:pt x="402510" y="269246"/>
                    <a:pt x="397070" y="269246"/>
                    <a:pt x="394351" y="274686"/>
                  </a:cubicBezTo>
                  <a:cubicBezTo>
                    <a:pt x="391631" y="277405"/>
                    <a:pt x="391631" y="282844"/>
                    <a:pt x="388912" y="285564"/>
                  </a:cubicBezTo>
                  <a:cubicBezTo>
                    <a:pt x="383472" y="291003"/>
                    <a:pt x="375313" y="301882"/>
                    <a:pt x="369874" y="304602"/>
                  </a:cubicBezTo>
                  <a:cubicBezTo>
                    <a:pt x="367154" y="307321"/>
                    <a:pt x="361715" y="307321"/>
                    <a:pt x="358995" y="310041"/>
                  </a:cubicBezTo>
                  <a:cubicBezTo>
                    <a:pt x="356275" y="312761"/>
                    <a:pt x="350836" y="318200"/>
                    <a:pt x="348117" y="320920"/>
                  </a:cubicBezTo>
                  <a:cubicBezTo>
                    <a:pt x="339958" y="326359"/>
                    <a:pt x="334518" y="334518"/>
                    <a:pt x="326359" y="339957"/>
                  </a:cubicBezTo>
                  <a:cubicBezTo>
                    <a:pt x="320920" y="342677"/>
                    <a:pt x="312761" y="342677"/>
                    <a:pt x="312761" y="353555"/>
                  </a:cubicBezTo>
                  <a:cubicBezTo>
                    <a:pt x="312761" y="361714"/>
                    <a:pt x="334518" y="372593"/>
                    <a:pt x="337238" y="380752"/>
                  </a:cubicBezTo>
                  <a:cubicBezTo>
                    <a:pt x="345397" y="394350"/>
                    <a:pt x="353556" y="407948"/>
                    <a:pt x="358995" y="421547"/>
                  </a:cubicBezTo>
                  <a:cubicBezTo>
                    <a:pt x="364434" y="435145"/>
                    <a:pt x="367154" y="446024"/>
                    <a:pt x="372593" y="459622"/>
                  </a:cubicBezTo>
                  <a:cubicBezTo>
                    <a:pt x="378033" y="478660"/>
                    <a:pt x="383472" y="494978"/>
                    <a:pt x="386192" y="514015"/>
                  </a:cubicBezTo>
                  <a:cubicBezTo>
                    <a:pt x="391631" y="533053"/>
                    <a:pt x="402510" y="549371"/>
                    <a:pt x="407949" y="568408"/>
                  </a:cubicBezTo>
                  <a:cubicBezTo>
                    <a:pt x="410668" y="579287"/>
                    <a:pt x="416108" y="590165"/>
                    <a:pt x="421547" y="598324"/>
                  </a:cubicBezTo>
                  <a:cubicBezTo>
                    <a:pt x="435146" y="614642"/>
                    <a:pt x="443305" y="622801"/>
                    <a:pt x="451463" y="628241"/>
                  </a:cubicBezTo>
                  <a:cubicBezTo>
                    <a:pt x="456903" y="630960"/>
                    <a:pt x="465062" y="636400"/>
                    <a:pt x="465062" y="644559"/>
                  </a:cubicBezTo>
                  <a:cubicBezTo>
                    <a:pt x="465062" y="647278"/>
                    <a:pt x="465062" y="647278"/>
                    <a:pt x="462342" y="649998"/>
                  </a:cubicBezTo>
                  <a:cubicBezTo>
                    <a:pt x="456903" y="655437"/>
                    <a:pt x="446024" y="658157"/>
                    <a:pt x="437865" y="658157"/>
                  </a:cubicBezTo>
                  <a:cubicBezTo>
                    <a:pt x="413388" y="658157"/>
                    <a:pt x="378033" y="641839"/>
                    <a:pt x="361715" y="622801"/>
                  </a:cubicBezTo>
                  <a:cubicBezTo>
                    <a:pt x="345397" y="606483"/>
                    <a:pt x="334518" y="584726"/>
                    <a:pt x="320920" y="565689"/>
                  </a:cubicBezTo>
                  <a:cubicBezTo>
                    <a:pt x="315480" y="554810"/>
                    <a:pt x="310041" y="543931"/>
                    <a:pt x="304602" y="530333"/>
                  </a:cubicBezTo>
                  <a:cubicBezTo>
                    <a:pt x="299163" y="519454"/>
                    <a:pt x="296443" y="508576"/>
                    <a:pt x="293723" y="497697"/>
                  </a:cubicBezTo>
                  <a:cubicBezTo>
                    <a:pt x="291004" y="486819"/>
                    <a:pt x="288284" y="473220"/>
                    <a:pt x="282845" y="462342"/>
                  </a:cubicBezTo>
                  <a:cubicBezTo>
                    <a:pt x="280125" y="448743"/>
                    <a:pt x="274686" y="437865"/>
                    <a:pt x="269246" y="424267"/>
                  </a:cubicBezTo>
                  <a:cubicBezTo>
                    <a:pt x="266527" y="416108"/>
                    <a:pt x="261087" y="402509"/>
                    <a:pt x="255648" y="391631"/>
                  </a:cubicBezTo>
                  <a:cubicBezTo>
                    <a:pt x="250209" y="380752"/>
                    <a:pt x="244770" y="375313"/>
                    <a:pt x="236610" y="367154"/>
                  </a:cubicBezTo>
                  <a:cubicBezTo>
                    <a:pt x="231171" y="361714"/>
                    <a:pt x="223012" y="361714"/>
                    <a:pt x="217573" y="361714"/>
                  </a:cubicBezTo>
                  <a:cubicBezTo>
                    <a:pt x="212134" y="361714"/>
                    <a:pt x="206694" y="361714"/>
                    <a:pt x="201255" y="361714"/>
                  </a:cubicBezTo>
                  <a:cubicBezTo>
                    <a:pt x="198535" y="361714"/>
                    <a:pt x="198535" y="364434"/>
                    <a:pt x="198535" y="367154"/>
                  </a:cubicBezTo>
                  <a:cubicBezTo>
                    <a:pt x="198535" y="375313"/>
                    <a:pt x="201255" y="386191"/>
                    <a:pt x="201255" y="388911"/>
                  </a:cubicBezTo>
                  <a:cubicBezTo>
                    <a:pt x="201255" y="402509"/>
                    <a:pt x="198535" y="413388"/>
                    <a:pt x="198535" y="426986"/>
                  </a:cubicBezTo>
                  <a:cubicBezTo>
                    <a:pt x="198535" y="446024"/>
                    <a:pt x="203975" y="456902"/>
                    <a:pt x="203975" y="478660"/>
                  </a:cubicBezTo>
                  <a:cubicBezTo>
                    <a:pt x="203975" y="503136"/>
                    <a:pt x="201255" y="527613"/>
                    <a:pt x="198535" y="552090"/>
                  </a:cubicBezTo>
                  <a:cubicBezTo>
                    <a:pt x="198535" y="560249"/>
                    <a:pt x="195816" y="568408"/>
                    <a:pt x="195816" y="576567"/>
                  </a:cubicBezTo>
                  <a:cubicBezTo>
                    <a:pt x="195816" y="582006"/>
                    <a:pt x="195816" y="587446"/>
                    <a:pt x="198535" y="592885"/>
                  </a:cubicBezTo>
                  <a:cubicBezTo>
                    <a:pt x="212134" y="592885"/>
                    <a:pt x="225732" y="592885"/>
                    <a:pt x="233891" y="592885"/>
                  </a:cubicBezTo>
                  <a:cubicBezTo>
                    <a:pt x="247489" y="592885"/>
                    <a:pt x="271966" y="592885"/>
                    <a:pt x="271966" y="611923"/>
                  </a:cubicBezTo>
                  <a:cubicBezTo>
                    <a:pt x="271966" y="620082"/>
                    <a:pt x="269246" y="622801"/>
                    <a:pt x="266527" y="628241"/>
                  </a:cubicBezTo>
                  <a:cubicBezTo>
                    <a:pt x="261087" y="633680"/>
                    <a:pt x="255648" y="636400"/>
                    <a:pt x="250209" y="636400"/>
                  </a:cubicBezTo>
                  <a:cubicBezTo>
                    <a:pt x="239330" y="639119"/>
                    <a:pt x="233891" y="639119"/>
                    <a:pt x="228451" y="639119"/>
                  </a:cubicBezTo>
                  <a:cubicBezTo>
                    <a:pt x="223012" y="639119"/>
                    <a:pt x="206694" y="639119"/>
                    <a:pt x="187657" y="639119"/>
                  </a:cubicBezTo>
                  <a:cubicBezTo>
                    <a:pt x="176778" y="647278"/>
                    <a:pt x="163180" y="649998"/>
                    <a:pt x="152301" y="652717"/>
                  </a:cubicBezTo>
                  <a:cubicBezTo>
                    <a:pt x="146862" y="652717"/>
                    <a:pt x="138703" y="655437"/>
                    <a:pt x="133263" y="655437"/>
                  </a:cubicBezTo>
                  <a:cubicBezTo>
                    <a:pt x="130544" y="655437"/>
                    <a:pt x="125104" y="655437"/>
                    <a:pt x="122385" y="652717"/>
                  </a:cubicBezTo>
                  <a:cubicBezTo>
                    <a:pt x="114226" y="649998"/>
                    <a:pt x="103347" y="644559"/>
                    <a:pt x="97908" y="639119"/>
                  </a:cubicBezTo>
                  <a:cubicBezTo>
                    <a:pt x="87029" y="639119"/>
                    <a:pt x="78870" y="639119"/>
                    <a:pt x="70711" y="639119"/>
                  </a:cubicBezTo>
                  <a:cubicBezTo>
                    <a:pt x="62552" y="639119"/>
                    <a:pt x="54393" y="639119"/>
                    <a:pt x="46234" y="639119"/>
                  </a:cubicBezTo>
                  <a:cubicBezTo>
                    <a:pt x="38075" y="639119"/>
                    <a:pt x="27197" y="633680"/>
                    <a:pt x="19038" y="630960"/>
                  </a:cubicBezTo>
                  <a:cubicBezTo>
                    <a:pt x="10879" y="628241"/>
                    <a:pt x="2720" y="620082"/>
                    <a:pt x="2720" y="614642"/>
                  </a:cubicBezTo>
                  <a:cubicBezTo>
                    <a:pt x="2720" y="611923"/>
                    <a:pt x="2720" y="609203"/>
                    <a:pt x="8159" y="606483"/>
                  </a:cubicBezTo>
                  <a:cubicBezTo>
                    <a:pt x="13599" y="603764"/>
                    <a:pt x="24477" y="601044"/>
                    <a:pt x="29916" y="598324"/>
                  </a:cubicBezTo>
                  <a:cubicBezTo>
                    <a:pt x="43515" y="595605"/>
                    <a:pt x="62552" y="595605"/>
                    <a:pt x="76151" y="592885"/>
                  </a:cubicBezTo>
                  <a:cubicBezTo>
                    <a:pt x="76151" y="587446"/>
                    <a:pt x="73431" y="582006"/>
                    <a:pt x="73431" y="573848"/>
                  </a:cubicBezTo>
                  <a:cubicBezTo>
                    <a:pt x="73431" y="565689"/>
                    <a:pt x="70711" y="516735"/>
                    <a:pt x="70711" y="500417"/>
                  </a:cubicBezTo>
                  <a:cubicBezTo>
                    <a:pt x="70711" y="481379"/>
                    <a:pt x="73431" y="456902"/>
                    <a:pt x="73431" y="437865"/>
                  </a:cubicBezTo>
                  <a:cubicBezTo>
                    <a:pt x="73431" y="416108"/>
                    <a:pt x="70711" y="391631"/>
                    <a:pt x="70711" y="369873"/>
                  </a:cubicBezTo>
                  <a:cubicBezTo>
                    <a:pt x="70711" y="345397"/>
                    <a:pt x="70711" y="318200"/>
                    <a:pt x="70711" y="293723"/>
                  </a:cubicBezTo>
                  <a:cubicBezTo>
                    <a:pt x="70711" y="266526"/>
                    <a:pt x="73431" y="239330"/>
                    <a:pt x="73431" y="212133"/>
                  </a:cubicBezTo>
                  <a:cubicBezTo>
                    <a:pt x="73431" y="187656"/>
                    <a:pt x="76151" y="179498"/>
                    <a:pt x="76151" y="155021"/>
                  </a:cubicBezTo>
                  <a:cubicBezTo>
                    <a:pt x="76151" y="144142"/>
                    <a:pt x="76151" y="130544"/>
                    <a:pt x="76151" y="119665"/>
                  </a:cubicBezTo>
                  <a:cubicBezTo>
                    <a:pt x="76151" y="106067"/>
                    <a:pt x="78870" y="95188"/>
                    <a:pt x="78870" y="84310"/>
                  </a:cubicBezTo>
                  <a:cubicBezTo>
                    <a:pt x="78870" y="78870"/>
                    <a:pt x="78870" y="70711"/>
                    <a:pt x="76151" y="62552"/>
                  </a:cubicBezTo>
                  <a:cubicBezTo>
                    <a:pt x="76151" y="62552"/>
                    <a:pt x="73431" y="62552"/>
                    <a:pt x="67992" y="62552"/>
                  </a:cubicBezTo>
                  <a:cubicBezTo>
                    <a:pt x="59833" y="62552"/>
                    <a:pt x="51674" y="62552"/>
                    <a:pt x="43515" y="62552"/>
                  </a:cubicBezTo>
                  <a:cubicBezTo>
                    <a:pt x="35356" y="62552"/>
                    <a:pt x="24477" y="59833"/>
                    <a:pt x="16318" y="57113"/>
                  </a:cubicBezTo>
                  <a:cubicBezTo>
                    <a:pt x="8159" y="54393"/>
                    <a:pt x="0" y="43515"/>
                    <a:pt x="0" y="40795"/>
                  </a:cubicBezTo>
                  <a:cubicBezTo>
                    <a:pt x="0" y="38075"/>
                    <a:pt x="0" y="35356"/>
                    <a:pt x="5439" y="32636"/>
                  </a:cubicBezTo>
                  <a:cubicBezTo>
                    <a:pt x="10879" y="29917"/>
                    <a:pt x="21758" y="27197"/>
                    <a:pt x="27197" y="24477"/>
                  </a:cubicBezTo>
                  <a:cubicBezTo>
                    <a:pt x="46234" y="21758"/>
                    <a:pt x="62552" y="19038"/>
                    <a:pt x="76151" y="19038"/>
                  </a:cubicBezTo>
                  <a:cubicBezTo>
                    <a:pt x="76151" y="16318"/>
                    <a:pt x="78870" y="16318"/>
                    <a:pt x="78870" y="13598"/>
                  </a:cubicBezTo>
                  <a:cubicBezTo>
                    <a:pt x="84309" y="10879"/>
                    <a:pt x="89749" y="8159"/>
                    <a:pt x="95188" y="5440"/>
                  </a:cubicBezTo>
                  <a:cubicBezTo>
                    <a:pt x="100628" y="2720"/>
                    <a:pt x="106067" y="0"/>
                    <a:pt x="111506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/>
            </a:p>
          </p:txBody>
        </p:sp>
        <p:sp>
          <p:nvSpPr>
            <p:cNvPr id="47" name="Freeform: Shape 46">
              <a:extLst>
                <a:ext uri="{FF2B5EF4-FFF2-40B4-BE49-F238E27FC236}">
                  <a16:creationId xmlns:a16="http://schemas.microsoft.com/office/drawing/2014/main" id="{2CB86C1E-34D9-4E0F-88EC-65476446F32C}"/>
                </a:ext>
              </a:extLst>
            </p:cNvPr>
            <p:cNvSpPr/>
            <p:nvPr/>
          </p:nvSpPr>
          <p:spPr>
            <a:xfrm>
              <a:off x="8346812" y="4186718"/>
              <a:ext cx="353556" cy="761503"/>
            </a:xfrm>
            <a:custGeom>
              <a:avLst/>
              <a:gdLst>
                <a:gd name="connsiteX0" fmla="*/ 283910 w 353555"/>
                <a:gd name="connsiteY0" fmla="*/ 672820 h 761503"/>
                <a:gd name="connsiteX1" fmla="*/ 321985 w 353555"/>
                <a:gd name="connsiteY1" fmla="*/ 689138 h 761503"/>
                <a:gd name="connsiteX2" fmla="*/ 316546 w 353555"/>
                <a:gd name="connsiteY2" fmla="*/ 705456 h 761503"/>
                <a:gd name="connsiteX3" fmla="*/ 300228 w 353555"/>
                <a:gd name="connsiteY3" fmla="*/ 713615 h 761503"/>
                <a:gd name="connsiteX4" fmla="*/ 278471 w 353555"/>
                <a:gd name="connsiteY4" fmla="*/ 716335 h 761503"/>
                <a:gd name="connsiteX5" fmla="*/ 237676 w 353555"/>
                <a:gd name="connsiteY5" fmla="*/ 716335 h 761503"/>
                <a:gd name="connsiteX6" fmla="*/ 180563 w 353555"/>
                <a:gd name="connsiteY6" fmla="*/ 719054 h 761503"/>
                <a:gd name="connsiteX7" fmla="*/ 126170 w 353555"/>
                <a:gd name="connsiteY7" fmla="*/ 719054 h 761503"/>
                <a:gd name="connsiteX8" fmla="*/ 101693 w 353555"/>
                <a:gd name="connsiteY8" fmla="*/ 719054 h 761503"/>
                <a:gd name="connsiteX9" fmla="*/ 74496 w 353555"/>
                <a:gd name="connsiteY9" fmla="*/ 713615 h 761503"/>
                <a:gd name="connsiteX10" fmla="*/ 58178 w 353555"/>
                <a:gd name="connsiteY10" fmla="*/ 697297 h 761503"/>
                <a:gd name="connsiteX11" fmla="*/ 63618 w 353555"/>
                <a:gd name="connsiteY11" fmla="*/ 689138 h 761503"/>
                <a:gd name="connsiteX12" fmla="*/ 85375 w 353555"/>
                <a:gd name="connsiteY12" fmla="*/ 680979 h 761503"/>
                <a:gd name="connsiteX13" fmla="*/ 131609 w 353555"/>
                <a:gd name="connsiteY13" fmla="*/ 675540 h 761503"/>
                <a:gd name="connsiteX14" fmla="*/ 142488 w 353555"/>
                <a:gd name="connsiteY14" fmla="*/ 675540 h 761503"/>
                <a:gd name="connsiteX15" fmla="*/ 131609 w 353555"/>
                <a:gd name="connsiteY15" fmla="*/ 653783 h 761503"/>
                <a:gd name="connsiteX16" fmla="*/ 128890 w 353555"/>
                <a:gd name="connsiteY16" fmla="*/ 640184 h 761503"/>
                <a:gd name="connsiteX17" fmla="*/ 128890 w 353555"/>
                <a:gd name="connsiteY17" fmla="*/ 629306 h 761503"/>
                <a:gd name="connsiteX18" fmla="*/ 128890 w 353555"/>
                <a:gd name="connsiteY18" fmla="*/ 621147 h 761503"/>
                <a:gd name="connsiteX19" fmla="*/ 128890 w 353555"/>
                <a:gd name="connsiteY19" fmla="*/ 593950 h 761503"/>
                <a:gd name="connsiteX20" fmla="*/ 128890 w 353555"/>
                <a:gd name="connsiteY20" fmla="*/ 583072 h 761503"/>
                <a:gd name="connsiteX21" fmla="*/ 128890 w 353555"/>
                <a:gd name="connsiteY21" fmla="*/ 436210 h 761503"/>
                <a:gd name="connsiteX22" fmla="*/ 128890 w 353555"/>
                <a:gd name="connsiteY22" fmla="*/ 357340 h 761503"/>
                <a:gd name="connsiteX23" fmla="*/ 131609 w 353555"/>
                <a:gd name="connsiteY23" fmla="*/ 289349 h 761503"/>
                <a:gd name="connsiteX24" fmla="*/ 131609 w 353555"/>
                <a:gd name="connsiteY24" fmla="*/ 251274 h 761503"/>
                <a:gd name="connsiteX25" fmla="*/ 131609 w 353555"/>
                <a:gd name="connsiteY25" fmla="*/ 205040 h 761503"/>
                <a:gd name="connsiteX26" fmla="*/ 131609 w 353555"/>
                <a:gd name="connsiteY26" fmla="*/ 139768 h 761503"/>
                <a:gd name="connsiteX27" fmla="*/ 131609 w 353555"/>
                <a:gd name="connsiteY27" fmla="*/ 128889 h 761503"/>
                <a:gd name="connsiteX28" fmla="*/ 126170 w 353555"/>
                <a:gd name="connsiteY28" fmla="*/ 128889 h 761503"/>
                <a:gd name="connsiteX29" fmla="*/ 101693 w 353555"/>
                <a:gd name="connsiteY29" fmla="*/ 128889 h 761503"/>
                <a:gd name="connsiteX30" fmla="*/ 74496 w 353555"/>
                <a:gd name="connsiteY30" fmla="*/ 123450 h 761503"/>
                <a:gd name="connsiteX31" fmla="*/ 58178 w 353555"/>
                <a:gd name="connsiteY31" fmla="*/ 107132 h 761503"/>
                <a:gd name="connsiteX32" fmla="*/ 60898 w 353555"/>
                <a:gd name="connsiteY32" fmla="*/ 98973 h 761503"/>
                <a:gd name="connsiteX33" fmla="*/ 82655 w 353555"/>
                <a:gd name="connsiteY33" fmla="*/ 93534 h 761503"/>
                <a:gd name="connsiteX34" fmla="*/ 131609 w 353555"/>
                <a:gd name="connsiteY34" fmla="*/ 88094 h 761503"/>
                <a:gd name="connsiteX35" fmla="*/ 131609 w 353555"/>
                <a:gd name="connsiteY35" fmla="*/ 82655 h 761503"/>
                <a:gd name="connsiteX36" fmla="*/ 134329 w 353555"/>
                <a:gd name="connsiteY36" fmla="*/ 71776 h 761503"/>
                <a:gd name="connsiteX37" fmla="*/ 147927 w 353555"/>
                <a:gd name="connsiteY37" fmla="*/ 63617 h 761503"/>
                <a:gd name="connsiteX38" fmla="*/ 164245 w 353555"/>
                <a:gd name="connsiteY38" fmla="*/ 58178 h 761503"/>
                <a:gd name="connsiteX39" fmla="*/ 177843 w 353555"/>
                <a:gd name="connsiteY39" fmla="*/ 58178 h 761503"/>
                <a:gd name="connsiteX40" fmla="*/ 196881 w 353555"/>
                <a:gd name="connsiteY40" fmla="*/ 60898 h 761503"/>
                <a:gd name="connsiteX41" fmla="*/ 232237 w 353555"/>
                <a:gd name="connsiteY41" fmla="*/ 88094 h 761503"/>
                <a:gd name="connsiteX42" fmla="*/ 278471 w 353555"/>
                <a:gd name="connsiteY42" fmla="*/ 88094 h 761503"/>
                <a:gd name="connsiteX43" fmla="*/ 316546 w 353555"/>
                <a:gd name="connsiteY43" fmla="*/ 104412 h 761503"/>
                <a:gd name="connsiteX44" fmla="*/ 311107 w 353555"/>
                <a:gd name="connsiteY44" fmla="*/ 120730 h 761503"/>
                <a:gd name="connsiteX45" fmla="*/ 294789 w 353555"/>
                <a:gd name="connsiteY45" fmla="*/ 128889 h 761503"/>
                <a:gd name="connsiteX46" fmla="*/ 273032 w 353555"/>
                <a:gd name="connsiteY46" fmla="*/ 131609 h 761503"/>
                <a:gd name="connsiteX47" fmla="*/ 243115 w 353555"/>
                <a:gd name="connsiteY47" fmla="*/ 131609 h 761503"/>
                <a:gd name="connsiteX48" fmla="*/ 243115 w 353555"/>
                <a:gd name="connsiteY48" fmla="*/ 134329 h 761503"/>
                <a:gd name="connsiteX49" fmla="*/ 248554 w 353555"/>
                <a:gd name="connsiteY49" fmla="*/ 169684 h 761503"/>
                <a:gd name="connsiteX50" fmla="*/ 251274 w 353555"/>
                <a:gd name="connsiteY50" fmla="*/ 205040 h 761503"/>
                <a:gd name="connsiteX51" fmla="*/ 251274 w 353555"/>
                <a:gd name="connsiteY51" fmla="*/ 240395 h 761503"/>
                <a:gd name="connsiteX52" fmla="*/ 251274 w 353555"/>
                <a:gd name="connsiteY52" fmla="*/ 256713 h 761503"/>
                <a:gd name="connsiteX53" fmla="*/ 253994 w 353555"/>
                <a:gd name="connsiteY53" fmla="*/ 270311 h 761503"/>
                <a:gd name="connsiteX54" fmla="*/ 259433 w 353555"/>
                <a:gd name="connsiteY54" fmla="*/ 343742 h 761503"/>
                <a:gd name="connsiteX55" fmla="*/ 262153 w 353555"/>
                <a:gd name="connsiteY55" fmla="*/ 425332 h 761503"/>
                <a:gd name="connsiteX56" fmla="*/ 264872 w 353555"/>
                <a:gd name="connsiteY56" fmla="*/ 490603 h 761503"/>
                <a:gd name="connsiteX57" fmla="*/ 270312 w 353555"/>
                <a:gd name="connsiteY57" fmla="*/ 564034 h 761503"/>
                <a:gd name="connsiteX58" fmla="*/ 270312 w 353555"/>
                <a:gd name="connsiteY58" fmla="*/ 599390 h 761503"/>
                <a:gd name="connsiteX59" fmla="*/ 270312 w 353555"/>
                <a:gd name="connsiteY59" fmla="*/ 637465 h 761503"/>
                <a:gd name="connsiteX60" fmla="*/ 264872 w 353555"/>
                <a:gd name="connsiteY60" fmla="*/ 670101 h 761503"/>
                <a:gd name="connsiteX61" fmla="*/ 283910 w 353555"/>
                <a:gd name="connsiteY61" fmla="*/ 672820 h 761503"/>
                <a:gd name="connsiteX62" fmla="*/ 283910 w 353555"/>
                <a:gd name="connsiteY62" fmla="*/ 672820 h 761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</a:cxnLst>
              <a:rect l="l" t="t" r="r" b="b"/>
              <a:pathLst>
                <a:path w="353555" h="761503">
                  <a:moveTo>
                    <a:pt x="283910" y="672820"/>
                  </a:moveTo>
                  <a:cubicBezTo>
                    <a:pt x="297508" y="672820"/>
                    <a:pt x="321985" y="672820"/>
                    <a:pt x="321985" y="689138"/>
                  </a:cubicBezTo>
                  <a:cubicBezTo>
                    <a:pt x="321985" y="697297"/>
                    <a:pt x="319266" y="697297"/>
                    <a:pt x="316546" y="705456"/>
                  </a:cubicBezTo>
                  <a:cubicBezTo>
                    <a:pt x="311107" y="710895"/>
                    <a:pt x="305667" y="713615"/>
                    <a:pt x="300228" y="713615"/>
                  </a:cubicBezTo>
                  <a:cubicBezTo>
                    <a:pt x="292069" y="716335"/>
                    <a:pt x="283910" y="716335"/>
                    <a:pt x="278471" y="716335"/>
                  </a:cubicBezTo>
                  <a:cubicBezTo>
                    <a:pt x="275751" y="716335"/>
                    <a:pt x="256713" y="716335"/>
                    <a:pt x="237676" y="716335"/>
                  </a:cubicBezTo>
                  <a:cubicBezTo>
                    <a:pt x="213199" y="716335"/>
                    <a:pt x="186003" y="719054"/>
                    <a:pt x="180563" y="719054"/>
                  </a:cubicBezTo>
                  <a:cubicBezTo>
                    <a:pt x="166965" y="719054"/>
                    <a:pt x="142488" y="719054"/>
                    <a:pt x="126170" y="719054"/>
                  </a:cubicBezTo>
                  <a:cubicBezTo>
                    <a:pt x="118011" y="719054"/>
                    <a:pt x="109852" y="719054"/>
                    <a:pt x="101693" y="719054"/>
                  </a:cubicBezTo>
                  <a:cubicBezTo>
                    <a:pt x="93534" y="719054"/>
                    <a:pt x="82655" y="719054"/>
                    <a:pt x="74496" y="713615"/>
                  </a:cubicBezTo>
                  <a:cubicBezTo>
                    <a:pt x="66337" y="710895"/>
                    <a:pt x="58178" y="702736"/>
                    <a:pt x="58178" y="697297"/>
                  </a:cubicBezTo>
                  <a:cubicBezTo>
                    <a:pt x="58178" y="694578"/>
                    <a:pt x="58178" y="691858"/>
                    <a:pt x="63618" y="689138"/>
                  </a:cubicBezTo>
                  <a:cubicBezTo>
                    <a:pt x="69057" y="686418"/>
                    <a:pt x="79936" y="683699"/>
                    <a:pt x="85375" y="680979"/>
                  </a:cubicBezTo>
                  <a:cubicBezTo>
                    <a:pt x="104413" y="678260"/>
                    <a:pt x="123450" y="675540"/>
                    <a:pt x="131609" y="675540"/>
                  </a:cubicBezTo>
                  <a:cubicBezTo>
                    <a:pt x="134329" y="675540"/>
                    <a:pt x="137049" y="675540"/>
                    <a:pt x="142488" y="675540"/>
                  </a:cubicBezTo>
                  <a:cubicBezTo>
                    <a:pt x="134329" y="670101"/>
                    <a:pt x="131609" y="661942"/>
                    <a:pt x="131609" y="653783"/>
                  </a:cubicBezTo>
                  <a:cubicBezTo>
                    <a:pt x="131609" y="648343"/>
                    <a:pt x="131609" y="642904"/>
                    <a:pt x="128890" y="640184"/>
                  </a:cubicBezTo>
                  <a:cubicBezTo>
                    <a:pt x="128890" y="637465"/>
                    <a:pt x="128890" y="634745"/>
                    <a:pt x="128890" y="629306"/>
                  </a:cubicBezTo>
                  <a:cubicBezTo>
                    <a:pt x="128890" y="626586"/>
                    <a:pt x="128890" y="623867"/>
                    <a:pt x="128890" y="621147"/>
                  </a:cubicBezTo>
                  <a:cubicBezTo>
                    <a:pt x="128890" y="612988"/>
                    <a:pt x="128890" y="604829"/>
                    <a:pt x="128890" y="593950"/>
                  </a:cubicBezTo>
                  <a:cubicBezTo>
                    <a:pt x="128890" y="591231"/>
                    <a:pt x="128890" y="585791"/>
                    <a:pt x="128890" y="583072"/>
                  </a:cubicBezTo>
                  <a:cubicBezTo>
                    <a:pt x="128890" y="534118"/>
                    <a:pt x="131609" y="485164"/>
                    <a:pt x="128890" y="436210"/>
                  </a:cubicBezTo>
                  <a:cubicBezTo>
                    <a:pt x="128890" y="409014"/>
                    <a:pt x="128890" y="384537"/>
                    <a:pt x="128890" y="357340"/>
                  </a:cubicBezTo>
                  <a:cubicBezTo>
                    <a:pt x="128890" y="335583"/>
                    <a:pt x="131609" y="313826"/>
                    <a:pt x="131609" y="289349"/>
                  </a:cubicBezTo>
                  <a:cubicBezTo>
                    <a:pt x="131609" y="275751"/>
                    <a:pt x="131609" y="264872"/>
                    <a:pt x="131609" y="251274"/>
                  </a:cubicBezTo>
                  <a:cubicBezTo>
                    <a:pt x="131609" y="234956"/>
                    <a:pt x="131609" y="221357"/>
                    <a:pt x="131609" y="205040"/>
                  </a:cubicBezTo>
                  <a:cubicBezTo>
                    <a:pt x="131609" y="183282"/>
                    <a:pt x="131609" y="161525"/>
                    <a:pt x="131609" y="139768"/>
                  </a:cubicBezTo>
                  <a:cubicBezTo>
                    <a:pt x="131609" y="137048"/>
                    <a:pt x="131609" y="134329"/>
                    <a:pt x="131609" y="128889"/>
                  </a:cubicBezTo>
                  <a:cubicBezTo>
                    <a:pt x="128890" y="128889"/>
                    <a:pt x="126170" y="128889"/>
                    <a:pt x="126170" y="128889"/>
                  </a:cubicBezTo>
                  <a:cubicBezTo>
                    <a:pt x="118011" y="128889"/>
                    <a:pt x="109852" y="128889"/>
                    <a:pt x="101693" y="128889"/>
                  </a:cubicBezTo>
                  <a:cubicBezTo>
                    <a:pt x="93534" y="128889"/>
                    <a:pt x="82655" y="128889"/>
                    <a:pt x="74496" y="123450"/>
                  </a:cubicBezTo>
                  <a:cubicBezTo>
                    <a:pt x="66337" y="120730"/>
                    <a:pt x="58178" y="112571"/>
                    <a:pt x="58178" y="107132"/>
                  </a:cubicBezTo>
                  <a:cubicBezTo>
                    <a:pt x="58178" y="104412"/>
                    <a:pt x="58178" y="101693"/>
                    <a:pt x="60898" y="98973"/>
                  </a:cubicBezTo>
                  <a:cubicBezTo>
                    <a:pt x="63618" y="96253"/>
                    <a:pt x="77216" y="93534"/>
                    <a:pt x="82655" y="93534"/>
                  </a:cubicBezTo>
                  <a:cubicBezTo>
                    <a:pt x="98973" y="90814"/>
                    <a:pt x="123450" y="88094"/>
                    <a:pt x="131609" y="88094"/>
                  </a:cubicBezTo>
                  <a:cubicBezTo>
                    <a:pt x="131609" y="85375"/>
                    <a:pt x="131609" y="85375"/>
                    <a:pt x="131609" y="82655"/>
                  </a:cubicBezTo>
                  <a:cubicBezTo>
                    <a:pt x="131609" y="77216"/>
                    <a:pt x="131609" y="74496"/>
                    <a:pt x="134329" y="71776"/>
                  </a:cubicBezTo>
                  <a:cubicBezTo>
                    <a:pt x="137049" y="69057"/>
                    <a:pt x="145208" y="66337"/>
                    <a:pt x="147927" y="63617"/>
                  </a:cubicBezTo>
                  <a:cubicBezTo>
                    <a:pt x="153366" y="60898"/>
                    <a:pt x="158806" y="58178"/>
                    <a:pt x="164245" y="58178"/>
                  </a:cubicBezTo>
                  <a:cubicBezTo>
                    <a:pt x="169684" y="58178"/>
                    <a:pt x="175124" y="58178"/>
                    <a:pt x="177843" y="58178"/>
                  </a:cubicBezTo>
                  <a:cubicBezTo>
                    <a:pt x="183283" y="58178"/>
                    <a:pt x="191442" y="58178"/>
                    <a:pt x="196881" y="60898"/>
                  </a:cubicBezTo>
                  <a:cubicBezTo>
                    <a:pt x="213199" y="63617"/>
                    <a:pt x="224078" y="74496"/>
                    <a:pt x="232237" y="88094"/>
                  </a:cubicBezTo>
                  <a:cubicBezTo>
                    <a:pt x="253994" y="88094"/>
                    <a:pt x="270312" y="88094"/>
                    <a:pt x="278471" y="88094"/>
                  </a:cubicBezTo>
                  <a:cubicBezTo>
                    <a:pt x="292069" y="88094"/>
                    <a:pt x="316546" y="88094"/>
                    <a:pt x="316546" y="104412"/>
                  </a:cubicBezTo>
                  <a:cubicBezTo>
                    <a:pt x="316546" y="112571"/>
                    <a:pt x="313826" y="112571"/>
                    <a:pt x="311107" y="120730"/>
                  </a:cubicBezTo>
                  <a:cubicBezTo>
                    <a:pt x="305667" y="126170"/>
                    <a:pt x="300228" y="128889"/>
                    <a:pt x="294789" y="128889"/>
                  </a:cubicBezTo>
                  <a:cubicBezTo>
                    <a:pt x="286630" y="131609"/>
                    <a:pt x="278471" y="131609"/>
                    <a:pt x="273032" y="131609"/>
                  </a:cubicBezTo>
                  <a:cubicBezTo>
                    <a:pt x="270312" y="131609"/>
                    <a:pt x="259433" y="131609"/>
                    <a:pt x="243115" y="131609"/>
                  </a:cubicBezTo>
                  <a:lnTo>
                    <a:pt x="243115" y="134329"/>
                  </a:lnTo>
                  <a:cubicBezTo>
                    <a:pt x="245835" y="145207"/>
                    <a:pt x="245835" y="158805"/>
                    <a:pt x="248554" y="169684"/>
                  </a:cubicBezTo>
                  <a:cubicBezTo>
                    <a:pt x="251274" y="180563"/>
                    <a:pt x="251274" y="194161"/>
                    <a:pt x="251274" y="205040"/>
                  </a:cubicBezTo>
                  <a:cubicBezTo>
                    <a:pt x="251274" y="215918"/>
                    <a:pt x="251274" y="226797"/>
                    <a:pt x="251274" y="240395"/>
                  </a:cubicBezTo>
                  <a:cubicBezTo>
                    <a:pt x="251274" y="245834"/>
                    <a:pt x="251274" y="251274"/>
                    <a:pt x="251274" y="256713"/>
                  </a:cubicBezTo>
                  <a:cubicBezTo>
                    <a:pt x="251274" y="262152"/>
                    <a:pt x="251274" y="267592"/>
                    <a:pt x="253994" y="270311"/>
                  </a:cubicBezTo>
                  <a:cubicBezTo>
                    <a:pt x="256713" y="294788"/>
                    <a:pt x="256713" y="319265"/>
                    <a:pt x="259433" y="343742"/>
                  </a:cubicBezTo>
                  <a:cubicBezTo>
                    <a:pt x="259433" y="370939"/>
                    <a:pt x="262153" y="398135"/>
                    <a:pt x="262153" y="425332"/>
                  </a:cubicBezTo>
                  <a:cubicBezTo>
                    <a:pt x="262153" y="447089"/>
                    <a:pt x="262153" y="468846"/>
                    <a:pt x="264872" y="490603"/>
                  </a:cubicBezTo>
                  <a:cubicBezTo>
                    <a:pt x="264872" y="515080"/>
                    <a:pt x="270312" y="539557"/>
                    <a:pt x="270312" y="564034"/>
                  </a:cubicBezTo>
                  <a:cubicBezTo>
                    <a:pt x="270312" y="574913"/>
                    <a:pt x="270312" y="588511"/>
                    <a:pt x="270312" y="599390"/>
                  </a:cubicBezTo>
                  <a:cubicBezTo>
                    <a:pt x="270312" y="612988"/>
                    <a:pt x="270312" y="623867"/>
                    <a:pt x="270312" y="637465"/>
                  </a:cubicBezTo>
                  <a:cubicBezTo>
                    <a:pt x="270312" y="648343"/>
                    <a:pt x="270312" y="661942"/>
                    <a:pt x="264872" y="670101"/>
                  </a:cubicBezTo>
                  <a:cubicBezTo>
                    <a:pt x="273032" y="672820"/>
                    <a:pt x="278471" y="672820"/>
                    <a:pt x="283910" y="672820"/>
                  </a:cubicBezTo>
                  <a:lnTo>
                    <a:pt x="283910" y="672820"/>
                  </a:ln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/>
            </a:p>
          </p:txBody>
        </p:sp>
        <p:sp>
          <p:nvSpPr>
            <p:cNvPr id="48" name="Freeform: Shape 47">
              <a:extLst>
                <a:ext uri="{FF2B5EF4-FFF2-40B4-BE49-F238E27FC236}">
                  <a16:creationId xmlns:a16="http://schemas.microsoft.com/office/drawing/2014/main" id="{D932AD99-53C0-46CD-960C-6F1735F80A7B}"/>
                </a:ext>
              </a:extLst>
            </p:cNvPr>
            <p:cNvSpPr/>
            <p:nvPr/>
          </p:nvSpPr>
          <p:spPr>
            <a:xfrm>
              <a:off x="8652924" y="4192158"/>
              <a:ext cx="516735" cy="788700"/>
            </a:xfrm>
            <a:custGeom>
              <a:avLst/>
              <a:gdLst>
                <a:gd name="connsiteX0" fmla="*/ 464616 w 516735"/>
                <a:gd name="connsiteY0" fmla="*/ 436210 h 788699"/>
                <a:gd name="connsiteX1" fmla="*/ 445578 w 516735"/>
                <a:gd name="connsiteY1" fmla="*/ 455248 h 788699"/>
                <a:gd name="connsiteX2" fmla="*/ 404783 w 516735"/>
                <a:gd name="connsiteY2" fmla="*/ 466126 h 788699"/>
                <a:gd name="connsiteX3" fmla="*/ 385746 w 516735"/>
                <a:gd name="connsiteY3" fmla="*/ 479725 h 788699"/>
                <a:gd name="connsiteX4" fmla="*/ 388466 w 516735"/>
                <a:gd name="connsiteY4" fmla="*/ 512361 h 788699"/>
                <a:gd name="connsiteX5" fmla="*/ 388466 w 516735"/>
                <a:gd name="connsiteY5" fmla="*/ 544997 h 788699"/>
                <a:gd name="connsiteX6" fmla="*/ 388466 w 516735"/>
                <a:gd name="connsiteY6" fmla="*/ 566754 h 788699"/>
                <a:gd name="connsiteX7" fmla="*/ 391185 w 516735"/>
                <a:gd name="connsiteY7" fmla="*/ 632026 h 788699"/>
                <a:gd name="connsiteX8" fmla="*/ 393905 w 516735"/>
                <a:gd name="connsiteY8" fmla="*/ 683699 h 788699"/>
                <a:gd name="connsiteX9" fmla="*/ 377587 w 516735"/>
                <a:gd name="connsiteY9" fmla="*/ 724494 h 788699"/>
                <a:gd name="connsiteX10" fmla="*/ 361269 w 516735"/>
                <a:gd name="connsiteY10" fmla="*/ 719054 h 788699"/>
                <a:gd name="connsiteX11" fmla="*/ 353110 w 516735"/>
                <a:gd name="connsiteY11" fmla="*/ 702737 h 788699"/>
                <a:gd name="connsiteX12" fmla="*/ 350390 w 516735"/>
                <a:gd name="connsiteY12" fmla="*/ 686419 h 788699"/>
                <a:gd name="connsiteX13" fmla="*/ 353110 w 516735"/>
                <a:gd name="connsiteY13" fmla="*/ 659222 h 788699"/>
                <a:gd name="connsiteX14" fmla="*/ 353110 w 516735"/>
                <a:gd name="connsiteY14" fmla="*/ 656502 h 788699"/>
                <a:gd name="connsiteX15" fmla="*/ 317754 w 516735"/>
                <a:gd name="connsiteY15" fmla="*/ 708176 h 788699"/>
                <a:gd name="connsiteX16" fmla="*/ 241604 w 516735"/>
                <a:gd name="connsiteY16" fmla="*/ 735372 h 788699"/>
                <a:gd name="connsiteX17" fmla="*/ 187211 w 516735"/>
                <a:gd name="connsiteY17" fmla="*/ 727214 h 788699"/>
                <a:gd name="connsiteX18" fmla="*/ 135537 w 516735"/>
                <a:gd name="connsiteY18" fmla="*/ 694578 h 788699"/>
                <a:gd name="connsiteX19" fmla="*/ 86583 w 516735"/>
                <a:gd name="connsiteY19" fmla="*/ 621147 h 788699"/>
                <a:gd name="connsiteX20" fmla="*/ 67546 w 516735"/>
                <a:gd name="connsiteY20" fmla="*/ 555875 h 788699"/>
                <a:gd name="connsiteX21" fmla="*/ 59387 w 516735"/>
                <a:gd name="connsiteY21" fmla="*/ 509641 h 788699"/>
                <a:gd name="connsiteX22" fmla="*/ 59387 w 516735"/>
                <a:gd name="connsiteY22" fmla="*/ 468846 h 788699"/>
                <a:gd name="connsiteX23" fmla="*/ 86583 w 516735"/>
                <a:gd name="connsiteY23" fmla="*/ 302947 h 788699"/>
                <a:gd name="connsiteX24" fmla="*/ 108341 w 516735"/>
                <a:gd name="connsiteY24" fmla="*/ 224077 h 788699"/>
                <a:gd name="connsiteX25" fmla="*/ 146416 w 516735"/>
                <a:gd name="connsiteY25" fmla="*/ 145207 h 788699"/>
                <a:gd name="connsiteX26" fmla="*/ 198090 w 516735"/>
                <a:gd name="connsiteY26" fmla="*/ 85375 h 788699"/>
                <a:gd name="connsiteX27" fmla="*/ 228006 w 516735"/>
                <a:gd name="connsiteY27" fmla="*/ 69057 h 788699"/>
                <a:gd name="connsiteX28" fmla="*/ 268801 w 516735"/>
                <a:gd name="connsiteY28" fmla="*/ 58178 h 788699"/>
                <a:gd name="connsiteX29" fmla="*/ 274240 w 516735"/>
                <a:gd name="connsiteY29" fmla="*/ 58178 h 788699"/>
                <a:gd name="connsiteX30" fmla="*/ 295997 w 516735"/>
                <a:gd name="connsiteY30" fmla="*/ 60898 h 788699"/>
                <a:gd name="connsiteX31" fmla="*/ 331353 w 516735"/>
                <a:gd name="connsiteY31" fmla="*/ 71776 h 788699"/>
                <a:gd name="connsiteX32" fmla="*/ 350390 w 516735"/>
                <a:gd name="connsiteY32" fmla="*/ 93534 h 788699"/>
                <a:gd name="connsiteX33" fmla="*/ 353110 w 516735"/>
                <a:gd name="connsiteY33" fmla="*/ 74496 h 788699"/>
                <a:gd name="connsiteX34" fmla="*/ 358549 w 516735"/>
                <a:gd name="connsiteY34" fmla="*/ 63618 h 788699"/>
                <a:gd name="connsiteX35" fmla="*/ 366708 w 516735"/>
                <a:gd name="connsiteY35" fmla="*/ 58178 h 788699"/>
                <a:gd name="connsiteX36" fmla="*/ 374867 w 516735"/>
                <a:gd name="connsiteY36" fmla="*/ 63618 h 788699"/>
                <a:gd name="connsiteX37" fmla="*/ 383027 w 516735"/>
                <a:gd name="connsiteY37" fmla="*/ 82655 h 788699"/>
                <a:gd name="connsiteX38" fmla="*/ 385746 w 516735"/>
                <a:gd name="connsiteY38" fmla="*/ 126170 h 788699"/>
                <a:gd name="connsiteX39" fmla="*/ 388466 w 516735"/>
                <a:gd name="connsiteY39" fmla="*/ 186002 h 788699"/>
                <a:gd name="connsiteX40" fmla="*/ 391185 w 516735"/>
                <a:gd name="connsiteY40" fmla="*/ 237676 h 788699"/>
                <a:gd name="connsiteX41" fmla="*/ 374867 w 516735"/>
                <a:gd name="connsiteY41" fmla="*/ 278470 h 788699"/>
                <a:gd name="connsiteX42" fmla="*/ 358549 w 516735"/>
                <a:gd name="connsiteY42" fmla="*/ 273031 h 788699"/>
                <a:gd name="connsiteX43" fmla="*/ 350390 w 516735"/>
                <a:gd name="connsiteY43" fmla="*/ 256713 h 788699"/>
                <a:gd name="connsiteX44" fmla="*/ 347671 w 516735"/>
                <a:gd name="connsiteY44" fmla="*/ 240395 h 788699"/>
                <a:gd name="connsiteX45" fmla="*/ 347671 w 516735"/>
                <a:gd name="connsiteY45" fmla="*/ 213199 h 788699"/>
                <a:gd name="connsiteX46" fmla="*/ 344951 w 516735"/>
                <a:gd name="connsiteY46" fmla="*/ 194161 h 788699"/>
                <a:gd name="connsiteX47" fmla="*/ 339512 w 516735"/>
                <a:gd name="connsiteY47" fmla="*/ 150647 h 788699"/>
                <a:gd name="connsiteX48" fmla="*/ 323194 w 516735"/>
                <a:gd name="connsiteY48" fmla="*/ 112571 h 788699"/>
                <a:gd name="connsiteX49" fmla="*/ 293278 w 516735"/>
                <a:gd name="connsiteY49" fmla="*/ 101693 h 788699"/>
                <a:gd name="connsiteX50" fmla="*/ 263361 w 516735"/>
                <a:gd name="connsiteY50" fmla="*/ 120730 h 788699"/>
                <a:gd name="connsiteX51" fmla="*/ 241604 w 516735"/>
                <a:gd name="connsiteY51" fmla="*/ 153366 h 788699"/>
                <a:gd name="connsiteX52" fmla="*/ 233445 w 516735"/>
                <a:gd name="connsiteY52" fmla="*/ 194161 h 788699"/>
                <a:gd name="connsiteX53" fmla="*/ 225286 w 516735"/>
                <a:gd name="connsiteY53" fmla="*/ 232236 h 788699"/>
                <a:gd name="connsiteX54" fmla="*/ 217127 w 516735"/>
                <a:gd name="connsiteY54" fmla="*/ 275751 h 788699"/>
                <a:gd name="connsiteX55" fmla="*/ 211688 w 516735"/>
                <a:gd name="connsiteY55" fmla="*/ 316545 h 788699"/>
                <a:gd name="connsiteX56" fmla="*/ 206249 w 516735"/>
                <a:gd name="connsiteY56" fmla="*/ 354621 h 788699"/>
                <a:gd name="connsiteX57" fmla="*/ 200809 w 516735"/>
                <a:gd name="connsiteY57" fmla="*/ 398135 h 788699"/>
                <a:gd name="connsiteX58" fmla="*/ 195370 w 516735"/>
                <a:gd name="connsiteY58" fmla="*/ 438930 h 788699"/>
                <a:gd name="connsiteX59" fmla="*/ 192650 w 516735"/>
                <a:gd name="connsiteY59" fmla="*/ 474286 h 788699"/>
                <a:gd name="connsiteX60" fmla="*/ 195370 w 516735"/>
                <a:gd name="connsiteY60" fmla="*/ 525959 h 788699"/>
                <a:gd name="connsiteX61" fmla="*/ 208968 w 516735"/>
                <a:gd name="connsiteY61" fmla="*/ 596670 h 788699"/>
                <a:gd name="connsiteX62" fmla="*/ 214407 w 516735"/>
                <a:gd name="connsiteY62" fmla="*/ 623867 h 788699"/>
                <a:gd name="connsiteX63" fmla="*/ 228006 w 516735"/>
                <a:gd name="connsiteY63" fmla="*/ 656502 h 788699"/>
                <a:gd name="connsiteX64" fmla="*/ 271520 w 516735"/>
                <a:gd name="connsiteY64" fmla="*/ 689138 h 788699"/>
                <a:gd name="connsiteX65" fmla="*/ 306876 w 516735"/>
                <a:gd name="connsiteY65" fmla="*/ 664661 h 788699"/>
                <a:gd name="connsiteX66" fmla="*/ 331353 w 516735"/>
                <a:gd name="connsiteY66" fmla="*/ 602109 h 788699"/>
                <a:gd name="connsiteX67" fmla="*/ 336792 w 516735"/>
                <a:gd name="connsiteY67" fmla="*/ 544997 h 788699"/>
                <a:gd name="connsiteX68" fmla="*/ 336792 w 516735"/>
                <a:gd name="connsiteY68" fmla="*/ 498762 h 788699"/>
                <a:gd name="connsiteX69" fmla="*/ 336792 w 516735"/>
                <a:gd name="connsiteY69" fmla="*/ 490603 h 788699"/>
                <a:gd name="connsiteX70" fmla="*/ 320474 w 516735"/>
                <a:gd name="connsiteY70" fmla="*/ 477005 h 788699"/>
                <a:gd name="connsiteX71" fmla="*/ 282399 w 516735"/>
                <a:gd name="connsiteY71" fmla="*/ 479725 h 788699"/>
                <a:gd name="connsiteX72" fmla="*/ 252483 w 516735"/>
                <a:gd name="connsiteY72" fmla="*/ 474286 h 788699"/>
                <a:gd name="connsiteX73" fmla="*/ 247044 w 516735"/>
                <a:gd name="connsiteY73" fmla="*/ 466126 h 788699"/>
                <a:gd name="connsiteX74" fmla="*/ 249763 w 516735"/>
                <a:gd name="connsiteY74" fmla="*/ 457968 h 788699"/>
                <a:gd name="connsiteX75" fmla="*/ 268801 w 516735"/>
                <a:gd name="connsiteY75" fmla="*/ 447089 h 788699"/>
                <a:gd name="connsiteX76" fmla="*/ 312315 w 516735"/>
                <a:gd name="connsiteY76" fmla="*/ 436210 h 788699"/>
                <a:gd name="connsiteX77" fmla="*/ 353110 w 516735"/>
                <a:gd name="connsiteY77" fmla="*/ 430771 h 788699"/>
                <a:gd name="connsiteX78" fmla="*/ 385746 w 516735"/>
                <a:gd name="connsiteY78" fmla="*/ 430771 h 788699"/>
                <a:gd name="connsiteX79" fmla="*/ 437420 w 516735"/>
                <a:gd name="connsiteY79" fmla="*/ 428051 h 788699"/>
                <a:gd name="connsiteX80" fmla="*/ 464616 w 516735"/>
                <a:gd name="connsiteY80" fmla="*/ 436210 h 7886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</a:cxnLst>
              <a:rect l="l" t="t" r="r" b="b"/>
              <a:pathLst>
                <a:path w="516735" h="788699">
                  <a:moveTo>
                    <a:pt x="464616" y="436210"/>
                  </a:moveTo>
                  <a:cubicBezTo>
                    <a:pt x="464616" y="447089"/>
                    <a:pt x="453738" y="452528"/>
                    <a:pt x="445578" y="455248"/>
                  </a:cubicBezTo>
                  <a:cubicBezTo>
                    <a:pt x="434700" y="460687"/>
                    <a:pt x="415662" y="463407"/>
                    <a:pt x="404783" y="466126"/>
                  </a:cubicBezTo>
                  <a:cubicBezTo>
                    <a:pt x="393905" y="466126"/>
                    <a:pt x="385746" y="468846"/>
                    <a:pt x="385746" y="479725"/>
                  </a:cubicBezTo>
                  <a:cubicBezTo>
                    <a:pt x="385746" y="487884"/>
                    <a:pt x="388466" y="506921"/>
                    <a:pt x="388466" y="512361"/>
                  </a:cubicBezTo>
                  <a:cubicBezTo>
                    <a:pt x="388466" y="515080"/>
                    <a:pt x="388466" y="539557"/>
                    <a:pt x="388466" y="544997"/>
                  </a:cubicBezTo>
                  <a:cubicBezTo>
                    <a:pt x="388466" y="550436"/>
                    <a:pt x="388466" y="558595"/>
                    <a:pt x="388466" y="566754"/>
                  </a:cubicBezTo>
                  <a:cubicBezTo>
                    <a:pt x="388466" y="591231"/>
                    <a:pt x="388466" y="621147"/>
                    <a:pt x="391185" y="632026"/>
                  </a:cubicBezTo>
                  <a:cubicBezTo>
                    <a:pt x="393905" y="653783"/>
                    <a:pt x="393905" y="661942"/>
                    <a:pt x="393905" y="683699"/>
                  </a:cubicBezTo>
                  <a:cubicBezTo>
                    <a:pt x="393905" y="694578"/>
                    <a:pt x="393905" y="724494"/>
                    <a:pt x="377587" y="724494"/>
                  </a:cubicBezTo>
                  <a:cubicBezTo>
                    <a:pt x="369428" y="724494"/>
                    <a:pt x="366708" y="721774"/>
                    <a:pt x="361269" y="719054"/>
                  </a:cubicBezTo>
                  <a:cubicBezTo>
                    <a:pt x="355830" y="716335"/>
                    <a:pt x="353110" y="708176"/>
                    <a:pt x="353110" y="702737"/>
                  </a:cubicBezTo>
                  <a:cubicBezTo>
                    <a:pt x="350390" y="694578"/>
                    <a:pt x="350390" y="689138"/>
                    <a:pt x="350390" y="686419"/>
                  </a:cubicBezTo>
                  <a:cubicBezTo>
                    <a:pt x="350390" y="678260"/>
                    <a:pt x="353110" y="672820"/>
                    <a:pt x="353110" y="659222"/>
                  </a:cubicBezTo>
                  <a:lnTo>
                    <a:pt x="353110" y="656502"/>
                  </a:lnTo>
                  <a:cubicBezTo>
                    <a:pt x="347671" y="675540"/>
                    <a:pt x="334073" y="694578"/>
                    <a:pt x="317754" y="708176"/>
                  </a:cubicBezTo>
                  <a:cubicBezTo>
                    <a:pt x="293278" y="727214"/>
                    <a:pt x="274240" y="735372"/>
                    <a:pt x="241604" y="735372"/>
                  </a:cubicBezTo>
                  <a:cubicBezTo>
                    <a:pt x="222566" y="735372"/>
                    <a:pt x="203529" y="732653"/>
                    <a:pt x="187211" y="727214"/>
                  </a:cubicBezTo>
                  <a:cubicBezTo>
                    <a:pt x="165454" y="719054"/>
                    <a:pt x="149136" y="708176"/>
                    <a:pt x="135537" y="694578"/>
                  </a:cubicBezTo>
                  <a:cubicBezTo>
                    <a:pt x="113780" y="672820"/>
                    <a:pt x="100182" y="648343"/>
                    <a:pt x="86583" y="621147"/>
                  </a:cubicBezTo>
                  <a:cubicBezTo>
                    <a:pt x="75705" y="599390"/>
                    <a:pt x="70266" y="580352"/>
                    <a:pt x="67546" y="555875"/>
                  </a:cubicBezTo>
                  <a:cubicBezTo>
                    <a:pt x="64826" y="539557"/>
                    <a:pt x="62107" y="525959"/>
                    <a:pt x="59387" y="509641"/>
                  </a:cubicBezTo>
                  <a:cubicBezTo>
                    <a:pt x="56667" y="493323"/>
                    <a:pt x="59387" y="485164"/>
                    <a:pt x="59387" y="468846"/>
                  </a:cubicBezTo>
                  <a:cubicBezTo>
                    <a:pt x="59387" y="414453"/>
                    <a:pt x="72985" y="362780"/>
                    <a:pt x="86583" y="302947"/>
                  </a:cubicBezTo>
                  <a:cubicBezTo>
                    <a:pt x="92023" y="275751"/>
                    <a:pt x="100182" y="248554"/>
                    <a:pt x="108341" y="224077"/>
                  </a:cubicBezTo>
                  <a:cubicBezTo>
                    <a:pt x="116500" y="196881"/>
                    <a:pt x="130098" y="169684"/>
                    <a:pt x="146416" y="145207"/>
                  </a:cubicBezTo>
                  <a:cubicBezTo>
                    <a:pt x="160014" y="123450"/>
                    <a:pt x="176332" y="101693"/>
                    <a:pt x="198090" y="85375"/>
                  </a:cubicBezTo>
                  <a:cubicBezTo>
                    <a:pt x="206249" y="77216"/>
                    <a:pt x="217127" y="71776"/>
                    <a:pt x="228006" y="69057"/>
                  </a:cubicBezTo>
                  <a:cubicBezTo>
                    <a:pt x="241604" y="63618"/>
                    <a:pt x="255202" y="58178"/>
                    <a:pt x="268801" y="58178"/>
                  </a:cubicBezTo>
                  <a:cubicBezTo>
                    <a:pt x="271520" y="58178"/>
                    <a:pt x="274240" y="58178"/>
                    <a:pt x="274240" y="58178"/>
                  </a:cubicBezTo>
                  <a:cubicBezTo>
                    <a:pt x="279679" y="58178"/>
                    <a:pt x="285119" y="58178"/>
                    <a:pt x="295997" y="60898"/>
                  </a:cubicBezTo>
                  <a:cubicBezTo>
                    <a:pt x="309595" y="63618"/>
                    <a:pt x="320474" y="66337"/>
                    <a:pt x="331353" y="71776"/>
                  </a:cubicBezTo>
                  <a:cubicBezTo>
                    <a:pt x="339512" y="77216"/>
                    <a:pt x="347671" y="85375"/>
                    <a:pt x="350390" y="93534"/>
                  </a:cubicBezTo>
                  <a:cubicBezTo>
                    <a:pt x="350390" y="88095"/>
                    <a:pt x="353110" y="79936"/>
                    <a:pt x="353110" y="74496"/>
                  </a:cubicBezTo>
                  <a:cubicBezTo>
                    <a:pt x="355830" y="71776"/>
                    <a:pt x="355830" y="69057"/>
                    <a:pt x="358549" y="63618"/>
                  </a:cubicBezTo>
                  <a:cubicBezTo>
                    <a:pt x="361269" y="60898"/>
                    <a:pt x="363989" y="58178"/>
                    <a:pt x="366708" y="58178"/>
                  </a:cubicBezTo>
                  <a:cubicBezTo>
                    <a:pt x="369428" y="58178"/>
                    <a:pt x="372148" y="60898"/>
                    <a:pt x="374867" y="63618"/>
                  </a:cubicBezTo>
                  <a:cubicBezTo>
                    <a:pt x="377587" y="69057"/>
                    <a:pt x="380307" y="77216"/>
                    <a:pt x="383027" y="82655"/>
                  </a:cubicBezTo>
                  <a:cubicBezTo>
                    <a:pt x="383027" y="90814"/>
                    <a:pt x="385746" y="107132"/>
                    <a:pt x="385746" y="126170"/>
                  </a:cubicBezTo>
                  <a:cubicBezTo>
                    <a:pt x="385746" y="150647"/>
                    <a:pt x="385746" y="177843"/>
                    <a:pt x="388466" y="186002"/>
                  </a:cubicBezTo>
                  <a:cubicBezTo>
                    <a:pt x="391185" y="207759"/>
                    <a:pt x="391185" y="215918"/>
                    <a:pt x="391185" y="237676"/>
                  </a:cubicBezTo>
                  <a:cubicBezTo>
                    <a:pt x="391185" y="248554"/>
                    <a:pt x="391185" y="278470"/>
                    <a:pt x="374867" y="278470"/>
                  </a:cubicBezTo>
                  <a:cubicBezTo>
                    <a:pt x="366708" y="278470"/>
                    <a:pt x="363989" y="275751"/>
                    <a:pt x="358549" y="273031"/>
                  </a:cubicBezTo>
                  <a:cubicBezTo>
                    <a:pt x="353110" y="270311"/>
                    <a:pt x="350390" y="262152"/>
                    <a:pt x="350390" y="256713"/>
                  </a:cubicBezTo>
                  <a:cubicBezTo>
                    <a:pt x="350390" y="251274"/>
                    <a:pt x="347671" y="245834"/>
                    <a:pt x="347671" y="240395"/>
                  </a:cubicBezTo>
                  <a:cubicBezTo>
                    <a:pt x="347671" y="232236"/>
                    <a:pt x="347671" y="224077"/>
                    <a:pt x="347671" y="213199"/>
                  </a:cubicBezTo>
                  <a:cubicBezTo>
                    <a:pt x="347671" y="207759"/>
                    <a:pt x="347671" y="199600"/>
                    <a:pt x="344951" y="194161"/>
                  </a:cubicBezTo>
                  <a:cubicBezTo>
                    <a:pt x="342232" y="180563"/>
                    <a:pt x="342232" y="164245"/>
                    <a:pt x="339512" y="150647"/>
                  </a:cubicBezTo>
                  <a:cubicBezTo>
                    <a:pt x="336792" y="137048"/>
                    <a:pt x="331353" y="123450"/>
                    <a:pt x="323194" y="112571"/>
                  </a:cubicBezTo>
                  <a:cubicBezTo>
                    <a:pt x="317754" y="104412"/>
                    <a:pt x="304156" y="101693"/>
                    <a:pt x="293278" y="101693"/>
                  </a:cubicBezTo>
                  <a:cubicBezTo>
                    <a:pt x="279679" y="101693"/>
                    <a:pt x="271520" y="109852"/>
                    <a:pt x="263361" y="120730"/>
                  </a:cubicBezTo>
                  <a:cubicBezTo>
                    <a:pt x="257922" y="131609"/>
                    <a:pt x="247044" y="139768"/>
                    <a:pt x="241604" y="153366"/>
                  </a:cubicBezTo>
                  <a:cubicBezTo>
                    <a:pt x="236165" y="166964"/>
                    <a:pt x="233445" y="180563"/>
                    <a:pt x="233445" y="194161"/>
                  </a:cubicBezTo>
                  <a:cubicBezTo>
                    <a:pt x="233445" y="207759"/>
                    <a:pt x="230725" y="218638"/>
                    <a:pt x="225286" y="232236"/>
                  </a:cubicBezTo>
                  <a:cubicBezTo>
                    <a:pt x="219847" y="245834"/>
                    <a:pt x="219847" y="262152"/>
                    <a:pt x="217127" y="275751"/>
                  </a:cubicBezTo>
                  <a:cubicBezTo>
                    <a:pt x="214407" y="289349"/>
                    <a:pt x="214407" y="302947"/>
                    <a:pt x="211688" y="316545"/>
                  </a:cubicBezTo>
                  <a:cubicBezTo>
                    <a:pt x="211688" y="330144"/>
                    <a:pt x="206249" y="341022"/>
                    <a:pt x="206249" y="354621"/>
                  </a:cubicBezTo>
                  <a:cubicBezTo>
                    <a:pt x="203529" y="368219"/>
                    <a:pt x="203529" y="381817"/>
                    <a:pt x="200809" y="398135"/>
                  </a:cubicBezTo>
                  <a:cubicBezTo>
                    <a:pt x="198090" y="411733"/>
                    <a:pt x="198090" y="425332"/>
                    <a:pt x="195370" y="438930"/>
                  </a:cubicBezTo>
                  <a:cubicBezTo>
                    <a:pt x="195370" y="449809"/>
                    <a:pt x="192650" y="463407"/>
                    <a:pt x="192650" y="474286"/>
                  </a:cubicBezTo>
                  <a:cubicBezTo>
                    <a:pt x="192650" y="490603"/>
                    <a:pt x="195370" y="509641"/>
                    <a:pt x="195370" y="525959"/>
                  </a:cubicBezTo>
                  <a:cubicBezTo>
                    <a:pt x="195370" y="550436"/>
                    <a:pt x="203529" y="572193"/>
                    <a:pt x="208968" y="596670"/>
                  </a:cubicBezTo>
                  <a:cubicBezTo>
                    <a:pt x="211688" y="604829"/>
                    <a:pt x="211688" y="615708"/>
                    <a:pt x="214407" y="623867"/>
                  </a:cubicBezTo>
                  <a:cubicBezTo>
                    <a:pt x="217127" y="634745"/>
                    <a:pt x="222566" y="645624"/>
                    <a:pt x="228006" y="656502"/>
                  </a:cubicBezTo>
                  <a:cubicBezTo>
                    <a:pt x="236165" y="670101"/>
                    <a:pt x="252483" y="689138"/>
                    <a:pt x="271520" y="689138"/>
                  </a:cubicBezTo>
                  <a:cubicBezTo>
                    <a:pt x="287838" y="689138"/>
                    <a:pt x="298717" y="675540"/>
                    <a:pt x="306876" y="664661"/>
                  </a:cubicBezTo>
                  <a:cubicBezTo>
                    <a:pt x="320474" y="645624"/>
                    <a:pt x="325914" y="623867"/>
                    <a:pt x="331353" y="602109"/>
                  </a:cubicBezTo>
                  <a:cubicBezTo>
                    <a:pt x="334073" y="583072"/>
                    <a:pt x="336792" y="564034"/>
                    <a:pt x="336792" y="544997"/>
                  </a:cubicBezTo>
                  <a:cubicBezTo>
                    <a:pt x="336792" y="531398"/>
                    <a:pt x="336792" y="512361"/>
                    <a:pt x="336792" y="498762"/>
                  </a:cubicBezTo>
                  <a:cubicBezTo>
                    <a:pt x="336792" y="496043"/>
                    <a:pt x="336792" y="493323"/>
                    <a:pt x="336792" y="490603"/>
                  </a:cubicBezTo>
                  <a:cubicBezTo>
                    <a:pt x="336792" y="479725"/>
                    <a:pt x="336792" y="477005"/>
                    <a:pt x="320474" y="477005"/>
                  </a:cubicBezTo>
                  <a:cubicBezTo>
                    <a:pt x="309595" y="477005"/>
                    <a:pt x="295997" y="479725"/>
                    <a:pt x="282399" y="479725"/>
                  </a:cubicBezTo>
                  <a:cubicBezTo>
                    <a:pt x="271520" y="479725"/>
                    <a:pt x="260642" y="479725"/>
                    <a:pt x="252483" y="474286"/>
                  </a:cubicBezTo>
                  <a:cubicBezTo>
                    <a:pt x="249763" y="471566"/>
                    <a:pt x="247044" y="468846"/>
                    <a:pt x="247044" y="466126"/>
                  </a:cubicBezTo>
                  <a:cubicBezTo>
                    <a:pt x="247044" y="463407"/>
                    <a:pt x="247044" y="460687"/>
                    <a:pt x="249763" y="457968"/>
                  </a:cubicBezTo>
                  <a:cubicBezTo>
                    <a:pt x="255202" y="452528"/>
                    <a:pt x="260642" y="449809"/>
                    <a:pt x="268801" y="447089"/>
                  </a:cubicBezTo>
                  <a:cubicBezTo>
                    <a:pt x="282399" y="441650"/>
                    <a:pt x="295997" y="438930"/>
                    <a:pt x="312315" y="436210"/>
                  </a:cubicBezTo>
                  <a:cubicBezTo>
                    <a:pt x="325914" y="433491"/>
                    <a:pt x="339512" y="433491"/>
                    <a:pt x="353110" y="430771"/>
                  </a:cubicBezTo>
                  <a:cubicBezTo>
                    <a:pt x="363989" y="430771"/>
                    <a:pt x="374867" y="430771"/>
                    <a:pt x="385746" y="430771"/>
                  </a:cubicBezTo>
                  <a:cubicBezTo>
                    <a:pt x="402064" y="430771"/>
                    <a:pt x="426541" y="428051"/>
                    <a:pt x="437420" y="428051"/>
                  </a:cubicBezTo>
                  <a:cubicBezTo>
                    <a:pt x="451018" y="422612"/>
                    <a:pt x="464616" y="425332"/>
                    <a:pt x="464616" y="436210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/>
            </a:p>
          </p:txBody>
        </p:sp>
        <p:sp>
          <p:nvSpPr>
            <p:cNvPr id="49" name="Freeform: Shape 48">
              <a:extLst>
                <a:ext uri="{FF2B5EF4-FFF2-40B4-BE49-F238E27FC236}">
                  <a16:creationId xmlns:a16="http://schemas.microsoft.com/office/drawing/2014/main" id="{6C6EC568-17DB-458F-9492-F1CC33DF1A00}"/>
                </a:ext>
              </a:extLst>
            </p:cNvPr>
            <p:cNvSpPr/>
            <p:nvPr/>
          </p:nvSpPr>
          <p:spPr>
            <a:xfrm>
              <a:off x="9053923" y="4178559"/>
              <a:ext cx="625521" cy="788700"/>
            </a:xfrm>
            <a:custGeom>
              <a:avLst/>
              <a:gdLst>
                <a:gd name="connsiteX0" fmla="*/ 536838 w 625521"/>
                <a:gd name="connsiteY0" fmla="*/ 680979 h 788699"/>
                <a:gd name="connsiteX1" fmla="*/ 574913 w 625521"/>
                <a:gd name="connsiteY1" fmla="*/ 697297 h 788699"/>
                <a:gd name="connsiteX2" fmla="*/ 566755 w 625521"/>
                <a:gd name="connsiteY2" fmla="*/ 713615 h 788699"/>
                <a:gd name="connsiteX3" fmla="*/ 550437 w 625521"/>
                <a:gd name="connsiteY3" fmla="*/ 721774 h 788699"/>
                <a:gd name="connsiteX4" fmla="*/ 528680 w 625521"/>
                <a:gd name="connsiteY4" fmla="*/ 724494 h 788699"/>
                <a:gd name="connsiteX5" fmla="*/ 417174 w 625521"/>
                <a:gd name="connsiteY5" fmla="*/ 724494 h 788699"/>
                <a:gd name="connsiteX6" fmla="*/ 398136 w 625521"/>
                <a:gd name="connsiteY6" fmla="*/ 724494 h 788699"/>
                <a:gd name="connsiteX7" fmla="*/ 373659 w 625521"/>
                <a:gd name="connsiteY7" fmla="*/ 724494 h 788699"/>
                <a:gd name="connsiteX8" fmla="*/ 346462 w 625521"/>
                <a:gd name="connsiteY8" fmla="*/ 719054 h 788699"/>
                <a:gd name="connsiteX9" fmla="*/ 330144 w 625521"/>
                <a:gd name="connsiteY9" fmla="*/ 702737 h 788699"/>
                <a:gd name="connsiteX10" fmla="*/ 335584 w 625521"/>
                <a:gd name="connsiteY10" fmla="*/ 694578 h 788699"/>
                <a:gd name="connsiteX11" fmla="*/ 357341 w 625521"/>
                <a:gd name="connsiteY11" fmla="*/ 686419 h 788699"/>
                <a:gd name="connsiteX12" fmla="*/ 395416 w 625521"/>
                <a:gd name="connsiteY12" fmla="*/ 680979 h 788699"/>
                <a:gd name="connsiteX13" fmla="*/ 381817 w 625521"/>
                <a:gd name="connsiteY13" fmla="*/ 656502 h 788699"/>
                <a:gd name="connsiteX14" fmla="*/ 379098 w 625521"/>
                <a:gd name="connsiteY14" fmla="*/ 585791 h 788699"/>
                <a:gd name="connsiteX15" fmla="*/ 379098 w 625521"/>
                <a:gd name="connsiteY15" fmla="*/ 517800 h 788699"/>
                <a:gd name="connsiteX16" fmla="*/ 379098 w 625521"/>
                <a:gd name="connsiteY16" fmla="*/ 474286 h 788699"/>
                <a:gd name="connsiteX17" fmla="*/ 379098 w 625521"/>
                <a:gd name="connsiteY17" fmla="*/ 430771 h 788699"/>
                <a:gd name="connsiteX18" fmla="*/ 381817 w 625521"/>
                <a:gd name="connsiteY18" fmla="*/ 411733 h 788699"/>
                <a:gd name="connsiteX19" fmla="*/ 379098 w 625521"/>
                <a:gd name="connsiteY19" fmla="*/ 400855 h 788699"/>
                <a:gd name="connsiteX20" fmla="*/ 370939 w 625521"/>
                <a:gd name="connsiteY20" fmla="*/ 398135 h 788699"/>
                <a:gd name="connsiteX21" fmla="*/ 338304 w 625521"/>
                <a:gd name="connsiteY21" fmla="*/ 400855 h 788699"/>
                <a:gd name="connsiteX22" fmla="*/ 289349 w 625521"/>
                <a:gd name="connsiteY22" fmla="*/ 403575 h 788699"/>
                <a:gd name="connsiteX23" fmla="*/ 264872 w 625521"/>
                <a:gd name="connsiteY23" fmla="*/ 400855 h 788699"/>
                <a:gd name="connsiteX24" fmla="*/ 259433 w 625521"/>
                <a:gd name="connsiteY24" fmla="*/ 406294 h 788699"/>
                <a:gd name="connsiteX25" fmla="*/ 259433 w 625521"/>
                <a:gd name="connsiteY25" fmla="*/ 425332 h 788699"/>
                <a:gd name="connsiteX26" fmla="*/ 259433 w 625521"/>
                <a:gd name="connsiteY26" fmla="*/ 449809 h 788699"/>
                <a:gd name="connsiteX27" fmla="*/ 259433 w 625521"/>
                <a:gd name="connsiteY27" fmla="*/ 471566 h 788699"/>
                <a:gd name="connsiteX28" fmla="*/ 259433 w 625521"/>
                <a:gd name="connsiteY28" fmla="*/ 504202 h 788699"/>
                <a:gd name="connsiteX29" fmla="*/ 259433 w 625521"/>
                <a:gd name="connsiteY29" fmla="*/ 509641 h 788699"/>
                <a:gd name="connsiteX30" fmla="*/ 256714 w 625521"/>
                <a:gd name="connsiteY30" fmla="*/ 542277 h 788699"/>
                <a:gd name="connsiteX31" fmla="*/ 256714 w 625521"/>
                <a:gd name="connsiteY31" fmla="*/ 577632 h 788699"/>
                <a:gd name="connsiteX32" fmla="*/ 256714 w 625521"/>
                <a:gd name="connsiteY32" fmla="*/ 612988 h 788699"/>
                <a:gd name="connsiteX33" fmla="*/ 253994 w 625521"/>
                <a:gd name="connsiteY33" fmla="*/ 656502 h 788699"/>
                <a:gd name="connsiteX34" fmla="*/ 256714 w 625521"/>
                <a:gd name="connsiteY34" fmla="*/ 678260 h 788699"/>
                <a:gd name="connsiteX35" fmla="*/ 286629 w 625521"/>
                <a:gd name="connsiteY35" fmla="*/ 694578 h 788699"/>
                <a:gd name="connsiteX36" fmla="*/ 281191 w 625521"/>
                <a:gd name="connsiteY36" fmla="*/ 710895 h 788699"/>
                <a:gd name="connsiteX37" fmla="*/ 264872 w 625521"/>
                <a:gd name="connsiteY37" fmla="*/ 719054 h 788699"/>
                <a:gd name="connsiteX38" fmla="*/ 243116 w 625521"/>
                <a:gd name="connsiteY38" fmla="*/ 721774 h 788699"/>
                <a:gd name="connsiteX39" fmla="*/ 243116 w 625521"/>
                <a:gd name="connsiteY39" fmla="*/ 721774 h 788699"/>
                <a:gd name="connsiteX40" fmla="*/ 232236 w 625521"/>
                <a:gd name="connsiteY40" fmla="*/ 727214 h 788699"/>
                <a:gd name="connsiteX41" fmla="*/ 224078 w 625521"/>
                <a:gd name="connsiteY41" fmla="*/ 735372 h 788699"/>
                <a:gd name="connsiteX42" fmla="*/ 213199 w 625521"/>
                <a:gd name="connsiteY42" fmla="*/ 738092 h 788699"/>
                <a:gd name="connsiteX43" fmla="*/ 183283 w 625521"/>
                <a:gd name="connsiteY43" fmla="*/ 727214 h 788699"/>
                <a:gd name="connsiteX44" fmla="*/ 175124 w 625521"/>
                <a:gd name="connsiteY44" fmla="*/ 719054 h 788699"/>
                <a:gd name="connsiteX45" fmla="*/ 145208 w 625521"/>
                <a:gd name="connsiteY45" fmla="*/ 719054 h 788699"/>
                <a:gd name="connsiteX46" fmla="*/ 126170 w 625521"/>
                <a:gd name="connsiteY46" fmla="*/ 719054 h 788699"/>
                <a:gd name="connsiteX47" fmla="*/ 101693 w 625521"/>
                <a:gd name="connsiteY47" fmla="*/ 719054 h 788699"/>
                <a:gd name="connsiteX48" fmla="*/ 74496 w 625521"/>
                <a:gd name="connsiteY48" fmla="*/ 713615 h 788699"/>
                <a:gd name="connsiteX49" fmla="*/ 58178 w 625521"/>
                <a:gd name="connsiteY49" fmla="*/ 697297 h 788699"/>
                <a:gd name="connsiteX50" fmla="*/ 63618 w 625521"/>
                <a:gd name="connsiteY50" fmla="*/ 689138 h 788699"/>
                <a:gd name="connsiteX51" fmla="*/ 85375 w 625521"/>
                <a:gd name="connsiteY51" fmla="*/ 680979 h 788699"/>
                <a:gd name="connsiteX52" fmla="*/ 131609 w 625521"/>
                <a:gd name="connsiteY52" fmla="*/ 675540 h 788699"/>
                <a:gd name="connsiteX53" fmla="*/ 131609 w 625521"/>
                <a:gd name="connsiteY53" fmla="*/ 667381 h 788699"/>
                <a:gd name="connsiteX54" fmla="*/ 131609 w 625521"/>
                <a:gd name="connsiteY54" fmla="*/ 651063 h 788699"/>
                <a:gd name="connsiteX55" fmla="*/ 131609 w 625521"/>
                <a:gd name="connsiteY55" fmla="*/ 618427 h 788699"/>
                <a:gd name="connsiteX56" fmla="*/ 131609 w 625521"/>
                <a:gd name="connsiteY56" fmla="*/ 580352 h 788699"/>
                <a:gd name="connsiteX57" fmla="*/ 131609 w 625521"/>
                <a:gd name="connsiteY57" fmla="*/ 531398 h 788699"/>
                <a:gd name="connsiteX58" fmla="*/ 131609 w 625521"/>
                <a:gd name="connsiteY58" fmla="*/ 466126 h 788699"/>
                <a:gd name="connsiteX59" fmla="*/ 131609 w 625521"/>
                <a:gd name="connsiteY59" fmla="*/ 422612 h 788699"/>
                <a:gd name="connsiteX60" fmla="*/ 131609 w 625521"/>
                <a:gd name="connsiteY60" fmla="*/ 411733 h 788699"/>
                <a:gd name="connsiteX61" fmla="*/ 131609 w 625521"/>
                <a:gd name="connsiteY61" fmla="*/ 398135 h 788699"/>
                <a:gd name="connsiteX62" fmla="*/ 126170 w 625521"/>
                <a:gd name="connsiteY62" fmla="*/ 389976 h 788699"/>
                <a:gd name="connsiteX63" fmla="*/ 101693 w 625521"/>
                <a:gd name="connsiteY63" fmla="*/ 387257 h 788699"/>
                <a:gd name="connsiteX64" fmla="*/ 77216 w 625521"/>
                <a:gd name="connsiteY64" fmla="*/ 376378 h 788699"/>
                <a:gd name="connsiteX65" fmla="*/ 82655 w 625521"/>
                <a:gd name="connsiteY65" fmla="*/ 368219 h 788699"/>
                <a:gd name="connsiteX66" fmla="*/ 98973 w 625521"/>
                <a:gd name="connsiteY66" fmla="*/ 360060 h 788699"/>
                <a:gd name="connsiteX67" fmla="*/ 118011 w 625521"/>
                <a:gd name="connsiteY67" fmla="*/ 357340 h 788699"/>
                <a:gd name="connsiteX68" fmla="*/ 131609 w 625521"/>
                <a:gd name="connsiteY68" fmla="*/ 351901 h 788699"/>
                <a:gd name="connsiteX69" fmla="*/ 131609 w 625521"/>
                <a:gd name="connsiteY69" fmla="*/ 343742 h 788699"/>
                <a:gd name="connsiteX70" fmla="*/ 131609 w 625521"/>
                <a:gd name="connsiteY70" fmla="*/ 270311 h 788699"/>
                <a:gd name="connsiteX71" fmla="*/ 137048 w 625521"/>
                <a:gd name="connsiteY71" fmla="*/ 145207 h 788699"/>
                <a:gd name="connsiteX72" fmla="*/ 139768 w 625521"/>
                <a:gd name="connsiteY72" fmla="*/ 123450 h 788699"/>
                <a:gd name="connsiteX73" fmla="*/ 123450 w 625521"/>
                <a:gd name="connsiteY73" fmla="*/ 123450 h 788699"/>
                <a:gd name="connsiteX74" fmla="*/ 118011 w 625521"/>
                <a:gd name="connsiteY74" fmla="*/ 123450 h 788699"/>
                <a:gd name="connsiteX75" fmla="*/ 101693 w 625521"/>
                <a:gd name="connsiteY75" fmla="*/ 123450 h 788699"/>
                <a:gd name="connsiteX76" fmla="*/ 74496 w 625521"/>
                <a:gd name="connsiteY76" fmla="*/ 118011 h 788699"/>
                <a:gd name="connsiteX77" fmla="*/ 58178 w 625521"/>
                <a:gd name="connsiteY77" fmla="*/ 101693 h 788699"/>
                <a:gd name="connsiteX78" fmla="*/ 63618 w 625521"/>
                <a:gd name="connsiteY78" fmla="*/ 93534 h 788699"/>
                <a:gd name="connsiteX79" fmla="*/ 85375 w 625521"/>
                <a:gd name="connsiteY79" fmla="*/ 85375 h 788699"/>
                <a:gd name="connsiteX80" fmla="*/ 137048 w 625521"/>
                <a:gd name="connsiteY80" fmla="*/ 82655 h 788699"/>
                <a:gd name="connsiteX81" fmla="*/ 147927 w 625521"/>
                <a:gd name="connsiteY81" fmla="*/ 82655 h 788699"/>
                <a:gd name="connsiteX82" fmla="*/ 186003 w 625521"/>
                <a:gd name="connsiteY82" fmla="*/ 58178 h 788699"/>
                <a:gd name="connsiteX83" fmla="*/ 226797 w 625521"/>
                <a:gd name="connsiteY83" fmla="*/ 79936 h 788699"/>
                <a:gd name="connsiteX84" fmla="*/ 253994 w 625521"/>
                <a:gd name="connsiteY84" fmla="*/ 79936 h 788699"/>
                <a:gd name="connsiteX85" fmla="*/ 294789 w 625521"/>
                <a:gd name="connsiteY85" fmla="*/ 96253 h 788699"/>
                <a:gd name="connsiteX86" fmla="*/ 283910 w 625521"/>
                <a:gd name="connsiteY86" fmla="*/ 112571 h 788699"/>
                <a:gd name="connsiteX87" fmla="*/ 267592 w 625521"/>
                <a:gd name="connsiteY87" fmla="*/ 120730 h 788699"/>
                <a:gd name="connsiteX88" fmla="*/ 245835 w 625521"/>
                <a:gd name="connsiteY88" fmla="*/ 123450 h 788699"/>
                <a:gd name="connsiteX89" fmla="*/ 237676 w 625521"/>
                <a:gd name="connsiteY89" fmla="*/ 123450 h 788699"/>
                <a:gd name="connsiteX90" fmla="*/ 240396 w 625521"/>
                <a:gd name="connsiteY90" fmla="*/ 128889 h 788699"/>
                <a:gd name="connsiteX91" fmla="*/ 251274 w 625521"/>
                <a:gd name="connsiteY91" fmla="*/ 177843 h 788699"/>
                <a:gd name="connsiteX92" fmla="*/ 256714 w 625521"/>
                <a:gd name="connsiteY92" fmla="*/ 226797 h 788699"/>
                <a:gd name="connsiteX93" fmla="*/ 262153 w 625521"/>
                <a:gd name="connsiteY93" fmla="*/ 273031 h 788699"/>
                <a:gd name="connsiteX94" fmla="*/ 262153 w 625521"/>
                <a:gd name="connsiteY94" fmla="*/ 289349 h 788699"/>
                <a:gd name="connsiteX95" fmla="*/ 262153 w 625521"/>
                <a:gd name="connsiteY95" fmla="*/ 297508 h 788699"/>
                <a:gd name="connsiteX96" fmla="*/ 264872 w 625521"/>
                <a:gd name="connsiteY96" fmla="*/ 321985 h 788699"/>
                <a:gd name="connsiteX97" fmla="*/ 270312 w 625521"/>
                <a:gd name="connsiteY97" fmla="*/ 335583 h 788699"/>
                <a:gd name="connsiteX98" fmla="*/ 270312 w 625521"/>
                <a:gd name="connsiteY98" fmla="*/ 338303 h 788699"/>
                <a:gd name="connsiteX99" fmla="*/ 270312 w 625521"/>
                <a:gd name="connsiteY99" fmla="*/ 346462 h 788699"/>
                <a:gd name="connsiteX100" fmla="*/ 278471 w 625521"/>
                <a:gd name="connsiteY100" fmla="*/ 354621 h 788699"/>
                <a:gd name="connsiteX101" fmla="*/ 338304 w 625521"/>
                <a:gd name="connsiteY101" fmla="*/ 349181 h 788699"/>
                <a:gd name="connsiteX102" fmla="*/ 365500 w 625521"/>
                <a:gd name="connsiteY102" fmla="*/ 349181 h 788699"/>
                <a:gd name="connsiteX103" fmla="*/ 381817 w 625521"/>
                <a:gd name="connsiteY103" fmla="*/ 349181 h 788699"/>
                <a:gd name="connsiteX104" fmla="*/ 392697 w 625521"/>
                <a:gd name="connsiteY104" fmla="*/ 338303 h 788699"/>
                <a:gd name="connsiteX105" fmla="*/ 389977 w 625521"/>
                <a:gd name="connsiteY105" fmla="*/ 313826 h 788699"/>
                <a:gd name="connsiteX106" fmla="*/ 392697 w 625521"/>
                <a:gd name="connsiteY106" fmla="*/ 262152 h 788699"/>
                <a:gd name="connsiteX107" fmla="*/ 395416 w 625521"/>
                <a:gd name="connsiteY107" fmla="*/ 224077 h 788699"/>
                <a:gd name="connsiteX108" fmla="*/ 398136 w 625521"/>
                <a:gd name="connsiteY108" fmla="*/ 177843 h 788699"/>
                <a:gd name="connsiteX109" fmla="*/ 395416 w 625521"/>
                <a:gd name="connsiteY109" fmla="*/ 153366 h 788699"/>
                <a:gd name="connsiteX110" fmla="*/ 395416 w 625521"/>
                <a:gd name="connsiteY110" fmla="*/ 137048 h 788699"/>
                <a:gd name="connsiteX111" fmla="*/ 379098 w 625521"/>
                <a:gd name="connsiteY111" fmla="*/ 137048 h 788699"/>
                <a:gd name="connsiteX112" fmla="*/ 351902 w 625521"/>
                <a:gd name="connsiteY112" fmla="*/ 131609 h 788699"/>
                <a:gd name="connsiteX113" fmla="*/ 338304 w 625521"/>
                <a:gd name="connsiteY113" fmla="*/ 115291 h 788699"/>
                <a:gd name="connsiteX114" fmla="*/ 343742 w 625521"/>
                <a:gd name="connsiteY114" fmla="*/ 107132 h 788699"/>
                <a:gd name="connsiteX115" fmla="*/ 362780 w 625521"/>
                <a:gd name="connsiteY115" fmla="*/ 98973 h 788699"/>
                <a:gd name="connsiteX116" fmla="*/ 395416 w 625521"/>
                <a:gd name="connsiteY116" fmla="*/ 96253 h 788699"/>
                <a:gd name="connsiteX117" fmla="*/ 403575 w 625521"/>
                <a:gd name="connsiteY117" fmla="*/ 90814 h 788699"/>
                <a:gd name="connsiteX118" fmla="*/ 422612 w 625521"/>
                <a:gd name="connsiteY118" fmla="*/ 88095 h 788699"/>
                <a:gd name="connsiteX119" fmla="*/ 428052 w 625521"/>
                <a:gd name="connsiteY119" fmla="*/ 88095 h 788699"/>
                <a:gd name="connsiteX120" fmla="*/ 447090 w 625521"/>
                <a:gd name="connsiteY120" fmla="*/ 90814 h 788699"/>
                <a:gd name="connsiteX121" fmla="*/ 455249 w 625521"/>
                <a:gd name="connsiteY121" fmla="*/ 96253 h 788699"/>
                <a:gd name="connsiteX122" fmla="*/ 525960 w 625521"/>
                <a:gd name="connsiteY122" fmla="*/ 93534 h 788699"/>
                <a:gd name="connsiteX123" fmla="*/ 561315 w 625521"/>
                <a:gd name="connsiteY123" fmla="*/ 109852 h 788699"/>
                <a:gd name="connsiteX124" fmla="*/ 555876 w 625521"/>
                <a:gd name="connsiteY124" fmla="*/ 126170 h 788699"/>
                <a:gd name="connsiteX125" fmla="*/ 539558 w 625521"/>
                <a:gd name="connsiteY125" fmla="*/ 134329 h 788699"/>
                <a:gd name="connsiteX126" fmla="*/ 517800 w 625521"/>
                <a:gd name="connsiteY126" fmla="*/ 137048 h 788699"/>
                <a:gd name="connsiteX127" fmla="*/ 477006 w 625521"/>
                <a:gd name="connsiteY127" fmla="*/ 137048 h 788699"/>
                <a:gd name="connsiteX128" fmla="*/ 485165 w 625521"/>
                <a:gd name="connsiteY128" fmla="*/ 161525 h 788699"/>
                <a:gd name="connsiteX129" fmla="*/ 496043 w 625521"/>
                <a:gd name="connsiteY129" fmla="*/ 210479 h 788699"/>
                <a:gd name="connsiteX130" fmla="*/ 501483 w 625521"/>
                <a:gd name="connsiteY130" fmla="*/ 251274 h 788699"/>
                <a:gd name="connsiteX131" fmla="*/ 506922 w 625521"/>
                <a:gd name="connsiteY131" fmla="*/ 292069 h 788699"/>
                <a:gd name="connsiteX132" fmla="*/ 506922 w 625521"/>
                <a:gd name="connsiteY132" fmla="*/ 321985 h 788699"/>
                <a:gd name="connsiteX133" fmla="*/ 509642 w 625521"/>
                <a:gd name="connsiteY133" fmla="*/ 341022 h 788699"/>
                <a:gd name="connsiteX134" fmla="*/ 509642 w 625521"/>
                <a:gd name="connsiteY134" fmla="*/ 343742 h 788699"/>
                <a:gd name="connsiteX135" fmla="*/ 517800 w 625521"/>
                <a:gd name="connsiteY135" fmla="*/ 349181 h 788699"/>
                <a:gd name="connsiteX136" fmla="*/ 528680 w 625521"/>
                <a:gd name="connsiteY136" fmla="*/ 349181 h 788699"/>
                <a:gd name="connsiteX137" fmla="*/ 550437 w 625521"/>
                <a:gd name="connsiteY137" fmla="*/ 357340 h 788699"/>
                <a:gd name="connsiteX138" fmla="*/ 550437 w 625521"/>
                <a:gd name="connsiteY138" fmla="*/ 362780 h 788699"/>
                <a:gd name="connsiteX139" fmla="*/ 534119 w 625521"/>
                <a:gd name="connsiteY139" fmla="*/ 384537 h 788699"/>
                <a:gd name="connsiteX140" fmla="*/ 520520 w 625521"/>
                <a:gd name="connsiteY140" fmla="*/ 389976 h 788699"/>
                <a:gd name="connsiteX141" fmla="*/ 512362 w 625521"/>
                <a:gd name="connsiteY141" fmla="*/ 395415 h 788699"/>
                <a:gd name="connsiteX142" fmla="*/ 512362 w 625521"/>
                <a:gd name="connsiteY142" fmla="*/ 398135 h 788699"/>
                <a:gd name="connsiteX143" fmla="*/ 512362 w 625521"/>
                <a:gd name="connsiteY143" fmla="*/ 409014 h 788699"/>
                <a:gd name="connsiteX144" fmla="*/ 512362 w 625521"/>
                <a:gd name="connsiteY144" fmla="*/ 414453 h 788699"/>
                <a:gd name="connsiteX145" fmla="*/ 512362 w 625521"/>
                <a:gd name="connsiteY145" fmla="*/ 438930 h 788699"/>
                <a:gd name="connsiteX146" fmla="*/ 515081 w 625521"/>
                <a:gd name="connsiteY146" fmla="*/ 504202 h 788699"/>
                <a:gd name="connsiteX147" fmla="*/ 520520 w 625521"/>
                <a:gd name="connsiteY147" fmla="*/ 572193 h 788699"/>
                <a:gd name="connsiteX148" fmla="*/ 517800 w 625521"/>
                <a:gd name="connsiteY148" fmla="*/ 604829 h 788699"/>
                <a:gd name="connsiteX149" fmla="*/ 512362 w 625521"/>
                <a:gd name="connsiteY149" fmla="*/ 661942 h 788699"/>
                <a:gd name="connsiteX150" fmla="*/ 509642 w 625521"/>
                <a:gd name="connsiteY150" fmla="*/ 670101 h 788699"/>
                <a:gd name="connsiteX151" fmla="*/ 512362 w 625521"/>
                <a:gd name="connsiteY151" fmla="*/ 680979 h 788699"/>
                <a:gd name="connsiteX152" fmla="*/ 512362 w 625521"/>
                <a:gd name="connsiteY152" fmla="*/ 686419 h 788699"/>
                <a:gd name="connsiteX153" fmla="*/ 536838 w 625521"/>
                <a:gd name="connsiteY153" fmla="*/ 680979 h 788699"/>
                <a:gd name="connsiteX154" fmla="*/ 536838 w 625521"/>
                <a:gd name="connsiteY154" fmla="*/ 680979 h 7886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</a:cxnLst>
              <a:rect l="l" t="t" r="r" b="b"/>
              <a:pathLst>
                <a:path w="625521" h="788699">
                  <a:moveTo>
                    <a:pt x="536838" y="680979"/>
                  </a:moveTo>
                  <a:cubicBezTo>
                    <a:pt x="550437" y="680979"/>
                    <a:pt x="574913" y="680979"/>
                    <a:pt x="574913" y="697297"/>
                  </a:cubicBezTo>
                  <a:cubicBezTo>
                    <a:pt x="574913" y="705456"/>
                    <a:pt x="572194" y="708176"/>
                    <a:pt x="566755" y="713615"/>
                  </a:cubicBezTo>
                  <a:cubicBezTo>
                    <a:pt x="561315" y="719054"/>
                    <a:pt x="555876" y="721774"/>
                    <a:pt x="550437" y="721774"/>
                  </a:cubicBezTo>
                  <a:cubicBezTo>
                    <a:pt x="539558" y="724494"/>
                    <a:pt x="534119" y="724494"/>
                    <a:pt x="528680" y="724494"/>
                  </a:cubicBezTo>
                  <a:cubicBezTo>
                    <a:pt x="517800" y="724494"/>
                    <a:pt x="428052" y="724494"/>
                    <a:pt x="417174" y="724494"/>
                  </a:cubicBezTo>
                  <a:cubicBezTo>
                    <a:pt x="403575" y="724494"/>
                    <a:pt x="414454" y="724494"/>
                    <a:pt x="398136" y="724494"/>
                  </a:cubicBezTo>
                  <a:cubicBezTo>
                    <a:pt x="389977" y="724494"/>
                    <a:pt x="381817" y="724494"/>
                    <a:pt x="373659" y="724494"/>
                  </a:cubicBezTo>
                  <a:cubicBezTo>
                    <a:pt x="365500" y="724494"/>
                    <a:pt x="354621" y="721774"/>
                    <a:pt x="346462" y="719054"/>
                  </a:cubicBezTo>
                  <a:cubicBezTo>
                    <a:pt x="338304" y="716335"/>
                    <a:pt x="330144" y="708176"/>
                    <a:pt x="330144" y="702737"/>
                  </a:cubicBezTo>
                  <a:cubicBezTo>
                    <a:pt x="330144" y="700017"/>
                    <a:pt x="330144" y="697297"/>
                    <a:pt x="335584" y="694578"/>
                  </a:cubicBezTo>
                  <a:cubicBezTo>
                    <a:pt x="341023" y="691858"/>
                    <a:pt x="351902" y="689138"/>
                    <a:pt x="357341" y="686419"/>
                  </a:cubicBezTo>
                  <a:cubicBezTo>
                    <a:pt x="373659" y="683699"/>
                    <a:pt x="387257" y="680979"/>
                    <a:pt x="395416" y="680979"/>
                  </a:cubicBezTo>
                  <a:cubicBezTo>
                    <a:pt x="387257" y="675540"/>
                    <a:pt x="384537" y="670101"/>
                    <a:pt x="381817" y="656502"/>
                  </a:cubicBezTo>
                  <a:cubicBezTo>
                    <a:pt x="379098" y="632026"/>
                    <a:pt x="379098" y="610268"/>
                    <a:pt x="379098" y="585791"/>
                  </a:cubicBezTo>
                  <a:cubicBezTo>
                    <a:pt x="379098" y="564034"/>
                    <a:pt x="379098" y="542277"/>
                    <a:pt x="379098" y="517800"/>
                  </a:cubicBezTo>
                  <a:cubicBezTo>
                    <a:pt x="379098" y="504202"/>
                    <a:pt x="379098" y="487884"/>
                    <a:pt x="379098" y="474286"/>
                  </a:cubicBezTo>
                  <a:cubicBezTo>
                    <a:pt x="379098" y="457968"/>
                    <a:pt x="376379" y="444369"/>
                    <a:pt x="379098" y="430771"/>
                  </a:cubicBezTo>
                  <a:cubicBezTo>
                    <a:pt x="379098" y="425332"/>
                    <a:pt x="381817" y="417173"/>
                    <a:pt x="381817" y="411733"/>
                  </a:cubicBezTo>
                  <a:cubicBezTo>
                    <a:pt x="381817" y="406294"/>
                    <a:pt x="381817" y="403575"/>
                    <a:pt x="379098" y="400855"/>
                  </a:cubicBezTo>
                  <a:cubicBezTo>
                    <a:pt x="376379" y="400855"/>
                    <a:pt x="373659" y="398135"/>
                    <a:pt x="370939" y="398135"/>
                  </a:cubicBezTo>
                  <a:cubicBezTo>
                    <a:pt x="360061" y="398135"/>
                    <a:pt x="343742" y="400855"/>
                    <a:pt x="338304" y="400855"/>
                  </a:cubicBezTo>
                  <a:cubicBezTo>
                    <a:pt x="330144" y="400855"/>
                    <a:pt x="319266" y="403575"/>
                    <a:pt x="289349" y="403575"/>
                  </a:cubicBezTo>
                  <a:cubicBezTo>
                    <a:pt x="275751" y="403575"/>
                    <a:pt x="267592" y="400855"/>
                    <a:pt x="264872" y="400855"/>
                  </a:cubicBezTo>
                  <a:cubicBezTo>
                    <a:pt x="262153" y="400855"/>
                    <a:pt x="259433" y="400855"/>
                    <a:pt x="259433" y="406294"/>
                  </a:cubicBezTo>
                  <a:cubicBezTo>
                    <a:pt x="259433" y="414453"/>
                    <a:pt x="259433" y="419892"/>
                    <a:pt x="259433" y="425332"/>
                  </a:cubicBezTo>
                  <a:cubicBezTo>
                    <a:pt x="259433" y="433491"/>
                    <a:pt x="259433" y="441650"/>
                    <a:pt x="259433" y="449809"/>
                  </a:cubicBezTo>
                  <a:cubicBezTo>
                    <a:pt x="259433" y="457968"/>
                    <a:pt x="259433" y="463407"/>
                    <a:pt x="259433" y="471566"/>
                  </a:cubicBezTo>
                  <a:cubicBezTo>
                    <a:pt x="259433" y="482445"/>
                    <a:pt x="259433" y="493323"/>
                    <a:pt x="259433" y="504202"/>
                  </a:cubicBezTo>
                  <a:cubicBezTo>
                    <a:pt x="259433" y="506921"/>
                    <a:pt x="259433" y="506921"/>
                    <a:pt x="259433" y="509641"/>
                  </a:cubicBezTo>
                  <a:cubicBezTo>
                    <a:pt x="259433" y="520520"/>
                    <a:pt x="256714" y="531398"/>
                    <a:pt x="256714" y="542277"/>
                  </a:cubicBezTo>
                  <a:cubicBezTo>
                    <a:pt x="256714" y="553156"/>
                    <a:pt x="256714" y="566754"/>
                    <a:pt x="256714" y="577632"/>
                  </a:cubicBezTo>
                  <a:cubicBezTo>
                    <a:pt x="256714" y="588511"/>
                    <a:pt x="256714" y="599390"/>
                    <a:pt x="256714" y="612988"/>
                  </a:cubicBezTo>
                  <a:cubicBezTo>
                    <a:pt x="256714" y="629306"/>
                    <a:pt x="253994" y="642904"/>
                    <a:pt x="253994" y="656502"/>
                  </a:cubicBezTo>
                  <a:cubicBezTo>
                    <a:pt x="253994" y="664661"/>
                    <a:pt x="256714" y="672820"/>
                    <a:pt x="256714" y="678260"/>
                  </a:cubicBezTo>
                  <a:cubicBezTo>
                    <a:pt x="270312" y="678260"/>
                    <a:pt x="286629" y="680979"/>
                    <a:pt x="286629" y="694578"/>
                  </a:cubicBezTo>
                  <a:cubicBezTo>
                    <a:pt x="286629" y="702737"/>
                    <a:pt x="283910" y="705456"/>
                    <a:pt x="281191" y="710895"/>
                  </a:cubicBezTo>
                  <a:cubicBezTo>
                    <a:pt x="275751" y="716335"/>
                    <a:pt x="270312" y="719054"/>
                    <a:pt x="264872" y="719054"/>
                  </a:cubicBezTo>
                  <a:cubicBezTo>
                    <a:pt x="256714" y="721774"/>
                    <a:pt x="248554" y="721774"/>
                    <a:pt x="243116" y="721774"/>
                  </a:cubicBezTo>
                  <a:cubicBezTo>
                    <a:pt x="243116" y="721774"/>
                    <a:pt x="243116" y="721774"/>
                    <a:pt x="243116" y="721774"/>
                  </a:cubicBezTo>
                  <a:cubicBezTo>
                    <a:pt x="237676" y="724494"/>
                    <a:pt x="237676" y="724494"/>
                    <a:pt x="232236" y="727214"/>
                  </a:cubicBezTo>
                  <a:cubicBezTo>
                    <a:pt x="229517" y="729933"/>
                    <a:pt x="229517" y="732653"/>
                    <a:pt x="224078" y="735372"/>
                  </a:cubicBezTo>
                  <a:cubicBezTo>
                    <a:pt x="221358" y="738092"/>
                    <a:pt x="215919" y="738092"/>
                    <a:pt x="213199" y="738092"/>
                  </a:cubicBezTo>
                  <a:cubicBezTo>
                    <a:pt x="199601" y="738092"/>
                    <a:pt x="188722" y="735372"/>
                    <a:pt x="183283" y="727214"/>
                  </a:cubicBezTo>
                  <a:cubicBezTo>
                    <a:pt x="180563" y="724494"/>
                    <a:pt x="177843" y="721774"/>
                    <a:pt x="175124" y="719054"/>
                  </a:cubicBezTo>
                  <a:cubicBezTo>
                    <a:pt x="161526" y="719054"/>
                    <a:pt x="150646" y="719054"/>
                    <a:pt x="145208" y="719054"/>
                  </a:cubicBezTo>
                  <a:cubicBezTo>
                    <a:pt x="131609" y="719054"/>
                    <a:pt x="142488" y="719054"/>
                    <a:pt x="126170" y="719054"/>
                  </a:cubicBezTo>
                  <a:cubicBezTo>
                    <a:pt x="118011" y="719054"/>
                    <a:pt x="109852" y="719054"/>
                    <a:pt x="101693" y="719054"/>
                  </a:cubicBezTo>
                  <a:cubicBezTo>
                    <a:pt x="93534" y="719054"/>
                    <a:pt x="82655" y="719054"/>
                    <a:pt x="74496" y="713615"/>
                  </a:cubicBezTo>
                  <a:cubicBezTo>
                    <a:pt x="66338" y="710895"/>
                    <a:pt x="58178" y="702737"/>
                    <a:pt x="58178" y="697297"/>
                  </a:cubicBezTo>
                  <a:cubicBezTo>
                    <a:pt x="58178" y="694578"/>
                    <a:pt x="58178" y="691858"/>
                    <a:pt x="63618" y="689138"/>
                  </a:cubicBezTo>
                  <a:cubicBezTo>
                    <a:pt x="69057" y="686419"/>
                    <a:pt x="79936" y="683699"/>
                    <a:pt x="85375" y="680979"/>
                  </a:cubicBezTo>
                  <a:cubicBezTo>
                    <a:pt x="98973" y="678260"/>
                    <a:pt x="118011" y="678260"/>
                    <a:pt x="131609" y="675540"/>
                  </a:cubicBezTo>
                  <a:cubicBezTo>
                    <a:pt x="131609" y="672820"/>
                    <a:pt x="131609" y="670101"/>
                    <a:pt x="131609" y="667381"/>
                  </a:cubicBezTo>
                  <a:cubicBezTo>
                    <a:pt x="131609" y="661942"/>
                    <a:pt x="131609" y="656502"/>
                    <a:pt x="131609" y="651063"/>
                  </a:cubicBezTo>
                  <a:cubicBezTo>
                    <a:pt x="131609" y="640184"/>
                    <a:pt x="131609" y="629306"/>
                    <a:pt x="131609" y="618427"/>
                  </a:cubicBezTo>
                  <a:cubicBezTo>
                    <a:pt x="131609" y="604829"/>
                    <a:pt x="131609" y="593950"/>
                    <a:pt x="131609" y="580352"/>
                  </a:cubicBezTo>
                  <a:cubicBezTo>
                    <a:pt x="131609" y="564034"/>
                    <a:pt x="131609" y="547716"/>
                    <a:pt x="131609" y="531398"/>
                  </a:cubicBezTo>
                  <a:cubicBezTo>
                    <a:pt x="131609" y="509641"/>
                    <a:pt x="131609" y="487884"/>
                    <a:pt x="131609" y="466126"/>
                  </a:cubicBezTo>
                  <a:cubicBezTo>
                    <a:pt x="131609" y="452528"/>
                    <a:pt x="131609" y="436210"/>
                    <a:pt x="131609" y="422612"/>
                  </a:cubicBezTo>
                  <a:cubicBezTo>
                    <a:pt x="131609" y="419892"/>
                    <a:pt x="131609" y="414453"/>
                    <a:pt x="131609" y="411733"/>
                  </a:cubicBezTo>
                  <a:cubicBezTo>
                    <a:pt x="131609" y="409014"/>
                    <a:pt x="131609" y="400855"/>
                    <a:pt x="131609" y="398135"/>
                  </a:cubicBezTo>
                  <a:cubicBezTo>
                    <a:pt x="131609" y="392696"/>
                    <a:pt x="131609" y="392696"/>
                    <a:pt x="126170" y="389976"/>
                  </a:cubicBezTo>
                  <a:cubicBezTo>
                    <a:pt x="123450" y="389976"/>
                    <a:pt x="109852" y="387257"/>
                    <a:pt x="101693" y="387257"/>
                  </a:cubicBezTo>
                  <a:cubicBezTo>
                    <a:pt x="90814" y="384537"/>
                    <a:pt x="77216" y="381817"/>
                    <a:pt x="77216" y="376378"/>
                  </a:cubicBezTo>
                  <a:cubicBezTo>
                    <a:pt x="77216" y="373658"/>
                    <a:pt x="79936" y="370939"/>
                    <a:pt x="82655" y="368219"/>
                  </a:cubicBezTo>
                  <a:cubicBezTo>
                    <a:pt x="88095" y="365499"/>
                    <a:pt x="93534" y="362780"/>
                    <a:pt x="98973" y="360060"/>
                  </a:cubicBezTo>
                  <a:cubicBezTo>
                    <a:pt x="104413" y="360060"/>
                    <a:pt x="112571" y="357340"/>
                    <a:pt x="118011" y="357340"/>
                  </a:cubicBezTo>
                  <a:cubicBezTo>
                    <a:pt x="126170" y="354621"/>
                    <a:pt x="128890" y="357340"/>
                    <a:pt x="131609" y="351901"/>
                  </a:cubicBezTo>
                  <a:cubicBezTo>
                    <a:pt x="131609" y="349181"/>
                    <a:pt x="131609" y="346462"/>
                    <a:pt x="131609" y="343742"/>
                  </a:cubicBezTo>
                  <a:cubicBezTo>
                    <a:pt x="131609" y="319265"/>
                    <a:pt x="131609" y="294788"/>
                    <a:pt x="131609" y="270311"/>
                  </a:cubicBezTo>
                  <a:cubicBezTo>
                    <a:pt x="131609" y="226797"/>
                    <a:pt x="131609" y="186002"/>
                    <a:pt x="137048" y="145207"/>
                  </a:cubicBezTo>
                  <a:cubicBezTo>
                    <a:pt x="137048" y="139768"/>
                    <a:pt x="137048" y="131609"/>
                    <a:pt x="139768" y="123450"/>
                  </a:cubicBezTo>
                  <a:cubicBezTo>
                    <a:pt x="134329" y="123450"/>
                    <a:pt x="137048" y="123450"/>
                    <a:pt x="123450" y="123450"/>
                  </a:cubicBezTo>
                  <a:cubicBezTo>
                    <a:pt x="120731" y="123450"/>
                    <a:pt x="120731" y="123450"/>
                    <a:pt x="118011" y="123450"/>
                  </a:cubicBezTo>
                  <a:cubicBezTo>
                    <a:pt x="112571" y="123450"/>
                    <a:pt x="107133" y="123450"/>
                    <a:pt x="101693" y="123450"/>
                  </a:cubicBezTo>
                  <a:cubicBezTo>
                    <a:pt x="93534" y="123450"/>
                    <a:pt x="82655" y="120730"/>
                    <a:pt x="74496" y="118011"/>
                  </a:cubicBezTo>
                  <a:cubicBezTo>
                    <a:pt x="66338" y="115291"/>
                    <a:pt x="58178" y="107132"/>
                    <a:pt x="58178" y="101693"/>
                  </a:cubicBezTo>
                  <a:cubicBezTo>
                    <a:pt x="58178" y="98973"/>
                    <a:pt x="58178" y="96253"/>
                    <a:pt x="63618" y="93534"/>
                  </a:cubicBezTo>
                  <a:cubicBezTo>
                    <a:pt x="66338" y="90814"/>
                    <a:pt x="77216" y="88095"/>
                    <a:pt x="85375" y="85375"/>
                  </a:cubicBezTo>
                  <a:cubicBezTo>
                    <a:pt x="104413" y="82655"/>
                    <a:pt x="128890" y="82655"/>
                    <a:pt x="137048" y="82655"/>
                  </a:cubicBezTo>
                  <a:cubicBezTo>
                    <a:pt x="139768" y="82655"/>
                    <a:pt x="142488" y="82655"/>
                    <a:pt x="147927" y="82655"/>
                  </a:cubicBezTo>
                  <a:cubicBezTo>
                    <a:pt x="153366" y="69057"/>
                    <a:pt x="164245" y="58178"/>
                    <a:pt x="186003" y="58178"/>
                  </a:cubicBezTo>
                  <a:cubicBezTo>
                    <a:pt x="202321" y="58178"/>
                    <a:pt x="215919" y="66337"/>
                    <a:pt x="226797" y="79936"/>
                  </a:cubicBezTo>
                  <a:cubicBezTo>
                    <a:pt x="237676" y="79936"/>
                    <a:pt x="248554" y="79936"/>
                    <a:pt x="253994" y="79936"/>
                  </a:cubicBezTo>
                  <a:cubicBezTo>
                    <a:pt x="267592" y="79936"/>
                    <a:pt x="294789" y="79936"/>
                    <a:pt x="294789" y="96253"/>
                  </a:cubicBezTo>
                  <a:cubicBezTo>
                    <a:pt x="294789" y="104412"/>
                    <a:pt x="289349" y="107132"/>
                    <a:pt x="283910" y="112571"/>
                  </a:cubicBezTo>
                  <a:cubicBezTo>
                    <a:pt x="278471" y="118011"/>
                    <a:pt x="273031" y="120730"/>
                    <a:pt x="267592" y="120730"/>
                  </a:cubicBezTo>
                  <a:cubicBezTo>
                    <a:pt x="259433" y="123450"/>
                    <a:pt x="251274" y="123450"/>
                    <a:pt x="245835" y="123450"/>
                  </a:cubicBezTo>
                  <a:cubicBezTo>
                    <a:pt x="245835" y="123450"/>
                    <a:pt x="243116" y="123450"/>
                    <a:pt x="237676" y="123450"/>
                  </a:cubicBezTo>
                  <a:cubicBezTo>
                    <a:pt x="237676" y="126170"/>
                    <a:pt x="237676" y="126170"/>
                    <a:pt x="240396" y="128889"/>
                  </a:cubicBezTo>
                  <a:cubicBezTo>
                    <a:pt x="245835" y="145207"/>
                    <a:pt x="248554" y="161525"/>
                    <a:pt x="251274" y="177843"/>
                  </a:cubicBezTo>
                  <a:cubicBezTo>
                    <a:pt x="253994" y="194161"/>
                    <a:pt x="253994" y="210479"/>
                    <a:pt x="256714" y="226797"/>
                  </a:cubicBezTo>
                  <a:cubicBezTo>
                    <a:pt x="259433" y="243115"/>
                    <a:pt x="262153" y="256713"/>
                    <a:pt x="262153" y="273031"/>
                  </a:cubicBezTo>
                  <a:cubicBezTo>
                    <a:pt x="262153" y="278470"/>
                    <a:pt x="262153" y="283910"/>
                    <a:pt x="262153" y="289349"/>
                  </a:cubicBezTo>
                  <a:lnTo>
                    <a:pt x="262153" y="297508"/>
                  </a:lnTo>
                  <a:cubicBezTo>
                    <a:pt x="262153" y="305667"/>
                    <a:pt x="262153" y="313826"/>
                    <a:pt x="264872" y="321985"/>
                  </a:cubicBezTo>
                  <a:cubicBezTo>
                    <a:pt x="264872" y="327424"/>
                    <a:pt x="270312" y="330144"/>
                    <a:pt x="270312" y="335583"/>
                  </a:cubicBezTo>
                  <a:cubicBezTo>
                    <a:pt x="270312" y="335583"/>
                    <a:pt x="270312" y="338303"/>
                    <a:pt x="270312" y="338303"/>
                  </a:cubicBezTo>
                  <a:cubicBezTo>
                    <a:pt x="270312" y="341022"/>
                    <a:pt x="270312" y="343742"/>
                    <a:pt x="270312" y="346462"/>
                  </a:cubicBezTo>
                  <a:cubicBezTo>
                    <a:pt x="270312" y="351901"/>
                    <a:pt x="273031" y="354621"/>
                    <a:pt x="278471" y="354621"/>
                  </a:cubicBezTo>
                  <a:cubicBezTo>
                    <a:pt x="289349" y="354621"/>
                    <a:pt x="335584" y="351901"/>
                    <a:pt x="338304" y="349181"/>
                  </a:cubicBezTo>
                  <a:cubicBezTo>
                    <a:pt x="346462" y="349181"/>
                    <a:pt x="357341" y="349181"/>
                    <a:pt x="365500" y="349181"/>
                  </a:cubicBezTo>
                  <a:cubicBezTo>
                    <a:pt x="370939" y="349181"/>
                    <a:pt x="376379" y="349181"/>
                    <a:pt x="381817" y="349181"/>
                  </a:cubicBezTo>
                  <a:cubicBezTo>
                    <a:pt x="387257" y="349181"/>
                    <a:pt x="392697" y="346462"/>
                    <a:pt x="392697" y="338303"/>
                  </a:cubicBezTo>
                  <a:cubicBezTo>
                    <a:pt x="392697" y="330144"/>
                    <a:pt x="389977" y="316545"/>
                    <a:pt x="389977" y="313826"/>
                  </a:cubicBezTo>
                  <a:cubicBezTo>
                    <a:pt x="389977" y="294788"/>
                    <a:pt x="389977" y="278470"/>
                    <a:pt x="392697" y="262152"/>
                  </a:cubicBezTo>
                  <a:cubicBezTo>
                    <a:pt x="392697" y="259433"/>
                    <a:pt x="395416" y="243115"/>
                    <a:pt x="395416" y="224077"/>
                  </a:cubicBezTo>
                  <a:cubicBezTo>
                    <a:pt x="395416" y="207759"/>
                    <a:pt x="398136" y="188722"/>
                    <a:pt x="398136" y="177843"/>
                  </a:cubicBezTo>
                  <a:cubicBezTo>
                    <a:pt x="398136" y="169684"/>
                    <a:pt x="395416" y="158806"/>
                    <a:pt x="395416" y="153366"/>
                  </a:cubicBezTo>
                  <a:cubicBezTo>
                    <a:pt x="395416" y="145207"/>
                    <a:pt x="395416" y="142488"/>
                    <a:pt x="395416" y="137048"/>
                  </a:cubicBezTo>
                  <a:cubicBezTo>
                    <a:pt x="389977" y="137048"/>
                    <a:pt x="384537" y="137048"/>
                    <a:pt x="379098" y="137048"/>
                  </a:cubicBezTo>
                  <a:cubicBezTo>
                    <a:pt x="370939" y="137048"/>
                    <a:pt x="360061" y="134329"/>
                    <a:pt x="351902" y="131609"/>
                  </a:cubicBezTo>
                  <a:cubicBezTo>
                    <a:pt x="343742" y="128889"/>
                    <a:pt x="338304" y="120730"/>
                    <a:pt x="338304" y="115291"/>
                  </a:cubicBezTo>
                  <a:cubicBezTo>
                    <a:pt x="338304" y="112571"/>
                    <a:pt x="338304" y="109852"/>
                    <a:pt x="343742" y="107132"/>
                  </a:cubicBezTo>
                  <a:cubicBezTo>
                    <a:pt x="349182" y="104412"/>
                    <a:pt x="357341" y="101693"/>
                    <a:pt x="362780" y="98973"/>
                  </a:cubicBezTo>
                  <a:cubicBezTo>
                    <a:pt x="373659" y="96253"/>
                    <a:pt x="387257" y="96253"/>
                    <a:pt x="395416" y="96253"/>
                  </a:cubicBezTo>
                  <a:cubicBezTo>
                    <a:pt x="398136" y="93534"/>
                    <a:pt x="400855" y="90814"/>
                    <a:pt x="403575" y="90814"/>
                  </a:cubicBezTo>
                  <a:cubicBezTo>
                    <a:pt x="411734" y="90814"/>
                    <a:pt x="419893" y="88095"/>
                    <a:pt x="422612" y="88095"/>
                  </a:cubicBezTo>
                  <a:cubicBezTo>
                    <a:pt x="425332" y="88095"/>
                    <a:pt x="425332" y="88095"/>
                    <a:pt x="428052" y="88095"/>
                  </a:cubicBezTo>
                  <a:cubicBezTo>
                    <a:pt x="433492" y="88095"/>
                    <a:pt x="441650" y="88095"/>
                    <a:pt x="447090" y="90814"/>
                  </a:cubicBezTo>
                  <a:cubicBezTo>
                    <a:pt x="449809" y="90814"/>
                    <a:pt x="452529" y="93534"/>
                    <a:pt x="455249" y="96253"/>
                  </a:cubicBezTo>
                  <a:cubicBezTo>
                    <a:pt x="482445" y="96253"/>
                    <a:pt x="509642" y="93534"/>
                    <a:pt x="525960" y="93534"/>
                  </a:cubicBezTo>
                  <a:cubicBezTo>
                    <a:pt x="539558" y="93534"/>
                    <a:pt x="561315" y="93534"/>
                    <a:pt x="561315" y="109852"/>
                  </a:cubicBezTo>
                  <a:cubicBezTo>
                    <a:pt x="561315" y="118011"/>
                    <a:pt x="561315" y="120730"/>
                    <a:pt x="555876" y="126170"/>
                  </a:cubicBezTo>
                  <a:cubicBezTo>
                    <a:pt x="550437" y="131609"/>
                    <a:pt x="544997" y="134329"/>
                    <a:pt x="539558" y="134329"/>
                  </a:cubicBezTo>
                  <a:cubicBezTo>
                    <a:pt x="531399" y="137048"/>
                    <a:pt x="523240" y="137048"/>
                    <a:pt x="517800" y="137048"/>
                  </a:cubicBezTo>
                  <a:cubicBezTo>
                    <a:pt x="515081" y="137048"/>
                    <a:pt x="498763" y="137048"/>
                    <a:pt x="477006" y="137048"/>
                  </a:cubicBezTo>
                  <a:cubicBezTo>
                    <a:pt x="479725" y="145207"/>
                    <a:pt x="485165" y="153366"/>
                    <a:pt x="485165" y="161525"/>
                  </a:cubicBezTo>
                  <a:cubicBezTo>
                    <a:pt x="487885" y="177843"/>
                    <a:pt x="493324" y="194161"/>
                    <a:pt x="496043" y="210479"/>
                  </a:cubicBezTo>
                  <a:cubicBezTo>
                    <a:pt x="498763" y="224077"/>
                    <a:pt x="498763" y="237676"/>
                    <a:pt x="501483" y="251274"/>
                  </a:cubicBezTo>
                  <a:cubicBezTo>
                    <a:pt x="504202" y="264872"/>
                    <a:pt x="506922" y="275751"/>
                    <a:pt x="506922" y="292069"/>
                  </a:cubicBezTo>
                  <a:cubicBezTo>
                    <a:pt x="506922" y="302947"/>
                    <a:pt x="506922" y="311106"/>
                    <a:pt x="506922" y="321985"/>
                  </a:cubicBezTo>
                  <a:cubicBezTo>
                    <a:pt x="506922" y="327424"/>
                    <a:pt x="509642" y="335583"/>
                    <a:pt x="509642" y="341022"/>
                  </a:cubicBezTo>
                  <a:cubicBezTo>
                    <a:pt x="509642" y="343742"/>
                    <a:pt x="509642" y="343742"/>
                    <a:pt x="509642" y="343742"/>
                  </a:cubicBezTo>
                  <a:cubicBezTo>
                    <a:pt x="509642" y="349181"/>
                    <a:pt x="515081" y="349181"/>
                    <a:pt x="517800" y="349181"/>
                  </a:cubicBezTo>
                  <a:cubicBezTo>
                    <a:pt x="520520" y="349181"/>
                    <a:pt x="523240" y="349181"/>
                    <a:pt x="528680" y="349181"/>
                  </a:cubicBezTo>
                  <a:cubicBezTo>
                    <a:pt x="536838" y="349181"/>
                    <a:pt x="547717" y="349181"/>
                    <a:pt x="550437" y="357340"/>
                  </a:cubicBezTo>
                  <a:cubicBezTo>
                    <a:pt x="550437" y="360060"/>
                    <a:pt x="550437" y="360060"/>
                    <a:pt x="550437" y="362780"/>
                  </a:cubicBezTo>
                  <a:cubicBezTo>
                    <a:pt x="550437" y="370939"/>
                    <a:pt x="539558" y="381817"/>
                    <a:pt x="534119" y="384537"/>
                  </a:cubicBezTo>
                  <a:cubicBezTo>
                    <a:pt x="531399" y="387257"/>
                    <a:pt x="523240" y="387257"/>
                    <a:pt x="520520" y="389976"/>
                  </a:cubicBezTo>
                  <a:cubicBezTo>
                    <a:pt x="515081" y="389976"/>
                    <a:pt x="512362" y="392696"/>
                    <a:pt x="512362" y="395415"/>
                  </a:cubicBezTo>
                  <a:cubicBezTo>
                    <a:pt x="512362" y="395415"/>
                    <a:pt x="512362" y="398135"/>
                    <a:pt x="512362" y="398135"/>
                  </a:cubicBezTo>
                  <a:cubicBezTo>
                    <a:pt x="512362" y="400855"/>
                    <a:pt x="512362" y="406294"/>
                    <a:pt x="512362" y="409014"/>
                  </a:cubicBezTo>
                  <a:cubicBezTo>
                    <a:pt x="512362" y="411733"/>
                    <a:pt x="512362" y="411733"/>
                    <a:pt x="512362" y="414453"/>
                  </a:cubicBezTo>
                  <a:cubicBezTo>
                    <a:pt x="512362" y="422612"/>
                    <a:pt x="512362" y="430771"/>
                    <a:pt x="512362" y="438930"/>
                  </a:cubicBezTo>
                  <a:cubicBezTo>
                    <a:pt x="512362" y="460687"/>
                    <a:pt x="512362" y="482445"/>
                    <a:pt x="515081" y="504202"/>
                  </a:cubicBezTo>
                  <a:cubicBezTo>
                    <a:pt x="517800" y="525959"/>
                    <a:pt x="520520" y="550436"/>
                    <a:pt x="520520" y="572193"/>
                  </a:cubicBezTo>
                  <a:cubicBezTo>
                    <a:pt x="520520" y="583072"/>
                    <a:pt x="520520" y="593950"/>
                    <a:pt x="517800" y="604829"/>
                  </a:cubicBezTo>
                  <a:cubicBezTo>
                    <a:pt x="515081" y="623867"/>
                    <a:pt x="515081" y="642904"/>
                    <a:pt x="512362" y="661942"/>
                  </a:cubicBezTo>
                  <a:cubicBezTo>
                    <a:pt x="512362" y="664661"/>
                    <a:pt x="509642" y="667381"/>
                    <a:pt x="509642" y="670101"/>
                  </a:cubicBezTo>
                  <a:cubicBezTo>
                    <a:pt x="509642" y="672820"/>
                    <a:pt x="512362" y="678260"/>
                    <a:pt x="512362" y="680979"/>
                  </a:cubicBezTo>
                  <a:cubicBezTo>
                    <a:pt x="512362" y="683699"/>
                    <a:pt x="512362" y="686419"/>
                    <a:pt x="512362" y="686419"/>
                  </a:cubicBezTo>
                  <a:cubicBezTo>
                    <a:pt x="517800" y="680979"/>
                    <a:pt x="528680" y="680979"/>
                    <a:pt x="536838" y="680979"/>
                  </a:cubicBezTo>
                  <a:lnTo>
                    <a:pt x="536838" y="680979"/>
                  </a:ln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/>
            </a:p>
          </p:txBody>
        </p:sp>
        <p:sp>
          <p:nvSpPr>
            <p:cNvPr id="50" name="Freeform: Shape 49">
              <a:extLst>
                <a:ext uri="{FF2B5EF4-FFF2-40B4-BE49-F238E27FC236}">
                  <a16:creationId xmlns:a16="http://schemas.microsoft.com/office/drawing/2014/main" id="{045AFC19-C641-4E38-8827-516270B72E11}"/>
                </a:ext>
              </a:extLst>
            </p:cNvPr>
            <p:cNvSpPr/>
            <p:nvPr/>
          </p:nvSpPr>
          <p:spPr>
            <a:xfrm>
              <a:off x="9592416" y="4192158"/>
              <a:ext cx="516735" cy="761503"/>
            </a:xfrm>
            <a:custGeom>
              <a:avLst/>
              <a:gdLst>
                <a:gd name="connsiteX0" fmla="*/ 463407 w 516735"/>
                <a:gd name="connsiteY0" fmla="*/ 194161 h 761503"/>
                <a:gd name="connsiteX1" fmla="*/ 447089 w 516735"/>
                <a:gd name="connsiteY1" fmla="*/ 226797 h 761503"/>
                <a:gd name="connsiteX2" fmla="*/ 430771 w 516735"/>
                <a:gd name="connsiteY2" fmla="*/ 221357 h 761503"/>
                <a:gd name="connsiteX3" fmla="*/ 422612 w 516735"/>
                <a:gd name="connsiteY3" fmla="*/ 207759 h 761503"/>
                <a:gd name="connsiteX4" fmla="*/ 419893 w 516735"/>
                <a:gd name="connsiteY4" fmla="*/ 188722 h 761503"/>
                <a:gd name="connsiteX5" fmla="*/ 419893 w 516735"/>
                <a:gd name="connsiteY5" fmla="*/ 139768 h 761503"/>
                <a:gd name="connsiteX6" fmla="*/ 419893 w 516735"/>
                <a:gd name="connsiteY6" fmla="*/ 120730 h 761503"/>
                <a:gd name="connsiteX7" fmla="*/ 395416 w 516735"/>
                <a:gd name="connsiteY7" fmla="*/ 120730 h 761503"/>
                <a:gd name="connsiteX8" fmla="*/ 370939 w 516735"/>
                <a:gd name="connsiteY8" fmla="*/ 120730 h 761503"/>
                <a:gd name="connsiteX9" fmla="*/ 346461 w 516735"/>
                <a:gd name="connsiteY9" fmla="*/ 123450 h 761503"/>
                <a:gd name="connsiteX10" fmla="*/ 335583 w 516735"/>
                <a:gd name="connsiteY10" fmla="*/ 123450 h 761503"/>
                <a:gd name="connsiteX11" fmla="*/ 335583 w 516735"/>
                <a:gd name="connsiteY11" fmla="*/ 123450 h 761503"/>
                <a:gd name="connsiteX12" fmla="*/ 324704 w 516735"/>
                <a:gd name="connsiteY12" fmla="*/ 128889 h 761503"/>
                <a:gd name="connsiteX13" fmla="*/ 327424 w 516735"/>
                <a:gd name="connsiteY13" fmla="*/ 139768 h 761503"/>
                <a:gd name="connsiteX14" fmla="*/ 330144 w 516735"/>
                <a:gd name="connsiteY14" fmla="*/ 175123 h 761503"/>
                <a:gd name="connsiteX15" fmla="*/ 330144 w 516735"/>
                <a:gd name="connsiteY15" fmla="*/ 199600 h 761503"/>
                <a:gd name="connsiteX16" fmla="*/ 327424 w 516735"/>
                <a:gd name="connsiteY16" fmla="*/ 224077 h 761503"/>
                <a:gd name="connsiteX17" fmla="*/ 330144 w 516735"/>
                <a:gd name="connsiteY17" fmla="*/ 251274 h 761503"/>
                <a:gd name="connsiteX18" fmla="*/ 327424 w 516735"/>
                <a:gd name="connsiteY18" fmla="*/ 278470 h 761503"/>
                <a:gd name="connsiteX19" fmla="*/ 327424 w 516735"/>
                <a:gd name="connsiteY19" fmla="*/ 332864 h 761503"/>
                <a:gd name="connsiteX20" fmla="*/ 330144 w 516735"/>
                <a:gd name="connsiteY20" fmla="*/ 357340 h 761503"/>
                <a:gd name="connsiteX21" fmla="*/ 330144 w 516735"/>
                <a:gd name="connsiteY21" fmla="*/ 368219 h 761503"/>
                <a:gd name="connsiteX22" fmla="*/ 332863 w 516735"/>
                <a:gd name="connsiteY22" fmla="*/ 387257 h 761503"/>
                <a:gd name="connsiteX23" fmla="*/ 332863 w 516735"/>
                <a:gd name="connsiteY23" fmla="*/ 433491 h 761503"/>
                <a:gd name="connsiteX24" fmla="*/ 332863 w 516735"/>
                <a:gd name="connsiteY24" fmla="*/ 487884 h 761503"/>
                <a:gd name="connsiteX25" fmla="*/ 330144 w 516735"/>
                <a:gd name="connsiteY25" fmla="*/ 512361 h 761503"/>
                <a:gd name="connsiteX26" fmla="*/ 330144 w 516735"/>
                <a:gd name="connsiteY26" fmla="*/ 539557 h 761503"/>
                <a:gd name="connsiteX27" fmla="*/ 332863 w 516735"/>
                <a:gd name="connsiteY27" fmla="*/ 593950 h 761503"/>
                <a:gd name="connsiteX28" fmla="*/ 332863 w 516735"/>
                <a:gd name="connsiteY28" fmla="*/ 648343 h 761503"/>
                <a:gd name="connsiteX29" fmla="*/ 332863 w 516735"/>
                <a:gd name="connsiteY29" fmla="*/ 656502 h 761503"/>
                <a:gd name="connsiteX30" fmla="*/ 357341 w 516735"/>
                <a:gd name="connsiteY30" fmla="*/ 656502 h 761503"/>
                <a:gd name="connsiteX31" fmla="*/ 395416 w 516735"/>
                <a:gd name="connsiteY31" fmla="*/ 675540 h 761503"/>
                <a:gd name="connsiteX32" fmla="*/ 389976 w 516735"/>
                <a:gd name="connsiteY32" fmla="*/ 691858 h 761503"/>
                <a:gd name="connsiteX33" fmla="*/ 373658 w 516735"/>
                <a:gd name="connsiteY33" fmla="*/ 700017 h 761503"/>
                <a:gd name="connsiteX34" fmla="*/ 351901 w 516735"/>
                <a:gd name="connsiteY34" fmla="*/ 702737 h 761503"/>
                <a:gd name="connsiteX35" fmla="*/ 319265 w 516735"/>
                <a:gd name="connsiteY35" fmla="*/ 702737 h 761503"/>
                <a:gd name="connsiteX36" fmla="*/ 311106 w 516735"/>
                <a:gd name="connsiteY36" fmla="*/ 708176 h 761503"/>
                <a:gd name="connsiteX37" fmla="*/ 289349 w 516735"/>
                <a:gd name="connsiteY37" fmla="*/ 713615 h 761503"/>
                <a:gd name="connsiteX38" fmla="*/ 270311 w 516735"/>
                <a:gd name="connsiteY38" fmla="*/ 713615 h 761503"/>
                <a:gd name="connsiteX39" fmla="*/ 243115 w 516735"/>
                <a:gd name="connsiteY39" fmla="*/ 705456 h 761503"/>
                <a:gd name="connsiteX40" fmla="*/ 237675 w 516735"/>
                <a:gd name="connsiteY40" fmla="*/ 702737 h 761503"/>
                <a:gd name="connsiteX41" fmla="*/ 199600 w 516735"/>
                <a:gd name="connsiteY41" fmla="*/ 702737 h 761503"/>
                <a:gd name="connsiteX42" fmla="*/ 175123 w 516735"/>
                <a:gd name="connsiteY42" fmla="*/ 702737 h 761503"/>
                <a:gd name="connsiteX43" fmla="*/ 147927 w 516735"/>
                <a:gd name="connsiteY43" fmla="*/ 697297 h 761503"/>
                <a:gd name="connsiteX44" fmla="*/ 131609 w 516735"/>
                <a:gd name="connsiteY44" fmla="*/ 678260 h 761503"/>
                <a:gd name="connsiteX45" fmla="*/ 137048 w 516735"/>
                <a:gd name="connsiteY45" fmla="*/ 670101 h 761503"/>
                <a:gd name="connsiteX46" fmla="*/ 158805 w 516735"/>
                <a:gd name="connsiteY46" fmla="*/ 661942 h 761503"/>
                <a:gd name="connsiteX47" fmla="*/ 199600 w 516735"/>
                <a:gd name="connsiteY47" fmla="*/ 659222 h 761503"/>
                <a:gd name="connsiteX48" fmla="*/ 199600 w 516735"/>
                <a:gd name="connsiteY48" fmla="*/ 659222 h 761503"/>
                <a:gd name="connsiteX49" fmla="*/ 196880 w 516735"/>
                <a:gd name="connsiteY49" fmla="*/ 629306 h 761503"/>
                <a:gd name="connsiteX50" fmla="*/ 199600 w 516735"/>
                <a:gd name="connsiteY50" fmla="*/ 574913 h 761503"/>
                <a:gd name="connsiteX51" fmla="*/ 202320 w 516735"/>
                <a:gd name="connsiteY51" fmla="*/ 523239 h 761503"/>
                <a:gd name="connsiteX52" fmla="*/ 205040 w 516735"/>
                <a:gd name="connsiteY52" fmla="*/ 460687 h 761503"/>
                <a:gd name="connsiteX53" fmla="*/ 205040 w 516735"/>
                <a:gd name="connsiteY53" fmla="*/ 417173 h 761503"/>
                <a:gd name="connsiteX54" fmla="*/ 207759 w 516735"/>
                <a:gd name="connsiteY54" fmla="*/ 392696 h 761503"/>
                <a:gd name="connsiteX55" fmla="*/ 210478 w 516735"/>
                <a:gd name="connsiteY55" fmla="*/ 368219 h 761503"/>
                <a:gd name="connsiteX56" fmla="*/ 210478 w 516735"/>
                <a:gd name="connsiteY56" fmla="*/ 313826 h 761503"/>
                <a:gd name="connsiteX57" fmla="*/ 210478 w 516735"/>
                <a:gd name="connsiteY57" fmla="*/ 259433 h 761503"/>
                <a:gd name="connsiteX58" fmla="*/ 210478 w 516735"/>
                <a:gd name="connsiteY58" fmla="*/ 213199 h 761503"/>
                <a:gd name="connsiteX59" fmla="*/ 210478 w 516735"/>
                <a:gd name="connsiteY59" fmla="*/ 145207 h 761503"/>
                <a:gd name="connsiteX60" fmla="*/ 213198 w 516735"/>
                <a:gd name="connsiteY60" fmla="*/ 131609 h 761503"/>
                <a:gd name="connsiteX61" fmla="*/ 205040 w 516735"/>
                <a:gd name="connsiteY61" fmla="*/ 123450 h 761503"/>
                <a:gd name="connsiteX62" fmla="*/ 161525 w 516735"/>
                <a:gd name="connsiteY62" fmla="*/ 123450 h 761503"/>
                <a:gd name="connsiteX63" fmla="*/ 112571 w 516735"/>
                <a:gd name="connsiteY63" fmla="*/ 120730 h 761503"/>
                <a:gd name="connsiteX64" fmla="*/ 104412 w 516735"/>
                <a:gd name="connsiteY64" fmla="*/ 118011 h 761503"/>
                <a:gd name="connsiteX65" fmla="*/ 107132 w 516735"/>
                <a:gd name="connsiteY65" fmla="*/ 191441 h 761503"/>
                <a:gd name="connsiteX66" fmla="*/ 90814 w 516735"/>
                <a:gd name="connsiteY66" fmla="*/ 224077 h 761503"/>
                <a:gd name="connsiteX67" fmla="*/ 74496 w 516735"/>
                <a:gd name="connsiteY67" fmla="*/ 218638 h 761503"/>
                <a:gd name="connsiteX68" fmla="*/ 66337 w 516735"/>
                <a:gd name="connsiteY68" fmla="*/ 205040 h 761503"/>
                <a:gd name="connsiteX69" fmla="*/ 63617 w 516735"/>
                <a:gd name="connsiteY69" fmla="*/ 186002 h 761503"/>
                <a:gd name="connsiteX70" fmla="*/ 63617 w 516735"/>
                <a:gd name="connsiteY70" fmla="*/ 145207 h 761503"/>
                <a:gd name="connsiteX71" fmla="*/ 63617 w 516735"/>
                <a:gd name="connsiteY71" fmla="*/ 109852 h 761503"/>
                <a:gd name="connsiteX72" fmla="*/ 58178 w 516735"/>
                <a:gd name="connsiteY72" fmla="*/ 96253 h 761503"/>
                <a:gd name="connsiteX73" fmla="*/ 66337 w 516735"/>
                <a:gd name="connsiteY73" fmla="*/ 85375 h 761503"/>
                <a:gd name="connsiteX74" fmla="*/ 93533 w 516735"/>
                <a:gd name="connsiteY74" fmla="*/ 77216 h 761503"/>
                <a:gd name="connsiteX75" fmla="*/ 115290 w 516735"/>
                <a:gd name="connsiteY75" fmla="*/ 77216 h 761503"/>
                <a:gd name="connsiteX76" fmla="*/ 169684 w 516735"/>
                <a:gd name="connsiteY76" fmla="*/ 74496 h 761503"/>
                <a:gd name="connsiteX77" fmla="*/ 194161 w 516735"/>
                <a:gd name="connsiteY77" fmla="*/ 71776 h 761503"/>
                <a:gd name="connsiteX78" fmla="*/ 196880 w 516735"/>
                <a:gd name="connsiteY78" fmla="*/ 71776 h 761503"/>
                <a:gd name="connsiteX79" fmla="*/ 210478 w 516735"/>
                <a:gd name="connsiteY79" fmla="*/ 71776 h 761503"/>
                <a:gd name="connsiteX80" fmla="*/ 218638 w 516735"/>
                <a:gd name="connsiteY80" fmla="*/ 71776 h 761503"/>
                <a:gd name="connsiteX81" fmla="*/ 237675 w 516735"/>
                <a:gd name="connsiteY81" fmla="*/ 60898 h 761503"/>
                <a:gd name="connsiteX82" fmla="*/ 253993 w 516735"/>
                <a:gd name="connsiteY82" fmla="*/ 58178 h 761503"/>
                <a:gd name="connsiteX83" fmla="*/ 283910 w 516735"/>
                <a:gd name="connsiteY83" fmla="*/ 60898 h 761503"/>
                <a:gd name="connsiteX84" fmla="*/ 294788 w 516735"/>
                <a:gd name="connsiteY84" fmla="*/ 66337 h 761503"/>
                <a:gd name="connsiteX85" fmla="*/ 305667 w 516735"/>
                <a:gd name="connsiteY85" fmla="*/ 74496 h 761503"/>
                <a:gd name="connsiteX86" fmla="*/ 313826 w 516735"/>
                <a:gd name="connsiteY86" fmla="*/ 74496 h 761503"/>
                <a:gd name="connsiteX87" fmla="*/ 327424 w 516735"/>
                <a:gd name="connsiteY87" fmla="*/ 74496 h 761503"/>
                <a:gd name="connsiteX88" fmla="*/ 354621 w 516735"/>
                <a:gd name="connsiteY88" fmla="*/ 74496 h 761503"/>
                <a:gd name="connsiteX89" fmla="*/ 422612 w 516735"/>
                <a:gd name="connsiteY89" fmla="*/ 74496 h 761503"/>
                <a:gd name="connsiteX90" fmla="*/ 455248 w 516735"/>
                <a:gd name="connsiteY90" fmla="*/ 79936 h 761503"/>
                <a:gd name="connsiteX91" fmla="*/ 466127 w 516735"/>
                <a:gd name="connsiteY91" fmla="*/ 98973 h 761503"/>
                <a:gd name="connsiteX92" fmla="*/ 463407 w 516735"/>
                <a:gd name="connsiteY92" fmla="*/ 109852 h 761503"/>
                <a:gd name="connsiteX93" fmla="*/ 463407 w 516735"/>
                <a:gd name="connsiteY93" fmla="*/ 120730 h 761503"/>
                <a:gd name="connsiteX94" fmla="*/ 463407 w 516735"/>
                <a:gd name="connsiteY94" fmla="*/ 194161 h 761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</a:cxnLst>
              <a:rect l="l" t="t" r="r" b="b"/>
              <a:pathLst>
                <a:path w="516735" h="761503">
                  <a:moveTo>
                    <a:pt x="463407" y="194161"/>
                  </a:moveTo>
                  <a:cubicBezTo>
                    <a:pt x="463407" y="205040"/>
                    <a:pt x="463407" y="226797"/>
                    <a:pt x="447089" y="226797"/>
                  </a:cubicBezTo>
                  <a:cubicBezTo>
                    <a:pt x="438930" y="226797"/>
                    <a:pt x="436211" y="226797"/>
                    <a:pt x="430771" y="221357"/>
                  </a:cubicBezTo>
                  <a:cubicBezTo>
                    <a:pt x="425332" y="218638"/>
                    <a:pt x="422612" y="210479"/>
                    <a:pt x="422612" y="207759"/>
                  </a:cubicBezTo>
                  <a:cubicBezTo>
                    <a:pt x="419893" y="199600"/>
                    <a:pt x="419893" y="194161"/>
                    <a:pt x="419893" y="188722"/>
                  </a:cubicBezTo>
                  <a:cubicBezTo>
                    <a:pt x="419893" y="183282"/>
                    <a:pt x="419893" y="147927"/>
                    <a:pt x="419893" y="139768"/>
                  </a:cubicBezTo>
                  <a:cubicBezTo>
                    <a:pt x="419893" y="134329"/>
                    <a:pt x="419893" y="128889"/>
                    <a:pt x="419893" y="120730"/>
                  </a:cubicBezTo>
                  <a:cubicBezTo>
                    <a:pt x="411734" y="120730"/>
                    <a:pt x="403574" y="120730"/>
                    <a:pt x="395416" y="120730"/>
                  </a:cubicBezTo>
                  <a:cubicBezTo>
                    <a:pt x="387256" y="120730"/>
                    <a:pt x="379098" y="120730"/>
                    <a:pt x="370939" y="120730"/>
                  </a:cubicBezTo>
                  <a:cubicBezTo>
                    <a:pt x="362780" y="120730"/>
                    <a:pt x="354621" y="123450"/>
                    <a:pt x="346461" y="123450"/>
                  </a:cubicBezTo>
                  <a:cubicBezTo>
                    <a:pt x="343742" y="123450"/>
                    <a:pt x="341023" y="123450"/>
                    <a:pt x="335583" y="123450"/>
                  </a:cubicBezTo>
                  <a:cubicBezTo>
                    <a:pt x="335583" y="123450"/>
                    <a:pt x="335583" y="123450"/>
                    <a:pt x="335583" y="123450"/>
                  </a:cubicBezTo>
                  <a:cubicBezTo>
                    <a:pt x="327424" y="123450"/>
                    <a:pt x="324704" y="126170"/>
                    <a:pt x="324704" y="128889"/>
                  </a:cubicBezTo>
                  <a:cubicBezTo>
                    <a:pt x="324704" y="131609"/>
                    <a:pt x="324704" y="137048"/>
                    <a:pt x="327424" y="139768"/>
                  </a:cubicBezTo>
                  <a:cubicBezTo>
                    <a:pt x="330144" y="147927"/>
                    <a:pt x="330144" y="166964"/>
                    <a:pt x="330144" y="175123"/>
                  </a:cubicBezTo>
                  <a:cubicBezTo>
                    <a:pt x="330144" y="183282"/>
                    <a:pt x="330144" y="191441"/>
                    <a:pt x="330144" y="199600"/>
                  </a:cubicBezTo>
                  <a:cubicBezTo>
                    <a:pt x="330144" y="207759"/>
                    <a:pt x="327424" y="215918"/>
                    <a:pt x="327424" y="224077"/>
                  </a:cubicBezTo>
                  <a:cubicBezTo>
                    <a:pt x="327424" y="232236"/>
                    <a:pt x="330144" y="243115"/>
                    <a:pt x="330144" y="251274"/>
                  </a:cubicBezTo>
                  <a:cubicBezTo>
                    <a:pt x="330144" y="259433"/>
                    <a:pt x="330144" y="267592"/>
                    <a:pt x="327424" y="278470"/>
                  </a:cubicBezTo>
                  <a:cubicBezTo>
                    <a:pt x="327424" y="294788"/>
                    <a:pt x="327424" y="313826"/>
                    <a:pt x="327424" y="332864"/>
                  </a:cubicBezTo>
                  <a:cubicBezTo>
                    <a:pt x="327424" y="341022"/>
                    <a:pt x="327424" y="349181"/>
                    <a:pt x="330144" y="357340"/>
                  </a:cubicBezTo>
                  <a:cubicBezTo>
                    <a:pt x="330144" y="360060"/>
                    <a:pt x="330144" y="365499"/>
                    <a:pt x="330144" y="368219"/>
                  </a:cubicBezTo>
                  <a:cubicBezTo>
                    <a:pt x="330144" y="373658"/>
                    <a:pt x="332863" y="384537"/>
                    <a:pt x="332863" y="387257"/>
                  </a:cubicBezTo>
                  <a:cubicBezTo>
                    <a:pt x="332863" y="406294"/>
                    <a:pt x="332863" y="414453"/>
                    <a:pt x="332863" y="433491"/>
                  </a:cubicBezTo>
                  <a:cubicBezTo>
                    <a:pt x="332863" y="452528"/>
                    <a:pt x="335583" y="468846"/>
                    <a:pt x="332863" y="487884"/>
                  </a:cubicBezTo>
                  <a:cubicBezTo>
                    <a:pt x="332863" y="496043"/>
                    <a:pt x="330144" y="504202"/>
                    <a:pt x="330144" y="512361"/>
                  </a:cubicBezTo>
                  <a:cubicBezTo>
                    <a:pt x="330144" y="520520"/>
                    <a:pt x="330144" y="531398"/>
                    <a:pt x="330144" y="539557"/>
                  </a:cubicBezTo>
                  <a:cubicBezTo>
                    <a:pt x="330144" y="558595"/>
                    <a:pt x="330144" y="574913"/>
                    <a:pt x="332863" y="593950"/>
                  </a:cubicBezTo>
                  <a:cubicBezTo>
                    <a:pt x="332863" y="610268"/>
                    <a:pt x="332863" y="632026"/>
                    <a:pt x="332863" y="648343"/>
                  </a:cubicBezTo>
                  <a:cubicBezTo>
                    <a:pt x="332863" y="651063"/>
                    <a:pt x="332863" y="653783"/>
                    <a:pt x="332863" y="656502"/>
                  </a:cubicBezTo>
                  <a:cubicBezTo>
                    <a:pt x="343742" y="656502"/>
                    <a:pt x="351901" y="656502"/>
                    <a:pt x="357341" y="656502"/>
                  </a:cubicBezTo>
                  <a:cubicBezTo>
                    <a:pt x="370939" y="656502"/>
                    <a:pt x="395416" y="659222"/>
                    <a:pt x="395416" y="675540"/>
                  </a:cubicBezTo>
                  <a:cubicBezTo>
                    <a:pt x="395416" y="683699"/>
                    <a:pt x="392696" y="686419"/>
                    <a:pt x="389976" y="691858"/>
                  </a:cubicBezTo>
                  <a:cubicBezTo>
                    <a:pt x="384537" y="697297"/>
                    <a:pt x="379098" y="700017"/>
                    <a:pt x="373658" y="700017"/>
                  </a:cubicBezTo>
                  <a:cubicBezTo>
                    <a:pt x="365499" y="702737"/>
                    <a:pt x="357341" y="702737"/>
                    <a:pt x="351901" y="702737"/>
                  </a:cubicBezTo>
                  <a:cubicBezTo>
                    <a:pt x="349181" y="702737"/>
                    <a:pt x="335583" y="702737"/>
                    <a:pt x="319265" y="702737"/>
                  </a:cubicBezTo>
                  <a:cubicBezTo>
                    <a:pt x="316546" y="705456"/>
                    <a:pt x="313826" y="705456"/>
                    <a:pt x="311106" y="708176"/>
                  </a:cubicBezTo>
                  <a:cubicBezTo>
                    <a:pt x="302948" y="713615"/>
                    <a:pt x="297508" y="713615"/>
                    <a:pt x="289349" y="713615"/>
                  </a:cubicBezTo>
                  <a:cubicBezTo>
                    <a:pt x="283910" y="713615"/>
                    <a:pt x="278470" y="713615"/>
                    <a:pt x="270311" y="713615"/>
                  </a:cubicBezTo>
                  <a:cubicBezTo>
                    <a:pt x="259433" y="713615"/>
                    <a:pt x="251273" y="710895"/>
                    <a:pt x="243115" y="705456"/>
                  </a:cubicBezTo>
                  <a:cubicBezTo>
                    <a:pt x="240395" y="705456"/>
                    <a:pt x="237675" y="702737"/>
                    <a:pt x="237675" y="702737"/>
                  </a:cubicBezTo>
                  <a:cubicBezTo>
                    <a:pt x="224077" y="702737"/>
                    <a:pt x="213198" y="702737"/>
                    <a:pt x="199600" y="702737"/>
                  </a:cubicBezTo>
                  <a:cubicBezTo>
                    <a:pt x="191441" y="702737"/>
                    <a:pt x="183282" y="702737"/>
                    <a:pt x="175123" y="702737"/>
                  </a:cubicBezTo>
                  <a:cubicBezTo>
                    <a:pt x="166965" y="702737"/>
                    <a:pt x="156085" y="702737"/>
                    <a:pt x="147927" y="697297"/>
                  </a:cubicBezTo>
                  <a:cubicBezTo>
                    <a:pt x="139768" y="694578"/>
                    <a:pt x="131609" y="680979"/>
                    <a:pt x="131609" y="678260"/>
                  </a:cubicBezTo>
                  <a:cubicBezTo>
                    <a:pt x="131609" y="675540"/>
                    <a:pt x="131609" y="672820"/>
                    <a:pt x="137048" y="670101"/>
                  </a:cubicBezTo>
                  <a:cubicBezTo>
                    <a:pt x="142487" y="667381"/>
                    <a:pt x="153366" y="664661"/>
                    <a:pt x="158805" y="661942"/>
                  </a:cubicBezTo>
                  <a:cubicBezTo>
                    <a:pt x="175123" y="659222"/>
                    <a:pt x="191441" y="659222"/>
                    <a:pt x="199600" y="659222"/>
                  </a:cubicBezTo>
                  <a:lnTo>
                    <a:pt x="199600" y="659222"/>
                  </a:lnTo>
                  <a:cubicBezTo>
                    <a:pt x="199600" y="648343"/>
                    <a:pt x="196880" y="640184"/>
                    <a:pt x="196880" y="629306"/>
                  </a:cubicBezTo>
                  <a:cubicBezTo>
                    <a:pt x="196880" y="612988"/>
                    <a:pt x="196880" y="591231"/>
                    <a:pt x="199600" y="574913"/>
                  </a:cubicBezTo>
                  <a:cubicBezTo>
                    <a:pt x="199600" y="558595"/>
                    <a:pt x="199600" y="539557"/>
                    <a:pt x="202320" y="523239"/>
                  </a:cubicBezTo>
                  <a:cubicBezTo>
                    <a:pt x="202320" y="501482"/>
                    <a:pt x="205040" y="482445"/>
                    <a:pt x="205040" y="460687"/>
                  </a:cubicBezTo>
                  <a:cubicBezTo>
                    <a:pt x="205040" y="447089"/>
                    <a:pt x="205040" y="430771"/>
                    <a:pt x="205040" y="417173"/>
                  </a:cubicBezTo>
                  <a:cubicBezTo>
                    <a:pt x="205040" y="409014"/>
                    <a:pt x="207759" y="400855"/>
                    <a:pt x="207759" y="392696"/>
                  </a:cubicBezTo>
                  <a:cubicBezTo>
                    <a:pt x="207759" y="384537"/>
                    <a:pt x="210478" y="376378"/>
                    <a:pt x="210478" y="368219"/>
                  </a:cubicBezTo>
                  <a:cubicBezTo>
                    <a:pt x="210478" y="351901"/>
                    <a:pt x="210478" y="332864"/>
                    <a:pt x="210478" y="313826"/>
                  </a:cubicBezTo>
                  <a:cubicBezTo>
                    <a:pt x="210478" y="294788"/>
                    <a:pt x="210478" y="275751"/>
                    <a:pt x="210478" y="259433"/>
                  </a:cubicBezTo>
                  <a:cubicBezTo>
                    <a:pt x="210478" y="243115"/>
                    <a:pt x="210478" y="226797"/>
                    <a:pt x="210478" y="213199"/>
                  </a:cubicBezTo>
                  <a:cubicBezTo>
                    <a:pt x="210478" y="194161"/>
                    <a:pt x="210478" y="164245"/>
                    <a:pt x="210478" y="145207"/>
                  </a:cubicBezTo>
                  <a:cubicBezTo>
                    <a:pt x="210478" y="139768"/>
                    <a:pt x="213198" y="134329"/>
                    <a:pt x="213198" y="131609"/>
                  </a:cubicBezTo>
                  <a:cubicBezTo>
                    <a:pt x="213198" y="126170"/>
                    <a:pt x="207759" y="123450"/>
                    <a:pt x="205040" y="123450"/>
                  </a:cubicBezTo>
                  <a:cubicBezTo>
                    <a:pt x="199600" y="123450"/>
                    <a:pt x="166965" y="123450"/>
                    <a:pt x="161525" y="123450"/>
                  </a:cubicBezTo>
                  <a:cubicBezTo>
                    <a:pt x="145207" y="123450"/>
                    <a:pt x="128889" y="123450"/>
                    <a:pt x="112571" y="120730"/>
                  </a:cubicBezTo>
                  <a:cubicBezTo>
                    <a:pt x="109852" y="120730"/>
                    <a:pt x="107132" y="120730"/>
                    <a:pt x="104412" y="118011"/>
                  </a:cubicBezTo>
                  <a:cubicBezTo>
                    <a:pt x="107132" y="137048"/>
                    <a:pt x="107132" y="172404"/>
                    <a:pt x="107132" y="191441"/>
                  </a:cubicBezTo>
                  <a:cubicBezTo>
                    <a:pt x="107132" y="202320"/>
                    <a:pt x="107132" y="224077"/>
                    <a:pt x="90814" y="224077"/>
                  </a:cubicBezTo>
                  <a:cubicBezTo>
                    <a:pt x="82655" y="224077"/>
                    <a:pt x="79935" y="221357"/>
                    <a:pt x="74496" y="218638"/>
                  </a:cubicBezTo>
                  <a:cubicBezTo>
                    <a:pt x="69057" y="215918"/>
                    <a:pt x="66337" y="210479"/>
                    <a:pt x="66337" y="205040"/>
                  </a:cubicBezTo>
                  <a:cubicBezTo>
                    <a:pt x="63617" y="196881"/>
                    <a:pt x="63617" y="191441"/>
                    <a:pt x="63617" y="186002"/>
                  </a:cubicBezTo>
                  <a:cubicBezTo>
                    <a:pt x="63617" y="180563"/>
                    <a:pt x="63617" y="153366"/>
                    <a:pt x="63617" y="145207"/>
                  </a:cubicBezTo>
                  <a:cubicBezTo>
                    <a:pt x="63617" y="134329"/>
                    <a:pt x="63617" y="120730"/>
                    <a:pt x="63617" y="109852"/>
                  </a:cubicBezTo>
                  <a:cubicBezTo>
                    <a:pt x="60897" y="104412"/>
                    <a:pt x="58178" y="101693"/>
                    <a:pt x="58178" y="96253"/>
                  </a:cubicBezTo>
                  <a:cubicBezTo>
                    <a:pt x="58178" y="93534"/>
                    <a:pt x="60897" y="88095"/>
                    <a:pt x="66337" y="85375"/>
                  </a:cubicBezTo>
                  <a:cubicBezTo>
                    <a:pt x="74496" y="79936"/>
                    <a:pt x="77215" y="77216"/>
                    <a:pt x="93533" y="77216"/>
                  </a:cubicBezTo>
                  <a:cubicBezTo>
                    <a:pt x="101692" y="77216"/>
                    <a:pt x="109852" y="77216"/>
                    <a:pt x="115290" y="77216"/>
                  </a:cubicBezTo>
                  <a:cubicBezTo>
                    <a:pt x="134328" y="77216"/>
                    <a:pt x="150646" y="77216"/>
                    <a:pt x="169684" y="74496"/>
                  </a:cubicBezTo>
                  <a:cubicBezTo>
                    <a:pt x="177843" y="74496"/>
                    <a:pt x="186002" y="71776"/>
                    <a:pt x="194161" y="71776"/>
                  </a:cubicBezTo>
                  <a:cubicBezTo>
                    <a:pt x="194161" y="71776"/>
                    <a:pt x="196880" y="71776"/>
                    <a:pt x="196880" y="71776"/>
                  </a:cubicBezTo>
                  <a:cubicBezTo>
                    <a:pt x="199600" y="71776"/>
                    <a:pt x="205040" y="71776"/>
                    <a:pt x="210478" y="71776"/>
                  </a:cubicBezTo>
                  <a:cubicBezTo>
                    <a:pt x="213198" y="71776"/>
                    <a:pt x="215918" y="71776"/>
                    <a:pt x="218638" y="71776"/>
                  </a:cubicBezTo>
                  <a:cubicBezTo>
                    <a:pt x="224077" y="69057"/>
                    <a:pt x="229516" y="63618"/>
                    <a:pt x="237675" y="60898"/>
                  </a:cubicBezTo>
                  <a:cubicBezTo>
                    <a:pt x="243115" y="58178"/>
                    <a:pt x="248554" y="58178"/>
                    <a:pt x="253993" y="58178"/>
                  </a:cubicBezTo>
                  <a:cubicBezTo>
                    <a:pt x="264872" y="58178"/>
                    <a:pt x="273031" y="58178"/>
                    <a:pt x="283910" y="60898"/>
                  </a:cubicBezTo>
                  <a:cubicBezTo>
                    <a:pt x="286629" y="60898"/>
                    <a:pt x="292068" y="63618"/>
                    <a:pt x="294788" y="66337"/>
                  </a:cubicBezTo>
                  <a:cubicBezTo>
                    <a:pt x="297508" y="69057"/>
                    <a:pt x="302948" y="71776"/>
                    <a:pt x="305667" y="74496"/>
                  </a:cubicBezTo>
                  <a:cubicBezTo>
                    <a:pt x="308386" y="74496"/>
                    <a:pt x="311106" y="74496"/>
                    <a:pt x="313826" y="74496"/>
                  </a:cubicBezTo>
                  <a:cubicBezTo>
                    <a:pt x="319265" y="74496"/>
                    <a:pt x="321985" y="74496"/>
                    <a:pt x="327424" y="74496"/>
                  </a:cubicBezTo>
                  <a:cubicBezTo>
                    <a:pt x="335583" y="74496"/>
                    <a:pt x="346461" y="74496"/>
                    <a:pt x="354621" y="74496"/>
                  </a:cubicBezTo>
                  <a:cubicBezTo>
                    <a:pt x="376378" y="74496"/>
                    <a:pt x="400855" y="74496"/>
                    <a:pt x="422612" y="74496"/>
                  </a:cubicBezTo>
                  <a:cubicBezTo>
                    <a:pt x="433491" y="74496"/>
                    <a:pt x="447089" y="74496"/>
                    <a:pt x="455248" y="79936"/>
                  </a:cubicBezTo>
                  <a:cubicBezTo>
                    <a:pt x="460687" y="82655"/>
                    <a:pt x="466127" y="90814"/>
                    <a:pt x="466127" y="98973"/>
                  </a:cubicBezTo>
                  <a:cubicBezTo>
                    <a:pt x="466127" y="101693"/>
                    <a:pt x="466127" y="107132"/>
                    <a:pt x="463407" y="109852"/>
                  </a:cubicBezTo>
                  <a:cubicBezTo>
                    <a:pt x="463407" y="112571"/>
                    <a:pt x="463407" y="112571"/>
                    <a:pt x="463407" y="120730"/>
                  </a:cubicBezTo>
                  <a:cubicBezTo>
                    <a:pt x="463407" y="142488"/>
                    <a:pt x="463407" y="172404"/>
                    <a:pt x="463407" y="194161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/>
            </a:p>
          </p:txBody>
        </p:sp>
      </p:grpSp>
      <p:sp>
        <p:nvSpPr>
          <p:cNvPr id="60" name="Content Placeholder 59">
            <a:extLst>
              <a:ext uri="{FF2B5EF4-FFF2-40B4-BE49-F238E27FC236}">
                <a16:creationId xmlns:a16="http://schemas.microsoft.com/office/drawing/2014/main" id="{8EFE1F84-4849-448C-8C35-33EC553AD838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7185025" y="1981200"/>
            <a:ext cx="4625975" cy="29083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t>Click to add text or choose an icon below to insert other content</a:t>
            </a:r>
          </a:p>
          <a:p>
            <a:pPr lvl="1"/>
            <a:r>
              <a:t>Second level</a:t>
            </a:r>
          </a:p>
          <a:p>
            <a:pPr lvl="2"/>
            <a:r>
              <a:t>Third level</a:t>
            </a:r>
          </a:p>
          <a:p>
            <a:pPr lvl="3"/>
            <a:r>
              <a:t>Fourth level</a:t>
            </a:r>
          </a:p>
          <a:p>
            <a:pPr lvl="4"/>
            <a:r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7313600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ull Picture with Squar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: Shape 6">
            <a:extLst>
              <a:ext uri="{FF2B5EF4-FFF2-40B4-BE49-F238E27FC236}">
                <a16:creationId xmlns:a16="http://schemas.microsoft.com/office/drawing/2014/main" id="{B66CA63B-C1B1-43E5-8904-2600EAA42658}"/>
              </a:ext>
            </a:extLst>
          </p:cNvPr>
          <p:cNvSpPr/>
          <p:nvPr/>
        </p:nvSpPr>
        <p:spPr bwMode="ltGray">
          <a:xfrm>
            <a:off x="10442039" y="5952152"/>
            <a:ext cx="1626142" cy="905848"/>
          </a:xfrm>
          <a:custGeom>
            <a:avLst/>
            <a:gdLst>
              <a:gd name="connsiteX0" fmla="*/ 838774 w 1585477"/>
              <a:gd name="connsiteY0" fmla="*/ 14 h 883197"/>
              <a:gd name="connsiteX1" fmla="*/ 996107 w 1585477"/>
              <a:gd name="connsiteY1" fmla="*/ 18377 h 883197"/>
              <a:gd name="connsiteX2" fmla="*/ 1585477 w 1585477"/>
              <a:gd name="connsiteY2" fmla="*/ 746145 h 883197"/>
              <a:gd name="connsiteX3" fmla="*/ 1585202 w 1585477"/>
              <a:gd name="connsiteY3" fmla="*/ 883197 h 883197"/>
              <a:gd name="connsiteX4" fmla="*/ 695 w 1585477"/>
              <a:gd name="connsiteY4" fmla="*/ 883197 h 883197"/>
              <a:gd name="connsiteX5" fmla="*/ 294 w 1585477"/>
              <a:gd name="connsiteY5" fmla="*/ 879328 h 883197"/>
              <a:gd name="connsiteX6" fmla="*/ 20167 w 1585477"/>
              <a:gd name="connsiteY6" fmla="*/ 648487 h 883197"/>
              <a:gd name="connsiteX7" fmla="*/ 838774 w 1585477"/>
              <a:gd name="connsiteY7" fmla="*/ 14 h 8831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585477" h="883197">
                <a:moveTo>
                  <a:pt x="838774" y="14"/>
                </a:moveTo>
                <a:cubicBezTo>
                  <a:pt x="891699" y="335"/>
                  <a:pt x="944452" y="6288"/>
                  <a:pt x="996107" y="18377"/>
                </a:cubicBezTo>
                <a:cubicBezTo>
                  <a:pt x="1344865" y="100437"/>
                  <a:pt x="1558993" y="409128"/>
                  <a:pt x="1585477" y="746145"/>
                </a:cubicBezTo>
                <a:lnTo>
                  <a:pt x="1585202" y="883197"/>
                </a:lnTo>
                <a:lnTo>
                  <a:pt x="695" y="883197"/>
                </a:lnTo>
                <a:lnTo>
                  <a:pt x="294" y="879328"/>
                </a:lnTo>
                <a:cubicBezTo>
                  <a:pt x="-1813" y="797038"/>
                  <a:pt x="7712" y="718092"/>
                  <a:pt x="20167" y="648487"/>
                </a:cubicBezTo>
                <a:cubicBezTo>
                  <a:pt x="89408" y="271519"/>
                  <a:pt x="468297" y="-2229"/>
                  <a:pt x="838774" y="14"/>
                </a:cubicBezTo>
                <a:close/>
              </a:path>
            </a:pathLst>
          </a:custGeom>
          <a:solidFill>
            <a:srgbClr val="4F2170"/>
          </a:solidFill>
          <a:ln w="9525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>
              <a:lnSpc>
                <a:spcPct val="90000"/>
              </a:lnSpc>
            </a:pPr>
            <a:endParaRPr dirty="0">
              <a:solidFill>
                <a:schemeClr val="bg1"/>
              </a:solidFill>
            </a:endParaRPr>
          </a:p>
        </p:txBody>
      </p:sp>
      <p:sp>
        <p:nvSpPr>
          <p:cNvPr id="57" name="Picture Placeholder 56">
            <a:extLst>
              <a:ext uri="{FF2B5EF4-FFF2-40B4-BE49-F238E27FC236}">
                <a16:creationId xmlns:a16="http://schemas.microsoft.com/office/drawing/2014/main" id="{1992DD06-529E-413D-A391-D73017C8142F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11568889 w 12192000"/>
              <a:gd name="connsiteY0" fmla="*/ 372706 h 6858000"/>
              <a:gd name="connsiteX1" fmla="*/ 10371380 w 12192000"/>
              <a:gd name="connsiteY1" fmla="*/ 401205 h 6858000"/>
              <a:gd name="connsiteX2" fmla="*/ 8894854 w 12192000"/>
              <a:gd name="connsiteY2" fmla="*/ 410711 h 6858000"/>
              <a:gd name="connsiteX3" fmla="*/ 6395207 w 12192000"/>
              <a:gd name="connsiteY3" fmla="*/ 439209 h 6858000"/>
              <a:gd name="connsiteX4" fmla="*/ 6348702 w 12192000"/>
              <a:gd name="connsiteY4" fmla="*/ 781250 h 6858000"/>
              <a:gd name="connsiteX5" fmla="*/ 6337082 w 12192000"/>
              <a:gd name="connsiteY5" fmla="*/ 1018784 h 6858000"/>
              <a:gd name="connsiteX6" fmla="*/ 6313829 w 12192000"/>
              <a:gd name="connsiteY6" fmla="*/ 1759872 h 6858000"/>
              <a:gd name="connsiteX7" fmla="*/ 6337082 w 12192000"/>
              <a:gd name="connsiteY7" fmla="*/ 2234929 h 6858000"/>
              <a:gd name="connsiteX8" fmla="*/ 6360334 w 12192000"/>
              <a:gd name="connsiteY8" fmla="*/ 3660100 h 6858000"/>
              <a:gd name="connsiteX9" fmla="*/ 6406839 w 12192000"/>
              <a:gd name="connsiteY9" fmla="*/ 4610214 h 6858000"/>
              <a:gd name="connsiteX10" fmla="*/ 6871889 w 12192000"/>
              <a:gd name="connsiteY10" fmla="*/ 4819239 h 6858000"/>
              <a:gd name="connsiteX11" fmla="*/ 7453200 w 12192000"/>
              <a:gd name="connsiteY11" fmla="*/ 4866740 h 6858000"/>
              <a:gd name="connsiteX12" fmla="*/ 10592284 w 12192000"/>
              <a:gd name="connsiteY12" fmla="*/ 4904744 h 6858000"/>
              <a:gd name="connsiteX13" fmla="*/ 11010830 w 12192000"/>
              <a:gd name="connsiteY13" fmla="*/ 4857244 h 6858000"/>
              <a:gd name="connsiteX14" fmla="*/ 11417742 w 12192000"/>
              <a:gd name="connsiteY14" fmla="*/ 4847738 h 6858000"/>
              <a:gd name="connsiteX15" fmla="*/ 11813034 w 12192000"/>
              <a:gd name="connsiteY15" fmla="*/ 4695719 h 6858000"/>
              <a:gd name="connsiteX16" fmla="*/ 11847918 w 12192000"/>
              <a:gd name="connsiteY16" fmla="*/ 3869125 h 6858000"/>
              <a:gd name="connsiteX17" fmla="*/ 11847918 w 12192000"/>
              <a:gd name="connsiteY17" fmla="*/ 3204046 h 6858000"/>
              <a:gd name="connsiteX18" fmla="*/ 11836286 w 12192000"/>
              <a:gd name="connsiteY18" fmla="*/ 2244426 h 6858000"/>
              <a:gd name="connsiteX19" fmla="*/ 11824666 w 12192000"/>
              <a:gd name="connsiteY19" fmla="*/ 971273 h 6858000"/>
              <a:gd name="connsiteX20" fmla="*/ 11568889 w 12192000"/>
              <a:gd name="connsiteY20" fmla="*/ 372706 h 6858000"/>
              <a:gd name="connsiteX21" fmla="*/ 0 w 12192000"/>
              <a:gd name="connsiteY21" fmla="*/ 0 h 6858000"/>
              <a:gd name="connsiteX22" fmla="*/ 12192000 w 12192000"/>
              <a:gd name="connsiteY22" fmla="*/ 0 h 6858000"/>
              <a:gd name="connsiteX23" fmla="*/ 12192000 w 12192000"/>
              <a:gd name="connsiteY23" fmla="*/ 6858000 h 6858000"/>
              <a:gd name="connsiteX24" fmla="*/ 12047573 w 12192000"/>
              <a:gd name="connsiteY24" fmla="*/ 6858000 h 6858000"/>
              <a:gd name="connsiteX25" fmla="*/ 12047848 w 12192000"/>
              <a:gd name="connsiteY25" fmla="*/ 6720949 h 6858000"/>
              <a:gd name="connsiteX26" fmla="*/ 11458478 w 12192000"/>
              <a:gd name="connsiteY26" fmla="*/ 5993181 h 6858000"/>
              <a:gd name="connsiteX27" fmla="*/ 11301145 w 12192000"/>
              <a:gd name="connsiteY27" fmla="*/ 5974818 h 6858000"/>
              <a:gd name="connsiteX28" fmla="*/ 10482538 w 12192000"/>
              <a:gd name="connsiteY28" fmla="*/ 6623291 h 6858000"/>
              <a:gd name="connsiteX29" fmla="*/ 10462665 w 12192000"/>
              <a:gd name="connsiteY29" fmla="*/ 6854132 h 6858000"/>
              <a:gd name="connsiteX30" fmla="*/ 10463066 w 12192000"/>
              <a:gd name="connsiteY30" fmla="*/ 6858000 h 6858000"/>
              <a:gd name="connsiteX31" fmla="*/ 0 w 12192000"/>
              <a:gd name="connsiteY31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</a:cxnLst>
            <a:rect l="l" t="t" r="r" b="b"/>
            <a:pathLst>
              <a:path w="12192000" h="6858000">
                <a:moveTo>
                  <a:pt x="11568889" y="372706"/>
                </a:moveTo>
                <a:cubicBezTo>
                  <a:pt x="11429374" y="372706"/>
                  <a:pt x="10510895" y="410711"/>
                  <a:pt x="10371380" y="401205"/>
                </a:cubicBezTo>
                <a:cubicBezTo>
                  <a:pt x="9929583" y="391708"/>
                  <a:pt x="9348271" y="410711"/>
                  <a:pt x="8894854" y="410711"/>
                </a:cubicBezTo>
                <a:cubicBezTo>
                  <a:pt x="7999628" y="410711"/>
                  <a:pt x="7150918" y="353704"/>
                  <a:pt x="6395207" y="439209"/>
                </a:cubicBezTo>
                <a:cubicBezTo>
                  <a:pt x="6371954" y="458211"/>
                  <a:pt x="6348702" y="724243"/>
                  <a:pt x="6348702" y="781250"/>
                </a:cubicBezTo>
                <a:cubicBezTo>
                  <a:pt x="6348702" y="933268"/>
                  <a:pt x="6348702" y="923772"/>
                  <a:pt x="6337082" y="1018784"/>
                </a:cubicBezTo>
                <a:cubicBezTo>
                  <a:pt x="6278944" y="1294312"/>
                  <a:pt x="6371954" y="1493841"/>
                  <a:pt x="6313829" y="1759872"/>
                </a:cubicBezTo>
                <a:lnTo>
                  <a:pt x="6337082" y="2234929"/>
                </a:lnTo>
                <a:cubicBezTo>
                  <a:pt x="6337082" y="2824000"/>
                  <a:pt x="6337082" y="3166041"/>
                  <a:pt x="6360334" y="3660100"/>
                </a:cubicBezTo>
                <a:cubicBezTo>
                  <a:pt x="6371954" y="3878621"/>
                  <a:pt x="6337082" y="4439194"/>
                  <a:pt x="6406839" y="4610214"/>
                </a:cubicBezTo>
                <a:cubicBezTo>
                  <a:pt x="6488217" y="4819239"/>
                  <a:pt x="6616111" y="4781235"/>
                  <a:pt x="6871889" y="4819239"/>
                </a:cubicBezTo>
                <a:cubicBezTo>
                  <a:pt x="7150918" y="4866740"/>
                  <a:pt x="7325306" y="4866740"/>
                  <a:pt x="7453200" y="4866740"/>
                </a:cubicBezTo>
                <a:cubicBezTo>
                  <a:pt x="8825096" y="4876246"/>
                  <a:pt x="9406408" y="4933253"/>
                  <a:pt x="10592284" y="4904744"/>
                </a:cubicBezTo>
                <a:cubicBezTo>
                  <a:pt x="10708547" y="4904744"/>
                  <a:pt x="10906187" y="4876246"/>
                  <a:pt x="11010830" y="4857244"/>
                </a:cubicBezTo>
                <a:cubicBezTo>
                  <a:pt x="11150344" y="4838242"/>
                  <a:pt x="11324732" y="4857244"/>
                  <a:pt x="11417742" y="4847738"/>
                </a:cubicBezTo>
                <a:cubicBezTo>
                  <a:pt x="11580509" y="4828735"/>
                  <a:pt x="11789781" y="4809733"/>
                  <a:pt x="11813034" y="4695719"/>
                </a:cubicBezTo>
                <a:cubicBezTo>
                  <a:pt x="11859538" y="4410685"/>
                  <a:pt x="11836286" y="4087646"/>
                  <a:pt x="11847918" y="3869125"/>
                </a:cubicBezTo>
                <a:cubicBezTo>
                  <a:pt x="11859538" y="3650594"/>
                  <a:pt x="11836286" y="3422567"/>
                  <a:pt x="11847918" y="3204046"/>
                </a:cubicBezTo>
                <a:cubicBezTo>
                  <a:pt x="11859538" y="2890503"/>
                  <a:pt x="11824666" y="2557968"/>
                  <a:pt x="11836286" y="2244426"/>
                </a:cubicBezTo>
                <a:cubicBezTo>
                  <a:pt x="11859538" y="1816879"/>
                  <a:pt x="11813034" y="1398829"/>
                  <a:pt x="11824666" y="971273"/>
                </a:cubicBezTo>
                <a:cubicBezTo>
                  <a:pt x="11824666" y="676743"/>
                  <a:pt x="11871171" y="372706"/>
                  <a:pt x="11568889" y="372706"/>
                </a:cubicBez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12047573" y="6858000"/>
                </a:lnTo>
                <a:lnTo>
                  <a:pt x="12047848" y="6720949"/>
                </a:lnTo>
                <a:cubicBezTo>
                  <a:pt x="12021364" y="6383932"/>
                  <a:pt x="11807236" y="6075241"/>
                  <a:pt x="11458478" y="5993181"/>
                </a:cubicBezTo>
                <a:cubicBezTo>
                  <a:pt x="11406823" y="5981092"/>
                  <a:pt x="11354070" y="5975139"/>
                  <a:pt x="11301145" y="5974818"/>
                </a:cubicBezTo>
                <a:cubicBezTo>
                  <a:pt x="10930668" y="5972575"/>
                  <a:pt x="10551779" y="6246323"/>
                  <a:pt x="10482538" y="6623291"/>
                </a:cubicBezTo>
                <a:cubicBezTo>
                  <a:pt x="10470083" y="6692896"/>
                  <a:pt x="10460558" y="6771842"/>
                  <a:pt x="10462665" y="6854132"/>
                </a:cubicBezTo>
                <a:lnTo>
                  <a:pt x="10463066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D9D9D9"/>
          </a:solidFill>
        </p:spPr>
        <p:txBody>
          <a:bodyPr wrap="square" lIns="0" rIns="3474720" anchor="ctr" anchorCtr="0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Arial" panose="020B0604020202020204" pitchFamily="34" charset="0"/>
              <a:buNone/>
              <a:tabLst/>
              <a:defRPr sz="16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dirty="0"/>
              <a:t>Click icon to insert picture</a:t>
            </a:r>
            <a:br>
              <a:rPr dirty="0"/>
            </a:br>
            <a:r>
              <a:rPr dirty="0"/>
              <a:t>(minimum recommended size for </a:t>
            </a:r>
            <a:br>
              <a:rPr dirty="0"/>
            </a:br>
            <a:r>
              <a:rPr dirty="0"/>
              <a:t>full slide image is 1280 x 720 pixels)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054D87F-D170-4CA6-B8DB-A068AAB2EE6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38914" y="656717"/>
            <a:ext cx="5065253" cy="9398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DBB3B4C9-10AF-4C1C-BD4C-19B5526DA837}"/>
              </a:ext>
            </a:extLst>
          </p:cNvPr>
          <p:cNvGrpSpPr>
            <a:grpSpLocks noChangeAspect="1"/>
          </p:cNvGrpSpPr>
          <p:nvPr/>
        </p:nvGrpSpPr>
        <p:grpSpPr>
          <a:xfrm>
            <a:off x="10676779" y="6205751"/>
            <a:ext cx="1143000" cy="440144"/>
            <a:chOff x="2078951" y="1888610"/>
            <a:chExt cx="8030200" cy="3092248"/>
          </a:xfrm>
          <a:solidFill>
            <a:srgbClr val="FFFFFF"/>
          </a:solidFill>
        </p:grpSpPr>
        <p:sp>
          <p:nvSpPr>
            <p:cNvPr id="9" name="Freeform: Shape 8">
              <a:extLst>
                <a:ext uri="{FF2B5EF4-FFF2-40B4-BE49-F238E27FC236}">
                  <a16:creationId xmlns:a16="http://schemas.microsoft.com/office/drawing/2014/main" id="{2AA55965-C91C-46A8-84D3-9426B2920951}"/>
                </a:ext>
              </a:extLst>
            </p:cNvPr>
            <p:cNvSpPr/>
            <p:nvPr/>
          </p:nvSpPr>
          <p:spPr>
            <a:xfrm>
              <a:off x="2078951" y="2872694"/>
              <a:ext cx="951880" cy="652717"/>
            </a:xfrm>
            <a:custGeom>
              <a:avLst/>
              <a:gdLst>
                <a:gd name="connsiteX0" fmla="*/ 903041 w 951880"/>
                <a:gd name="connsiteY0" fmla="*/ 330574 h 652717"/>
                <a:gd name="connsiteX1" fmla="*/ 780656 w 951880"/>
                <a:gd name="connsiteY1" fmla="*/ 379528 h 652717"/>
                <a:gd name="connsiteX2" fmla="*/ 598439 w 951880"/>
                <a:gd name="connsiteY2" fmla="*/ 311537 h 652717"/>
                <a:gd name="connsiteX3" fmla="*/ 505970 w 951880"/>
                <a:gd name="connsiteY3" fmla="*/ 164675 h 652717"/>
                <a:gd name="connsiteX4" fmla="*/ 266640 w 951880"/>
                <a:gd name="connsiteY4" fmla="*/ 61329 h 652717"/>
                <a:gd name="connsiteX5" fmla="*/ 103461 w 951880"/>
                <a:gd name="connsiteY5" fmla="*/ 458398 h 652717"/>
                <a:gd name="connsiteX6" fmla="*/ 756179 w 951880"/>
                <a:gd name="connsiteY6" fmla="*/ 485595 h 652717"/>
                <a:gd name="connsiteX7" fmla="*/ 903041 w 951880"/>
                <a:gd name="connsiteY7" fmla="*/ 330574 h 6527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51880" h="652717">
                  <a:moveTo>
                    <a:pt x="903041" y="330574"/>
                  </a:moveTo>
                  <a:cubicBezTo>
                    <a:pt x="867685" y="363210"/>
                    <a:pt x="813292" y="374089"/>
                    <a:pt x="780656" y="379528"/>
                  </a:cubicBezTo>
                  <a:cubicBezTo>
                    <a:pt x="712664" y="387687"/>
                    <a:pt x="641953" y="365930"/>
                    <a:pt x="598439" y="311537"/>
                  </a:cubicBezTo>
                  <a:cubicBezTo>
                    <a:pt x="563083" y="268022"/>
                    <a:pt x="544046" y="210910"/>
                    <a:pt x="505970" y="164675"/>
                  </a:cubicBezTo>
                  <a:cubicBezTo>
                    <a:pt x="448858" y="93964"/>
                    <a:pt x="359109" y="45011"/>
                    <a:pt x="266640" y="61329"/>
                  </a:cubicBezTo>
                  <a:cubicBezTo>
                    <a:pt x="81704" y="93964"/>
                    <a:pt x="114" y="308817"/>
                    <a:pt x="103461" y="458398"/>
                  </a:cubicBezTo>
                  <a:cubicBezTo>
                    <a:pt x="253042" y="670531"/>
                    <a:pt x="584840" y="635176"/>
                    <a:pt x="756179" y="485595"/>
                  </a:cubicBezTo>
                  <a:cubicBezTo>
                    <a:pt x="813292" y="442080"/>
                    <a:pt x="862246" y="390407"/>
                    <a:pt x="903041" y="330574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/>
            </a:p>
          </p:txBody>
        </p:sp>
        <p:sp>
          <p:nvSpPr>
            <p:cNvPr id="10" name="Freeform: Shape 9">
              <a:extLst>
                <a:ext uri="{FF2B5EF4-FFF2-40B4-BE49-F238E27FC236}">
                  <a16:creationId xmlns:a16="http://schemas.microsoft.com/office/drawing/2014/main" id="{FA7C3306-5AFD-4197-B039-52B9B3D0AC6E}"/>
                </a:ext>
              </a:extLst>
            </p:cNvPr>
            <p:cNvSpPr/>
            <p:nvPr/>
          </p:nvSpPr>
          <p:spPr>
            <a:xfrm>
              <a:off x="9151831" y="2872694"/>
              <a:ext cx="951880" cy="652717"/>
            </a:xfrm>
            <a:custGeom>
              <a:avLst/>
              <a:gdLst>
                <a:gd name="connsiteX0" fmla="*/ 58178 w 951880"/>
                <a:gd name="connsiteY0" fmla="*/ 330574 h 652717"/>
                <a:gd name="connsiteX1" fmla="*/ 180563 w 951880"/>
                <a:gd name="connsiteY1" fmla="*/ 379528 h 652717"/>
                <a:gd name="connsiteX2" fmla="*/ 362780 w 951880"/>
                <a:gd name="connsiteY2" fmla="*/ 311537 h 652717"/>
                <a:gd name="connsiteX3" fmla="*/ 455249 w 951880"/>
                <a:gd name="connsiteY3" fmla="*/ 164675 h 652717"/>
                <a:gd name="connsiteX4" fmla="*/ 694578 w 951880"/>
                <a:gd name="connsiteY4" fmla="*/ 61329 h 652717"/>
                <a:gd name="connsiteX5" fmla="*/ 857758 w 951880"/>
                <a:gd name="connsiteY5" fmla="*/ 458398 h 652717"/>
                <a:gd name="connsiteX6" fmla="*/ 205040 w 951880"/>
                <a:gd name="connsiteY6" fmla="*/ 485595 h 652717"/>
                <a:gd name="connsiteX7" fmla="*/ 58178 w 951880"/>
                <a:gd name="connsiteY7" fmla="*/ 330574 h 6527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51880" h="652717">
                  <a:moveTo>
                    <a:pt x="58178" y="330574"/>
                  </a:moveTo>
                  <a:cubicBezTo>
                    <a:pt x="96253" y="363210"/>
                    <a:pt x="147927" y="374089"/>
                    <a:pt x="180563" y="379528"/>
                  </a:cubicBezTo>
                  <a:cubicBezTo>
                    <a:pt x="248554" y="387687"/>
                    <a:pt x="319266" y="365930"/>
                    <a:pt x="362780" y="311537"/>
                  </a:cubicBezTo>
                  <a:cubicBezTo>
                    <a:pt x="398136" y="268022"/>
                    <a:pt x="417174" y="210910"/>
                    <a:pt x="455249" y="164675"/>
                  </a:cubicBezTo>
                  <a:cubicBezTo>
                    <a:pt x="512362" y="93964"/>
                    <a:pt x="602110" y="45011"/>
                    <a:pt x="694578" y="61329"/>
                  </a:cubicBezTo>
                  <a:cubicBezTo>
                    <a:pt x="879515" y="93964"/>
                    <a:pt x="961105" y="308817"/>
                    <a:pt x="857758" y="458398"/>
                  </a:cubicBezTo>
                  <a:cubicBezTo>
                    <a:pt x="708176" y="670531"/>
                    <a:pt x="376379" y="635176"/>
                    <a:pt x="205040" y="485595"/>
                  </a:cubicBezTo>
                  <a:cubicBezTo>
                    <a:pt x="150646" y="442080"/>
                    <a:pt x="101693" y="390407"/>
                    <a:pt x="58178" y="330574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/>
            </a:p>
          </p:txBody>
        </p:sp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5C31767F-4ADA-45F2-B354-AEF2579A6A70}"/>
                </a:ext>
              </a:extLst>
            </p:cNvPr>
            <p:cNvSpPr/>
            <p:nvPr/>
          </p:nvSpPr>
          <p:spPr>
            <a:xfrm>
              <a:off x="8001294" y="2010994"/>
              <a:ext cx="734308" cy="299162"/>
            </a:xfrm>
            <a:custGeom>
              <a:avLst/>
              <a:gdLst>
                <a:gd name="connsiteX0" fmla="*/ 596792 w 734307"/>
                <a:gd name="connsiteY0" fmla="*/ 58178 h 299162"/>
                <a:gd name="connsiteX1" fmla="*/ 148048 w 734307"/>
                <a:gd name="connsiteY1" fmla="*/ 58178 h 299162"/>
                <a:gd name="connsiteX2" fmla="*/ 58299 w 734307"/>
                <a:gd name="connsiteY2" fmla="*/ 150646 h 299162"/>
                <a:gd name="connsiteX3" fmla="*/ 148048 w 734307"/>
                <a:gd name="connsiteY3" fmla="*/ 251274 h 299162"/>
                <a:gd name="connsiteX4" fmla="*/ 596792 w 734307"/>
                <a:gd name="connsiteY4" fmla="*/ 251274 h 299162"/>
                <a:gd name="connsiteX5" fmla="*/ 686541 w 734307"/>
                <a:gd name="connsiteY5" fmla="*/ 158805 h 299162"/>
                <a:gd name="connsiteX6" fmla="*/ 596792 w 734307"/>
                <a:gd name="connsiteY6" fmla="*/ 58178 h 2991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34307" h="299162">
                  <a:moveTo>
                    <a:pt x="596792" y="58178"/>
                  </a:moveTo>
                  <a:cubicBezTo>
                    <a:pt x="591353" y="58178"/>
                    <a:pt x="153487" y="58178"/>
                    <a:pt x="148048" y="58178"/>
                  </a:cubicBezTo>
                  <a:cubicBezTo>
                    <a:pt x="99094" y="60898"/>
                    <a:pt x="61019" y="104412"/>
                    <a:pt x="58299" y="150646"/>
                  </a:cubicBezTo>
                  <a:cubicBezTo>
                    <a:pt x="55580" y="199600"/>
                    <a:pt x="99094" y="248554"/>
                    <a:pt x="148048" y="251274"/>
                  </a:cubicBezTo>
                  <a:cubicBezTo>
                    <a:pt x="153487" y="251274"/>
                    <a:pt x="591353" y="251274"/>
                    <a:pt x="596792" y="251274"/>
                  </a:cubicBezTo>
                  <a:cubicBezTo>
                    <a:pt x="645746" y="248554"/>
                    <a:pt x="683821" y="205040"/>
                    <a:pt x="686541" y="158805"/>
                  </a:cubicBezTo>
                  <a:cubicBezTo>
                    <a:pt x="689260" y="109852"/>
                    <a:pt x="648465" y="60898"/>
                    <a:pt x="596792" y="58178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/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CB6DA548-0CD9-4078-B433-D61F10371744}"/>
                </a:ext>
              </a:extLst>
            </p:cNvPr>
            <p:cNvSpPr/>
            <p:nvPr/>
          </p:nvSpPr>
          <p:spPr>
            <a:xfrm>
              <a:off x="4920042" y="2277520"/>
              <a:ext cx="1006274" cy="951879"/>
            </a:xfrm>
            <a:custGeom>
              <a:avLst/>
              <a:gdLst>
                <a:gd name="connsiteX0" fmla="*/ 884954 w 1006273"/>
                <a:gd name="connsiteY0" fmla="*/ 746251 h 951879"/>
                <a:gd name="connsiteX1" fmla="*/ 874076 w 1006273"/>
                <a:gd name="connsiteY1" fmla="*/ 670101 h 951879"/>
                <a:gd name="connsiteX2" fmla="*/ 874076 w 1006273"/>
                <a:gd name="connsiteY2" fmla="*/ 536837 h 951879"/>
                <a:gd name="connsiteX3" fmla="*/ 689139 w 1006273"/>
                <a:gd name="connsiteY3" fmla="*/ 88094 h 951879"/>
                <a:gd name="connsiteX4" fmla="*/ 428052 w 1006273"/>
                <a:gd name="connsiteY4" fmla="*/ 253993 h 951879"/>
                <a:gd name="connsiteX5" fmla="*/ 196881 w 1006273"/>
                <a:gd name="connsiteY5" fmla="*/ 58178 h 951879"/>
                <a:gd name="connsiteX6" fmla="*/ 58178 w 1006273"/>
                <a:gd name="connsiteY6" fmla="*/ 128889 h 951879"/>
                <a:gd name="connsiteX7" fmla="*/ 142488 w 1006273"/>
                <a:gd name="connsiteY7" fmla="*/ 273031 h 951879"/>
                <a:gd name="connsiteX8" fmla="*/ 142488 w 1006273"/>
                <a:gd name="connsiteY8" fmla="*/ 757130 h 951879"/>
                <a:gd name="connsiteX9" fmla="*/ 283910 w 1006273"/>
                <a:gd name="connsiteY9" fmla="*/ 895832 h 951879"/>
                <a:gd name="connsiteX10" fmla="*/ 428052 w 1006273"/>
                <a:gd name="connsiteY10" fmla="*/ 757130 h 951879"/>
                <a:gd name="connsiteX11" fmla="*/ 428052 w 1006273"/>
                <a:gd name="connsiteY11" fmla="*/ 400855 h 951879"/>
                <a:gd name="connsiteX12" fmla="*/ 523240 w 1006273"/>
                <a:gd name="connsiteY12" fmla="*/ 283910 h 951879"/>
                <a:gd name="connsiteX13" fmla="*/ 591231 w 1006273"/>
                <a:gd name="connsiteY13" fmla="*/ 354621 h 951879"/>
                <a:gd name="connsiteX14" fmla="*/ 591231 w 1006273"/>
                <a:gd name="connsiteY14" fmla="*/ 697297 h 951879"/>
                <a:gd name="connsiteX15" fmla="*/ 593951 w 1006273"/>
                <a:gd name="connsiteY15" fmla="*/ 729933 h 951879"/>
                <a:gd name="connsiteX16" fmla="*/ 610269 w 1006273"/>
                <a:gd name="connsiteY16" fmla="*/ 778887 h 951879"/>
                <a:gd name="connsiteX17" fmla="*/ 822402 w 1006273"/>
                <a:gd name="connsiteY17" fmla="*/ 893112 h 951879"/>
                <a:gd name="connsiteX18" fmla="*/ 961105 w 1006273"/>
                <a:gd name="connsiteY18" fmla="*/ 822401 h 951879"/>
                <a:gd name="connsiteX19" fmla="*/ 884954 w 1006273"/>
                <a:gd name="connsiteY19" fmla="*/ 746251 h 9518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006273" h="951879">
                  <a:moveTo>
                    <a:pt x="884954" y="746251"/>
                  </a:moveTo>
                  <a:cubicBezTo>
                    <a:pt x="879515" y="721774"/>
                    <a:pt x="876795" y="694578"/>
                    <a:pt x="874076" y="670101"/>
                  </a:cubicBezTo>
                  <a:cubicBezTo>
                    <a:pt x="874076" y="634745"/>
                    <a:pt x="874076" y="583072"/>
                    <a:pt x="874076" y="536837"/>
                  </a:cubicBezTo>
                  <a:cubicBezTo>
                    <a:pt x="879515" y="373658"/>
                    <a:pt x="909431" y="88094"/>
                    <a:pt x="689139" y="88094"/>
                  </a:cubicBezTo>
                  <a:cubicBezTo>
                    <a:pt x="539558" y="88094"/>
                    <a:pt x="452529" y="213199"/>
                    <a:pt x="428052" y="253993"/>
                  </a:cubicBezTo>
                  <a:cubicBezTo>
                    <a:pt x="425332" y="139768"/>
                    <a:pt x="335583" y="58178"/>
                    <a:pt x="196881" y="58178"/>
                  </a:cubicBezTo>
                  <a:cubicBezTo>
                    <a:pt x="109852" y="58178"/>
                    <a:pt x="58178" y="128889"/>
                    <a:pt x="58178" y="128889"/>
                  </a:cubicBezTo>
                  <a:cubicBezTo>
                    <a:pt x="58178" y="128889"/>
                    <a:pt x="142488" y="158805"/>
                    <a:pt x="142488" y="273031"/>
                  </a:cubicBezTo>
                  <a:cubicBezTo>
                    <a:pt x="142488" y="354621"/>
                    <a:pt x="142488" y="757130"/>
                    <a:pt x="142488" y="757130"/>
                  </a:cubicBezTo>
                  <a:cubicBezTo>
                    <a:pt x="145207" y="827841"/>
                    <a:pt x="194161" y="895832"/>
                    <a:pt x="283910" y="895832"/>
                  </a:cubicBezTo>
                  <a:cubicBezTo>
                    <a:pt x="373659" y="895832"/>
                    <a:pt x="428052" y="827841"/>
                    <a:pt x="428052" y="757130"/>
                  </a:cubicBezTo>
                  <a:lnTo>
                    <a:pt x="428052" y="400855"/>
                  </a:lnTo>
                  <a:cubicBezTo>
                    <a:pt x="441650" y="343742"/>
                    <a:pt x="474286" y="283910"/>
                    <a:pt x="523240" y="283910"/>
                  </a:cubicBezTo>
                  <a:cubicBezTo>
                    <a:pt x="585792" y="283910"/>
                    <a:pt x="591231" y="354621"/>
                    <a:pt x="591231" y="354621"/>
                  </a:cubicBezTo>
                  <a:lnTo>
                    <a:pt x="591231" y="697297"/>
                  </a:lnTo>
                  <a:cubicBezTo>
                    <a:pt x="591231" y="708176"/>
                    <a:pt x="593951" y="719054"/>
                    <a:pt x="593951" y="729933"/>
                  </a:cubicBezTo>
                  <a:cubicBezTo>
                    <a:pt x="596671" y="748971"/>
                    <a:pt x="602110" y="765289"/>
                    <a:pt x="610269" y="778887"/>
                  </a:cubicBezTo>
                  <a:cubicBezTo>
                    <a:pt x="645624" y="846878"/>
                    <a:pt x="719055" y="893112"/>
                    <a:pt x="822402" y="893112"/>
                  </a:cubicBezTo>
                  <a:cubicBezTo>
                    <a:pt x="909431" y="893112"/>
                    <a:pt x="961105" y="822401"/>
                    <a:pt x="961105" y="822401"/>
                  </a:cubicBezTo>
                  <a:cubicBezTo>
                    <a:pt x="961105" y="822401"/>
                    <a:pt x="909431" y="808803"/>
                    <a:pt x="884954" y="746251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8D688978-BCBB-42C3-8877-14A7C1EF64F9}"/>
                </a:ext>
              </a:extLst>
            </p:cNvPr>
            <p:cNvSpPr/>
            <p:nvPr/>
          </p:nvSpPr>
          <p:spPr>
            <a:xfrm>
              <a:off x="7552331" y="1888610"/>
              <a:ext cx="489539" cy="1332631"/>
            </a:xfrm>
            <a:custGeom>
              <a:avLst/>
              <a:gdLst>
                <a:gd name="connsiteX0" fmla="*/ 368560 w 489538"/>
                <a:gd name="connsiteY0" fmla="*/ 1135162 h 1332630"/>
                <a:gd name="connsiteX1" fmla="*/ 357681 w 489538"/>
                <a:gd name="connsiteY1" fmla="*/ 1059011 h 1332630"/>
                <a:gd name="connsiteX2" fmla="*/ 357681 w 489538"/>
                <a:gd name="connsiteY2" fmla="*/ 207759 h 1332630"/>
                <a:gd name="connsiteX3" fmla="*/ 208099 w 489538"/>
                <a:gd name="connsiteY3" fmla="*/ 58178 h 1332630"/>
                <a:gd name="connsiteX4" fmla="*/ 58518 w 489538"/>
                <a:gd name="connsiteY4" fmla="*/ 207759 h 1332630"/>
                <a:gd name="connsiteX5" fmla="*/ 58518 w 489538"/>
                <a:gd name="connsiteY5" fmla="*/ 961104 h 1332630"/>
                <a:gd name="connsiteX6" fmla="*/ 85715 w 489538"/>
                <a:gd name="connsiteY6" fmla="*/ 1159639 h 1332630"/>
                <a:gd name="connsiteX7" fmla="*/ 306007 w 489538"/>
                <a:gd name="connsiteY7" fmla="*/ 1282023 h 1332630"/>
                <a:gd name="connsiteX8" fmla="*/ 444710 w 489538"/>
                <a:gd name="connsiteY8" fmla="*/ 1211312 h 1332630"/>
                <a:gd name="connsiteX9" fmla="*/ 368560 w 489538"/>
                <a:gd name="connsiteY9" fmla="*/ 1135162 h 13326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89538" h="1332630">
                  <a:moveTo>
                    <a:pt x="368560" y="1135162"/>
                  </a:moveTo>
                  <a:cubicBezTo>
                    <a:pt x="363120" y="1110685"/>
                    <a:pt x="357681" y="1083488"/>
                    <a:pt x="357681" y="1059011"/>
                  </a:cubicBezTo>
                  <a:lnTo>
                    <a:pt x="357681" y="207759"/>
                  </a:lnTo>
                  <a:cubicBezTo>
                    <a:pt x="357681" y="126170"/>
                    <a:pt x="289689" y="58178"/>
                    <a:pt x="208099" y="58178"/>
                  </a:cubicBezTo>
                  <a:cubicBezTo>
                    <a:pt x="126510" y="58178"/>
                    <a:pt x="58518" y="126170"/>
                    <a:pt x="58518" y="207759"/>
                  </a:cubicBezTo>
                  <a:lnTo>
                    <a:pt x="58518" y="961104"/>
                  </a:lnTo>
                  <a:cubicBezTo>
                    <a:pt x="58518" y="1029095"/>
                    <a:pt x="53079" y="1097086"/>
                    <a:pt x="85715" y="1159639"/>
                  </a:cubicBezTo>
                  <a:cubicBezTo>
                    <a:pt x="118351" y="1227630"/>
                    <a:pt x="202660" y="1282023"/>
                    <a:pt x="306007" y="1282023"/>
                  </a:cubicBezTo>
                  <a:cubicBezTo>
                    <a:pt x="393036" y="1282023"/>
                    <a:pt x="444710" y="1211312"/>
                    <a:pt x="444710" y="1211312"/>
                  </a:cubicBezTo>
                  <a:cubicBezTo>
                    <a:pt x="444710" y="1211312"/>
                    <a:pt x="393036" y="1197714"/>
                    <a:pt x="368560" y="1135162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D3EAD6C8-DC12-4BCC-8993-9CD4B9FF1B4B}"/>
                </a:ext>
              </a:extLst>
            </p:cNvPr>
            <p:cNvSpPr/>
            <p:nvPr/>
          </p:nvSpPr>
          <p:spPr>
            <a:xfrm>
              <a:off x="4162324" y="2357456"/>
              <a:ext cx="815899" cy="815898"/>
            </a:xfrm>
            <a:custGeom>
              <a:avLst/>
              <a:gdLst>
                <a:gd name="connsiteX0" fmla="*/ 407949 w 815899"/>
                <a:gd name="connsiteY0" fmla="*/ 174058 h 815898"/>
                <a:gd name="connsiteX1" fmla="*/ 293723 w 815899"/>
                <a:gd name="connsiteY1" fmla="*/ 407950 h 815898"/>
                <a:gd name="connsiteX2" fmla="*/ 410669 w 815899"/>
                <a:gd name="connsiteY2" fmla="*/ 641840 h 815898"/>
                <a:gd name="connsiteX3" fmla="*/ 522175 w 815899"/>
                <a:gd name="connsiteY3" fmla="*/ 407950 h 815898"/>
                <a:gd name="connsiteX4" fmla="*/ 407949 w 815899"/>
                <a:gd name="connsiteY4" fmla="*/ 174058 h 815898"/>
                <a:gd name="connsiteX5" fmla="*/ 407950 w 815899"/>
                <a:gd name="connsiteY5" fmla="*/ 0 h 815898"/>
                <a:gd name="connsiteX6" fmla="*/ 815899 w 815899"/>
                <a:gd name="connsiteY6" fmla="*/ 407949 h 815898"/>
                <a:gd name="connsiteX7" fmla="*/ 407950 w 815899"/>
                <a:gd name="connsiteY7" fmla="*/ 815898 h 815898"/>
                <a:gd name="connsiteX8" fmla="*/ 0 w 815899"/>
                <a:gd name="connsiteY8" fmla="*/ 407949 h 815898"/>
                <a:gd name="connsiteX9" fmla="*/ 407950 w 815899"/>
                <a:gd name="connsiteY9" fmla="*/ 0 h 815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15899" h="815898">
                  <a:moveTo>
                    <a:pt x="407949" y="174058"/>
                  </a:moveTo>
                  <a:cubicBezTo>
                    <a:pt x="342677" y="174058"/>
                    <a:pt x="293723" y="263807"/>
                    <a:pt x="293723" y="407950"/>
                  </a:cubicBezTo>
                  <a:cubicBezTo>
                    <a:pt x="293723" y="552091"/>
                    <a:pt x="331799" y="639120"/>
                    <a:pt x="410669" y="641840"/>
                  </a:cubicBezTo>
                  <a:cubicBezTo>
                    <a:pt x="489539" y="641840"/>
                    <a:pt x="527614" y="552091"/>
                    <a:pt x="522175" y="407950"/>
                  </a:cubicBezTo>
                  <a:cubicBezTo>
                    <a:pt x="522175" y="263807"/>
                    <a:pt x="473221" y="176778"/>
                    <a:pt x="407949" y="174058"/>
                  </a:cubicBezTo>
                  <a:close/>
                  <a:moveTo>
                    <a:pt x="407950" y="0"/>
                  </a:moveTo>
                  <a:cubicBezTo>
                    <a:pt x="633682" y="0"/>
                    <a:pt x="815899" y="182217"/>
                    <a:pt x="815899" y="407949"/>
                  </a:cubicBezTo>
                  <a:cubicBezTo>
                    <a:pt x="815899" y="633681"/>
                    <a:pt x="633682" y="815898"/>
                    <a:pt x="407950" y="815898"/>
                  </a:cubicBezTo>
                  <a:cubicBezTo>
                    <a:pt x="182218" y="815898"/>
                    <a:pt x="0" y="633681"/>
                    <a:pt x="0" y="407949"/>
                  </a:cubicBezTo>
                  <a:cubicBezTo>
                    <a:pt x="0" y="182217"/>
                    <a:pt x="182218" y="0"/>
                    <a:pt x="407950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10A3D4A8-5179-4579-86DA-E3BE1D9939BC}"/>
                </a:ext>
              </a:extLst>
            </p:cNvPr>
            <p:cNvSpPr/>
            <p:nvPr/>
          </p:nvSpPr>
          <p:spPr>
            <a:xfrm>
              <a:off x="5884871" y="1946788"/>
              <a:ext cx="912802" cy="1223846"/>
            </a:xfrm>
            <a:custGeom>
              <a:avLst/>
              <a:gdLst>
                <a:gd name="connsiteX0" fmla="*/ 387907 w 912802"/>
                <a:gd name="connsiteY0" fmla="*/ 620081 h 1223846"/>
                <a:gd name="connsiteX1" fmla="*/ 273681 w 912802"/>
                <a:gd name="connsiteY1" fmla="*/ 824055 h 1223846"/>
                <a:gd name="connsiteX2" fmla="*/ 390627 w 912802"/>
                <a:gd name="connsiteY2" fmla="*/ 1028029 h 1223846"/>
                <a:gd name="connsiteX3" fmla="*/ 502132 w 912802"/>
                <a:gd name="connsiteY3" fmla="*/ 824055 h 1223846"/>
                <a:gd name="connsiteX4" fmla="*/ 387907 w 912802"/>
                <a:gd name="connsiteY4" fmla="*/ 620081 h 1223846"/>
                <a:gd name="connsiteX5" fmla="*/ 676192 w 912802"/>
                <a:gd name="connsiteY5" fmla="*/ 0 h 1223846"/>
                <a:gd name="connsiteX6" fmla="*/ 825773 w 912802"/>
                <a:gd name="connsiteY6" fmla="*/ 149581 h 1223846"/>
                <a:gd name="connsiteX7" fmla="*/ 825773 w 912802"/>
                <a:gd name="connsiteY7" fmla="*/ 1000834 h 1223846"/>
                <a:gd name="connsiteX8" fmla="*/ 836651 w 912802"/>
                <a:gd name="connsiteY8" fmla="*/ 1076985 h 1223846"/>
                <a:gd name="connsiteX9" fmla="*/ 912802 w 912802"/>
                <a:gd name="connsiteY9" fmla="*/ 1150415 h 1223846"/>
                <a:gd name="connsiteX10" fmla="*/ 774099 w 912802"/>
                <a:gd name="connsiteY10" fmla="*/ 1221126 h 1223846"/>
                <a:gd name="connsiteX11" fmla="*/ 553807 w 912802"/>
                <a:gd name="connsiteY11" fmla="*/ 1098742 h 1223846"/>
                <a:gd name="connsiteX12" fmla="*/ 548367 w 912802"/>
                <a:gd name="connsiteY12" fmla="*/ 1085144 h 1223846"/>
                <a:gd name="connsiteX13" fmla="*/ 398786 w 912802"/>
                <a:gd name="connsiteY13" fmla="*/ 1212967 h 1223846"/>
                <a:gd name="connsiteX14" fmla="*/ 156736 w 912802"/>
                <a:gd name="connsiteY14" fmla="*/ 1180332 h 1223846"/>
                <a:gd name="connsiteX15" fmla="*/ 287280 w 912802"/>
                <a:gd name="connsiteY15" fmla="*/ 416107 h 1223846"/>
                <a:gd name="connsiteX16" fmla="*/ 526611 w 912802"/>
                <a:gd name="connsiteY16" fmla="*/ 552091 h 1223846"/>
                <a:gd name="connsiteX17" fmla="*/ 526611 w 912802"/>
                <a:gd name="connsiteY17" fmla="*/ 149581 h 1223846"/>
                <a:gd name="connsiteX18" fmla="*/ 676192 w 912802"/>
                <a:gd name="connsiteY18" fmla="*/ 0 h 1223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912802" h="1223846">
                  <a:moveTo>
                    <a:pt x="387907" y="620081"/>
                  </a:moveTo>
                  <a:cubicBezTo>
                    <a:pt x="322635" y="620081"/>
                    <a:pt x="273681" y="698951"/>
                    <a:pt x="273681" y="824055"/>
                  </a:cubicBezTo>
                  <a:cubicBezTo>
                    <a:pt x="273681" y="949160"/>
                    <a:pt x="311756" y="1028029"/>
                    <a:pt x="390627" y="1028029"/>
                  </a:cubicBezTo>
                  <a:cubicBezTo>
                    <a:pt x="466777" y="1025310"/>
                    <a:pt x="504852" y="949160"/>
                    <a:pt x="502132" y="824055"/>
                  </a:cubicBezTo>
                  <a:cubicBezTo>
                    <a:pt x="502132" y="698951"/>
                    <a:pt x="455898" y="622801"/>
                    <a:pt x="387907" y="620081"/>
                  </a:cubicBezTo>
                  <a:close/>
                  <a:moveTo>
                    <a:pt x="676192" y="0"/>
                  </a:moveTo>
                  <a:cubicBezTo>
                    <a:pt x="757781" y="0"/>
                    <a:pt x="825773" y="67992"/>
                    <a:pt x="825773" y="149581"/>
                  </a:cubicBezTo>
                  <a:lnTo>
                    <a:pt x="825773" y="1000834"/>
                  </a:lnTo>
                  <a:cubicBezTo>
                    <a:pt x="828492" y="1025311"/>
                    <a:pt x="831212" y="1052508"/>
                    <a:pt x="836651" y="1076985"/>
                  </a:cubicBezTo>
                  <a:cubicBezTo>
                    <a:pt x="861128" y="1139537"/>
                    <a:pt x="912802" y="1150415"/>
                    <a:pt x="912802" y="1150415"/>
                  </a:cubicBezTo>
                  <a:cubicBezTo>
                    <a:pt x="912802" y="1150415"/>
                    <a:pt x="861128" y="1221126"/>
                    <a:pt x="774099" y="1221126"/>
                  </a:cubicBezTo>
                  <a:cubicBezTo>
                    <a:pt x="670752" y="1221126"/>
                    <a:pt x="589162" y="1166733"/>
                    <a:pt x="553807" y="1098742"/>
                  </a:cubicBezTo>
                  <a:cubicBezTo>
                    <a:pt x="551087" y="1093303"/>
                    <a:pt x="551087" y="1090583"/>
                    <a:pt x="548367" y="1085144"/>
                  </a:cubicBezTo>
                  <a:cubicBezTo>
                    <a:pt x="534769" y="1147696"/>
                    <a:pt x="450460" y="1199369"/>
                    <a:pt x="398786" y="1212967"/>
                  </a:cubicBezTo>
                  <a:cubicBezTo>
                    <a:pt x="322636" y="1234725"/>
                    <a:pt x="222008" y="1223846"/>
                    <a:pt x="156736" y="1180332"/>
                  </a:cubicBezTo>
                  <a:cubicBezTo>
                    <a:pt x="-79874" y="1028031"/>
                    <a:pt x="-58117" y="416107"/>
                    <a:pt x="287280" y="416107"/>
                  </a:cubicBezTo>
                  <a:cubicBezTo>
                    <a:pt x="412385" y="416107"/>
                    <a:pt x="491255" y="503137"/>
                    <a:pt x="526611" y="552091"/>
                  </a:cubicBezTo>
                  <a:lnTo>
                    <a:pt x="526611" y="149581"/>
                  </a:lnTo>
                  <a:cubicBezTo>
                    <a:pt x="526611" y="67992"/>
                    <a:pt x="594602" y="0"/>
                    <a:pt x="676192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1DB9A871-4A68-495F-A3EF-392427AED281}"/>
                </a:ext>
              </a:extLst>
            </p:cNvPr>
            <p:cNvSpPr/>
            <p:nvPr/>
          </p:nvSpPr>
          <p:spPr>
            <a:xfrm>
              <a:off x="6789513" y="2362895"/>
              <a:ext cx="747906" cy="810458"/>
            </a:xfrm>
            <a:custGeom>
              <a:avLst/>
              <a:gdLst>
                <a:gd name="connsiteX0" fmla="*/ 394818 w 747906"/>
                <a:gd name="connsiteY0" fmla="*/ 163222 h 810458"/>
                <a:gd name="connsiteX1" fmla="*/ 356275 w 747906"/>
                <a:gd name="connsiteY1" fmla="*/ 174058 h 810458"/>
                <a:gd name="connsiteX2" fmla="*/ 274685 w 747906"/>
                <a:gd name="connsiteY2" fmla="*/ 356275 h 810458"/>
                <a:gd name="connsiteX3" fmla="*/ 375313 w 747906"/>
                <a:gd name="connsiteY3" fmla="*/ 358994 h 810458"/>
                <a:gd name="connsiteX4" fmla="*/ 473220 w 747906"/>
                <a:gd name="connsiteY4" fmla="*/ 239329 h 810458"/>
                <a:gd name="connsiteX5" fmla="*/ 394818 w 747906"/>
                <a:gd name="connsiteY5" fmla="*/ 163222 h 810458"/>
                <a:gd name="connsiteX6" fmla="*/ 386192 w 747906"/>
                <a:gd name="connsiteY6" fmla="*/ 0 h 810458"/>
                <a:gd name="connsiteX7" fmla="*/ 747906 w 747906"/>
                <a:gd name="connsiteY7" fmla="*/ 266526 h 810458"/>
                <a:gd name="connsiteX8" fmla="*/ 291004 w 747906"/>
                <a:gd name="connsiteY8" fmla="*/ 484100 h 810458"/>
                <a:gd name="connsiteX9" fmla="*/ 497698 w 747906"/>
                <a:gd name="connsiteY9" fmla="*/ 617363 h 810458"/>
                <a:gd name="connsiteX10" fmla="*/ 712551 w 747906"/>
                <a:gd name="connsiteY10" fmla="*/ 557530 h 810458"/>
                <a:gd name="connsiteX11" fmla="*/ 388912 w 747906"/>
                <a:gd name="connsiteY11" fmla="*/ 810458 h 810458"/>
                <a:gd name="connsiteX12" fmla="*/ 0 w 747906"/>
                <a:gd name="connsiteY12" fmla="*/ 413389 h 810458"/>
                <a:gd name="connsiteX13" fmla="*/ 386192 w 747906"/>
                <a:gd name="connsiteY13" fmla="*/ 0 h 8104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747906" h="810458">
                  <a:moveTo>
                    <a:pt x="394818" y="163222"/>
                  </a:moveTo>
                  <a:cubicBezTo>
                    <a:pt x="381772" y="163179"/>
                    <a:pt x="368514" y="166579"/>
                    <a:pt x="356275" y="174058"/>
                  </a:cubicBezTo>
                  <a:cubicBezTo>
                    <a:pt x="299162" y="212133"/>
                    <a:pt x="282844" y="291003"/>
                    <a:pt x="274685" y="356275"/>
                  </a:cubicBezTo>
                  <a:cubicBezTo>
                    <a:pt x="274685" y="364434"/>
                    <a:pt x="369873" y="358994"/>
                    <a:pt x="375313" y="358994"/>
                  </a:cubicBezTo>
                  <a:cubicBezTo>
                    <a:pt x="432425" y="345396"/>
                    <a:pt x="473220" y="301881"/>
                    <a:pt x="473220" y="239329"/>
                  </a:cubicBezTo>
                  <a:cubicBezTo>
                    <a:pt x="471181" y="194455"/>
                    <a:pt x="433956" y="163349"/>
                    <a:pt x="394818" y="163222"/>
                  </a:cubicBezTo>
                  <a:close/>
                  <a:moveTo>
                    <a:pt x="386192" y="0"/>
                  </a:moveTo>
                  <a:cubicBezTo>
                    <a:pt x="519455" y="0"/>
                    <a:pt x="747906" y="65272"/>
                    <a:pt x="747906" y="266526"/>
                  </a:cubicBezTo>
                  <a:cubicBezTo>
                    <a:pt x="747906" y="467782"/>
                    <a:pt x="538493" y="484100"/>
                    <a:pt x="291004" y="484100"/>
                  </a:cubicBezTo>
                  <a:cubicBezTo>
                    <a:pt x="291004" y="484100"/>
                    <a:pt x="326359" y="617363"/>
                    <a:pt x="497698" y="617363"/>
                  </a:cubicBezTo>
                  <a:cubicBezTo>
                    <a:pt x="669036" y="617363"/>
                    <a:pt x="712551" y="557530"/>
                    <a:pt x="712551" y="557530"/>
                  </a:cubicBezTo>
                  <a:cubicBezTo>
                    <a:pt x="712551" y="557530"/>
                    <a:pt x="696233" y="810458"/>
                    <a:pt x="388912" y="810458"/>
                  </a:cubicBezTo>
                  <a:cubicBezTo>
                    <a:pt x="212134" y="810458"/>
                    <a:pt x="0" y="677195"/>
                    <a:pt x="0" y="413389"/>
                  </a:cubicBezTo>
                  <a:cubicBezTo>
                    <a:pt x="0" y="176778"/>
                    <a:pt x="163180" y="0"/>
                    <a:pt x="386192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1001B3D6-C1BC-4979-BF9B-2956B2C7EC99}"/>
                </a:ext>
              </a:extLst>
            </p:cNvPr>
            <p:cNvSpPr/>
            <p:nvPr/>
          </p:nvSpPr>
          <p:spPr>
            <a:xfrm>
              <a:off x="7988882" y="2362895"/>
              <a:ext cx="747906" cy="810458"/>
            </a:xfrm>
            <a:custGeom>
              <a:avLst/>
              <a:gdLst>
                <a:gd name="connsiteX0" fmla="*/ 394818 w 747906"/>
                <a:gd name="connsiteY0" fmla="*/ 163222 h 810458"/>
                <a:gd name="connsiteX1" fmla="*/ 356275 w 747906"/>
                <a:gd name="connsiteY1" fmla="*/ 174058 h 810458"/>
                <a:gd name="connsiteX2" fmla="*/ 274685 w 747906"/>
                <a:gd name="connsiteY2" fmla="*/ 356275 h 810458"/>
                <a:gd name="connsiteX3" fmla="*/ 375313 w 747906"/>
                <a:gd name="connsiteY3" fmla="*/ 358994 h 810458"/>
                <a:gd name="connsiteX4" fmla="*/ 473220 w 747906"/>
                <a:gd name="connsiteY4" fmla="*/ 239329 h 810458"/>
                <a:gd name="connsiteX5" fmla="*/ 394818 w 747906"/>
                <a:gd name="connsiteY5" fmla="*/ 163222 h 810458"/>
                <a:gd name="connsiteX6" fmla="*/ 386192 w 747906"/>
                <a:gd name="connsiteY6" fmla="*/ 0 h 810458"/>
                <a:gd name="connsiteX7" fmla="*/ 747906 w 747906"/>
                <a:gd name="connsiteY7" fmla="*/ 266526 h 810458"/>
                <a:gd name="connsiteX8" fmla="*/ 291004 w 747906"/>
                <a:gd name="connsiteY8" fmla="*/ 484100 h 810458"/>
                <a:gd name="connsiteX9" fmla="*/ 497697 w 747906"/>
                <a:gd name="connsiteY9" fmla="*/ 617363 h 810458"/>
                <a:gd name="connsiteX10" fmla="*/ 712551 w 747906"/>
                <a:gd name="connsiteY10" fmla="*/ 557530 h 810458"/>
                <a:gd name="connsiteX11" fmla="*/ 388911 w 747906"/>
                <a:gd name="connsiteY11" fmla="*/ 810458 h 810458"/>
                <a:gd name="connsiteX12" fmla="*/ 0 w 747906"/>
                <a:gd name="connsiteY12" fmla="*/ 413389 h 810458"/>
                <a:gd name="connsiteX13" fmla="*/ 386192 w 747906"/>
                <a:gd name="connsiteY13" fmla="*/ 0 h 8104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747906" h="810458">
                  <a:moveTo>
                    <a:pt x="394818" y="163222"/>
                  </a:moveTo>
                  <a:cubicBezTo>
                    <a:pt x="381772" y="163179"/>
                    <a:pt x="368514" y="166579"/>
                    <a:pt x="356275" y="174058"/>
                  </a:cubicBezTo>
                  <a:cubicBezTo>
                    <a:pt x="299162" y="212133"/>
                    <a:pt x="282844" y="291003"/>
                    <a:pt x="274685" y="356275"/>
                  </a:cubicBezTo>
                  <a:cubicBezTo>
                    <a:pt x="274685" y="364434"/>
                    <a:pt x="369873" y="358994"/>
                    <a:pt x="375313" y="358994"/>
                  </a:cubicBezTo>
                  <a:cubicBezTo>
                    <a:pt x="432426" y="345396"/>
                    <a:pt x="473220" y="301881"/>
                    <a:pt x="473220" y="239329"/>
                  </a:cubicBezTo>
                  <a:cubicBezTo>
                    <a:pt x="471181" y="194455"/>
                    <a:pt x="433955" y="163349"/>
                    <a:pt x="394818" y="163222"/>
                  </a:cubicBezTo>
                  <a:close/>
                  <a:moveTo>
                    <a:pt x="386192" y="0"/>
                  </a:moveTo>
                  <a:cubicBezTo>
                    <a:pt x="519455" y="0"/>
                    <a:pt x="747906" y="65272"/>
                    <a:pt x="747906" y="266526"/>
                  </a:cubicBezTo>
                  <a:cubicBezTo>
                    <a:pt x="747906" y="467782"/>
                    <a:pt x="538492" y="484100"/>
                    <a:pt x="291004" y="484100"/>
                  </a:cubicBezTo>
                  <a:cubicBezTo>
                    <a:pt x="291004" y="484100"/>
                    <a:pt x="326359" y="617363"/>
                    <a:pt x="497697" y="617363"/>
                  </a:cubicBezTo>
                  <a:cubicBezTo>
                    <a:pt x="669036" y="617363"/>
                    <a:pt x="712551" y="557530"/>
                    <a:pt x="712551" y="557530"/>
                  </a:cubicBezTo>
                  <a:cubicBezTo>
                    <a:pt x="712551" y="557530"/>
                    <a:pt x="696233" y="810458"/>
                    <a:pt x="388911" y="810458"/>
                  </a:cubicBezTo>
                  <a:cubicBezTo>
                    <a:pt x="212133" y="810458"/>
                    <a:pt x="0" y="677195"/>
                    <a:pt x="0" y="413389"/>
                  </a:cubicBezTo>
                  <a:cubicBezTo>
                    <a:pt x="0" y="176778"/>
                    <a:pt x="163180" y="0"/>
                    <a:pt x="386192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16367185-B7D6-4C5F-BFDB-408FCE04E3F2}"/>
                </a:ext>
              </a:extLst>
            </p:cNvPr>
            <p:cNvSpPr/>
            <p:nvPr/>
          </p:nvSpPr>
          <p:spPr>
            <a:xfrm>
              <a:off x="8683414" y="2274801"/>
              <a:ext cx="897487" cy="951879"/>
            </a:xfrm>
            <a:custGeom>
              <a:avLst/>
              <a:gdLst>
                <a:gd name="connsiteX0" fmla="*/ 580988 w 897487"/>
                <a:gd name="connsiteY0" fmla="*/ 667381 h 951879"/>
                <a:gd name="connsiteX1" fmla="*/ 409649 w 897487"/>
                <a:gd name="connsiteY1" fmla="*/ 667381 h 951879"/>
                <a:gd name="connsiteX2" fmla="*/ 591866 w 897487"/>
                <a:gd name="connsiteY2" fmla="*/ 525959 h 951879"/>
                <a:gd name="connsiteX3" fmla="*/ 842075 w 897487"/>
                <a:gd name="connsiteY3" fmla="*/ 123450 h 951879"/>
                <a:gd name="connsiteX4" fmla="*/ 842075 w 897487"/>
                <a:gd name="connsiteY4" fmla="*/ 123450 h 951879"/>
                <a:gd name="connsiteX5" fmla="*/ 798560 w 897487"/>
                <a:gd name="connsiteY5" fmla="*/ 58178 h 951879"/>
                <a:gd name="connsiteX6" fmla="*/ 746887 w 897487"/>
                <a:gd name="connsiteY6" fmla="*/ 107132 h 951879"/>
                <a:gd name="connsiteX7" fmla="*/ 697933 w 897487"/>
                <a:gd name="connsiteY7" fmla="*/ 115291 h 951879"/>
                <a:gd name="connsiteX8" fmla="*/ 219273 w 897487"/>
                <a:gd name="connsiteY8" fmla="*/ 115291 h 951879"/>
                <a:gd name="connsiteX9" fmla="*/ 102328 w 897487"/>
                <a:gd name="connsiteY9" fmla="*/ 224077 h 951879"/>
                <a:gd name="connsiteX10" fmla="*/ 213834 w 897487"/>
                <a:gd name="connsiteY10" fmla="*/ 332863 h 951879"/>
                <a:gd name="connsiteX11" fmla="*/ 485800 w 897487"/>
                <a:gd name="connsiteY11" fmla="*/ 335583 h 951879"/>
                <a:gd name="connsiteX12" fmla="*/ 134964 w 897487"/>
                <a:gd name="connsiteY12" fmla="*/ 615708 h 951879"/>
                <a:gd name="connsiteX13" fmla="*/ 61533 w 897487"/>
                <a:gd name="connsiteY13" fmla="*/ 884953 h 951879"/>
                <a:gd name="connsiteX14" fmla="*/ 398771 w 897487"/>
                <a:gd name="connsiteY14" fmla="*/ 806083 h 951879"/>
                <a:gd name="connsiteX15" fmla="*/ 529314 w 897487"/>
                <a:gd name="connsiteY15" fmla="*/ 863196 h 951879"/>
                <a:gd name="connsiteX16" fmla="*/ 782242 w 897487"/>
                <a:gd name="connsiteY16" fmla="*/ 607549 h 951879"/>
                <a:gd name="connsiteX17" fmla="*/ 580988 w 897487"/>
                <a:gd name="connsiteY17" fmla="*/ 667381 h 9518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897487" h="951879">
                  <a:moveTo>
                    <a:pt x="580988" y="667381"/>
                  </a:moveTo>
                  <a:lnTo>
                    <a:pt x="409649" y="667381"/>
                  </a:lnTo>
                  <a:cubicBezTo>
                    <a:pt x="423248" y="667381"/>
                    <a:pt x="548352" y="561314"/>
                    <a:pt x="591866" y="525959"/>
                  </a:cubicBezTo>
                  <a:cubicBezTo>
                    <a:pt x="700653" y="433491"/>
                    <a:pt x="899188" y="297508"/>
                    <a:pt x="842075" y="123450"/>
                  </a:cubicBezTo>
                  <a:lnTo>
                    <a:pt x="842075" y="123450"/>
                  </a:lnTo>
                  <a:cubicBezTo>
                    <a:pt x="831197" y="82655"/>
                    <a:pt x="798560" y="58178"/>
                    <a:pt x="798560" y="58178"/>
                  </a:cubicBezTo>
                  <a:cubicBezTo>
                    <a:pt x="798560" y="58178"/>
                    <a:pt x="787682" y="90814"/>
                    <a:pt x="746887" y="107132"/>
                  </a:cubicBezTo>
                  <a:cubicBezTo>
                    <a:pt x="730569" y="109852"/>
                    <a:pt x="714251" y="115291"/>
                    <a:pt x="697933" y="115291"/>
                  </a:cubicBezTo>
                  <a:cubicBezTo>
                    <a:pt x="684334" y="115291"/>
                    <a:pt x="219273" y="115291"/>
                    <a:pt x="219273" y="115291"/>
                  </a:cubicBezTo>
                  <a:cubicBezTo>
                    <a:pt x="156721" y="115291"/>
                    <a:pt x="105048" y="166964"/>
                    <a:pt x="102328" y="224077"/>
                  </a:cubicBezTo>
                  <a:cubicBezTo>
                    <a:pt x="102328" y="283910"/>
                    <a:pt x="151282" y="332863"/>
                    <a:pt x="213834" y="332863"/>
                  </a:cubicBezTo>
                  <a:lnTo>
                    <a:pt x="485800" y="335583"/>
                  </a:lnTo>
                  <a:cubicBezTo>
                    <a:pt x="360695" y="406294"/>
                    <a:pt x="211114" y="487884"/>
                    <a:pt x="134964" y="615708"/>
                  </a:cubicBezTo>
                  <a:cubicBezTo>
                    <a:pt x="91449" y="689138"/>
                    <a:pt x="45215" y="800644"/>
                    <a:pt x="61533" y="884953"/>
                  </a:cubicBezTo>
                  <a:cubicBezTo>
                    <a:pt x="121366" y="830560"/>
                    <a:pt x="279106" y="778887"/>
                    <a:pt x="398771" y="806083"/>
                  </a:cubicBezTo>
                  <a:cubicBezTo>
                    <a:pt x="445005" y="814242"/>
                    <a:pt x="491239" y="838719"/>
                    <a:pt x="529314" y="863196"/>
                  </a:cubicBezTo>
                  <a:cubicBezTo>
                    <a:pt x="755046" y="1004618"/>
                    <a:pt x="891029" y="727213"/>
                    <a:pt x="782242" y="607549"/>
                  </a:cubicBezTo>
                  <a:cubicBezTo>
                    <a:pt x="784962" y="607549"/>
                    <a:pt x="722410" y="667381"/>
                    <a:pt x="580988" y="667381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17770C8A-5B84-4503-8D5D-B710B131CCB1}"/>
                </a:ext>
              </a:extLst>
            </p:cNvPr>
            <p:cNvSpPr/>
            <p:nvPr/>
          </p:nvSpPr>
          <p:spPr>
            <a:xfrm>
              <a:off x="2624650" y="1948442"/>
              <a:ext cx="1903761" cy="1577400"/>
            </a:xfrm>
            <a:custGeom>
              <a:avLst/>
              <a:gdLst>
                <a:gd name="connsiteX0" fmla="*/ 1559430 w 1903760"/>
                <a:gd name="connsiteY0" fmla="*/ 1165078 h 1577399"/>
                <a:gd name="connsiteX1" fmla="*/ 1369054 w 1903760"/>
                <a:gd name="connsiteY1" fmla="*/ 593950 h 1577399"/>
                <a:gd name="connsiteX2" fmla="*/ 1483279 w 1903760"/>
                <a:gd name="connsiteY2" fmla="*/ 126170 h 1577399"/>
                <a:gd name="connsiteX3" fmla="*/ 1311941 w 1903760"/>
                <a:gd name="connsiteY3" fmla="*/ 58178 h 1577399"/>
                <a:gd name="connsiteX4" fmla="*/ 1078050 w 1903760"/>
                <a:gd name="connsiteY4" fmla="*/ 205040 h 1577399"/>
                <a:gd name="connsiteX5" fmla="*/ 846879 w 1903760"/>
                <a:gd name="connsiteY5" fmla="*/ 523239 h 1577399"/>
                <a:gd name="connsiteX6" fmla="*/ 645624 w 1903760"/>
                <a:gd name="connsiteY6" fmla="*/ 210479 h 1577399"/>
                <a:gd name="connsiteX7" fmla="*/ 455248 w 1903760"/>
                <a:gd name="connsiteY7" fmla="*/ 63617 h 1577399"/>
                <a:gd name="connsiteX8" fmla="*/ 234956 w 1903760"/>
                <a:gd name="connsiteY8" fmla="*/ 137048 h 1577399"/>
                <a:gd name="connsiteX9" fmla="*/ 316546 w 1903760"/>
                <a:gd name="connsiteY9" fmla="*/ 588511 h 1577399"/>
                <a:gd name="connsiteX10" fmla="*/ 58178 w 1903760"/>
                <a:gd name="connsiteY10" fmla="*/ 1072610 h 1577399"/>
                <a:gd name="connsiteX11" fmla="*/ 474286 w 1903760"/>
                <a:gd name="connsiteY11" fmla="*/ 1020936 h 1577399"/>
                <a:gd name="connsiteX12" fmla="*/ 555876 w 1903760"/>
                <a:gd name="connsiteY12" fmla="*/ 572193 h 1577399"/>
                <a:gd name="connsiteX13" fmla="*/ 830561 w 1903760"/>
                <a:gd name="connsiteY13" fmla="*/ 993740 h 1577399"/>
                <a:gd name="connsiteX14" fmla="*/ 1140602 w 1903760"/>
                <a:gd name="connsiteY14" fmla="*/ 574913 h 1577399"/>
                <a:gd name="connsiteX15" fmla="*/ 1567589 w 1903760"/>
                <a:gd name="connsiteY15" fmla="*/ 1526792 h 1577399"/>
                <a:gd name="connsiteX16" fmla="*/ 1866751 w 1903760"/>
                <a:gd name="connsiteY16" fmla="*/ 1322818 h 1577399"/>
                <a:gd name="connsiteX17" fmla="*/ 1559430 w 1903760"/>
                <a:gd name="connsiteY17" fmla="*/ 1165078 h 15773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903760" h="1577399">
                  <a:moveTo>
                    <a:pt x="1559430" y="1165078"/>
                  </a:moveTo>
                  <a:cubicBezTo>
                    <a:pt x="1420727" y="1012777"/>
                    <a:pt x="1377213" y="762569"/>
                    <a:pt x="1369054" y="593950"/>
                  </a:cubicBezTo>
                  <a:cubicBezTo>
                    <a:pt x="1360895" y="449809"/>
                    <a:pt x="1369054" y="199600"/>
                    <a:pt x="1483279" y="126170"/>
                  </a:cubicBezTo>
                  <a:cubicBezTo>
                    <a:pt x="1445204" y="77216"/>
                    <a:pt x="1369054" y="58178"/>
                    <a:pt x="1311941" y="58178"/>
                  </a:cubicBezTo>
                  <a:cubicBezTo>
                    <a:pt x="1184117" y="58178"/>
                    <a:pt x="1121565" y="142488"/>
                    <a:pt x="1078050" y="205040"/>
                  </a:cubicBezTo>
                  <a:cubicBezTo>
                    <a:pt x="1064452" y="224077"/>
                    <a:pt x="846879" y="523239"/>
                    <a:pt x="846879" y="523239"/>
                  </a:cubicBezTo>
                  <a:cubicBezTo>
                    <a:pt x="846879" y="523239"/>
                    <a:pt x="667382" y="243115"/>
                    <a:pt x="645624" y="210479"/>
                  </a:cubicBezTo>
                  <a:cubicBezTo>
                    <a:pt x="615708" y="164245"/>
                    <a:pt x="555876" y="77216"/>
                    <a:pt x="455248" y="63617"/>
                  </a:cubicBezTo>
                  <a:cubicBezTo>
                    <a:pt x="411734" y="58178"/>
                    <a:pt x="297508" y="52739"/>
                    <a:pt x="234956" y="137048"/>
                  </a:cubicBezTo>
                  <a:cubicBezTo>
                    <a:pt x="341023" y="221357"/>
                    <a:pt x="338303" y="438930"/>
                    <a:pt x="316546" y="588511"/>
                  </a:cubicBezTo>
                  <a:cubicBezTo>
                    <a:pt x="248554" y="1031815"/>
                    <a:pt x="58178" y="1072610"/>
                    <a:pt x="58178" y="1072610"/>
                  </a:cubicBezTo>
                  <a:cubicBezTo>
                    <a:pt x="156086" y="1333696"/>
                    <a:pt x="403575" y="1230350"/>
                    <a:pt x="474286" y="1020936"/>
                  </a:cubicBezTo>
                  <a:cubicBezTo>
                    <a:pt x="520520" y="884953"/>
                    <a:pt x="550436" y="713615"/>
                    <a:pt x="555876" y="572193"/>
                  </a:cubicBezTo>
                  <a:lnTo>
                    <a:pt x="830561" y="993740"/>
                  </a:lnTo>
                  <a:cubicBezTo>
                    <a:pt x="830561" y="993740"/>
                    <a:pt x="1140602" y="574913"/>
                    <a:pt x="1140602" y="574913"/>
                  </a:cubicBezTo>
                  <a:cubicBezTo>
                    <a:pt x="1088929" y="1314659"/>
                    <a:pt x="1344577" y="1526792"/>
                    <a:pt x="1567589" y="1526792"/>
                  </a:cubicBezTo>
                  <a:cubicBezTo>
                    <a:pt x="1790601" y="1526792"/>
                    <a:pt x="1866751" y="1322818"/>
                    <a:pt x="1866751" y="1322818"/>
                  </a:cubicBezTo>
                  <a:cubicBezTo>
                    <a:pt x="1744367" y="1314659"/>
                    <a:pt x="1641019" y="1252107"/>
                    <a:pt x="1559430" y="1165078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/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A7E3A062-DDC7-49B6-A3D5-B32A3A38D180}"/>
                </a:ext>
              </a:extLst>
            </p:cNvPr>
            <p:cNvSpPr/>
            <p:nvPr/>
          </p:nvSpPr>
          <p:spPr>
            <a:xfrm>
              <a:off x="4792218" y="3234839"/>
              <a:ext cx="271966" cy="652717"/>
            </a:xfrm>
            <a:custGeom>
              <a:avLst/>
              <a:gdLst>
                <a:gd name="connsiteX0" fmla="*/ 88095 w 271965"/>
                <a:gd name="connsiteY0" fmla="*/ 120730 h 652717"/>
                <a:gd name="connsiteX1" fmla="*/ 93534 w 271965"/>
                <a:gd name="connsiteY1" fmla="*/ 153366 h 652717"/>
                <a:gd name="connsiteX2" fmla="*/ 93534 w 271965"/>
                <a:gd name="connsiteY2" fmla="*/ 544997 h 652717"/>
                <a:gd name="connsiteX3" fmla="*/ 156086 w 271965"/>
                <a:gd name="connsiteY3" fmla="*/ 604829 h 652717"/>
                <a:gd name="connsiteX4" fmla="*/ 221358 w 271965"/>
                <a:gd name="connsiteY4" fmla="*/ 544997 h 652717"/>
                <a:gd name="connsiteX5" fmla="*/ 221358 w 271965"/>
                <a:gd name="connsiteY5" fmla="*/ 194161 h 652717"/>
                <a:gd name="connsiteX6" fmla="*/ 210479 w 271965"/>
                <a:gd name="connsiteY6" fmla="*/ 109852 h 652717"/>
                <a:gd name="connsiteX7" fmla="*/ 118011 w 271965"/>
                <a:gd name="connsiteY7" fmla="*/ 58178 h 652717"/>
                <a:gd name="connsiteX8" fmla="*/ 58178 w 271965"/>
                <a:gd name="connsiteY8" fmla="*/ 88094 h 652717"/>
                <a:gd name="connsiteX9" fmla="*/ 88095 w 271965"/>
                <a:gd name="connsiteY9" fmla="*/ 120730 h 6527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71965" h="652717">
                  <a:moveTo>
                    <a:pt x="88095" y="120730"/>
                  </a:moveTo>
                  <a:cubicBezTo>
                    <a:pt x="90814" y="131609"/>
                    <a:pt x="90814" y="142487"/>
                    <a:pt x="93534" y="153366"/>
                  </a:cubicBezTo>
                  <a:cubicBezTo>
                    <a:pt x="93534" y="156086"/>
                    <a:pt x="93534" y="542277"/>
                    <a:pt x="93534" y="544997"/>
                  </a:cubicBezTo>
                  <a:cubicBezTo>
                    <a:pt x="93534" y="577632"/>
                    <a:pt x="123450" y="604829"/>
                    <a:pt x="156086" y="604829"/>
                  </a:cubicBezTo>
                  <a:cubicBezTo>
                    <a:pt x="188722" y="607548"/>
                    <a:pt x="221358" y="577632"/>
                    <a:pt x="221358" y="544997"/>
                  </a:cubicBezTo>
                  <a:cubicBezTo>
                    <a:pt x="221358" y="539557"/>
                    <a:pt x="221358" y="194161"/>
                    <a:pt x="221358" y="194161"/>
                  </a:cubicBezTo>
                  <a:cubicBezTo>
                    <a:pt x="221358" y="164245"/>
                    <a:pt x="224078" y="134329"/>
                    <a:pt x="210479" y="109852"/>
                  </a:cubicBezTo>
                  <a:cubicBezTo>
                    <a:pt x="196881" y="79935"/>
                    <a:pt x="158806" y="58178"/>
                    <a:pt x="118011" y="58178"/>
                  </a:cubicBezTo>
                  <a:cubicBezTo>
                    <a:pt x="79936" y="58178"/>
                    <a:pt x="58178" y="88094"/>
                    <a:pt x="58178" y="88094"/>
                  </a:cubicBezTo>
                  <a:cubicBezTo>
                    <a:pt x="58178" y="88094"/>
                    <a:pt x="77216" y="93534"/>
                    <a:pt x="88095" y="120730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DB52140B-5C19-4D8B-93F0-72CFECE86CC0}"/>
                </a:ext>
              </a:extLst>
            </p:cNvPr>
            <p:cNvSpPr/>
            <p:nvPr/>
          </p:nvSpPr>
          <p:spPr>
            <a:xfrm>
              <a:off x="8751819" y="3234667"/>
              <a:ext cx="271966" cy="652717"/>
            </a:xfrm>
            <a:custGeom>
              <a:avLst/>
              <a:gdLst>
                <a:gd name="connsiteX0" fmla="*/ 191663 w 271965"/>
                <a:gd name="connsiteY0" fmla="*/ 542449 h 652717"/>
                <a:gd name="connsiteX1" fmla="*/ 186224 w 271965"/>
                <a:gd name="connsiteY1" fmla="*/ 509813 h 652717"/>
                <a:gd name="connsiteX2" fmla="*/ 186224 w 271965"/>
                <a:gd name="connsiteY2" fmla="*/ 118183 h 652717"/>
                <a:gd name="connsiteX3" fmla="*/ 123672 w 271965"/>
                <a:gd name="connsiteY3" fmla="*/ 58350 h 652717"/>
                <a:gd name="connsiteX4" fmla="*/ 58400 w 271965"/>
                <a:gd name="connsiteY4" fmla="*/ 118183 h 652717"/>
                <a:gd name="connsiteX5" fmla="*/ 58400 w 271965"/>
                <a:gd name="connsiteY5" fmla="*/ 469018 h 652717"/>
                <a:gd name="connsiteX6" fmla="*/ 69279 w 271965"/>
                <a:gd name="connsiteY6" fmla="*/ 553328 h 652717"/>
                <a:gd name="connsiteX7" fmla="*/ 161747 w 271965"/>
                <a:gd name="connsiteY7" fmla="*/ 605001 h 652717"/>
                <a:gd name="connsiteX8" fmla="*/ 221580 w 271965"/>
                <a:gd name="connsiteY8" fmla="*/ 575085 h 652717"/>
                <a:gd name="connsiteX9" fmla="*/ 191663 w 271965"/>
                <a:gd name="connsiteY9" fmla="*/ 542449 h 6527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71965" h="652717">
                  <a:moveTo>
                    <a:pt x="191663" y="542449"/>
                  </a:moveTo>
                  <a:cubicBezTo>
                    <a:pt x="188944" y="531570"/>
                    <a:pt x="186224" y="520692"/>
                    <a:pt x="186224" y="509813"/>
                  </a:cubicBezTo>
                  <a:cubicBezTo>
                    <a:pt x="186224" y="507093"/>
                    <a:pt x="186224" y="120902"/>
                    <a:pt x="186224" y="118183"/>
                  </a:cubicBezTo>
                  <a:cubicBezTo>
                    <a:pt x="186224" y="85547"/>
                    <a:pt x="156308" y="58350"/>
                    <a:pt x="123672" y="58350"/>
                  </a:cubicBezTo>
                  <a:cubicBezTo>
                    <a:pt x="91036" y="55631"/>
                    <a:pt x="58400" y="85547"/>
                    <a:pt x="58400" y="118183"/>
                  </a:cubicBezTo>
                  <a:cubicBezTo>
                    <a:pt x="58400" y="123622"/>
                    <a:pt x="58400" y="469018"/>
                    <a:pt x="58400" y="469018"/>
                  </a:cubicBezTo>
                  <a:cubicBezTo>
                    <a:pt x="58400" y="498934"/>
                    <a:pt x="55680" y="528851"/>
                    <a:pt x="69279" y="553328"/>
                  </a:cubicBezTo>
                  <a:cubicBezTo>
                    <a:pt x="82877" y="583244"/>
                    <a:pt x="120953" y="605001"/>
                    <a:pt x="161747" y="605001"/>
                  </a:cubicBezTo>
                  <a:cubicBezTo>
                    <a:pt x="199822" y="605001"/>
                    <a:pt x="221580" y="575085"/>
                    <a:pt x="221580" y="575085"/>
                  </a:cubicBezTo>
                  <a:cubicBezTo>
                    <a:pt x="221580" y="575085"/>
                    <a:pt x="202542" y="566926"/>
                    <a:pt x="191663" y="542449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79A100D8-96DD-4438-B034-852ACD48360A}"/>
                </a:ext>
              </a:extLst>
            </p:cNvPr>
            <p:cNvSpPr/>
            <p:nvPr/>
          </p:nvSpPr>
          <p:spPr>
            <a:xfrm>
              <a:off x="6320666" y="3416868"/>
              <a:ext cx="435145" cy="462341"/>
            </a:xfrm>
            <a:custGeom>
              <a:avLst/>
              <a:gdLst>
                <a:gd name="connsiteX0" fmla="*/ 302948 w 435145"/>
                <a:gd name="connsiteY0" fmla="*/ 74684 h 462341"/>
                <a:gd name="connsiteX1" fmla="*/ 186003 w 435145"/>
                <a:gd name="connsiteY1" fmla="*/ 148115 h 462341"/>
                <a:gd name="connsiteX2" fmla="*/ 186003 w 435145"/>
                <a:gd name="connsiteY2" fmla="*/ 148115 h 462341"/>
                <a:gd name="connsiteX3" fmla="*/ 186003 w 435145"/>
                <a:gd name="connsiteY3" fmla="*/ 115479 h 462341"/>
                <a:gd name="connsiteX4" fmla="*/ 123450 w 435145"/>
                <a:gd name="connsiteY4" fmla="*/ 58366 h 462341"/>
                <a:gd name="connsiteX5" fmla="*/ 58178 w 435145"/>
                <a:gd name="connsiteY5" fmla="*/ 115479 h 462341"/>
                <a:gd name="connsiteX6" fmla="*/ 58178 w 435145"/>
                <a:gd name="connsiteY6" fmla="*/ 362967 h 462341"/>
                <a:gd name="connsiteX7" fmla="*/ 120730 w 435145"/>
                <a:gd name="connsiteY7" fmla="*/ 422800 h 462341"/>
                <a:gd name="connsiteX8" fmla="*/ 186003 w 435145"/>
                <a:gd name="connsiteY8" fmla="*/ 362967 h 462341"/>
                <a:gd name="connsiteX9" fmla="*/ 186003 w 435145"/>
                <a:gd name="connsiteY9" fmla="*/ 213386 h 462341"/>
                <a:gd name="connsiteX10" fmla="*/ 186003 w 435145"/>
                <a:gd name="connsiteY10" fmla="*/ 213386 h 462341"/>
                <a:gd name="connsiteX11" fmla="*/ 229517 w 435145"/>
                <a:gd name="connsiteY11" fmla="*/ 161713 h 462341"/>
                <a:gd name="connsiteX12" fmla="*/ 259433 w 435145"/>
                <a:gd name="connsiteY12" fmla="*/ 194349 h 462341"/>
                <a:gd name="connsiteX13" fmla="*/ 259433 w 435145"/>
                <a:gd name="connsiteY13" fmla="*/ 362967 h 462341"/>
                <a:gd name="connsiteX14" fmla="*/ 321985 w 435145"/>
                <a:gd name="connsiteY14" fmla="*/ 422800 h 462341"/>
                <a:gd name="connsiteX15" fmla="*/ 387257 w 435145"/>
                <a:gd name="connsiteY15" fmla="*/ 362967 h 462341"/>
                <a:gd name="connsiteX16" fmla="*/ 387257 w 435145"/>
                <a:gd name="connsiteY16" fmla="*/ 273219 h 462341"/>
                <a:gd name="connsiteX17" fmla="*/ 302948 w 435145"/>
                <a:gd name="connsiteY17" fmla="*/ 74684 h 4623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435145" h="462341">
                  <a:moveTo>
                    <a:pt x="302948" y="74684"/>
                  </a:moveTo>
                  <a:cubicBezTo>
                    <a:pt x="234956" y="74684"/>
                    <a:pt x="196881" y="131797"/>
                    <a:pt x="186003" y="148115"/>
                  </a:cubicBezTo>
                  <a:lnTo>
                    <a:pt x="186003" y="148115"/>
                  </a:lnTo>
                  <a:cubicBezTo>
                    <a:pt x="186003" y="129077"/>
                    <a:pt x="186003" y="115479"/>
                    <a:pt x="186003" y="115479"/>
                  </a:cubicBezTo>
                  <a:cubicBezTo>
                    <a:pt x="186003" y="82843"/>
                    <a:pt x="156086" y="58366"/>
                    <a:pt x="123450" y="58366"/>
                  </a:cubicBezTo>
                  <a:cubicBezTo>
                    <a:pt x="90814" y="55646"/>
                    <a:pt x="58178" y="82843"/>
                    <a:pt x="58178" y="115479"/>
                  </a:cubicBezTo>
                  <a:cubicBezTo>
                    <a:pt x="58178" y="120918"/>
                    <a:pt x="58178" y="360248"/>
                    <a:pt x="58178" y="362967"/>
                  </a:cubicBezTo>
                  <a:cubicBezTo>
                    <a:pt x="58178" y="395603"/>
                    <a:pt x="88095" y="422800"/>
                    <a:pt x="120730" y="422800"/>
                  </a:cubicBezTo>
                  <a:cubicBezTo>
                    <a:pt x="153366" y="425519"/>
                    <a:pt x="186003" y="395603"/>
                    <a:pt x="186003" y="362967"/>
                  </a:cubicBezTo>
                  <a:cubicBezTo>
                    <a:pt x="186003" y="360248"/>
                    <a:pt x="186003" y="281378"/>
                    <a:pt x="186003" y="213386"/>
                  </a:cubicBezTo>
                  <a:lnTo>
                    <a:pt x="186003" y="213386"/>
                  </a:lnTo>
                  <a:cubicBezTo>
                    <a:pt x="191442" y="186190"/>
                    <a:pt x="205040" y="161713"/>
                    <a:pt x="229517" y="161713"/>
                  </a:cubicBezTo>
                  <a:cubicBezTo>
                    <a:pt x="259433" y="161713"/>
                    <a:pt x="259433" y="194349"/>
                    <a:pt x="259433" y="194349"/>
                  </a:cubicBezTo>
                  <a:lnTo>
                    <a:pt x="259433" y="362967"/>
                  </a:lnTo>
                  <a:cubicBezTo>
                    <a:pt x="259433" y="395603"/>
                    <a:pt x="289349" y="422800"/>
                    <a:pt x="321985" y="422800"/>
                  </a:cubicBezTo>
                  <a:cubicBezTo>
                    <a:pt x="354621" y="425519"/>
                    <a:pt x="387257" y="395603"/>
                    <a:pt x="387257" y="362967"/>
                  </a:cubicBezTo>
                  <a:lnTo>
                    <a:pt x="387257" y="273219"/>
                  </a:lnTo>
                  <a:cubicBezTo>
                    <a:pt x="387257" y="183470"/>
                    <a:pt x="395416" y="71964"/>
                    <a:pt x="302948" y="74684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E4435034-3BFA-4E05-A947-D42274FB4ACD}"/>
                </a:ext>
              </a:extLst>
            </p:cNvPr>
            <p:cNvSpPr/>
            <p:nvPr/>
          </p:nvSpPr>
          <p:spPr>
            <a:xfrm>
              <a:off x="7960620" y="3416868"/>
              <a:ext cx="435145" cy="462341"/>
            </a:xfrm>
            <a:custGeom>
              <a:avLst/>
              <a:gdLst>
                <a:gd name="connsiteX0" fmla="*/ 302948 w 435145"/>
                <a:gd name="connsiteY0" fmla="*/ 74684 h 462341"/>
                <a:gd name="connsiteX1" fmla="*/ 186002 w 435145"/>
                <a:gd name="connsiteY1" fmla="*/ 148115 h 462341"/>
                <a:gd name="connsiteX2" fmla="*/ 186002 w 435145"/>
                <a:gd name="connsiteY2" fmla="*/ 148115 h 462341"/>
                <a:gd name="connsiteX3" fmla="*/ 186002 w 435145"/>
                <a:gd name="connsiteY3" fmla="*/ 115479 h 462341"/>
                <a:gd name="connsiteX4" fmla="*/ 123450 w 435145"/>
                <a:gd name="connsiteY4" fmla="*/ 58366 h 462341"/>
                <a:gd name="connsiteX5" fmla="*/ 58178 w 435145"/>
                <a:gd name="connsiteY5" fmla="*/ 115479 h 462341"/>
                <a:gd name="connsiteX6" fmla="*/ 58178 w 435145"/>
                <a:gd name="connsiteY6" fmla="*/ 362967 h 462341"/>
                <a:gd name="connsiteX7" fmla="*/ 120730 w 435145"/>
                <a:gd name="connsiteY7" fmla="*/ 422800 h 462341"/>
                <a:gd name="connsiteX8" fmla="*/ 186002 w 435145"/>
                <a:gd name="connsiteY8" fmla="*/ 362967 h 462341"/>
                <a:gd name="connsiteX9" fmla="*/ 186002 w 435145"/>
                <a:gd name="connsiteY9" fmla="*/ 213386 h 462341"/>
                <a:gd name="connsiteX10" fmla="*/ 186002 w 435145"/>
                <a:gd name="connsiteY10" fmla="*/ 213386 h 462341"/>
                <a:gd name="connsiteX11" fmla="*/ 229517 w 435145"/>
                <a:gd name="connsiteY11" fmla="*/ 161713 h 462341"/>
                <a:gd name="connsiteX12" fmla="*/ 259433 w 435145"/>
                <a:gd name="connsiteY12" fmla="*/ 194349 h 462341"/>
                <a:gd name="connsiteX13" fmla="*/ 259433 w 435145"/>
                <a:gd name="connsiteY13" fmla="*/ 362967 h 462341"/>
                <a:gd name="connsiteX14" fmla="*/ 321985 w 435145"/>
                <a:gd name="connsiteY14" fmla="*/ 422800 h 462341"/>
                <a:gd name="connsiteX15" fmla="*/ 387257 w 435145"/>
                <a:gd name="connsiteY15" fmla="*/ 362967 h 462341"/>
                <a:gd name="connsiteX16" fmla="*/ 387257 w 435145"/>
                <a:gd name="connsiteY16" fmla="*/ 273219 h 462341"/>
                <a:gd name="connsiteX17" fmla="*/ 302948 w 435145"/>
                <a:gd name="connsiteY17" fmla="*/ 74684 h 4623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435145" h="462341">
                  <a:moveTo>
                    <a:pt x="302948" y="74684"/>
                  </a:moveTo>
                  <a:cubicBezTo>
                    <a:pt x="234956" y="74684"/>
                    <a:pt x="196881" y="131797"/>
                    <a:pt x="186002" y="148115"/>
                  </a:cubicBezTo>
                  <a:lnTo>
                    <a:pt x="186002" y="148115"/>
                  </a:lnTo>
                  <a:cubicBezTo>
                    <a:pt x="186002" y="129077"/>
                    <a:pt x="186002" y="115479"/>
                    <a:pt x="186002" y="115479"/>
                  </a:cubicBezTo>
                  <a:cubicBezTo>
                    <a:pt x="186002" y="82843"/>
                    <a:pt x="156086" y="58366"/>
                    <a:pt x="123450" y="58366"/>
                  </a:cubicBezTo>
                  <a:cubicBezTo>
                    <a:pt x="90814" y="55646"/>
                    <a:pt x="58178" y="82843"/>
                    <a:pt x="58178" y="115479"/>
                  </a:cubicBezTo>
                  <a:cubicBezTo>
                    <a:pt x="58178" y="120918"/>
                    <a:pt x="58178" y="360248"/>
                    <a:pt x="58178" y="362967"/>
                  </a:cubicBezTo>
                  <a:cubicBezTo>
                    <a:pt x="58178" y="395603"/>
                    <a:pt x="88095" y="422800"/>
                    <a:pt x="120730" y="422800"/>
                  </a:cubicBezTo>
                  <a:cubicBezTo>
                    <a:pt x="153366" y="425519"/>
                    <a:pt x="186002" y="395603"/>
                    <a:pt x="186002" y="362967"/>
                  </a:cubicBezTo>
                  <a:cubicBezTo>
                    <a:pt x="186002" y="360248"/>
                    <a:pt x="186002" y="281378"/>
                    <a:pt x="186002" y="213386"/>
                  </a:cubicBezTo>
                  <a:lnTo>
                    <a:pt x="186002" y="213386"/>
                  </a:lnTo>
                  <a:cubicBezTo>
                    <a:pt x="191442" y="186190"/>
                    <a:pt x="205040" y="161713"/>
                    <a:pt x="229517" y="161713"/>
                  </a:cubicBezTo>
                  <a:cubicBezTo>
                    <a:pt x="259433" y="161713"/>
                    <a:pt x="259433" y="194349"/>
                    <a:pt x="259433" y="194349"/>
                  </a:cubicBezTo>
                  <a:lnTo>
                    <a:pt x="259433" y="362967"/>
                  </a:lnTo>
                  <a:cubicBezTo>
                    <a:pt x="259433" y="395603"/>
                    <a:pt x="289349" y="422800"/>
                    <a:pt x="321985" y="422800"/>
                  </a:cubicBezTo>
                  <a:cubicBezTo>
                    <a:pt x="354621" y="425519"/>
                    <a:pt x="387257" y="395603"/>
                    <a:pt x="387257" y="362967"/>
                  </a:cubicBezTo>
                  <a:lnTo>
                    <a:pt x="387257" y="273219"/>
                  </a:lnTo>
                  <a:cubicBezTo>
                    <a:pt x="384537" y="183470"/>
                    <a:pt x="395416" y="71964"/>
                    <a:pt x="302948" y="74684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1F94EEDF-4DA9-4C49-8D81-4FEAA7A00790}"/>
                </a:ext>
              </a:extLst>
            </p:cNvPr>
            <p:cNvSpPr/>
            <p:nvPr/>
          </p:nvSpPr>
          <p:spPr>
            <a:xfrm>
              <a:off x="5020669" y="3416868"/>
              <a:ext cx="435145" cy="462341"/>
            </a:xfrm>
            <a:custGeom>
              <a:avLst/>
              <a:gdLst>
                <a:gd name="connsiteX0" fmla="*/ 302948 w 435145"/>
                <a:gd name="connsiteY0" fmla="*/ 74684 h 462341"/>
                <a:gd name="connsiteX1" fmla="*/ 186002 w 435145"/>
                <a:gd name="connsiteY1" fmla="*/ 148115 h 462341"/>
                <a:gd name="connsiteX2" fmla="*/ 186002 w 435145"/>
                <a:gd name="connsiteY2" fmla="*/ 148115 h 462341"/>
                <a:gd name="connsiteX3" fmla="*/ 186002 w 435145"/>
                <a:gd name="connsiteY3" fmla="*/ 115479 h 462341"/>
                <a:gd name="connsiteX4" fmla="*/ 123450 w 435145"/>
                <a:gd name="connsiteY4" fmla="*/ 58366 h 462341"/>
                <a:gd name="connsiteX5" fmla="*/ 58178 w 435145"/>
                <a:gd name="connsiteY5" fmla="*/ 115479 h 462341"/>
                <a:gd name="connsiteX6" fmla="*/ 58178 w 435145"/>
                <a:gd name="connsiteY6" fmla="*/ 362967 h 462341"/>
                <a:gd name="connsiteX7" fmla="*/ 120730 w 435145"/>
                <a:gd name="connsiteY7" fmla="*/ 422800 h 462341"/>
                <a:gd name="connsiteX8" fmla="*/ 186002 w 435145"/>
                <a:gd name="connsiteY8" fmla="*/ 362967 h 462341"/>
                <a:gd name="connsiteX9" fmla="*/ 186002 w 435145"/>
                <a:gd name="connsiteY9" fmla="*/ 213386 h 462341"/>
                <a:gd name="connsiteX10" fmla="*/ 186002 w 435145"/>
                <a:gd name="connsiteY10" fmla="*/ 213386 h 462341"/>
                <a:gd name="connsiteX11" fmla="*/ 229517 w 435145"/>
                <a:gd name="connsiteY11" fmla="*/ 161713 h 462341"/>
                <a:gd name="connsiteX12" fmla="*/ 259433 w 435145"/>
                <a:gd name="connsiteY12" fmla="*/ 194349 h 462341"/>
                <a:gd name="connsiteX13" fmla="*/ 259433 w 435145"/>
                <a:gd name="connsiteY13" fmla="*/ 362967 h 462341"/>
                <a:gd name="connsiteX14" fmla="*/ 321985 w 435145"/>
                <a:gd name="connsiteY14" fmla="*/ 422800 h 462341"/>
                <a:gd name="connsiteX15" fmla="*/ 387257 w 435145"/>
                <a:gd name="connsiteY15" fmla="*/ 362967 h 462341"/>
                <a:gd name="connsiteX16" fmla="*/ 387257 w 435145"/>
                <a:gd name="connsiteY16" fmla="*/ 273219 h 462341"/>
                <a:gd name="connsiteX17" fmla="*/ 302948 w 435145"/>
                <a:gd name="connsiteY17" fmla="*/ 74684 h 4623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435145" h="462341">
                  <a:moveTo>
                    <a:pt x="302948" y="74684"/>
                  </a:moveTo>
                  <a:cubicBezTo>
                    <a:pt x="234956" y="74684"/>
                    <a:pt x="196881" y="131797"/>
                    <a:pt x="186002" y="148115"/>
                  </a:cubicBezTo>
                  <a:lnTo>
                    <a:pt x="186002" y="148115"/>
                  </a:lnTo>
                  <a:cubicBezTo>
                    <a:pt x="186002" y="129077"/>
                    <a:pt x="186002" y="115479"/>
                    <a:pt x="186002" y="115479"/>
                  </a:cubicBezTo>
                  <a:cubicBezTo>
                    <a:pt x="186002" y="82843"/>
                    <a:pt x="156086" y="58366"/>
                    <a:pt x="123450" y="58366"/>
                  </a:cubicBezTo>
                  <a:cubicBezTo>
                    <a:pt x="90814" y="55646"/>
                    <a:pt x="58178" y="82843"/>
                    <a:pt x="58178" y="115479"/>
                  </a:cubicBezTo>
                  <a:cubicBezTo>
                    <a:pt x="58178" y="120918"/>
                    <a:pt x="58178" y="360248"/>
                    <a:pt x="58178" y="362967"/>
                  </a:cubicBezTo>
                  <a:cubicBezTo>
                    <a:pt x="58178" y="395603"/>
                    <a:pt x="88094" y="422800"/>
                    <a:pt x="120730" y="422800"/>
                  </a:cubicBezTo>
                  <a:cubicBezTo>
                    <a:pt x="153366" y="425519"/>
                    <a:pt x="186002" y="395603"/>
                    <a:pt x="186002" y="362967"/>
                  </a:cubicBezTo>
                  <a:cubicBezTo>
                    <a:pt x="186002" y="360248"/>
                    <a:pt x="186002" y="281378"/>
                    <a:pt x="186002" y="213386"/>
                  </a:cubicBezTo>
                  <a:lnTo>
                    <a:pt x="186002" y="213386"/>
                  </a:lnTo>
                  <a:cubicBezTo>
                    <a:pt x="191442" y="186190"/>
                    <a:pt x="205040" y="161713"/>
                    <a:pt x="229517" y="161713"/>
                  </a:cubicBezTo>
                  <a:cubicBezTo>
                    <a:pt x="259433" y="161713"/>
                    <a:pt x="259433" y="194349"/>
                    <a:pt x="259433" y="194349"/>
                  </a:cubicBezTo>
                  <a:lnTo>
                    <a:pt x="259433" y="362967"/>
                  </a:lnTo>
                  <a:cubicBezTo>
                    <a:pt x="259433" y="395603"/>
                    <a:pt x="289349" y="422800"/>
                    <a:pt x="321985" y="422800"/>
                  </a:cubicBezTo>
                  <a:cubicBezTo>
                    <a:pt x="354621" y="425519"/>
                    <a:pt x="387257" y="395603"/>
                    <a:pt x="387257" y="362967"/>
                  </a:cubicBezTo>
                  <a:lnTo>
                    <a:pt x="387257" y="273219"/>
                  </a:lnTo>
                  <a:cubicBezTo>
                    <a:pt x="384537" y="183470"/>
                    <a:pt x="395416" y="71964"/>
                    <a:pt x="302948" y="74684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847FAE4D-6929-4A6E-B735-59F6ED016FDD}"/>
                </a:ext>
              </a:extLst>
            </p:cNvPr>
            <p:cNvSpPr/>
            <p:nvPr/>
          </p:nvSpPr>
          <p:spPr>
            <a:xfrm>
              <a:off x="7616289" y="3475234"/>
              <a:ext cx="364436" cy="364434"/>
            </a:xfrm>
            <a:custGeom>
              <a:avLst/>
              <a:gdLst>
                <a:gd name="connsiteX0" fmla="*/ 182218 w 364436"/>
                <a:gd name="connsiteY0" fmla="*/ 73431 h 364434"/>
                <a:gd name="connsiteX1" fmla="*/ 130544 w 364436"/>
                <a:gd name="connsiteY1" fmla="*/ 179499 h 364434"/>
                <a:gd name="connsiteX2" fmla="*/ 182218 w 364436"/>
                <a:gd name="connsiteY2" fmla="*/ 285565 h 364434"/>
                <a:gd name="connsiteX3" fmla="*/ 233891 w 364436"/>
                <a:gd name="connsiteY3" fmla="*/ 179499 h 364434"/>
                <a:gd name="connsiteX4" fmla="*/ 182218 w 364436"/>
                <a:gd name="connsiteY4" fmla="*/ 73431 h 364434"/>
                <a:gd name="connsiteX5" fmla="*/ 182219 w 364436"/>
                <a:gd name="connsiteY5" fmla="*/ 0 h 364434"/>
                <a:gd name="connsiteX6" fmla="*/ 364436 w 364436"/>
                <a:gd name="connsiteY6" fmla="*/ 182217 h 364434"/>
                <a:gd name="connsiteX7" fmla="*/ 182219 w 364436"/>
                <a:gd name="connsiteY7" fmla="*/ 364434 h 364434"/>
                <a:gd name="connsiteX8" fmla="*/ 0 w 364436"/>
                <a:gd name="connsiteY8" fmla="*/ 182217 h 364434"/>
                <a:gd name="connsiteX9" fmla="*/ 182219 w 364436"/>
                <a:gd name="connsiteY9" fmla="*/ 0 h 3644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64436" h="364434">
                  <a:moveTo>
                    <a:pt x="182218" y="73431"/>
                  </a:moveTo>
                  <a:cubicBezTo>
                    <a:pt x="152302" y="76151"/>
                    <a:pt x="130544" y="114226"/>
                    <a:pt x="130544" y="179499"/>
                  </a:cubicBezTo>
                  <a:cubicBezTo>
                    <a:pt x="130544" y="244770"/>
                    <a:pt x="146862" y="285565"/>
                    <a:pt x="182218" y="285565"/>
                  </a:cubicBezTo>
                  <a:cubicBezTo>
                    <a:pt x="217573" y="285565"/>
                    <a:pt x="233891" y="247490"/>
                    <a:pt x="233891" y="179499"/>
                  </a:cubicBezTo>
                  <a:cubicBezTo>
                    <a:pt x="233891" y="114226"/>
                    <a:pt x="212134" y="73431"/>
                    <a:pt x="182218" y="73431"/>
                  </a:cubicBezTo>
                  <a:close/>
                  <a:moveTo>
                    <a:pt x="182219" y="0"/>
                  </a:moveTo>
                  <a:cubicBezTo>
                    <a:pt x="282846" y="0"/>
                    <a:pt x="364436" y="81590"/>
                    <a:pt x="364436" y="182217"/>
                  </a:cubicBezTo>
                  <a:cubicBezTo>
                    <a:pt x="364436" y="282844"/>
                    <a:pt x="282846" y="364434"/>
                    <a:pt x="182219" y="364434"/>
                  </a:cubicBezTo>
                  <a:cubicBezTo>
                    <a:pt x="81591" y="364434"/>
                    <a:pt x="0" y="282844"/>
                    <a:pt x="0" y="182217"/>
                  </a:cubicBezTo>
                  <a:cubicBezTo>
                    <a:pt x="0" y="81590"/>
                    <a:pt x="81591" y="0"/>
                    <a:pt x="182219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A61A7D8E-A6BF-40D7-95EB-1191999BD2EC}"/>
                </a:ext>
              </a:extLst>
            </p:cNvPr>
            <p:cNvSpPr/>
            <p:nvPr/>
          </p:nvSpPr>
          <p:spPr>
            <a:xfrm>
              <a:off x="6743101" y="3464184"/>
              <a:ext cx="372773" cy="375657"/>
            </a:xfrm>
            <a:custGeom>
              <a:avLst/>
              <a:gdLst>
                <a:gd name="connsiteX0" fmla="*/ 176958 w 372773"/>
                <a:gd name="connsiteY0" fmla="*/ 98080 h 375657"/>
                <a:gd name="connsiteX1" fmla="*/ 125284 w 372773"/>
                <a:gd name="connsiteY1" fmla="*/ 190548 h 375657"/>
                <a:gd name="connsiteX2" fmla="*/ 176958 w 372773"/>
                <a:gd name="connsiteY2" fmla="*/ 283017 h 375657"/>
                <a:gd name="connsiteX3" fmla="*/ 228631 w 372773"/>
                <a:gd name="connsiteY3" fmla="*/ 190548 h 375657"/>
                <a:gd name="connsiteX4" fmla="*/ 176958 w 372773"/>
                <a:gd name="connsiteY4" fmla="*/ 98080 h 375657"/>
                <a:gd name="connsiteX5" fmla="*/ 307501 w 372773"/>
                <a:gd name="connsiteY5" fmla="*/ 172 h 375657"/>
                <a:gd name="connsiteX6" fmla="*/ 372773 w 372773"/>
                <a:gd name="connsiteY6" fmla="*/ 62724 h 375657"/>
                <a:gd name="connsiteX7" fmla="*/ 372773 w 372773"/>
                <a:gd name="connsiteY7" fmla="*/ 312934 h 375657"/>
                <a:gd name="connsiteX8" fmla="*/ 302061 w 372773"/>
                <a:gd name="connsiteY8" fmla="*/ 375486 h 375657"/>
                <a:gd name="connsiteX9" fmla="*/ 239509 w 372773"/>
                <a:gd name="connsiteY9" fmla="*/ 326532 h 375657"/>
                <a:gd name="connsiteX10" fmla="*/ 179677 w 372773"/>
                <a:gd name="connsiteY10" fmla="*/ 370046 h 375657"/>
                <a:gd name="connsiteX11" fmla="*/ 70890 w 372773"/>
                <a:gd name="connsiteY11" fmla="*/ 353728 h 375657"/>
                <a:gd name="connsiteX12" fmla="*/ 128003 w 372773"/>
                <a:gd name="connsiteY12" fmla="*/ 11051 h 375657"/>
                <a:gd name="connsiteX13" fmla="*/ 236790 w 372773"/>
                <a:gd name="connsiteY13" fmla="*/ 70883 h 375657"/>
                <a:gd name="connsiteX14" fmla="*/ 236790 w 372773"/>
                <a:gd name="connsiteY14" fmla="*/ 62724 h 375657"/>
                <a:gd name="connsiteX15" fmla="*/ 307501 w 372773"/>
                <a:gd name="connsiteY15" fmla="*/ 172 h 3756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72773" h="375657">
                  <a:moveTo>
                    <a:pt x="176958" y="98080"/>
                  </a:moveTo>
                  <a:cubicBezTo>
                    <a:pt x="147042" y="100800"/>
                    <a:pt x="125284" y="133436"/>
                    <a:pt x="125284" y="190548"/>
                  </a:cubicBezTo>
                  <a:cubicBezTo>
                    <a:pt x="125284" y="247661"/>
                    <a:pt x="141602" y="283017"/>
                    <a:pt x="176958" y="283017"/>
                  </a:cubicBezTo>
                  <a:cubicBezTo>
                    <a:pt x="212314" y="283017"/>
                    <a:pt x="228631" y="247661"/>
                    <a:pt x="228631" y="190548"/>
                  </a:cubicBezTo>
                  <a:cubicBezTo>
                    <a:pt x="228631" y="133436"/>
                    <a:pt x="206874" y="98080"/>
                    <a:pt x="176958" y="98080"/>
                  </a:cubicBezTo>
                  <a:close/>
                  <a:moveTo>
                    <a:pt x="307501" y="172"/>
                  </a:moveTo>
                  <a:cubicBezTo>
                    <a:pt x="340137" y="172"/>
                    <a:pt x="372773" y="30088"/>
                    <a:pt x="372773" y="62724"/>
                  </a:cubicBezTo>
                  <a:cubicBezTo>
                    <a:pt x="372773" y="65444"/>
                    <a:pt x="372773" y="307494"/>
                    <a:pt x="372773" y="312934"/>
                  </a:cubicBezTo>
                  <a:cubicBezTo>
                    <a:pt x="370053" y="348289"/>
                    <a:pt x="337417" y="378205"/>
                    <a:pt x="302061" y="375486"/>
                  </a:cubicBezTo>
                  <a:cubicBezTo>
                    <a:pt x="274865" y="372766"/>
                    <a:pt x="247668" y="353728"/>
                    <a:pt x="239509" y="326532"/>
                  </a:cubicBezTo>
                  <a:cubicBezTo>
                    <a:pt x="225911" y="348289"/>
                    <a:pt x="198715" y="364607"/>
                    <a:pt x="179677" y="370046"/>
                  </a:cubicBezTo>
                  <a:cubicBezTo>
                    <a:pt x="147041" y="378205"/>
                    <a:pt x="100807" y="372766"/>
                    <a:pt x="70890" y="353728"/>
                  </a:cubicBezTo>
                  <a:cubicBezTo>
                    <a:pt x="-35177" y="285737"/>
                    <a:pt x="-27018" y="11051"/>
                    <a:pt x="128003" y="11051"/>
                  </a:cubicBezTo>
                  <a:cubicBezTo>
                    <a:pt x="185116" y="11051"/>
                    <a:pt x="220471" y="49126"/>
                    <a:pt x="236790" y="70883"/>
                  </a:cubicBezTo>
                  <a:cubicBezTo>
                    <a:pt x="236790" y="70883"/>
                    <a:pt x="236790" y="65444"/>
                    <a:pt x="236790" y="62724"/>
                  </a:cubicBezTo>
                  <a:cubicBezTo>
                    <a:pt x="239509" y="27369"/>
                    <a:pt x="272145" y="-2547"/>
                    <a:pt x="307501" y="172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/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41409C27-3D54-4E7E-B608-F8D1F36BC68E}"/>
                </a:ext>
              </a:extLst>
            </p:cNvPr>
            <p:cNvSpPr/>
            <p:nvPr/>
          </p:nvSpPr>
          <p:spPr>
            <a:xfrm>
              <a:off x="8380335" y="3464184"/>
              <a:ext cx="372772" cy="375657"/>
            </a:xfrm>
            <a:custGeom>
              <a:avLst/>
              <a:gdLst>
                <a:gd name="connsiteX0" fmla="*/ 176957 w 372772"/>
                <a:gd name="connsiteY0" fmla="*/ 98080 h 375657"/>
                <a:gd name="connsiteX1" fmla="*/ 125282 w 372772"/>
                <a:gd name="connsiteY1" fmla="*/ 190548 h 375657"/>
                <a:gd name="connsiteX2" fmla="*/ 176957 w 372772"/>
                <a:gd name="connsiteY2" fmla="*/ 283017 h 375657"/>
                <a:gd name="connsiteX3" fmla="*/ 228630 w 372772"/>
                <a:gd name="connsiteY3" fmla="*/ 190548 h 375657"/>
                <a:gd name="connsiteX4" fmla="*/ 176957 w 372772"/>
                <a:gd name="connsiteY4" fmla="*/ 98080 h 375657"/>
                <a:gd name="connsiteX5" fmla="*/ 307501 w 372772"/>
                <a:gd name="connsiteY5" fmla="*/ 172 h 375657"/>
                <a:gd name="connsiteX6" fmla="*/ 372772 w 372772"/>
                <a:gd name="connsiteY6" fmla="*/ 62724 h 375657"/>
                <a:gd name="connsiteX7" fmla="*/ 372772 w 372772"/>
                <a:gd name="connsiteY7" fmla="*/ 312934 h 375657"/>
                <a:gd name="connsiteX8" fmla="*/ 302062 w 372772"/>
                <a:gd name="connsiteY8" fmla="*/ 375486 h 375657"/>
                <a:gd name="connsiteX9" fmla="*/ 239509 w 372772"/>
                <a:gd name="connsiteY9" fmla="*/ 326532 h 375657"/>
                <a:gd name="connsiteX10" fmla="*/ 179677 w 372772"/>
                <a:gd name="connsiteY10" fmla="*/ 370046 h 375657"/>
                <a:gd name="connsiteX11" fmla="*/ 70890 w 372772"/>
                <a:gd name="connsiteY11" fmla="*/ 353728 h 375657"/>
                <a:gd name="connsiteX12" fmla="*/ 128002 w 372772"/>
                <a:gd name="connsiteY12" fmla="*/ 11051 h 375657"/>
                <a:gd name="connsiteX13" fmla="*/ 236790 w 372772"/>
                <a:gd name="connsiteY13" fmla="*/ 70883 h 375657"/>
                <a:gd name="connsiteX14" fmla="*/ 236790 w 372772"/>
                <a:gd name="connsiteY14" fmla="*/ 62724 h 375657"/>
                <a:gd name="connsiteX15" fmla="*/ 307501 w 372772"/>
                <a:gd name="connsiteY15" fmla="*/ 172 h 3756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72772" h="375657">
                  <a:moveTo>
                    <a:pt x="176957" y="98080"/>
                  </a:moveTo>
                  <a:cubicBezTo>
                    <a:pt x="147039" y="100800"/>
                    <a:pt x="125282" y="133436"/>
                    <a:pt x="125282" y="190548"/>
                  </a:cubicBezTo>
                  <a:cubicBezTo>
                    <a:pt x="125282" y="247661"/>
                    <a:pt x="141600" y="283017"/>
                    <a:pt x="176957" y="283017"/>
                  </a:cubicBezTo>
                  <a:cubicBezTo>
                    <a:pt x="212312" y="283017"/>
                    <a:pt x="228630" y="247661"/>
                    <a:pt x="228630" y="190548"/>
                  </a:cubicBezTo>
                  <a:cubicBezTo>
                    <a:pt x="228630" y="133436"/>
                    <a:pt x="206873" y="98080"/>
                    <a:pt x="176957" y="98080"/>
                  </a:cubicBezTo>
                  <a:close/>
                  <a:moveTo>
                    <a:pt x="307501" y="172"/>
                  </a:moveTo>
                  <a:cubicBezTo>
                    <a:pt x="340137" y="172"/>
                    <a:pt x="372772" y="30088"/>
                    <a:pt x="372772" y="62724"/>
                  </a:cubicBezTo>
                  <a:cubicBezTo>
                    <a:pt x="372772" y="65444"/>
                    <a:pt x="372772" y="307494"/>
                    <a:pt x="372772" y="312934"/>
                  </a:cubicBezTo>
                  <a:cubicBezTo>
                    <a:pt x="370053" y="348289"/>
                    <a:pt x="337417" y="378205"/>
                    <a:pt x="302062" y="375486"/>
                  </a:cubicBezTo>
                  <a:cubicBezTo>
                    <a:pt x="274865" y="372766"/>
                    <a:pt x="247668" y="353728"/>
                    <a:pt x="239509" y="326532"/>
                  </a:cubicBezTo>
                  <a:cubicBezTo>
                    <a:pt x="228630" y="348289"/>
                    <a:pt x="198714" y="364607"/>
                    <a:pt x="179677" y="370046"/>
                  </a:cubicBezTo>
                  <a:cubicBezTo>
                    <a:pt x="147040" y="378205"/>
                    <a:pt x="100806" y="372766"/>
                    <a:pt x="70890" y="353728"/>
                  </a:cubicBezTo>
                  <a:cubicBezTo>
                    <a:pt x="-35177" y="285737"/>
                    <a:pt x="-27018" y="11051"/>
                    <a:pt x="128002" y="11051"/>
                  </a:cubicBezTo>
                  <a:cubicBezTo>
                    <a:pt x="185116" y="11051"/>
                    <a:pt x="220472" y="49126"/>
                    <a:pt x="236790" y="70883"/>
                  </a:cubicBezTo>
                  <a:cubicBezTo>
                    <a:pt x="236790" y="70883"/>
                    <a:pt x="236790" y="65444"/>
                    <a:pt x="236790" y="62724"/>
                  </a:cubicBezTo>
                  <a:cubicBezTo>
                    <a:pt x="239509" y="27369"/>
                    <a:pt x="272145" y="-2547"/>
                    <a:pt x="307501" y="172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DD063CBE-F520-471D-99C8-586943DE0D8C}"/>
                </a:ext>
              </a:extLst>
            </p:cNvPr>
            <p:cNvSpPr/>
            <p:nvPr/>
          </p:nvSpPr>
          <p:spPr>
            <a:xfrm>
              <a:off x="7389492" y="3444253"/>
              <a:ext cx="217573" cy="435145"/>
            </a:xfrm>
            <a:custGeom>
              <a:avLst/>
              <a:gdLst>
                <a:gd name="connsiteX0" fmla="*/ 186002 w 217572"/>
                <a:gd name="connsiteY0" fmla="*/ 118011 h 435144"/>
                <a:gd name="connsiteX1" fmla="*/ 128890 w 217572"/>
                <a:gd name="connsiteY1" fmla="*/ 58178 h 435144"/>
                <a:gd name="connsiteX2" fmla="*/ 123450 w 217572"/>
                <a:gd name="connsiteY2" fmla="*/ 58178 h 435144"/>
                <a:gd name="connsiteX3" fmla="*/ 58178 w 217572"/>
                <a:gd name="connsiteY3" fmla="*/ 115291 h 435144"/>
                <a:gd name="connsiteX4" fmla="*/ 58178 w 217572"/>
                <a:gd name="connsiteY4" fmla="*/ 232236 h 435144"/>
                <a:gd name="connsiteX5" fmla="*/ 58178 w 217572"/>
                <a:gd name="connsiteY5" fmla="*/ 232236 h 435144"/>
                <a:gd name="connsiteX6" fmla="*/ 58178 w 217572"/>
                <a:gd name="connsiteY6" fmla="*/ 335583 h 435144"/>
                <a:gd name="connsiteX7" fmla="*/ 115291 w 217572"/>
                <a:gd name="connsiteY7" fmla="*/ 395415 h 435144"/>
                <a:gd name="connsiteX8" fmla="*/ 120730 w 217572"/>
                <a:gd name="connsiteY8" fmla="*/ 395415 h 435144"/>
                <a:gd name="connsiteX9" fmla="*/ 186002 w 217572"/>
                <a:gd name="connsiteY9" fmla="*/ 338303 h 435144"/>
                <a:gd name="connsiteX10" fmla="*/ 186002 w 217572"/>
                <a:gd name="connsiteY10" fmla="*/ 240395 h 435144"/>
                <a:gd name="connsiteX11" fmla="*/ 186002 w 217572"/>
                <a:gd name="connsiteY11" fmla="*/ 240395 h 435144"/>
                <a:gd name="connsiteX12" fmla="*/ 186002 w 217572"/>
                <a:gd name="connsiteY12" fmla="*/ 118011 h 4351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17572" h="435144">
                  <a:moveTo>
                    <a:pt x="186002" y="118011"/>
                  </a:moveTo>
                  <a:cubicBezTo>
                    <a:pt x="183283" y="85375"/>
                    <a:pt x="158806" y="60898"/>
                    <a:pt x="128890" y="58178"/>
                  </a:cubicBezTo>
                  <a:cubicBezTo>
                    <a:pt x="126170" y="58178"/>
                    <a:pt x="126170" y="58178"/>
                    <a:pt x="123450" y="58178"/>
                  </a:cubicBezTo>
                  <a:cubicBezTo>
                    <a:pt x="96254" y="58178"/>
                    <a:pt x="58178" y="82655"/>
                    <a:pt x="58178" y="115291"/>
                  </a:cubicBezTo>
                  <a:lnTo>
                    <a:pt x="58178" y="232236"/>
                  </a:lnTo>
                  <a:lnTo>
                    <a:pt x="58178" y="232236"/>
                  </a:lnTo>
                  <a:cubicBezTo>
                    <a:pt x="58178" y="270311"/>
                    <a:pt x="58178" y="335583"/>
                    <a:pt x="58178" y="335583"/>
                  </a:cubicBezTo>
                  <a:cubicBezTo>
                    <a:pt x="60898" y="368219"/>
                    <a:pt x="85375" y="392696"/>
                    <a:pt x="115291" y="395415"/>
                  </a:cubicBezTo>
                  <a:cubicBezTo>
                    <a:pt x="118011" y="395415"/>
                    <a:pt x="118011" y="395415"/>
                    <a:pt x="120730" y="395415"/>
                  </a:cubicBezTo>
                  <a:cubicBezTo>
                    <a:pt x="147927" y="395415"/>
                    <a:pt x="186002" y="370938"/>
                    <a:pt x="186002" y="338303"/>
                  </a:cubicBezTo>
                  <a:lnTo>
                    <a:pt x="186002" y="240395"/>
                  </a:lnTo>
                  <a:lnTo>
                    <a:pt x="186002" y="240395"/>
                  </a:lnTo>
                  <a:cubicBezTo>
                    <a:pt x="186002" y="202320"/>
                    <a:pt x="186002" y="118011"/>
                    <a:pt x="186002" y="118011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8DC003CD-8A26-432E-9060-84F8E0B2AA1B}"/>
                </a:ext>
              </a:extLst>
            </p:cNvPr>
            <p:cNvSpPr/>
            <p:nvPr/>
          </p:nvSpPr>
          <p:spPr>
            <a:xfrm>
              <a:off x="7392212" y="3280901"/>
              <a:ext cx="217573" cy="217572"/>
            </a:xfrm>
            <a:custGeom>
              <a:avLst/>
              <a:gdLst>
                <a:gd name="connsiteX0" fmla="*/ 183282 w 217572"/>
                <a:gd name="connsiteY0" fmla="*/ 120902 h 217572"/>
                <a:gd name="connsiteX1" fmla="*/ 120730 w 217572"/>
                <a:gd name="connsiteY1" fmla="*/ 183454 h 217572"/>
                <a:gd name="connsiteX2" fmla="*/ 58178 w 217572"/>
                <a:gd name="connsiteY2" fmla="*/ 120902 h 217572"/>
                <a:gd name="connsiteX3" fmla="*/ 120730 w 217572"/>
                <a:gd name="connsiteY3" fmla="*/ 58350 h 217572"/>
                <a:gd name="connsiteX4" fmla="*/ 183282 w 217572"/>
                <a:gd name="connsiteY4" fmla="*/ 120902 h 2175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17572" h="217572">
                  <a:moveTo>
                    <a:pt x="183282" y="120902"/>
                  </a:moveTo>
                  <a:cubicBezTo>
                    <a:pt x="183282" y="156258"/>
                    <a:pt x="156086" y="183454"/>
                    <a:pt x="120730" y="183454"/>
                  </a:cubicBezTo>
                  <a:cubicBezTo>
                    <a:pt x="85375" y="183454"/>
                    <a:pt x="58178" y="156258"/>
                    <a:pt x="58178" y="120902"/>
                  </a:cubicBezTo>
                  <a:cubicBezTo>
                    <a:pt x="58178" y="85547"/>
                    <a:pt x="85375" y="58350"/>
                    <a:pt x="120730" y="58350"/>
                  </a:cubicBezTo>
                  <a:cubicBezTo>
                    <a:pt x="153366" y="55630"/>
                    <a:pt x="183282" y="85547"/>
                    <a:pt x="183282" y="120902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/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8EA46793-C37F-42AD-B0A2-1B9D19975188}"/>
                </a:ext>
              </a:extLst>
            </p:cNvPr>
            <p:cNvSpPr/>
            <p:nvPr/>
          </p:nvSpPr>
          <p:spPr>
            <a:xfrm>
              <a:off x="6005186" y="3416884"/>
              <a:ext cx="380752" cy="462341"/>
            </a:xfrm>
            <a:custGeom>
              <a:avLst/>
              <a:gdLst>
                <a:gd name="connsiteX0" fmla="*/ 270312 w 380752"/>
                <a:gd name="connsiteY0" fmla="*/ 69229 h 462341"/>
                <a:gd name="connsiteX1" fmla="*/ 188722 w 380752"/>
                <a:gd name="connsiteY1" fmla="*/ 134501 h 462341"/>
                <a:gd name="connsiteX2" fmla="*/ 188722 w 380752"/>
                <a:gd name="connsiteY2" fmla="*/ 118183 h 462341"/>
                <a:gd name="connsiteX3" fmla="*/ 126170 w 380752"/>
                <a:gd name="connsiteY3" fmla="*/ 58350 h 462341"/>
                <a:gd name="connsiteX4" fmla="*/ 58178 w 380752"/>
                <a:gd name="connsiteY4" fmla="*/ 118183 h 462341"/>
                <a:gd name="connsiteX5" fmla="*/ 58178 w 380752"/>
                <a:gd name="connsiteY5" fmla="*/ 210651 h 462341"/>
                <a:gd name="connsiteX6" fmla="*/ 58178 w 380752"/>
                <a:gd name="connsiteY6" fmla="*/ 365671 h 462341"/>
                <a:gd name="connsiteX7" fmla="*/ 58178 w 380752"/>
                <a:gd name="connsiteY7" fmla="*/ 365671 h 462341"/>
                <a:gd name="connsiteX8" fmla="*/ 120730 w 380752"/>
                <a:gd name="connsiteY8" fmla="*/ 425504 h 462341"/>
                <a:gd name="connsiteX9" fmla="*/ 186002 w 380752"/>
                <a:gd name="connsiteY9" fmla="*/ 365671 h 462341"/>
                <a:gd name="connsiteX10" fmla="*/ 186002 w 380752"/>
                <a:gd name="connsiteY10" fmla="*/ 365671 h 462341"/>
                <a:gd name="connsiteX11" fmla="*/ 186002 w 380752"/>
                <a:gd name="connsiteY11" fmla="*/ 210651 h 462341"/>
                <a:gd name="connsiteX12" fmla="*/ 215919 w 380752"/>
                <a:gd name="connsiteY12" fmla="*/ 158978 h 462341"/>
                <a:gd name="connsiteX13" fmla="*/ 275751 w 380752"/>
                <a:gd name="connsiteY13" fmla="*/ 221530 h 462341"/>
                <a:gd name="connsiteX14" fmla="*/ 270312 w 380752"/>
                <a:gd name="connsiteY14" fmla="*/ 69229 h 4623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80752" h="462341">
                  <a:moveTo>
                    <a:pt x="270312" y="69229"/>
                  </a:moveTo>
                  <a:cubicBezTo>
                    <a:pt x="232236" y="71949"/>
                    <a:pt x="213199" y="99145"/>
                    <a:pt x="188722" y="134501"/>
                  </a:cubicBezTo>
                  <a:cubicBezTo>
                    <a:pt x="188722" y="134501"/>
                    <a:pt x="188722" y="118183"/>
                    <a:pt x="188722" y="118183"/>
                  </a:cubicBezTo>
                  <a:cubicBezTo>
                    <a:pt x="188722" y="85547"/>
                    <a:pt x="158806" y="58350"/>
                    <a:pt x="126170" y="58350"/>
                  </a:cubicBezTo>
                  <a:cubicBezTo>
                    <a:pt x="93534" y="55631"/>
                    <a:pt x="60898" y="85547"/>
                    <a:pt x="58178" y="118183"/>
                  </a:cubicBezTo>
                  <a:lnTo>
                    <a:pt x="58178" y="210651"/>
                  </a:lnTo>
                  <a:lnTo>
                    <a:pt x="58178" y="365671"/>
                  </a:lnTo>
                  <a:lnTo>
                    <a:pt x="58178" y="365671"/>
                  </a:lnTo>
                  <a:cubicBezTo>
                    <a:pt x="58178" y="398307"/>
                    <a:pt x="88094" y="425504"/>
                    <a:pt x="120730" y="425504"/>
                  </a:cubicBezTo>
                  <a:cubicBezTo>
                    <a:pt x="153366" y="428224"/>
                    <a:pt x="186002" y="398307"/>
                    <a:pt x="186002" y="365671"/>
                  </a:cubicBezTo>
                  <a:lnTo>
                    <a:pt x="186002" y="365671"/>
                  </a:lnTo>
                  <a:lnTo>
                    <a:pt x="186002" y="210651"/>
                  </a:lnTo>
                  <a:cubicBezTo>
                    <a:pt x="188722" y="188894"/>
                    <a:pt x="196881" y="158978"/>
                    <a:pt x="215919" y="158978"/>
                  </a:cubicBezTo>
                  <a:cubicBezTo>
                    <a:pt x="243115" y="158978"/>
                    <a:pt x="215919" y="221530"/>
                    <a:pt x="275751" y="221530"/>
                  </a:cubicBezTo>
                  <a:cubicBezTo>
                    <a:pt x="362780" y="221530"/>
                    <a:pt x="373658" y="63790"/>
                    <a:pt x="270312" y="69229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/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00046F6B-E5D4-4598-93CE-3280F6A1E048}"/>
                </a:ext>
              </a:extLst>
            </p:cNvPr>
            <p:cNvSpPr/>
            <p:nvPr/>
          </p:nvSpPr>
          <p:spPr>
            <a:xfrm>
              <a:off x="5693490" y="3475234"/>
              <a:ext cx="337238" cy="364434"/>
            </a:xfrm>
            <a:custGeom>
              <a:avLst/>
              <a:gdLst>
                <a:gd name="connsiteX0" fmla="*/ 180433 w 337238"/>
                <a:gd name="connsiteY0" fmla="*/ 73984 h 364434"/>
                <a:gd name="connsiteX1" fmla="*/ 163180 w 337238"/>
                <a:gd name="connsiteY1" fmla="*/ 78870 h 364434"/>
                <a:gd name="connsiteX2" fmla="*/ 125105 w 337238"/>
                <a:gd name="connsiteY2" fmla="*/ 160461 h 364434"/>
                <a:gd name="connsiteX3" fmla="*/ 171339 w 337238"/>
                <a:gd name="connsiteY3" fmla="*/ 163180 h 364434"/>
                <a:gd name="connsiteX4" fmla="*/ 214854 w 337238"/>
                <a:gd name="connsiteY4" fmla="*/ 108787 h 364434"/>
                <a:gd name="connsiteX5" fmla="*/ 180433 w 337238"/>
                <a:gd name="connsiteY5" fmla="*/ 73984 h 364434"/>
                <a:gd name="connsiteX6" fmla="*/ 174059 w 337238"/>
                <a:gd name="connsiteY6" fmla="*/ 0 h 364434"/>
                <a:gd name="connsiteX7" fmla="*/ 337238 w 337238"/>
                <a:gd name="connsiteY7" fmla="*/ 119665 h 364434"/>
                <a:gd name="connsiteX8" fmla="*/ 133264 w 337238"/>
                <a:gd name="connsiteY8" fmla="*/ 217573 h 364434"/>
                <a:gd name="connsiteX9" fmla="*/ 225732 w 337238"/>
                <a:gd name="connsiteY9" fmla="*/ 277405 h 364434"/>
                <a:gd name="connsiteX10" fmla="*/ 320920 w 337238"/>
                <a:gd name="connsiteY10" fmla="*/ 250208 h 364434"/>
                <a:gd name="connsiteX11" fmla="*/ 174059 w 337238"/>
                <a:gd name="connsiteY11" fmla="*/ 364434 h 364434"/>
                <a:gd name="connsiteX12" fmla="*/ 0 w 337238"/>
                <a:gd name="connsiteY12" fmla="*/ 184937 h 364434"/>
                <a:gd name="connsiteX13" fmla="*/ 174059 w 337238"/>
                <a:gd name="connsiteY13" fmla="*/ 0 h 3644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37238" h="364434">
                  <a:moveTo>
                    <a:pt x="180433" y="73984"/>
                  </a:moveTo>
                  <a:cubicBezTo>
                    <a:pt x="174569" y="73941"/>
                    <a:pt x="168620" y="75471"/>
                    <a:pt x="163180" y="78870"/>
                  </a:cubicBezTo>
                  <a:cubicBezTo>
                    <a:pt x="135984" y="95189"/>
                    <a:pt x="127825" y="130544"/>
                    <a:pt x="125105" y="160461"/>
                  </a:cubicBezTo>
                  <a:cubicBezTo>
                    <a:pt x="125105" y="163180"/>
                    <a:pt x="168620" y="160461"/>
                    <a:pt x="171339" y="163180"/>
                  </a:cubicBezTo>
                  <a:cubicBezTo>
                    <a:pt x="195816" y="157741"/>
                    <a:pt x="214854" y="135984"/>
                    <a:pt x="214854" y="108787"/>
                  </a:cubicBezTo>
                  <a:cubicBezTo>
                    <a:pt x="214854" y="88389"/>
                    <a:pt x="198026" y="74111"/>
                    <a:pt x="180433" y="73984"/>
                  </a:cubicBezTo>
                  <a:close/>
                  <a:moveTo>
                    <a:pt x="174059" y="0"/>
                  </a:moveTo>
                  <a:cubicBezTo>
                    <a:pt x="233891" y="0"/>
                    <a:pt x="337238" y="29916"/>
                    <a:pt x="337238" y="119665"/>
                  </a:cubicBezTo>
                  <a:cubicBezTo>
                    <a:pt x="337238" y="209414"/>
                    <a:pt x="244770" y="217573"/>
                    <a:pt x="133264" y="217573"/>
                  </a:cubicBezTo>
                  <a:cubicBezTo>
                    <a:pt x="133264" y="217573"/>
                    <a:pt x="149581" y="277405"/>
                    <a:pt x="225732" y="277405"/>
                  </a:cubicBezTo>
                  <a:cubicBezTo>
                    <a:pt x="301883" y="277405"/>
                    <a:pt x="320920" y="250208"/>
                    <a:pt x="320920" y="250208"/>
                  </a:cubicBezTo>
                  <a:cubicBezTo>
                    <a:pt x="320920" y="250208"/>
                    <a:pt x="315481" y="364434"/>
                    <a:pt x="174059" y="364434"/>
                  </a:cubicBezTo>
                  <a:cubicBezTo>
                    <a:pt x="95188" y="364434"/>
                    <a:pt x="0" y="304602"/>
                    <a:pt x="0" y="184937"/>
                  </a:cubicBezTo>
                  <a:cubicBezTo>
                    <a:pt x="0" y="78870"/>
                    <a:pt x="73431" y="0"/>
                    <a:pt x="174059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/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D9E3FEEA-893B-4BCB-878A-93F25BBD9C29}"/>
                </a:ext>
              </a:extLst>
            </p:cNvPr>
            <p:cNvSpPr/>
            <p:nvPr/>
          </p:nvSpPr>
          <p:spPr>
            <a:xfrm>
              <a:off x="5376945" y="3338014"/>
              <a:ext cx="353556" cy="543931"/>
            </a:xfrm>
            <a:custGeom>
              <a:avLst/>
              <a:gdLst>
                <a:gd name="connsiteX0" fmla="*/ 311107 w 353555"/>
                <a:gd name="connsiteY0" fmla="*/ 433663 h 543931"/>
                <a:gd name="connsiteX1" fmla="*/ 215919 w 353555"/>
                <a:gd name="connsiteY1" fmla="*/ 501654 h 543931"/>
                <a:gd name="connsiteX2" fmla="*/ 98973 w 353555"/>
                <a:gd name="connsiteY2" fmla="*/ 392868 h 543931"/>
                <a:gd name="connsiteX3" fmla="*/ 98973 w 353555"/>
                <a:gd name="connsiteY3" fmla="*/ 221530 h 543931"/>
                <a:gd name="connsiteX4" fmla="*/ 82655 w 353555"/>
                <a:gd name="connsiteY4" fmla="*/ 221530 h 543931"/>
                <a:gd name="connsiteX5" fmla="*/ 58178 w 353555"/>
                <a:gd name="connsiteY5" fmla="*/ 191614 h 543931"/>
                <a:gd name="connsiteX6" fmla="*/ 85375 w 353555"/>
                <a:gd name="connsiteY6" fmla="*/ 164417 h 543931"/>
                <a:gd name="connsiteX7" fmla="*/ 101693 w 353555"/>
                <a:gd name="connsiteY7" fmla="*/ 164417 h 543931"/>
                <a:gd name="connsiteX8" fmla="*/ 101693 w 353555"/>
                <a:gd name="connsiteY8" fmla="*/ 118183 h 543931"/>
                <a:gd name="connsiteX9" fmla="*/ 166965 w 353555"/>
                <a:gd name="connsiteY9" fmla="*/ 58350 h 543931"/>
                <a:gd name="connsiteX10" fmla="*/ 229517 w 353555"/>
                <a:gd name="connsiteY10" fmla="*/ 118183 h 543931"/>
                <a:gd name="connsiteX11" fmla="*/ 229517 w 353555"/>
                <a:gd name="connsiteY11" fmla="*/ 118183 h 543931"/>
                <a:gd name="connsiteX12" fmla="*/ 229517 w 353555"/>
                <a:gd name="connsiteY12" fmla="*/ 164417 h 543931"/>
                <a:gd name="connsiteX13" fmla="*/ 283910 w 353555"/>
                <a:gd name="connsiteY13" fmla="*/ 164417 h 543931"/>
                <a:gd name="connsiteX14" fmla="*/ 308387 w 353555"/>
                <a:gd name="connsiteY14" fmla="*/ 194333 h 543931"/>
                <a:gd name="connsiteX15" fmla="*/ 281190 w 353555"/>
                <a:gd name="connsiteY15" fmla="*/ 221530 h 543931"/>
                <a:gd name="connsiteX16" fmla="*/ 229517 w 353555"/>
                <a:gd name="connsiteY16" fmla="*/ 221530 h 543931"/>
                <a:gd name="connsiteX17" fmla="*/ 229517 w 353555"/>
                <a:gd name="connsiteY17" fmla="*/ 365671 h 543931"/>
                <a:gd name="connsiteX18" fmla="*/ 311107 w 353555"/>
                <a:gd name="connsiteY18" fmla="*/ 433663 h 5439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353555" h="543931">
                  <a:moveTo>
                    <a:pt x="311107" y="433663"/>
                  </a:moveTo>
                  <a:cubicBezTo>
                    <a:pt x="311107" y="433663"/>
                    <a:pt x="278471" y="501654"/>
                    <a:pt x="215919" y="501654"/>
                  </a:cubicBezTo>
                  <a:cubicBezTo>
                    <a:pt x="164245" y="501654"/>
                    <a:pt x="101693" y="458140"/>
                    <a:pt x="98973" y="392868"/>
                  </a:cubicBezTo>
                  <a:cubicBezTo>
                    <a:pt x="98973" y="392868"/>
                    <a:pt x="98973" y="297680"/>
                    <a:pt x="98973" y="221530"/>
                  </a:cubicBezTo>
                  <a:lnTo>
                    <a:pt x="82655" y="221530"/>
                  </a:lnTo>
                  <a:cubicBezTo>
                    <a:pt x="74496" y="221530"/>
                    <a:pt x="58178" y="216090"/>
                    <a:pt x="58178" y="191614"/>
                  </a:cubicBezTo>
                  <a:cubicBezTo>
                    <a:pt x="58178" y="167137"/>
                    <a:pt x="77216" y="164417"/>
                    <a:pt x="85375" y="164417"/>
                  </a:cubicBezTo>
                  <a:lnTo>
                    <a:pt x="101693" y="164417"/>
                  </a:lnTo>
                  <a:cubicBezTo>
                    <a:pt x="101693" y="137220"/>
                    <a:pt x="101693" y="118183"/>
                    <a:pt x="101693" y="118183"/>
                  </a:cubicBezTo>
                  <a:cubicBezTo>
                    <a:pt x="104413" y="85547"/>
                    <a:pt x="134329" y="55631"/>
                    <a:pt x="166965" y="58350"/>
                  </a:cubicBezTo>
                  <a:cubicBezTo>
                    <a:pt x="196881" y="61070"/>
                    <a:pt x="229517" y="85547"/>
                    <a:pt x="229517" y="118183"/>
                  </a:cubicBezTo>
                  <a:lnTo>
                    <a:pt x="229517" y="118183"/>
                  </a:lnTo>
                  <a:lnTo>
                    <a:pt x="229517" y="164417"/>
                  </a:lnTo>
                  <a:lnTo>
                    <a:pt x="283910" y="164417"/>
                  </a:lnTo>
                  <a:cubicBezTo>
                    <a:pt x="292069" y="164417"/>
                    <a:pt x="308387" y="169856"/>
                    <a:pt x="308387" y="194333"/>
                  </a:cubicBezTo>
                  <a:cubicBezTo>
                    <a:pt x="308387" y="218810"/>
                    <a:pt x="292069" y="221530"/>
                    <a:pt x="281190" y="221530"/>
                  </a:cubicBezTo>
                  <a:lnTo>
                    <a:pt x="229517" y="221530"/>
                  </a:lnTo>
                  <a:lnTo>
                    <a:pt x="229517" y="365671"/>
                  </a:lnTo>
                  <a:cubicBezTo>
                    <a:pt x="226797" y="409186"/>
                    <a:pt x="267592" y="433663"/>
                    <a:pt x="311107" y="433663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/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0C294731-92AD-4771-A321-6B09FBA089E6}"/>
                </a:ext>
              </a:extLst>
            </p:cNvPr>
            <p:cNvSpPr/>
            <p:nvPr/>
          </p:nvSpPr>
          <p:spPr>
            <a:xfrm>
              <a:off x="7090329" y="3338014"/>
              <a:ext cx="353556" cy="543931"/>
            </a:xfrm>
            <a:custGeom>
              <a:avLst/>
              <a:gdLst>
                <a:gd name="connsiteX0" fmla="*/ 311107 w 353555"/>
                <a:gd name="connsiteY0" fmla="*/ 433663 h 543931"/>
                <a:gd name="connsiteX1" fmla="*/ 215919 w 353555"/>
                <a:gd name="connsiteY1" fmla="*/ 501654 h 543931"/>
                <a:gd name="connsiteX2" fmla="*/ 98973 w 353555"/>
                <a:gd name="connsiteY2" fmla="*/ 392868 h 543931"/>
                <a:gd name="connsiteX3" fmla="*/ 98973 w 353555"/>
                <a:gd name="connsiteY3" fmla="*/ 221530 h 543931"/>
                <a:gd name="connsiteX4" fmla="*/ 82655 w 353555"/>
                <a:gd name="connsiteY4" fmla="*/ 221530 h 543931"/>
                <a:gd name="connsiteX5" fmla="*/ 58178 w 353555"/>
                <a:gd name="connsiteY5" fmla="*/ 191614 h 543931"/>
                <a:gd name="connsiteX6" fmla="*/ 85375 w 353555"/>
                <a:gd name="connsiteY6" fmla="*/ 164417 h 543931"/>
                <a:gd name="connsiteX7" fmla="*/ 101693 w 353555"/>
                <a:gd name="connsiteY7" fmla="*/ 164417 h 543931"/>
                <a:gd name="connsiteX8" fmla="*/ 101693 w 353555"/>
                <a:gd name="connsiteY8" fmla="*/ 118183 h 543931"/>
                <a:gd name="connsiteX9" fmla="*/ 166965 w 353555"/>
                <a:gd name="connsiteY9" fmla="*/ 58350 h 543931"/>
                <a:gd name="connsiteX10" fmla="*/ 229517 w 353555"/>
                <a:gd name="connsiteY10" fmla="*/ 118183 h 543931"/>
                <a:gd name="connsiteX11" fmla="*/ 229517 w 353555"/>
                <a:gd name="connsiteY11" fmla="*/ 118183 h 543931"/>
                <a:gd name="connsiteX12" fmla="*/ 229517 w 353555"/>
                <a:gd name="connsiteY12" fmla="*/ 164417 h 543931"/>
                <a:gd name="connsiteX13" fmla="*/ 283910 w 353555"/>
                <a:gd name="connsiteY13" fmla="*/ 164417 h 543931"/>
                <a:gd name="connsiteX14" fmla="*/ 308387 w 353555"/>
                <a:gd name="connsiteY14" fmla="*/ 194333 h 543931"/>
                <a:gd name="connsiteX15" fmla="*/ 281190 w 353555"/>
                <a:gd name="connsiteY15" fmla="*/ 221530 h 543931"/>
                <a:gd name="connsiteX16" fmla="*/ 229517 w 353555"/>
                <a:gd name="connsiteY16" fmla="*/ 221530 h 543931"/>
                <a:gd name="connsiteX17" fmla="*/ 229517 w 353555"/>
                <a:gd name="connsiteY17" fmla="*/ 365671 h 543931"/>
                <a:gd name="connsiteX18" fmla="*/ 311107 w 353555"/>
                <a:gd name="connsiteY18" fmla="*/ 433663 h 5439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353555" h="543931">
                  <a:moveTo>
                    <a:pt x="311107" y="433663"/>
                  </a:moveTo>
                  <a:cubicBezTo>
                    <a:pt x="311107" y="433663"/>
                    <a:pt x="278471" y="501654"/>
                    <a:pt x="215919" y="501654"/>
                  </a:cubicBezTo>
                  <a:cubicBezTo>
                    <a:pt x="164245" y="501654"/>
                    <a:pt x="101693" y="458140"/>
                    <a:pt x="98973" y="392868"/>
                  </a:cubicBezTo>
                  <a:cubicBezTo>
                    <a:pt x="98973" y="392868"/>
                    <a:pt x="98973" y="297680"/>
                    <a:pt x="98973" y="221530"/>
                  </a:cubicBezTo>
                  <a:lnTo>
                    <a:pt x="82655" y="221530"/>
                  </a:lnTo>
                  <a:cubicBezTo>
                    <a:pt x="74496" y="221530"/>
                    <a:pt x="58178" y="216090"/>
                    <a:pt x="58178" y="191614"/>
                  </a:cubicBezTo>
                  <a:cubicBezTo>
                    <a:pt x="58178" y="167137"/>
                    <a:pt x="77216" y="164417"/>
                    <a:pt x="85375" y="164417"/>
                  </a:cubicBezTo>
                  <a:lnTo>
                    <a:pt x="101693" y="164417"/>
                  </a:lnTo>
                  <a:cubicBezTo>
                    <a:pt x="101693" y="137220"/>
                    <a:pt x="101693" y="118183"/>
                    <a:pt x="101693" y="118183"/>
                  </a:cubicBezTo>
                  <a:cubicBezTo>
                    <a:pt x="104412" y="85547"/>
                    <a:pt x="134329" y="55631"/>
                    <a:pt x="166965" y="58350"/>
                  </a:cubicBezTo>
                  <a:cubicBezTo>
                    <a:pt x="196881" y="61070"/>
                    <a:pt x="229517" y="85547"/>
                    <a:pt x="229517" y="118183"/>
                  </a:cubicBezTo>
                  <a:lnTo>
                    <a:pt x="229517" y="118183"/>
                  </a:lnTo>
                  <a:lnTo>
                    <a:pt x="229517" y="164417"/>
                  </a:lnTo>
                  <a:lnTo>
                    <a:pt x="283910" y="164417"/>
                  </a:lnTo>
                  <a:cubicBezTo>
                    <a:pt x="292069" y="164417"/>
                    <a:pt x="308387" y="169856"/>
                    <a:pt x="308387" y="194333"/>
                  </a:cubicBezTo>
                  <a:cubicBezTo>
                    <a:pt x="308387" y="218810"/>
                    <a:pt x="292069" y="221530"/>
                    <a:pt x="281190" y="221530"/>
                  </a:cubicBezTo>
                  <a:lnTo>
                    <a:pt x="229517" y="221530"/>
                  </a:lnTo>
                  <a:lnTo>
                    <a:pt x="229517" y="365671"/>
                  </a:lnTo>
                  <a:cubicBezTo>
                    <a:pt x="229517" y="409186"/>
                    <a:pt x="270312" y="433663"/>
                    <a:pt x="311107" y="433663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/>
            </a:p>
          </p:txBody>
        </p:sp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id="{4E06B157-DBF4-4A2A-A41B-A23CBB507D06}"/>
                </a:ext>
              </a:extLst>
            </p:cNvPr>
            <p:cNvSpPr/>
            <p:nvPr/>
          </p:nvSpPr>
          <p:spPr>
            <a:xfrm>
              <a:off x="2080719" y="4178559"/>
              <a:ext cx="462342" cy="788700"/>
            </a:xfrm>
            <a:custGeom>
              <a:avLst/>
              <a:gdLst>
                <a:gd name="connsiteX0" fmla="*/ 403575 w 462341"/>
                <a:gd name="connsiteY0" fmla="*/ 583072 h 788699"/>
                <a:gd name="connsiteX1" fmla="*/ 406295 w 462341"/>
                <a:gd name="connsiteY1" fmla="*/ 596670 h 788699"/>
                <a:gd name="connsiteX2" fmla="*/ 400855 w 462341"/>
                <a:gd name="connsiteY2" fmla="*/ 610268 h 788699"/>
                <a:gd name="connsiteX3" fmla="*/ 389977 w 462341"/>
                <a:gd name="connsiteY3" fmla="*/ 626586 h 788699"/>
                <a:gd name="connsiteX4" fmla="*/ 354621 w 462341"/>
                <a:gd name="connsiteY4" fmla="*/ 675540 h 788699"/>
                <a:gd name="connsiteX5" fmla="*/ 327424 w 462341"/>
                <a:gd name="connsiteY5" fmla="*/ 691858 h 788699"/>
                <a:gd name="connsiteX6" fmla="*/ 292069 w 462341"/>
                <a:gd name="connsiteY6" fmla="*/ 713615 h 788699"/>
                <a:gd name="connsiteX7" fmla="*/ 251274 w 462341"/>
                <a:gd name="connsiteY7" fmla="*/ 724494 h 788699"/>
                <a:gd name="connsiteX8" fmla="*/ 221358 w 462341"/>
                <a:gd name="connsiteY8" fmla="*/ 721774 h 788699"/>
                <a:gd name="connsiteX9" fmla="*/ 191442 w 462341"/>
                <a:gd name="connsiteY9" fmla="*/ 721774 h 788699"/>
                <a:gd name="connsiteX10" fmla="*/ 153366 w 462341"/>
                <a:gd name="connsiteY10" fmla="*/ 713615 h 788699"/>
                <a:gd name="connsiteX11" fmla="*/ 104412 w 462341"/>
                <a:gd name="connsiteY11" fmla="*/ 675540 h 788699"/>
                <a:gd name="connsiteX12" fmla="*/ 104412 w 462341"/>
                <a:gd name="connsiteY12" fmla="*/ 689138 h 788699"/>
                <a:gd name="connsiteX13" fmla="*/ 101693 w 462341"/>
                <a:gd name="connsiteY13" fmla="*/ 710895 h 788699"/>
                <a:gd name="connsiteX14" fmla="*/ 85375 w 462341"/>
                <a:gd name="connsiteY14" fmla="*/ 732653 h 788699"/>
                <a:gd name="connsiteX15" fmla="*/ 69057 w 462341"/>
                <a:gd name="connsiteY15" fmla="*/ 727214 h 788699"/>
                <a:gd name="connsiteX16" fmla="*/ 60898 w 462341"/>
                <a:gd name="connsiteY16" fmla="*/ 710895 h 788699"/>
                <a:gd name="connsiteX17" fmla="*/ 58178 w 462341"/>
                <a:gd name="connsiteY17" fmla="*/ 691858 h 788699"/>
                <a:gd name="connsiteX18" fmla="*/ 60898 w 462341"/>
                <a:gd name="connsiteY18" fmla="*/ 664661 h 788699"/>
                <a:gd name="connsiteX19" fmla="*/ 60898 w 462341"/>
                <a:gd name="connsiteY19" fmla="*/ 607549 h 788699"/>
                <a:gd name="connsiteX20" fmla="*/ 63618 w 462341"/>
                <a:gd name="connsiteY20" fmla="*/ 528679 h 788699"/>
                <a:gd name="connsiteX21" fmla="*/ 69057 w 462341"/>
                <a:gd name="connsiteY21" fmla="*/ 504202 h 788699"/>
                <a:gd name="connsiteX22" fmla="*/ 74496 w 462341"/>
                <a:gd name="connsiteY22" fmla="*/ 493323 h 788699"/>
                <a:gd name="connsiteX23" fmla="*/ 82655 w 462341"/>
                <a:gd name="connsiteY23" fmla="*/ 487884 h 788699"/>
                <a:gd name="connsiteX24" fmla="*/ 90814 w 462341"/>
                <a:gd name="connsiteY24" fmla="*/ 493323 h 788699"/>
                <a:gd name="connsiteX25" fmla="*/ 98973 w 462341"/>
                <a:gd name="connsiteY25" fmla="*/ 512361 h 788699"/>
                <a:gd name="connsiteX26" fmla="*/ 101693 w 462341"/>
                <a:gd name="connsiteY26" fmla="*/ 555875 h 788699"/>
                <a:gd name="connsiteX27" fmla="*/ 101693 w 462341"/>
                <a:gd name="connsiteY27" fmla="*/ 596670 h 788699"/>
                <a:gd name="connsiteX28" fmla="*/ 109852 w 462341"/>
                <a:gd name="connsiteY28" fmla="*/ 626586 h 788699"/>
                <a:gd name="connsiteX29" fmla="*/ 128889 w 462341"/>
                <a:gd name="connsiteY29" fmla="*/ 651063 h 788699"/>
                <a:gd name="connsiteX30" fmla="*/ 153366 w 462341"/>
                <a:gd name="connsiteY30" fmla="*/ 670101 h 788699"/>
                <a:gd name="connsiteX31" fmla="*/ 196881 w 462341"/>
                <a:gd name="connsiteY31" fmla="*/ 678260 h 788699"/>
                <a:gd name="connsiteX32" fmla="*/ 221358 w 462341"/>
                <a:gd name="connsiteY32" fmla="*/ 667381 h 788699"/>
                <a:gd name="connsiteX33" fmla="*/ 253994 w 462341"/>
                <a:gd name="connsiteY33" fmla="*/ 659222 h 788699"/>
                <a:gd name="connsiteX34" fmla="*/ 275751 w 462341"/>
                <a:gd name="connsiteY34" fmla="*/ 637465 h 788699"/>
                <a:gd name="connsiteX35" fmla="*/ 281190 w 462341"/>
                <a:gd name="connsiteY35" fmla="*/ 615708 h 788699"/>
                <a:gd name="connsiteX36" fmla="*/ 278471 w 462341"/>
                <a:gd name="connsiteY36" fmla="*/ 602109 h 788699"/>
                <a:gd name="connsiteX37" fmla="*/ 262153 w 462341"/>
                <a:gd name="connsiteY37" fmla="*/ 572193 h 788699"/>
                <a:gd name="connsiteX38" fmla="*/ 245835 w 462341"/>
                <a:gd name="connsiteY38" fmla="*/ 536838 h 788699"/>
                <a:gd name="connsiteX39" fmla="*/ 196881 w 462341"/>
                <a:gd name="connsiteY39" fmla="*/ 477005 h 788699"/>
                <a:gd name="connsiteX40" fmla="*/ 145207 w 462341"/>
                <a:gd name="connsiteY40" fmla="*/ 419892 h 788699"/>
                <a:gd name="connsiteX41" fmla="*/ 93534 w 462341"/>
                <a:gd name="connsiteY41" fmla="*/ 357340 h 788699"/>
                <a:gd name="connsiteX42" fmla="*/ 66337 w 462341"/>
                <a:gd name="connsiteY42" fmla="*/ 283910 h 788699"/>
                <a:gd name="connsiteX43" fmla="*/ 58178 w 462341"/>
                <a:gd name="connsiteY43" fmla="*/ 224077 h 788699"/>
                <a:gd name="connsiteX44" fmla="*/ 82655 w 462341"/>
                <a:gd name="connsiteY44" fmla="*/ 150647 h 788699"/>
                <a:gd name="connsiteX45" fmla="*/ 137048 w 462341"/>
                <a:gd name="connsiteY45" fmla="*/ 96253 h 788699"/>
                <a:gd name="connsiteX46" fmla="*/ 196881 w 462341"/>
                <a:gd name="connsiteY46" fmla="*/ 77216 h 788699"/>
                <a:gd name="connsiteX47" fmla="*/ 232236 w 462341"/>
                <a:gd name="connsiteY47" fmla="*/ 69057 h 788699"/>
                <a:gd name="connsiteX48" fmla="*/ 262153 w 462341"/>
                <a:gd name="connsiteY48" fmla="*/ 74496 h 788699"/>
                <a:gd name="connsiteX49" fmla="*/ 294789 w 462341"/>
                <a:gd name="connsiteY49" fmla="*/ 85375 h 788699"/>
                <a:gd name="connsiteX50" fmla="*/ 327424 w 462341"/>
                <a:gd name="connsiteY50" fmla="*/ 104412 h 788699"/>
                <a:gd name="connsiteX51" fmla="*/ 332864 w 462341"/>
                <a:gd name="connsiteY51" fmla="*/ 74496 h 788699"/>
                <a:gd name="connsiteX52" fmla="*/ 338303 w 462341"/>
                <a:gd name="connsiteY52" fmla="*/ 63618 h 788699"/>
                <a:gd name="connsiteX53" fmla="*/ 349182 w 462341"/>
                <a:gd name="connsiteY53" fmla="*/ 58178 h 788699"/>
                <a:gd name="connsiteX54" fmla="*/ 357341 w 462341"/>
                <a:gd name="connsiteY54" fmla="*/ 63618 h 788699"/>
                <a:gd name="connsiteX55" fmla="*/ 365500 w 462341"/>
                <a:gd name="connsiteY55" fmla="*/ 82655 h 788699"/>
                <a:gd name="connsiteX56" fmla="*/ 368219 w 462341"/>
                <a:gd name="connsiteY56" fmla="*/ 142488 h 788699"/>
                <a:gd name="connsiteX57" fmla="*/ 368219 w 462341"/>
                <a:gd name="connsiteY57" fmla="*/ 188722 h 788699"/>
                <a:gd name="connsiteX58" fmla="*/ 370939 w 462341"/>
                <a:gd name="connsiteY58" fmla="*/ 245834 h 788699"/>
                <a:gd name="connsiteX59" fmla="*/ 354621 w 462341"/>
                <a:gd name="connsiteY59" fmla="*/ 286629 h 788699"/>
                <a:gd name="connsiteX60" fmla="*/ 338303 w 462341"/>
                <a:gd name="connsiteY60" fmla="*/ 281190 h 788699"/>
                <a:gd name="connsiteX61" fmla="*/ 330144 w 462341"/>
                <a:gd name="connsiteY61" fmla="*/ 264872 h 788699"/>
                <a:gd name="connsiteX62" fmla="*/ 327424 w 462341"/>
                <a:gd name="connsiteY62" fmla="*/ 248554 h 788699"/>
                <a:gd name="connsiteX63" fmla="*/ 330144 w 462341"/>
                <a:gd name="connsiteY63" fmla="*/ 221357 h 788699"/>
                <a:gd name="connsiteX64" fmla="*/ 330144 w 462341"/>
                <a:gd name="connsiteY64" fmla="*/ 188722 h 788699"/>
                <a:gd name="connsiteX65" fmla="*/ 327424 w 462341"/>
                <a:gd name="connsiteY65" fmla="*/ 164245 h 788699"/>
                <a:gd name="connsiteX66" fmla="*/ 311107 w 462341"/>
                <a:gd name="connsiteY66" fmla="*/ 134329 h 788699"/>
                <a:gd name="connsiteX67" fmla="*/ 283910 w 462341"/>
                <a:gd name="connsiteY67" fmla="*/ 118011 h 788699"/>
                <a:gd name="connsiteX68" fmla="*/ 251274 w 462341"/>
                <a:gd name="connsiteY68" fmla="*/ 112571 h 788699"/>
                <a:gd name="connsiteX69" fmla="*/ 215918 w 462341"/>
                <a:gd name="connsiteY69" fmla="*/ 123450 h 788699"/>
                <a:gd name="connsiteX70" fmla="*/ 202320 w 462341"/>
                <a:gd name="connsiteY70" fmla="*/ 147927 h 788699"/>
                <a:gd name="connsiteX71" fmla="*/ 188722 w 462341"/>
                <a:gd name="connsiteY71" fmla="*/ 180563 h 788699"/>
                <a:gd name="connsiteX72" fmla="*/ 183283 w 462341"/>
                <a:gd name="connsiteY72" fmla="*/ 210479 h 788699"/>
                <a:gd name="connsiteX73" fmla="*/ 188722 w 462341"/>
                <a:gd name="connsiteY73" fmla="*/ 226797 h 788699"/>
                <a:gd name="connsiteX74" fmla="*/ 188722 w 462341"/>
                <a:gd name="connsiteY74" fmla="*/ 248554 h 788699"/>
                <a:gd name="connsiteX75" fmla="*/ 210479 w 462341"/>
                <a:gd name="connsiteY75" fmla="*/ 273031 h 788699"/>
                <a:gd name="connsiteX76" fmla="*/ 226797 w 462341"/>
                <a:gd name="connsiteY76" fmla="*/ 300228 h 788699"/>
                <a:gd name="connsiteX77" fmla="*/ 256713 w 462341"/>
                <a:gd name="connsiteY77" fmla="*/ 332864 h 788699"/>
                <a:gd name="connsiteX78" fmla="*/ 275751 w 462341"/>
                <a:gd name="connsiteY78" fmla="*/ 351901 h 788699"/>
                <a:gd name="connsiteX79" fmla="*/ 324705 w 462341"/>
                <a:gd name="connsiteY79" fmla="*/ 400855 h 788699"/>
                <a:gd name="connsiteX80" fmla="*/ 343742 w 462341"/>
                <a:gd name="connsiteY80" fmla="*/ 428051 h 788699"/>
                <a:gd name="connsiteX81" fmla="*/ 351901 w 462341"/>
                <a:gd name="connsiteY81" fmla="*/ 433491 h 788699"/>
                <a:gd name="connsiteX82" fmla="*/ 360060 w 462341"/>
                <a:gd name="connsiteY82" fmla="*/ 447089 h 788699"/>
                <a:gd name="connsiteX83" fmla="*/ 384537 w 462341"/>
                <a:gd name="connsiteY83" fmla="*/ 474286 h 788699"/>
                <a:gd name="connsiteX84" fmla="*/ 395416 w 462341"/>
                <a:gd name="connsiteY84" fmla="*/ 506921 h 788699"/>
                <a:gd name="connsiteX85" fmla="*/ 406295 w 462341"/>
                <a:gd name="connsiteY85" fmla="*/ 536838 h 788699"/>
                <a:gd name="connsiteX86" fmla="*/ 409014 w 462341"/>
                <a:gd name="connsiteY86" fmla="*/ 547716 h 788699"/>
                <a:gd name="connsiteX87" fmla="*/ 406295 w 462341"/>
                <a:gd name="connsiteY87" fmla="*/ 569473 h 788699"/>
                <a:gd name="connsiteX88" fmla="*/ 403575 w 462341"/>
                <a:gd name="connsiteY88" fmla="*/ 583072 h 788699"/>
                <a:gd name="connsiteX89" fmla="*/ 403575 w 462341"/>
                <a:gd name="connsiteY89" fmla="*/ 583072 h 7886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</a:cxnLst>
              <a:rect l="l" t="t" r="r" b="b"/>
              <a:pathLst>
                <a:path w="462341" h="788699">
                  <a:moveTo>
                    <a:pt x="403575" y="583072"/>
                  </a:moveTo>
                  <a:cubicBezTo>
                    <a:pt x="403575" y="588511"/>
                    <a:pt x="406295" y="591231"/>
                    <a:pt x="406295" y="596670"/>
                  </a:cubicBezTo>
                  <a:cubicBezTo>
                    <a:pt x="406295" y="602109"/>
                    <a:pt x="403575" y="604829"/>
                    <a:pt x="400855" y="610268"/>
                  </a:cubicBezTo>
                  <a:cubicBezTo>
                    <a:pt x="398136" y="615708"/>
                    <a:pt x="392696" y="621147"/>
                    <a:pt x="389977" y="626586"/>
                  </a:cubicBezTo>
                  <a:cubicBezTo>
                    <a:pt x="381818" y="645624"/>
                    <a:pt x="368219" y="661942"/>
                    <a:pt x="354621" y="675540"/>
                  </a:cubicBezTo>
                  <a:cubicBezTo>
                    <a:pt x="346462" y="683699"/>
                    <a:pt x="338303" y="686419"/>
                    <a:pt x="327424" y="691858"/>
                  </a:cubicBezTo>
                  <a:cubicBezTo>
                    <a:pt x="316546" y="700017"/>
                    <a:pt x="302948" y="708176"/>
                    <a:pt x="292069" y="713615"/>
                  </a:cubicBezTo>
                  <a:cubicBezTo>
                    <a:pt x="281190" y="719054"/>
                    <a:pt x="264872" y="724494"/>
                    <a:pt x="251274" y="724494"/>
                  </a:cubicBezTo>
                  <a:cubicBezTo>
                    <a:pt x="240395" y="724494"/>
                    <a:pt x="229517" y="721774"/>
                    <a:pt x="221358" y="721774"/>
                  </a:cubicBezTo>
                  <a:cubicBezTo>
                    <a:pt x="213199" y="721774"/>
                    <a:pt x="202320" y="721774"/>
                    <a:pt x="191442" y="721774"/>
                  </a:cubicBezTo>
                  <a:cubicBezTo>
                    <a:pt x="172404" y="721774"/>
                    <a:pt x="172404" y="721774"/>
                    <a:pt x="153366" y="713615"/>
                  </a:cubicBezTo>
                  <a:cubicBezTo>
                    <a:pt x="134329" y="708176"/>
                    <a:pt x="118011" y="691858"/>
                    <a:pt x="104412" y="675540"/>
                  </a:cubicBezTo>
                  <a:cubicBezTo>
                    <a:pt x="104412" y="678260"/>
                    <a:pt x="104412" y="680979"/>
                    <a:pt x="104412" y="689138"/>
                  </a:cubicBezTo>
                  <a:cubicBezTo>
                    <a:pt x="104412" y="694578"/>
                    <a:pt x="104412" y="702737"/>
                    <a:pt x="101693" y="710895"/>
                  </a:cubicBezTo>
                  <a:cubicBezTo>
                    <a:pt x="101693" y="721774"/>
                    <a:pt x="96253" y="732653"/>
                    <a:pt x="85375" y="732653"/>
                  </a:cubicBezTo>
                  <a:cubicBezTo>
                    <a:pt x="77216" y="732653"/>
                    <a:pt x="74496" y="729933"/>
                    <a:pt x="69057" y="727214"/>
                  </a:cubicBezTo>
                  <a:cubicBezTo>
                    <a:pt x="63618" y="724494"/>
                    <a:pt x="60898" y="716335"/>
                    <a:pt x="60898" y="710895"/>
                  </a:cubicBezTo>
                  <a:cubicBezTo>
                    <a:pt x="58178" y="702737"/>
                    <a:pt x="58178" y="697297"/>
                    <a:pt x="58178" y="691858"/>
                  </a:cubicBezTo>
                  <a:cubicBezTo>
                    <a:pt x="58178" y="683699"/>
                    <a:pt x="60898" y="678260"/>
                    <a:pt x="60898" y="664661"/>
                  </a:cubicBezTo>
                  <a:cubicBezTo>
                    <a:pt x="60898" y="656502"/>
                    <a:pt x="60898" y="632026"/>
                    <a:pt x="60898" y="607549"/>
                  </a:cubicBezTo>
                  <a:cubicBezTo>
                    <a:pt x="60898" y="574913"/>
                    <a:pt x="60898" y="542277"/>
                    <a:pt x="63618" y="528679"/>
                  </a:cubicBezTo>
                  <a:cubicBezTo>
                    <a:pt x="63618" y="520520"/>
                    <a:pt x="63618" y="509641"/>
                    <a:pt x="69057" y="504202"/>
                  </a:cubicBezTo>
                  <a:cubicBezTo>
                    <a:pt x="71777" y="501482"/>
                    <a:pt x="71777" y="498762"/>
                    <a:pt x="74496" y="493323"/>
                  </a:cubicBezTo>
                  <a:cubicBezTo>
                    <a:pt x="77216" y="490603"/>
                    <a:pt x="79936" y="487884"/>
                    <a:pt x="82655" y="487884"/>
                  </a:cubicBezTo>
                  <a:cubicBezTo>
                    <a:pt x="85375" y="487884"/>
                    <a:pt x="90814" y="490603"/>
                    <a:pt x="90814" y="493323"/>
                  </a:cubicBezTo>
                  <a:cubicBezTo>
                    <a:pt x="93534" y="498762"/>
                    <a:pt x="98973" y="506921"/>
                    <a:pt x="98973" y="512361"/>
                  </a:cubicBezTo>
                  <a:cubicBezTo>
                    <a:pt x="98973" y="520520"/>
                    <a:pt x="101693" y="536838"/>
                    <a:pt x="101693" y="555875"/>
                  </a:cubicBezTo>
                  <a:cubicBezTo>
                    <a:pt x="101693" y="569473"/>
                    <a:pt x="101693" y="583072"/>
                    <a:pt x="101693" y="596670"/>
                  </a:cubicBezTo>
                  <a:cubicBezTo>
                    <a:pt x="101693" y="607549"/>
                    <a:pt x="104412" y="618427"/>
                    <a:pt x="109852" y="626586"/>
                  </a:cubicBezTo>
                  <a:cubicBezTo>
                    <a:pt x="115291" y="637465"/>
                    <a:pt x="123450" y="642904"/>
                    <a:pt x="128889" y="651063"/>
                  </a:cubicBezTo>
                  <a:cubicBezTo>
                    <a:pt x="137048" y="661942"/>
                    <a:pt x="139768" y="667381"/>
                    <a:pt x="153366" y="670101"/>
                  </a:cubicBezTo>
                  <a:cubicBezTo>
                    <a:pt x="161525" y="670101"/>
                    <a:pt x="183283" y="678260"/>
                    <a:pt x="196881" y="678260"/>
                  </a:cubicBezTo>
                  <a:cubicBezTo>
                    <a:pt x="207759" y="678260"/>
                    <a:pt x="210479" y="672820"/>
                    <a:pt x="221358" y="667381"/>
                  </a:cubicBezTo>
                  <a:cubicBezTo>
                    <a:pt x="232236" y="661942"/>
                    <a:pt x="245835" y="664661"/>
                    <a:pt x="253994" y="659222"/>
                  </a:cubicBezTo>
                  <a:cubicBezTo>
                    <a:pt x="262153" y="653783"/>
                    <a:pt x="273031" y="645624"/>
                    <a:pt x="275751" y="637465"/>
                  </a:cubicBezTo>
                  <a:cubicBezTo>
                    <a:pt x="281190" y="629306"/>
                    <a:pt x="281190" y="621147"/>
                    <a:pt x="281190" y="615708"/>
                  </a:cubicBezTo>
                  <a:cubicBezTo>
                    <a:pt x="281190" y="610268"/>
                    <a:pt x="281190" y="607549"/>
                    <a:pt x="278471" y="602109"/>
                  </a:cubicBezTo>
                  <a:cubicBezTo>
                    <a:pt x="275751" y="591231"/>
                    <a:pt x="267592" y="583072"/>
                    <a:pt x="262153" y="572193"/>
                  </a:cubicBezTo>
                  <a:cubicBezTo>
                    <a:pt x="256713" y="561314"/>
                    <a:pt x="253994" y="547716"/>
                    <a:pt x="245835" y="536838"/>
                  </a:cubicBezTo>
                  <a:cubicBezTo>
                    <a:pt x="232236" y="515080"/>
                    <a:pt x="213199" y="498762"/>
                    <a:pt x="196881" y="477005"/>
                  </a:cubicBezTo>
                  <a:cubicBezTo>
                    <a:pt x="180563" y="457968"/>
                    <a:pt x="164245" y="438930"/>
                    <a:pt x="145207" y="419892"/>
                  </a:cubicBezTo>
                  <a:cubicBezTo>
                    <a:pt x="126170" y="400855"/>
                    <a:pt x="109852" y="379098"/>
                    <a:pt x="93534" y="357340"/>
                  </a:cubicBezTo>
                  <a:cubicBezTo>
                    <a:pt x="77216" y="335583"/>
                    <a:pt x="71777" y="308387"/>
                    <a:pt x="66337" y="283910"/>
                  </a:cubicBezTo>
                  <a:cubicBezTo>
                    <a:pt x="63618" y="267592"/>
                    <a:pt x="58178" y="245834"/>
                    <a:pt x="58178" y="224077"/>
                  </a:cubicBezTo>
                  <a:cubicBezTo>
                    <a:pt x="58178" y="194161"/>
                    <a:pt x="69057" y="175123"/>
                    <a:pt x="82655" y="150647"/>
                  </a:cubicBezTo>
                  <a:cubicBezTo>
                    <a:pt x="96253" y="128889"/>
                    <a:pt x="115291" y="109852"/>
                    <a:pt x="137048" y="96253"/>
                  </a:cubicBezTo>
                  <a:cubicBezTo>
                    <a:pt x="158806" y="82655"/>
                    <a:pt x="172404" y="79936"/>
                    <a:pt x="196881" y="77216"/>
                  </a:cubicBezTo>
                  <a:cubicBezTo>
                    <a:pt x="210479" y="77216"/>
                    <a:pt x="215918" y="69057"/>
                    <a:pt x="232236" y="69057"/>
                  </a:cubicBezTo>
                  <a:cubicBezTo>
                    <a:pt x="243115" y="69057"/>
                    <a:pt x="251274" y="71776"/>
                    <a:pt x="262153" y="74496"/>
                  </a:cubicBezTo>
                  <a:cubicBezTo>
                    <a:pt x="273031" y="77216"/>
                    <a:pt x="283910" y="82655"/>
                    <a:pt x="294789" y="85375"/>
                  </a:cubicBezTo>
                  <a:cubicBezTo>
                    <a:pt x="308387" y="90814"/>
                    <a:pt x="319265" y="96253"/>
                    <a:pt x="327424" y="104412"/>
                  </a:cubicBezTo>
                  <a:cubicBezTo>
                    <a:pt x="327424" y="90814"/>
                    <a:pt x="327424" y="79936"/>
                    <a:pt x="332864" y="74496"/>
                  </a:cubicBezTo>
                  <a:cubicBezTo>
                    <a:pt x="335583" y="71776"/>
                    <a:pt x="335583" y="69057"/>
                    <a:pt x="338303" y="63618"/>
                  </a:cubicBezTo>
                  <a:cubicBezTo>
                    <a:pt x="341023" y="60898"/>
                    <a:pt x="346462" y="58178"/>
                    <a:pt x="349182" y="58178"/>
                  </a:cubicBezTo>
                  <a:cubicBezTo>
                    <a:pt x="351901" y="58178"/>
                    <a:pt x="357341" y="60898"/>
                    <a:pt x="357341" y="63618"/>
                  </a:cubicBezTo>
                  <a:cubicBezTo>
                    <a:pt x="360060" y="69057"/>
                    <a:pt x="365500" y="77216"/>
                    <a:pt x="365500" y="82655"/>
                  </a:cubicBezTo>
                  <a:cubicBezTo>
                    <a:pt x="365500" y="90814"/>
                    <a:pt x="368219" y="123450"/>
                    <a:pt x="368219" y="142488"/>
                  </a:cubicBezTo>
                  <a:cubicBezTo>
                    <a:pt x="368219" y="158806"/>
                    <a:pt x="368219" y="177843"/>
                    <a:pt x="368219" y="188722"/>
                  </a:cubicBezTo>
                  <a:cubicBezTo>
                    <a:pt x="368219" y="213199"/>
                    <a:pt x="370939" y="224077"/>
                    <a:pt x="370939" y="245834"/>
                  </a:cubicBezTo>
                  <a:cubicBezTo>
                    <a:pt x="370939" y="256713"/>
                    <a:pt x="370939" y="286629"/>
                    <a:pt x="354621" y="286629"/>
                  </a:cubicBezTo>
                  <a:cubicBezTo>
                    <a:pt x="346462" y="286629"/>
                    <a:pt x="343742" y="283910"/>
                    <a:pt x="338303" y="281190"/>
                  </a:cubicBezTo>
                  <a:cubicBezTo>
                    <a:pt x="332864" y="278470"/>
                    <a:pt x="330144" y="270311"/>
                    <a:pt x="330144" y="264872"/>
                  </a:cubicBezTo>
                  <a:cubicBezTo>
                    <a:pt x="327424" y="256713"/>
                    <a:pt x="327424" y="251274"/>
                    <a:pt x="327424" y="248554"/>
                  </a:cubicBezTo>
                  <a:cubicBezTo>
                    <a:pt x="327424" y="240395"/>
                    <a:pt x="330144" y="234956"/>
                    <a:pt x="330144" y="221357"/>
                  </a:cubicBezTo>
                  <a:cubicBezTo>
                    <a:pt x="330144" y="213199"/>
                    <a:pt x="330144" y="202320"/>
                    <a:pt x="330144" y="188722"/>
                  </a:cubicBezTo>
                  <a:cubicBezTo>
                    <a:pt x="330144" y="180563"/>
                    <a:pt x="327424" y="172404"/>
                    <a:pt x="327424" y="164245"/>
                  </a:cubicBezTo>
                  <a:cubicBezTo>
                    <a:pt x="324705" y="153366"/>
                    <a:pt x="319265" y="142488"/>
                    <a:pt x="311107" y="134329"/>
                  </a:cubicBezTo>
                  <a:cubicBezTo>
                    <a:pt x="302948" y="126170"/>
                    <a:pt x="294789" y="120730"/>
                    <a:pt x="283910" y="118011"/>
                  </a:cubicBezTo>
                  <a:cubicBezTo>
                    <a:pt x="275751" y="115291"/>
                    <a:pt x="262153" y="112571"/>
                    <a:pt x="251274" y="112571"/>
                  </a:cubicBezTo>
                  <a:cubicBezTo>
                    <a:pt x="237676" y="112571"/>
                    <a:pt x="224077" y="115291"/>
                    <a:pt x="215918" y="123450"/>
                  </a:cubicBezTo>
                  <a:cubicBezTo>
                    <a:pt x="207759" y="128889"/>
                    <a:pt x="205040" y="139768"/>
                    <a:pt x="202320" y="147927"/>
                  </a:cubicBezTo>
                  <a:cubicBezTo>
                    <a:pt x="196881" y="158806"/>
                    <a:pt x="191442" y="166964"/>
                    <a:pt x="188722" y="180563"/>
                  </a:cubicBezTo>
                  <a:cubicBezTo>
                    <a:pt x="186002" y="191441"/>
                    <a:pt x="183283" y="199600"/>
                    <a:pt x="183283" y="210479"/>
                  </a:cubicBezTo>
                  <a:cubicBezTo>
                    <a:pt x="183283" y="215918"/>
                    <a:pt x="186002" y="221357"/>
                    <a:pt x="188722" y="226797"/>
                  </a:cubicBezTo>
                  <a:cubicBezTo>
                    <a:pt x="191442" y="234956"/>
                    <a:pt x="188722" y="243115"/>
                    <a:pt x="188722" y="248554"/>
                  </a:cubicBezTo>
                  <a:cubicBezTo>
                    <a:pt x="191442" y="259433"/>
                    <a:pt x="202320" y="264872"/>
                    <a:pt x="210479" y="273031"/>
                  </a:cubicBezTo>
                  <a:cubicBezTo>
                    <a:pt x="218638" y="281190"/>
                    <a:pt x="221358" y="292069"/>
                    <a:pt x="226797" y="300228"/>
                  </a:cubicBezTo>
                  <a:cubicBezTo>
                    <a:pt x="234956" y="311106"/>
                    <a:pt x="245835" y="321985"/>
                    <a:pt x="256713" y="332864"/>
                  </a:cubicBezTo>
                  <a:cubicBezTo>
                    <a:pt x="259433" y="338303"/>
                    <a:pt x="267592" y="343742"/>
                    <a:pt x="275751" y="351901"/>
                  </a:cubicBezTo>
                  <a:cubicBezTo>
                    <a:pt x="292069" y="368219"/>
                    <a:pt x="311107" y="384537"/>
                    <a:pt x="324705" y="400855"/>
                  </a:cubicBezTo>
                  <a:cubicBezTo>
                    <a:pt x="332864" y="409014"/>
                    <a:pt x="335583" y="419892"/>
                    <a:pt x="343742" y="428051"/>
                  </a:cubicBezTo>
                  <a:cubicBezTo>
                    <a:pt x="346462" y="430771"/>
                    <a:pt x="349182" y="430771"/>
                    <a:pt x="351901" y="433491"/>
                  </a:cubicBezTo>
                  <a:cubicBezTo>
                    <a:pt x="354621" y="436210"/>
                    <a:pt x="357341" y="441650"/>
                    <a:pt x="360060" y="447089"/>
                  </a:cubicBezTo>
                  <a:cubicBezTo>
                    <a:pt x="368219" y="455248"/>
                    <a:pt x="376378" y="463407"/>
                    <a:pt x="384537" y="474286"/>
                  </a:cubicBezTo>
                  <a:cubicBezTo>
                    <a:pt x="389977" y="482445"/>
                    <a:pt x="392696" y="496043"/>
                    <a:pt x="395416" y="506921"/>
                  </a:cubicBezTo>
                  <a:cubicBezTo>
                    <a:pt x="400855" y="517800"/>
                    <a:pt x="400855" y="528679"/>
                    <a:pt x="406295" y="536838"/>
                  </a:cubicBezTo>
                  <a:cubicBezTo>
                    <a:pt x="409014" y="539557"/>
                    <a:pt x="409014" y="544997"/>
                    <a:pt x="409014" y="547716"/>
                  </a:cubicBezTo>
                  <a:cubicBezTo>
                    <a:pt x="409014" y="555875"/>
                    <a:pt x="406295" y="561314"/>
                    <a:pt x="406295" y="569473"/>
                  </a:cubicBezTo>
                  <a:cubicBezTo>
                    <a:pt x="406295" y="574913"/>
                    <a:pt x="403575" y="577632"/>
                    <a:pt x="403575" y="583072"/>
                  </a:cubicBezTo>
                  <a:lnTo>
                    <a:pt x="403575" y="583072"/>
                  </a:ln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/>
            </a:p>
          </p:txBody>
        </p:sp>
        <p:sp>
          <p:nvSpPr>
            <p:cNvPr id="35" name="Freeform: Shape 34">
              <a:extLst>
                <a:ext uri="{FF2B5EF4-FFF2-40B4-BE49-F238E27FC236}">
                  <a16:creationId xmlns:a16="http://schemas.microsoft.com/office/drawing/2014/main" id="{006E6070-9EF3-4ED3-9C75-E6CAC8EA9E4A}"/>
                </a:ext>
              </a:extLst>
            </p:cNvPr>
            <p:cNvSpPr/>
            <p:nvPr/>
          </p:nvSpPr>
          <p:spPr>
            <a:xfrm>
              <a:off x="2456032" y="4192158"/>
              <a:ext cx="571128" cy="761503"/>
            </a:xfrm>
            <a:custGeom>
              <a:avLst/>
              <a:gdLst>
                <a:gd name="connsiteX0" fmla="*/ 512361 w 571128"/>
                <a:gd name="connsiteY0" fmla="*/ 79936 h 761503"/>
                <a:gd name="connsiteX1" fmla="*/ 539558 w 571128"/>
                <a:gd name="connsiteY1" fmla="*/ 96253 h 761503"/>
                <a:gd name="connsiteX2" fmla="*/ 534118 w 571128"/>
                <a:gd name="connsiteY2" fmla="*/ 112571 h 761503"/>
                <a:gd name="connsiteX3" fmla="*/ 523240 w 571128"/>
                <a:gd name="connsiteY3" fmla="*/ 120730 h 761503"/>
                <a:gd name="connsiteX4" fmla="*/ 506922 w 571128"/>
                <a:gd name="connsiteY4" fmla="*/ 123450 h 761503"/>
                <a:gd name="connsiteX5" fmla="*/ 477006 w 571128"/>
                <a:gd name="connsiteY5" fmla="*/ 123450 h 761503"/>
                <a:gd name="connsiteX6" fmla="*/ 479725 w 571128"/>
                <a:gd name="connsiteY6" fmla="*/ 145207 h 761503"/>
                <a:gd name="connsiteX7" fmla="*/ 477006 w 571128"/>
                <a:gd name="connsiteY7" fmla="*/ 180563 h 761503"/>
                <a:gd name="connsiteX8" fmla="*/ 482445 w 571128"/>
                <a:gd name="connsiteY8" fmla="*/ 232236 h 761503"/>
                <a:gd name="connsiteX9" fmla="*/ 485165 w 571128"/>
                <a:gd name="connsiteY9" fmla="*/ 283910 h 761503"/>
                <a:gd name="connsiteX10" fmla="*/ 485165 w 571128"/>
                <a:gd name="connsiteY10" fmla="*/ 327424 h 761503"/>
                <a:gd name="connsiteX11" fmla="*/ 487884 w 571128"/>
                <a:gd name="connsiteY11" fmla="*/ 373658 h 761503"/>
                <a:gd name="connsiteX12" fmla="*/ 485165 w 571128"/>
                <a:gd name="connsiteY12" fmla="*/ 419892 h 761503"/>
                <a:gd name="connsiteX13" fmla="*/ 485165 w 571128"/>
                <a:gd name="connsiteY13" fmla="*/ 463407 h 761503"/>
                <a:gd name="connsiteX14" fmla="*/ 482445 w 571128"/>
                <a:gd name="connsiteY14" fmla="*/ 515080 h 761503"/>
                <a:gd name="connsiteX15" fmla="*/ 482445 w 571128"/>
                <a:gd name="connsiteY15" fmla="*/ 558595 h 761503"/>
                <a:gd name="connsiteX16" fmla="*/ 479725 w 571128"/>
                <a:gd name="connsiteY16" fmla="*/ 602109 h 761503"/>
                <a:gd name="connsiteX17" fmla="*/ 485165 w 571128"/>
                <a:gd name="connsiteY17" fmla="*/ 648343 h 761503"/>
                <a:gd name="connsiteX18" fmla="*/ 474286 w 571128"/>
                <a:gd name="connsiteY18" fmla="*/ 675540 h 761503"/>
                <a:gd name="connsiteX19" fmla="*/ 428052 w 571128"/>
                <a:gd name="connsiteY19" fmla="*/ 691858 h 761503"/>
                <a:gd name="connsiteX20" fmla="*/ 387257 w 571128"/>
                <a:gd name="connsiteY20" fmla="*/ 683699 h 761503"/>
                <a:gd name="connsiteX21" fmla="*/ 351901 w 571128"/>
                <a:gd name="connsiteY21" fmla="*/ 664661 h 761503"/>
                <a:gd name="connsiteX22" fmla="*/ 305667 w 571128"/>
                <a:gd name="connsiteY22" fmla="*/ 596670 h 761503"/>
                <a:gd name="connsiteX23" fmla="*/ 270312 w 571128"/>
                <a:gd name="connsiteY23" fmla="*/ 509641 h 761503"/>
                <a:gd name="connsiteX24" fmla="*/ 251274 w 571128"/>
                <a:gd name="connsiteY24" fmla="*/ 460687 h 761503"/>
                <a:gd name="connsiteX25" fmla="*/ 224077 w 571128"/>
                <a:gd name="connsiteY25" fmla="*/ 381817 h 761503"/>
                <a:gd name="connsiteX26" fmla="*/ 207759 w 571128"/>
                <a:gd name="connsiteY26" fmla="*/ 330144 h 761503"/>
                <a:gd name="connsiteX27" fmla="*/ 191442 w 571128"/>
                <a:gd name="connsiteY27" fmla="*/ 286629 h 761503"/>
                <a:gd name="connsiteX28" fmla="*/ 183283 w 571128"/>
                <a:gd name="connsiteY28" fmla="*/ 278470 h 761503"/>
                <a:gd name="connsiteX29" fmla="*/ 180563 w 571128"/>
                <a:gd name="connsiteY29" fmla="*/ 292069 h 761503"/>
                <a:gd name="connsiteX30" fmla="*/ 180563 w 571128"/>
                <a:gd name="connsiteY30" fmla="*/ 305667 h 761503"/>
                <a:gd name="connsiteX31" fmla="*/ 183283 w 571128"/>
                <a:gd name="connsiteY31" fmla="*/ 354621 h 761503"/>
                <a:gd name="connsiteX32" fmla="*/ 188722 w 571128"/>
                <a:gd name="connsiteY32" fmla="*/ 449809 h 761503"/>
                <a:gd name="connsiteX33" fmla="*/ 188722 w 571128"/>
                <a:gd name="connsiteY33" fmla="*/ 479725 h 761503"/>
                <a:gd name="connsiteX34" fmla="*/ 188722 w 571128"/>
                <a:gd name="connsiteY34" fmla="*/ 542277 h 761503"/>
                <a:gd name="connsiteX35" fmla="*/ 186002 w 571128"/>
                <a:gd name="connsiteY35" fmla="*/ 615708 h 761503"/>
                <a:gd name="connsiteX36" fmla="*/ 186002 w 571128"/>
                <a:gd name="connsiteY36" fmla="*/ 637465 h 761503"/>
                <a:gd name="connsiteX37" fmla="*/ 183283 w 571128"/>
                <a:gd name="connsiteY37" fmla="*/ 664661 h 761503"/>
                <a:gd name="connsiteX38" fmla="*/ 226797 w 571128"/>
                <a:gd name="connsiteY38" fmla="*/ 664661 h 761503"/>
                <a:gd name="connsiteX39" fmla="*/ 253994 w 571128"/>
                <a:gd name="connsiteY39" fmla="*/ 680979 h 761503"/>
                <a:gd name="connsiteX40" fmla="*/ 248554 w 571128"/>
                <a:gd name="connsiteY40" fmla="*/ 697297 h 761503"/>
                <a:gd name="connsiteX41" fmla="*/ 234956 w 571128"/>
                <a:gd name="connsiteY41" fmla="*/ 705456 h 761503"/>
                <a:gd name="connsiteX42" fmla="*/ 218638 w 571128"/>
                <a:gd name="connsiteY42" fmla="*/ 708176 h 761503"/>
                <a:gd name="connsiteX43" fmla="*/ 183283 w 571128"/>
                <a:gd name="connsiteY43" fmla="*/ 708176 h 761503"/>
                <a:gd name="connsiteX44" fmla="*/ 150647 w 571128"/>
                <a:gd name="connsiteY44" fmla="*/ 708176 h 761503"/>
                <a:gd name="connsiteX45" fmla="*/ 107132 w 571128"/>
                <a:gd name="connsiteY45" fmla="*/ 708176 h 761503"/>
                <a:gd name="connsiteX46" fmla="*/ 88094 w 571128"/>
                <a:gd name="connsiteY46" fmla="*/ 708176 h 761503"/>
                <a:gd name="connsiteX47" fmla="*/ 69057 w 571128"/>
                <a:gd name="connsiteY47" fmla="*/ 702737 h 761503"/>
                <a:gd name="connsiteX48" fmla="*/ 58178 w 571128"/>
                <a:gd name="connsiteY48" fmla="*/ 686419 h 761503"/>
                <a:gd name="connsiteX49" fmla="*/ 60898 w 571128"/>
                <a:gd name="connsiteY49" fmla="*/ 678260 h 761503"/>
                <a:gd name="connsiteX50" fmla="*/ 77216 w 571128"/>
                <a:gd name="connsiteY50" fmla="*/ 670101 h 761503"/>
                <a:gd name="connsiteX51" fmla="*/ 120730 w 571128"/>
                <a:gd name="connsiteY51" fmla="*/ 664661 h 761503"/>
                <a:gd name="connsiteX52" fmla="*/ 131609 w 571128"/>
                <a:gd name="connsiteY52" fmla="*/ 664661 h 761503"/>
                <a:gd name="connsiteX53" fmla="*/ 134329 w 571128"/>
                <a:gd name="connsiteY53" fmla="*/ 539557 h 761503"/>
                <a:gd name="connsiteX54" fmla="*/ 134329 w 571128"/>
                <a:gd name="connsiteY54" fmla="*/ 504202 h 761503"/>
                <a:gd name="connsiteX55" fmla="*/ 131609 w 571128"/>
                <a:gd name="connsiteY55" fmla="*/ 376378 h 761503"/>
                <a:gd name="connsiteX56" fmla="*/ 131609 w 571128"/>
                <a:gd name="connsiteY56" fmla="*/ 302947 h 761503"/>
                <a:gd name="connsiteX57" fmla="*/ 134329 w 571128"/>
                <a:gd name="connsiteY57" fmla="*/ 221357 h 761503"/>
                <a:gd name="connsiteX58" fmla="*/ 137048 w 571128"/>
                <a:gd name="connsiteY58" fmla="*/ 123450 h 761503"/>
                <a:gd name="connsiteX59" fmla="*/ 107132 w 571128"/>
                <a:gd name="connsiteY59" fmla="*/ 123450 h 761503"/>
                <a:gd name="connsiteX60" fmla="*/ 88094 w 571128"/>
                <a:gd name="connsiteY60" fmla="*/ 123450 h 761503"/>
                <a:gd name="connsiteX61" fmla="*/ 69057 w 571128"/>
                <a:gd name="connsiteY61" fmla="*/ 118011 h 761503"/>
                <a:gd name="connsiteX62" fmla="*/ 58178 w 571128"/>
                <a:gd name="connsiteY62" fmla="*/ 101693 h 761503"/>
                <a:gd name="connsiteX63" fmla="*/ 60898 w 571128"/>
                <a:gd name="connsiteY63" fmla="*/ 93534 h 761503"/>
                <a:gd name="connsiteX64" fmla="*/ 77216 w 571128"/>
                <a:gd name="connsiteY64" fmla="*/ 85375 h 761503"/>
                <a:gd name="connsiteX65" fmla="*/ 131609 w 571128"/>
                <a:gd name="connsiteY65" fmla="*/ 79936 h 761503"/>
                <a:gd name="connsiteX66" fmla="*/ 161525 w 571128"/>
                <a:gd name="connsiteY66" fmla="*/ 79936 h 761503"/>
                <a:gd name="connsiteX67" fmla="*/ 177843 w 571128"/>
                <a:gd name="connsiteY67" fmla="*/ 66337 h 761503"/>
                <a:gd name="connsiteX68" fmla="*/ 202320 w 571128"/>
                <a:gd name="connsiteY68" fmla="*/ 58178 h 761503"/>
                <a:gd name="connsiteX69" fmla="*/ 234956 w 571128"/>
                <a:gd name="connsiteY69" fmla="*/ 77216 h 761503"/>
                <a:gd name="connsiteX70" fmla="*/ 251274 w 571128"/>
                <a:gd name="connsiteY70" fmla="*/ 107132 h 761503"/>
                <a:gd name="connsiteX71" fmla="*/ 267592 w 571128"/>
                <a:gd name="connsiteY71" fmla="*/ 147927 h 761503"/>
                <a:gd name="connsiteX72" fmla="*/ 281190 w 571128"/>
                <a:gd name="connsiteY72" fmla="*/ 183282 h 761503"/>
                <a:gd name="connsiteX73" fmla="*/ 297508 w 571128"/>
                <a:gd name="connsiteY73" fmla="*/ 224077 h 761503"/>
                <a:gd name="connsiteX74" fmla="*/ 308387 w 571128"/>
                <a:gd name="connsiteY74" fmla="*/ 264872 h 761503"/>
                <a:gd name="connsiteX75" fmla="*/ 319265 w 571128"/>
                <a:gd name="connsiteY75" fmla="*/ 300228 h 761503"/>
                <a:gd name="connsiteX76" fmla="*/ 351901 w 571128"/>
                <a:gd name="connsiteY76" fmla="*/ 379098 h 761503"/>
                <a:gd name="connsiteX77" fmla="*/ 365500 w 571128"/>
                <a:gd name="connsiteY77" fmla="*/ 417173 h 761503"/>
                <a:gd name="connsiteX78" fmla="*/ 379098 w 571128"/>
                <a:gd name="connsiteY78" fmla="*/ 457968 h 761503"/>
                <a:gd name="connsiteX79" fmla="*/ 395416 w 571128"/>
                <a:gd name="connsiteY79" fmla="*/ 496043 h 761503"/>
                <a:gd name="connsiteX80" fmla="*/ 406295 w 571128"/>
                <a:gd name="connsiteY80" fmla="*/ 512361 h 761503"/>
                <a:gd name="connsiteX81" fmla="*/ 411734 w 571128"/>
                <a:gd name="connsiteY81" fmla="*/ 531398 h 761503"/>
                <a:gd name="connsiteX82" fmla="*/ 419893 w 571128"/>
                <a:gd name="connsiteY82" fmla="*/ 558595 h 761503"/>
                <a:gd name="connsiteX83" fmla="*/ 425332 w 571128"/>
                <a:gd name="connsiteY83" fmla="*/ 564034 h 761503"/>
                <a:gd name="connsiteX84" fmla="*/ 430771 w 571128"/>
                <a:gd name="connsiteY84" fmla="*/ 558595 h 761503"/>
                <a:gd name="connsiteX85" fmla="*/ 430771 w 571128"/>
                <a:gd name="connsiteY85" fmla="*/ 550436 h 761503"/>
                <a:gd name="connsiteX86" fmla="*/ 430771 w 571128"/>
                <a:gd name="connsiteY86" fmla="*/ 501482 h 761503"/>
                <a:gd name="connsiteX87" fmla="*/ 430771 w 571128"/>
                <a:gd name="connsiteY87" fmla="*/ 403575 h 761503"/>
                <a:gd name="connsiteX88" fmla="*/ 425332 w 571128"/>
                <a:gd name="connsiteY88" fmla="*/ 313826 h 761503"/>
                <a:gd name="connsiteX89" fmla="*/ 425332 w 571128"/>
                <a:gd name="connsiteY89" fmla="*/ 248554 h 761503"/>
                <a:gd name="connsiteX90" fmla="*/ 425332 w 571128"/>
                <a:gd name="connsiteY90" fmla="*/ 210479 h 761503"/>
                <a:gd name="connsiteX91" fmla="*/ 422613 w 571128"/>
                <a:gd name="connsiteY91" fmla="*/ 153366 h 761503"/>
                <a:gd name="connsiteX92" fmla="*/ 425332 w 571128"/>
                <a:gd name="connsiteY92" fmla="*/ 123450 h 761503"/>
                <a:gd name="connsiteX93" fmla="*/ 398136 w 571128"/>
                <a:gd name="connsiteY93" fmla="*/ 123450 h 761503"/>
                <a:gd name="connsiteX94" fmla="*/ 379098 w 571128"/>
                <a:gd name="connsiteY94" fmla="*/ 123450 h 761503"/>
                <a:gd name="connsiteX95" fmla="*/ 360060 w 571128"/>
                <a:gd name="connsiteY95" fmla="*/ 118011 h 761503"/>
                <a:gd name="connsiteX96" fmla="*/ 349182 w 571128"/>
                <a:gd name="connsiteY96" fmla="*/ 101693 h 761503"/>
                <a:gd name="connsiteX97" fmla="*/ 351901 w 571128"/>
                <a:gd name="connsiteY97" fmla="*/ 93534 h 761503"/>
                <a:gd name="connsiteX98" fmla="*/ 368219 w 571128"/>
                <a:gd name="connsiteY98" fmla="*/ 85375 h 761503"/>
                <a:gd name="connsiteX99" fmla="*/ 422613 w 571128"/>
                <a:gd name="connsiteY99" fmla="*/ 79936 h 761503"/>
                <a:gd name="connsiteX100" fmla="*/ 444370 w 571128"/>
                <a:gd name="connsiteY100" fmla="*/ 79936 h 761503"/>
                <a:gd name="connsiteX101" fmla="*/ 463407 w 571128"/>
                <a:gd name="connsiteY101" fmla="*/ 71776 h 761503"/>
                <a:gd name="connsiteX102" fmla="*/ 477006 w 571128"/>
                <a:gd name="connsiteY102" fmla="*/ 79936 h 761503"/>
                <a:gd name="connsiteX103" fmla="*/ 512361 w 571128"/>
                <a:gd name="connsiteY103" fmla="*/ 79936 h 761503"/>
                <a:gd name="connsiteX104" fmla="*/ 512361 w 571128"/>
                <a:gd name="connsiteY104" fmla="*/ 79936 h 761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</a:cxnLst>
              <a:rect l="l" t="t" r="r" b="b"/>
              <a:pathLst>
                <a:path w="571128" h="761503">
                  <a:moveTo>
                    <a:pt x="512361" y="79936"/>
                  </a:moveTo>
                  <a:cubicBezTo>
                    <a:pt x="520520" y="79936"/>
                    <a:pt x="539558" y="79936"/>
                    <a:pt x="539558" y="96253"/>
                  </a:cubicBezTo>
                  <a:cubicBezTo>
                    <a:pt x="539558" y="104412"/>
                    <a:pt x="539558" y="107132"/>
                    <a:pt x="534118" y="112571"/>
                  </a:cubicBezTo>
                  <a:cubicBezTo>
                    <a:pt x="531399" y="118011"/>
                    <a:pt x="525960" y="120730"/>
                    <a:pt x="523240" y="120730"/>
                  </a:cubicBezTo>
                  <a:cubicBezTo>
                    <a:pt x="515081" y="123450"/>
                    <a:pt x="512361" y="123450"/>
                    <a:pt x="506922" y="123450"/>
                  </a:cubicBezTo>
                  <a:cubicBezTo>
                    <a:pt x="504202" y="123450"/>
                    <a:pt x="490604" y="123450"/>
                    <a:pt x="477006" y="123450"/>
                  </a:cubicBezTo>
                  <a:cubicBezTo>
                    <a:pt x="477006" y="131609"/>
                    <a:pt x="479725" y="137048"/>
                    <a:pt x="479725" y="145207"/>
                  </a:cubicBezTo>
                  <a:cubicBezTo>
                    <a:pt x="479725" y="156086"/>
                    <a:pt x="477006" y="166964"/>
                    <a:pt x="477006" y="180563"/>
                  </a:cubicBezTo>
                  <a:cubicBezTo>
                    <a:pt x="477006" y="196881"/>
                    <a:pt x="479725" y="215918"/>
                    <a:pt x="482445" y="232236"/>
                  </a:cubicBezTo>
                  <a:cubicBezTo>
                    <a:pt x="485165" y="248554"/>
                    <a:pt x="485165" y="267592"/>
                    <a:pt x="485165" y="283910"/>
                  </a:cubicBezTo>
                  <a:cubicBezTo>
                    <a:pt x="485165" y="297508"/>
                    <a:pt x="485165" y="313826"/>
                    <a:pt x="485165" y="327424"/>
                  </a:cubicBezTo>
                  <a:cubicBezTo>
                    <a:pt x="485165" y="343742"/>
                    <a:pt x="487884" y="357340"/>
                    <a:pt x="487884" y="373658"/>
                  </a:cubicBezTo>
                  <a:cubicBezTo>
                    <a:pt x="487884" y="389976"/>
                    <a:pt x="485165" y="403575"/>
                    <a:pt x="485165" y="419892"/>
                  </a:cubicBezTo>
                  <a:cubicBezTo>
                    <a:pt x="485165" y="436210"/>
                    <a:pt x="485165" y="449809"/>
                    <a:pt x="485165" y="463407"/>
                  </a:cubicBezTo>
                  <a:cubicBezTo>
                    <a:pt x="485165" y="479725"/>
                    <a:pt x="485165" y="498762"/>
                    <a:pt x="482445" y="515080"/>
                  </a:cubicBezTo>
                  <a:cubicBezTo>
                    <a:pt x="482445" y="528679"/>
                    <a:pt x="482445" y="542277"/>
                    <a:pt x="482445" y="558595"/>
                  </a:cubicBezTo>
                  <a:cubicBezTo>
                    <a:pt x="482445" y="572193"/>
                    <a:pt x="479725" y="588511"/>
                    <a:pt x="479725" y="602109"/>
                  </a:cubicBezTo>
                  <a:cubicBezTo>
                    <a:pt x="479725" y="615708"/>
                    <a:pt x="485165" y="632026"/>
                    <a:pt x="485165" y="648343"/>
                  </a:cubicBezTo>
                  <a:cubicBezTo>
                    <a:pt x="485165" y="659222"/>
                    <a:pt x="482445" y="670101"/>
                    <a:pt x="474286" y="675540"/>
                  </a:cubicBezTo>
                  <a:cubicBezTo>
                    <a:pt x="460688" y="686419"/>
                    <a:pt x="444370" y="691858"/>
                    <a:pt x="428052" y="691858"/>
                  </a:cubicBezTo>
                  <a:cubicBezTo>
                    <a:pt x="414454" y="691858"/>
                    <a:pt x="400855" y="689138"/>
                    <a:pt x="387257" y="683699"/>
                  </a:cubicBezTo>
                  <a:cubicBezTo>
                    <a:pt x="373659" y="678260"/>
                    <a:pt x="360060" y="672820"/>
                    <a:pt x="351901" y="664661"/>
                  </a:cubicBezTo>
                  <a:cubicBezTo>
                    <a:pt x="330144" y="645624"/>
                    <a:pt x="316546" y="621147"/>
                    <a:pt x="305667" y="596670"/>
                  </a:cubicBezTo>
                  <a:cubicBezTo>
                    <a:pt x="292069" y="569473"/>
                    <a:pt x="281190" y="539557"/>
                    <a:pt x="270312" y="509641"/>
                  </a:cubicBezTo>
                  <a:cubicBezTo>
                    <a:pt x="264872" y="493323"/>
                    <a:pt x="256713" y="477005"/>
                    <a:pt x="251274" y="460687"/>
                  </a:cubicBezTo>
                  <a:cubicBezTo>
                    <a:pt x="240395" y="433491"/>
                    <a:pt x="232236" y="409014"/>
                    <a:pt x="224077" y="381817"/>
                  </a:cubicBezTo>
                  <a:cubicBezTo>
                    <a:pt x="218638" y="365499"/>
                    <a:pt x="213199" y="346462"/>
                    <a:pt x="207759" y="330144"/>
                  </a:cubicBezTo>
                  <a:cubicBezTo>
                    <a:pt x="202320" y="316545"/>
                    <a:pt x="196881" y="300228"/>
                    <a:pt x="191442" y="286629"/>
                  </a:cubicBezTo>
                  <a:cubicBezTo>
                    <a:pt x="188722" y="281190"/>
                    <a:pt x="186002" y="278470"/>
                    <a:pt x="183283" y="278470"/>
                  </a:cubicBezTo>
                  <a:cubicBezTo>
                    <a:pt x="180563" y="278470"/>
                    <a:pt x="180563" y="286629"/>
                    <a:pt x="180563" y="292069"/>
                  </a:cubicBezTo>
                  <a:cubicBezTo>
                    <a:pt x="180563" y="297508"/>
                    <a:pt x="180563" y="302947"/>
                    <a:pt x="180563" y="305667"/>
                  </a:cubicBezTo>
                  <a:cubicBezTo>
                    <a:pt x="180563" y="321985"/>
                    <a:pt x="183283" y="338303"/>
                    <a:pt x="183283" y="354621"/>
                  </a:cubicBezTo>
                  <a:cubicBezTo>
                    <a:pt x="183283" y="387257"/>
                    <a:pt x="186002" y="417173"/>
                    <a:pt x="188722" y="449809"/>
                  </a:cubicBezTo>
                  <a:cubicBezTo>
                    <a:pt x="188722" y="460687"/>
                    <a:pt x="188722" y="468846"/>
                    <a:pt x="188722" y="479725"/>
                  </a:cubicBezTo>
                  <a:cubicBezTo>
                    <a:pt x="188722" y="501482"/>
                    <a:pt x="188722" y="523239"/>
                    <a:pt x="188722" y="542277"/>
                  </a:cubicBezTo>
                  <a:cubicBezTo>
                    <a:pt x="188722" y="566754"/>
                    <a:pt x="186002" y="591231"/>
                    <a:pt x="186002" y="615708"/>
                  </a:cubicBezTo>
                  <a:cubicBezTo>
                    <a:pt x="186002" y="623867"/>
                    <a:pt x="186002" y="632026"/>
                    <a:pt x="186002" y="637465"/>
                  </a:cubicBezTo>
                  <a:cubicBezTo>
                    <a:pt x="186002" y="645624"/>
                    <a:pt x="183283" y="656502"/>
                    <a:pt x="183283" y="664661"/>
                  </a:cubicBezTo>
                  <a:cubicBezTo>
                    <a:pt x="202320" y="664661"/>
                    <a:pt x="218638" y="664661"/>
                    <a:pt x="226797" y="664661"/>
                  </a:cubicBezTo>
                  <a:cubicBezTo>
                    <a:pt x="234956" y="664661"/>
                    <a:pt x="253994" y="664661"/>
                    <a:pt x="253994" y="680979"/>
                  </a:cubicBezTo>
                  <a:cubicBezTo>
                    <a:pt x="253994" y="689138"/>
                    <a:pt x="253994" y="691858"/>
                    <a:pt x="248554" y="697297"/>
                  </a:cubicBezTo>
                  <a:cubicBezTo>
                    <a:pt x="245835" y="702737"/>
                    <a:pt x="240395" y="705456"/>
                    <a:pt x="234956" y="705456"/>
                  </a:cubicBezTo>
                  <a:cubicBezTo>
                    <a:pt x="226797" y="708176"/>
                    <a:pt x="224077" y="708176"/>
                    <a:pt x="218638" y="708176"/>
                  </a:cubicBezTo>
                  <a:cubicBezTo>
                    <a:pt x="215918" y="708176"/>
                    <a:pt x="199600" y="708176"/>
                    <a:pt x="183283" y="708176"/>
                  </a:cubicBezTo>
                  <a:cubicBezTo>
                    <a:pt x="166965" y="708176"/>
                    <a:pt x="153366" y="708176"/>
                    <a:pt x="150647" y="708176"/>
                  </a:cubicBezTo>
                  <a:cubicBezTo>
                    <a:pt x="139768" y="708176"/>
                    <a:pt x="120730" y="708176"/>
                    <a:pt x="107132" y="708176"/>
                  </a:cubicBezTo>
                  <a:cubicBezTo>
                    <a:pt x="101693" y="708176"/>
                    <a:pt x="96253" y="708176"/>
                    <a:pt x="88094" y="708176"/>
                  </a:cubicBezTo>
                  <a:cubicBezTo>
                    <a:pt x="82655" y="708176"/>
                    <a:pt x="74496" y="708176"/>
                    <a:pt x="69057" y="702737"/>
                  </a:cubicBezTo>
                  <a:cubicBezTo>
                    <a:pt x="63618" y="700017"/>
                    <a:pt x="58178" y="691858"/>
                    <a:pt x="58178" y="686419"/>
                  </a:cubicBezTo>
                  <a:cubicBezTo>
                    <a:pt x="58178" y="683699"/>
                    <a:pt x="58178" y="680979"/>
                    <a:pt x="60898" y="678260"/>
                  </a:cubicBezTo>
                  <a:cubicBezTo>
                    <a:pt x="63618" y="675540"/>
                    <a:pt x="71777" y="672820"/>
                    <a:pt x="77216" y="670101"/>
                  </a:cubicBezTo>
                  <a:cubicBezTo>
                    <a:pt x="90814" y="667381"/>
                    <a:pt x="115291" y="664661"/>
                    <a:pt x="120730" y="664661"/>
                  </a:cubicBezTo>
                  <a:cubicBezTo>
                    <a:pt x="123450" y="664661"/>
                    <a:pt x="126170" y="664661"/>
                    <a:pt x="131609" y="664661"/>
                  </a:cubicBezTo>
                  <a:cubicBezTo>
                    <a:pt x="131609" y="623867"/>
                    <a:pt x="134329" y="583072"/>
                    <a:pt x="134329" y="539557"/>
                  </a:cubicBezTo>
                  <a:cubicBezTo>
                    <a:pt x="134329" y="528679"/>
                    <a:pt x="134329" y="515080"/>
                    <a:pt x="134329" y="504202"/>
                  </a:cubicBezTo>
                  <a:cubicBezTo>
                    <a:pt x="131609" y="460687"/>
                    <a:pt x="131609" y="417173"/>
                    <a:pt x="131609" y="376378"/>
                  </a:cubicBezTo>
                  <a:cubicBezTo>
                    <a:pt x="131609" y="351901"/>
                    <a:pt x="131609" y="327424"/>
                    <a:pt x="131609" y="302947"/>
                  </a:cubicBezTo>
                  <a:cubicBezTo>
                    <a:pt x="131609" y="275751"/>
                    <a:pt x="131609" y="248554"/>
                    <a:pt x="134329" y="221357"/>
                  </a:cubicBezTo>
                  <a:cubicBezTo>
                    <a:pt x="134329" y="188722"/>
                    <a:pt x="137048" y="156086"/>
                    <a:pt x="137048" y="123450"/>
                  </a:cubicBezTo>
                  <a:cubicBezTo>
                    <a:pt x="126170" y="123450"/>
                    <a:pt x="115291" y="123450"/>
                    <a:pt x="107132" y="123450"/>
                  </a:cubicBezTo>
                  <a:cubicBezTo>
                    <a:pt x="101693" y="123450"/>
                    <a:pt x="96253" y="123450"/>
                    <a:pt x="88094" y="123450"/>
                  </a:cubicBezTo>
                  <a:cubicBezTo>
                    <a:pt x="82655" y="123450"/>
                    <a:pt x="74496" y="120730"/>
                    <a:pt x="69057" y="118011"/>
                  </a:cubicBezTo>
                  <a:cubicBezTo>
                    <a:pt x="63618" y="115291"/>
                    <a:pt x="58178" y="107132"/>
                    <a:pt x="58178" y="101693"/>
                  </a:cubicBezTo>
                  <a:cubicBezTo>
                    <a:pt x="58178" y="98973"/>
                    <a:pt x="58178" y="96253"/>
                    <a:pt x="60898" y="93534"/>
                  </a:cubicBezTo>
                  <a:cubicBezTo>
                    <a:pt x="63618" y="90814"/>
                    <a:pt x="71777" y="88095"/>
                    <a:pt x="77216" y="85375"/>
                  </a:cubicBezTo>
                  <a:cubicBezTo>
                    <a:pt x="90814" y="82655"/>
                    <a:pt x="126170" y="79936"/>
                    <a:pt x="131609" y="79936"/>
                  </a:cubicBezTo>
                  <a:cubicBezTo>
                    <a:pt x="137048" y="79936"/>
                    <a:pt x="147927" y="79936"/>
                    <a:pt x="161525" y="79936"/>
                  </a:cubicBezTo>
                  <a:cubicBezTo>
                    <a:pt x="166965" y="74496"/>
                    <a:pt x="172404" y="71776"/>
                    <a:pt x="177843" y="66337"/>
                  </a:cubicBezTo>
                  <a:cubicBezTo>
                    <a:pt x="186002" y="60898"/>
                    <a:pt x="194161" y="58178"/>
                    <a:pt x="202320" y="58178"/>
                  </a:cubicBezTo>
                  <a:cubicBezTo>
                    <a:pt x="215918" y="58178"/>
                    <a:pt x="226797" y="63618"/>
                    <a:pt x="234956" y="77216"/>
                  </a:cubicBezTo>
                  <a:cubicBezTo>
                    <a:pt x="240395" y="88095"/>
                    <a:pt x="248554" y="96253"/>
                    <a:pt x="251274" y="107132"/>
                  </a:cubicBezTo>
                  <a:cubicBezTo>
                    <a:pt x="256713" y="120730"/>
                    <a:pt x="259433" y="134329"/>
                    <a:pt x="267592" y="147927"/>
                  </a:cubicBezTo>
                  <a:cubicBezTo>
                    <a:pt x="273031" y="158806"/>
                    <a:pt x="275751" y="172404"/>
                    <a:pt x="281190" y="183282"/>
                  </a:cubicBezTo>
                  <a:cubicBezTo>
                    <a:pt x="286630" y="196881"/>
                    <a:pt x="292069" y="210479"/>
                    <a:pt x="297508" y="224077"/>
                  </a:cubicBezTo>
                  <a:cubicBezTo>
                    <a:pt x="300228" y="237676"/>
                    <a:pt x="305667" y="251274"/>
                    <a:pt x="308387" y="264872"/>
                  </a:cubicBezTo>
                  <a:cubicBezTo>
                    <a:pt x="311107" y="278470"/>
                    <a:pt x="311107" y="289349"/>
                    <a:pt x="319265" y="300228"/>
                  </a:cubicBezTo>
                  <a:cubicBezTo>
                    <a:pt x="332864" y="324704"/>
                    <a:pt x="346462" y="351901"/>
                    <a:pt x="351901" y="379098"/>
                  </a:cubicBezTo>
                  <a:cubicBezTo>
                    <a:pt x="354621" y="392696"/>
                    <a:pt x="360060" y="403575"/>
                    <a:pt x="365500" y="417173"/>
                  </a:cubicBezTo>
                  <a:cubicBezTo>
                    <a:pt x="373659" y="430771"/>
                    <a:pt x="373659" y="444369"/>
                    <a:pt x="379098" y="457968"/>
                  </a:cubicBezTo>
                  <a:cubicBezTo>
                    <a:pt x="381818" y="471566"/>
                    <a:pt x="387257" y="482445"/>
                    <a:pt x="395416" y="496043"/>
                  </a:cubicBezTo>
                  <a:cubicBezTo>
                    <a:pt x="398136" y="501482"/>
                    <a:pt x="403575" y="506921"/>
                    <a:pt x="406295" y="512361"/>
                  </a:cubicBezTo>
                  <a:cubicBezTo>
                    <a:pt x="409014" y="517800"/>
                    <a:pt x="409014" y="525959"/>
                    <a:pt x="411734" y="531398"/>
                  </a:cubicBezTo>
                  <a:cubicBezTo>
                    <a:pt x="414454" y="539557"/>
                    <a:pt x="417173" y="550436"/>
                    <a:pt x="419893" y="558595"/>
                  </a:cubicBezTo>
                  <a:cubicBezTo>
                    <a:pt x="422613" y="561314"/>
                    <a:pt x="422613" y="564034"/>
                    <a:pt x="425332" y="564034"/>
                  </a:cubicBezTo>
                  <a:cubicBezTo>
                    <a:pt x="428052" y="564034"/>
                    <a:pt x="428052" y="561314"/>
                    <a:pt x="430771" y="558595"/>
                  </a:cubicBezTo>
                  <a:cubicBezTo>
                    <a:pt x="430771" y="555875"/>
                    <a:pt x="430771" y="553156"/>
                    <a:pt x="430771" y="550436"/>
                  </a:cubicBezTo>
                  <a:cubicBezTo>
                    <a:pt x="430771" y="534118"/>
                    <a:pt x="430771" y="517800"/>
                    <a:pt x="430771" y="501482"/>
                  </a:cubicBezTo>
                  <a:cubicBezTo>
                    <a:pt x="430771" y="468846"/>
                    <a:pt x="433491" y="436210"/>
                    <a:pt x="430771" y="403575"/>
                  </a:cubicBezTo>
                  <a:cubicBezTo>
                    <a:pt x="430771" y="373658"/>
                    <a:pt x="425332" y="343742"/>
                    <a:pt x="425332" y="313826"/>
                  </a:cubicBezTo>
                  <a:cubicBezTo>
                    <a:pt x="425332" y="292069"/>
                    <a:pt x="425332" y="270311"/>
                    <a:pt x="425332" y="248554"/>
                  </a:cubicBezTo>
                  <a:cubicBezTo>
                    <a:pt x="425332" y="234956"/>
                    <a:pt x="425332" y="224077"/>
                    <a:pt x="425332" y="210479"/>
                  </a:cubicBezTo>
                  <a:cubicBezTo>
                    <a:pt x="425332" y="191441"/>
                    <a:pt x="422613" y="172404"/>
                    <a:pt x="422613" y="153366"/>
                  </a:cubicBezTo>
                  <a:cubicBezTo>
                    <a:pt x="422613" y="142488"/>
                    <a:pt x="422613" y="134329"/>
                    <a:pt x="425332" y="123450"/>
                  </a:cubicBezTo>
                  <a:cubicBezTo>
                    <a:pt x="417173" y="123450"/>
                    <a:pt x="406295" y="123450"/>
                    <a:pt x="398136" y="123450"/>
                  </a:cubicBezTo>
                  <a:cubicBezTo>
                    <a:pt x="392696" y="123450"/>
                    <a:pt x="387257" y="123450"/>
                    <a:pt x="379098" y="123450"/>
                  </a:cubicBezTo>
                  <a:cubicBezTo>
                    <a:pt x="373659" y="123450"/>
                    <a:pt x="365500" y="120730"/>
                    <a:pt x="360060" y="118011"/>
                  </a:cubicBezTo>
                  <a:cubicBezTo>
                    <a:pt x="354621" y="115291"/>
                    <a:pt x="349182" y="107132"/>
                    <a:pt x="349182" y="101693"/>
                  </a:cubicBezTo>
                  <a:cubicBezTo>
                    <a:pt x="349182" y="98973"/>
                    <a:pt x="349182" y="96253"/>
                    <a:pt x="351901" y="93534"/>
                  </a:cubicBezTo>
                  <a:cubicBezTo>
                    <a:pt x="354621" y="90814"/>
                    <a:pt x="362780" y="88095"/>
                    <a:pt x="368219" y="85375"/>
                  </a:cubicBezTo>
                  <a:cubicBezTo>
                    <a:pt x="381818" y="82655"/>
                    <a:pt x="417173" y="79936"/>
                    <a:pt x="422613" y="79936"/>
                  </a:cubicBezTo>
                  <a:cubicBezTo>
                    <a:pt x="428052" y="79936"/>
                    <a:pt x="433491" y="79936"/>
                    <a:pt x="444370" y="79936"/>
                  </a:cubicBezTo>
                  <a:cubicBezTo>
                    <a:pt x="449809" y="74496"/>
                    <a:pt x="455248" y="71776"/>
                    <a:pt x="463407" y="71776"/>
                  </a:cubicBezTo>
                  <a:cubicBezTo>
                    <a:pt x="471566" y="71776"/>
                    <a:pt x="477006" y="74496"/>
                    <a:pt x="477006" y="79936"/>
                  </a:cubicBezTo>
                  <a:cubicBezTo>
                    <a:pt x="490604" y="82655"/>
                    <a:pt x="504202" y="79936"/>
                    <a:pt x="512361" y="79936"/>
                  </a:cubicBezTo>
                  <a:lnTo>
                    <a:pt x="512361" y="79936"/>
                  </a:ln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/>
            </a:p>
          </p:txBody>
        </p:sp>
        <p:sp>
          <p:nvSpPr>
            <p:cNvPr id="36" name="Freeform: Shape 35">
              <a:extLst>
                <a:ext uri="{FF2B5EF4-FFF2-40B4-BE49-F238E27FC236}">
                  <a16:creationId xmlns:a16="http://schemas.microsoft.com/office/drawing/2014/main" id="{417FE90C-6359-4A38-A932-B9E34A36EB87}"/>
                </a:ext>
              </a:extLst>
            </p:cNvPr>
            <p:cNvSpPr/>
            <p:nvPr/>
          </p:nvSpPr>
          <p:spPr>
            <a:xfrm>
              <a:off x="2987430" y="4242177"/>
              <a:ext cx="494979" cy="674476"/>
            </a:xfrm>
            <a:custGeom>
              <a:avLst/>
              <a:gdLst>
                <a:gd name="connsiteX0" fmla="*/ 228453 w 494979"/>
                <a:gd name="connsiteY0" fmla="*/ 97907 h 674476"/>
                <a:gd name="connsiteX1" fmla="*/ 212135 w 494979"/>
                <a:gd name="connsiteY1" fmla="*/ 119665 h 674476"/>
                <a:gd name="connsiteX2" fmla="*/ 203976 w 494979"/>
                <a:gd name="connsiteY2" fmla="*/ 152300 h 674476"/>
                <a:gd name="connsiteX3" fmla="*/ 201256 w 494979"/>
                <a:gd name="connsiteY3" fmla="*/ 168618 h 674476"/>
                <a:gd name="connsiteX4" fmla="*/ 198537 w 494979"/>
                <a:gd name="connsiteY4" fmla="*/ 184936 h 674476"/>
                <a:gd name="connsiteX5" fmla="*/ 190378 w 494979"/>
                <a:gd name="connsiteY5" fmla="*/ 220292 h 674476"/>
                <a:gd name="connsiteX6" fmla="*/ 171340 w 494979"/>
                <a:gd name="connsiteY6" fmla="*/ 291003 h 674476"/>
                <a:gd name="connsiteX7" fmla="*/ 163180 w 494979"/>
                <a:gd name="connsiteY7" fmla="*/ 323639 h 674476"/>
                <a:gd name="connsiteX8" fmla="*/ 152302 w 494979"/>
                <a:gd name="connsiteY8" fmla="*/ 361714 h 674476"/>
                <a:gd name="connsiteX9" fmla="*/ 146862 w 494979"/>
                <a:gd name="connsiteY9" fmla="*/ 388910 h 674476"/>
                <a:gd name="connsiteX10" fmla="*/ 152302 w 494979"/>
                <a:gd name="connsiteY10" fmla="*/ 391630 h 674476"/>
                <a:gd name="connsiteX11" fmla="*/ 174060 w 494979"/>
                <a:gd name="connsiteY11" fmla="*/ 391630 h 674476"/>
                <a:gd name="connsiteX12" fmla="*/ 195817 w 494979"/>
                <a:gd name="connsiteY12" fmla="*/ 388910 h 674476"/>
                <a:gd name="connsiteX13" fmla="*/ 214855 w 494979"/>
                <a:gd name="connsiteY13" fmla="*/ 388910 h 674476"/>
                <a:gd name="connsiteX14" fmla="*/ 239332 w 494979"/>
                <a:gd name="connsiteY14" fmla="*/ 388910 h 674476"/>
                <a:gd name="connsiteX15" fmla="*/ 252930 w 494979"/>
                <a:gd name="connsiteY15" fmla="*/ 386191 h 674476"/>
                <a:gd name="connsiteX16" fmla="*/ 261089 w 494979"/>
                <a:gd name="connsiteY16" fmla="*/ 386191 h 674476"/>
                <a:gd name="connsiteX17" fmla="*/ 258369 w 494979"/>
                <a:gd name="connsiteY17" fmla="*/ 367153 h 674476"/>
                <a:gd name="connsiteX18" fmla="*/ 252930 w 494979"/>
                <a:gd name="connsiteY18" fmla="*/ 331797 h 674476"/>
                <a:gd name="connsiteX19" fmla="*/ 250210 w 494979"/>
                <a:gd name="connsiteY19" fmla="*/ 244769 h 674476"/>
                <a:gd name="connsiteX20" fmla="*/ 244771 w 494979"/>
                <a:gd name="connsiteY20" fmla="*/ 203974 h 674476"/>
                <a:gd name="connsiteX21" fmla="*/ 239332 w 494979"/>
                <a:gd name="connsiteY21" fmla="*/ 157740 h 674476"/>
                <a:gd name="connsiteX22" fmla="*/ 236612 w 494979"/>
                <a:gd name="connsiteY22" fmla="*/ 119665 h 674476"/>
                <a:gd name="connsiteX23" fmla="*/ 228453 w 494979"/>
                <a:gd name="connsiteY23" fmla="*/ 97907 h 674476"/>
                <a:gd name="connsiteX24" fmla="*/ 274687 w 494979"/>
                <a:gd name="connsiteY24" fmla="*/ 0 h 674476"/>
                <a:gd name="connsiteX25" fmla="*/ 304603 w 494979"/>
                <a:gd name="connsiteY25" fmla="*/ 5439 h 674476"/>
                <a:gd name="connsiteX26" fmla="*/ 320921 w 494979"/>
                <a:gd name="connsiteY26" fmla="*/ 24477 h 674476"/>
                <a:gd name="connsiteX27" fmla="*/ 334519 w 494979"/>
                <a:gd name="connsiteY27" fmla="*/ 43515 h 674476"/>
                <a:gd name="connsiteX28" fmla="*/ 339959 w 494979"/>
                <a:gd name="connsiteY28" fmla="*/ 65272 h 674476"/>
                <a:gd name="connsiteX29" fmla="*/ 348118 w 494979"/>
                <a:gd name="connsiteY29" fmla="*/ 114226 h 674476"/>
                <a:gd name="connsiteX30" fmla="*/ 361716 w 494979"/>
                <a:gd name="connsiteY30" fmla="*/ 163180 h 674476"/>
                <a:gd name="connsiteX31" fmla="*/ 369875 w 494979"/>
                <a:gd name="connsiteY31" fmla="*/ 220293 h 674476"/>
                <a:gd name="connsiteX32" fmla="*/ 378034 w 494979"/>
                <a:gd name="connsiteY32" fmla="*/ 274686 h 674476"/>
                <a:gd name="connsiteX33" fmla="*/ 383473 w 494979"/>
                <a:gd name="connsiteY33" fmla="*/ 301883 h 674476"/>
                <a:gd name="connsiteX34" fmla="*/ 391632 w 494979"/>
                <a:gd name="connsiteY34" fmla="*/ 337238 h 674476"/>
                <a:gd name="connsiteX35" fmla="*/ 397071 w 494979"/>
                <a:gd name="connsiteY35" fmla="*/ 364435 h 674476"/>
                <a:gd name="connsiteX36" fmla="*/ 405230 w 494979"/>
                <a:gd name="connsiteY36" fmla="*/ 383473 h 674476"/>
                <a:gd name="connsiteX37" fmla="*/ 416109 w 494979"/>
                <a:gd name="connsiteY37" fmla="*/ 386192 h 674476"/>
                <a:gd name="connsiteX38" fmla="*/ 426988 w 494979"/>
                <a:gd name="connsiteY38" fmla="*/ 386192 h 674476"/>
                <a:gd name="connsiteX39" fmla="*/ 454184 w 494979"/>
                <a:gd name="connsiteY39" fmla="*/ 397071 h 674476"/>
                <a:gd name="connsiteX40" fmla="*/ 456904 w 494979"/>
                <a:gd name="connsiteY40" fmla="*/ 405230 h 674476"/>
                <a:gd name="connsiteX41" fmla="*/ 451465 w 494979"/>
                <a:gd name="connsiteY41" fmla="*/ 416108 h 674476"/>
                <a:gd name="connsiteX42" fmla="*/ 432427 w 494979"/>
                <a:gd name="connsiteY42" fmla="*/ 429707 h 674476"/>
                <a:gd name="connsiteX43" fmla="*/ 421548 w 494979"/>
                <a:gd name="connsiteY43" fmla="*/ 432426 h 674476"/>
                <a:gd name="connsiteX44" fmla="*/ 413389 w 494979"/>
                <a:gd name="connsiteY44" fmla="*/ 435146 h 674476"/>
                <a:gd name="connsiteX45" fmla="*/ 413389 w 494979"/>
                <a:gd name="connsiteY45" fmla="*/ 440585 h 674476"/>
                <a:gd name="connsiteX46" fmla="*/ 416109 w 494979"/>
                <a:gd name="connsiteY46" fmla="*/ 451464 h 674476"/>
                <a:gd name="connsiteX47" fmla="*/ 418829 w 494979"/>
                <a:gd name="connsiteY47" fmla="*/ 465062 h 674476"/>
                <a:gd name="connsiteX48" fmla="*/ 418829 w 494979"/>
                <a:gd name="connsiteY48" fmla="*/ 475941 h 674476"/>
                <a:gd name="connsiteX49" fmla="*/ 418829 w 494979"/>
                <a:gd name="connsiteY49" fmla="*/ 486820 h 674476"/>
                <a:gd name="connsiteX50" fmla="*/ 426988 w 494979"/>
                <a:gd name="connsiteY50" fmla="*/ 516736 h 674476"/>
                <a:gd name="connsiteX51" fmla="*/ 432427 w 494979"/>
                <a:gd name="connsiteY51" fmla="*/ 543932 h 674476"/>
                <a:gd name="connsiteX52" fmla="*/ 437866 w 494979"/>
                <a:gd name="connsiteY52" fmla="*/ 573848 h 674476"/>
                <a:gd name="connsiteX53" fmla="*/ 443306 w 494979"/>
                <a:gd name="connsiteY53" fmla="*/ 606484 h 674476"/>
                <a:gd name="connsiteX54" fmla="*/ 446025 w 494979"/>
                <a:gd name="connsiteY54" fmla="*/ 617363 h 674476"/>
                <a:gd name="connsiteX55" fmla="*/ 470502 w 494979"/>
                <a:gd name="connsiteY55" fmla="*/ 617363 h 674476"/>
                <a:gd name="connsiteX56" fmla="*/ 494979 w 494979"/>
                <a:gd name="connsiteY56" fmla="*/ 641840 h 674476"/>
                <a:gd name="connsiteX57" fmla="*/ 486820 w 494979"/>
                <a:gd name="connsiteY57" fmla="*/ 655438 h 674476"/>
                <a:gd name="connsiteX58" fmla="*/ 470502 w 494979"/>
                <a:gd name="connsiteY58" fmla="*/ 663597 h 674476"/>
                <a:gd name="connsiteX59" fmla="*/ 446025 w 494979"/>
                <a:gd name="connsiteY59" fmla="*/ 666317 h 674476"/>
                <a:gd name="connsiteX60" fmla="*/ 424268 w 494979"/>
                <a:gd name="connsiteY60" fmla="*/ 666317 h 674476"/>
                <a:gd name="connsiteX61" fmla="*/ 416109 w 494979"/>
                <a:gd name="connsiteY61" fmla="*/ 666317 h 674476"/>
                <a:gd name="connsiteX62" fmla="*/ 402511 w 494979"/>
                <a:gd name="connsiteY62" fmla="*/ 671756 h 674476"/>
                <a:gd name="connsiteX63" fmla="*/ 386193 w 494979"/>
                <a:gd name="connsiteY63" fmla="*/ 674476 h 674476"/>
                <a:gd name="connsiteX64" fmla="*/ 350837 w 494979"/>
                <a:gd name="connsiteY64" fmla="*/ 669036 h 674476"/>
                <a:gd name="connsiteX65" fmla="*/ 329080 w 494979"/>
                <a:gd name="connsiteY65" fmla="*/ 669036 h 674476"/>
                <a:gd name="connsiteX66" fmla="*/ 280126 w 494979"/>
                <a:gd name="connsiteY66" fmla="*/ 669036 h 674476"/>
                <a:gd name="connsiteX67" fmla="*/ 255649 w 494979"/>
                <a:gd name="connsiteY67" fmla="*/ 663597 h 674476"/>
                <a:gd name="connsiteX68" fmla="*/ 239331 w 494979"/>
                <a:gd name="connsiteY68" fmla="*/ 647279 h 674476"/>
                <a:gd name="connsiteX69" fmla="*/ 263808 w 494979"/>
                <a:gd name="connsiteY69" fmla="*/ 630961 h 674476"/>
                <a:gd name="connsiteX70" fmla="*/ 291005 w 494979"/>
                <a:gd name="connsiteY70" fmla="*/ 628241 h 674476"/>
                <a:gd name="connsiteX71" fmla="*/ 288285 w 494979"/>
                <a:gd name="connsiteY71" fmla="*/ 609204 h 674476"/>
                <a:gd name="connsiteX72" fmla="*/ 285565 w 494979"/>
                <a:gd name="connsiteY72" fmla="*/ 582007 h 674476"/>
                <a:gd name="connsiteX73" fmla="*/ 282846 w 494979"/>
                <a:gd name="connsiteY73" fmla="*/ 568409 h 674476"/>
                <a:gd name="connsiteX74" fmla="*/ 285565 w 494979"/>
                <a:gd name="connsiteY74" fmla="*/ 554811 h 674476"/>
                <a:gd name="connsiteX75" fmla="*/ 280126 w 494979"/>
                <a:gd name="connsiteY75" fmla="*/ 538493 h 674476"/>
                <a:gd name="connsiteX76" fmla="*/ 274687 w 494979"/>
                <a:gd name="connsiteY76" fmla="*/ 505857 h 674476"/>
                <a:gd name="connsiteX77" fmla="*/ 271967 w 494979"/>
                <a:gd name="connsiteY77" fmla="*/ 478660 h 674476"/>
                <a:gd name="connsiteX78" fmla="*/ 269247 w 494979"/>
                <a:gd name="connsiteY78" fmla="*/ 446025 h 674476"/>
                <a:gd name="connsiteX79" fmla="*/ 263808 w 494979"/>
                <a:gd name="connsiteY79" fmla="*/ 437866 h 674476"/>
                <a:gd name="connsiteX80" fmla="*/ 252929 w 494979"/>
                <a:gd name="connsiteY80" fmla="*/ 437866 h 674476"/>
                <a:gd name="connsiteX81" fmla="*/ 223013 w 494979"/>
                <a:gd name="connsiteY81" fmla="*/ 440585 h 674476"/>
                <a:gd name="connsiteX82" fmla="*/ 193097 w 494979"/>
                <a:gd name="connsiteY82" fmla="*/ 443305 h 674476"/>
                <a:gd name="connsiteX83" fmla="*/ 168620 w 494979"/>
                <a:gd name="connsiteY83" fmla="*/ 443305 h 674476"/>
                <a:gd name="connsiteX84" fmla="*/ 146862 w 494979"/>
                <a:gd name="connsiteY84" fmla="*/ 440585 h 674476"/>
                <a:gd name="connsiteX85" fmla="*/ 138703 w 494979"/>
                <a:gd name="connsiteY85" fmla="*/ 454184 h 674476"/>
                <a:gd name="connsiteX86" fmla="*/ 133263 w 494979"/>
                <a:gd name="connsiteY86" fmla="*/ 486820 h 674476"/>
                <a:gd name="connsiteX87" fmla="*/ 122385 w 494979"/>
                <a:gd name="connsiteY87" fmla="*/ 541213 h 674476"/>
                <a:gd name="connsiteX88" fmla="*/ 106067 w 494979"/>
                <a:gd name="connsiteY88" fmla="*/ 614643 h 674476"/>
                <a:gd name="connsiteX89" fmla="*/ 135983 w 494979"/>
                <a:gd name="connsiteY89" fmla="*/ 614643 h 674476"/>
                <a:gd name="connsiteX90" fmla="*/ 171340 w 494979"/>
                <a:gd name="connsiteY90" fmla="*/ 630961 h 674476"/>
                <a:gd name="connsiteX91" fmla="*/ 165900 w 494979"/>
                <a:gd name="connsiteY91" fmla="*/ 647279 h 674476"/>
                <a:gd name="connsiteX92" fmla="*/ 149581 w 494979"/>
                <a:gd name="connsiteY92" fmla="*/ 655438 h 674476"/>
                <a:gd name="connsiteX93" fmla="*/ 127824 w 494979"/>
                <a:gd name="connsiteY93" fmla="*/ 658158 h 674476"/>
                <a:gd name="connsiteX94" fmla="*/ 106067 w 494979"/>
                <a:gd name="connsiteY94" fmla="*/ 658158 h 674476"/>
                <a:gd name="connsiteX95" fmla="*/ 62552 w 494979"/>
                <a:gd name="connsiteY95" fmla="*/ 658158 h 674476"/>
                <a:gd name="connsiteX96" fmla="*/ 40795 w 494979"/>
                <a:gd name="connsiteY96" fmla="*/ 658158 h 674476"/>
                <a:gd name="connsiteX97" fmla="*/ 16318 w 494979"/>
                <a:gd name="connsiteY97" fmla="*/ 652718 h 674476"/>
                <a:gd name="connsiteX98" fmla="*/ 0 w 494979"/>
                <a:gd name="connsiteY98" fmla="*/ 636401 h 674476"/>
                <a:gd name="connsiteX99" fmla="*/ 2720 w 494979"/>
                <a:gd name="connsiteY99" fmla="*/ 628241 h 674476"/>
                <a:gd name="connsiteX100" fmla="*/ 24477 w 494979"/>
                <a:gd name="connsiteY100" fmla="*/ 620082 h 674476"/>
                <a:gd name="connsiteX101" fmla="*/ 62552 w 494979"/>
                <a:gd name="connsiteY101" fmla="*/ 617363 h 674476"/>
                <a:gd name="connsiteX102" fmla="*/ 62552 w 494979"/>
                <a:gd name="connsiteY102" fmla="*/ 614643 h 674476"/>
                <a:gd name="connsiteX103" fmla="*/ 65272 w 494979"/>
                <a:gd name="connsiteY103" fmla="*/ 587447 h 674476"/>
                <a:gd name="connsiteX104" fmla="*/ 76151 w 494979"/>
                <a:gd name="connsiteY104" fmla="*/ 522175 h 674476"/>
                <a:gd name="connsiteX105" fmla="*/ 87029 w 494979"/>
                <a:gd name="connsiteY105" fmla="*/ 470501 h 674476"/>
                <a:gd name="connsiteX106" fmla="*/ 92469 w 494979"/>
                <a:gd name="connsiteY106" fmla="*/ 446025 h 674476"/>
                <a:gd name="connsiteX107" fmla="*/ 65272 w 494979"/>
                <a:gd name="connsiteY107" fmla="*/ 432426 h 674476"/>
                <a:gd name="connsiteX108" fmla="*/ 54393 w 494979"/>
                <a:gd name="connsiteY108" fmla="*/ 421548 h 674476"/>
                <a:gd name="connsiteX109" fmla="*/ 73431 w 494979"/>
                <a:gd name="connsiteY109" fmla="*/ 407949 h 674476"/>
                <a:gd name="connsiteX110" fmla="*/ 100628 w 494979"/>
                <a:gd name="connsiteY110" fmla="*/ 399790 h 674476"/>
                <a:gd name="connsiteX111" fmla="*/ 108787 w 494979"/>
                <a:gd name="connsiteY111" fmla="*/ 369874 h 674476"/>
                <a:gd name="connsiteX112" fmla="*/ 125105 w 494979"/>
                <a:gd name="connsiteY112" fmla="*/ 307322 h 674476"/>
                <a:gd name="connsiteX113" fmla="*/ 141423 w 494979"/>
                <a:gd name="connsiteY113" fmla="*/ 242051 h 674476"/>
                <a:gd name="connsiteX114" fmla="*/ 155021 w 494979"/>
                <a:gd name="connsiteY114" fmla="*/ 179498 h 674476"/>
                <a:gd name="connsiteX115" fmla="*/ 168620 w 494979"/>
                <a:gd name="connsiteY115" fmla="*/ 119665 h 674476"/>
                <a:gd name="connsiteX116" fmla="*/ 193097 w 494979"/>
                <a:gd name="connsiteY116" fmla="*/ 57113 h 674476"/>
                <a:gd name="connsiteX117" fmla="*/ 201256 w 494979"/>
                <a:gd name="connsiteY117" fmla="*/ 38075 h 674476"/>
                <a:gd name="connsiteX118" fmla="*/ 217574 w 494979"/>
                <a:gd name="connsiteY118" fmla="*/ 13598 h 674476"/>
                <a:gd name="connsiteX119" fmla="*/ 274687 w 494979"/>
                <a:gd name="connsiteY119" fmla="*/ 0 h 6744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</a:cxnLst>
              <a:rect l="l" t="t" r="r" b="b"/>
              <a:pathLst>
                <a:path w="494979" h="674476">
                  <a:moveTo>
                    <a:pt x="228453" y="97907"/>
                  </a:moveTo>
                  <a:cubicBezTo>
                    <a:pt x="220294" y="97907"/>
                    <a:pt x="212135" y="114225"/>
                    <a:pt x="212135" y="119665"/>
                  </a:cubicBezTo>
                  <a:cubicBezTo>
                    <a:pt x="209415" y="130543"/>
                    <a:pt x="206696" y="144141"/>
                    <a:pt x="203976" y="152300"/>
                  </a:cubicBezTo>
                  <a:cubicBezTo>
                    <a:pt x="201256" y="157740"/>
                    <a:pt x="201256" y="163179"/>
                    <a:pt x="201256" y="168618"/>
                  </a:cubicBezTo>
                  <a:cubicBezTo>
                    <a:pt x="201256" y="174058"/>
                    <a:pt x="198537" y="179497"/>
                    <a:pt x="198537" y="184936"/>
                  </a:cubicBezTo>
                  <a:cubicBezTo>
                    <a:pt x="195817" y="195815"/>
                    <a:pt x="193097" y="209413"/>
                    <a:pt x="190378" y="220292"/>
                  </a:cubicBezTo>
                  <a:cubicBezTo>
                    <a:pt x="187658" y="244769"/>
                    <a:pt x="179499" y="269246"/>
                    <a:pt x="171340" y="291003"/>
                  </a:cubicBezTo>
                  <a:cubicBezTo>
                    <a:pt x="168620" y="301881"/>
                    <a:pt x="165900" y="312760"/>
                    <a:pt x="163180" y="323639"/>
                  </a:cubicBezTo>
                  <a:cubicBezTo>
                    <a:pt x="160461" y="337237"/>
                    <a:pt x="157741" y="348115"/>
                    <a:pt x="152302" y="361714"/>
                  </a:cubicBezTo>
                  <a:cubicBezTo>
                    <a:pt x="149582" y="367153"/>
                    <a:pt x="146862" y="383471"/>
                    <a:pt x="146862" y="388910"/>
                  </a:cubicBezTo>
                  <a:cubicBezTo>
                    <a:pt x="146862" y="391630"/>
                    <a:pt x="149582" y="391630"/>
                    <a:pt x="152302" y="391630"/>
                  </a:cubicBezTo>
                  <a:cubicBezTo>
                    <a:pt x="157741" y="391630"/>
                    <a:pt x="171340" y="391630"/>
                    <a:pt x="174060" y="391630"/>
                  </a:cubicBezTo>
                  <a:cubicBezTo>
                    <a:pt x="182219" y="391630"/>
                    <a:pt x="190378" y="391630"/>
                    <a:pt x="195817" y="388910"/>
                  </a:cubicBezTo>
                  <a:cubicBezTo>
                    <a:pt x="201256" y="388910"/>
                    <a:pt x="206696" y="388910"/>
                    <a:pt x="214855" y="388910"/>
                  </a:cubicBezTo>
                  <a:cubicBezTo>
                    <a:pt x="220294" y="388910"/>
                    <a:pt x="228453" y="388910"/>
                    <a:pt x="239332" y="388910"/>
                  </a:cubicBezTo>
                  <a:cubicBezTo>
                    <a:pt x="244771" y="388910"/>
                    <a:pt x="250210" y="388910"/>
                    <a:pt x="252930" y="386191"/>
                  </a:cubicBezTo>
                  <a:cubicBezTo>
                    <a:pt x="258369" y="391630"/>
                    <a:pt x="261089" y="388910"/>
                    <a:pt x="261089" y="386191"/>
                  </a:cubicBezTo>
                  <a:cubicBezTo>
                    <a:pt x="261089" y="380751"/>
                    <a:pt x="258369" y="372592"/>
                    <a:pt x="258369" y="367153"/>
                  </a:cubicBezTo>
                  <a:cubicBezTo>
                    <a:pt x="255650" y="353555"/>
                    <a:pt x="252930" y="342676"/>
                    <a:pt x="252930" y="331797"/>
                  </a:cubicBezTo>
                  <a:cubicBezTo>
                    <a:pt x="252930" y="301881"/>
                    <a:pt x="252930" y="274685"/>
                    <a:pt x="250210" y="244769"/>
                  </a:cubicBezTo>
                  <a:cubicBezTo>
                    <a:pt x="250210" y="231170"/>
                    <a:pt x="247491" y="217572"/>
                    <a:pt x="244771" y="203974"/>
                  </a:cubicBezTo>
                  <a:cubicBezTo>
                    <a:pt x="242051" y="187656"/>
                    <a:pt x="239332" y="174058"/>
                    <a:pt x="239332" y="157740"/>
                  </a:cubicBezTo>
                  <a:cubicBezTo>
                    <a:pt x="239332" y="152300"/>
                    <a:pt x="239332" y="133263"/>
                    <a:pt x="236612" y="119665"/>
                  </a:cubicBezTo>
                  <a:cubicBezTo>
                    <a:pt x="236612" y="106066"/>
                    <a:pt x="233892" y="97907"/>
                    <a:pt x="228453" y="97907"/>
                  </a:cubicBezTo>
                  <a:close/>
                  <a:moveTo>
                    <a:pt x="274687" y="0"/>
                  </a:moveTo>
                  <a:cubicBezTo>
                    <a:pt x="288285" y="0"/>
                    <a:pt x="293724" y="2720"/>
                    <a:pt x="304603" y="5439"/>
                  </a:cubicBezTo>
                  <a:cubicBezTo>
                    <a:pt x="315482" y="10879"/>
                    <a:pt x="315482" y="16318"/>
                    <a:pt x="320921" y="24477"/>
                  </a:cubicBezTo>
                  <a:cubicBezTo>
                    <a:pt x="326360" y="29916"/>
                    <a:pt x="331800" y="35356"/>
                    <a:pt x="334519" y="43515"/>
                  </a:cubicBezTo>
                  <a:cubicBezTo>
                    <a:pt x="337239" y="51674"/>
                    <a:pt x="337239" y="57113"/>
                    <a:pt x="339959" y="65272"/>
                  </a:cubicBezTo>
                  <a:cubicBezTo>
                    <a:pt x="345398" y="78870"/>
                    <a:pt x="342678" y="97908"/>
                    <a:pt x="348118" y="114226"/>
                  </a:cubicBezTo>
                  <a:cubicBezTo>
                    <a:pt x="350837" y="130544"/>
                    <a:pt x="358996" y="146863"/>
                    <a:pt x="361716" y="163180"/>
                  </a:cubicBezTo>
                  <a:cubicBezTo>
                    <a:pt x="364435" y="182218"/>
                    <a:pt x="364435" y="201256"/>
                    <a:pt x="369875" y="220293"/>
                  </a:cubicBezTo>
                  <a:cubicBezTo>
                    <a:pt x="375314" y="239331"/>
                    <a:pt x="378034" y="255649"/>
                    <a:pt x="378034" y="274686"/>
                  </a:cubicBezTo>
                  <a:cubicBezTo>
                    <a:pt x="378034" y="282845"/>
                    <a:pt x="380753" y="293724"/>
                    <a:pt x="383473" y="301883"/>
                  </a:cubicBezTo>
                  <a:cubicBezTo>
                    <a:pt x="386193" y="312762"/>
                    <a:pt x="388912" y="326360"/>
                    <a:pt x="391632" y="337238"/>
                  </a:cubicBezTo>
                  <a:cubicBezTo>
                    <a:pt x="391632" y="342678"/>
                    <a:pt x="394352" y="353556"/>
                    <a:pt x="397071" y="364435"/>
                  </a:cubicBezTo>
                  <a:cubicBezTo>
                    <a:pt x="399791" y="372594"/>
                    <a:pt x="402511" y="380753"/>
                    <a:pt x="405230" y="383473"/>
                  </a:cubicBezTo>
                  <a:cubicBezTo>
                    <a:pt x="407950" y="386192"/>
                    <a:pt x="413389" y="386192"/>
                    <a:pt x="416109" y="386192"/>
                  </a:cubicBezTo>
                  <a:cubicBezTo>
                    <a:pt x="418829" y="386192"/>
                    <a:pt x="424268" y="386192"/>
                    <a:pt x="426988" y="386192"/>
                  </a:cubicBezTo>
                  <a:cubicBezTo>
                    <a:pt x="437866" y="386192"/>
                    <a:pt x="448745" y="388912"/>
                    <a:pt x="454184" y="397071"/>
                  </a:cubicBezTo>
                  <a:cubicBezTo>
                    <a:pt x="456904" y="399790"/>
                    <a:pt x="456904" y="402510"/>
                    <a:pt x="456904" y="405230"/>
                  </a:cubicBezTo>
                  <a:cubicBezTo>
                    <a:pt x="456904" y="407949"/>
                    <a:pt x="454184" y="410669"/>
                    <a:pt x="451465" y="416108"/>
                  </a:cubicBezTo>
                  <a:cubicBezTo>
                    <a:pt x="446025" y="421548"/>
                    <a:pt x="440586" y="426987"/>
                    <a:pt x="432427" y="429707"/>
                  </a:cubicBezTo>
                  <a:cubicBezTo>
                    <a:pt x="429707" y="429707"/>
                    <a:pt x="426988" y="432426"/>
                    <a:pt x="421548" y="432426"/>
                  </a:cubicBezTo>
                  <a:cubicBezTo>
                    <a:pt x="418829" y="432426"/>
                    <a:pt x="416109" y="432426"/>
                    <a:pt x="413389" y="435146"/>
                  </a:cubicBezTo>
                  <a:cubicBezTo>
                    <a:pt x="413389" y="435146"/>
                    <a:pt x="413389" y="437866"/>
                    <a:pt x="413389" y="440585"/>
                  </a:cubicBezTo>
                  <a:cubicBezTo>
                    <a:pt x="413389" y="443305"/>
                    <a:pt x="413389" y="448744"/>
                    <a:pt x="416109" y="451464"/>
                  </a:cubicBezTo>
                  <a:cubicBezTo>
                    <a:pt x="416109" y="456903"/>
                    <a:pt x="418829" y="462343"/>
                    <a:pt x="418829" y="465062"/>
                  </a:cubicBezTo>
                  <a:lnTo>
                    <a:pt x="418829" y="475941"/>
                  </a:lnTo>
                  <a:cubicBezTo>
                    <a:pt x="418829" y="481380"/>
                    <a:pt x="418829" y="484100"/>
                    <a:pt x="418829" y="486820"/>
                  </a:cubicBezTo>
                  <a:cubicBezTo>
                    <a:pt x="421548" y="497698"/>
                    <a:pt x="424268" y="505857"/>
                    <a:pt x="426988" y="516736"/>
                  </a:cubicBezTo>
                  <a:cubicBezTo>
                    <a:pt x="426988" y="524895"/>
                    <a:pt x="429707" y="535773"/>
                    <a:pt x="432427" y="543932"/>
                  </a:cubicBezTo>
                  <a:cubicBezTo>
                    <a:pt x="435147" y="554811"/>
                    <a:pt x="437866" y="562970"/>
                    <a:pt x="437866" y="573848"/>
                  </a:cubicBezTo>
                  <a:cubicBezTo>
                    <a:pt x="437866" y="587447"/>
                    <a:pt x="440586" y="595606"/>
                    <a:pt x="443306" y="606484"/>
                  </a:cubicBezTo>
                  <a:cubicBezTo>
                    <a:pt x="443306" y="609204"/>
                    <a:pt x="446025" y="614643"/>
                    <a:pt x="446025" y="617363"/>
                  </a:cubicBezTo>
                  <a:cubicBezTo>
                    <a:pt x="454184" y="617363"/>
                    <a:pt x="462343" y="617363"/>
                    <a:pt x="470502" y="617363"/>
                  </a:cubicBezTo>
                  <a:cubicBezTo>
                    <a:pt x="478661" y="625522"/>
                    <a:pt x="492259" y="630961"/>
                    <a:pt x="494979" y="641840"/>
                  </a:cubicBezTo>
                  <a:cubicBezTo>
                    <a:pt x="494979" y="647279"/>
                    <a:pt x="489540" y="649999"/>
                    <a:pt x="486820" y="655438"/>
                  </a:cubicBezTo>
                  <a:cubicBezTo>
                    <a:pt x="484100" y="660877"/>
                    <a:pt x="475942" y="663597"/>
                    <a:pt x="470502" y="663597"/>
                  </a:cubicBezTo>
                  <a:cubicBezTo>
                    <a:pt x="459623" y="666317"/>
                    <a:pt x="454184" y="666317"/>
                    <a:pt x="446025" y="666317"/>
                  </a:cubicBezTo>
                  <a:cubicBezTo>
                    <a:pt x="440586" y="666317"/>
                    <a:pt x="432427" y="666317"/>
                    <a:pt x="424268" y="666317"/>
                  </a:cubicBezTo>
                  <a:cubicBezTo>
                    <a:pt x="421548" y="666317"/>
                    <a:pt x="418829" y="666317"/>
                    <a:pt x="416109" y="666317"/>
                  </a:cubicBezTo>
                  <a:cubicBezTo>
                    <a:pt x="410670" y="669036"/>
                    <a:pt x="407950" y="669036"/>
                    <a:pt x="402511" y="671756"/>
                  </a:cubicBezTo>
                  <a:cubicBezTo>
                    <a:pt x="397071" y="671756"/>
                    <a:pt x="391632" y="674476"/>
                    <a:pt x="386193" y="674476"/>
                  </a:cubicBezTo>
                  <a:cubicBezTo>
                    <a:pt x="375314" y="674476"/>
                    <a:pt x="361716" y="671756"/>
                    <a:pt x="350837" y="669036"/>
                  </a:cubicBezTo>
                  <a:cubicBezTo>
                    <a:pt x="342678" y="669036"/>
                    <a:pt x="334519" y="669036"/>
                    <a:pt x="329080" y="669036"/>
                  </a:cubicBezTo>
                  <a:cubicBezTo>
                    <a:pt x="307323" y="669036"/>
                    <a:pt x="288285" y="669036"/>
                    <a:pt x="280126" y="669036"/>
                  </a:cubicBezTo>
                  <a:cubicBezTo>
                    <a:pt x="271967" y="669036"/>
                    <a:pt x="261088" y="669036"/>
                    <a:pt x="255649" y="663597"/>
                  </a:cubicBezTo>
                  <a:cubicBezTo>
                    <a:pt x="250210" y="660877"/>
                    <a:pt x="239331" y="655438"/>
                    <a:pt x="239331" y="647279"/>
                  </a:cubicBezTo>
                  <a:cubicBezTo>
                    <a:pt x="239331" y="636401"/>
                    <a:pt x="255649" y="633681"/>
                    <a:pt x="263808" y="630961"/>
                  </a:cubicBezTo>
                  <a:cubicBezTo>
                    <a:pt x="269247" y="630961"/>
                    <a:pt x="277406" y="630961"/>
                    <a:pt x="291005" y="628241"/>
                  </a:cubicBezTo>
                  <a:cubicBezTo>
                    <a:pt x="291005" y="620082"/>
                    <a:pt x="291005" y="614643"/>
                    <a:pt x="288285" y="609204"/>
                  </a:cubicBezTo>
                  <a:cubicBezTo>
                    <a:pt x="288285" y="601045"/>
                    <a:pt x="285565" y="590166"/>
                    <a:pt x="285565" y="582007"/>
                  </a:cubicBezTo>
                  <a:cubicBezTo>
                    <a:pt x="285565" y="576568"/>
                    <a:pt x="282846" y="573848"/>
                    <a:pt x="282846" y="568409"/>
                  </a:cubicBezTo>
                  <a:cubicBezTo>
                    <a:pt x="282846" y="562970"/>
                    <a:pt x="285565" y="557531"/>
                    <a:pt x="285565" y="554811"/>
                  </a:cubicBezTo>
                  <a:cubicBezTo>
                    <a:pt x="285565" y="549371"/>
                    <a:pt x="282846" y="546652"/>
                    <a:pt x="280126" y="538493"/>
                  </a:cubicBezTo>
                  <a:cubicBezTo>
                    <a:pt x="280126" y="527614"/>
                    <a:pt x="274687" y="516736"/>
                    <a:pt x="274687" y="505857"/>
                  </a:cubicBezTo>
                  <a:cubicBezTo>
                    <a:pt x="274687" y="494978"/>
                    <a:pt x="274687" y="486820"/>
                    <a:pt x="271967" y="478660"/>
                  </a:cubicBezTo>
                  <a:cubicBezTo>
                    <a:pt x="269247" y="467782"/>
                    <a:pt x="269247" y="456903"/>
                    <a:pt x="269247" y="446025"/>
                  </a:cubicBezTo>
                  <a:cubicBezTo>
                    <a:pt x="269247" y="440585"/>
                    <a:pt x="266528" y="437866"/>
                    <a:pt x="263808" y="437866"/>
                  </a:cubicBezTo>
                  <a:cubicBezTo>
                    <a:pt x="261088" y="437866"/>
                    <a:pt x="258369" y="437866"/>
                    <a:pt x="252929" y="437866"/>
                  </a:cubicBezTo>
                  <a:cubicBezTo>
                    <a:pt x="242051" y="437866"/>
                    <a:pt x="231172" y="437866"/>
                    <a:pt x="223013" y="440585"/>
                  </a:cubicBezTo>
                  <a:cubicBezTo>
                    <a:pt x="212135" y="440585"/>
                    <a:pt x="203976" y="443305"/>
                    <a:pt x="193097" y="443305"/>
                  </a:cubicBezTo>
                  <a:cubicBezTo>
                    <a:pt x="184938" y="443305"/>
                    <a:pt x="176779" y="443305"/>
                    <a:pt x="168620" y="443305"/>
                  </a:cubicBezTo>
                  <a:cubicBezTo>
                    <a:pt x="165900" y="443305"/>
                    <a:pt x="155021" y="440585"/>
                    <a:pt x="146862" y="440585"/>
                  </a:cubicBezTo>
                  <a:cubicBezTo>
                    <a:pt x="138703" y="440585"/>
                    <a:pt x="138703" y="448744"/>
                    <a:pt x="138703" y="454184"/>
                  </a:cubicBezTo>
                  <a:cubicBezTo>
                    <a:pt x="138703" y="465062"/>
                    <a:pt x="135983" y="475941"/>
                    <a:pt x="133263" y="486820"/>
                  </a:cubicBezTo>
                  <a:cubicBezTo>
                    <a:pt x="130544" y="505857"/>
                    <a:pt x="125105" y="522175"/>
                    <a:pt x="122385" y="541213"/>
                  </a:cubicBezTo>
                  <a:cubicBezTo>
                    <a:pt x="119665" y="560250"/>
                    <a:pt x="111506" y="595606"/>
                    <a:pt x="106067" y="614643"/>
                  </a:cubicBezTo>
                  <a:cubicBezTo>
                    <a:pt x="114226" y="614643"/>
                    <a:pt x="125105" y="614643"/>
                    <a:pt x="135983" y="614643"/>
                  </a:cubicBezTo>
                  <a:cubicBezTo>
                    <a:pt x="149581" y="614643"/>
                    <a:pt x="171340" y="614643"/>
                    <a:pt x="171340" y="630961"/>
                  </a:cubicBezTo>
                  <a:cubicBezTo>
                    <a:pt x="171340" y="639120"/>
                    <a:pt x="168620" y="639120"/>
                    <a:pt x="165900" y="647279"/>
                  </a:cubicBezTo>
                  <a:cubicBezTo>
                    <a:pt x="163181" y="652718"/>
                    <a:pt x="155021" y="655438"/>
                    <a:pt x="149581" y="655438"/>
                  </a:cubicBezTo>
                  <a:cubicBezTo>
                    <a:pt x="141423" y="658158"/>
                    <a:pt x="135983" y="658158"/>
                    <a:pt x="127824" y="658158"/>
                  </a:cubicBezTo>
                  <a:cubicBezTo>
                    <a:pt x="122385" y="658158"/>
                    <a:pt x="116946" y="658158"/>
                    <a:pt x="106067" y="658158"/>
                  </a:cubicBezTo>
                  <a:cubicBezTo>
                    <a:pt x="92469" y="658158"/>
                    <a:pt x="78870" y="658158"/>
                    <a:pt x="62552" y="658158"/>
                  </a:cubicBezTo>
                  <a:cubicBezTo>
                    <a:pt x="54393" y="658158"/>
                    <a:pt x="46234" y="658158"/>
                    <a:pt x="40795" y="658158"/>
                  </a:cubicBezTo>
                  <a:cubicBezTo>
                    <a:pt x="32636" y="658158"/>
                    <a:pt x="21758" y="658158"/>
                    <a:pt x="16318" y="652718"/>
                  </a:cubicBezTo>
                  <a:cubicBezTo>
                    <a:pt x="8159" y="649999"/>
                    <a:pt x="0" y="641840"/>
                    <a:pt x="0" y="636401"/>
                  </a:cubicBezTo>
                  <a:cubicBezTo>
                    <a:pt x="0" y="633681"/>
                    <a:pt x="0" y="630961"/>
                    <a:pt x="2720" y="628241"/>
                  </a:cubicBezTo>
                  <a:cubicBezTo>
                    <a:pt x="8159" y="625522"/>
                    <a:pt x="16318" y="622802"/>
                    <a:pt x="24477" y="620082"/>
                  </a:cubicBezTo>
                  <a:cubicBezTo>
                    <a:pt x="38075" y="617363"/>
                    <a:pt x="48954" y="617363"/>
                    <a:pt x="62552" y="617363"/>
                  </a:cubicBezTo>
                  <a:cubicBezTo>
                    <a:pt x="62552" y="617363"/>
                    <a:pt x="62552" y="614643"/>
                    <a:pt x="62552" y="614643"/>
                  </a:cubicBezTo>
                  <a:cubicBezTo>
                    <a:pt x="62552" y="603765"/>
                    <a:pt x="65272" y="590166"/>
                    <a:pt x="65272" y="587447"/>
                  </a:cubicBezTo>
                  <a:cubicBezTo>
                    <a:pt x="67992" y="565689"/>
                    <a:pt x="73431" y="543932"/>
                    <a:pt x="76151" y="522175"/>
                  </a:cubicBezTo>
                  <a:cubicBezTo>
                    <a:pt x="78870" y="505857"/>
                    <a:pt x="81590" y="486820"/>
                    <a:pt x="87029" y="470501"/>
                  </a:cubicBezTo>
                  <a:cubicBezTo>
                    <a:pt x="87029" y="465062"/>
                    <a:pt x="92469" y="451464"/>
                    <a:pt x="92469" y="446025"/>
                  </a:cubicBezTo>
                  <a:cubicBezTo>
                    <a:pt x="92469" y="437866"/>
                    <a:pt x="73431" y="437866"/>
                    <a:pt x="65272" y="432426"/>
                  </a:cubicBezTo>
                  <a:cubicBezTo>
                    <a:pt x="59833" y="429707"/>
                    <a:pt x="54393" y="426987"/>
                    <a:pt x="54393" y="421548"/>
                  </a:cubicBezTo>
                  <a:cubicBezTo>
                    <a:pt x="54393" y="413389"/>
                    <a:pt x="62552" y="410669"/>
                    <a:pt x="73431" y="407949"/>
                  </a:cubicBezTo>
                  <a:cubicBezTo>
                    <a:pt x="78870" y="407949"/>
                    <a:pt x="92469" y="405230"/>
                    <a:pt x="100628" y="399790"/>
                  </a:cubicBezTo>
                  <a:cubicBezTo>
                    <a:pt x="106067" y="394351"/>
                    <a:pt x="106067" y="378033"/>
                    <a:pt x="108787" y="369874"/>
                  </a:cubicBezTo>
                  <a:cubicBezTo>
                    <a:pt x="114226" y="348117"/>
                    <a:pt x="119665" y="326360"/>
                    <a:pt x="125105" y="307322"/>
                  </a:cubicBezTo>
                  <a:cubicBezTo>
                    <a:pt x="130544" y="285565"/>
                    <a:pt x="135983" y="263808"/>
                    <a:pt x="141423" y="242051"/>
                  </a:cubicBezTo>
                  <a:cubicBezTo>
                    <a:pt x="146862" y="220293"/>
                    <a:pt x="152301" y="198536"/>
                    <a:pt x="155021" y="179498"/>
                  </a:cubicBezTo>
                  <a:cubicBezTo>
                    <a:pt x="157740" y="160461"/>
                    <a:pt x="163181" y="138703"/>
                    <a:pt x="168620" y="119665"/>
                  </a:cubicBezTo>
                  <a:cubicBezTo>
                    <a:pt x="176779" y="100627"/>
                    <a:pt x="182218" y="76150"/>
                    <a:pt x="193097" y="57113"/>
                  </a:cubicBezTo>
                  <a:lnTo>
                    <a:pt x="201256" y="38075"/>
                  </a:lnTo>
                  <a:cubicBezTo>
                    <a:pt x="206695" y="29916"/>
                    <a:pt x="209415" y="19038"/>
                    <a:pt x="217574" y="13598"/>
                  </a:cubicBezTo>
                  <a:cubicBezTo>
                    <a:pt x="231172" y="2720"/>
                    <a:pt x="255649" y="0"/>
                    <a:pt x="274687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/>
            </a:p>
          </p:txBody>
        </p:sp>
        <p:sp>
          <p:nvSpPr>
            <p:cNvPr id="37" name="Freeform: Shape 36">
              <a:extLst>
                <a:ext uri="{FF2B5EF4-FFF2-40B4-BE49-F238E27FC236}">
                  <a16:creationId xmlns:a16="http://schemas.microsoft.com/office/drawing/2014/main" id="{0195EC85-116E-4D1D-AAC5-E1EE778E9F14}"/>
                </a:ext>
              </a:extLst>
            </p:cNvPr>
            <p:cNvSpPr/>
            <p:nvPr/>
          </p:nvSpPr>
          <p:spPr>
            <a:xfrm>
              <a:off x="3443268" y="4186718"/>
              <a:ext cx="435145" cy="761503"/>
            </a:xfrm>
            <a:custGeom>
              <a:avLst/>
              <a:gdLst>
                <a:gd name="connsiteX0" fmla="*/ 400855 w 435145"/>
                <a:gd name="connsiteY0" fmla="*/ 678260 h 761503"/>
                <a:gd name="connsiteX1" fmla="*/ 384537 w 435145"/>
                <a:gd name="connsiteY1" fmla="*/ 719054 h 761503"/>
                <a:gd name="connsiteX2" fmla="*/ 368219 w 435145"/>
                <a:gd name="connsiteY2" fmla="*/ 713615 h 761503"/>
                <a:gd name="connsiteX3" fmla="*/ 360060 w 435145"/>
                <a:gd name="connsiteY3" fmla="*/ 697297 h 761503"/>
                <a:gd name="connsiteX4" fmla="*/ 360060 w 435145"/>
                <a:gd name="connsiteY4" fmla="*/ 651063 h 761503"/>
                <a:gd name="connsiteX5" fmla="*/ 332864 w 435145"/>
                <a:gd name="connsiteY5" fmla="*/ 686418 h 761503"/>
                <a:gd name="connsiteX6" fmla="*/ 251274 w 435145"/>
                <a:gd name="connsiteY6" fmla="*/ 721774 h 761503"/>
                <a:gd name="connsiteX7" fmla="*/ 229517 w 435145"/>
                <a:gd name="connsiteY7" fmla="*/ 719054 h 761503"/>
                <a:gd name="connsiteX8" fmla="*/ 158806 w 435145"/>
                <a:gd name="connsiteY8" fmla="*/ 694578 h 761503"/>
                <a:gd name="connsiteX9" fmla="*/ 112571 w 435145"/>
                <a:gd name="connsiteY9" fmla="*/ 659222 h 761503"/>
                <a:gd name="connsiteX10" fmla="*/ 79936 w 435145"/>
                <a:gd name="connsiteY10" fmla="*/ 607548 h 761503"/>
                <a:gd name="connsiteX11" fmla="*/ 63618 w 435145"/>
                <a:gd name="connsiteY11" fmla="*/ 542277 h 761503"/>
                <a:gd name="connsiteX12" fmla="*/ 58178 w 435145"/>
                <a:gd name="connsiteY12" fmla="*/ 471566 h 761503"/>
                <a:gd name="connsiteX13" fmla="*/ 60898 w 435145"/>
                <a:gd name="connsiteY13" fmla="*/ 400855 h 761503"/>
                <a:gd name="connsiteX14" fmla="*/ 66337 w 435145"/>
                <a:gd name="connsiteY14" fmla="*/ 335583 h 761503"/>
                <a:gd name="connsiteX15" fmla="*/ 85375 w 435145"/>
                <a:gd name="connsiteY15" fmla="*/ 267592 h 761503"/>
                <a:gd name="connsiteX16" fmla="*/ 109852 w 435145"/>
                <a:gd name="connsiteY16" fmla="*/ 199600 h 761503"/>
                <a:gd name="connsiteX17" fmla="*/ 145207 w 435145"/>
                <a:gd name="connsiteY17" fmla="*/ 145207 h 761503"/>
                <a:gd name="connsiteX18" fmla="*/ 188722 w 435145"/>
                <a:gd name="connsiteY18" fmla="*/ 96253 h 761503"/>
                <a:gd name="connsiteX19" fmla="*/ 243115 w 435145"/>
                <a:gd name="connsiteY19" fmla="*/ 71776 h 761503"/>
                <a:gd name="connsiteX20" fmla="*/ 286630 w 435145"/>
                <a:gd name="connsiteY20" fmla="*/ 63617 h 761503"/>
                <a:gd name="connsiteX21" fmla="*/ 305667 w 435145"/>
                <a:gd name="connsiteY21" fmla="*/ 66337 h 761503"/>
                <a:gd name="connsiteX22" fmla="*/ 324705 w 435145"/>
                <a:gd name="connsiteY22" fmla="*/ 79936 h 761503"/>
                <a:gd name="connsiteX23" fmla="*/ 341023 w 435145"/>
                <a:gd name="connsiteY23" fmla="*/ 101693 h 761503"/>
                <a:gd name="connsiteX24" fmla="*/ 354621 w 435145"/>
                <a:gd name="connsiteY24" fmla="*/ 123450 h 761503"/>
                <a:gd name="connsiteX25" fmla="*/ 354621 w 435145"/>
                <a:gd name="connsiteY25" fmla="*/ 98973 h 761503"/>
                <a:gd name="connsiteX26" fmla="*/ 360060 w 435145"/>
                <a:gd name="connsiteY26" fmla="*/ 74496 h 761503"/>
                <a:gd name="connsiteX27" fmla="*/ 365500 w 435145"/>
                <a:gd name="connsiteY27" fmla="*/ 63617 h 761503"/>
                <a:gd name="connsiteX28" fmla="*/ 373659 w 435145"/>
                <a:gd name="connsiteY28" fmla="*/ 58178 h 761503"/>
                <a:gd name="connsiteX29" fmla="*/ 381818 w 435145"/>
                <a:gd name="connsiteY29" fmla="*/ 63617 h 761503"/>
                <a:gd name="connsiteX30" fmla="*/ 389977 w 435145"/>
                <a:gd name="connsiteY30" fmla="*/ 82655 h 761503"/>
                <a:gd name="connsiteX31" fmla="*/ 392696 w 435145"/>
                <a:gd name="connsiteY31" fmla="*/ 126170 h 761503"/>
                <a:gd name="connsiteX32" fmla="*/ 395416 w 435145"/>
                <a:gd name="connsiteY32" fmla="*/ 186002 h 761503"/>
                <a:gd name="connsiteX33" fmla="*/ 398136 w 435145"/>
                <a:gd name="connsiteY33" fmla="*/ 237675 h 761503"/>
                <a:gd name="connsiteX34" fmla="*/ 398136 w 435145"/>
                <a:gd name="connsiteY34" fmla="*/ 243115 h 761503"/>
                <a:gd name="connsiteX35" fmla="*/ 395416 w 435145"/>
                <a:gd name="connsiteY35" fmla="*/ 256713 h 761503"/>
                <a:gd name="connsiteX36" fmla="*/ 379098 w 435145"/>
                <a:gd name="connsiteY36" fmla="*/ 278470 h 761503"/>
                <a:gd name="connsiteX37" fmla="*/ 362780 w 435145"/>
                <a:gd name="connsiteY37" fmla="*/ 273031 h 761503"/>
                <a:gd name="connsiteX38" fmla="*/ 354621 w 435145"/>
                <a:gd name="connsiteY38" fmla="*/ 256713 h 761503"/>
                <a:gd name="connsiteX39" fmla="*/ 354621 w 435145"/>
                <a:gd name="connsiteY39" fmla="*/ 213198 h 761503"/>
                <a:gd name="connsiteX40" fmla="*/ 354621 w 435145"/>
                <a:gd name="connsiteY40" fmla="*/ 205040 h 761503"/>
                <a:gd name="connsiteX41" fmla="*/ 338303 w 435145"/>
                <a:gd name="connsiteY41" fmla="*/ 147927 h 761503"/>
                <a:gd name="connsiteX42" fmla="*/ 292069 w 435145"/>
                <a:gd name="connsiteY42" fmla="*/ 107132 h 761503"/>
                <a:gd name="connsiteX43" fmla="*/ 262153 w 435145"/>
                <a:gd name="connsiteY43" fmla="*/ 120730 h 761503"/>
                <a:gd name="connsiteX44" fmla="*/ 251274 w 435145"/>
                <a:gd name="connsiteY44" fmla="*/ 131609 h 761503"/>
                <a:gd name="connsiteX45" fmla="*/ 240395 w 435145"/>
                <a:gd name="connsiteY45" fmla="*/ 139768 h 761503"/>
                <a:gd name="connsiteX46" fmla="*/ 237676 w 435145"/>
                <a:gd name="connsiteY46" fmla="*/ 164245 h 761503"/>
                <a:gd name="connsiteX47" fmla="*/ 226797 w 435145"/>
                <a:gd name="connsiteY47" fmla="*/ 196881 h 761503"/>
                <a:gd name="connsiteX48" fmla="*/ 213199 w 435145"/>
                <a:gd name="connsiteY48" fmla="*/ 259433 h 761503"/>
                <a:gd name="connsiteX49" fmla="*/ 207759 w 435145"/>
                <a:gd name="connsiteY49" fmla="*/ 324704 h 761503"/>
                <a:gd name="connsiteX50" fmla="*/ 207759 w 435145"/>
                <a:gd name="connsiteY50" fmla="*/ 335583 h 761503"/>
                <a:gd name="connsiteX51" fmla="*/ 205040 w 435145"/>
                <a:gd name="connsiteY51" fmla="*/ 349181 h 761503"/>
                <a:gd name="connsiteX52" fmla="*/ 207759 w 435145"/>
                <a:gd name="connsiteY52" fmla="*/ 368219 h 761503"/>
                <a:gd name="connsiteX53" fmla="*/ 207759 w 435145"/>
                <a:gd name="connsiteY53" fmla="*/ 376378 h 761503"/>
                <a:gd name="connsiteX54" fmla="*/ 205040 w 435145"/>
                <a:gd name="connsiteY54" fmla="*/ 387256 h 761503"/>
                <a:gd name="connsiteX55" fmla="*/ 205040 w 435145"/>
                <a:gd name="connsiteY55" fmla="*/ 395415 h 761503"/>
                <a:gd name="connsiteX56" fmla="*/ 205040 w 435145"/>
                <a:gd name="connsiteY56" fmla="*/ 406294 h 761503"/>
                <a:gd name="connsiteX57" fmla="*/ 205040 w 435145"/>
                <a:gd name="connsiteY57" fmla="*/ 425332 h 761503"/>
                <a:gd name="connsiteX58" fmla="*/ 213199 w 435145"/>
                <a:gd name="connsiteY58" fmla="*/ 493323 h 761503"/>
                <a:gd name="connsiteX59" fmla="*/ 221358 w 435145"/>
                <a:gd name="connsiteY59" fmla="*/ 561314 h 761503"/>
                <a:gd name="connsiteX60" fmla="*/ 226797 w 435145"/>
                <a:gd name="connsiteY60" fmla="*/ 591231 h 761503"/>
                <a:gd name="connsiteX61" fmla="*/ 240395 w 435145"/>
                <a:gd name="connsiteY61" fmla="*/ 618427 h 761503"/>
                <a:gd name="connsiteX62" fmla="*/ 283910 w 435145"/>
                <a:gd name="connsiteY62" fmla="*/ 651063 h 761503"/>
                <a:gd name="connsiteX63" fmla="*/ 338303 w 435145"/>
                <a:gd name="connsiteY63" fmla="*/ 612988 h 761503"/>
                <a:gd name="connsiteX64" fmla="*/ 354621 w 435145"/>
                <a:gd name="connsiteY64" fmla="*/ 577632 h 761503"/>
                <a:gd name="connsiteX65" fmla="*/ 357341 w 435145"/>
                <a:gd name="connsiteY65" fmla="*/ 509641 h 761503"/>
                <a:gd name="connsiteX66" fmla="*/ 362780 w 435145"/>
                <a:gd name="connsiteY66" fmla="*/ 485164 h 761503"/>
                <a:gd name="connsiteX67" fmla="*/ 368219 w 435145"/>
                <a:gd name="connsiteY67" fmla="*/ 474286 h 761503"/>
                <a:gd name="connsiteX68" fmla="*/ 376378 w 435145"/>
                <a:gd name="connsiteY68" fmla="*/ 468846 h 761503"/>
                <a:gd name="connsiteX69" fmla="*/ 384537 w 435145"/>
                <a:gd name="connsiteY69" fmla="*/ 474286 h 761503"/>
                <a:gd name="connsiteX70" fmla="*/ 392696 w 435145"/>
                <a:gd name="connsiteY70" fmla="*/ 493323 h 761503"/>
                <a:gd name="connsiteX71" fmla="*/ 395416 w 435145"/>
                <a:gd name="connsiteY71" fmla="*/ 558595 h 761503"/>
                <a:gd name="connsiteX72" fmla="*/ 398136 w 435145"/>
                <a:gd name="connsiteY72" fmla="*/ 618427 h 761503"/>
                <a:gd name="connsiteX73" fmla="*/ 400855 w 435145"/>
                <a:gd name="connsiteY73" fmla="*/ 678260 h 761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</a:cxnLst>
              <a:rect l="l" t="t" r="r" b="b"/>
              <a:pathLst>
                <a:path w="435145" h="761503">
                  <a:moveTo>
                    <a:pt x="400855" y="678260"/>
                  </a:moveTo>
                  <a:cubicBezTo>
                    <a:pt x="400855" y="689138"/>
                    <a:pt x="400855" y="719054"/>
                    <a:pt x="384537" y="719054"/>
                  </a:cubicBezTo>
                  <a:cubicBezTo>
                    <a:pt x="376378" y="719054"/>
                    <a:pt x="373659" y="716335"/>
                    <a:pt x="368219" y="713615"/>
                  </a:cubicBezTo>
                  <a:cubicBezTo>
                    <a:pt x="362780" y="710895"/>
                    <a:pt x="360060" y="702736"/>
                    <a:pt x="360060" y="697297"/>
                  </a:cubicBezTo>
                  <a:cubicBezTo>
                    <a:pt x="357341" y="680979"/>
                    <a:pt x="357341" y="664661"/>
                    <a:pt x="360060" y="651063"/>
                  </a:cubicBezTo>
                  <a:cubicBezTo>
                    <a:pt x="354621" y="659222"/>
                    <a:pt x="341023" y="678260"/>
                    <a:pt x="332864" y="686418"/>
                  </a:cubicBezTo>
                  <a:cubicBezTo>
                    <a:pt x="311107" y="708176"/>
                    <a:pt x="283910" y="721774"/>
                    <a:pt x="251274" y="721774"/>
                  </a:cubicBezTo>
                  <a:cubicBezTo>
                    <a:pt x="243115" y="721774"/>
                    <a:pt x="237676" y="721774"/>
                    <a:pt x="229517" y="719054"/>
                  </a:cubicBezTo>
                  <a:cubicBezTo>
                    <a:pt x="207759" y="716335"/>
                    <a:pt x="183283" y="708176"/>
                    <a:pt x="158806" y="694578"/>
                  </a:cubicBezTo>
                  <a:cubicBezTo>
                    <a:pt x="142488" y="686418"/>
                    <a:pt x="126170" y="672820"/>
                    <a:pt x="112571" y="659222"/>
                  </a:cubicBezTo>
                  <a:cubicBezTo>
                    <a:pt x="98973" y="642904"/>
                    <a:pt x="88095" y="626586"/>
                    <a:pt x="79936" y="607548"/>
                  </a:cubicBezTo>
                  <a:cubicBezTo>
                    <a:pt x="71777" y="585791"/>
                    <a:pt x="66337" y="566754"/>
                    <a:pt x="63618" y="542277"/>
                  </a:cubicBezTo>
                  <a:cubicBezTo>
                    <a:pt x="60898" y="517800"/>
                    <a:pt x="58178" y="493323"/>
                    <a:pt x="58178" y="471566"/>
                  </a:cubicBezTo>
                  <a:cubicBezTo>
                    <a:pt x="58178" y="447089"/>
                    <a:pt x="58178" y="425332"/>
                    <a:pt x="60898" y="400855"/>
                  </a:cubicBezTo>
                  <a:cubicBezTo>
                    <a:pt x="63618" y="379098"/>
                    <a:pt x="60898" y="357340"/>
                    <a:pt x="66337" y="335583"/>
                  </a:cubicBezTo>
                  <a:cubicBezTo>
                    <a:pt x="69057" y="313826"/>
                    <a:pt x="77216" y="289349"/>
                    <a:pt x="85375" y="267592"/>
                  </a:cubicBezTo>
                  <a:cubicBezTo>
                    <a:pt x="93534" y="243115"/>
                    <a:pt x="98973" y="221357"/>
                    <a:pt x="109852" y="199600"/>
                  </a:cubicBezTo>
                  <a:cubicBezTo>
                    <a:pt x="118011" y="177843"/>
                    <a:pt x="131609" y="161525"/>
                    <a:pt x="145207" y="145207"/>
                  </a:cubicBezTo>
                  <a:cubicBezTo>
                    <a:pt x="158806" y="128889"/>
                    <a:pt x="172404" y="109852"/>
                    <a:pt x="188722" y="96253"/>
                  </a:cubicBezTo>
                  <a:cubicBezTo>
                    <a:pt x="205040" y="82655"/>
                    <a:pt x="224077" y="77216"/>
                    <a:pt x="243115" y="71776"/>
                  </a:cubicBezTo>
                  <a:cubicBezTo>
                    <a:pt x="256713" y="69057"/>
                    <a:pt x="273031" y="63617"/>
                    <a:pt x="286630" y="63617"/>
                  </a:cubicBezTo>
                  <a:cubicBezTo>
                    <a:pt x="292069" y="63617"/>
                    <a:pt x="297508" y="63617"/>
                    <a:pt x="305667" y="66337"/>
                  </a:cubicBezTo>
                  <a:cubicBezTo>
                    <a:pt x="313826" y="69057"/>
                    <a:pt x="319266" y="74496"/>
                    <a:pt x="324705" y="79936"/>
                  </a:cubicBezTo>
                  <a:cubicBezTo>
                    <a:pt x="332864" y="85375"/>
                    <a:pt x="332864" y="93534"/>
                    <a:pt x="341023" y="101693"/>
                  </a:cubicBezTo>
                  <a:cubicBezTo>
                    <a:pt x="346462" y="107132"/>
                    <a:pt x="349182" y="118011"/>
                    <a:pt x="354621" y="123450"/>
                  </a:cubicBezTo>
                  <a:cubicBezTo>
                    <a:pt x="354621" y="115291"/>
                    <a:pt x="354621" y="101693"/>
                    <a:pt x="354621" y="98973"/>
                  </a:cubicBezTo>
                  <a:cubicBezTo>
                    <a:pt x="354621" y="90814"/>
                    <a:pt x="354621" y="79936"/>
                    <a:pt x="360060" y="74496"/>
                  </a:cubicBezTo>
                  <a:cubicBezTo>
                    <a:pt x="362780" y="71776"/>
                    <a:pt x="362780" y="69057"/>
                    <a:pt x="365500" y="63617"/>
                  </a:cubicBezTo>
                  <a:cubicBezTo>
                    <a:pt x="368219" y="60898"/>
                    <a:pt x="370939" y="58178"/>
                    <a:pt x="373659" y="58178"/>
                  </a:cubicBezTo>
                  <a:cubicBezTo>
                    <a:pt x="376378" y="58178"/>
                    <a:pt x="379098" y="60898"/>
                    <a:pt x="381818" y="63617"/>
                  </a:cubicBezTo>
                  <a:cubicBezTo>
                    <a:pt x="384537" y="69057"/>
                    <a:pt x="387257" y="77216"/>
                    <a:pt x="389977" y="82655"/>
                  </a:cubicBezTo>
                  <a:cubicBezTo>
                    <a:pt x="389977" y="90814"/>
                    <a:pt x="392696" y="107132"/>
                    <a:pt x="392696" y="126170"/>
                  </a:cubicBezTo>
                  <a:cubicBezTo>
                    <a:pt x="392696" y="150647"/>
                    <a:pt x="392696" y="177843"/>
                    <a:pt x="395416" y="186002"/>
                  </a:cubicBezTo>
                  <a:cubicBezTo>
                    <a:pt x="398136" y="205040"/>
                    <a:pt x="398136" y="215918"/>
                    <a:pt x="398136" y="237675"/>
                  </a:cubicBezTo>
                  <a:cubicBezTo>
                    <a:pt x="398136" y="240395"/>
                    <a:pt x="398136" y="243115"/>
                    <a:pt x="398136" y="243115"/>
                  </a:cubicBezTo>
                  <a:cubicBezTo>
                    <a:pt x="398136" y="248554"/>
                    <a:pt x="398136" y="251274"/>
                    <a:pt x="395416" y="256713"/>
                  </a:cubicBezTo>
                  <a:cubicBezTo>
                    <a:pt x="392696" y="267592"/>
                    <a:pt x="389977" y="278470"/>
                    <a:pt x="379098" y="278470"/>
                  </a:cubicBezTo>
                  <a:cubicBezTo>
                    <a:pt x="370939" y="278470"/>
                    <a:pt x="368219" y="275751"/>
                    <a:pt x="362780" y="273031"/>
                  </a:cubicBezTo>
                  <a:cubicBezTo>
                    <a:pt x="357341" y="270311"/>
                    <a:pt x="354621" y="262152"/>
                    <a:pt x="354621" y="256713"/>
                  </a:cubicBezTo>
                  <a:cubicBezTo>
                    <a:pt x="349182" y="237675"/>
                    <a:pt x="354621" y="232236"/>
                    <a:pt x="354621" y="213198"/>
                  </a:cubicBezTo>
                  <a:cubicBezTo>
                    <a:pt x="354621" y="210479"/>
                    <a:pt x="354621" y="207759"/>
                    <a:pt x="354621" y="205040"/>
                  </a:cubicBezTo>
                  <a:cubicBezTo>
                    <a:pt x="349182" y="186002"/>
                    <a:pt x="343742" y="169684"/>
                    <a:pt x="338303" y="147927"/>
                  </a:cubicBezTo>
                  <a:cubicBezTo>
                    <a:pt x="332864" y="131609"/>
                    <a:pt x="311107" y="107132"/>
                    <a:pt x="292069" y="107132"/>
                  </a:cubicBezTo>
                  <a:cubicBezTo>
                    <a:pt x="281190" y="107132"/>
                    <a:pt x="270312" y="115291"/>
                    <a:pt x="262153" y="120730"/>
                  </a:cubicBezTo>
                  <a:cubicBezTo>
                    <a:pt x="259433" y="123450"/>
                    <a:pt x="256713" y="126170"/>
                    <a:pt x="251274" y="131609"/>
                  </a:cubicBezTo>
                  <a:cubicBezTo>
                    <a:pt x="248554" y="134329"/>
                    <a:pt x="243115" y="137048"/>
                    <a:pt x="240395" y="139768"/>
                  </a:cubicBezTo>
                  <a:cubicBezTo>
                    <a:pt x="237676" y="145207"/>
                    <a:pt x="240395" y="156086"/>
                    <a:pt x="237676" y="164245"/>
                  </a:cubicBezTo>
                  <a:cubicBezTo>
                    <a:pt x="232236" y="175123"/>
                    <a:pt x="229517" y="186002"/>
                    <a:pt x="226797" y="196881"/>
                  </a:cubicBezTo>
                  <a:cubicBezTo>
                    <a:pt x="221358" y="218638"/>
                    <a:pt x="218638" y="237675"/>
                    <a:pt x="213199" y="259433"/>
                  </a:cubicBezTo>
                  <a:cubicBezTo>
                    <a:pt x="210479" y="281190"/>
                    <a:pt x="207759" y="302947"/>
                    <a:pt x="207759" y="324704"/>
                  </a:cubicBezTo>
                  <a:cubicBezTo>
                    <a:pt x="207759" y="327424"/>
                    <a:pt x="207759" y="332863"/>
                    <a:pt x="207759" y="335583"/>
                  </a:cubicBezTo>
                  <a:cubicBezTo>
                    <a:pt x="207759" y="341022"/>
                    <a:pt x="205040" y="343742"/>
                    <a:pt x="205040" y="349181"/>
                  </a:cubicBezTo>
                  <a:cubicBezTo>
                    <a:pt x="205040" y="354621"/>
                    <a:pt x="207759" y="362779"/>
                    <a:pt x="207759" y="368219"/>
                  </a:cubicBezTo>
                  <a:cubicBezTo>
                    <a:pt x="207759" y="370939"/>
                    <a:pt x="207759" y="373658"/>
                    <a:pt x="207759" y="376378"/>
                  </a:cubicBezTo>
                  <a:cubicBezTo>
                    <a:pt x="205040" y="381817"/>
                    <a:pt x="205040" y="384537"/>
                    <a:pt x="205040" y="387256"/>
                  </a:cubicBezTo>
                  <a:cubicBezTo>
                    <a:pt x="205040" y="389976"/>
                    <a:pt x="205040" y="392696"/>
                    <a:pt x="205040" y="395415"/>
                  </a:cubicBezTo>
                  <a:cubicBezTo>
                    <a:pt x="205040" y="398135"/>
                    <a:pt x="205040" y="403574"/>
                    <a:pt x="205040" y="406294"/>
                  </a:cubicBezTo>
                  <a:cubicBezTo>
                    <a:pt x="205040" y="411733"/>
                    <a:pt x="205040" y="417173"/>
                    <a:pt x="205040" y="425332"/>
                  </a:cubicBezTo>
                  <a:cubicBezTo>
                    <a:pt x="205040" y="449809"/>
                    <a:pt x="213199" y="471566"/>
                    <a:pt x="213199" y="493323"/>
                  </a:cubicBezTo>
                  <a:cubicBezTo>
                    <a:pt x="213199" y="517800"/>
                    <a:pt x="215919" y="539557"/>
                    <a:pt x="221358" y="561314"/>
                  </a:cubicBezTo>
                  <a:cubicBezTo>
                    <a:pt x="224077" y="572193"/>
                    <a:pt x="224077" y="580352"/>
                    <a:pt x="226797" y="591231"/>
                  </a:cubicBezTo>
                  <a:cubicBezTo>
                    <a:pt x="229517" y="599390"/>
                    <a:pt x="237676" y="607548"/>
                    <a:pt x="240395" y="618427"/>
                  </a:cubicBezTo>
                  <a:cubicBezTo>
                    <a:pt x="248554" y="637465"/>
                    <a:pt x="262153" y="651063"/>
                    <a:pt x="283910" y="651063"/>
                  </a:cubicBezTo>
                  <a:cubicBezTo>
                    <a:pt x="302948" y="651063"/>
                    <a:pt x="330144" y="629306"/>
                    <a:pt x="338303" y="612988"/>
                  </a:cubicBezTo>
                  <a:cubicBezTo>
                    <a:pt x="346462" y="599390"/>
                    <a:pt x="351901" y="591231"/>
                    <a:pt x="354621" y="577632"/>
                  </a:cubicBezTo>
                  <a:cubicBezTo>
                    <a:pt x="354621" y="550436"/>
                    <a:pt x="354621" y="517800"/>
                    <a:pt x="357341" y="509641"/>
                  </a:cubicBezTo>
                  <a:cubicBezTo>
                    <a:pt x="357341" y="501482"/>
                    <a:pt x="357341" y="490603"/>
                    <a:pt x="362780" y="485164"/>
                  </a:cubicBezTo>
                  <a:cubicBezTo>
                    <a:pt x="365500" y="482444"/>
                    <a:pt x="365500" y="479725"/>
                    <a:pt x="368219" y="474286"/>
                  </a:cubicBezTo>
                  <a:cubicBezTo>
                    <a:pt x="370939" y="471566"/>
                    <a:pt x="373659" y="468846"/>
                    <a:pt x="376378" y="468846"/>
                  </a:cubicBezTo>
                  <a:cubicBezTo>
                    <a:pt x="379098" y="468846"/>
                    <a:pt x="381818" y="471566"/>
                    <a:pt x="384537" y="474286"/>
                  </a:cubicBezTo>
                  <a:cubicBezTo>
                    <a:pt x="387257" y="479725"/>
                    <a:pt x="389977" y="487884"/>
                    <a:pt x="392696" y="493323"/>
                  </a:cubicBezTo>
                  <a:cubicBezTo>
                    <a:pt x="392696" y="501482"/>
                    <a:pt x="395416" y="539557"/>
                    <a:pt x="395416" y="558595"/>
                  </a:cubicBezTo>
                  <a:cubicBezTo>
                    <a:pt x="395416" y="583072"/>
                    <a:pt x="395416" y="610268"/>
                    <a:pt x="398136" y="618427"/>
                  </a:cubicBezTo>
                  <a:cubicBezTo>
                    <a:pt x="398136" y="648343"/>
                    <a:pt x="400855" y="659222"/>
                    <a:pt x="400855" y="678260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/>
            </a:p>
          </p:txBody>
        </p:sp>
        <p:sp>
          <p:nvSpPr>
            <p:cNvPr id="38" name="Freeform: Shape 37">
              <a:extLst>
                <a:ext uri="{FF2B5EF4-FFF2-40B4-BE49-F238E27FC236}">
                  <a16:creationId xmlns:a16="http://schemas.microsoft.com/office/drawing/2014/main" id="{91199EB2-8CF7-412C-88D7-2C906A9B506E}"/>
                </a:ext>
              </a:extLst>
            </p:cNvPr>
            <p:cNvSpPr/>
            <p:nvPr/>
          </p:nvSpPr>
          <p:spPr>
            <a:xfrm>
              <a:off x="3829459" y="4200317"/>
              <a:ext cx="598325" cy="761503"/>
            </a:xfrm>
            <a:custGeom>
              <a:avLst/>
              <a:gdLst>
                <a:gd name="connsiteX0" fmla="*/ 360060 w 598324"/>
                <a:gd name="connsiteY0" fmla="*/ 332863 h 761503"/>
                <a:gd name="connsiteX1" fmla="*/ 341023 w 598324"/>
                <a:gd name="connsiteY1" fmla="*/ 370939 h 761503"/>
                <a:gd name="connsiteX2" fmla="*/ 376378 w 598324"/>
                <a:gd name="connsiteY2" fmla="*/ 389976 h 761503"/>
                <a:gd name="connsiteX3" fmla="*/ 425332 w 598324"/>
                <a:gd name="connsiteY3" fmla="*/ 433491 h 761503"/>
                <a:gd name="connsiteX4" fmla="*/ 438930 w 598324"/>
                <a:gd name="connsiteY4" fmla="*/ 463407 h 761503"/>
                <a:gd name="connsiteX5" fmla="*/ 449809 w 598324"/>
                <a:gd name="connsiteY5" fmla="*/ 498762 h 761503"/>
                <a:gd name="connsiteX6" fmla="*/ 457968 w 598324"/>
                <a:gd name="connsiteY6" fmla="*/ 528679 h 761503"/>
                <a:gd name="connsiteX7" fmla="*/ 466127 w 598324"/>
                <a:gd name="connsiteY7" fmla="*/ 564034 h 761503"/>
                <a:gd name="connsiteX8" fmla="*/ 471566 w 598324"/>
                <a:gd name="connsiteY8" fmla="*/ 593950 h 761503"/>
                <a:gd name="connsiteX9" fmla="*/ 479725 w 598324"/>
                <a:gd name="connsiteY9" fmla="*/ 607548 h 761503"/>
                <a:gd name="connsiteX10" fmla="*/ 487884 w 598324"/>
                <a:gd name="connsiteY10" fmla="*/ 623867 h 761503"/>
                <a:gd name="connsiteX11" fmla="*/ 501482 w 598324"/>
                <a:gd name="connsiteY11" fmla="*/ 651063 h 761503"/>
                <a:gd name="connsiteX12" fmla="*/ 523240 w 598324"/>
                <a:gd name="connsiteY12" fmla="*/ 670101 h 761503"/>
                <a:gd name="connsiteX13" fmla="*/ 534119 w 598324"/>
                <a:gd name="connsiteY13" fmla="*/ 686418 h 761503"/>
                <a:gd name="connsiteX14" fmla="*/ 531399 w 598324"/>
                <a:gd name="connsiteY14" fmla="*/ 694578 h 761503"/>
                <a:gd name="connsiteX15" fmla="*/ 498763 w 598324"/>
                <a:gd name="connsiteY15" fmla="*/ 708176 h 761503"/>
                <a:gd name="connsiteX16" fmla="*/ 449809 w 598324"/>
                <a:gd name="connsiteY16" fmla="*/ 700017 h 761503"/>
                <a:gd name="connsiteX17" fmla="*/ 400855 w 598324"/>
                <a:gd name="connsiteY17" fmla="*/ 667381 h 761503"/>
                <a:gd name="connsiteX18" fmla="*/ 381817 w 598324"/>
                <a:gd name="connsiteY18" fmla="*/ 642904 h 761503"/>
                <a:gd name="connsiteX19" fmla="*/ 368219 w 598324"/>
                <a:gd name="connsiteY19" fmla="*/ 610268 h 761503"/>
                <a:gd name="connsiteX20" fmla="*/ 349182 w 598324"/>
                <a:gd name="connsiteY20" fmla="*/ 550436 h 761503"/>
                <a:gd name="connsiteX21" fmla="*/ 338303 w 598324"/>
                <a:gd name="connsiteY21" fmla="*/ 504202 h 761503"/>
                <a:gd name="connsiteX22" fmla="*/ 330144 w 598324"/>
                <a:gd name="connsiteY22" fmla="*/ 477005 h 761503"/>
                <a:gd name="connsiteX23" fmla="*/ 321985 w 598324"/>
                <a:gd name="connsiteY23" fmla="*/ 455248 h 761503"/>
                <a:gd name="connsiteX24" fmla="*/ 305667 w 598324"/>
                <a:gd name="connsiteY24" fmla="*/ 436210 h 761503"/>
                <a:gd name="connsiteX25" fmla="*/ 294788 w 598324"/>
                <a:gd name="connsiteY25" fmla="*/ 441650 h 761503"/>
                <a:gd name="connsiteX26" fmla="*/ 278471 w 598324"/>
                <a:gd name="connsiteY26" fmla="*/ 463407 h 761503"/>
                <a:gd name="connsiteX27" fmla="*/ 264872 w 598324"/>
                <a:gd name="connsiteY27" fmla="*/ 496043 h 761503"/>
                <a:gd name="connsiteX28" fmla="*/ 262153 w 598324"/>
                <a:gd name="connsiteY28" fmla="*/ 517800 h 761503"/>
                <a:gd name="connsiteX29" fmla="*/ 262153 w 598324"/>
                <a:gd name="connsiteY29" fmla="*/ 523239 h 761503"/>
                <a:gd name="connsiteX30" fmla="*/ 262153 w 598324"/>
                <a:gd name="connsiteY30" fmla="*/ 553155 h 761503"/>
                <a:gd name="connsiteX31" fmla="*/ 262153 w 598324"/>
                <a:gd name="connsiteY31" fmla="*/ 629306 h 761503"/>
                <a:gd name="connsiteX32" fmla="*/ 259433 w 598324"/>
                <a:gd name="connsiteY32" fmla="*/ 659222 h 761503"/>
                <a:gd name="connsiteX33" fmla="*/ 283910 w 598324"/>
                <a:gd name="connsiteY33" fmla="*/ 659222 h 761503"/>
                <a:gd name="connsiteX34" fmla="*/ 321985 w 598324"/>
                <a:gd name="connsiteY34" fmla="*/ 675540 h 761503"/>
                <a:gd name="connsiteX35" fmla="*/ 316546 w 598324"/>
                <a:gd name="connsiteY35" fmla="*/ 691858 h 761503"/>
                <a:gd name="connsiteX36" fmla="*/ 300228 w 598324"/>
                <a:gd name="connsiteY36" fmla="*/ 700017 h 761503"/>
                <a:gd name="connsiteX37" fmla="*/ 278471 w 598324"/>
                <a:gd name="connsiteY37" fmla="*/ 702736 h 761503"/>
                <a:gd name="connsiteX38" fmla="*/ 243115 w 598324"/>
                <a:gd name="connsiteY38" fmla="*/ 702736 h 761503"/>
                <a:gd name="connsiteX39" fmla="*/ 221358 w 598324"/>
                <a:gd name="connsiteY39" fmla="*/ 710895 h 761503"/>
                <a:gd name="connsiteX40" fmla="*/ 194161 w 598324"/>
                <a:gd name="connsiteY40" fmla="*/ 702736 h 761503"/>
                <a:gd name="connsiteX41" fmla="*/ 177843 w 598324"/>
                <a:gd name="connsiteY41" fmla="*/ 702736 h 761503"/>
                <a:gd name="connsiteX42" fmla="*/ 126170 w 598324"/>
                <a:gd name="connsiteY42" fmla="*/ 702736 h 761503"/>
                <a:gd name="connsiteX43" fmla="*/ 101693 w 598324"/>
                <a:gd name="connsiteY43" fmla="*/ 702736 h 761503"/>
                <a:gd name="connsiteX44" fmla="*/ 74496 w 598324"/>
                <a:gd name="connsiteY44" fmla="*/ 697297 h 761503"/>
                <a:gd name="connsiteX45" fmla="*/ 58178 w 598324"/>
                <a:gd name="connsiteY45" fmla="*/ 680979 h 761503"/>
                <a:gd name="connsiteX46" fmla="*/ 63617 w 598324"/>
                <a:gd name="connsiteY46" fmla="*/ 672820 h 761503"/>
                <a:gd name="connsiteX47" fmla="*/ 85375 w 598324"/>
                <a:gd name="connsiteY47" fmla="*/ 664661 h 761503"/>
                <a:gd name="connsiteX48" fmla="*/ 128889 w 598324"/>
                <a:gd name="connsiteY48" fmla="*/ 659222 h 761503"/>
                <a:gd name="connsiteX49" fmla="*/ 147927 w 598324"/>
                <a:gd name="connsiteY49" fmla="*/ 659222 h 761503"/>
                <a:gd name="connsiteX50" fmla="*/ 145207 w 598324"/>
                <a:gd name="connsiteY50" fmla="*/ 653783 h 761503"/>
                <a:gd name="connsiteX51" fmla="*/ 131609 w 598324"/>
                <a:gd name="connsiteY51" fmla="*/ 585791 h 761503"/>
                <a:gd name="connsiteX52" fmla="*/ 134329 w 598324"/>
                <a:gd name="connsiteY52" fmla="*/ 498762 h 761503"/>
                <a:gd name="connsiteX53" fmla="*/ 137048 w 598324"/>
                <a:gd name="connsiteY53" fmla="*/ 406294 h 761503"/>
                <a:gd name="connsiteX54" fmla="*/ 134329 w 598324"/>
                <a:gd name="connsiteY54" fmla="*/ 327424 h 761503"/>
                <a:gd name="connsiteX55" fmla="*/ 137048 w 598324"/>
                <a:gd name="connsiteY55" fmla="*/ 253993 h 761503"/>
                <a:gd name="connsiteX56" fmla="*/ 139768 w 598324"/>
                <a:gd name="connsiteY56" fmla="*/ 207759 h 761503"/>
                <a:gd name="connsiteX57" fmla="*/ 137048 w 598324"/>
                <a:gd name="connsiteY57" fmla="*/ 172404 h 761503"/>
                <a:gd name="connsiteX58" fmla="*/ 137048 w 598324"/>
                <a:gd name="connsiteY58" fmla="*/ 112571 h 761503"/>
                <a:gd name="connsiteX59" fmla="*/ 126170 w 598324"/>
                <a:gd name="connsiteY59" fmla="*/ 112571 h 761503"/>
                <a:gd name="connsiteX60" fmla="*/ 101693 w 598324"/>
                <a:gd name="connsiteY60" fmla="*/ 112571 h 761503"/>
                <a:gd name="connsiteX61" fmla="*/ 74496 w 598324"/>
                <a:gd name="connsiteY61" fmla="*/ 107132 h 761503"/>
                <a:gd name="connsiteX62" fmla="*/ 58178 w 598324"/>
                <a:gd name="connsiteY62" fmla="*/ 90814 h 761503"/>
                <a:gd name="connsiteX63" fmla="*/ 63617 w 598324"/>
                <a:gd name="connsiteY63" fmla="*/ 82655 h 761503"/>
                <a:gd name="connsiteX64" fmla="*/ 85375 w 598324"/>
                <a:gd name="connsiteY64" fmla="*/ 74496 h 761503"/>
                <a:gd name="connsiteX65" fmla="*/ 137048 w 598324"/>
                <a:gd name="connsiteY65" fmla="*/ 69057 h 761503"/>
                <a:gd name="connsiteX66" fmla="*/ 145207 w 598324"/>
                <a:gd name="connsiteY66" fmla="*/ 69057 h 761503"/>
                <a:gd name="connsiteX67" fmla="*/ 169684 w 598324"/>
                <a:gd name="connsiteY67" fmla="*/ 58178 h 761503"/>
                <a:gd name="connsiteX68" fmla="*/ 177843 w 598324"/>
                <a:gd name="connsiteY68" fmla="*/ 58178 h 761503"/>
                <a:gd name="connsiteX69" fmla="*/ 205040 w 598324"/>
                <a:gd name="connsiteY69" fmla="*/ 66337 h 761503"/>
                <a:gd name="connsiteX70" fmla="*/ 286629 w 598324"/>
                <a:gd name="connsiteY70" fmla="*/ 63617 h 761503"/>
                <a:gd name="connsiteX71" fmla="*/ 324705 w 598324"/>
                <a:gd name="connsiteY71" fmla="*/ 79936 h 761503"/>
                <a:gd name="connsiteX72" fmla="*/ 319265 w 598324"/>
                <a:gd name="connsiteY72" fmla="*/ 96253 h 761503"/>
                <a:gd name="connsiteX73" fmla="*/ 302948 w 598324"/>
                <a:gd name="connsiteY73" fmla="*/ 104412 h 761503"/>
                <a:gd name="connsiteX74" fmla="*/ 278471 w 598324"/>
                <a:gd name="connsiteY74" fmla="*/ 112571 h 761503"/>
                <a:gd name="connsiteX75" fmla="*/ 232236 w 598324"/>
                <a:gd name="connsiteY75" fmla="*/ 112571 h 761503"/>
                <a:gd name="connsiteX76" fmla="*/ 240395 w 598324"/>
                <a:gd name="connsiteY76" fmla="*/ 137048 h 761503"/>
                <a:gd name="connsiteX77" fmla="*/ 240395 w 598324"/>
                <a:gd name="connsiteY77" fmla="*/ 150647 h 761503"/>
                <a:gd name="connsiteX78" fmla="*/ 243115 w 598324"/>
                <a:gd name="connsiteY78" fmla="*/ 158805 h 761503"/>
                <a:gd name="connsiteX79" fmla="*/ 248554 w 598324"/>
                <a:gd name="connsiteY79" fmla="*/ 188722 h 761503"/>
                <a:gd name="connsiteX80" fmla="*/ 248554 w 598324"/>
                <a:gd name="connsiteY80" fmla="*/ 199600 h 761503"/>
                <a:gd name="connsiteX81" fmla="*/ 248554 w 598324"/>
                <a:gd name="connsiteY81" fmla="*/ 221357 h 761503"/>
                <a:gd name="connsiteX82" fmla="*/ 253994 w 598324"/>
                <a:gd name="connsiteY82" fmla="*/ 264872 h 761503"/>
                <a:gd name="connsiteX83" fmla="*/ 262153 w 598324"/>
                <a:gd name="connsiteY83" fmla="*/ 297508 h 761503"/>
                <a:gd name="connsiteX84" fmla="*/ 264872 w 598324"/>
                <a:gd name="connsiteY84" fmla="*/ 324704 h 761503"/>
                <a:gd name="connsiteX85" fmla="*/ 264872 w 598324"/>
                <a:gd name="connsiteY85" fmla="*/ 332863 h 761503"/>
                <a:gd name="connsiteX86" fmla="*/ 264872 w 598324"/>
                <a:gd name="connsiteY86" fmla="*/ 351901 h 761503"/>
                <a:gd name="connsiteX87" fmla="*/ 262153 w 598324"/>
                <a:gd name="connsiteY87" fmla="*/ 370939 h 761503"/>
                <a:gd name="connsiteX88" fmla="*/ 267592 w 598324"/>
                <a:gd name="connsiteY88" fmla="*/ 384537 h 761503"/>
                <a:gd name="connsiteX89" fmla="*/ 278471 w 598324"/>
                <a:gd name="connsiteY89" fmla="*/ 370939 h 761503"/>
                <a:gd name="connsiteX90" fmla="*/ 297508 w 598324"/>
                <a:gd name="connsiteY90" fmla="*/ 332863 h 761503"/>
                <a:gd name="connsiteX91" fmla="*/ 311106 w 598324"/>
                <a:gd name="connsiteY91" fmla="*/ 305667 h 761503"/>
                <a:gd name="connsiteX92" fmla="*/ 335583 w 598324"/>
                <a:gd name="connsiteY92" fmla="*/ 259433 h 761503"/>
                <a:gd name="connsiteX93" fmla="*/ 354621 w 598324"/>
                <a:gd name="connsiteY93" fmla="*/ 224077 h 761503"/>
                <a:gd name="connsiteX94" fmla="*/ 381817 w 598324"/>
                <a:gd name="connsiteY94" fmla="*/ 172404 h 761503"/>
                <a:gd name="connsiteX95" fmla="*/ 409014 w 598324"/>
                <a:gd name="connsiteY95" fmla="*/ 118011 h 761503"/>
                <a:gd name="connsiteX96" fmla="*/ 411734 w 598324"/>
                <a:gd name="connsiteY96" fmla="*/ 115291 h 761503"/>
                <a:gd name="connsiteX97" fmla="*/ 398136 w 598324"/>
                <a:gd name="connsiteY97" fmla="*/ 115291 h 761503"/>
                <a:gd name="connsiteX98" fmla="*/ 379098 w 598324"/>
                <a:gd name="connsiteY98" fmla="*/ 109852 h 761503"/>
                <a:gd name="connsiteX99" fmla="*/ 368219 w 598324"/>
                <a:gd name="connsiteY99" fmla="*/ 93534 h 761503"/>
                <a:gd name="connsiteX100" fmla="*/ 370939 w 598324"/>
                <a:gd name="connsiteY100" fmla="*/ 85375 h 761503"/>
                <a:gd name="connsiteX101" fmla="*/ 387257 w 598324"/>
                <a:gd name="connsiteY101" fmla="*/ 77216 h 761503"/>
                <a:gd name="connsiteX102" fmla="*/ 422612 w 598324"/>
                <a:gd name="connsiteY102" fmla="*/ 71776 h 761503"/>
                <a:gd name="connsiteX103" fmla="*/ 436211 w 598324"/>
                <a:gd name="connsiteY103" fmla="*/ 71776 h 761503"/>
                <a:gd name="connsiteX104" fmla="*/ 438930 w 598324"/>
                <a:gd name="connsiteY104" fmla="*/ 69057 h 761503"/>
                <a:gd name="connsiteX105" fmla="*/ 452529 w 598324"/>
                <a:gd name="connsiteY105" fmla="*/ 66337 h 761503"/>
                <a:gd name="connsiteX106" fmla="*/ 466127 w 598324"/>
                <a:gd name="connsiteY106" fmla="*/ 69057 h 761503"/>
                <a:gd name="connsiteX107" fmla="*/ 471566 w 598324"/>
                <a:gd name="connsiteY107" fmla="*/ 71776 h 761503"/>
                <a:gd name="connsiteX108" fmla="*/ 515081 w 598324"/>
                <a:gd name="connsiteY108" fmla="*/ 71776 h 761503"/>
                <a:gd name="connsiteX109" fmla="*/ 542277 w 598324"/>
                <a:gd name="connsiteY109" fmla="*/ 88094 h 761503"/>
                <a:gd name="connsiteX110" fmla="*/ 536838 w 598324"/>
                <a:gd name="connsiteY110" fmla="*/ 104412 h 761503"/>
                <a:gd name="connsiteX111" fmla="*/ 525959 w 598324"/>
                <a:gd name="connsiteY111" fmla="*/ 112571 h 761503"/>
                <a:gd name="connsiteX112" fmla="*/ 509642 w 598324"/>
                <a:gd name="connsiteY112" fmla="*/ 115291 h 761503"/>
                <a:gd name="connsiteX113" fmla="*/ 468847 w 598324"/>
                <a:gd name="connsiteY113" fmla="*/ 115291 h 761503"/>
                <a:gd name="connsiteX114" fmla="*/ 457968 w 598324"/>
                <a:gd name="connsiteY114" fmla="*/ 137048 h 761503"/>
                <a:gd name="connsiteX115" fmla="*/ 430771 w 598324"/>
                <a:gd name="connsiteY115" fmla="*/ 194161 h 761503"/>
                <a:gd name="connsiteX116" fmla="*/ 400855 w 598324"/>
                <a:gd name="connsiteY116" fmla="*/ 262152 h 761503"/>
                <a:gd name="connsiteX117" fmla="*/ 360060 w 598324"/>
                <a:gd name="connsiteY117" fmla="*/ 332863 h 761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</a:cxnLst>
              <a:rect l="l" t="t" r="r" b="b"/>
              <a:pathLst>
                <a:path w="598324" h="761503">
                  <a:moveTo>
                    <a:pt x="360060" y="332863"/>
                  </a:moveTo>
                  <a:cubicBezTo>
                    <a:pt x="351901" y="343742"/>
                    <a:pt x="341023" y="357340"/>
                    <a:pt x="341023" y="370939"/>
                  </a:cubicBezTo>
                  <a:cubicBezTo>
                    <a:pt x="341023" y="379098"/>
                    <a:pt x="357341" y="381817"/>
                    <a:pt x="376378" y="389976"/>
                  </a:cubicBezTo>
                  <a:cubicBezTo>
                    <a:pt x="395416" y="398135"/>
                    <a:pt x="417173" y="417173"/>
                    <a:pt x="425332" y="433491"/>
                  </a:cubicBezTo>
                  <a:cubicBezTo>
                    <a:pt x="430771" y="444369"/>
                    <a:pt x="436211" y="452528"/>
                    <a:pt x="438930" y="463407"/>
                  </a:cubicBezTo>
                  <a:cubicBezTo>
                    <a:pt x="444370" y="474286"/>
                    <a:pt x="447089" y="487884"/>
                    <a:pt x="449809" y="498762"/>
                  </a:cubicBezTo>
                  <a:cubicBezTo>
                    <a:pt x="452529" y="512361"/>
                    <a:pt x="452529" y="517800"/>
                    <a:pt x="457968" y="528679"/>
                  </a:cubicBezTo>
                  <a:cubicBezTo>
                    <a:pt x="463407" y="539557"/>
                    <a:pt x="463407" y="553155"/>
                    <a:pt x="466127" y="564034"/>
                  </a:cubicBezTo>
                  <a:cubicBezTo>
                    <a:pt x="468847" y="572193"/>
                    <a:pt x="468847" y="585791"/>
                    <a:pt x="471566" y="593950"/>
                  </a:cubicBezTo>
                  <a:cubicBezTo>
                    <a:pt x="474286" y="599390"/>
                    <a:pt x="477006" y="602109"/>
                    <a:pt x="479725" y="607548"/>
                  </a:cubicBezTo>
                  <a:cubicBezTo>
                    <a:pt x="482445" y="612988"/>
                    <a:pt x="487884" y="618427"/>
                    <a:pt x="487884" y="623867"/>
                  </a:cubicBezTo>
                  <a:cubicBezTo>
                    <a:pt x="490604" y="634745"/>
                    <a:pt x="496043" y="642904"/>
                    <a:pt x="501482" y="651063"/>
                  </a:cubicBezTo>
                  <a:cubicBezTo>
                    <a:pt x="506922" y="661942"/>
                    <a:pt x="512361" y="664661"/>
                    <a:pt x="523240" y="670101"/>
                  </a:cubicBezTo>
                  <a:cubicBezTo>
                    <a:pt x="528679" y="672820"/>
                    <a:pt x="534119" y="680979"/>
                    <a:pt x="534119" y="686418"/>
                  </a:cubicBezTo>
                  <a:cubicBezTo>
                    <a:pt x="534119" y="689138"/>
                    <a:pt x="534119" y="691858"/>
                    <a:pt x="531399" y="694578"/>
                  </a:cubicBezTo>
                  <a:cubicBezTo>
                    <a:pt x="525959" y="702736"/>
                    <a:pt x="512361" y="708176"/>
                    <a:pt x="498763" y="708176"/>
                  </a:cubicBezTo>
                  <a:cubicBezTo>
                    <a:pt x="485165" y="708176"/>
                    <a:pt x="466127" y="705456"/>
                    <a:pt x="449809" y="700017"/>
                  </a:cubicBezTo>
                  <a:cubicBezTo>
                    <a:pt x="430771" y="694578"/>
                    <a:pt x="409014" y="675540"/>
                    <a:pt x="400855" y="667381"/>
                  </a:cubicBezTo>
                  <a:cubicBezTo>
                    <a:pt x="392696" y="659222"/>
                    <a:pt x="387257" y="651063"/>
                    <a:pt x="381817" y="642904"/>
                  </a:cubicBezTo>
                  <a:cubicBezTo>
                    <a:pt x="376378" y="632025"/>
                    <a:pt x="370939" y="623867"/>
                    <a:pt x="368219" y="610268"/>
                  </a:cubicBezTo>
                  <a:cubicBezTo>
                    <a:pt x="360060" y="588511"/>
                    <a:pt x="357341" y="574913"/>
                    <a:pt x="349182" y="550436"/>
                  </a:cubicBezTo>
                  <a:cubicBezTo>
                    <a:pt x="343742" y="534118"/>
                    <a:pt x="341023" y="520520"/>
                    <a:pt x="338303" y="504202"/>
                  </a:cubicBezTo>
                  <a:cubicBezTo>
                    <a:pt x="335583" y="493323"/>
                    <a:pt x="332864" y="485164"/>
                    <a:pt x="330144" y="477005"/>
                  </a:cubicBezTo>
                  <a:cubicBezTo>
                    <a:pt x="327424" y="471566"/>
                    <a:pt x="324705" y="463407"/>
                    <a:pt x="321985" y="455248"/>
                  </a:cubicBezTo>
                  <a:cubicBezTo>
                    <a:pt x="316546" y="444369"/>
                    <a:pt x="311106" y="436210"/>
                    <a:pt x="305667" y="436210"/>
                  </a:cubicBezTo>
                  <a:cubicBezTo>
                    <a:pt x="302948" y="436210"/>
                    <a:pt x="300228" y="438930"/>
                    <a:pt x="294788" y="441650"/>
                  </a:cubicBezTo>
                  <a:cubicBezTo>
                    <a:pt x="289349" y="447089"/>
                    <a:pt x="283910" y="455248"/>
                    <a:pt x="278471" y="463407"/>
                  </a:cubicBezTo>
                  <a:cubicBezTo>
                    <a:pt x="270312" y="474286"/>
                    <a:pt x="267592" y="485164"/>
                    <a:pt x="264872" y="496043"/>
                  </a:cubicBezTo>
                  <a:cubicBezTo>
                    <a:pt x="264872" y="504202"/>
                    <a:pt x="262153" y="512361"/>
                    <a:pt x="262153" y="517800"/>
                  </a:cubicBezTo>
                  <a:cubicBezTo>
                    <a:pt x="262153" y="520520"/>
                    <a:pt x="262153" y="520520"/>
                    <a:pt x="262153" y="523239"/>
                  </a:cubicBezTo>
                  <a:cubicBezTo>
                    <a:pt x="262153" y="528679"/>
                    <a:pt x="262153" y="544997"/>
                    <a:pt x="262153" y="553155"/>
                  </a:cubicBezTo>
                  <a:cubicBezTo>
                    <a:pt x="262153" y="583072"/>
                    <a:pt x="264872" y="599390"/>
                    <a:pt x="262153" y="629306"/>
                  </a:cubicBezTo>
                  <a:cubicBezTo>
                    <a:pt x="262153" y="640184"/>
                    <a:pt x="262153" y="648343"/>
                    <a:pt x="259433" y="659222"/>
                  </a:cubicBezTo>
                  <a:cubicBezTo>
                    <a:pt x="270312" y="659222"/>
                    <a:pt x="278471" y="659222"/>
                    <a:pt x="283910" y="659222"/>
                  </a:cubicBezTo>
                  <a:cubicBezTo>
                    <a:pt x="297508" y="659222"/>
                    <a:pt x="321985" y="659222"/>
                    <a:pt x="321985" y="675540"/>
                  </a:cubicBezTo>
                  <a:cubicBezTo>
                    <a:pt x="321985" y="683699"/>
                    <a:pt x="319265" y="686418"/>
                    <a:pt x="316546" y="691858"/>
                  </a:cubicBezTo>
                  <a:cubicBezTo>
                    <a:pt x="311106" y="697297"/>
                    <a:pt x="305667" y="700017"/>
                    <a:pt x="300228" y="700017"/>
                  </a:cubicBezTo>
                  <a:cubicBezTo>
                    <a:pt x="292069" y="702736"/>
                    <a:pt x="283910" y="702736"/>
                    <a:pt x="278471" y="702736"/>
                  </a:cubicBezTo>
                  <a:cubicBezTo>
                    <a:pt x="275751" y="702736"/>
                    <a:pt x="259433" y="702736"/>
                    <a:pt x="243115" y="702736"/>
                  </a:cubicBezTo>
                  <a:cubicBezTo>
                    <a:pt x="237676" y="708176"/>
                    <a:pt x="229517" y="710895"/>
                    <a:pt x="221358" y="710895"/>
                  </a:cubicBezTo>
                  <a:cubicBezTo>
                    <a:pt x="213199" y="710895"/>
                    <a:pt x="202320" y="708176"/>
                    <a:pt x="194161" y="702736"/>
                  </a:cubicBezTo>
                  <a:cubicBezTo>
                    <a:pt x="186002" y="702736"/>
                    <a:pt x="180563" y="702736"/>
                    <a:pt x="177843" y="702736"/>
                  </a:cubicBezTo>
                  <a:cubicBezTo>
                    <a:pt x="164245" y="702736"/>
                    <a:pt x="139768" y="702736"/>
                    <a:pt x="126170" y="702736"/>
                  </a:cubicBezTo>
                  <a:cubicBezTo>
                    <a:pt x="118011" y="702736"/>
                    <a:pt x="109852" y="702736"/>
                    <a:pt x="101693" y="702736"/>
                  </a:cubicBezTo>
                  <a:cubicBezTo>
                    <a:pt x="93534" y="702736"/>
                    <a:pt x="82655" y="702736"/>
                    <a:pt x="74496" y="697297"/>
                  </a:cubicBezTo>
                  <a:cubicBezTo>
                    <a:pt x="66337" y="694578"/>
                    <a:pt x="58178" y="686418"/>
                    <a:pt x="58178" y="680979"/>
                  </a:cubicBezTo>
                  <a:cubicBezTo>
                    <a:pt x="58178" y="678260"/>
                    <a:pt x="58178" y="675540"/>
                    <a:pt x="63617" y="672820"/>
                  </a:cubicBezTo>
                  <a:cubicBezTo>
                    <a:pt x="69057" y="670101"/>
                    <a:pt x="79935" y="667381"/>
                    <a:pt x="85375" y="664661"/>
                  </a:cubicBezTo>
                  <a:cubicBezTo>
                    <a:pt x="104412" y="661942"/>
                    <a:pt x="123450" y="659222"/>
                    <a:pt x="128889" y="659222"/>
                  </a:cubicBezTo>
                  <a:cubicBezTo>
                    <a:pt x="134329" y="659222"/>
                    <a:pt x="139768" y="659222"/>
                    <a:pt x="147927" y="659222"/>
                  </a:cubicBezTo>
                  <a:cubicBezTo>
                    <a:pt x="147927" y="656502"/>
                    <a:pt x="145207" y="653783"/>
                    <a:pt x="145207" y="653783"/>
                  </a:cubicBezTo>
                  <a:cubicBezTo>
                    <a:pt x="131609" y="632025"/>
                    <a:pt x="131609" y="610268"/>
                    <a:pt x="131609" y="585791"/>
                  </a:cubicBezTo>
                  <a:cubicBezTo>
                    <a:pt x="131609" y="555875"/>
                    <a:pt x="131609" y="528679"/>
                    <a:pt x="134329" y="498762"/>
                  </a:cubicBezTo>
                  <a:cubicBezTo>
                    <a:pt x="134329" y="468846"/>
                    <a:pt x="137048" y="436210"/>
                    <a:pt x="137048" y="406294"/>
                  </a:cubicBezTo>
                  <a:cubicBezTo>
                    <a:pt x="137048" y="379098"/>
                    <a:pt x="134329" y="354621"/>
                    <a:pt x="134329" y="327424"/>
                  </a:cubicBezTo>
                  <a:cubicBezTo>
                    <a:pt x="134329" y="302947"/>
                    <a:pt x="137048" y="278470"/>
                    <a:pt x="137048" y="253993"/>
                  </a:cubicBezTo>
                  <a:cubicBezTo>
                    <a:pt x="137048" y="237675"/>
                    <a:pt x="139768" y="224077"/>
                    <a:pt x="139768" y="207759"/>
                  </a:cubicBezTo>
                  <a:cubicBezTo>
                    <a:pt x="139768" y="196881"/>
                    <a:pt x="137048" y="183282"/>
                    <a:pt x="137048" y="172404"/>
                  </a:cubicBezTo>
                  <a:cubicBezTo>
                    <a:pt x="137048" y="150647"/>
                    <a:pt x="137048" y="131609"/>
                    <a:pt x="137048" y="112571"/>
                  </a:cubicBezTo>
                  <a:cubicBezTo>
                    <a:pt x="134329" y="112571"/>
                    <a:pt x="137048" y="112571"/>
                    <a:pt x="126170" y="112571"/>
                  </a:cubicBezTo>
                  <a:cubicBezTo>
                    <a:pt x="118011" y="112571"/>
                    <a:pt x="109852" y="112571"/>
                    <a:pt x="101693" y="112571"/>
                  </a:cubicBezTo>
                  <a:cubicBezTo>
                    <a:pt x="93534" y="112571"/>
                    <a:pt x="82655" y="109852"/>
                    <a:pt x="74496" y="107132"/>
                  </a:cubicBezTo>
                  <a:cubicBezTo>
                    <a:pt x="66337" y="104412"/>
                    <a:pt x="58178" y="96253"/>
                    <a:pt x="58178" y="90814"/>
                  </a:cubicBezTo>
                  <a:cubicBezTo>
                    <a:pt x="58178" y="88094"/>
                    <a:pt x="58178" y="85375"/>
                    <a:pt x="63617" y="82655"/>
                  </a:cubicBezTo>
                  <a:cubicBezTo>
                    <a:pt x="69057" y="79936"/>
                    <a:pt x="79935" y="77216"/>
                    <a:pt x="85375" y="74496"/>
                  </a:cubicBezTo>
                  <a:cubicBezTo>
                    <a:pt x="104412" y="71776"/>
                    <a:pt x="128889" y="69057"/>
                    <a:pt x="137048" y="69057"/>
                  </a:cubicBezTo>
                  <a:cubicBezTo>
                    <a:pt x="137048" y="69057"/>
                    <a:pt x="139768" y="69057"/>
                    <a:pt x="145207" y="69057"/>
                  </a:cubicBezTo>
                  <a:cubicBezTo>
                    <a:pt x="150646" y="60898"/>
                    <a:pt x="158806" y="58178"/>
                    <a:pt x="169684" y="58178"/>
                  </a:cubicBezTo>
                  <a:cubicBezTo>
                    <a:pt x="172404" y="58178"/>
                    <a:pt x="175123" y="58178"/>
                    <a:pt x="177843" y="58178"/>
                  </a:cubicBezTo>
                  <a:cubicBezTo>
                    <a:pt x="186002" y="58178"/>
                    <a:pt x="196881" y="63617"/>
                    <a:pt x="205040" y="66337"/>
                  </a:cubicBezTo>
                  <a:cubicBezTo>
                    <a:pt x="237676" y="66337"/>
                    <a:pt x="273031" y="63617"/>
                    <a:pt x="286629" y="63617"/>
                  </a:cubicBezTo>
                  <a:cubicBezTo>
                    <a:pt x="300228" y="63617"/>
                    <a:pt x="324705" y="63617"/>
                    <a:pt x="324705" y="79936"/>
                  </a:cubicBezTo>
                  <a:cubicBezTo>
                    <a:pt x="324705" y="88094"/>
                    <a:pt x="321985" y="90814"/>
                    <a:pt x="319265" y="96253"/>
                  </a:cubicBezTo>
                  <a:cubicBezTo>
                    <a:pt x="313826" y="101693"/>
                    <a:pt x="308387" y="104412"/>
                    <a:pt x="302948" y="104412"/>
                  </a:cubicBezTo>
                  <a:cubicBezTo>
                    <a:pt x="289349" y="112571"/>
                    <a:pt x="283910" y="112571"/>
                    <a:pt x="278471" y="112571"/>
                  </a:cubicBezTo>
                  <a:cubicBezTo>
                    <a:pt x="273031" y="112571"/>
                    <a:pt x="253994" y="112571"/>
                    <a:pt x="232236" y="112571"/>
                  </a:cubicBezTo>
                  <a:cubicBezTo>
                    <a:pt x="237676" y="120730"/>
                    <a:pt x="240395" y="128889"/>
                    <a:pt x="240395" y="137048"/>
                  </a:cubicBezTo>
                  <a:cubicBezTo>
                    <a:pt x="240395" y="142487"/>
                    <a:pt x="240395" y="145207"/>
                    <a:pt x="240395" y="150647"/>
                  </a:cubicBezTo>
                  <a:cubicBezTo>
                    <a:pt x="240395" y="153366"/>
                    <a:pt x="240395" y="156086"/>
                    <a:pt x="243115" y="158805"/>
                  </a:cubicBezTo>
                  <a:cubicBezTo>
                    <a:pt x="245835" y="169684"/>
                    <a:pt x="245835" y="180563"/>
                    <a:pt x="248554" y="188722"/>
                  </a:cubicBezTo>
                  <a:cubicBezTo>
                    <a:pt x="248554" y="191441"/>
                    <a:pt x="248554" y="194161"/>
                    <a:pt x="248554" y="199600"/>
                  </a:cubicBezTo>
                  <a:cubicBezTo>
                    <a:pt x="248554" y="207759"/>
                    <a:pt x="248554" y="213198"/>
                    <a:pt x="248554" y="221357"/>
                  </a:cubicBezTo>
                  <a:cubicBezTo>
                    <a:pt x="248554" y="234956"/>
                    <a:pt x="251274" y="248554"/>
                    <a:pt x="253994" y="264872"/>
                  </a:cubicBezTo>
                  <a:cubicBezTo>
                    <a:pt x="256713" y="275751"/>
                    <a:pt x="259433" y="286629"/>
                    <a:pt x="262153" y="297508"/>
                  </a:cubicBezTo>
                  <a:cubicBezTo>
                    <a:pt x="264872" y="305667"/>
                    <a:pt x="264872" y="313826"/>
                    <a:pt x="264872" y="324704"/>
                  </a:cubicBezTo>
                  <a:cubicBezTo>
                    <a:pt x="264872" y="327424"/>
                    <a:pt x="264872" y="330144"/>
                    <a:pt x="264872" y="332863"/>
                  </a:cubicBezTo>
                  <a:cubicBezTo>
                    <a:pt x="264872" y="338303"/>
                    <a:pt x="264872" y="346462"/>
                    <a:pt x="264872" y="351901"/>
                  </a:cubicBezTo>
                  <a:cubicBezTo>
                    <a:pt x="264872" y="357340"/>
                    <a:pt x="262153" y="365499"/>
                    <a:pt x="262153" y="370939"/>
                  </a:cubicBezTo>
                  <a:cubicBezTo>
                    <a:pt x="262153" y="376378"/>
                    <a:pt x="264872" y="384537"/>
                    <a:pt x="267592" y="384537"/>
                  </a:cubicBezTo>
                  <a:cubicBezTo>
                    <a:pt x="273031" y="384537"/>
                    <a:pt x="275751" y="376378"/>
                    <a:pt x="278471" y="370939"/>
                  </a:cubicBezTo>
                  <a:cubicBezTo>
                    <a:pt x="283910" y="360060"/>
                    <a:pt x="289349" y="346462"/>
                    <a:pt x="297508" y="332863"/>
                  </a:cubicBezTo>
                  <a:cubicBezTo>
                    <a:pt x="302948" y="324704"/>
                    <a:pt x="305667" y="313826"/>
                    <a:pt x="311106" y="305667"/>
                  </a:cubicBezTo>
                  <a:cubicBezTo>
                    <a:pt x="319265" y="289349"/>
                    <a:pt x="327424" y="275751"/>
                    <a:pt x="335583" y="259433"/>
                  </a:cubicBezTo>
                  <a:cubicBezTo>
                    <a:pt x="341023" y="248554"/>
                    <a:pt x="349182" y="234956"/>
                    <a:pt x="354621" y="224077"/>
                  </a:cubicBezTo>
                  <a:cubicBezTo>
                    <a:pt x="362780" y="207759"/>
                    <a:pt x="370939" y="191441"/>
                    <a:pt x="381817" y="172404"/>
                  </a:cubicBezTo>
                  <a:cubicBezTo>
                    <a:pt x="389977" y="153366"/>
                    <a:pt x="400855" y="134329"/>
                    <a:pt x="409014" y="118011"/>
                  </a:cubicBezTo>
                  <a:cubicBezTo>
                    <a:pt x="409014" y="115291"/>
                    <a:pt x="409014" y="115291"/>
                    <a:pt x="411734" y="115291"/>
                  </a:cubicBezTo>
                  <a:cubicBezTo>
                    <a:pt x="406294" y="115291"/>
                    <a:pt x="400855" y="115291"/>
                    <a:pt x="398136" y="115291"/>
                  </a:cubicBezTo>
                  <a:cubicBezTo>
                    <a:pt x="392696" y="115291"/>
                    <a:pt x="384537" y="115291"/>
                    <a:pt x="379098" y="109852"/>
                  </a:cubicBezTo>
                  <a:cubicBezTo>
                    <a:pt x="373659" y="107132"/>
                    <a:pt x="368219" y="98973"/>
                    <a:pt x="368219" y="93534"/>
                  </a:cubicBezTo>
                  <a:cubicBezTo>
                    <a:pt x="368219" y="90814"/>
                    <a:pt x="368219" y="88094"/>
                    <a:pt x="370939" y="85375"/>
                  </a:cubicBezTo>
                  <a:cubicBezTo>
                    <a:pt x="373659" y="82655"/>
                    <a:pt x="381817" y="79936"/>
                    <a:pt x="387257" y="77216"/>
                  </a:cubicBezTo>
                  <a:cubicBezTo>
                    <a:pt x="400855" y="74496"/>
                    <a:pt x="414453" y="71776"/>
                    <a:pt x="422612" y="71776"/>
                  </a:cubicBezTo>
                  <a:cubicBezTo>
                    <a:pt x="425332" y="71776"/>
                    <a:pt x="430771" y="71776"/>
                    <a:pt x="436211" y="71776"/>
                  </a:cubicBezTo>
                  <a:cubicBezTo>
                    <a:pt x="436211" y="71776"/>
                    <a:pt x="438930" y="69057"/>
                    <a:pt x="438930" y="69057"/>
                  </a:cubicBezTo>
                  <a:cubicBezTo>
                    <a:pt x="444370" y="66337"/>
                    <a:pt x="447089" y="66337"/>
                    <a:pt x="452529" y="66337"/>
                  </a:cubicBezTo>
                  <a:cubicBezTo>
                    <a:pt x="457968" y="66337"/>
                    <a:pt x="460688" y="66337"/>
                    <a:pt x="466127" y="69057"/>
                  </a:cubicBezTo>
                  <a:cubicBezTo>
                    <a:pt x="468847" y="69057"/>
                    <a:pt x="471566" y="71776"/>
                    <a:pt x="471566" y="71776"/>
                  </a:cubicBezTo>
                  <a:cubicBezTo>
                    <a:pt x="490604" y="71776"/>
                    <a:pt x="506922" y="71776"/>
                    <a:pt x="515081" y="71776"/>
                  </a:cubicBezTo>
                  <a:cubicBezTo>
                    <a:pt x="523240" y="71776"/>
                    <a:pt x="542277" y="71776"/>
                    <a:pt x="542277" y="88094"/>
                  </a:cubicBezTo>
                  <a:cubicBezTo>
                    <a:pt x="542277" y="96253"/>
                    <a:pt x="542277" y="98973"/>
                    <a:pt x="536838" y="104412"/>
                  </a:cubicBezTo>
                  <a:cubicBezTo>
                    <a:pt x="534119" y="109852"/>
                    <a:pt x="528679" y="112571"/>
                    <a:pt x="525959" y="112571"/>
                  </a:cubicBezTo>
                  <a:cubicBezTo>
                    <a:pt x="520520" y="115291"/>
                    <a:pt x="515081" y="115291"/>
                    <a:pt x="509642" y="115291"/>
                  </a:cubicBezTo>
                  <a:cubicBezTo>
                    <a:pt x="506922" y="115291"/>
                    <a:pt x="487884" y="115291"/>
                    <a:pt x="468847" y="115291"/>
                  </a:cubicBezTo>
                  <a:cubicBezTo>
                    <a:pt x="466127" y="123450"/>
                    <a:pt x="460688" y="128889"/>
                    <a:pt x="457968" y="137048"/>
                  </a:cubicBezTo>
                  <a:cubicBezTo>
                    <a:pt x="447089" y="156086"/>
                    <a:pt x="438930" y="175123"/>
                    <a:pt x="430771" y="194161"/>
                  </a:cubicBezTo>
                  <a:cubicBezTo>
                    <a:pt x="419893" y="215918"/>
                    <a:pt x="411734" y="240395"/>
                    <a:pt x="400855" y="262152"/>
                  </a:cubicBezTo>
                  <a:cubicBezTo>
                    <a:pt x="387257" y="289349"/>
                    <a:pt x="373659" y="311106"/>
                    <a:pt x="360060" y="332863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/>
            </a:p>
          </p:txBody>
        </p:sp>
        <p:sp>
          <p:nvSpPr>
            <p:cNvPr id="39" name="Freeform: Shape 38">
              <a:extLst>
                <a:ext uri="{FF2B5EF4-FFF2-40B4-BE49-F238E27FC236}">
                  <a16:creationId xmlns:a16="http://schemas.microsoft.com/office/drawing/2014/main" id="{AA54ECDD-525B-4F0D-A32C-CAD98CC4E1E2}"/>
                </a:ext>
              </a:extLst>
            </p:cNvPr>
            <p:cNvSpPr/>
            <p:nvPr/>
          </p:nvSpPr>
          <p:spPr>
            <a:xfrm>
              <a:off x="4335316" y="4186718"/>
              <a:ext cx="353556" cy="761503"/>
            </a:xfrm>
            <a:custGeom>
              <a:avLst/>
              <a:gdLst>
                <a:gd name="connsiteX0" fmla="*/ 283910 w 353555"/>
                <a:gd name="connsiteY0" fmla="*/ 672820 h 761503"/>
                <a:gd name="connsiteX1" fmla="*/ 321985 w 353555"/>
                <a:gd name="connsiteY1" fmla="*/ 689138 h 761503"/>
                <a:gd name="connsiteX2" fmla="*/ 316546 w 353555"/>
                <a:gd name="connsiteY2" fmla="*/ 705456 h 761503"/>
                <a:gd name="connsiteX3" fmla="*/ 300228 w 353555"/>
                <a:gd name="connsiteY3" fmla="*/ 713615 h 761503"/>
                <a:gd name="connsiteX4" fmla="*/ 278471 w 353555"/>
                <a:gd name="connsiteY4" fmla="*/ 716335 h 761503"/>
                <a:gd name="connsiteX5" fmla="*/ 237676 w 353555"/>
                <a:gd name="connsiteY5" fmla="*/ 716335 h 761503"/>
                <a:gd name="connsiteX6" fmla="*/ 180563 w 353555"/>
                <a:gd name="connsiteY6" fmla="*/ 719054 h 761503"/>
                <a:gd name="connsiteX7" fmla="*/ 126170 w 353555"/>
                <a:gd name="connsiteY7" fmla="*/ 719054 h 761503"/>
                <a:gd name="connsiteX8" fmla="*/ 101693 w 353555"/>
                <a:gd name="connsiteY8" fmla="*/ 719054 h 761503"/>
                <a:gd name="connsiteX9" fmla="*/ 74496 w 353555"/>
                <a:gd name="connsiteY9" fmla="*/ 713615 h 761503"/>
                <a:gd name="connsiteX10" fmla="*/ 58178 w 353555"/>
                <a:gd name="connsiteY10" fmla="*/ 697297 h 761503"/>
                <a:gd name="connsiteX11" fmla="*/ 63617 w 353555"/>
                <a:gd name="connsiteY11" fmla="*/ 689138 h 761503"/>
                <a:gd name="connsiteX12" fmla="*/ 85375 w 353555"/>
                <a:gd name="connsiteY12" fmla="*/ 680979 h 761503"/>
                <a:gd name="connsiteX13" fmla="*/ 131609 w 353555"/>
                <a:gd name="connsiteY13" fmla="*/ 675540 h 761503"/>
                <a:gd name="connsiteX14" fmla="*/ 142488 w 353555"/>
                <a:gd name="connsiteY14" fmla="*/ 675540 h 761503"/>
                <a:gd name="connsiteX15" fmla="*/ 131609 w 353555"/>
                <a:gd name="connsiteY15" fmla="*/ 653783 h 761503"/>
                <a:gd name="connsiteX16" fmla="*/ 128889 w 353555"/>
                <a:gd name="connsiteY16" fmla="*/ 640184 h 761503"/>
                <a:gd name="connsiteX17" fmla="*/ 128889 w 353555"/>
                <a:gd name="connsiteY17" fmla="*/ 629306 h 761503"/>
                <a:gd name="connsiteX18" fmla="*/ 128889 w 353555"/>
                <a:gd name="connsiteY18" fmla="*/ 621147 h 761503"/>
                <a:gd name="connsiteX19" fmla="*/ 128889 w 353555"/>
                <a:gd name="connsiteY19" fmla="*/ 593950 h 761503"/>
                <a:gd name="connsiteX20" fmla="*/ 128889 w 353555"/>
                <a:gd name="connsiteY20" fmla="*/ 583072 h 761503"/>
                <a:gd name="connsiteX21" fmla="*/ 128889 w 353555"/>
                <a:gd name="connsiteY21" fmla="*/ 436210 h 761503"/>
                <a:gd name="connsiteX22" fmla="*/ 128889 w 353555"/>
                <a:gd name="connsiteY22" fmla="*/ 357340 h 761503"/>
                <a:gd name="connsiteX23" fmla="*/ 131609 w 353555"/>
                <a:gd name="connsiteY23" fmla="*/ 289349 h 761503"/>
                <a:gd name="connsiteX24" fmla="*/ 131609 w 353555"/>
                <a:gd name="connsiteY24" fmla="*/ 251274 h 761503"/>
                <a:gd name="connsiteX25" fmla="*/ 131609 w 353555"/>
                <a:gd name="connsiteY25" fmla="*/ 205040 h 761503"/>
                <a:gd name="connsiteX26" fmla="*/ 131609 w 353555"/>
                <a:gd name="connsiteY26" fmla="*/ 139768 h 761503"/>
                <a:gd name="connsiteX27" fmla="*/ 131609 w 353555"/>
                <a:gd name="connsiteY27" fmla="*/ 128889 h 761503"/>
                <a:gd name="connsiteX28" fmla="*/ 126170 w 353555"/>
                <a:gd name="connsiteY28" fmla="*/ 128889 h 761503"/>
                <a:gd name="connsiteX29" fmla="*/ 101693 w 353555"/>
                <a:gd name="connsiteY29" fmla="*/ 128889 h 761503"/>
                <a:gd name="connsiteX30" fmla="*/ 74496 w 353555"/>
                <a:gd name="connsiteY30" fmla="*/ 123450 h 761503"/>
                <a:gd name="connsiteX31" fmla="*/ 58178 w 353555"/>
                <a:gd name="connsiteY31" fmla="*/ 107132 h 761503"/>
                <a:gd name="connsiteX32" fmla="*/ 60898 w 353555"/>
                <a:gd name="connsiteY32" fmla="*/ 98973 h 761503"/>
                <a:gd name="connsiteX33" fmla="*/ 82655 w 353555"/>
                <a:gd name="connsiteY33" fmla="*/ 93534 h 761503"/>
                <a:gd name="connsiteX34" fmla="*/ 131609 w 353555"/>
                <a:gd name="connsiteY34" fmla="*/ 88094 h 761503"/>
                <a:gd name="connsiteX35" fmla="*/ 131609 w 353555"/>
                <a:gd name="connsiteY35" fmla="*/ 82655 h 761503"/>
                <a:gd name="connsiteX36" fmla="*/ 134329 w 353555"/>
                <a:gd name="connsiteY36" fmla="*/ 71776 h 761503"/>
                <a:gd name="connsiteX37" fmla="*/ 147927 w 353555"/>
                <a:gd name="connsiteY37" fmla="*/ 63617 h 761503"/>
                <a:gd name="connsiteX38" fmla="*/ 164245 w 353555"/>
                <a:gd name="connsiteY38" fmla="*/ 58178 h 761503"/>
                <a:gd name="connsiteX39" fmla="*/ 177843 w 353555"/>
                <a:gd name="connsiteY39" fmla="*/ 58178 h 761503"/>
                <a:gd name="connsiteX40" fmla="*/ 196881 w 353555"/>
                <a:gd name="connsiteY40" fmla="*/ 60898 h 761503"/>
                <a:gd name="connsiteX41" fmla="*/ 232236 w 353555"/>
                <a:gd name="connsiteY41" fmla="*/ 88094 h 761503"/>
                <a:gd name="connsiteX42" fmla="*/ 278471 w 353555"/>
                <a:gd name="connsiteY42" fmla="*/ 88094 h 761503"/>
                <a:gd name="connsiteX43" fmla="*/ 316546 w 353555"/>
                <a:gd name="connsiteY43" fmla="*/ 104412 h 761503"/>
                <a:gd name="connsiteX44" fmla="*/ 311106 w 353555"/>
                <a:gd name="connsiteY44" fmla="*/ 120730 h 761503"/>
                <a:gd name="connsiteX45" fmla="*/ 294788 w 353555"/>
                <a:gd name="connsiteY45" fmla="*/ 128889 h 761503"/>
                <a:gd name="connsiteX46" fmla="*/ 273031 w 353555"/>
                <a:gd name="connsiteY46" fmla="*/ 131609 h 761503"/>
                <a:gd name="connsiteX47" fmla="*/ 243115 w 353555"/>
                <a:gd name="connsiteY47" fmla="*/ 131609 h 761503"/>
                <a:gd name="connsiteX48" fmla="*/ 243115 w 353555"/>
                <a:gd name="connsiteY48" fmla="*/ 134329 h 761503"/>
                <a:gd name="connsiteX49" fmla="*/ 248554 w 353555"/>
                <a:gd name="connsiteY49" fmla="*/ 169684 h 761503"/>
                <a:gd name="connsiteX50" fmla="*/ 251274 w 353555"/>
                <a:gd name="connsiteY50" fmla="*/ 205040 h 761503"/>
                <a:gd name="connsiteX51" fmla="*/ 251274 w 353555"/>
                <a:gd name="connsiteY51" fmla="*/ 240395 h 761503"/>
                <a:gd name="connsiteX52" fmla="*/ 251274 w 353555"/>
                <a:gd name="connsiteY52" fmla="*/ 256713 h 761503"/>
                <a:gd name="connsiteX53" fmla="*/ 253994 w 353555"/>
                <a:gd name="connsiteY53" fmla="*/ 270311 h 761503"/>
                <a:gd name="connsiteX54" fmla="*/ 259433 w 353555"/>
                <a:gd name="connsiteY54" fmla="*/ 343742 h 761503"/>
                <a:gd name="connsiteX55" fmla="*/ 262153 w 353555"/>
                <a:gd name="connsiteY55" fmla="*/ 425332 h 761503"/>
                <a:gd name="connsiteX56" fmla="*/ 264872 w 353555"/>
                <a:gd name="connsiteY56" fmla="*/ 490603 h 761503"/>
                <a:gd name="connsiteX57" fmla="*/ 270312 w 353555"/>
                <a:gd name="connsiteY57" fmla="*/ 564034 h 761503"/>
                <a:gd name="connsiteX58" fmla="*/ 270312 w 353555"/>
                <a:gd name="connsiteY58" fmla="*/ 599390 h 761503"/>
                <a:gd name="connsiteX59" fmla="*/ 270312 w 353555"/>
                <a:gd name="connsiteY59" fmla="*/ 637465 h 761503"/>
                <a:gd name="connsiteX60" fmla="*/ 264872 w 353555"/>
                <a:gd name="connsiteY60" fmla="*/ 670101 h 761503"/>
                <a:gd name="connsiteX61" fmla="*/ 283910 w 353555"/>
                <a:gd name="connsiteY61" fmla="*/ 672820 h 761503"/>
                <a:gd name="connsiteX62" fmla="*/ 283910 w 353555"/>
                <a:gd name="connsiteY62" fmla="*/ 672820 h 761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</a:cxnLst>
              <a:rect l="l" t="t" r="r" b="b"/>
              <a:pathLst>
                <a:path w="353555" h="761503">
                  <a:moveTo>
                    <a:pt x="283910" y="672820"/>
                  </a:moveTo>
                  <a:cubicBezTo>
                    <a:pt x="297508" y="672820"/>
                    <a:pt x="321985" y="672820"/>
                    <a:pt x="321985" y="689138"/>
                  </a:cubicBezTo>
                  <a:cubicBezTo>
                    <a:pt x="321985" y="697297"/>
                    <a:pt x="319265" y="697297"/>
                    <a:pt x="316546" y="705456"/>
                  </a:cubicBezTo>
                  <a:cubicBezTo>
                    <a:pt x="311106" y="710895"/>
                    <a:pt x="305667" y="713615"/>
                    <a:pt x="300228" y="713615"/>
                  </a:cubicBezTo>
                  <a:cubicBezTo>
                    <a:pt x="292069" y="716335"/>
                    <a:pt x="283910" y="716335"/>
                    <a:pt x="278471" y="716335"/>
                  </a:cubicBezTo>
                  <a:cubicBezTo>
                    <a:pt x="275751" y="716335"/>
                    <a:pt x="256713" y="716335"/>
                    <a:pt x="237676" y="716335"/>
                  </a:cubicBezTo>
                  <a:cubicBezTo>
                    <a:pt x="213199" y="716335"/>
                    <a:pt x="186002" y="719054"/>
                    <a:pt x="180563" y="719054"/>
                  </a:cubicBezTo>
                  <a:cubicBezTo>
                    <a:pt x="166965" y="719054"/>
                    <a:pt x="142488" y="719054"/>
                    <a:pt x="126170" y="719054"/>
                  </a:cubicBezTo>
                  <a:cubicBezTo>
                    <a:pt x="118011" y="719054"/>
                    <a:pt x="109852" y="719054"/>
                    <a:pt x="101693" y="719054"/>
                  </a:cubicBezTo>
                  <a:cubicBezTo>
                    <a:pt x="93534" y="719054"/>
                    <a:pt x="82655" y="719054"/>
                    <a:pt x="74496" y="713615"/>
                  </a:cubicBezTo>
                  <a:cubicBezTo>
                    <a:pt x="66337" y="710895"/>
                    <a:pt x="58178" y="702736"/>
                    <a:pt x="58178" y="697297"/>
                  </a:cubicBezTo>
                  <a:cubicBezTo>
                    <a:pt x="58178" y="694578"/>
                    <a:pt x="58178" y="691858"/>
                    <a:pt x="63617" y="689138"/>
                  </a:cubicBezTo>
                  <a:cubicBezTo>
                    <a:pt x="69057" y="686418"/>
                    <a:pt x="79935" y="683699"/>
                    <a:pt x="85375" y="680979"/>
                  </a:cubicBezTo>
                  <a:cubicBezTo>
                    <a:pt x="104412" y="678260"/>
                    <a:pt x="123450" y="675540"/>
                    <a:pt x="131609" y="675540"/>
                  </a:cubicBezTo>
                  <a:cubicBezTo>
                    <a:pt x="134329" y="675540"/>
                    <a:pt x="137048" y="675540"/>
                    <a:pt x="142488" y="675540"/>
                  </a:cubicBezTo>
                  <a:cubicBezTo>
                    <a:pt x="134329" y="670101"/>
                    <a:pt x="131609" y="661942"/>
                    <a:pt x="131609" y="653783"/>
                  </a:cubicBezTo>
                  <a:cubicBezTo>
                    <a:pt x="131609" y="648343"/>
                    <a:pt x="131609" y="642904"/>
                    <a:pt x="128889" y="640184"/>
                  </a:cubicBezTo>
                  <a:cubicBezTo>
                    <a:pt x="128889" y="637465"/>
                    <a:pt x="128889" y="634745"/>
                    <a:pt x="128889" y="629306"/>
                  </a:cubicBezTo>
                  <a:cubicBezTo>
                    <a:pt x="128889" y="626586"/>
                    <a:pt x="128889" y="623867"/>
                    <a:pt x="128889" y="621147"/>
                  </a:cubicBezTo>
                  <a:cubicBezTo>
                    <a:pt x="128889" y="612988"/>
                    <a:pt x="128889" y="604829"/>
                    <a:pt x="128889" y="593950"/>
                  </a:cubicBezTo>
                  <a:cubicBezTo>
                    <a:pt x="128889" y="591231"/>
                    <a:pt x="128889" y="585791"/>
                    <a:pt x="128889" y="583072"/>
                  </a:cubicBezTo>
                  <a:cubicBezTo>
                    <a:pt x="128889" y="534118"/>
                    <a:pt x="131609" y="485164"/>
                    <a:pt x="128889" y="436210"/>
                  </a:cubicBezTo>
                  <a:cubicBezTo>
                    <a:pt x="128889" y="409014"/>
                    <a:pt x="128889" y="384537"/>
                    <a:pt x="128889" y="357340"/>
                  </a:cubicBezTo>
                  <a:cubicBezTo>
                    <a:pt x="128889" y="335583"/>
                    <a:pt x="131609" y="313826"/>
                    <a:pt x="131609" y="289349"/>
                  </a:cubicBezTo>
                  <a:cubicBezTo>
                    <a:pt x="131609" y="275751"/>
                    <a:pt x="131609" y="264872"/>
                    <a:pt x="131609" y="251274"/>
                  </a:cubicBezTo>
                  <a:cubicBezTo>
                    <a:pt x="131609" y="234956"/>
                    <a:pt x="131609" y="221357"/>
                    <a:pt x="131609" y="205040"/>
                  </a:cubicBezTo>
                  <a:cubicBezTo>
                    <a:pt x="131609" y="183282"/>
                    <a:pt x="131609" y="161525"/>
                    <a:pt x="131609" y="139768"/>
                  </a:cubicBezTo>
                  <a:cubicBezTo>
                    <a:pt x="131609" y="137048"/>
                    <a:pt x="131609" y="134329"/>
                    <a:pt x="131609" y="128889"/>
                  </a:cubicBezTo>
                  <a:cubicBezTo>
                    <a:pt x="128889" y="128889"/>
                    <a:pt x="126170" y="128889"/>
                    <a:pt x="126170" y="128889"/>
                  </a:cubicBezTo>
                  <a:cubicBezTo>
                    <a:pt x="118011" y="128889"/>
                    <a:pt x="109852" y="128889"/>
                    <a:pt x="101693" y="128889"/>
                  </a:cubicBezTo>
                  <a:cubicBezTo>
                    <a:pt x="93534" y="128889"/>
                    <a:pt x="82655" y="128889"/>
                    <a:pt x="74496" y="123450"/>
                  </a:cubicBezTo>
                  <a:cubicBezTo>
                    <a:pt x="66337" y="120730"/>
                    <a:pt x="58178" y="112571"/>
                    <a:pt x="58178" y="107132"/>
                  </a:cubicBezTo>
                  <a:cubicBezTo>
                    <a:pt x="58178" y="104412"/>
                    <a:pt x="58178" y="101693"/>
                    <a:pt x="60898" y="98973"/>
                  </a:cubicBezTo>
                  <a:cubicBezTo>
                    <a:pt x="63617" y="96253"/>
                    <a:pt x="77216" y="93534"/>
                    <a:pt x="82655" y="93534"/>
                  </a:cubicBezTo>
                  <a:cubicBezTo>
                    <a:pt x="98973" y="90814"/>
                    <a:pt x="123450" y="88094"/>
                    <a:pt x="131609" y="88094"/>
                  </a:cubicBezTo>
                  <a:cubicBezTo>
                    <a:pt x="131609" y="85375"/>
                    <a:pt x="131609" y="85375"/>
                    <a:pt x="131609" y="82655"/>
                  </a:cubicBezTo>
                  <a:cubicBezTo>
                    <a:pt x="131609" y="77216"/>
                    <a:pt x="131609" y="74496"/>
                    <a:pt x="134329" y="71776"/>
                  </a:cubicBezTo>
                  <a:cubicBezTo>
                    <a:pt x="137048" y="69057"/>
                    <a:pt x="145207" y="66337"/>
                    <a:pt x="147927" y="63617"/>
                  </a:cubicBezTo>
                  <a:cubicBezTo>
                    <a:pt x="153366" y="60898"/>
                    <a:pt x="158806" y="58178"/>
                    <a:pt x="164245" y="58178"/>
                  </a:cubicBezTo>
                  <a:cubicBezTo>
                    <a:pt x="169684" y="58178"/>
                    <a:pt x="175123" y="58178"/>
                    <a:pt x="177843" y="58178"/>
                  </a:cubicBezTo>
                  <a:cubicBezTo>
                    <a:pt x="183283" y="58178"/>
                    <a:pt x="191442" y="58178"/>
                    <a:pt x="196881" y="60898"/>
                  </a:cubicBezTo>
                  <a:cubicBezTo>
                    <a:pt x="213199" y="63617"/>
                    <a:pt x="224077" y="74496"/>
                    <a:pt x="232236" y="88094"/>
                  </a:cubicBezTo>
                  <a:cubicBezTo>
                    <a:pt x="253994" y="88094"/>
                    <a:pt x="270312" y="88094"/>
                    <a:pt x="278471" y="88094"/>
                  </a:cubicBezTo>
                  <a:cubicBezTo>
                    <a:pt x="292069" y="88094"/>
                    <a:pt x="316546" y="88094"/>
                    <a:pt x="316546" y="104412"/>
                  </a:cubicBezTo>
                  <a:cubicBezTo>
                    <a:pt x="316546" y="112571"/>
                    <a:pt x="313826" y="112571"/>
                    <a:pt x="311106" y="120730"/>
                  </a:cubicBezTo>
                  <a:cubicBezTo>
                    <a:pt x="305667" y="126170"/>
                    <a:pt x="300228" y="128889"/>
                    <a:pt x="294788" y="128889"/>
                  </a:cubicBezTo>
                  <a:cubicBezTo>
                    <a:pt x="286630" y="131609"/>
                    <a:pt x="278471" y="131609"/>
                    <a:pt x="273031" y="131609"/>
                  </a:cubicBezTo>
                  <a:cubicBezTo>
                    <a:pt x="270312" y="131609"/>
                    <a:pt x="259433" y="131609"/>
                    <a:pt x="243115" y="131609"/>
                  </a:cubicBezTo>
                  <a:lnTo>
                    <a:pt x="243115" y="134329"/>
                  </a:lnTo>
                  <a:cubicBezTo>
                    <a:pt x="245835" y="145207"/>
                    <a:pt x="245835" y="158805"/>
                    <a:pt x="248554" y="169684"/>
                  </a:cubicBezTo>
                  <a:cubicBezTo>
                    <a:pt x="251274" y="180563"/>
                    <a:pt x="251274" y="194161"/>
                    <a:pt x="251274" y="205040"/>
                  </a:cubicBezTo>
                  <a:cubicBezTo>
                    <a:pt x="251274" y="215918"/>
                    <a:pt x="251274" y="226797"/>
                    <a:pt x="251274" y="240395"/>
                  </a:cubicBezTo>
                  <a:cubicBezTo>
                    <a:pt x="251274" y="245834"/>
                    <a:pt x="251274" y="251274"/>
                    <a:pt x="251274" y="256713"/>
                  </a:cubicBezTo>
                  <a:cubicBezTo>
                    <a:pt x="251274" y="262152"/>
                    <a:pt x="251274" y="267592"/>
                    <a:pt x="253994" y="270311"/>
                  </a:cubicBezTo>
                  <a:cubicBezTo>
                    <a:pt x="256713" y="294788"/>
                    <a:pt x="256713" y="319265"/>
                    <a:pt x="259433" y="343742"/>
                  </a:cubicBezTo>
                  <a:cubicBezTo>
                    <a:pt x="259433" y="370939"/>
                    <a:pt x="262153" y="398135"/>
                    <a:pt x="262153" y="425332"/>
                  </a:cubicBezTo>
                  <a:cubicBezTo>
                    <a:pt x="262153" y="447089"/>
                    <a:pt x="262153" y="468846"/>
                    <a:pt x="264872" y="490603"/>
                  </a:cubicBezTo>
                  <a:cubicBezTo>
                    <a:pt x="264872" y="515080"/>
                    <a:pt x="270312" y="539557"/>
                    <a:pt x="270312" y="564034"/>
                  </a:cubicBezTo>
                  <a:cubicBezTo>
                    <a:pt x="270312" y="574913"/>
                    <a:pt x="270312" y="588511"/>
                    <a:pt x="270312" y="599390"/>
                  </a:cubicBezTo>
                  <a:cubicBezTo>
                    <a:pt x="270312" y="612988"/>
                    <a:pt x="270312" y="623867"/>
                    <a:pt x="270312" y="637465"/>
                  </a:cubicBezTo>
                  <a:cubicBezTo>
                    <a:pt x="270312" y="648343"/>
                    <a:pt x="270312" y="661942"/>
                    <a:pt x="264872" y="670101"/>
                  </a:cubicBezTo>
                  <a:cubicBezTo>
                    <a:pt x="273031" y="672820"/>
                    <a:pt x="278471" y="672820"/>
                    <a:pt x="283910" y="672820"/>
                  </a:cubicBezTo>
                  <a:lnTo>
                    <a:pt x="283910" y="672820"/>
                  </a:ln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/>
            </a:p>
          </p:txBody>
        </p:sp>
        <p:sp>
          <p:nvSpPr>
            <p:cNvPr id="40" name="Freeform: Shape 39">
              <a:extLst>
                <a:ext uri="{FF2B5EF4-FFF2-40B4-BE49-F238E27FC236}">
                  <a16:creationId xmlns:a16="http://schemas.microsoft.com/office/drawing/2014/main" id="{099AA5A5-B810-47BF-9870-E078E580E225}"/>
                </a:ext>
              </a:extLst>
            </p:cNvPr>
            <p:cNvSpPr/>
            <p:nvPr/>
          </p:nvSpPr>
          <p:spPr>
            <a:xfrm>
              <a:off x="4620880" y="4194877"/>
              <a:ext cx="598325" cy="761503"/>
            </a:xfrm>
            <a:custGeom>
              <a:avLst/>
              <a:gdLst>
                <a:gd name="connsiteX0" fmla="*/ 515081 w 598324"/>
                <a:gd name="connsiteY0" fmla="*/ 79935 h 761503"/>
                <a:gd name="connsiteX1" fmla="*/ 542277 w 598324"/>
                <a:gd name="connsiteY1" fmla="*/ 96253 h 761503"/>
                <a:gd name="connsiteX2" fmla="*/ 536838 w 598324"/>
                <a:gd name="connsiteY2" fmla="*/ 112571 h 761503"/>
                <a:gd name="connsiteX3" fmla="*/ 523240 w 598324"/>
                <a:gd name="connsiteY3" fmla="*/ 120730 h 761503"/>
                <a:gd name="connsiteX4" fmla="*/ 506922 w 598324"/>
                <a:gd name="connsiteY4" fmla="*/ 123450 h 761503"/>
                <a:gd name="connsiteX5" fmla="*/ 477006 w 598324"/>
                <a:gd name="connsiteY5" fmla="*/ 123450 h 761503"/>
                <a:gd name="connsiteX6" fmla="*/ 479725 w 598324"/>
                <a:gd name="connsiteY6" fmla="*/ 145207 h 761503"/>
                <a:gd name="connsiteX7" fmla="*/ 477006 w 598324"/>
                <a:gd name="connsiteY7" fmla="*/ 180563 h 761503"/>
                <a:gd name="connsiteX8" fmla="*/ 482445 w 598324"/>
                <a:gd name="connsiteY8" fmla="*/ 232236 h 761503"/>
                <a:gd name="connsiteX9" fmla="*/ 485165 w 598324"/>
                <a:gd name="connsiteY9" fmla="*/ 283909 h 761503"/>
                <a:gd name="connsiteX10" fmla="*/ 485165 w 598324"/>
                <a:gd name="connsiteY10" fmla="*/ 327424 h 761503"/>
                <a:gd name="connsiteX11" fmla="*/ 487884 w 598324"/>
                <a:gd name="connsiteY11" fmla="*/ 373658 h 761503"/>
                <a:gd name="connsiteX12" fmla="*/ 485165 w 598324"/>
                <a:gd name="connsiteY12" fmla="*/ 419892 h 761503"/>
                <a:gd name="connsiteX13" fmla="*/ 485165 w 598324"/>
                <a:gd name="connsiteY13" fmla="*/ 463407 h 761503"/>
                <a:gd name="connsiteX14" fmla="*/ 482445 w 598324"/>
                <a:gd name="connsiteY14" fmla="*/ 515080 h 761503"/>
                <a:gd name="connsiteX15" fmla="*/ 482445 w 598324"/>
                <a:gd name="connsiteY15" fmla="*/ 558595 h 761503"/>
                <a:gd name="connsiteX16" fmla="*/ 479725 w 598324"/>
                <a:gd name="connsiteY16" fmla="*/ 602109 h 761503"/>
                <a:gd name="connsiteX17" fmla="*/ 485165 w 598324"/>
                <a:gd name="connsiteY17" fmla="*/ 648343 h 761503"/>
                <a:gd name="connsiteX18" fmla="*/ 474286 w 598324"/>
                <a:gd name="connsiteY18" fmla="*/ 675540 h 761503"/>
                <a:gd name="connsiteX19" fmla="*/ 428052 w 598324"/>
                <a:gd name="connsiteY19" fmla="*/ 691858 h 761503"/>
                <a:gd name="connsiteX20" fmla="*/ 387257 w 598324"/>
                <a:gd name="connsiteY20" fmla="*/ 683699 h 761503"/>
                <a:gd name="connsiteX21" fmla="*/ 351901 w 598324"/>
                <a:gd name="connsiteY21" fmla="*/ 664661 h 761503"/>
                <a:gd name="connsiteX22" fmla="*/ 305667 w 598324"/>
                <a:gd name="connsiteY22" fmla="*/ 596670 h 761503"/>
                <a:gd name="connsiteX23" fmla="*/ 270312 w 598324"/>
                <a:gd name="connsiteY23" fmla="*/ 509641 h 761503"/>
                <a:gd name="connsiteX24" fmla="*/ 251274 w 598324"/>
                <a:gd name="connsiteY24" fmla="*/ 460687 h 761503"/>
                <a:gd name="connsiteX25" fmla="*/ 224077 w 598324"/>
                <a:gd name="connsiteY25" fmla="*/ 381817 h 761503"/>
                <a:gd name="connsiteX26" fmla="*/ 207759 w 598324"/>
                <a:gd name="connsiteY26" fmla="*/ 330144 h 761503"/>
                <a:gd name="connsiteX27" fmla="*/ 191442 w 598324"/>
                <a:gd name="connsiteY27" fmla="*/ 286629 h 761503"/>
                <a:gd name="connsiteX28" fmla="*/ 183283 w 598324"/>
                <a:gd name="connsiteY28" fmla="*/ 278470 h 761503"/>
                <a:gd name="connsiteX29" fmla="*/ 180563 w 598324"/>
                <a:gd name="connsiteY29" fmla="*/ 292068 h 761503"/>
                <a:gd name="connsiteX30" fmla="*/ 180563 w 598324"/>
                <a:gd name="connsiteY30" fmla="*/ 305667 h 761503"/>
                <a:gd name="connsiteX31" fmla="*/ 183283 w 598324"/>
                <a:gd name="connsiteY31" fmla="*/ 354620 h 761503"/>
                <a:gd name="connsiteX32" fmla="*/ 188722 w 598324"/>
                <a:gd name="connsiteY32" fmla="*/ 449808 h 761503"/>
                <a:gd name="connsiteX33" fmla="*/ 188722 w 598324"/>
                <a:gd name="connsiteY33" fmla="*/ 479725 h 761503"/>
                <a:gd name="connsiteX34" fmla="*/ 188722 w 598324"/>
                <a:gd name="connsiteY34" fmla="*/ 542277 h 761503"/>
                <a:gd name="connsiteX35" fmla="*/ 186002 w 598324"/>
                <a:gd name="connsiteY35" fmla="*/ 615708 h 761503"/>
                <a:gd name="connsiteX36" fmla="*/ 186002 w 598324"/>
                <a:gd name="connsiteY36" fmla="*/ 637465 h 761503"/>
                <a:gd name="connsiteX37" fmla="*/ 183283 w 598324"/>
                <a:gd name="connsiteY37" fmla="*/ 664661 h 761503"/>
                <a:gd name="connsiteX38" fmla="*/ 226797 w 598324"/>
                <a:gd name="connsiteY38" fmla="*/ 664661 h 761503"/>
                <a:gd name="connsiteX39" fmla="*/ 253994 w 598324"/>
                <a:gd name="connsiteY39" fmla="*/ 680979 h 761503"/>
                <a:gd name="connsiteX40" fmla="*/ 248554 w 598324"/>
                <a:gd name="connsiteY40" fmla="*/ 697297 h 761503"/>
                <a:gd name="connsiteX41" fmla="*/ 234956 w 598324"/>
                <a:gd name="connsiteY41" fmla="*/ 705456 h 761503"/>
                <a:gd name="connsiteX42" fmla="*/ 218638 w 598324"/>
                <a:gd name="connsiteY42" fmla="*/ 708176 h 761503"/>
                <a:gd name="connsiteX43" fmla="*/ 183283 w 598324"/>
                <a:gd name="connsiteY43" fmla="*/ 708176 h 761503"/>
                <a:gd name="connsiteX44" fmla="*/ 150647 w 598324"/>
                <a:gd name="connsiteY44" fmla="*/ 708176 h 761503"/>
                <a:gd name="connsiteX45" fmla="*/ 107132 w 598324"/>
                <a:gd name="connsiteY45" fmla="*/ 708176 h 761503"/>
                <a:gd name="connsiteX46" fmla="*/ 88094 w 598324"/>
                <a:gd name="connsiteY46" fmla="*/ 708176 h 761503"/>
                <a:gd name="connsiteX47" fmla="*/ 69057 w 598324"/>
                <a:gd name="connsiteY47" fmla="*/ 702736 h 761503"/>
                <a:gd name="connsiteX48" fmla="*/ 58178 w 598324"/>
                <a:gd name="connsiteY48" fmla="*/ 686418 h 761503"/>
                <a:gd name="connsiteX49" fmla="*/ 60898 w 598324"/>
                <a:gd name="connsiteY49" fmla="*/ 678259 h 761503"/>
                <a:gd name="connsiteX50" fmla="*/ 77216 w 598324"/>
                <a:gd name="connsiteY50" fmla="*/ 670101 h 761503"/>
                <a:gd name="connsiteX51" fmla="*/ 120730 w 598324"/>
                <a:gd name="connsiteY51" fmla="*/ 664661 h 761503"/>
                <a:gd name="connsiteX52" fmla="*/ 131609 w 598324"/>
                <a:gd name="connsiteY52" fmla="*/ 664661 h 761503"/>
                <a:gd name="connsiteX53" fmla="*/ 134329 w 598324"/>
                <a:gd name="connsiteY53" fmla="*/ 539557 h 761503"/>
                <a:gd name="connsiteX54" fmla="*/ 134329 w 598324"/>
                <a:gd name="connsiteY54" fmla="*/ 504201 h 761503"/>
                <a:gd name="connsiteX55" fmla="*/ 131609 w 598324"/>
                <a:gd name="connsiteY55" fmla="*/ 376378 h 761503"/>
                <a:gd name="connsiteX56" fmla="*/ 131609 w 598324"/>
                <a:gd name="connsiteY56" fmla="*/ 302947 h 761503"/>
                <a:gd name="connsiteX57" fmla="*/ 134329 w 598324"/>
                <a:gd name="connsiteY57" fmla="*/ 221357 h 761503"/>
                <a:gd name="connsiteX58" fmla="*/ 137048 w 598324"/>
                <a:gd name="connsiteY58" fmla="*/ 123450 h 761503"/>
                <a:gd name="connsiteX59" fmla="*/ 107132 w 598324"/>
                <a:gd name="connsiteY59" fmla="*/ 123450 h 761503"/>
                <a:gd name="connsiteX60" fmla="*/ 88094 w 598324"/>
                <a:gd name="connsiteY60" fmla="*/ 123450 h 761503"/>
                <a:gd name="connsiteX61" fmla="*/ 69057 w 598324"/>
                <a:gd name="connsiteY61" fmla="*/ 118011 h 761503"/>
                <a:gd name="connsiteX62" fmla="*/ 58178 w 598324"/>
                <a:gd name="connsiteY62" fmla="*/ 101693 h 761503"/>
                <a:gd name="connsiteX63" fmla="*/ 60898 w 598324"/>
                <a:gd name="connsiteY63" fmla="*/ 93534 h 761503"/>
                <a:gd name="connsiteX64" fmla="*/ 77216 w 598324"/>
                <a:gd name="connsiteY64" fmla="*/ 85375 h 761503"/>
                <a:gd name="connsiteX65" fmla="*/ 131609 w 598324"/>
                <a:gd name="connsiteY65" fmla="*/ 79935 h 761503"/>
                <a:gd name="connsiteX66" fmla="*/ 161525 w 598324"/>
                <a:gd name="connsiteY66" fmla="*/ 79935 h 761503"/>
                <a:gd name="connsiteX67" fmla="*/ 177843 w 598324"/>
                <a:gd name="connsiteY67" fmla="*/ 66337 h 761503"/>
                <a:gd name="connsiteX68" fmla="*/ 202320 w 598324"/>
                <a:gd name="connsiteY68" fmla="*/ 58178 h 761503"/>
                <a:gd name="connsiteX69" fmla="*/ 234956 w 598324"/>
                <a:gd name="connsiteY69" fmla="*/ 77216 h 761503"/>
                <a:gd name="connsiteX70" fmla="*/ 251274 w 598324"/>
                <a:gd name="connsiteY70" fmla="*/ 107132 h 761503"/>
                <a:gd name="connsiteX71" fmla="*/ 267592 w 598324"/>
                <a:gd name="connsiteY71" fmla="*/ 147927 h 761503"/>
                <a:gd name="connsiteX72" fmla="*/ 281190 w 598324"/>
                <a:gd name="connsiteY72" fmla="*/ 183282 h 761503"/>
                <a:gd name="connsiteX73" fmla="*/ 297508 w 598324"/>
                <a:gd name="connsiteY73" fmla="*/ 224077 h 761503"/>
                <a:gd name="connsiteX74" fmla="*/ 308387 w 598324"/>
                <a:gd name="connsiteY74" fmla="*/ 264872 h 761503"/>
                <a:gd name="connsiteX75" fmla="*/ 319265 w 598324"/>
                <a:gd name="connsiteY75" fmla="*/ 300227 h 761503"/>
                <a:gd name="connsiteX76" fmla="*/ 351901 w 598324"/>
                <a:gd name="connsiteY76" fmla="*/ 379097 h 761503"/>
                <a:gd name="connsiteX77" fmla="*/ 365500 w 598324"/>
                <a:gd name="connsiteY77" fmla="*/ 417173 h 761503"/>
                <a:gd name="connsiteX78" fmla="*/ 379098 w 598324"/>
                <a:gd name="connsiteY78" fmla="*/ 457967 h 761503"/>
                <a:gd name="connsiteX79" fmla="*/ 395416 w 598324"/>
                <a:gd name="connsiteY79" fmla="*/ 496043 h 761503"/>
                <a:gd name="connsiteX80" fmla="*/ 406294 w 598324"/>
                <a:gd name="connsiteY80" fmla="*/ 512361 h 761503"/>
                <a:gd name="connsiteX81" fmla="*/ 411734 w 598324"/>
                <a:gd name="connsiteY81" fmla="*/ 531398 h 761503"/>
                <a:gd name="connsiteX82" fmla="*/ 419893 w 598324"/>
                <a:gd name="connsiteY82" fmla="*/ 558595 h 761503"/>
                <a:gd name="connsiteX83" fmla="*/ 425332 w 598324"/>
                <a:gd name="connsiteY83" fmla="*/ 564034 h 761503"/>
                <a:gd name="connsiteX84" fmla="*/ 430771 w 598324"/>
                <a:gd name="connsiteY84" fmla="*/ 558595 h 761503"/>
                <a:gd name="connsiteX85" fmla="*/ 430771 w 598324"/>
                <a:gd name="connsiteY85" fmla="*/ 550436 h 761503"/>
                <a:gd name="connsiteX86" fmla="*/ 430771 w 598324"/>
                <a:gd name="connsiteY86" fmla="*/ 501482 h 761503"/>
                <a:gd name="connsiteX87" fmla="*/ 430771 w 598324"/>
                <a:gd name="connsiteY87" fmla="*/ 403574 h 761503"/>
                <a:gd name="connsiteX88" fmla="*/ 425332 w 598324"/>
                <a:gd name="connsiteY88" fmla="*/ 313826 h 761503"/>
                <a:gd name="connsiteX89" fmla="*/ 425332 w 598324"/>
                <a:gd name="connsiteY89" fmla="*/ 248554 h 761503"/>
                <a:gd name="connsiteX90" fmla="*/ 425332 w 598324"/>
                <a:gd name="connsiteY90" fmla="*/ 210479 h 761503"/>
                <a:gd name="connsiteX91" fmla="*/ 422613 w 598324"/>
                <a:gd name="connsiteY91" fmla="*/ 153366 h 761503"/>
                <a:gd name="connsiteX92" fmla="*/ 425332 w 598324"/>
                <a:gd name="connsiteY92" fmla="*/ 123450 h 761503"/>
                <a:gd name="connsiteX93" fmla="*/ 398136 w 598324"/>
                <a:gd name="connsiteY93" fmla="*/ 123450 h 761503"/>
                <a:gd name="connsiteX94" fmla="*/ 379098 w 598324"/>
                <a:gd name="connsiteY94" fmla="*/ 123450 h 761503"/>
                <a:gd name="connsiteX95" fmla="*/ 360060 w 598324"/>
                <a:gd name="connsiteY95" fmla="*/ 118011 h 761503"/>
                <a:gd name="connsiteX96" fmla="*/ 349182 w 598324"/>
                <a:gd name="connsiteY96" fmla="*/ 101693 h 761503"/>
                <a:gd name="connsiteX97" fmla="*/ 351901 w 598324"/>
                <a:gd name="connsiteY97" fmla="*/ 93534 h 761503"/>
                <a:gd name="connsiteX98" fmla="*/ 368219 w 598324"/>
                <a:gd name="connsiteY98" fmla="*/ 85375 h 761503"/>
                <a:gd name="connsiteX99" fmla="*/ 422613 w 598324"/>
                <a:gd name="connsiteY99" fmla="*/ 79935 h 761503"/>
                <a:gd name="connsiteX100" fmla="*/ 444370 w 598324"/>
                <a:gd name="connsiteY100" fmla="*/ 79935 h 761503"/>
                <a:gd name="connsiteX101" fmla="*/ 463407 w 598324"/>
                <a:gd name="connsiteY101" fmla="*/ 71776 h 761503"/>
                <a:gd name="connsiteX102" fmla="*/ 477006 w 598324"/>
                <a:gd name="connsiteY102" fmla="*/ 79935 h 761503"/>
                <a:gd name="connsiteX103" fmla="*/ 515081 w 598324"/>
                <a:gd name="connsiteY103" fmla="*/ 79935 h 761503"/>
                <a:gd name="connsiteX104" fmla="*/ 515081 w 598324"/>
                <a:gd name="connsiteY104" fmla="*/ 79935 h 761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</a:cxnLst>
              <a:rect l="l" t="t" r="r" b="b"/>
              <a:pathLst>
                <a:path w="598324" h="761503">
                  <a:moveTo>
                    <a:pt x="515081" y="79935"/>
                  </a:moveTo>
                  <a:cubicBezTo>
                    <a:pt x="523240" y="79935"/>
                    <a:pt x="542277" y="79935"/>
                    <a:pt x="542277" y="96253"/>
                  </a:cubicBezTo>
                  <a:cubicBezTo>
                    <a:pt x="542277" y="104412"/>
                    <a:pt x="542277" y="107132"/>
                    <a:pt x="536838" y="112571"/>
                  </a:cubicBezTo>
                  <a:cubicBezTo>
                    <a:pt x="534119" y="118011"/>
                    <a:pt x="528679" y="120730"/>
                    <a:pt x="523240" y="120730"/>
                  </a:cubicBezTo>
                  <a:cubicBezTo>
                    <a:pt x="515081" y="123450"/>
                    <a:pt x="512361" y="123450"/>
                    <a:pt x="506922" y="123450"/>
                  </a:cubicBezTo>
                  <a:cubicBezTo>
                    <a:pt x="504202" y="123450"/>
                    <a:pt x="490604" y="123450"/>
                    <a:pt x="477006" y="123450"/>
                  </a:cubicBezTo>
                  <a:cubicBezTo>
                    <a:pt x="477006" y="131609"/>
                    <a:pt x="479725" y="137048"/>
                    <a:pt x="479725" y="145207"/>
                  </a:cubicBezTo>
                  <a:cubicBezTo>
                    <a:pt x="479725" y="156086"/>
                    <a:pt x="477006" y="166964"/>
                    <a:pt x="477006" y="180563"/>
                  </a:cubicBezTo>
                  <a:cubicBezTo>
                    <a:pt x="477006" y="196881"/>
                    <a:pt x="479725" y="215918"/>
                    <a:pt x="482445" y="232236"/>
                  </a:cubicBezTo>
                  <a:cubicBezTo>
                    <a:pt x="485165" y="248554"/>
                    <a:pt x="485165" y="267592"/>
                    <a:pt x="485165" y="283909"/>
                  </a:cubicBezTo>
                  <a:cubicBezTo>
                    <a:pt x="485165" y="297508"/>
                    <a:pt x="485165" y="313826"/>
                    <a:pt x="485165" y="327424"/>
                  </a:cubicBezTo>
                  <a:cubicBezTo>
                    <a:pt x="485165" y="343742"/>
                    <a:pt x="487884" y="357340"/>
                    <a:pt x="487884" y="373658"/>
                  </a:cubicBezTo>
                  <a:cubicBezTo>
                    <a:pt x="487884" y="389976"/>
                    <a:pt x="485165" y="403574"/>
                    <a:pt x="485165" y="419892"/>
                  </a:cubicBezTo>
                  <a:cubicBezTo>
                    <a:pt x="485165" y="436210"/>
                    <a:pt x="485165" y="449808"/>
                    <a:pt x="485165" y="463407"/>
                  </a:cubicBezTo>
                  <a:cubicBezTo>
                    <a:pt x="485165" y="479725"/>
                    <a:pt x="485165" y="498762"/>
                    <a:pt x="482445" y="515080"/>
                  </a:cubicBezTo>
                  <a:cubicBezTo>
                    <a:pt x="482445" y="528678"/>
                    <a:pt x="482445" y="542277"/>
                    <a:pt x="482445" y="558595"/>
                  </a:cubicBezTo>
                  <a:cubicBezTo>
                    <a:pt x="482445" y="572193"/>
                    <a:pt x="479725" y="588511"/>
                    <a:pt x="479725" y="602109"/>
                  </a:cubicBezTo>
                  <a:cubicBezTo>
                    <a:pt x="479725" y="615708"/>
                    <a:pt x="485165" y="632025"/>
                    <a:pt x="485165" y="648343"/>
                  </a:cubicBezTo>
                  <a:cubicBezTo>
                    <a:pt x="485165" y="659222"/>
                    <a:pt x="482445" y="670101"/>
                    <a:pt x="474286" y="675540"/>
                  </a:cubicBezTo>
                  <a:cubicBezTo>
                    <a:pt x="460688" y="686418"/>
                    <a:pt x="444370" y="691858"/>
                    <a:pt x="428052" y="691858"/>
                  </a:cubicBezTo>
                  <a:cubicBezTo>
                    <a:pt x="414453" y="691858"/>
                    <a:pt x="400855" y="689138"/>
                    <a:pt x="387257" y="683699"/>
                  </a:cubicBezTo>
                  <a:cubicBezTo>
                    <a:pt x="373659" y="678259"/>
                    <a:pt x="360060" y="672820"/>
                    <a:pt x="351901" y="664661"/>
                  </a:cubicBezTo>
                  <a:cubicBezTo>
                    <a:pt x="330144" y="645624"/>
                    <a:pt x="316546" y="621147"/>
                    <a:pt x="305667" y="596670"/>
                  </a:cubicBezTo>
                  <a:cubicBezTo>
                    <a:pt x="292069" y="569473"/>
                    <a:pt x="281190" y="539557"/>
                    <a:pt x="270312" y="509641"/>
                  </a:cubicBezTo>
                  <a:cubicBezTo>
                    <a:pt x="264872" y="493323"/>
                    <a:pt x="256713" y="477005"/>
                    <a:pt x="251274" y="460687"/>
                  </a:cubicBezTo>
                  <a:cubicBezTo>
                    <a:pt x="240395" y="433490"/>
                    <a:pt x="232236" y="409014"/>
                    <a:pt x="224077" y="381817"/>
                  </a:cubicBezTo>
                  <a:cubicBezTo>
                    <a:pt x="218638" y="365499"/>
                    <a:pt x="213199" y="346462"/>
                    <a:pt x="207759" y="330144"/>
                  </a:cubicBezTo>
                  <a:cubicBezTo>
                    <a:pt x="202320" y="316545"/>
                    <a:pt x="196881" y="300227"/>
                    <a:pt x="191442" y="286629"/>
                  </a:cubicBezTo>
                  <a:cubicBezTo>
                    <a:pt x="188722" y="281190"/>
                    <a:pt x="186002" y="278470"/>
                    <a:pt x="183283" y="278470"/>
                  </a:cubicBezTo>
                  <a:cubicBezTo>
                    <a:pt x="180563" y="278470"/>
                    <a:pt x="180563" y="286629"/>
                    <a:pt x="180563" y="292068"/>
                  </a:cubicBezTo>
                  <a:cubicBezTo>
                    <a:pt x="180563" y="297508"/>
                    <a:pt x="180563" y="302947"/>
                    <a:pt x="180563" y="305667"/>
                  </a:cubicBezTo>
                  <a:cubicBezTo>
                    <a:pt x="180563" y="321985"/>
                    <a:pt x="183283" y="338303"/>
                    <a:pt x="183283" y="354620"/>
                  </a:cubicBezTo>
                  <a:cubicBezTo>
                    <a:pt x="183283" y="387256"/>
                    <a:pt x="186002" y="417173"/>
                    <a:pt x="188722" y="449808"/>
                  </a:cubicBezTo>
                  <a:cubicBezTo>
                    <a:pt x="188722" y="460687"/>
                    <a:pt x="188722" y="468846"/>
                    <a:pt x="188722" y="479725"/>
                  </a:cubicBezTo>
                  <a:cubicBezTo>
                    <a:pt x="188722" y="501482"/>
                    <a:pt x="188722" y="523239"/>
                    <a:pt x="188722" y="542277"/>
                  </a:cubicBezTo>
                  <a:cubicBezTo>
                    <a:pt x="188722" y="566754"/>
                    <a:pt x="186002" y="591231"/>
                    <a:pt x="186002" y="615708"/>
                  </a:cubicBezTo>
                  <a:cubicBezTo>
                    <a:pt x="186002" y="623866"/>
                    <a:pt x="186002" y="632025"/>
                    <a:pt x="186002" y="637465"/>
                  </a:cubicBezTo>
                  <a:cubicBezTo>
                    <a:pt x="186002" y="645624"/>
                    <a:pt x="183283" y="656502"/>
                    <a:pt x="183283" y="664661"/>
                  </a:cubicBezTo>
                  <a:cubicBezTo>
                    <a:pt x="202320" y="664661"/>
                    <a:pt x="218638" y="664661"/>
                    <a:pt x="226797" y="664661"/>
                  </a:cubicBezTo>
                  <a:cubicBezTo>
                    <a:pt x="234956" y="664661"/>
                    <a:pt x="253994" y="664661"/>
                    <a:pt x="253994" y="680979"/>
                  </a:cubicBezTo>
                  <a:cubicBezTo>
                    <a:pt x="253994" y="689138"/>
                    <a:pt x="253994" y="691858"/>
                    <a:pt x="248554" y="697297"/>
                  </a:cubicBezTo>
                  <a:cubicBezTo>
                    <a:pt x="245835" y="702736"/>
                    <a:pt x="240395" y="705456"/>
                    <a:pt x="234956" y="705456"/>
                  </a:cubicBezTo>
                  <a:cubicBezTo>
                    <a:pt x="226797" y="708176"/>
                    <a:pt x="224077" y="708176"/>
                    <a:pt x="218638" y="708176"/>
                  </a:cubicBezTo>
                  <a:cubicBezTo>
                    <a:pt x="215918" y="708176"/>
                    <a:pt x="199600" y="708176"/>
                    <a:pt x="183283" y="708176"/>
                  </a:cubicBezTo>
                  <a:cubicBezTo>
                    <a:pt x="166965" y="708176"/>
                    <a:pt x="153366" y="708176"/>
                    <a:pt x="150647" y="708176"/>
                  </a:cubicBezTo>
                  <a:cubicBezTo>
                    <a:pt x="139768" y="708176"/>
                    <a:pt x="120730" y="708176"/>
                    <a:pt x="107132" y="708176"/>
                  </a:cubicBezTo>
                  <a:cubicBezTo>
                    <a:pt x="101693" y="708176"/>
                    <a:pt x="96254" y="708176"/>
                    <a:pt x="88094" y="708176"/>
                  </a:cubicBezTo>
                  <a:cubicBezTo>
                    <a:pt x="82655" y="708176"/>
                    <a:pt x="74496" y="708176"/>
                    <a:pt x="69057" y="702736"/>
                  </a:cubicBezTo>
                  <a:cubicBezTo>
                    <a:pt x="63617" y="700017"/>
                    <a:pt x="58178" y="691858"/>
                    <a:pt x="58178" y="686418"/>
                  </a:cubicBezTo>
                  <a:cubicBezTo>
                    <a:pt x="58178" y="683699"/>
                    <a:pt x="58178" y="680979"/>
                    <a:pt x="60898" y="678259"/>
                  </a:cubicBezTo>
                  <a:cubicBezTo>
                    <a:pt x="63617" y="675540"/>
                    <a:pt x="71777" y="672820"/>
                    <a:pt x="77216" y="670101"/>
                  </a:cubicBezTo>
                  <a:cubicBezTo>
                    <a:pt x="90814" y="667381"/>
                    <a:pt x="115291" y="664661"/>
                    <a:pt x="120730" y="664661"/>
                  </a:cubicBezTo>
                  <a:cubicBezTo>
                    <a:pt x="123450" y="664661"/>
                    <a:pt x="126170" y="664661"/>
                    <a:pt x="131609" y="664661"/>
                  </a:cubicBezTo>
                  <a:cubicBezTo>
                    <a:pt x="131609" y="623866"/>
                    <a:pt x="134329" y="583072"/>
                    <a:pt x="134329" y="539557"/>
                  </a:cubicBezTo>
                  <a:cubicBezTo>
                    <a:pt x="134329" y="528678"/>
                    <a:pt x="134329" y="515080"/>
                    <a:pt x="134329" y="504201"/>
                  </a:cubicBezTo>
                  <a:cubicBezTo>
                    <a:pt x="131609" y="460687"/>
                    <a:pt x="131609" y="417173"/>
                    <a:pt x="131609" y="376378"/>
                  </a:cubicBezTo>
                  <a:cubicBezTo>
                    <a:pt x="131609" y="351901"/>
                    <a:pt x="131609" y="327424"/>
                    <a:pt x="131609" y="302947"/>
                  </a:cubicBezTo>
                  <a:cubicBezTo>
                    <a:pt x="131609" y="275751"/>
                    <a:pt x="131609" y="248554"/>
                    <a:pt x="134329" y="221357"/>
                  </a:cubicBezTo>
                  <a:cubicBezTo>
                    <a:pt x="134329" y="188722"/>
                    <a:pt x="137048" y="156086"/>
                    <a:pt x="137048" y="123450"/>
                  </a:cubicBezTo>
                  <a:cubicBezTo>
                    <a:pt x="126170" y="123450"/>
                    <a:pt x="115291" y="123450"/>
                    <a:pt x="107132" y="123450"/>
                  </a:cubicBezTo>
                  <a:cubicBezTo>
                    <a:pt x="101693" y="123450"/>
                    <a:pt x="96254" y="123450"/>
                    <a:pt x="88094" y="123450"/>
                  </a:cubicBezTo>
                  <a:cubicBezTo>
                    <a:pt x="82655" y="123450"/>
                    <a:pt x="74496" y="120730"/>
                    <a:pt x="69057" y="118011"/>
                  </a:cubicBezTo>
                  <a:cubicBezTo>
                    <a:pt x="63617" y="115291"/>
                    <a:pt x="58178" y="107132"/>
                    <a:pt x="58178" y="101693"/>
                  </a:cubicBezTo>
                  <a:cubicBezTo>
                    <a:pt x="58178" y="98973"/>
                    <a:pt x="58178" y="96253"/>
                    <a:pt x="60898" y="93534"/>
                  </a:cubicBezTo>
                  <a:cubicBezTo>
                    <a:pt x="63617" y="90814"/>
                    <a:pt x="71777" y="88094"/>
                    <a:pt x="77216" y="85375"/>
                  </a:cubicBezTo>
                  <a:cubicBezTo>
                    <a:pt x="90814" y="82655"/>
                    <a:pt x="126170" y="79935"/>
                    <a:pt x="131609" y="79935"/>
                  </a:cubicBezTo>
                  <a:cubicBezTo>
                    <a:pt x="137048" y="79935"/>
                    <a:pt x="147927" y="79935"/>
                    <a:pt x="161525" y="79935"/>
                  </a:cubicBezTo>
                  <a:cubicBezTo>
                    <a:pt x="166965" y="74496"/>
                    <a:pt x="172404" y="71776"/>
                    <a:pt x="177843" y="66337"/>
                  </a:cubicBezTo>
                  <a:cubicBezTo>
                    <a:pt x="186002" y="60898"/>
                    <a:pt x="194161" y="58178"/>
                    <a:pt x="202320" y="58178"/>
                  </a:cubicBezTo>
                  <a:cubicBezTo>
                    <a:pt x="215918" y="58178"/>
                    <a:pt x="226797" y="63617"/>
                    <a:pt x="234956" y="77216"/>
                  </a:cubicBezTo>
                  <a:cubicBezTo>
                    <a:pt x="240395" y="88094"/>
                    <a:pt x="248554" y="96253"/>
                    <a:pt x="251274" y="107132"/>
                  </a:cubicBezTo>
                  <a:cubicBezTo>
                    <a:pt x="256713" y="120730"/>
                    <a:pt x="259433" y="134328"/>
                    <a:pt x="267592" y="147927"/>
                  </a:cubicBezTo>
                  <a:cubicBezTo>
                    <a:pt x="273031" y="158805"/>
                    <a:pt x="275751" y="172404"/>
                    <a:pt x="281190" y="183282"/>
                  </a:cubicBezTo>
                  <a:cubicBezTo>
                    <a:pt x="286630" y="196881"/>
                    <a:pt x="292069" y="210479"/>
                    <a:pt x="297508" y="224077"/>
                  </a:cubicBezTo>
                  <a:cubicBezTo>
                    <a:pt x="300228" y="237675"/>
                    <a:pt x="305667" y="251274"/>
                    <a:pt x="308387" y="264872"/>
                  </a:cubicBezTo>
                  <a:cubicBezTo>
                    <a:pt x="311106" y="278470"/>
                    <a:pt x="311106" y="289349"/>
                    <a:pt x="319265" y="300227"/>
                  </a:cubicBezTo>
                  <a:cubicBezTo>
                    <a:pt x="332864" y="324704"/>
                    <a:pt x="346462" y="351901"/>
                    <a:pt x="351901" y="379097"/>
                  </a:cubicBezTo>
                  <a:cubicBezTo>
                    <a:pt x="354621" y="392696"/>
                    <a:pt x="360060" y="403574"/>
                    <a:pt x="365500" y="417173"/>
                  </a:cubicBezTo>
                  <a:cubicBezTo>
                    <a:pt x="373659" y="430771"/>
                    <a:pt x="373659" y="444369"/>
                    <a:pt x="379098" y="457967"/>
                  </a:cubicBezTo>
                  <a:cubicBezTo>
                    <a:pt x="381818" y="471566"/>
                    <a:pt x="387257" y="482444"/>
                    <a:pt x="395416" y="496043"/>
                  </a:cubicBezTo>
                  <a:cubicBezTo>
                    <a:pt x="398136" y="501482"/>
                    <a:pt x="403575" y="506921"/>
                    <a:pt x="406294" y="512361"/>
                  </a:cubicBezTo>
                  <a:cubicBezTo>
                    <a:pt x="409014" y="517800"/>
                    <a:pt x="409014" y="525959"/>
                    <a:pt x="411734" y="531398"/>
                  </a:cubicBezTo>
                  <a:cubicBezTo>
                    <a:pt x="414453" y="539557"/>
                    <a:pt x="417173" y="550436"/>
                    <a:pt x="419893" y="558595"/>
                  </a:cubicBezTo>
                  <a:cubicBezTo>
                    <a:pt x="422613" y="561314"/>
                    <a:pt x="422613" y="564034"/>
                    <a:pt x="425332" y="564034"/>
                  </a:cubicBezTo>
                  <a:cubicBezTo>
                    <a:pt x="428052" y="564034"/>
                    <a:pt x="428052" y="561314"/>
                    <a:pt x="430771" y="558595"/>
                  </a:cubicBezTo>
                  <a:cubicBezTo>
                    <a:pt x="430771" y="555875"/>
                    <a:pt x="430771" y="553155"/>
                    <a:pt x="430771" y="550436"/>
                  </a:cubicBezTo>
                  <a:cubicBezTo>
                    <a:pt x="430771" y="534118"/>
                    <a:pt x="430771" y="517800"/>
                    <a:pt x="430771" y="501482"/>
                  </a:cubicBezTo>
                  <a:cubicBezTo>
                    <a:pt x="430771" y="468846"/>
                    <a:pt x="433491" y="436210"/>
                    <a:pt x="430771" y="403574"/>
                  </a:cubicBezTo>
                  <a:cubicBezTo>
                    <a:pt x="430771" y="373658"/>
                    <a:pt x="425332" y="343742"/>
                    <a:pt x="425332" y="313826"/>
                  </a:cubicBezTo>
                  <a:cubicBezTo>
                    <a:pt x="425332" y="292068"/>
                    <a:pt x="425332" y="270311"/>
                    <a:pt x="425332" y="248554"/>
                  </a:cubicBezTo>
                  <a:cubicBezTo>
                    <a:pt x="425332" y="234956"/>
                    <a:pt x="425332" y="224077"/>
                    <a:pt x="425332" y="210479"/>
                  </a:cubicBezTo>
                  <a:cubicBezTo>
                    <a:pt x="425332" y="191441"/>
                    <a:pt x="422613" y="172404"/>
                    <a:pt x="422613" y="153366"/>
                  </a:cubicBezTo>
                  <a:cubicBezTo>
                    <a:pt x="422613" y="142487"/>
                    <a:pt x="422613" y="134328"/>
                    <a:pt x="425332" y="123450"/>
                  </a:cubicBezTo>
                  <a:cubicBezTo>
                    <a:pt x="417173" y="123450"/>
                    <a:pt x="406294" y="123450"/>
                    <a:pt x="398136" y="123450"/>
                  </a:cubicBezTo>
                  <a:cubicBezTo>
                    <a:pt x="392696" y="123450"/>
                    <a:pt x="387257" y="123450"/>
                    <a:pt x="379098" y="123450"/>
                  </a:cubicBezTo>
                  <a:cubicBezTo>
                    <a:pt x="373659" y="123450"/>
                    <a:pt x="365500" y="120730"/>
                    <a:pt x="360060" y="118011"/>
                  </a:cubicBezTo>
                  <a:cubicBezTo>
                    <a:pt x="354621" y="115291"/>
                    <a:pt x="349182" y="107132"/>
                    <a:pt x="349182" y="101693"/>
                  </a:cubicBezTo>
                  <a:cubicBezTo>
                    <a:pt x="349182" y="98973"/>
                    <a:pt x="349182" y="96253"/>
                    <a:pt x="351901" y="93534"/>
                  </a:cubicBezTo>
                  <a:cubicBezTo>
                    <a:pt x="354621" y="90814"/>
                    <a:pt x="362780" y="88094"/>
                    <a:pt x="368219" y="85375"/>
                  </a:cubicBezTo>
                  <a:cubicBezTo>
                    <a:pt x="381818" y="82655"/>
                    <a:pt x="417173" y="79935"/>
                    <a:pt x="422613" y="79935"/>
                  </a:cubicBezTo>
                  <a:cubicBezTo>
                    <a:pt x="428052" y="79935"/>
                    <a:pt x="433491" y="79935"/>
                    <a:pt x="444370" y="79935"/>
                  </a:cubicBezTo>
                  <a:cubicBezTo>
                    <a:pt x="449809" y="74496"/>
                    <a:pt x="455248" y="71776"/>
                    <a:pt x="463407" y="71776"/>
                  </a:cubicBezTo>
                  <a:cubicBezTo>
                    <a:pt x="471566" y="71776"/>
                    <a:pt x="477006" y="74496"/>
                    <a:pt x="477006" y="79935"/>
                  </a:cubicBezTo>
                  <a:cubicBezTo>
                    <a:pt x="493324" y="79935"/>
                    <a:pt x="506922" y="79935"/>
                    <a:pt x="515081" y="79935"/>
                  </a:cubicBezTo>
                  <a:lnTo>
                    <a:pt x="515081" y="79935"/>
                  </a:ln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/>
            </a:p>
          </p:txBody>
        </p:sp>
        <p:sp>
          <p:nvSpPr>
            <p:cNvPr id="41" name="Freeform: Shape 40">
              <a:extLst>
                <a:ext uri="{FF2B5EF4-FFF2-40B4-BE49-F238E27FC236}">
                  <a16:creationId xmlns:a16="http://schemas.microsoft.com/office/drawing/2014/main" id="{8176AE20-94DB-48D9-93A0-3EB3C1F5FB2E}"/>
                </a:ext>
              </a:extLst>
            </p:cNvPr>
            <p:cNvSpPr/>
            <p:nvPr/>
          </p:nvSpPr>
          <p:spPr>
            <a:xfrm>
              <a:off x="5139126" y="4192158"/>
              <a:ext cx="516735" cy="788700"/>
            </a:xfrm>
            <a:custGeom>
              <a:avLst/>
              <a:gdLst>
                <a:gd name="connsiteX0" fmla="*/ 464616 w 516735"/>
                <a:gd name="connsiteY0" fmla="*/ 436210 h 788699"/>
                <a:gd name="connsiteX1" fmla="*/ 445578 w 516735"/>
                <a:gd name="connsiteY1" fmla="*/ 455248 h 788699"/>
                <a:gd name="connsiteX2" fmla="*/ 404784 w 516735"/>
                <a:gd name="connsiteY2" fmla="*/ 466126 h 788699"/>
                <a:gd name="connsiteX3" fmla="*/ 385746 w 516735"/>
                <a:gd name="connsiteY3" fmla="*/ 479725 h 788699"/>
                <a:gd name="connsiteX4" fmla="*/ 388466 w 516735"/>
                <a:gd name="connsiteY4" fmla="*/ 512361 h 788699"/>
                <a:gd name="connsiteX5" fmla="*/ 388466 w 516735"/>
                <a:gd name="connsiteY5" fmla="*/ 544997 h 788699"/>
                <a:gd name="connsiteX6" fmla="*/ 388466 w 516735"/>
                <a:gd name="connsiteY6" fmla="*/ 566754 h 788699"/>
                <a:gd name="connsiteX7" fmla="*/ 391185 w 516735"/>
                <a:gd name="connsiteY7" fmla="*/ 632026 h 788699"/>
                <a:gd name="connsiteX8" fmla="*/ 393905 w 516735"/>
                <a:gd name="connsiteY8" fmla="*/ 683699 h 788699"/>
                <a:gd name="connsiteX9" fmla="*/ 377587 w 516735"/>
                <a:gd name="connsiteY9" fmla="*/ 724494 h 788699"/>
                <a:gd name="connsiteX10" fmla="*/ 361269 w 516735"/>
                <a:gd name="connsiteY10" fmla="*/ 719054 h 788699"/>
                <a:gd name="connsiteX11" fmla="*/ 353110 w 516735"/>
                <a:gd name="connsiteY11" fmla="*/ 702737 h 788699"/>
                <a:gd name="connsiteX12" fmla="*/ 350390 w 516735"/>
                <a:gd name="connsiteY12" fmla="*/ 686419 h 788699"/>
                <a:gd name="connsiteX13" fmla="*/ 353110 w 516735"/>
                <a:gd name="connsiteY13" fmla="*/ 659222 h 788699"/>
                <a:gd name="connsiteX14" fmla="*/ 353110 w 516735"/>
                <a:gd name="connsiteY14" fmla="*/ 656502 h 788699"/>
                <a:gd name="connsiteX15" fmla="*/ 317755 w 516735"/>
                <a:gd name="connsiteY15" fmla="*/ 708176 h 788699"/>
                <a:gd name="connsiteX16" fmla="*/ 241604 w 516735"/>
                <a:gd name="connsiteY16" fmla="*/ 735372 h 788699"/>
                <a:gd name="connsiteX17" fmla="*/ 187211 w 516735"/>
                <a:gd name="connsiteY17" fmla="*/ 727214 h 788699"/>
                <a:gd name="connsiteX18" fmla="*/ 135538 w 516735"/>
                <a:gd name="connsiteY18" fmla="*/ 694578 h 788699"/>
                <a:gd name="connsiteX19" fmla="*/ 86584 w 516735"/>
                <a:gd name="connsiteY19" fmla="*/ 621147 h 788699"/>
                <a:gd name="connsiteX20" fmla="*/ 67546 w 516735"/>
                <a:gd name="connsiteY20" fmla="*/ 555875 h 788699"/>
                <a:gd name="connsiteX21" fmla="*/ 59387 w 516735"/>
                <a:gd name="connsiteY21" fmla="*/ 509641 h 788699"/>
                <a:gd name="connsiteX22" fmla="*/ 59387 w 516735"/>
                <a:gd name="connsiteY22" fmla="*/ 468846 h 788699"/>
                <a:gd name="connsiteX23" fmla="*/ 86584 w 516735"/>
                <a:gd name="connsiteY23" fmla="*/ 302947 h 788699"/>
                <a:gd name="connsiteX24" fmla="*/ 108341 w 516735"/>
                <a:gd name="connsiteY24" fmla="*/ 224077 h 788699"/>
                <a:gd name="connsiteX25" fmla="*/ 146416 w 516735"/>
                <a:gd name="connsiteY25" fmla="*/ 145207 h 788699"/>
                <a:gd name="connsiteX26" fmla="*/ 198090 w 516735"/>
                <a:gd name="connsiteY26" fmla="*/ 85375 h 788699"/>
                <a:gd name="connsiteX27" fmla="*/ 228006 w 516735"/>
                <a:gd name="connsiteY27" fmla="*/ 69057 h 788699"/>
                <a:gd name="connsiteX28" fmla="*/ 268801 w 516735"/>
                <a:gd name="connsiteY28" fmla="*/ 58178 h 788699"/>
                <a:gd name="connsiteX29" fmla="*/ 274240 w 516735"/>
                <a:gd name="connsiteY29" fmla="*/ 58178 h 788699"/>
                <a:gd name="connsiteX30" fmla="*/ 295997 w 516735"/>
                <a:gd name="connsiteY30" fmla="*/ 60898 h 788699"/>
                <a:gd name="connsiteX31" fmla="*/ 331353 w 516735"/>
                <a:gd name="connsiteY31" fmla="*/ 71776 h 788699"/>
                <a:gd name="connsiteX32" fmla="*/ 350390 w 516735"/>
                <a:gd name="connsiteY32" fmla="*/ 93534 h 788699"/>
                <a:gd name="connsiteX33" fmla="*/ 353110 w 516735"/>
                <a:gd name="connsiteY33" fmla="*/ 74496 h 788699"/>
                <a:gd name="connsiteX34" fmla="*/ 358549 w 516735"/>
                <a:gd name="connsiteY34" fmla="*/ 63618 h 788699"/>
                <a:gd name="connsiteX35" fmla="*/ 366708 w 516735"/>
                <a:gd name="connsiteY35" fmla="*/ 58178 h 788699"/>
                <a:gd name="connsiteX36" fmla="*/ 374867 w 516735"/>
                <a:gd name="connsiteY36" fmla="*/ 63618 h 788699"/>
                <a:gd name="connsiteX37" fmla="*/ 383026 w 516735"/>
                <a:gd name="connsiteY37" fmla="*/ 82655 h 788699"/>
                <a:gd name="connsiteX38" fmla="*/ 385746 w 516735"/>
                <a:gd name="connsiteY38" fmla="*/ 126170 h 788699"/>
                <a:gd name="connsiteX39" fmla="*/ 388466 w 516735"/>
                <a:gd name="connsiteY39" fmla="*/ 186002 h 788699"/>
                <a:gd name="connsiteX40" fmla="*/ 391185 w 516735"/>
                <a:gd name="connsiteY40" fmla="*/ 237676 h 788699"/>
                <a:gd name="connsiteX41" fmla="*/ 374867 w 516735"/>
                <a:gd name="connsiteY41" fmla="*/ 278470 h 788699"/>
                <a:gd name="connsiteX42" fmla="*/ 358549 w 516735"/>
                <a:gd name="connsiteY42" fmla="*/ 273031 h 788699"/>
                <a:gd name="connsiteX43" fmla="*/ 350390 w 516735"/>
                <a:gd name="connsiteY43" fmla="*/ 256713 h 788699"/>
                <a:gd name="connsiteX44" fmla="*/ 347671 w 516735"/>
                <a:gd name="connsiteY44" fmla="*/ 240395 h 788699"/>
                <a:gd name="connsiteX45" fmla="*/ 347671 w 516735"/>
                <a:gd name="connsiteY45" fmla="*/ 213199 h 788699"/>
                <a:gd name="connsiteX46" fmla="*/ 344951 w 516735"/>
                <a:gd name="connsiteY46" fmla="*/ 194161 h 788699"/>
                <a:gd name="connsiteX47" fmla="*/ 339512 w 516735"/>
                <a:gd name="connsiteY47" fmla="*/ 150647 h 788699"/>
                <a:gd name="connsiteX48" fmla="*/ 323194 w 516735"/>
                <a:gd name="connsiteY48" fmla="*/ 112571 h 788699"/>
                <a:gd name="connsiteX49" fmla="*/ 293278 w 516735"/>
                <a:gd name="connsiteY49" fmla="*/ 101693 h 788699"/>
                <a:gd name="connsiteX50" fmla="*/ 263361 w 516735"/>
                <a:gd name="connsiteY50" fmla="*/ 120730 h 788699"/>
                <a:gd name="connsiteX51" fmla="*/ 241604 w 516735"/>
                <a:gd name="connsiteY51" fmla="*/ 153366 h 788699"/>
                <a:gd name="connsiteX52" fmla="*/ 233445 w 516735"/>
                <a:gd name="connsiteY52" fmla="*/ 194161 h 788699"/>
                <a:gd name="connsiteX53" fmla="*/ 225286 w 516735"/>
                <a:gd name="connsiteY53" fmla="*/ 232236 h 788699"/>
                <a:gd name="connsiteX54" fmla="*/ 217127 w 516735"/>
                <a:gd name="connsiteY54" fmla="*/ 275751 h 788699"/>
                <a:gd name="connsiteX55" fmla="*/ 211688 w 516735"/>
                <a:gd name="connsiteY55" fmla="*/ 316545 h 788699"/>
                <a:gd name="connsiteX56" fmla="*/ 206249 w 516735"/>
                <a:gd name="connsiteY56" fmla="*/ 354621 h 788699"/>
                <a:gd name="connsiteX57" fmla="*/ 200809 w 516735"/>
                <a:gd name="connsiteY57" fmla="*/ 398135 h 788699"/>
                <a:gd name="connsiteX58" fmla="*/ 195370 w 516735"/>
                <a:gd name="connsiteY58" fmla="*/ 438930 h 788699"/>
                <a:gd name="connsiteX59" fmla="*/ 192650 w 516735"/>
                <a:gd name="connsiteY59" fmla="*/ 474286 h 788699"/>
                <a:gd name="connsiteX60" fmla="*/ 195370 w 516735"/>
                <a:gd name="connsiteY60" fmla="*/ 525959 h 788699"/>
                <a:gd name="connsiteX61" fmla="*/ 208968 w 516735"/>
                <a:gd name="connsiteY61" fmla="*/ 596670 h 788699"/>
                <a:gd name="connsiteX62" fmla="*/ 214407 w 516735"/>
                <a:gd name="connsiteY62" fmla="*/ 623867 h 788699"/>
                <a:gd name="connsiteX63" fmla="*/ 228006 w 516735"/>
                <a:gd name="connsiteY63" fmla="*/ 656502 h 788699"/>
                <a:gd name="connsiteX64" fmla="*/ 271520 w 516735"/>
                <a:gd name="connsiteY64" fmla="*/ 689138 h 788699"/>
                <a:gd name="connsiteX65" fmla="*/ 306876 w 516735"/>
                <a:gd name="connsiteY65" fmla="*/ 664661 h 788699"/>
                <a:gd name="connsiteX66" fmla="*/ 331353 w 516735"/>
                <a:gd name="connsiteY66" fmla="*/ 602109 h 788699"/>
                <a:gd name="connsiteX67" fmla="*/ 336792 w 516735"/>
                <a:gd name="connsiteY67" fmla="*/ 544997 h 788699"/>
                <a:gd name="connsiteX68" fmla="*/ 336792 w 516735"/>
                <a:gd name="connsiteY68" fmla="*/ 498762 h 788699"/>
                <a:gd name="connsiteX69" fmla="*/ 336792 w 516735"/>
                <a:gd name="connsiteY69" fmla="*/ 490603 h 788699"/>
                <a:gd name="connsiteX70" fmla="*/ 320474 w 516735"/>
                <a:gd name="connsiteY70" fmla="*/ 477005 h 788699"/>
                <a:gd name="connsiteX71" fmla="*/ 282399 w 516735"/>
                <a:gd name="connsiteY71" fmla="*/ 479725 h 788699"/>
                <a:gd name="connsiteX72" fmla="*/ 252483 w 516735"/>
                <a:gd name="connsiteY72" fmla="*/ 474286 h 788699"/>
                <a:gd name="connsiteX73" fmla="*/ 247043 w 516735"/>
                <a:gd name="connsiteY73" fmla="*/ 466126 h 788699"/>
                <a:gd name="connsiteX74" fmla="*/ 249763 w 516735"/>
                <a:gd name="connsiteY74" fmla="*/ 457968 h 788699"/>
                <a:gd name="connsiteX75" fmla="*/ 268801 w 516735"/>
                <a:gd name="connsiteY75" fmla="*/ 447089 h 788699"/>
                <a:gd name="connsiteX76" fmla="*/ 312315 w 516735"/>
                <a:gd name="connsiteY76" fmla="*/ 436210 h 788699"/>
                <a:gd name="connsiteX77" fmla="*/ 353110 w 516735"/>
                <a:gd name="connsiteY77" fmla="*/ 430771 h 788699"/>
                <a:gd name="connsiteX78" fmla="*/ 385746 w 516735"/>
                <a:gd name="connsiteY78" fmla="*/ 430771 h 788699"/>
                <a:gd name="connsiteX79" fmla="*/ 437420 w 516735"/>
                <a:gd name="connsiteY79" fmla="*/ 428051 h 788699"/>
                <a:gd name="connsiteX80" fmla="*/ 464616 w 516735"/>
                <a:gd name="connsiteY80" fmla="*/ 436210 h 7886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</a:cxnLst>
              <a:rect l="l" t="t" r="r" b="b"/>
              <a:pathLst>
                <a:path w="516735" h="788699">
                  <a:moveTo>
                    <a:pt x="464616" y="436210"/>
                  </a:moveTo>
                  <a:cubicBezTo>
                    <a:pt x="464616" y="447089"/>
                    <a:pt x="453737" y="452528"/>
                    <a:pt x="445578" y="455248"/>
                  </a:cubicBezTo>
                  <a:cubicBezTo>
                    <a:pt x="434700" y="460687"/>
                    <a:pt x="415662" y="463407"/>
                    <a:pt x="404784" y="466126"/>
                  </a:cubicBezTo>
                  <a:cubicBezTo>
                    <a:pt x="393905" y="466126"/>
                    <a:pt x="385746" y="468846"/>
                    <a:pt x="385746" y="479725"/>
                  </a:cubicBezTo>
                  <a:cubicBezTo>
                    <a:pt x="385746" y="487884"/>
                    <a:pt x="388466" y="506921"/>
                    <a:pt x="388466" y="512361"/>
                  </a:cubicBezTo>
                  <a:cubicBezTo>
                    <a:pt x="388466" y="515080"/>
                    <a:pt x="388466" y="539557"/>
                    <a:pt x="388466" y="544997"/>
                  </a:cubicBezTo>
                  <a:cubicBezTo>
                    <a:pt x="388466" y="550436"/>
                    <a:pt x="388466" y="558595"/>
                    <a:pt x="388466" y="566754"/>
                  </a:cubicBezTo>
                  <a:cubicBezTo>
                    <a:pt x="388466" y="591231"/>
                    <a:pt x="388466" y="621147"/>
                    <a:pt x="391185" y="632026"/>
                  </a:cubicBezTo>
                  <a:cubicBezTo>
                    <a:pt x="393905" y="653783"/>
                    <a:pt x="393905" y="661942"/>
                    <a:pt x="393905" y="683699"/>
                  </a:cubicBezTo>
                  <a:cubicBezTo>
                    <a:pt x="393905" y="694578"/>
                    <a:pt x="393905" y="724494"/>
                    <a:pt x="377587" y="724494"/>
                  </a:cubicBezTo>
                  <a:cubicBezTo>
                    <a:pt x="369428" y="724494"/>
                    <a:pt x="366708" y="721774"/>
                    <a:pt x="361269" y="719054"/>
                  </a:cubicBezTo>
                  <a:cubicBezTo>
                    <a:pt x="355830" y="716335"/>
                    <a:pt x="353110" y="708176"/>
                    <a:pt x="353110" y="702737"/>
                  </a:cubicBezTo>
                  <a:cubicBezTo>
                    <a:pt x="350390" y="694578"/>
                    <a:pt x="350390" y="689138"/>
                    <a:pt x="350390" y="686419"/>
                  </a:cubicBezTo>
                  <a:cubicBezTo>
                    <a:pt x="350390" y="678260"/>
                    <a:pt x="353110" y="672820"/>
                    <a:pt x="353110" y="659222"/>
                  </a:cubicBezTo>
                  <a:lnTo>
                    <a:pt x="353110" y="656502"/>
                  </a:lnTo>
                  <a:cubicBezTo>
                    <a:pt x="347671" y="675540"/>
                    <a:pt x="334072" y="694578"/>
                    <a:pt x="317755" y="708176"/>
                  </a:cubicBezTo>
                  <a:cubicBezTo>
                    <a:pt x="293278" y="727214"/>
                    <a:pt x="274240" y="735372"/>
                    <a:pt x="241604" y="735372"/>
                  </a:cubicBezTo>
                  <a:cubicBezTo>
                    <a:pt x="222566" y="735372"/>
                    <a:pt x="203529" y="732653"/>
                    <a:pt x="187211" y="727214"/>
                  </a:cubicBezTo>
                  <a:cubicBezTo>
                    <a:pt x="165454" y="719054"/>
                    <a:pt x="149136" y="708176"/>
                    <a:pt x="135538" y="694578"/>
                  </a:cubicBezTo>
                  <a:cubicBezTo>
                    <a:pt x="113780" y="672820"/>
                    <a:pt x="100182" y="648343"/>
                    <a:pt x="86584" y="621147"/>
                  </a:cubicBezTo>
                  <a:cubicBezTo>
                    <a:pt x="75705" y="599390"/>
                    <a:pt x="70266" y="580352"/>
                    <a:pt x="67546" y="555875"/>
                  </a:cubicBezTo>
                  <a:cubicBezTo>
                    <a:pt x="64826" y="539557"/>
                    <a:pt x="62107" y="525959"/>
                    <a:pt x="59387" y="509641"/>
                  </a:cubicBezTo>
                  <a:cubicBezTo>
                    <a:pt x="56667" y="493323"/>
                    <a:pt x="59387" y="485164"/>
                    <a:pt x="59387" y="468846"/>
                  </a:cubicBezTo>
                  <a:cubicBezTo>
                    <a:pt x="59387" y="414453"/>
                    <a:pt x="72985" y="362780"/>
                    <a:pt x="86584" y="302947"/>
                  </a:cubicBezTo>
                  <a:cubicBezTo>
                    <a:pt x="92023" y="275751"/>
                    <a:pt x="100182" y="248554"/>
                    <a:pt x="108341" y="224077"/>
                  </a:cubicBezTo>
                  <a:cubicBezTo>
                    <a:pt x="116500" y="196881"/>
                    <a:pt x="130098" y="169684"/>
                    <a:pt x="146416" y="145207"/>
                  </a:cubicBezTo>
                  <a:cubicBezTo>
                    <a:pt x="160014" y="123450"/>
                    <a:pt x="176332" y="101693"/>
                    <a:pt x="198090" y="85375"/>
                  </a:cubicBezTo>
                  <a:cubicBezTo>
                    <a:pt x="206249" y="77216"/>
                    <a:pt x="217127" y="71776"/>
                    <a:pt x="228006" y="69057"/>
                  </a:cubicBezTo>
                  <a:cubicBezTo>
                    <a:pt x="241604" y="63618"/>
                    <a:pt x="255202" y="58178"/>
                    <a:pt x="268801" y="58178"/>
                  </a:cubicBezTo>
                  <a:cubicBezTo>
                    <a:pt x="271520" y="58178"/>
                    <a:pt x="274240" y="58178"/>
                    <a:pt x="274240" y="58178"/>
                  </a:cubicBezTo>
                  <a:cubicBezTo>
                    <a:pt x="279679" y="58178"/>
                    <a:pt x="285119" y="58178"/>
                    <a:pt x="295997" y="60898"/>
                  </a:cubicBezTo>
                  <a:cubicBezTo>
                    <a:pt x="309595" y="63618"/>
                    <a:pt x="320474" y="66337"/>
                    <a:pt x="331353" y="71776"/>
                  </a:cubicBezTo>
                  <a:cubicBezTo>
                    <a:pt x="339512" y="77216"/>
                    <a:pt x="347671" y="85375"/>
                    <a:pt x="350390" y="93534"/>
                  </a:cubicBezTo>
                  <a:cubicBezTo>
                    <a:pt x="350390" y="88095"/>
                    <a:pt x="353110" y="79936"/>
                    <a:pt x="353110" y="74496"/>
                  </a:cubicBezTo>
                  <a:cubicBezTo>
                    <a:pt x="355830" y="71776"/>
                    <a:pt x="355830" y="69057"/>
                    <a:pt x="358549" y="63618"/>
                  </a:cubicBezTo>
                  <a:cubicBezTo>
                    <a:pt x="361269" y="60898"/>
                    <a:pt x="363989" y="58178"/>
                    <a:pt x="366708" y="58178"/>
                  </a:cubicBezTo>
                  <a:cubicBezTo>
                    <a:pt x="369428" y="58178"/>
                    <a:pt x="372148" y="60898"/>
                    <a:pt x="374867" y="63618"/>
                  </a:cubicBezTo>
                  <a:cubicBezTo>
                    <a:pt x="377587" y="69057"/>
                    <a:pt x="380307" y="77216"/>
                    <a:pt x="383026" y="82655"/>
                  </a:cubicBezTo>
                  <a:cubicBezTo>
                    <a:pt x="383026" y="90814"/>
                    <a:pt x="385746" y="107132"/>
                    <a:pt x="385746" y="126170"/>
                  </a:cubicBezTo>
                  <a:cubicBezTo>
                    <a:pt x="385746" y="150647"/>
                    <a:pt x="385746" y="177843"/>
                    <a:pt x="388466" y="186002"/>
                  </a:cubicBezTo>
                  <a:cubicBezTo>
                    <a:pt x="391185" y="207759"/>
                    <a:pt x="391185" y="215918"/>
                    <a:pt x="391185" y="237676"/>
                  </a:cubicBezTo>
                  <a:cubicBezTo>
                    <a:pt x="391185" y="248554"/>
                    <a:pt x="391185" y="278470"/>
                    <a:pt x="374867" y="278470"/>
                  </a:cubicBezTo>
                  <a:cubicBezTo>
                    <a:pt x="366708" y="278470"/>
                    <a:pt x="363989" y="275751"/>
                    <a:pt x="358549" y="273031"/>
                  </a:cubicBezTo>
                  <a:cubicBezTo>
                    <a:pt x="353110" y="270311"/>
                    <a:pt x="350390" y="262152"/>
                    <a:pt x="350390" y="256713"/>
                  </a:cubicBezTo>
                  <a:cubicBezTo>
                    <a:pt x="350390" y="251274"/>
                    <a:pt x="347671" y="245834"/>
                    <a:pt x="347671" y="240395"/>
                  </a:cubicBezTo>
                  <a:cubicBezTo>
                    <a:pt x="347671" y="232236"/>
                    <a:pt x="347671" y="224077"/>
                    <a:pt x="347671" y="213199"/>
                  </a:cubicBezTo>
                  <a:cubicBezTo>
                    <a:pt x="347671" y="207759"/>
                    <a:pt x="347671" y="199600"/>
                    <a:pt x="344951" y="194161"/>
                  </a:cubicBezTo>
                  <a:cubicBezTo>
                    <a:pt x="342232" y="180563"/>
                    <a:pt x="342232" y="164245"/>
                    <a:pt x="339512" y="150647"/>
                  </a:cubicBezTo>
                  <a:cubicBezTo>
                    <a:pt x="336792" y="137048"/>
                    <a:pt x="331353" y="123450"/>
                    <a:pt x="323194" y="112571"/>
                  </a:cubicBezTo>
                  <a:cubicBezTo>
                    <a:pt x="317755" y="104412"/>
                    <a:pt x="304156" y="101693"/>
                    <a:pt x="293278" y="101693"/>
                  </a:cubicBezTo>
                  <a:cubicBezTo>
                    <a:pt x="279679" y="101693"/>
                    <a:pt x="271520" y="109852"/>
                    <a:pt x="263361" y="120730"/>
                  </a:cubicBezTo>
                  <a:cubicBezTo>
                    <a:pt x="257922" y="131609"/>
                    <a:pt x="247043" y="139768"/>
                    <a:pt x="241604" y="153366"/>
                  </a:cubicBezTo>
                  <a:cubicBezTo>
                    <a:pt x="236165" y="166964"/>
                    <a:pt x="233445" y="180563"/>
                    <a:pt x="233445" y="194161"/>
                  </a:cubicBezTo>
                  <a:cubicBezTo>
                    <a:pt x="233445" y="207759"/>
                    <a:pt x="230726" y="218638"/>
                    <a:pt x="225286" y="232236"/>
                  </a:cubicBezTo>
                  <a:cubicBezTo>
                    <a:pt x="219847" y="245834"/>
                    <a:pt x="219847" y="262152"/>
                    <a:pt x="217127" y="275751"/>
                  </a:cubicBezTo>
                  <a:cubicBezTo>
                    <a:pt x="214407" y="289349"/>
                    <a:pt x="214407" y="302947"/>
                    <a:pt x="211688" y="316545"/>
                  </a:cubicBezTo>
                  <a:cubicBezTo>
                    <a:pt x="211688" y="330144"/>
                    <a:pt x="206249" y="341022"/>
                    <a:pt x="206249" y="354621"/>
                  </a:cubicBezTo>
                  <a:cubicBezTo>
                    <a:pt x="203529" y="368219"/>
                    <a:pt x="203529" y="381817"/>
                    <a:pt x="200809" y="398135"/>
                  </a:cubicBezTo>
                  <a:cubicBezTo>
                    <a:pt x="198090" y="411733"/>
                    <a:pt x="198090" y="425332"/>
                    <a:pt x="195370" y="438930"/>
                  </a:cubicBezTo>
                  <a:cubicBezTo>
                    <a:pt x="195370" y="449809"/>
                    <a:pt x="192650" y="463407"/>
                    <a:pt x="192650" y="474286"/>
                  </a:cubicBezTo>
                  <a:cubicBezTo>
                    <a:pt x="192650" y="490603"/>
                    <a:pt x="195370" y="509641"/>
                    <a:pt x="195370" y="525959"/>
                  </a:cubicBezTo>
                  <a:cubicBezTo>
                    <a:pt x="195370" y="550436"/>
                    <a:pt x="203529" y="572193"/>
                    <a:pt x="208968" y="596670"/>
                  </a:cubicBezTo>
                  <a:cubicBezTo>
                    <a:pt x="211688" y="604829"/>
                    <a:pt x="211688" y="615708"/>
                    <a:pt x="214407" y="623867"/>
                  </a:cubicBezTo>
                  <a:cubicBezTo>
                    <a:pt x="217127" y="634745"/>
                    <a:pt x="222566" y="645624"/>
                    <a:pt x="228006" y="656502"/>
                  </a:cubicBezTo>
                  <a:cubicBezTo>
                    <a:pt x="236165" y="670101"/>
                    <a:pt x="252483" y="689138"/>
                    <a:pt x="271520" y="689138"/>
                  </a:cubicBezTo>
                  <a:cubicBezTo>
                    <a:pt x="287838" y="689138"/>
                    <a:pt x="298717" y="675540"/>
                    <a:pt x="306876" y="664661"/>
                  </a:cubicBezTo>
                  <a:cubicBezTo>
                    <a:pt x="320474" y="645624"/>
                    <a:pt x="325914" y="623867"/>
                    <a:pt x="331353" y="602109"/>
                  </a:cubicBezTo>
                  <a:cubicBezTo>
                    <a:pt x="334072" y="583072"/>
                    <a:pt x="336792" y="564034"/>
                    <a:pt x="336792" y="544997"/>
                  </a:cubicBezTo>
                  <a:cubicBezTo>
                    <a:pt x="336792" y="531398"/>
                    <a:pt x="336792" y="512361"/>
                    <a:pt x="336792" y="498762"/>
                  </a:cubicBezTo>
                  <a:cubicBezTo>
                    <a:pt x="336792" y="496043"/>
                    <a:pt x="336792" y="493323"/>
                    <a:pt x="336792" y="490603"/>
                  </a:cubicBezTo>
                  <a:cubicBezTo>
                    <a:pt x="336792" y="479725"/>
                    <a:pt x="336792" y="477005"/>
                    <a:pt x="320474" y="477005"/>
                  </a:cubicBezTo>
                  <a:cubicBezTo>
                    <a:pt x="309595" y="477005"/>
                    <a:pt x="295997" y="479725"/>
                    <a:pt x="282399" y="479725"/>
                  </a:cubicBezTo>
                  <a:cubicBezTo>
                    <a:pt x="271520" y="479725"/>
                    <a:pt x="260642" y="479725"/>
                    <a:pt x="252483" y="474286"/>
                  </a:cubicBezTo>
                  <a:cubicBezTo>
                    <a:pt x="249763" y="471566"/>
                    <a:pt x="247043" y="468846"/>
                    <a:pt x="247043" y="466126"/>
                  </a:cubicBezTo>
                  <a:cubicBezTo>
                    <a:pt x="247043" y="463407"/>
                    <a:pt x="247043" y="460687"/>
                    <a:pt x="249763" y="457968"/>
                  </a:cubicBezTo>
                  <a:cubicBezTo>
                    <a:pt x="255202" y="452528"/>
                    <a:pt x="260642" y="449809"/>
                    <a:pt x="268801" y="447089"/>
                  </a:cubicBezTo>
                  <a:cubicBezTo>
                    <a:pt x="282399" y="441650"/>
                    <a:pt x="295997" y="438930"/>
                    <a:pt x="312315" y="436210"/>
                  </a:cubicBezTo>
                  <a:cubicBezTo>
                    <a:pt x="325914" y="433491"/>
                    <a:pt x="339512" y="433491"/>
                    <a:pt x="353110" y="430771"/>
                  </a:cubicBezTo>
                  <a:cubicBezTo>
                    <a:pt x="363989" y="430771"/>
                    <a:pt x="374867" y="430771"/>
                    <a:pt x="385746" y="430771"/>
                  </a:cubicBezTo>
                  <a:cubicBezTo>
                    <a:pt x="402064" y="430771"/>
                    <a:pt x="426541" y="428051"/>
                    <a:pt x="437420" y="428051"/>
                  </a:cubicBezTo>
                  <a:cubicBezTo>
                    <a:pt x="451018" y="419892"/>
                    <a:pt x="464616" y="425332"/>
                    <a:pt x="464616" y="436210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/>
            </a:p>
          </p:txBody>
        </p:sp>
        <p:sp>
          <p:nvSpPr>
            <p:cNvPr id="42" name="Freeform: Shape 41">
              <a:extLst>
                <a:ext uri="{FF2B5EF4-FFF2-40B4-BE49-F238E27FC236}">
                  <a16:creationId xmlns:a16="http://schemas.microsoft.com/office/drawing/2014/main" id="{35CAD56A-462D-4366-9EFB-54581CD299AF}"/>
                </a:ext>
              </a:extLst>
            </p:cNvPr>
            <p:cNvSpPr/>
            <p:nvPr/>
          </p:nvSpPr>
          <p:spPr>
            <a:xfrm>
              <a:off x="5651630" y="4181279"/>
              <a:ext cx="734308" cy="788700"/>
            </a:xfrm>
            <a:custGeom>
              <a:avLst/>
              <a:gdLst>
                <a:gd name="connsiteX0" fmla="*/ 653783 w 734307"/>
                <a:gd name="connsiteY0" fmla="*/ 678259 h 788699"/>
                <a:gd name="connsiteX1" fmla="*/ 691859 w 734307"/>
                <a:gd name="connsiteY1" fmla="*/ 694577 h 788699"/>
                <a:gd name="connsiteX2" fmla="*/ 686419 w 734307"/>
                <a:gd name="connsiteY2" fmla="*/ 710895 h 788699"/>
                <a:gd name="connsiteX3" fmla="*/ 670101 w 734307"/>
                <a:gd name="connsiteY3" fmla="*/ 719054 h 788699"/>
                <a:gd name="connsiteX4" fmla="*/ 648344 w 734307"/>
                <a:gd name="connsiteY4" fmla="*/ 721774 h 788699"/>
                <a:gd name="connsiteX5" fmla="*/ 618428 w 734307"/>
                <a:gd name="connsiteY5" fmla="*/ 721774 h 788699"/>
                <a:gd name="connsiteX6" fmla="*/ 572194 w 734307"/>
                <a:gd name="connsiteY6" fmla="*/ 735372 h 788699"/>
                <a:gd name="connsiteX7" fmla="*/ 544997 w 734307"/>
                <a:gd name="connsiteY7" fmla="*/ 729933 h 788699"/>
                <a:gd name="connsiteX8" fmla="*/ 534119 w 734307"/>
                <a:gd name="connsiteY8" fmla="*/ 721774 h 788699"/>
                <a:gd name="connsiteX9" fmla="*/ 496043 w 734307"/>
                <a:gd name="connsiteY9" fmla="*/ 721774 h 788699"/>
                <a:gd name="connsiteX10" fmla="*/ 471566 w 734307"/>
                <a:gd name="connsiteY10" fmla="*/ 721774 h 788699"/>
                <a:gd name="connsiteX11" fmla="*/ 444370 w 734307"/>
                <a:gd name="connsiteY11" fmla="*/ 716335 h 788699"/>
                <a:gd name="connsiteX12" fmla="*/ 428052 w 734307"/>
                <a:gd name="connsiteY12" fmla="*/ 700017 h 788699"/>
                <a:gd name="connsiteX13" fmla="*/ 433491 w 734307"/>
                <a:gd name="connsiteY13" fmla="*/ 691858 h 788699"/>
                <a:gd name="connsiteX14" fmla="*/ 455248 w 734307"/>
                <a:gd name="connsiteY14" fmla="*/ 683699 h 788699"/>
                <a:gd name="connsiteX15" fmla="*/ 506922 w 734307"/>
                <a:gd name="connsiteY15" fmla="*/ 678259 h 788699"/>
                <a:gd name="connsiteX16" fmla="*/ 509641 w 734307"/>
                <a:gd name="connsiteY16" fmla="*/ 678259 h 788699"/>
                <a:gd name="connsiteX17" fmla="*/ 506922 w 734307"/>
                <a:gd name="connsiteY17" fmla="*/ 664661 h 788699"/>
                <a:gd name="connsiteX18" fmla="*/ 498763 w 734307"/>
                <a:gd name="connsiteY18" fmla="*/ 580352 h 788699"/>
                <a:gd name="connsiteX19" fmla="*/ 496043 w 734307"/>
                <a:gd name="connsiteY19" fmla="*/ 479725 h 788699"/>
                <a:gd name="connsiteX20" fmla="*/ 493324 w 734307"/>
                <a:gd name="connsiteY20" fmla="*/ 389976 h 788699"/>
                <a:gd name="connsiteX21" fmla="*/ 490604 w 734307"/>
                <a:gd name="connsiteY21" fmla="*/ 302947 h 788699"/>
                <a:gd name="connsiteX22" fmla="*/ 487884 w 734307"/>
                <a:gd name="connsiteY22" fmla="*/ 229516 h 788699"/>
                <a:gd name="connsiteX23" fmla="*/ 485165 w 734307"/>
                <a:gd name="connsiteY23" fmla="*/ 221357 h 788699"/>
                <a:gd name="connsiteX24" fmla="*/ 482445 w 734307"/>
                <a:gd name="connsiteY24" fmla="*/ 226797 h 788699"/>
                <a:gd name="connsiteX25" fmla="*/ 477006 w 734307"/>
                <a:gd name="connsiteY25" fmla="*/ 262152 h 788699"/>
                <a:gd name="connsiteX26" fmla="*/ 460688 w 734307"/>
                <a:gd name="connsiteY26" fmla="*/ 341022 h 788699"/>
                <a:gd name="connsiteX27" fmla="*/ 444370 w 734307"/>
                <a:gd name="connsiteY27" fmla="*/ 417173 h 788699"/>
                <a:gd name="connsiteX28" fmla="*/ 436211 w 734307"/>
                <a:gd name="connsiteY28" fmla="*/ 455248 h 788699"/>
                <a:gd name="connsiteX29" fmla="*/ 425332 w 734307"/>
                <a:gd name="connsiteY29" fmla="*/ 493323 h 788699"/>
                <a:gd name="connsiteX30" fmla="*/ 411734 w 734307"/>
                <a:gd name="connsiteY30" fmla="*/ 531398 h 788699"/>
                <a:gd name="connsiteX31" fmla="*/ 376378 w 734307"/>
                <a:gd name="connsiteY31" fmla="*/ 547716 h 788699"/>
                <a:gd name="connsiteX32" fmla="*/ 319265 w 734307"/>
                <a:gd name="connsiteY32" fmla="*/ 525959 h 788699"/>
                <a:gd name="connsiteX33" fmla="*/ 289349 w 734307"/>
                <a:gd name="connsiteY33" fmla="*/ 455248 h 788699"/>
                <a:gd name="connsiteX34" fmla="*/ 273031 w 734307"/>
                <a:gd name="connsiteY34" fmla="*/ 373658 h 788699"/>
                <a:gd name="connsiteX35" fmla="*/ 262153 w 734307"/>
                <a:gd name="connsiteY35" fmla="*/ 316545 h 788699"/>
                <a:gd name="connsiteX36" fmla="*/ 245835 w 734307"/>
                <a:gd name="connsiteY36" fmla="*/ 237675 h 788699"/>
                <a:gd name="connsiteX37" fmla="*/ 234956 w 734307"/>
                <a:gd name="connsiteY37" fmla="*/ 196881 h 788699"/>
                <a:gd name="connsiteX38" fmla="*/ 232236 w 734307"/>
                <a:gd name="connsiteY38" fmla="*/ 191441 h 788699"/>
                <a:gd name="connsiteX39" fmla="*/ 226797 w 734307"/>
                <a:gd name="connsiteY39" fmla="*/ 207759 h 788699"/>
                <a:gd name="connsiteX40" fmla="*/ 226797 w 734307"/>
                <a:gd name="connsiteY40" fmla="*/ 232236 h 788699"/>
                <a:gd name="connsiteX41" fmla="*/ 224077 w 734307"/>
                <a:gd name="connsiteY41" fmla="*/ 267592 h 788699"/>
                <a:gd name="connsiteX42" fmla="*/ 221358 w 734307"/>
                <a:gd name="connsiteY42" fmla="*/ 311106 h 788699"/>
                <a:gd name="connsiteX43" fmla="*/ 218638 w 734307"/>
                <a:gd name="connsiteY43" fmla="*/ 360060 h 788699"/>
                <a:gd name="connsiteX44" fmla="*/ 215919 w 734307"/>
                <a:gd name="connsiteY44" fmla="*/ 398135 h 788699"/>
                <a:gd name="connsiteX45" fmla="*/ 213199 w 734307"/>
                <a:gd name="connsiteY45" fmla="*/ 430771 h 788699"/>
                <a:gd name="connsiteX46" fmla="*/ 213199 w 734307"/>
                <a:gd name="connsiteY46" fmla="*/ 455248 h 788699"/>
                <a:gd name="connsiteX47" fmla="*/ 213199 w 734307"/>
                <a:gd name="connsiteY47" fmla="*/ 477005 h 788699"/>
                <a:gd name="connsiteX48" fmla="*/ 207759 w 734307"/>
                <a:gd name="connsiteY48" fmla="*/ 520520 h 788699"/>
                <a:gd name="connsiteX49" fmla="*/ 196881 w 734307"/>
                <a:gd name="connsiteY49" fmla="*/ 610268 h 788699"/>
                <a:gd name="connsiteX50" fmla="*/ 194161 w 734307"/>
                <a:gd name="connsiteY50" fmla="*/ 653783 h 788699"/>
                <a:gd name="connsiteX51" fmla="*/ 191441 w 734307"/>
                <a:gd name="connsiteY51" fmla="*/ 667381 h 788699"/>
                <a:gd name="connsiteX52" fmla="*/ 243115 w 734307"/>
                <a:gd name="connsiteY52" fmla="*/ 667381 h 788699"/>
                <a:gd name="connsiteX53" fmla="*/ 273031 w 734307"/>
                <a:gd name="connsiteY53" fmla="*/ 683699 h 788699"/>
                <a:gd name="connsiteX54" fmla="*/ 262153 w 734307"/>
                <a:gd name="connsiteY54" fmla="*/ 697297 h 788699"/>
                <a:gd name="connsiteX55" fmla="*/ 248554 w 734307"/>
                <a:gd name="connsiteY55" fmla="*/ 705456 h 788699"/>
                <a:gd name="connsiteX56" fmla="*/ 232236 w 734307"/>
                <a:gd name="connsiteY56" fmla="*/ 708176 h 788699"/>
                <a:gd name="connsiteX57" fmla="*/ 166965 w 734307"/>
                <a:gd name="connsiteY57" fmla="*/ 708176 h 788699"/>
                <a:gd name="connsiteX58" fmla="*/ 109852 w 734307"/>
                <a:gd name="connsiteY58" fmla="*/ 708176 h 788699"/>
                <a:gd name="connsiteX59" fmla="*/ 90814 w 734307"/>
                <a:gd name="connsiteY59" fmla="*/ 708176 h 788699"/>
                <a:gd name="connsiteX60" fmla="*/ 69057 w 734307"/>
                <a:gd name="connsiteY60" fmla="*/ 702736 h 788699"/>
                <a:gd name="connsiteX61" fmla="*/ 58178 w 734307"/>
                <a:gd name="connsiteY61" fmla="*/ 686418 h 788699"/>
                <a:gd name="connsiteX62" fmla="*/ 60898 w 734307"/>
                <a:gd name="connsiteY62" fmla="*/ 678259 h 788699"/>
                <a:gd name="connsiteX63" fmla="*/ 77216 w 734307"/>
                <a:gd name="connsiteY63" fmla="*/ 670101 h 788699"/>
                <a:gd name="connsiteX64" fmla="*/ 126170 w 734307"/>
                <a:gd name="connsiteY64" fmla="*/ 664661 h 788699"/>
                <a:gd name="connsiteX65" fmla="*/ 142487 w 734307"/>
                <a:gd name="connsiteY65" fmla="*/ 664661 h 788699"/>
                <a:gd name="connsiteX66" fmla="*/ 147927 w 734307"/>
                <a:gd name="connsiteY66" fmla="*/ 588511 h 788699"/>
                <a:gd name="connsiteX67" fmla="*/ 153366 w 734307"/>
                <a:gd name="connsiteY67" fmla="*/ 493323 h 788699"/>
                <a:gd name="connsiteX68" fmla="*/ 156086 w 734307"/>
                <a:gd name="connsiteY68" fmla="*/ 411733 h 788699"/>
                <a:gd name="connsiteX69" fmla="*/ 161525 w 734307"/>
                <a:gd name="connsiteY69" fmla="*/ 297508 h 788699"/>
                <a:gd name="connsiteX70" fmla="*/ 166965 w 734307"/>
                <a:gd name="connsiteY70" fmla="*/ 240395 h 788699"/>
                <a:gd name="connsiteX71" fmla="*/ 177843 w 734307"/>
                <a:gd name="connsiteY71" fmla="*/ 161525 h 788699"/>
                <a:gd name="connsiteX72" fmla="*/ 183282 w 734307"/>
                <a:gd name="connsiteY72" fmla="*/ 118011 h 788699"/>
                <a:gd name="connsiteX73" fmla="*/ 183282 w 734307"/>
                <a:gd name="connsiteY73" fmla="*/ 115291 h 788699"/>
                <a:gd name="connsiteX74" fmla="*/ 161525 w 734307"/>
                <a:gd name="connsiteY74" fmla="*/ 115291 h 788699"/>
                <a:gd name="connsiteX75" fmla="*/ 137048 w 734307"/>
                <a:gd name="connsiteY75" fmla="*/ 115291 h 788699"/>
                <a:gd name="connsiteX76" fmla="*/ 109852 w 734307"/>
                <a:gd name="connsiteY76" fmla="*/ 109851 h 788699"/>
                <a:gd name="connsiteX77" fmla="*/ 93534 w 734307"/>
                <a:gd name="connsiteY77" fmla="*/ 93534 h 788699"/>
                <a:gd name="connsiteX78" fmla="*/ 98973 w 734307"/>
                <a:gd name="connsiteY78" fmla="*/ 85375 h 788699"/>
                <a:gd name="connsiteX79" fmla="*/ 120730 w 734307"/>
                <a:gd name="connsiteY79" fmla="*/ 77216 h 788699"/>
                <a:gd name="connsiteX80" fmla="*/ 172404 w 734307"/>
                <a:gd name="connsiteY80" fmla="*/ 71776 h 788699"/>
                <a:gd name="connsiteX81" fmla="*/ 234956 w 734307"/>
                <a:gd name="connsiteY81" fmla="*/ 69057 h 788699"/>
                <a:gd name="connsiteX82" fmla="*/ 243115 w 734307"/>
                <a:gd name="connsiteY82" fmla="*/ 69057 h 788699"/>
                <a:gd name="connsiteX83" fmla="*/ 270312 w 734307"/>
                <a:gd name="connsiteY83" fmla="*/ 74496 h 788699"/>
                <a:gd name="connsiteX84" fmla="*/ 308387 w 734307"/>
                <a:gd name="connsiteY84" fmla="*/ 123450 h 788699"/>
                <a:gd name="connsiteX85" fmla="*/ 332864 w 734307"/>
                <a:gd name="connsiteY85" fmla="*/ 202320 h 788699"/>
                <a:gd name="connsiteX86" fmla="*/ 338303 w 734307"/>
                <a:gd name="connsiteY86" fmla="*/ 237675 h 788699"/>
                <a:gd name="connsiteX87" fmla="*/ 349182 w 734307"/>
                <a:gd name="connsiteY87" fmla="*/ 281190 h 788699"/>
                <a:gd name="connsiteX88" fmla="*/ 357341 w 734307"/>
                <a:gd name="connsiteY88" fmla="*/ 316545 h 788699"/>
                <a:gd name="connsiteX89" fmla="*/ 365500 w 734307"/>
                <a:gd name="connsiteY89" fmla="*/ 351901 h 788699"/>
                <a:gd name="connsiteX90" fmla="*/ 376378 w 734307"/>
                <a:gd name="connsiteY90" fmla="*/ 389976 h 788699"/>
                <a:gd name="connsiteX91" fmla="*/ 387257 w 734307"/>
                <a:gd name="connsiteY91" fmla="*/ 414453 h 788699"/>
                <a:gd name="connsiteX92" fmla="*/ 398136 w 734307"/>
                <a:gd name="connsiteY92" fmla="*/ 376378 h 788699"/>
                <a:gd name="connsiteX93" fmla="*/ 406295 w 734307"/>
                <a:gd name="connsiteY93" fmla="*/ 332863 h 788699"/>
                <a:gd name="connsiteX94" fmla="*/ 425332 w 734307"/>
                <a:gd name="connsiteY94" fmla="*/ 243115 h 788699"/>
                <a:gd name="connsiteX95" fmla="*/ 444370 w 734307"/>
                <a:gd name="connsiteY95" fmla="*/ 150646 h 788699"/>
                <a:gd name="connsiteX96" fmla="*/ 477006 w 734307"/>
                <a:gd name="connsiteY96" fmla="*/ 79935 h 788699"/>
                <a:gd name="connsiteX97" fmla="*/ 523240 w 734307"/>
                <a:gd name="connsiteY97" fmla="*/ 58178 h 788699"/>
                <a:gd name="connsiteX98" fmla="*/ 544997 w 734307"/>
                <a:gd name="connsiteY98" fmla="*/ 63617 h 788699"/>
                <a:gd name="connsiteX99" fmla="*/ 612988 w 734307"/>
                <a:gd name="connsiteY99" fmla="*/ 63617 h 788699"/>
                <a:gd name="connsiteX100" fmla="*/ 651064 w 734307"/>
                <a:gd name="connsiteY100" fmla="*/ 79935 h 788699"/>
                <a:gd name="connsiteX101" fmla="*/ 645624 w 734307"/>
                <a:gd name="connsiteY101" fmla="*/ 96253 h 788699"/>
                <a:gd name="connsiteX102" fmla="*/ 629307 w 734307"/>
                <a:gd name="connsiteY102" fmla="*/ 104412 h 788699"/>
                <a:gd name="connsiteX103" fmla="*/ 607549 w 734307"/>
                <a:gd name="connsiteY103" fmla="*/ 107132 h 788699"/>
                <a:gd name="connsiteX104" fmla="*/ 580353 w 734307"/>
                <a:gd name="connsiteY104" fmla="*/ 107132 h 788699"/>
                <a:gd name="connsiteX105" fmla="*/ 583072 w 734307"/>
                <a:gd name="connsiteY105" fmla="*/ 115291 h 788699"/>
                <a:gd name="connsiteX106" fmla="*/ 588512 w 734307"/>
                <a:gd name="connsiteY106" fmla="*/ 156086 h 788699"/>
                <a:gd name="connsiteX107" fmla="*/ 593951 w 734307"/>
                <a:gd name="connsiteY107" fmla="*/ 196881 h 788699"/>
                <a:gd name="connsiteX108" fmla="*/ 599390 w 734307"/>
                <a:gd name="connsiteY108" fmla="*/ 226797 h 788699"/>
                <a:gd name="connsiteX109" fmla="*/ 599390 w 734307"/>
                <a:gd name="connsiteY109" fmla="*/ 232236 h 788699"/>
                <a:gd name="connsiteX110" fmla="*/ 599390 w 734307"/>
                <a:gd name="connsiteY110" fmla="*/ 240395 h 788699"/>
                <a:gd name="connsiteX111" fmla="*/ 602110 w 734307"/>
                <a:gd name="connsiteY111" fmla="*/ 270311 h 788699"/>
                <a:gd name="connsiteX112" fmla="*/ 607549 w 734307"/>
                <a:gd name="connsiteY112" fmla="*/ 308386 h 788699"/>
                <a:gd name="connsiteX113" fmla="*/ 607549 w 734307"/>
                <a:gd name="connsiteY113" fmla="*/ 319265 h 788699"/>
                <a:gd name="connsiteX114" fmla="*/ 612988 w 734307"/>
                <a:gd name="connsiteY114" fmla="*/ 335583 h 788699"/>
                <a:gd name="connsiteX115" fmla="*/ 612988 w 734307"/>
                <a:gd name="connsiteY115" fmla="*/ 346462 h 788699"/>
                <a:gd name="connsiteX116" fmla="*/ 612988 w 734307"/>
                <a:gd name="connsiteY116" fmla="*/ 370939 h 788699"/>
                <a:gd name="connsiteX117" fmla="*/ 612988 w 734307"/>
                <a:gd name="connsiteY117" fmla="*/ 395415 h 788699"/>
                <a:gd name="connsiteX118" fmla="*/ 615708 w 734307"/>
                <a:gd name="connsiteY118" fmla="*/ 422612 h 788699"/>
                <a:gd name="connsiteX119" fmla="*/ 618428 w 734307"/>
                <a:gd name="connsiteY119" fmla="*/ 441650 h 788699"/>
                <a:gd name="connsiteX120" fmla="*/ 618428 w 734307"/>
                <a:gd name="connsiteY120" fmla="*/ 455248 h 788699"/>
                <a:gd name="connsiteX121" fmla="*/ 621147 w 734307"/>
                <a:gd name="connsiteY121" fmla="*/ 463407 h 788699"/>
                <a:gd name="connsiteX122" fmla="*/ 626587 w 734307"/>
                <a:gd name="connsiteY122" fmla="*/ 482444 h 788699"/>
                <a:gd name="connsiteX123" fmla="*/ 629307 w 734307"/>
                <a:gd name="connsiteY123" fmla="*/ 517800 h 788699"/>
                <a:gd name="connsiteX124" fmla="*/ 634746 w 734307"/>
                <a:gd name="connsiteY124" fmla="*/ 561314 h 788699"/>
                <a:gd name="connsiteX125" fmla="*/ 634746 w 734307"/>
                <a:gd name="connsiteY125" fmla="*/ 566754 h 788699"/>
                <a:gd name="connsiteX126" fmla="*/ 634746 w 734307"/>
                <a:gd name="connsiteY126" fmla="*/ 583072 h 788699"/>
                <a:gd name="connsiteX127" fmla="*/ 637466 w 734307"/>
                <a:gd name="connsiteY127" fmla="*/ 607548 h 788699"/>
                <a:gd name="connsiteX128" fmla="*/ 640185 w 734307"/>
                <a:gd name="connsiteY128" fmla="*/ 618427 h 788699"/>
                <a:gd name="connsiteX129" fmla="*/ 640185 w 734307"/>
                <a:gd name="connsiteY129" fmla="*/ 632025 h 788699"/>
                <a:gd name="connsiteX130" fmla="*/ 640185 w 734307"/>
                <a:gd name="connsiteY130" fmla="*/ 640184 h 788699"/>
                <a:gd name="connsiteX131" fmla="*/ 642905 w 734307"/>
                <a:gd name="connsiteY131" fmla="*/ 659222 h 788699"/>
                <a:gd name="connsiteX132" fmla="*/ 642905 w 734307"/>
                <a:gd name="connsiteY132" fmla="*/ 664661 h 788699"/>
                <a:gd name="connsiteX133" fmla="*/ 653783 w 734307"/>
                <a:gd name="connsiteY133" fmla="*/ 678259 h 788699"/>
                <a:gd name="connsiteX134" fmla="*/ 653783 w 734307"/>
                <a:gd name="connsiteY134" fmla="*/ 678259 h 7886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</a:cxnLst>
              <a:rect l="l" t="t" r="r" b="b"/>
              <a:pathLst>
                <a:path w="734307" h="788699">
                  <a:moveTo>
                    <a:pt x="653783" y="678259"/>
                  </a:moveTo>
                  <a:cubicBezTo>
                    <a:pt x="667382" y="678259"/>
                    <a:pt x="691859" y="678259"/>
                    <a:pt x="691859" y="694577"/>
                  </a:cubicBezTo>
                  <a:cubicBezTo>
                    <a:pt x="691859" y="702736"/>
                    <a:pt x="689139" y="705456"/>
                    <a:pt x="686419" y="710895"/>
                  </a:cubicBezTo>
                  <a:cubicBezTo>
                    <a:pt x="683700" y="716335"/>
                    <a:pt x="675541" y="719054"/>
                    <a:pt x="670101" y="719054"/>
                  </a:cubicBezTo>
                  <a:cubicBezTo>
                    <a:pt x="661942" y="721774"/>
                    <a:pt x="653783" y="721774"/>
                    <a:pt x="648344" y="721774"/>
                  </a:cubicBezTo>
                  <a:cubicBezTo>
                    <a:pt x="645624" y="721774"/>
                    <a:pt x="634746" y="721774"/>
                    <a:pt x="618428" y="721774"/>
                  </a:cubicBezTo>
                  <a:cubicBezTo>
                    <a:pt x="604829" y="729933"/>
                    <a:pt x="588512" y="735372"/>
                    <a:pt x="572194" y="735372"/>
                  </a:cubicBezTo>
                  <a:cubicBezTo>
                    <a:pt x="564035" y="735372"/>
                    <a:pt x="553156" y="732653"/>
                    <a:pt x="544997" y="729933"/>
                  </a:cubicBezTo>
                  <a:cubicBezTo>
                    <a:pt x="539558" y="727213"/>
                    <a:pt x="536838" y="724494"/>
                    <a:pt x="534119" y="721774"/>
                  </a:cubicBezTo>
                  <a:cubicBezTo>
                    <a:pt x="520520" y="721774"/>
                    <a:pt x="509641" y="721774"/>
                    <a:pt x="496043" y="721774"/>
                  </a:cubicBezTo>
                  <a:cubicBezTo>
                    <a:pt x="487884" y="721774"/>
                    <a:pt x="479725" y="721774"/>
                    <a:pt x="471566" y="721774"/>
                  </a:cubicBezTo>
                  <a:cubicBezTo>
                    <a:pt x="463407" y="721774"/>
                    <a:pt x="452529" y="721774"/>
                    <a:pt x="444370" y="716335"/>
                  </a:cubicBezTo>
                  <a:cubicBezTo>
                    <a:pt x="436211" y="713615"/>
                    <a:pt x="428052" y="705456"/>
                    <a:pt x="428052" y="700017"/>
                  </a:cubicBezTo>
                  <a:cubicBezTo>
                    <a:pt x="428052" y="697297"/>
                    <a:pt x="428052" y="694577"/>
                    <a:pt x="433491" y="691858"/>
                  </a:cubicBezTo>
                  <a:cubicBezTo>
                    <a:pt x="438930" y="689138"/>
                    <a:pt x="449809" y="686418"/>
                    <a:pt x="455248" y="683699"/>
                  </a:cubicBezTo>
                  <a:cubicBezTo>
                    <a:pt x="474286" y="680979"/>
                    <a:pt x="498763" y="678259"/>
                    <a:pt x="506922" y="678259"/>
                  </a:cubicBezTo>
                  <a:cubicBezTo>
                    <a:pt x="506922" y="678259"/>
                    <a:pt x="509641" y="678259"/>
                    <a:pt x="509641" y="678259"/>
                  </a:cubicBezTo>
                  <a:cubicBezTo>
                    <a:pt x="509641" y="672820"/>
                    <a:pt x="506922" y="670101"/>
                    <a:pt x="506922" y="664661"/>
                  </a:cubicBezTo>
                  <a:cubicBezTo>
                    <a:pt x="501483" y="640184"/>
                    <a:pt x="501483" y="612988"/>
                    <a:pt x="498763" y="580352"/>
                  </a:cubicBezTo>
                  <a:cubicBezTo>
                    <a:pt x="496043" y="547716"/>
                    <a:pt x="498763" y="512361"/>
                    <a:pt x="496043" y="479725"/>
                  </a:cubicBezTo>
                  <a:cubicBezTo>
                    <a:pt x="493324" y="449808"/>
                    <a:pt x="493324" y="419892"/>
                    <a:pt x="493324" y="389976"/>
                  </a:cubicBezTo>
                  <a:cubicBezTo>
                    <a:pt x="493324" y="360060"/>
                    <a:pt x="490604" y="332863"/>
                    <a:pt x="490604" y="302947"/>
                  </a:cubicBezTo>
                  <a:cubicBezTo>
                    <a:pt x="487884" y="275751"/>
                    <a:pt x="487884" y="240395"/>
                    <a:pt x="487884" y="229516"/>
                  </a:cubicBezTo>
                  <a:cubicBezTo>
                    <a:pt x="487884" y="224077"/>
                    <a:pt x="487884" y="221357"/>
                    <a:pt x="485165" y="221357"/>
                  </a:cubicBezTo>
                  <a:cubicBezTo>
                    <a:pt x="485165" y="221357"/>
                    <a:pt x="482445" y="224077"/>
                    <a:pt x="482445" y="226797"/>
                  </a:cubicBezTo>
                  <a:cubicBezTo>
                    <a:pt x="479725" y="237675"/>
                    <a:pt x="479725" y="251274"/>
                    <a:pt x="477006" y="262152"/>
                  </a:cubicBezTo>
                  <a:cubicBezTo>
                    <a:pt x="471566" y="289349"/>
                    <a:pt x="466127" y="316545"/>
                    <a:pt x="460688" y="341022"/>
                  </a:cubicBezTo>
                  <a:cubicBezTo>
                    <a:pt x="455248" y="365499"/>
                    <a:pt x="447090" y="392696"/>
                    <a:pt x="444370" y="417173"/>
                  </a:cubicBezTo>
                  <a:cubicBezTo>
                    <a:pt x="441650" y="430771"/>
                    <a:pt x="438930" y="441650"/>
                    <a:pt x="436211" y="455248"/>
                  </a:cubicBezTo>
                  <a:cubicBezTo>
                    <a:pt x="433491" y="468846"/>
                    <a:pt x="428052" y="479725"/>
                    <a:pt x="425332" y="493323"/>
                  </a:cubicBezTo>
                  <a:cubicBezTo>
                    <a:pt x="422612" y="506921"/>
                    <a:pt x="419893" y="520520"/>
                    <a:pt x="411734" y="531398"/>
                  </a:cubicBezTo>
                  <a:cubicBezTo>
                    <a:pt x="406295" y="539557"/>
                    <a:pt x="395416" y="547716"/>
                    <a:pt x="376378" y="547716"/>
                  </a:cubicBezTo>
                  <a:cubicBezTo>
                    <a:pt x="357341" y="547716"/>
                    <a:pt x="335583" y="539557"/>
                    <a:pt x="319265" y="525959"/>
                  </a:cubicBezTo>
                  <a:cubicBezTo>
                    <a:pt x="300228" y="506921"/>
                    <a:pt x="294788" y="479725"/>
                    <a:pt x="289349" y="455248"/>
                  </a:cubicBezTo>
                  <a:cubicBezTo>
                    <a:pt x="283910" y="428051"/>
                    <a:pt x="278470" y="400855"/>
                    <a:pt x="273031" y="373658"/>
                  </a:cubicBezTo>
                  <a:cubicBezTo>
                    <a:pt x="273031" y="368219"/>
                    <a:pt x="267592" y="346462"/>
                    <a:pt x="262153" y="316545"/>
                  </a:cubicBezTo>
                  <a:cubicBezTo>
                    <a:pt x="256713" y="292068"/>
                    <a:pt x="251274" y="262152"/>
                    <a:pt x="245835" y="237675"/>
                  </a:cubicBezTo>
                  <a:cubicBezTo>
                    <a:pt x="240395" y="218638"/>
                    <a:pt x="237675" y="205039"/>
                    <a:pt x="234956" y="196881"/>
                  </a:cubicBezTo>
                  <a:cubicBezTo>
                    <a:pt x="232236" y="191441"/>
                    <a:pt x="232236" y="191441"/>
                    <a:pt x="232236" y="191441"/>
                  </a:cubicBezTo>
                  <a:cubicBezTo>
                    <a:pt x="229517" y="191441"/>
                    <a:pt x="229517" y="196881"/>
                    <a:pt x="226797" y="207759"/>
                  </a:cubicBezTo>
                  <a:cubicBezTo>
                    <a:pt x="226797" y="215918"/>
                    <a:pt x="226797" y="229516"/>
                    <a:pt x="226797" y="232236"/>
                  </a:cubicBezTo>
                  <a:cubicBezTo>
                    <a:pt x="226797" y="243115"/>
                    <a:pt x="224077" y="256713"/>
                    <a:pt x="224077" y="267592"/>
                  </a:cubicBezTo>
                  <a:cubicBezTo>
                    <a:pt x="224077" y="278470"/>
                    <a:pt x="224077" y="294788"/>
                    <a:pt x="221358" y="311106"/>
                  </a:cubicBezTo>
                  <a:cubicBezTo>
                    <a:pt x="221358" y="327424"/>
                    <a:pt x="218638" y="343742"/>
                    <a:pt x="218638" y="360060"/>
                  </a:cubicBezTo>
                  <a:cubicBezTo>
                    <a:pt x="218638" y="373658"/>
                    <a:pt x="215919" y="384537"/>
                    <a:pt x="215919" y="398135"/>
                  </a:cubicBezTo>
                  <a:cubicBezTo>
                    <a:pt x="215919" y="409014"/>
                    <a:pt x="213199" y="419892"/>
                    <a:pt x="213199" y="430771"/>
                  </a:cubicBezTo>
                  <a:cubicBezTo>
                    <a:pt x="213199" y="438930"/>
                    <a:pt x="213199" y="447089"/>
                    <a:pt x="213199" y="455248"/>
                  </a:cubicBezTo>
                  <a:cubicBezTo>
                    <a:pt x="213199" y="463407"/>
                    <a:pt x="213199" y="471566"/>
                    <a:pt x="213199" y="477005"/>
                  </a:cubicBezTo>
                  <a:cubicBezTo>
                    <a:pt x="210479" y="490603"/>
                    <a:pt x="207759" y="506921"/>
                    <a:pt x="207759" y="520520"/>
                  </a:cubicBezTo>
                  <a:cubicBezTo>
                    <a:pt x="202320" y="550436"/>
                    <a:pt x="199600" y="580352"/>
                    <a:pt x="196881" y="610268"/>
                  </a:cubicBezTo>
                  <a:cubicBezTo>
                    <a:pt x="196881" y="623866"/>
                    <a:pt x="196881" y="640184"/>
                    <a:pt x="194161" y="653783"/>
                  </a:cubicBezTo>
                  <a:cubicBezTo>
                    <a:pt x="194161" y="659222"/>
                    <a:pt x="194161" y="661942"/>
                    <a:pt x="191441" y="667381"/>
                  </a:cubicBezTo>
                  <a:cubicBezTo>
                    <a:pt x="213199" y="667381"/>
                    <a:pt x="232236" y="667381"/>
                    <a:pt x="243115" y="667381"/>
                  </a:cubicBezTo>
                  <a:cubicBezTo>
                    <a:pt x="253994" y="667381"/>
                    <a:pt x="273031" y="670101"/>
                    <a:pt x="273031" y="683699"/>
                  </a:cubicBezTo>
                  <a:cubicBezTo>
                    <a:pt x="273031" y="691858"/>
                    <a:pt x="267592" y="691858"/>
                    <a:pt x="262153" y="697297"/>
                  </a:cubicBezTo>
                  <a:cubicBezTo>
                    <a:pt x="259433" y="702736"/>
                    <a:pt x="253994" y="705456"/>
                    <a:pt x="248554" y="705456"/>
                  </a:cubicBezTo>
                  <a:cubicBezTo>
                    <a:pt x="240395" y="708176"/>
                    <a:pt x="234956" y="708176"/>
                    <a:pt x="232236" y="708176"/>
                  </a:cubicBezTo>
                  <a:cubicBezTo>
                    <a:pt x="226797" y="708176"/>
                    <a:pt x="175124" y="708176"/>
                    <a:pt x="166965" y="708176"/>
                  </a:cubicBezTo>
                  <a:cubicBezTo>
                    <a:pt x="156086" y="708176"/>
                    <a:pt x="120730" y="708176"/>
                    <a:pt x="109852" y="708176"/>
                  </a:cubicBezTo>
                  <a:cubicBezTo>
                    <a:pt x="104412" y="708176"/>
                    <a:pt x="96253" y="708176"/>
                    <a:pt x="90814" y="708176"/>
                  </a:cubicBezTo>
                  <a:cubicBezTo>
                    <a:pt x="85375" y="708176"/>
                    <a:pt x="77216" y="705456"/>
                    <a:pt x="69057" y="702736"/>
                  </a:cubicBezTo>
                  <a:cubicBezTo>
                    <a:pt x="63617" y="700017"/>
                    <a:pt x="58178" y="691858"/>
                    <a:pt x="58178" y="686418"/>
                  </a:cubicBezTo>
                  <a:cubicBezTo>
                    <a:pt x="58178" y="683699"/>
                    <a:pt x="58178" y="680979"/>
                    <a:pt x="60898" y="678259"/>
                  </a:cubicBezTo>
                  <a:cubicBezTo>
                    <a:pt x="63617" y="675540"/>
                    <a:pt x="71777" y="672820"/>
                    <a:pt x="77216" y="670101"/>
                  </a:cubicBezTo>
                  <a:cubicBezTo>
                    <a:pt x="90814" y="667381"/>
                    <a:pt x="120730" y="664661"/>
                    <a:pt x="126170" y="664661"/>
                  </a:cubicBezTo>
                  <a:cubicBezTo>
                    <a:pt x="128889" y="664661"/>
                    <a:pt x="134329" y="664661"/>
                    <a:pt x="142487" y="664661"/>
                  </a:cubicBezTo>
                  <a:cubicBezTo>
                    <a:pt x="142487" y="640184"/>
                    <a:pt x="147927" y="612988"/>
                    <a:pt x="147927" y="588511"/>
                  </a:cubicBezTo>
                  <a:cubicBezTo>
                    <a:pt x="150646" y="555875"/>
                    <a:pt x="153366" y="523239"/>
                    <a:pt x="153366" y="493323"/>
                  </a:cubicBezTo>
                  <a:cubicBezTo>
                    <a:pt x="153366" y="466126"/>
                    <a:pt x="156086" y="438930"/>
                    <a:pt x="156086" y="411733"/>
                  </a:cubicBezTo>
                  <a:cubicBezTo>
                    <a:pt x="158806" y="373658"/>
                    <a:pt x="158806" y="335583"/>
                    <a:pt x="161525" y="297508"/>
                  </a:cubicBezTo>
                  <a:cubicBezTo>
                    <a:pt x="161525" y="278470"/>
                    <a:pt x="164245" y="259433"/>
                    <a:pt x="166965" y="240395"/>
                  </a:cubicBezTo>
                  <a:cubicBezTo>
                    <a:pt x="169684" y="210479"/>
                    <a:pt x="172404" y="191441"/>
                    <a:pt x="177843" y="161525"/>
                  </a:cubicBezTo>
                  <a:cubicBezTo>
                    <a:pt x="180563" y="147927"/>
                    <a:pt x="180563" y="131609"/>
                    <a:pt x="183282" y="118011"/>
                  </a:cubicBezTo>
                  <a:cubicBezTo>
                    <a:pt x="183282" y="118011"/>
                    <a:pt x="183282" y="115291"/>
                    <a:pt x="183282" y="115291"/>
                  </a:cubicBezTo>
                  <a:cubicBezTo>
                    <a:pt x="177843" y="115291"/>
                    <a:pt x="172404" y="115291"/>
                    <a:pt x="161525" y="115291"/>
                  </a:cubicBezTo>
                  <a:cubicBezTo>
                    <a:pt x="153366" y="115291"/>
                    <a:pt x="145207" y="115291"/>
                    <a:pt x="137048" y="115291"/>
                  </a:cubicBezTo>
                  <a:cubicBezTo>
                    <a:pt x="128889" y="115291"/>
                    <a:pt x="118011" y="115291"/>
                    <a:pt x="109852" y="109851"/>
                  </a:cubicBezTo>
                  <a:cubicBezTo>
                    <a:pt x="101693" y="107132"/>
                    <a:pt x="93534" y="98973"/>
                    <a:pt x="93534" y="93534"/>
                  </a:cubicBezTo>
                  <a:cubicBezTo>
                    <a:pt x="93534" y="90814"/>
                    <a:pt x="93534" y="88094"/>
                    <a:pt x="98973" y="85375"/>
                  </a:cubicBezTo>
                  <a:cubicBezTo>
                    <a:pt x="104412" y="82655"/>
                    <a:pt x="115291" y="79935"/>
                    <a:pt x="120730" y="77216"/>
                  </a:cubicBezTo>
                  <a:cubicBezTo>
                    <a:pt x="139768" y="74496"/>
                    <a:pt x="164245" y="71776"/>
                    <a:pt x="172404" y="71776"/>
                  </a:cubicBezTo>
                  <a:cubicBezTo>
                    <a:pt x="194161" y="71776"/>
                    <a:pt x="210479" y="69057"/>
                    <a:pt x="234956" y="69057"/>
                  </a:cubicBezTo>
                  <a:cubicBezTo>
                    <a:pt x="237675" y="69057"/>
                    <a:pt x="240395" y="69057"/>
                    <a:pt x="243115" y="69057"/>
                  </a:cubicBezTo>
                  <a:cubicBezTo>
                    <a:pt x="251274" y="69057"/>
                    <a:pt x="262153" y="69057"/>
                    <a:pt x="270312" y="74496"/>
                  </a:cubicBezTo>
                  <a:cubicBezTo>
                    <a:pt x="283910" y="82655"/>
                    <a:pt x="300228" y="96253"/>
                    <a:pt x="308387" y="123450"/>
                  </a:cubicBezTo>
                  <a:cubicBezTo>
                    <a:pt x="316546" y="147927"/>
                    <a:pt x="327424" y="175123"/>
                    <a:pt x="332864" y="202320"/>
                  </a:cubicBezTo>
                  <a:cubicBezTo>
                    <a:pt x="335583" y="213198"/>
                    <a:pt x="335583" y="226797"/>
                    <a:pt x="338303" y="237675"/>
                  </a:cubicBezTo>
                  <a:cubicBezTo>
                    <a:pt x="343742" y="251274"/>
                    <a:pt x="346462" y="264872"/>
                    <a:pt x="349182" y="281190"/>
                  </a:cubicBezTo>
                  <a:cubicBezTo>
                    <a:pt x="351901" y="292068"/>
                    <a:pt x="351901" y="305667"/>
                    <a:pt x="357341" y="316545"/>
                  </a:cubicBezTo>
                  <a:cubicBezTo>
                    <a:pt x="362780" y="327424"/>
                    <a:pt x="362780" y="338303"/>
                    <a:pt x="365500" y="351901"/>
                  </a:cubicBezTo>
                  <a:cubicBezTo>
                    <a:pt x="365500" y="357340"/>
                    <a:pt x="373658" y="373658"/>
                    <a:pt x="376378" y="389976"/>
                  </a:cubicBezTo>
                  <a:cubicBezTo>
                    <a:pt x="381817" y="403574"/>
                    <a:pt x="384537" y="414453"/>
                    <a:pt x="387257" y="414453"/>
                  </a:cubicBezTo>
                  <a:cubicBezTo>
                    <a:pt x="392696" y="414453"/>
                    <a:pt x="395416" y="381817"/>
                    <a:pt x="398136" y="376378"/>
                  </a:cubicBezTo>
                  <a:cubicBezTo>
                    <a:pt x="400855" y="362779"/>
                    <a:pt x="403575" y="346462"/>
                    <a:pt x="406295" y="332863"/>
                  </a:cubicBezTo>
                  <a:cubicBezTo>
                    <a:pt x="411734" y="302947"/>
                    <a:pt x="417173" y="273031"/>
                    <a:pt x="425332" y="243115"/>
                  </a:cubicBezTo>
                  <a:cubicBezTo>
                    <a:pt x="430771" y="213198"/>
                    <a:pt x="436211" y="180563"/>
                    <a:pt x="444370" y="150646"/>
                  </a:cubicBezTo>
                  <a:cubicBezTo>
                    <a:pt x="449809" y="126170"/>
                    <a:pt x="460688" y="98973"/>
                    <a:pt x="477006" y="79935"/>
                  </a:cubicBezTo>
                  <a:cubicBezTo>
                    <a:pt x="487884" y="66337"/>
                    <a:pt x="506922" y="58178"/>
                    <a:pt x="523240" y="58178"/>
                  </a:cubicBezTo>
                  <a:cubicBezTo>
                    <a:pt x="528679" y="58178"/>
                    <a:pt x="539558" y="58178"/>
                    <a:pt x="544997" y="63617"/>
                  </a:cubicBezTo>
                  <a:lnTo>
                    <a:pt x="612988" y="63617"/>
                  </a:lnTo>
                  <a:cubicBezTo>
                    <a:pt x="626587" y="63617"/>
                    <a:pt x="651064" y="63617"/>
                    <a:pt x="651064" y="79935"/>
                  </a:cubicBezTo>
                  <a:cubicBezTo>
                    <a:pt x="651064" y="88094"/>
                    <a:pt x="648344" y="88094"/>
                    <a:pt x="645624" y="96253"/>
                  </a:cubicBezTo>
                  <a:cubicBezTo>
                    <a:pt x="640185" y="101693"/>
                    <a:pt x="634746" y="104412"/>
                    <a:pt x="629307" y="104412"/>
                  </a:cubicBezTo>
                  <a:cubicBezTo>
                    <a:pt x="621147" y="107132"/>
                    <a:pt x="612988" y="107132"/>
                    <a:pt x="607549" y="107132"/>
                  </a:cubicBezTo>
                  <a:cubicBezTo>
                    <a:pt x="604829" y="107132"/>
                    <a:pt x="591231" y="107132"/>
                    <a:pt x="580353" y="107132"/>
                  </a:cubicBezTo>
                  <a:cubicBezTo>
                    <a:pt x="580353" y="109851"/>
                    <a:pt x="583072" y="112571"/>
                    <a:pt x="583072" y="115291"/>
                  </a:cubicBezTo>
                  <a:cubicBezTo>
                    <a:pt x="585792" y="128889"/>
                    <a:pt x="585792" y="142487"/>
                    <a:pt x="588512" y="156086"/>
                  </a:cubicBezTo>
                  <a:cubicBezTo>
                    <a:pt x="591231" y="169684"/>
                    <a:pt x="591231" y="183282"/>
                    <a:pt x="593951" y="196881"/>
                  </a:cubicBezTo>
                  <a:cubicBezTo>
                    <a:pt x="593951" y="207759"/>
                    <a:pt x="599390" y="215918"/>
                    <a:pt x="599390" y="226797"/>
                  </a:cubicBezTo>
                  <a:cubicBezTo>
                    <a:pt x="599390" y="229516"/>
                    <a:pt x="599390" y="229516"/>
                    <a:pt x="599390" y="232236"/>
                  </a:cubicBezTo>
                  <a:cubicBezTo>
                    <a:pt x="599390" y="234956"/>
                    <a:pt x="599390" y="237675"/>
                    <a:pt x="599390" y="240395"/>
                  </a:cubicBezTo>
                  <a:cubicBezTo>
                    <a:pt x="599390" y="251274"/>
                    <a:pt x="599390" y="259433"/>
                    <a:pt x="602110" y="270311"/>
                  </a:cubicBezTo>
                  <a:cubicBezTo>
                    <a:pt x="604829" y="283909"/>
                    <a:pt x="607549" y="294788"/>
                    <a:pt x="607549" y="308386"/>
                  </a:cubicBezTo>
                  <a:cubicBezTo>
                    <a:pt x="607549" y="311106"/>
                    <a:pt x="607549" y="316545"/>
                    <a:pt x="607549" y="319265"/>
                  </a:cubicBezTo>
                  <a:cubicBezTo>
                    <a:pt x="607549" y="324704"/>
                    <a:pt x="610269" y="330144"/>
                    <a:pt x="612988" y="335583"/>
                  </a:cubicBezTo>
                  <a:cubicBezTo>
                    <a:pt x="612988" y="338303"/>
                    <a:pt x="612988" y="343742"/>
                    <a:pt x="612988" y="346462"/>
                  </a:cubicBezTo>
                  <a:cubicBezTo>
                    <a:pt x="612988" y="354620"/>
                    <a:pt x="612988" y="362779"/>
                    <a:pt x="612988" y="370939"/>
                  </a:cubicBezTo>
                  <a:cubicBezTo>
                    <a:pt x="612988" y="379097"/>
                    <a:pt x="612988" y="387256"/>
                    <a:pt x="612988" y="395415"/>
                  </a:cubicBezTo>
                  <a:cubicBezTo>
                    <a:pt x="612988" y="403574"/>
                    <a:pt x="615708" y="414453"/>
                    <a:pt x="615708" y="422612"/>
                  </a:cubicBezTo>
                  <a:cubicBezTo>
                    <a:pt x="618428" y="430771"/>
                    <a:pt x="618428" y="436210"/>
                    <a:pt x="618428" y="441650"/>
                  </a:cubicBezTo>
                  <a:cubicBezTo>
                    <a:pt x="618428" y="444369"/>
                    <a:pt x="618428" y="449808"/>
                    <a:pt x="618428" y="455248"/>
                  </a:cubicBezTo>
                  <a:cubicBezTo>
                    <a:pt x="618428" y="460687"/>
                    <a:pt x="618428" y="460687"/>
                    <a:pt x="621147" y="463407"/>
                  </a:cubicBezTo>
                  <a:cubicBezTo>
                    <a:pt x="623867" y="471566"/>
                    <a:pt x="623867" y="477005"/>
                    <a:pt x="626587" y="482444"/>
                  </a:cubicBezTo>
                  <a:cubicBezTo>
                    <a:pt x="629307" y="493323"/>
                    <a:pt x="629307" y="506921"/>
                    <a:pt x="629307" y="517800"/>
                  </a:cubicBezTo>
                  <a:cubicBezTo>
                    <a:pt x="632026" y="534118"/>
                    <a:pt x="632026" y="547716"/>
                    <a:pt x="634746" y="561314"/>
                  </a:cubicBezTo>
                  <a:cubicBezTo>
                    <a:pt x="634746" y="564034"/>
                    <a:pt x="634746" y="564034"/>
                    <a:pt x="634746" y="566754"/>
                  </a:cubicBezTo>
                  <a:cubicBezTo>
                    <a:pt x="634746" y="572193"/>
                    <a:pt x="634746" y="577632"/>
                    <a:pt x="634746" y="583072"/>
                  </a:cubicBezTo>
                  <a:cubicBezTo>
                    <a:pt x="634746" y="596670"/>
                    <a:pt x="637466" y="602109"/>
                    <a:pt x="637466" y="607548"/>
                  </a:cubicBezTo>
                  <a:cubicBezTo>
                    <a:pt x="637466" y="610268"/>
                    <a:pt x="640185" y="615708"/>
                    <a:pt x="640185" y="618427"/>
                  </a:cubicBezTo>
                  <a:cubicBezTo>
                    <a:pt x="640185" y="623866"/>
                    <a:pt x="640185" y="629306"/>
                    <a:pt x="640185" y="632025"/>
                  </a:cubicBezTo>
                  <a:cubicBezTo>
                    <a:pt x="640185" y="634745"/>
                    <a:pt x="640185" y="637465"/>
                    <a:pt x="640185" y="640184"/>
                  </a:cubicBezTo>
                  <a:cubicBezTo>
                    <a:pt x="640185" y="645624"/>
                    <a:pt x="642905" y="653783"/>
                    <a:pt x="642905" y="659222"/>
                  </a:cubicBezTo>
                  <a:cubicBezTo>
                    <a:pt x="642905" y="661942"/>
                    <a:pt x="642905" y="661942"/>
                    <a:pt x="642905" y="664661"/>
                  </a:cubicBezTo>
                  <a:cubicBezTo>
                    <a:pt x="645624" y="678259"/>
                    <a:pt x="651064" y="678259"/>
                    <a:pt x="653783" y="678259"/>
                  </a:cubicBezTo>
                  <a:lnTo>
                    <a:pt x="653783" y="678259"/>
                  </a:ln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/>
            </a:p>
          </p:txBody>
        </p:sp>
        <p:sp>
          <p:nvSpPr>
            <p:cNvPr id="43" name="Freeform: Shape 42">
              <a:extLst>
                <a:ext uri="{FF2B5EF4-FFF2-40B4-BE49-F238E27FC236}">
                  <a16:creationId xmlns:a16="http://schemas.microsoft.com/office/drawing/2014/main" id="{277C2FCB-7D05-4824-AE10-F453FE482C72}"/>
                </a:ext>
              </a:extLst>
            </p:cNvPr>
            <p:cNvSpPr/>
            <p:nvPr/>
          </p:nvSpPr>
          <p:spPr>
            <a:xfrm>
              <a:off x="6362526" y="4242177"/>
              <a:ext cx="492259" cy="674476"/>
            </a:xfrm>
            <a:custGeom>
              <a:avLst/>
              <a:gdLst>
                <a:gd name="connsiteX0" fmla="*/ 225733 w 492259"/>
                <a:gd name="connsiteY0" fmla="*/ 97907 h 674476"/>
                <a:gd name="connsiteX1" fmla="*/ 209415 w 492259"/>
                <a:gd name="connsiteY1" fmla="*/ 119665 h 674476"/>
                <a:gd name="connsiteX2" fmla="*/ 201256 w 492259"/>
                <a:gd name="connsiteY2" fmla="*/ 152300 h 674476"/>
                <a:gd name="connsiteX3" fmla="*/ 198536 w 492259"/>
                <a:gd name="connsiteY3" fmla="*/ 168618 h 674476"/>
                <a:gd name="connsiteX4" fmla="*/ 195817 w 492259"/>
                <a:gd name="connsiteY4" fmla="*/ 184936 h 674476"/>
                <a:gd name="connsiteX5" fmla="*/ 187658 w 492259"/>
                <a:gd name="connsiteY5" fmla="*/ 220292 h 674476"/>
                <a:gd name="connsiteX6" fmla="*/ 168620 w 492259"/>
                <a:gd name="connsiteY6" fmla="*/ 291003 h 674476"/>
                <a:gd name="connsiteX7" fmla="*/ 160461 w 492259"/>
                <a:gd name="connsiteY7" fmla="*/ 323639 h 674476"/>
                <a:gd name="connsiteX8" fmla="*/ 149582 w 492259"/>
                <a:gd name="connsiteY8" fmla="*/ 361714 h 674476"/>
                <a:gd name="connsiteX9" fmla="*/ 144143 w 492259"/>
                <a:gd name="connsiteY9" fmla="*/ 388910 h 674476"/>
                <a:gd name="connsiteX10" fmla="*/ 149582 w 492259"/>
                <a:gd name="connsiteY10" fmla="*/ 391630 h 674476"/>
                <a:gd name="connsiteX11" fmla="*/ 171340 w 492259"/>
                <a:gd name="connsiteY11" fmla="*/ 391630 h 674476"/>
                <a:gd name="connsiteX12" fmla="*/ 193097 w 492259"/>
                <a:gd name="connsiteY12" fmla="*/ 388910 h 674476"/>
                <a:gd name="connsiteX13" fmla="*/ 212135 w 492259"/>
                <a:gd name="connsiteY13" fmla="*/ 388910 h 674476"/>
                <a:gd name="connsiteX14" fmla="*/ 236611 w 492259"/>
                <a:gd name="connsiteY14" fmla="*/ 388910 h 674476"/>
                <a:gd name="connsiteX15" fmla="*/ 250210 w 492259"/>
                <a:gd name="connsiteY15" fmla="*/ 386191 h 674476"/>
                <a:gd name="connsiteX16" fmla="*/ 258369 w 492259"/>
                <a:gd name="connsiteY16" fmla="*/ 386191 h 674476"/>
                <a:gd name="connsiteX17" fmla="*/ 255649 w 492259"/>
                <a:gd name="connsiteY17" fmla="*/ 367153 h 674476"/>
                <a:gd name="connsiteX18" fmla="*/ 250210 w 492259"/>
                <a:gd name="connsiteY18" fmla="*/ 331797 h 674476"/>
                <a:gd name="connsiteX19" fmla="*/ 247490 w 492259"/>
                <a:gd name="connsiteY19" fmla="*/ 244769 h 674476"/>
                <a:gd name="connsiteX20" fmla="*/ 242051 w 492259"/>
                <a:gd name="connsiteY20" fmla="*/ 203974 h 674476"/>
                <a:gd name="connsiteX21" fmla="*/ 236611 w 492259"/>
                <a:gd name="connsiteY21" fmla="*/ 157740 h 674476"/>
                <a:gd name="connsiteX22" fmla="*/ 233892 w 492259"/>
                <a:gd name="connsiteY22" fmla="*/ 119665 h 674476"/>
                <a:gd name="connsiteX23" fmla="*/ 225733 w 492259"/>
                <a:gd name="connsiteY23" fmla="*/ 97907 h 674476"/>
                <a:gd name="connsiteX24" fmla="*/ 274687 w 492259"/>
                <a:gd name="connsiteY24" fmla="*/ 0 h 674476"/>
                <a:gd name="connsiteX25" fmla="*/ 304603 w 492259"/>
                <a:gd name="connsiteY25" fmla="*/ 5439 h 674476"/>
                <a:gd name="connsiteX26" fmla="*/ 320921 w 492259"/>
                <a:gd name="connsiteY26" fmla="*/ 24477 h 674476"/>
                <a:gd name="connsiteX27" fmla="*/ 334519 w 492259"/>
                <a:gd name="connsiteY27" fmla="*/ 43515 h 674476"/>
                <a:gd name="connsiteX28" fmla="*/ 339959 w 492259"/>
                <a:gd name="connsiteY28" fmla="*/ 65272 h 674476"/>
                <a:gd name="connsiteX29" fmla="*/ 348118 w 492259"/>
                <a:gd name="connsiteY29" fmla="*/ 114226 h 674476"/>
                <a:gd name="connsiteX30" fmla="*/ 361716 w 492259"/>
                <a:gd name="connsiteY30" fmla="*/ 163180 h 674476"/>
                <a:gd name="connsiteX31" fmla="*/ 369875 w 492259"/>
                <a:gd name="connsiteY31" fmla="*/ 220293 h 674476"/>
                <a:gd name="connsiteX32" fmla="*/ 378034 w 492259"/>
                <a:gd name="connsiteY32" fmla="*/ 274686 h 674476"/>
                <a:gd name="connsiteX33" fmla="*/ 383473 w 492259"/>
                <a:gd name="connsiteY33" fmla="*/ 301883 h 674476"/>
                <a:gd name="connsiteX34" fmla="*/ 391632 w 492259"/>
                <a:gd name="connsiteY34" fmla="*/ 337238 h 674476"/>
                <a:gd name="connsiteX35" fmla="*/ 397071 w 492259"/>
                <a:gd name="connsiteY35" fmla="*/ 364435 h 674476"/>
                <a:gd name="connsiteX36" fmla="*/ 405230 w 492259"/>
                <a:gd name="connsiteY36" fmla="*/ 383473 h 674476"/>
                <a:gd name="connsiteX37" fmla="*/ 416109 w 492259"/>
                <a:gd name="connsiteY37" fmla="*/ 386192 h 674476"/>
                <a:gd name="connsiteX38" fmla="*/ 426988 w 492259"/>
                <a:gd name="connsiteY38" fmla="*/ 386192 h 674476"/>
                <a:gd name="connsiteX39" fmla="*/ 454184 w 492259"/>
                <a:gd name="connsiteY39" fmla="*/ 397071 h 674476"/>
                <a:gd name="connsiteX40" fmla="*/ 456904 w 492259"/>
                <a:gd name="connsiteY40" fmla="*/ 405230 h 674476"/>
                <a:gd name="connsiteX41" fmla="*/ 451464 w 492259"/>
                <a:gd name="connsiteY41" fmla="*/ 416108 h 674476"/>
                <a:gd name="connsiteX42" fmla="*/ 432427 w 492259"/>
                <a:gd name="connsiteY42" fmla="*/ 429707 h 674476"/>
                <a:gd name="connsiteX43" fmla="*/ 421548 w 492259"/>
                <a:gd name="connsiteY43" fmla="*/ 432426 h 674476"/>
                <a:gd name="connsiteX44" fmla="*/ 413389 w 492259"/>
                <a:gd name="connsiteY44" fmla="*/ 435146 h 674476"/>
                <a:gd name="connsiteX45" fmla="*/ 413389 w 492259"/>
                <a:gd name="connsiteY45" fmla="*/ 440585 h 674476"/>
                <a:gd name="connsiteX46" fmla="*/ 416109 w 492259"/>
                <a:gd name="connsiteY46" fmla="*/ 451464 h 674476"/>
                <a:gd name="connsiteX47" fmla="*/ 418829 w 492259"/>
                <a:gd name="connsiteY47" fmla="*/ 465062 h 674476"/>
                <a:gd name="connsiteX48" fmla="*/ 418829 w 492259"/>
                <a:gd name="connsiteY48" fmla="*/ 475941 h 674476"/>
                <a:gd name="connsiteX49" fmla="*/ 418829 w 492259"/>
                <a:gd name="connsiteY49" fmla="*/ 486820 h 674476"/>
                <a:gd name="connsiteX50" fmla="*/ 426988 w 492259"/>
                <a:gd name="connsiteY50" fmla="*/ 516736 h 674476"/>
                <a:gd name="connsiteX51" fmla="*/ 432427 w 492259"/>
                <a:gd name="connsiteY51" fmla="*/ 543932 h 674476"/>
                <a:gd name="connsiteX52" fmla="*/ 437866 w 492259"/>
                <a:gd name="connsiteY52" fmla="*/ 573848 h 674476"/>
                <a:gd name="connsiteX53" fmla="*/ 443306 w 492259"/>
                <a:gd name="connsiteY53" fmla="*/ 606484 h 674476"/>
                <a:gd name="connsiteX54" fmla="*/ 446025 w 492259"/>
                <a:gd name="connsiteY54" fmla="*/ 617363 h 674476"/>
                <a:gd name="connsiteX55" fmla="*/ 470502 w 492259"/>
                <a:gd name="connsiteY55" fmla="*/ 617363 h 674476"/>
                <a:gd name="connsiteX56" fmla="*/ 492259 w 492259"/>
                <a:gd name="connsiteY56" fmla="*/ 641840 h 674476"/>
                <a:gd name="connsiteX57" fmla="*/ 484101 w 492259"/>
                <a:gd name="connsiteY57" fmla="*/ 655438 h 674476"/>
                <a:gd name="connsiteX58" fmla="*/ 467782 w 492259"/>
                <a:gd name="connsiteY58" fmla="*/ 663597 h 674476"/>
                <a:gd name="connsiteX59" fmla="*/ 443306 w 492259"/>
                <a:gd name="connsiteY59" fmla="*/ 666317 h 674476"/>
                <a:gd name="connsiteX60" fmla="*/ 421548 w 492259"/>
                <a:gd name="connsiteY60" fmla="*/ 666317 h 674476"/>
                <a:gd name="connsiteX61" fmla="*/ 413389 w 492259"/>
                <a:gd name="connsiteY61" fmla="*/ 666317 h 674476"/>
                <a:gd name="connsiteX62" fmla="*/ 399791 w 492259"/>
                <a:gd name="connsiteY62" fmla="*/ 671756 h 674476"/>
                <a:gd name="connsiteX63" fmla="*/ 383473 w 492259"/>
                <a:gd name="connsiteY63" fmla="*/ 674476 h 674476"/>
                <a:gd name="connsiteX64" fmla="*/ 348118 w 492259"/>
                <a:gd name="connsiteY64" fmla="*/ 669036 h 674476"/>
                <a:gd name="connsiteX65" fmla="*/ 326360 w 492259"/>
                <a:gd name="connsiteY65" fmla="*/ 669036 h 674476"/>
                <a:gd name="connsiteX66" fmla="*/ 277406 w 492259"/>
                <a:gd name="connsiteY66" fmla="*/ 669036 h 674476"/>
                <a:gd name="connsiteX67" fmla="*/ 252930 w 492259"/>
                <a:gd name="connsiteY67" fmla="*/ 663597 h 674476"/>
                <a:gd name="connsiteX68" fmla="*/ 236611 w 492259"/>
                <a:gd name="connsiteY68" fmla="*/ 647279 h 674476"/>
                <a:gd name="connsiteX69" fmla="*/ 261088 w 492259"/>
                <a:gd name="connsiteY69" fmla="*/ 630961 h 674476"/>
                <a:gd name="connsiteX70" fmla="*/ 288285 w 492259"/>
                <a:gd name="connsiteY70" fmla="*/ 628241 h 674476"/>
                <a:gd name="connsiteX71" fmla="*/ 285565 w 492259"/>
                <a:gd name="connsiteY71" fmla="*/ 609204 h 674476"/>
                <a:gd name="connsiteX72" fmla="*/ 282846 w 492259"/>
                <a:gd name="connsiteY72" fmla="*/ 582007 h 674476"/>
                <a:gd name="connsiteX73" fmla="*/ 280126 w 492259"/>
                <a:gd name="connsiteY73" fmla="*/ 568409 h 674476"/>
                <a:gd name="connsiteX74" fmla="*/ 282846 w 492259"/>
                <a:gd name="connsiteY74" fmla="*/ 554811 h 674476"/>
                <a:gd name="connsiteX75" fmla="*/ 277406 w 492259"/>
                <a:gd name="connsiteY75" fmla="*/ 538493 h 674476"/>
                <a:gd name="connsiteX76" fmla="*/ 271967 w 492259"/>
                <a:gd name="connsiteY76" fmla="*/ 505857 h 674476"/>
                <a:gd name="connsiteX77" fmla="*/ 269247 w 492259"/>
                <a:gd name="connsiteY77" fmla="*/ 478660 h 674476"/>
                <a:gd name="connsiteX78" fmla="*/ 266528 w 492259"/>
                <a:gd name="connsiteY78" fmla="*/ 446025 h 674476"/>
                <a:gd name="connsiteX79" fmla="*/ 261088 w 492259"/>
                <a:gd name="connsiteY79" fmla="*/ 437866 h 674476"/>
                <a:gd name="connsiteX80" fmla="*/ 250210 w 492259"/>
                <a:gd name="connsiteY80" fmla="*/ 437866 h 674476"/>
                <a:gd name="connsiteX81" fmla="*/ 220293 w 492259"/>
                <a:gd name="connsiteY81" fmla="*/ 440585 h 674476"/>
                <a:gd name="connsiteX82" fmla="*/ 190377 w 492259"/>
                <a:gd name="connsiteY82" fmla="*/ 443305 h 674476"/>
                <a:gd name="connsiteX83" fmla="*/ 165900 w 492259"/>
                <a:gd name="connsiteY83" fmla="*/ 443305 h 674476"/>
                <a:gd name="connsiteX84" fmla="*/ 144143 w 492259"/>
                <a:gd name="connsiteY84" fmla="*/ 440585 h 674476"/>
                <a:gd name="connsiteX85" fmla="*/ 135984 w 492259"/>
                <a:gd name="connsiteY85" fmla="*/ 454184 h 674476"/>
                <a:gd name="connsiteX86" fmla="*/ 130545 w 492259"/>
                <a:gd name="connsiteY86" fmla="*/ 486820 h 674476"/>
                <a:gd name="connsiteX87" fmla="*/ 119666 w 492259"/>
                <a:gd name="connsiteY87" fmla="*/ 541213 h 674476"/>
                <a:gd name="connsiteX88" fmla="*/ 103348 w 492259"/>
                <a:gd name="connsiteY88" fmla="*/ 614643 h 674476"/>
                <a:gd name="connsiteX89" fmla="*/ 133264 w 492259"/>
                <a:gd name="connsiteY89" fmla="*/ 614643 h 674476"/>
                <a:gd name="connsiteX90" fmla="*/ 168620 w 492259"/>
                <a:gd name="connsiteY90" fmla="*/ 630961 h 674476"/>
                <a:gd name="connsiteX91" fmla="*/ 163181 w 492259"/>
                <a:gd name="connsiteY91" fmla="*/ 647279 h 674476"/>
                <a:gd name="connsiteX92" fmla="*/ 146863 w 492259"/>
                <a:gd name="connsiteY92" fmla="*/ 655438 h 674476"/>
                <a:gd name="connsiteX93" fmla="*/ 127825 w 492259"/>
                <a:gd name="connsiteY93" fmla="*/ 658158 h 674476"/>
                <a:gd name="connsiteX94" fmla="*/ 106068 w 492259"/>
                <a:gd name="connsiteY94" fmla="*/ 658158 h 674476"/>
                <a:gd name="connsiteX95" fmla="*/ 62552 w 492259"/>
                <a:gd name="connsiteY95" fmla="*/ 658158 h 674476"/>
                <a:gd name="connsiteX96" fmla="*/ 40795 w 492259"/>
                <a:gd name="connsiteY96" fmla="*/ 658158 h 674476"/>
                <a:gd name="connsiteX97" fmla="*/ 16318 w 492259"/>
                <a:gd name="connsiteY97" fmla="*/ 652718 h 674476"/>
                <a:gd name="connsiteX98" fmla="*/ 0 w 492259"/>
                <a:gd name="connsiteY98" fmla="*/ 636401 h 674476"/>
                <a:gd name="connsiteX99" fmla="*/ 2720 w 492259"/>
                <a:gd name="connsiteY99" fmla="*/ 628241 h 674476"/>
                <a:gd name="connsiteX100" fmla="*/ 24477 w 492259"/>
                <a:gd name="connsiteY100" fmla="*/ 620082 h 674476"/>
                <a:gd name="connsiteX101" fmla="*/ 62552 w 492259"/>
                <a:gd name="connsiteY101" fmla="*/ 617363 h 674476"/>
                <a:gd name="connsiteX102" fmla="*/ 62552 w 492259"/>
                <a:gd name="connsiteY102" fmla="*/ 614643 h 674476"/>
                <a:gd name="connsiteX103" fmla="*/ 65272 w 492259"/>
                <a:gd name="connsiteY103" fmla="*/ 587447 h 674476"/>
                <a:gd name="connsiteX104" fmla="*/ 76151 w 492259"/>
                <a:gd name="connsiteY104" fmla="*/ 522175 h 674476"/>
                <a:gd name="connsiteX105" fmla="*/ 87029 w 492259"/>
                <a:gd name="connsiteY105" fmla="*/ 470501 h 674476"/>
                <a:gd name="connsiteX106" fmla="*/ 92468 w 492259"/>
                <a:gd name="connsiteY106" fmla="*/ 446025 h 674476"/>
                <a:gd name="connsiteX107" fmla="*/ 65272 w 492259"/>
                <a:gd name="connsiteY107" fmla="*/ 432426 h 674476"/>
                <a:gd name="connsiteX108" fmla="*/ 54393 w 492259"/>
                <a:gd name="connsiteY108" fmla="*/ 421548 h 674476"/>
                <a:gd name="connsiteX109" fmla="*/ 73431 w 492259"/>
                <a:gd name="connsiteY109" fmla="*/ 407949 h 674476"/>
                <a:gd name="connsiteX110" fmla="*/ 100629 w 492259"/>
                <a:gd name="connsiteY110" fmla="*/ 399790 h 674476"/>
                <a:gd name="connsiteX111" fmla="*/ 108788 w 492259"/>
                <a:gd name="connsiteY111" fmla="*/ 369874 h 674476"/>
                <a:gd name="connsiteX112" fmla="*/ 125105 w 492259"/>
                <a:gd name="connsiteY112" fmla="*/ 307322 h 674476"/>
                <a:gd name="connsiteX113" fmla="*/ 141423 w 492259"/>
                <a:gd name="connsiteY113" fmla="*/ 242051 h 674476"/>
                <a:gd name="connsiteX114" fmla="*/ 155022 w 492259"/>
                <a:gd name="connsiteY114" fmla="*/ 179498 h 674476"/>
                <a:gd name="connsiteX115" fmla="*/ 168620 w 492259"/>
                <a:gd name="connsiteY115" fmla="*/ 119665 h 674476"/>
                <a:gd name="connsiteX116" fmla="*/ 193097 w 492259"/>
                <a:gd name="connsiteY116" fmla="*/ 57113 h 674476"/>
                <a:gd name="connsiteX117" fmla="*/ 201256 w 492259"/>
                <a:gd name="connsiteY117" fmla="*/ 38075 h 674476"/>
                <a:gd name="connsiteX118" fmla="*/ 217574 w 492259"/>
                <a:gd name="connsiteY118" fmla="*/ 13598 h 674476"/>
                <a:gd name="connsiteX119" fmla="*/ 274687 w 492259"/>
                <a:gd name="connsiteY119" fmla="*/ 0 h 6744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</a:cxnLst>
              <a:rect l="l" t="t" r="r" b="b"/>
              <a:pathLst>
                <a:path w="492259" h="674476">
                  <a:moveTo>
                    <a:pt x="225733" y="97907"/>
                  </a:moveTo>
                  <a:cubicBezTo>
                    <a:pt x="217574" y="97907"/>
                    <a:pt x="209415" y="114225"/>
                    <a:pt x="209415" y="119665"/>
                  </a:cubicBezTo>
                  <a:cubicBezTo>
                    <a:pt x="206695" y="130543"/>
                    <a:pt x="203976" y="144141"/>
                    <a:pt x="201256" y="152300"/>
                  </a:cubicBezTo>
                  <a:cubicBezTo>
                    <a:pt x="198536" y="157740"/>
                    <a:pt x="198536" y="163179"/>
                    <a:pt x="198536" y="168618"/>
                  </a:cubicBezTo>
                  <a:cubicBezTo>
                    <a:pt x="198536" y="174058"/>
                    <a:pt x="195817" y="179497"/>
                    <a:pt x="195817" y="184936"/>
                  </a:cubicBezTo>
                  <a:cubicBezTo>
                    <a:pt x="193097" y="195815"/>
                    <a:pt x="190377" y="209413"/>
                    <a:pt x="187658" y="220292"/>
                  </a:cubicBezTo>
                  <a:cubicBezTo>
                    <a:pt x="184938" y="244769"/>
                    <a:pt x="176779" y="269246"/>
                    <a:pt x="168620" y="291003"/>
                  </a:cubicBezTo>
                  <a:cubicBezTo>
                    <a:pt x="165900" y="301881"/>
                    <a:pt x="163181" y="312760"/>
                    <a:pt x="160461" y="323639"/>
                  </a:cubicBezTo>
                  <a:cubicBezTo>
                    <a:pt x="157742" y="337237"/>
                    <a:pt x="155022" y="348115"/>
                    <a:pt x="149582" y="361714"/>
                  </a:cubicBezTo>
                  <a:cubicBezTo>
                    <a:pt x="146863" y="367153"/>
                    <a:pt x="144143" y="383471"/>
                    <a:pt x="144143" y="388910"/>
                  </a:cubicBezTo>
                  <a:cubicBezTo>
                    <a:pt x="144143" y="391630"/>
                    <a:pt x="146863" y="391630"/>
                    <a:pt x="149582" y="391630"/>
                  </a:cubicBezTo>
                  <a:cubicBezTo>
                    <a:pt x="155022" y="391630"/>
                    <a:pt x="168620" y="391630"/>
                    <a:pt x="171340" y="391630"/>
                  </a:cubicBezTo>
                  <a:cubicBezTo>
                    <a:pt x="179498" y="391630"/>
                    <a:pt x="187658" y="391630"/>
                    <a:pt x="193097" y="388910"/>
                  </a:cubicBezTo>
                  <a:cubicBezTo>
                    <a:pt x="198536" y="388910"/>
                    <a:pt x="203976" y="388910"/>
                    <a:pt x="212135" y="388910"/>
                  </a:cubicBezTo>
                  <a:cubicBezTo>
                    <a:pt x="217574" y="388910"/>
                    <a:pt x="225733" y="388910"/>
                    <a:pt x="236611" y="388910"/>
                  </a:cubicBezTo>
                  <a:cubicBezTo>
                    <a:pt x="242051" y="388910"/>
                    <a:pt x="247490" y="388910"/>
                    <a:pt x="250210" y="386191"/>
                  </a:cubicBezTo>
                  <a:cubicBezTo>
                    <a:pt x="255649" y="391630"/>
                    <a:pt x="258369" y="388910"/>
                    <a:pt x="258369" y="386191"/>
                  </a:cubicBezTo>
                  <a:cubicBezTo>
                    <a:pt x="258369" y="380751"/>
                    <a:pt x="255649" y="372592"/>
                    <a:pt x="255649" y="367153"/>
                  </a:cubicBezTo>
                  <a:cubicBezTo>
                    <a:pt x="252930" y="353555"/>
                    <a:pt x="250210" y="342676"/>
                    <a:pt x="250210" y="331797"/>
                  </a:cubicBezTo>
                  <a:cubicBezTo>
                    <a:pt x="250210" y="301881"/>
                    <a:pt x="250210" y="274685"/>
                    <a:pt x="247490" y="244769"/>
                  </a:cubicBezTo>
                  <a:cubicBezTo>
                    <a:pt x="247490" y="231170"/>
                    <a:pt x="244771" y="217572"/>
                    <a:pt x="242051" y="203974"/>
                  </a:cubicBezTo>
                  <a:cubicBezTo>
                    <a:pt x="239331" y="187656"/>
                    <a:pt x="236611" y="174058"/>
                    <a:pt x="236611" y="157740"/>
                  </a:cubicBezTo>
                  <a:cubicBezTo>
                    <a:pt x="236611" y="152300"/>
                    <a:pt x="236611" y="133263"/>
                    <a:pt x="233892" y="119665"/>
                  </a:cubicBezTo>
                  <a:cubicBezTo>
                    <a:pt x="233892" y="106066"/>
                    <a:pt x="231172" y="97907"/>
                    <a:pt x="225733" y="97907"/>
                  </a:cubicBezTo>
                  <a:close/>
                  <a:moveTo>
                    <a:pt x="274687" y="0"/>
                  </a:moveTo>
                  <a:cubicBezTo>
                    <a:pt x="288285" y="0"/>
                    <a:pt x="293724" y="2720"/>
                    <a:pt x="304603" y="5439"/>
                  </a:cubicBezTo>
                  <a:cubicBezTo>
                    <a:pt x="315481" y="10879"/>
                    <a:pt x="315481" y="16318"/>
                    <a:pt x="320921" y="24477"/>
                  </a:cubicBezTo>
                  <a:cubicBezTo>
                    <a:pt x="326360" y="29916"/>
                    <a:pt x="331800" y="35356"/>
                    <a:pt x="334519" y="43515"/>
                  </a:cubicBezTo>
                  <a:cubicBezTo>
                    <a:pt x="337239" y="51674"/>
                    <a:pt x="337239" y="57113"/>
                    <a:pt x="339959" y="65272"/>
                  </a:cubicBezTo>
                  <a:cubicBezTo>
                    <a:pt x="345398" y="78870"/>
                    <a:pt x="342678" y="97908"/>
                    <a:pt x="348118" y="114226"/>
                  </a:cubicBezTo>
                  <a:cubicBezTo>
                    <a:pt x="350837" y="130544"/>
                    <a:pt x="358996" y="146863"/>
                    <a:pt x="361716" y="163180"/>
                  </a:cubicBezTo>
                  <a:cubicBezTo>
                    <a:pt x="364435" y="182218"/>
                    <a:pt x="364435" y="201256"/>
                    <a:pt x="369875" y="220293"/>
                  </a:cubicBezTo>
                  <a:cubicBezTo>
                    <a:pt x="375314" y="239331"/>
                    <a:pt x="378034" y="255649"/>
                    <a:pt x="378034" y="274686"/>
                  </a:cubicBezTo>
                  <a:cubicBezTo>
                    <a:pt x="378034" y="282845"/>
                    <a:pt x="380753" y="293724"/>
                    <a:pt x="383473" y="301883"/>
                  </a:cubicBezTo>
                  <a:cubicBezTo>
                    <a:pt x="386193" y="312762"/>
                    <a:pt x="388913" y="326360"/>
                    <a:pt x="391632" y="337238"/>
                  </a:cubicBezTo>
                  <a:cubicBezTo>
                    <a:pt x="391632" y="342678"/>
                    <a:pt x="394352" y="353556"/>
                    <a:pt x="397071" y="364435"/>
                  </a:cubicBezTo>
                  <a:cubicBezTo>
                    <a:pt x="399791" y="372594"/>
                    <a:pt x="402511" y="380753"/>
                    <a:pt x="405230" y="383473"/>
                  </a:cubicBezTo>
                  <a:cubicBezTo>
                    <a:pt x="407950" y="386192"/>
                    <a:pt x="413389" y="386192"/>
                    <a:pt x="416109" y="386192"/>
                  </a:cubicBezTo>
                  <a:cubicBezTo>
                    <a:pt x="418829" y="386192"/>
                    <a:pt x="424268" y="386192"/>
                    <a:pt x="426988" y="386192"/>
                  </a:cubicBezTo>
                  <a:cubicBezTo>
                    <a:pt x="437866" y="386192"/>
                    <a:pt x="448745" y="388912"/>
                    <a:pt x="454184" y="397071"/>
                  </a:cubicBezTo>
                  <a:cubicBezTo>
                    <a:pt x="456904" y="399790"/>
                    <a:pt x="456904" y="402510"/>
                    <a:pt x="456904" y="405230"/>
                  </a:cubicBezTo>
                  <a:cubicBezTo>
                    <a:pt x="456904" y="407949"/>
                    <a:pt x="454184" y="410669"/>
                    <a:pt x="451464" y="416108"/>
                  </a:cubicBezTo>
                  <a:cubicBezTo>
                    <a:pt x="446025" y="421548"/>
                    <a:pt x="440586" y="426987"/>
                    <a:pt x="432427" y="429707"/>
                  </a:cubicBezTo>
                  <a:cubicBezTo>
                    <a:pt x="429707" y="429707"/>
                    <a:pt x="426988" y="432426"/>
                    <a:pt x="421548" y="432426"/>
                  </a:cubicBezTo>
                  <a:cubicBezTo>
                    <a:pt x="418829" y="432426"/>
                    <a:pt x="416109" y="432426"/>
                    <a:pt x="413389" y="435146"/>
                  </a:cubicBezTo>
                  <a:cubicBezTo>
                    <a:pt x="413389" y="435146"/>
                    <a:pt x="413389" y="437866"/>
                    <a:pt x="413389" y="440585"/>
                  </a:cubicBezTo>
                  <a:cubicBezTo>
                    <a:pt x="413389" y="443305"/>
                    <a:pt x="413389" y="448744"/>
                    <a:pt x="416109" y="451464"/>
                  </a:cubicBezTo>
                  <a:cubicBezTo>
                    <a:pt x="416109" y="456903"/>
                    <a:pt x="418829" y="462343"/>
                    <a:pt x="418829" y="465062"/>
                  </a:cubicBezTo>
                  <a:lnTo>
                    <a:pt x="418829" y="475941"/>
                  </a:lnTo>
                  <a:cubicBezTo>
                    <a:pt x="418829" y="481380"/>
                    <a:pt x="418829" y="484100"/>
                    <a:pt x="418829" y="486820"/>
                  </a:cubicBezTo>
                  <a:cubicBezTo>
                    <a:pt x="421548" y="497698"/>
                    <a:pt x="424268" y="505857"/>
                    <a:pt x="426988" y="516736"/>
                  </a:cubicBezTo>
                  <a:cubicBezTo>
                    <a:pt x="426988" y="524895"/>
                    <a:pt x="429707" y="535773"/>
                    <a:pt x="432427" y="543932"/>
                  </a:cubicBezTo>
                  <a:cubicBezTo>
                    <a:pt x="435147" y="554811"/>
                    <a:pt x="437866" y="562970"/>
                    <a:pt x="437866" y="573848"/>
                  </a:cubicBezTo>
                  <a:cubicBezTo>
                    <a:pt x="437866" y="587447"/>
                    <a:pt x="440586" y="595606"/>
                    <a:pt x="443306" y="606484"/>
                  </a:cubicBezTo>
                  <a:cubicBezTo>
                    <a:pt x="443306" y="609204"/>
                    <a:pt x="446025" y="614643"/>
                    <a:pt x="446025" y="617363"/>
                  </a:cubicBezTo>
                  <a:cubicBezTo>
                    <a:pt x="454184" y="617363"/>
                    <a:pt x="462343" y="617363"/>
                    <a:pt x="470502" y="617363"/>
                  </a:cubicBezTo>
                  <a:cubicBezTo>
                    <a:pt x="475942" y="625522"/>
                    <a:pt x="492259" y="630961"/>
                    <a:pt x="492259" y="641840"/>
                  </a:cubicBezTo>
                  <a:cubicBezTo>
                    <a:pt x="492259" y="647279"/>
                    <a:pt x="486820" y="649999"/>
                    <a:pt x="484101" y="655438"/>
                  </a:cubicBezTo>
                  <a:cubicBezTo>
                    <a:pt x="481381" y="660877"/>
                    <a:pt x="473222" y="663597"/>
                    <a:pt x="467782" y="663597"/>
                  </a:cubicBezTo>
                  <a:cubicBezTo>
                    <a:pt x="456904" y="666317"/>
                    <a:pt x="451464" y="666317"/>
                    <a:pt x="443306" y="666317"/>
                  </a:cubicBezTo>
                  <a:cubicBezTo>
                    <a:pt x="437866" y="666317"/>
                    <a:pt x="429707" y="666317"/>
                    <a:pt x="421548" y="666317"/>
                  </a:cubicBezTo>
                  <a:cubicBezTo>
                    <a:pt x="418829" y="666317"/>
                    <a:pt x="416109" y="666317"/>
                    <a:pt x="413389" y="666317"/>
                  </a:cubicBezTo>
                  <a:cubicBezTo>
                    <a:pt x="407950" y="669036"/>
                    <a:pt x="405230" y="669036"/>
                    <a:pt x="399791" y="671756"/>
                  </a:cubicBezTo>
                  <a:cubicBezTo>
                    <a:pt x="394352" y="671756"/>
                    <a:pt x="388913" y="674476"/>
                    <a:pt x="383473" y="674476"/>
                  </a:cubicBezTo>
                  <a:cubicBezTo>
                    <a:pt x="372594" y="674476"/>
                    <a:pt x="358996" y="671756"/>
                    <a:pt x="348118" y="669036"/>
                  </a:cubicBezTo>
                  <a:cubicBezTo>
                    <a:pt x="339959" y="669036"/>
                    <a:pt x="331800" y="669036"/>
                    <a:pt x="326360" y="669036"/>
                  </a:cubicBezTo>
                  <a:cubicBezTo>
                    <a:pt x="304603" y="669036"/>
                    <a:pt x="285565" y="669036"/>
                    <a:pt x="277406" y="669036"/>
                  </a:cubicBezTo>
                  <a:cubicBezTo>
                    <a:pt x="269247" y="669036"/>
                    <a:pt x="258369" y="669036"/>
                    <a:pt x="252930" y="663597"/>
                  </a:cubicBezTo>
                  <a:cubicBezTo>
                    <a:pt x="247490" y="660877"/>
                    <a:pt x="236611" y="655438"/>
                    <a:pt x="236611" y="647279"/>
                  </a:cubicBezTo>
                  <a:cubicBezTo>
                    <a:pt x="236611" y="636401"/>
                    <a:pt x="252930" y="633681"/>
                    <a:pt x="261088" y="630961"/>
                  </a:cubicBezTo>
                  <a:cubicBezTo>
                    <a:pt x="266528" y="630961"/>
                    <a:pt x="274687" y="630961"/>
                    <a:pt x="288285" y="628241"/>
                  </a:cubicBezTo>
                  <a:cubicBezTo>
                    <a:pt x="288285" y="620082"/>
                    <a:pt x="288285" y="614643"/>
                    <a:pt x="285565" y="609204"/>
                  </a:cubicBezTo>
                  <a:cubicBezTo>
                    <a:pt x="285565" y="601045"/>
                    <a:pt x="282846" y="590166"/>
                    <a:pt x="282846" y="582007"/>
                  </a:cubicBezTo>
                  <a:cubicBezTo>
                    <a:pt x="282846" y="576568"/>
                    <a:pt x="280126" y="573848"/>
                    <a:pt x="280126" y="568409"/>
                  </a:cubicBezTo>
                  <a:cubicBezTo>
                    <a:pt x="280126" y="562970"/>
                    <a:pt x="282846" y="557531"/>
                    <a:pt x="282846" y="554811"/>
                  </a:cubicBezTo>
                  <a:cubicBezTo>
                    <a:pt x="282846" y="549371"/>
                    <a:pt x="280126" y="546652"/>
                    <a:pt x="277406" y="538493"/>
                  </a:cubicBezTo>
                  <a:cubicBezTo>
                    <a:pt x="277406" y="527614"/>
                    <a:pt x="271967" y="516736"/>
                    <a:pt x="271967" y="505857"/>
                  </a:cubicBezTo>
                  <a:cubicBezTo>
                    <a:pt x="271967" y="494978"/>
                    <a:pt x="271967" y="486820"/>
                    <a:pt x="269247" y="478660"/>
                  </a:cubicBezTo>
                  <a:cubicBezTo>
                    <a:pt x="266528" y="467782"/>
                    <a:pt x="266528" y="456903"/>
                    <a:pt x="266528" y="446025"/>
                  </a:cubicBezTo>
                  <a:cubicBezTo>
                    <a:pt x="266528" y="440585"/>
                    <a:pt x="263808" y="437866"/>
                    <a:pt x="261088" y="437866"/>
                  </a:cubicBezTo>
                  <a:cubicBezTo>
                    <a:pt x="258369" y="437866"/>
                    <a:pt x="255649" y="437866"/>
                    <a:pt x="250210" y="437866"/>
                  </a:cubicBezTo>
                  <a:cubicBezTo>
                    <a:pt x="239331" y="437866"/>
                    <a:pt x="228452" y="437866"/>
                    <a:pt x="220293" y="440585"/>
                  </a:cubicBezTo>
                  <a:cubicBezTo>
                    <a:pt x="209415" y="440585"/>
                    <a:pt x="201256" y="443305"/>
                    <a:pt x="190377" y="443305"/>
                  </a:cubicBezTo>
                  <a:cubicBezTo>
                    <a:pt x="182218" y="443305"/>
                    <a:pt x="174059" y="443305"/>
                    <a:pt x="165900" y="443305"/>
                  </a:cubicBezTo>
                  <a:cubicBezTo>
                    <a:pt x="163181" y="443305"/>
                    <a:pt x="152302" y="440585"/>
                    <a:pt x="144143" y="440585"/>
                  </a:cubicBezTo>
                  <a:cubicBezTo>
                    <a:pt x="135984" y="440585"/>
                    <a:pt x="135984" y="448744"/>
                    <a:pt x="135984" y="454184"/>
                  </a:cubicBezTo>
                  <a:cubicBezTo>
                    <a:pt x="135984" y="465062"/>
                    <a:pt x="133264" y="475941"/>
                    <a:pt x="130545" y="486820"/>
                  </a:cubicBezTo>
                  <a:cubicBezTo>
                    <a:pt x="127825" y="505857"/>
                    <a:pt x="122386" y="522175"/>
                    <a:pt x="119666" y="541213"/>
                  </a:cubicBezTo>
                  <a:cubicBezTo>
                    <a:pt x="116947" y="560250"/>
                    <a:pt x="108788" y="595606"/>
                    <a:pt x="103348" y="614643"/>
                  </a:cubicBezTo>
                  <a:cubicBezTo>
                    <a:pt x="111507" y="614643"/>
                    <a:pt x="122386" y="614643"/>
                    <a:pt x="133264" y="614643"/>
                  </a:cubicBezTo>
                  <a:cubicBezTo>
                    <a:pt x="146863" y="614643"/>
                    <a:pt x="168620" y="614643"/>
                    <a:pt x="168620" y="630961"/>
                  </a:cubicBezTo>
                  <a:cubicBezTo>
                    <a:pt x="168620" y="639120"/>
                    <a:pt x="165900" y="639120"/>
                    <a:pt x="163181" y="647279"/>
                  </a:cubicBezTo>
                  <a:cubicBezTo>
                    <a:pt x="160461" y="652718"/>
                    <a:pt x="152302" y="655438"/>
                    <a:pt x="146863" y="655438"/>
                  </a:cubicBezTo>
                  <a:cubicBezTo>
                    <a:pt x="138704" y="658158"/>
                    <a:pt x="133264" y="658158"/>
                    <a:pt x="127825" y="658158"/>
                  </a:cubicBezTo>
                  <a:cubicBezTo>
                    <a:pt x="122386" y="658158"/>
                    <a:pt x="116947" y="658158"/>
                    <a:pt x="106068" y="658158"/>
                  </a:cubicBezTo>
                  <a:cubicBezTo>
                    <a:pt x="92468" y="658158"/>
                    <a:pt x="78870" y="658158"/>
                    <a:pt x="62552" y="658158"/>
                  </a:cubicBezTo>
                  <a:cubicBezTo>
                    <a:pt x="54393" y="658158"/>
                    <a:pt x="46234" y="658158"/>
                    <a:pt x="40795" y="658158"/>
                  </a:cubicBezTo>
                  <a:cubicBezTo>
                    <a:pt x="32636" y="658158"/>
                    <a:pt x="21758" y="658158"/>
                    <a:pt x="16318" y="652718"/>
                  </a:cubicBezTo>
                  <a:cubicBezTo>
                    <a:pt x="8159" y="649999"/>
                    <a:pt x="0" y="641840"/>
                    <a:pt x="0" y="636401"/>
                  </a:cubicBezTo>
                  <a:cubicBezTo>
                    <a:pt x="0" y="633681"/>
                    <a:pt x="0" y="630961"/>
                    <a:pt x="2720" y="628241"/>
                  </a:cubicBezTo>
                  <a:cubicBezTo>
                    <a:pt x="8159" y="625522"/>
                    <a:pt x="16318" y="622802"/>
                    <a:pt x="24477" y="620082"/>
                  </a:cubicBezTo>
                  <a:cubicBezTo>
                    <a:pt x="38075" y="617363"/>
                    <a:pt x="48954" y="617363"/>
                    <a:pt x="62552" y="617363"/>
                  </a:cubicBezTo>
                  <a:cubicBezTo>
                    <a:pt x="62552" y="617363"/>
                    <a:pt x="62552" y="614643"/>
                    <a:pt x="62552" y="614643"/>
                  </a:cubicBezTo>
                  <a:cubicBezTo>
                    <a:pt x="62552" y="603765"/>
                    <a:pt x="65272" y="590166"/>
                    <a:pt x="65272" y="587447"/>
                  </a:cubicBezTo>
                  <a:cubicBezTo>
                    <a:pt x="67992" y="565689"/>
                    <a:pt x="73431" y="543932"/>
                    <a:pt x="76151" y="522175"/>
                  </a:cubicBezTo>
                  <a:cubicBezTo>
                    <a:pt x="78870" y="505857"/>
                    <a:pt x="81590" y="486820"/>
                    <a:pt x="87029" y="470501"/>
                  </a:cubicBezTo>
                  <a:cubicBezTo>
                    <a:pt x="87029" y="465062"/>
                    <a:pt x="92468" y="451464"/>
                    <a:pt x="92468" y="446025"/>
                  </a:cubicBezTo>
                  <a:cubicBezTo>
                    <a:pt x="92468" y="437866"/>
                    <a:pt x="73431" y="437866"/>
                    <a:pt x="65272" y="432426"/>
                  </a:cubicBezTo>
                  <a:cubicBezTo>
                    <a:pt x="59833" y="429707"/>
                    <a:pt x="54393" y="426987"/>
                    <a:pt x="54393" y="421548"/>
                  </a:cubicBezTo>
                  <a:cubicBezTo>
                    <a:pt x="54393" y="413389"/>
                    <a:pt x="62552" y="410669"/>
                    <a:pt x="73431" y="407949"/>
                  </a:cubicBezTo>
                  <a:cubicBezTo>
                    <a:pt x="78870" y="407949"/>
                    <a:pt x="92468" y="405230"/>
                    <a:pt x="100629" y="399790"/>
                  </a:cubicBezTo>
                  <a:cubicBezTo>
                    <a:pt x="106068" y="394351"/>
                    <a:pt x="106068" y="378033"/>
                    <a:pt x="108788" y="369874"/>
                  </a:cubicBezTo>
                  <a:cubicBezTo>
                    <a:pt x="114227" y="348117"/>
                    <a:pt x="119666" y="326360"/>
                    <a:pt x="125105" y="307322"/>
                  </a:cubicBezTo>
                  <a:cubicBezTo>
                    <a:pt x="130545" y="285565"/>
                    <a:pt x="135984" y="263808"/>
                    <a:pt x="141423" y="242051"/>
                  </a:cubicBezTo>
                  <a:cubicBezTo>
                    <a:pt x="146863" y="220293"/>
                    <a:pt x="152302" y="198536"/>
                    <a:pt x="155022" y="179498"/>
                  </a:cubicBezTo>
                  <a:cubicBezTo>
                    <a:pt x="157742" y="160461"/>
                    <a:pt x="163181" y="138703"/>
                    <a:pt x="168620" y="119665"/>
                  </a:cubicBezTo>
                  <a:cubicBezTo>
                    <a:pt x="176779" y="100627"/>
                    <a:pt x="182218" y="76150"/>
                    <a:pt x="193097" y="57113"/>
                  </a:cubicBezTo>
                  <a:lnTo>
                    <a:pt x="201256" y="38075"/>
                  </a:lnTo>
                  <a:cubicBezTo>
                    <a:pt x="206695" y="29916"/>
                    <a:pt x="209415" y="19038"/>
                    <a:pt x="217574" y="13598"/>
                  </a:cubicBezTo>
                  <a:cubicBezTo>
                    <a:pt x="231172" y="2720"/>
                    <a:pt x="255649" y="0"/>
                    <a:pt x="274687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/>
            </a:p>
          </p:txBody>
        </p:sp>
        <p:sp>
          <p:nvSpPr>
            <p:cNvPr id="44" name="Freeform: Shape 43">
              <a:extLst>
                <a:ext uri="{FF2B5EF4-FFF2-40B4-BE49-F238E27FC236}">
                  <a16:creationId xmlns:a16="http://schemas.microsoft.com/office/drawing/2014/main" id="{6019EDE9-B07A-4FD5-87B9-487B5E3194EF}"/>
                </a:ext>
              </a:extLst>
            </p:cNvPr>
            <p:cNvSpPr/>
            <p:nvPr/>
          </p:nvSpPr>
          <p:spPr>
            <a:xfrm>
              <a:off x="6876542" y="4244897"/>
              <a:ext cx="462342" cy="677195"/>
            </a:xfrm>
            <a:custGeom>
              <a:avLst/>
              <a:gdLst>
                <a:gd name="connsiteX0" fmla="*/ 214853 w 462342"/>
                <a:gd name="connsiteY0" fmla="*/ 65272 h 677195"/>
                <a:gd name="connsiteX1" fmla="*/ 195815 w 462342"/>
                <a:gd name="connsiteY1" fmla="*/ 73431 h 677195"/>
                <a:gd name="connsiteX2" fmla="*/ 193096 w 462342"/>
                <a:gd name="connsiteY2" fmla="*/ 125105 h 677195"/>
                <a:gd name="connsiteX3" fmla="*/ 190376 w 462342"/>
                <a:gd name="connsiteY3" fmla="*/ 280125 h 677195"/>
                <a:gd name="connsiteX4" fmla="*/ 190376 w 462342"/>
                <a:gd name="connsiteY4" fmla="*/ 301882 h 677195"/>
                <a:gd name="connsiteX5" fmla="*/ 193096 w 462342"/>
                <a:gd name="connsiteY5" fmla="*/ 342677 h 677195"/>
                <a:gd name="connsiteX6" fmla="*/ 195815 w 462342"/>
                <a:gd name="connsiteY6" fmla="*/ 397070 h 677195"/>
                <a:gd name="connsiteX7" fmla="*/ 195815 w 462342"/>
                <a:gd name="connsiteY7" fmla="*/ 443304 h 677195"/>
                <a:gd name="connsiteX8" fmla="*/ 195815 w 462342"/>
                <a:gd name="connsiteY8" fmla="*/ 530333 h 677195"/>
                <a:gd name="connsiteX9" fmla="*/ 193096 w 462342"/>
                <a:gd name="connsiteY9" fmla="*/ 554810 h 677195"/>
                <a:gd name="connsiteX10" fmla="*/ 190376 w 462342"/>
                <a:gd name="connsiteY10" fmla="*/ 603764 h 677195"/>
                <a:gd name="connsiteX11" fmla="*/ 198535 w 462342"/>
                <a:gd name="connsiteY11" fmla="*/ 611923 h 677195"/>
                <a:gd name="connsiteX12" fmla="*/ 214853 w 462342"/>
                <a:gd name="connsiteY12" fmla="*/ 611923 h 677195"/>
                <a:gd name="connsiteX13" fmla="*/ 236610 w 462342"/>
                <a:gd name="connsiteY13" fmla="*/ 611923 h 677195"/>
                <a:gd name="connsiteX14" fmla="*/ 263807 w 462342"/>
                <a:gd name="connsiteY14" fmla="*/ 598325 h 677195"/>
                <a:gd name="connsiteX15" fmla="*/ 277405 w 462342"/>
                <a:gd name="connsiteY15" fmla="*/ 592885 h 677195"/>
                <a:gd name="connsiteX16" fmla="*/ 291004 w 462342"/>
                <a:gd name="connsiteY16" fmla="*/ 573848 h 677195"/>
                <a:gd name="connsiteX17" fmla="*/ 307322 w 462342"/>
                <a:gd name="connsiteY17" fmla="*/ 543931 h 677195"/>
                <a:gd name="connsiteX18" fmla="*/ 326359 w 462342"/>
                <a:gd name="connsiteY18" fmla="*/ 481379 h 677195"/>
                <a:gd name="connsiteX19" fmla="*/ 337238 w 462342"/>
                <a:gd name="connsiteY19" fmla="*/ 413388 h 677195"/>
                <a:gd name="connsiteX20" fmla="*/ 337238 w 462342"/>
                <a:gd name="connsiteY20" fmla="*/ 350836 h 677195"/>
                <a:gd name="connsiteX21" fmla="*/ 334518 w 462342"/>
                <a:gd name="connsiteY21" fmla="*/ 296443 h 677195"/>
                <a:gd name="connsiteX22" fmla="*/ 329079 w 462342"/>
                <a:gd name="connsiteY22" fmla="*/ 244769 h 677195"/>
                <a:gd name="connsiteX23" fmla="*/ 307322 w 462342"/>
                <a:gd name="connsiteY23" fmla="*/ 135983 h 677195"/>
                <a:gd name="connsiteX24" fmla="*/ 271966 w 462342"/>
                <a:gd name="connsiteY24" fmla="*/ 78870 h 677195"/>
                <a:gd name="connsiteX25" fmla="*/ 214853 w 462342"/>
                <a:gd name="connsiteY25" fmla="*/ 65272 h 677195"/>
                <a:gd name="connsiteX26" fmla="*/ 114226 w 462342"/>
                <a:gd name="connsiteY26" fmla="*/ 0 h 677195"/>
                <a:gd name="connsiteX27" fmla="*/ 127824 w 462342"/>
                <a:gd name="connsiteY27" fmla="*/ 0 h 677195"/>
                <a:gd name="connsiteX28" fmla="*/ 146862 w 462342"/>
                <a:gd name="connsiteY28" fmla="*/ 2720 h 677195"/>
                <a:gd name="connsiteX29" fmla="*/ 174059 w 462342"/>
                <a:gd name="connsiteY29" fmla="*/ 21758 h 677195"/>
                <a:gd name="connsiteX30" fmla="*/ 193096 w 462342"/>
                <a:gd name="connsiteY30" fmla="*/ 21758 h 677195"/>
                <a:gd name="connsiteX31" fmla="*/ 261088 w 462342"/>
                <a:gd name="connsiteY31" fmla="*/ 27197 h 677195"/>
                <a:gd name="connsiteX32" fmla="*/ 310042 w 462342"/>
                <a:gd name="connsiteY32" fmla="*/ 35356 h 677195"/>
                <a:gd name="connsiteX33" fmla="*/ 334518 w 462342"/>
                <a:gd name="connsiteY33" fmla="*/ 40795 h 677195"/>
                <a:gd name="connsiteX34" fmla="*/ 356276 w 462342"/>
                <a:gd name="connsiteY34" fmla="*/ 59833 h 677195"/>
                <a:gd name="connsiteX35" fmla="*/ 372593 w 462342"/>
                <a:gd name="connsiteY35" fmla="*/ 76151 h 677195"/>
                <a:gd name="connsiteX36" fmla="*/ 380752 w 462342"/>
                <a:gd name="connsiteY36" fmla="*/ 95188 h 677195"/>
                <a:gd name="connsiteX37" fmla="*/ 405230 w 462342"/>
                <a:gd name="connsiteY37" fmla="*/ 114226 h 677195"/>
                <a:gd name="connsiteX38" fmla="*/ 416108 w 462342"/>
                <a:gd name="connsiteY38" fmla="*/ 141422 h 677195"/>
                <a:gd name="connsiteX39" fmla="*/ 451464 w 462342"/>
                <a:gd name="connsiteY39" fmla="*/ 201256 h 677195"/>
                <a:gd name="connsiteX40" fmla="*/ 456903 w 462342"/>
                <a:gd name="connsiteY40" fmla="*/ 252929 h 677195"/>
                <a:gd name="connsiteX41" fmla="*/ 456903 w 462342"/>
                <a:gd name="connsiteY41" fmla="*/ 291004 h 677195"/>
                <a:gd name="connsiteX42" fmla="*/ 459623 w 462342"/>
                <a:gd name="connsiteY42" fmla="*/ 318201 h 677195"/>
                <a:gd name="connsiteX43" fmla="*/ 459623 w 462342"/>
                <a:gd name="connsiteY43" fmla="*/ 326360 h 677195"/>
                <a:gd name="connsiteX44" fmla="*/ 459623 w 462342"/>
                <a:gd name="connsiteY44" fmla="*/ 348117 h 677195"/>
                <a:gd name="connsiteX45" fmla="*/ 462342 w 462342"/>
                <a:gd name="connsiteY45" fmla="*/ 367155 h 677195"/>
                <a:gd name="connsiteX46" fmla="*/ 456903 w 462342"/>
                <a:gd name="connsiteY46" fmla="*/ 391632 h 677195"/>
                <a:gd name="connsiteX47" fmla="*/ 456903 w 462342"/>
                <a:gd name="connsiteY47" fmla="*/ 418828 h 677195"/>
                <a:gd name="connsiteX48" fmla="*/ 451464 w 462342"/>
                <a:gd name="connsiteY48" fmla="*/ 437866 h 677195"/>
                <a:gd name="connsiteX49" fmla="*/ 446025 w 462342"/>
                <a:gd name="connsiteY49" fmla="*/ 454184 h 677195"/>
                <a:gd name="connsiteX50" fmla="*/ 440585 w 462342"/>
                <a:gd name="connsiteY50" fmla="*/ 481380 h 677195"/>
                <a:gd name="connsiteX51" fmla="*/ 432426 w 462342"/>
                <a:gd name="connsiteY51" fmla="*/ 508577 h 677195"/>
                <a:gd name="connsiteX52" fmla="*/ 418828 w 462342"/>
                <a:gd name="connsiteY52" fmla="*/ 530334 h 677195"/>
                <a:gd name="connsiteX53" fmla="*/ 410669 w 462342"/>
                <a:gd name="connsiteY53" fmla="*/ 549371 h 677195"/>
                <a:gd name="connsiteX54" fmla="*/ 391631 w 462342"/>
                <a:gd name="connsiteY54" fmla="*/ 579288 h 677195"/>
                <a:gd name="connsiteX55" fmla="*/ 337238 w 462342"/>
                <a:gd name="connsiteY55" fmla="*/ 630961 h 677195"/>
                <a:gd name="connsiteX56" fmla="*/ 301883 w 462342"/>
                <a:gd name="connsiteY56" fmla="*/ 647279 h 677195"/>
                <a:gd name="connsiteX57" fmla="*/ 263807 w 462342"/>
                <a:gd name="connsiteY57" fmla="*/ 652718 h 677195"/>
                <a:gd name="connsiteX58" fmla="*/ 233891 w 462342"/>
                <a:gd name="connsiteY58" fmla="*/ 649999 h 677195"/>
                <a:gd name="connsiteX59" fmla="*/ 187657 w 462342"/>
                <a:gd name="connsiteY59" fmla="*/ 652718 h 677195"/>
                <a:gd name="connsiteX60" fmla="*/ 171339 w 462342"/>
                <a:gd name="connsiteY60" fmla="*/ 669036 h 677195"/>
                <a:gd name="connsiteX61" fmla="*/ 155021 w 462342"/>
                <a:gd name="connsiteY61" fmla="*/ 671756 h 677195"/>
                <a:gd name="connsiteX62" fmla="*/ 138703 w 462342"/>
                <a:gd name="connsiteY62" fmla="*/ 674476 h 677195"/>
                <a:gd name="connsiteX63" fmla="*/ 125105 w 462342"/>
                <a:gd name="connsiteY63" fmla="*/ 677195 h 677195"/>
                <a:gd name="connsiteX64" fmla="*/ 106067 w 462342"/>
                <a:gd name="connsiteY64" fmla="*/ 671756 h 677195"/>
                <a:gd name="connsiteX65" fmla="*/ 87029 w 462342"/>
                <a:gd name="connsiteY65" fmla="*/ 658158 h 677195"/>
                <a:gd name="connsiteX66" fmla="*/ 81590 w 462342"/>
                <a:gd name="connsiteY66" fmla="*/ 652718 h 677195"/>
                <a:gd name="connsiteX67" fmla="*/ 67992 w 462342"/>
                <a:gd name="connsiteY67" fmla="*/ 652718 h 677195"/>
                <a:gd name="connsiteX68" fmla="*/ 43515 w 462342"/>
                <a:gd name="connsiteY68" fmla="*/ 652718 h 677195"/>
                <a:gd name="connsiteX69" fmla="*/ 16318 w 462342"/>
                <a:gd name="connsiteY69" fmla="*/ 647279 h 677195"/>
                <a:gd name="connsiteX70" fmla="*/ 0 w 462342"/>
                <a:gd name="connsiteY70" fmla="*/ 630961 h 677195"/>
                <a:gd name="connsiteX71" fmla="*/ 5439 w 462342"/>
                <a:gd name="connsiteY71" fmla="*/ 620083 h 677195"/>
                <a:gd name="connsiteX72" fmla="*/ 27197 w 462342"/>
                <a:gd name="connsiteY72" fmla="*/ 611924 h 677195"/>
                <a:gd name="connsiteX73" fmla="*/ 65272 w 462342"/>
                <a:gd name="connsiteY73" fmla="*/ 609204 h 677195"/>
                <a:gd name="connsiteX74" fmla="*/ 65272 w 462342"/>
                <a:gd name="connsiteY74" fmla="*/ 584727 h 677195"/>
                <a:gd name="connsiteX75" fmla="*/ 62552 w 462342"/>
                <a:gd name="connsiteY75" fmla="*/ 456903 h 677195"/>
                <a:gd name="connsiteX76" fmla="*/ 65272 w 462342"/>
                <a:gd name="connsiteY76" fmla="*/ 337238 h 677195"/>
                <a:gd name="connsiteX77" fmla="*/ 67992 w 462342"/>
                <a:gd name="connsiteY77" fmla="*/ 203975 h 677195"/>
                <a:gd name="connsiteX78" fmla="*/ 70712 w 462342"/>
                <a:gd name="connsiteY78" fmla="*/ 119665 h 677195"/>
                <a:gd name="connsiteX79" fmla="*/ 73431 w 462342"/>
                <a:gd name="connsiteY79" fmla="*/ 67992 h 677195"/>
                <a:gd name="connsiteX80" fmla="*/ 67992 w 462342"/>
                <a:gd name="connsiteY80" fmla="*/ 67992 h 677195"/>
                <a:gd name="connsiteX81" fmla="*/ 43515 w 462342"/>
                <a:gd name="connsiteY81" fmla="*/ 67992 h 677195"/>
                <a:gd name="connsiteX82" fmla="*/ 16318 w 462342"/>
                <a:gd name="connsiteY82" fmla="*/ 62552 h 677195"/>
                <a:gd name="connsiteX83" fmla="*/ 0 w 462342"/>
                <a:gd name="connsiteY83" fmla="*/ 46234 h 677195"/>
                <a:gd name="connsiteX84" fmla="*/ 5439 w 462342"/>
                <a:gd name="connsiteY84" fmla="*/ 35356 h 677195"/>
                <a:gd name="connsiteX85" fmla="*/ 27197 w 462342"/>
                <a:gd name="connsiteY85" fmla="*/ 27197 h 677195"/>
                <a:gd name="connsiteX86" fmla="*/ 76151 w 462342"/>
                <a:gd name="connsiteY86" fmla="*/ 21758 h 677195"/>
                <a:gd name="connsiteX87" fmla="*/ 81590 w 462342"/>
                <a:gd name="connsiteY87" fmla="*/ 13598 h 677195"/>
                <a:gd name="connsiteX88" fmla="*/ 97908 w 462342"/>
                <a:gd name="connsiteY88" fmla="*/ 5439 h 677195"/>
                <a:gd name="connsiteX89" fmla="*/ 114226 w 462342"/>
                <a:gd name="connsiteY89" fmla="*/ 0 h 6771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</a:cxnLst>
              <a:rect l="l" t="t" r="r" b="b"/>
              <a:pathLst>
                <a:path w="462342" h="677195">
                  <a:moveTo>
                    <a:pt x="214853" y="65272"/>
                  </a:moveTo>
                  <a:cubicBezTo>
                    <a:pt x="203975" y="65272"/>
                    <a:pt x="195815" y="67992"/>
                    <a:pt x="195815" y="73431"/>
                  </a:cubicBezTo>
                  <a:cubicBezTo>
                    <a:pt x="193096" y="78870"/>
                    <a:pt x="193096" y="100628"/>
                    <a:pt x="193096" y="125105"/>
                  </a:cubicBezTo>
                  <a:cubicBezTo>
                    <a:pt x="193096" y="182217"/>
                    <a:pt x="193096" y="266527"/>
                    <a:pt x="190376" y="280125"/>
                  </a:cubicBezTo>
                  <a:cubicBezTo>
                    <a:pt x="190376" y="288284"/>
                    <a:pt x="190376" y="293723"/>
                    <a:pt x="190376" y="301882"/>
                  </a:cubicBezTo>
                  <a:cubicBezTo>
                    <a:pt x="190376" y="315480"/>
                    <a:pt x="190376" y="329079"/>
                    <a:pt x="193096" y="342677"/>
                  </a:cubicBezTo>
                  <a:cubicBezTo>
                    <a:pt x="193096" y="361715"/>
                    <a:pt x="193096" y="378033"/>
                    <a:pt x="195815" y="397070"/>
                  </a:cubicBezTo>
                  <a:cubicBezTo>
                    <a:pt x="195815" y="413388"/>
                    <a:pt x="195815" y="426986"/>
                    <a:pt x="195815" y="443304"/>
                  </a:cubicBezTo>
                  <a:cubicBezTo>
                    <a:pt x="195815" y="465061"/>
                    <a:pt x="198535" y="508576"/>
                    <a:pt x="195815" y="530333"/>
                  </a:cubicBezTo>
                  <a:cubicBezTo>
                    <a:pt x="195815" y="538492"/>
                    <a:pt x="193096" y="546651"/>
                    <a:pt x="193096" y="554810"/>
                  </a:cubicBezTo>
                  <a:cubicBezTo>
                    <a:pt x="193096" y="560249"/>
                    <a:pt x="190376" y="590166"/>
                    <a:pt x="190376" y="603764"/>
                  </a:cubicBezTo>
                  <a:cubicBezTo>
                    <a:pt x="190376" y="609203"/>
                    <a:pt x="190376" y="611923"/>
                    <a:pt x="198535" y="611923"/>
                  </a:cubicBezTo>
                  <a:cubicBezTo>
                    <a:pt x="206694" y="611923"/>
                    <a:pt x="209414" y="611923"/>
                    <a:pt x="214853" y="611923"/>
                  </a:cubicBezTo>
                  <a:cubicBezTo>
                    <a:pt x="223012" y="611923"/>
                    <a:pt x="220293" y="611923"/>
                    <a:pt x="236610" y="611923"/>
                  </a:cubicBezTo>
                  <a:cubicBezTo>
                    <a:pt x="242050" y="611923"/>
                    <a:pt x="258368" y="601044"/>
                    <a:pt x="263807" y="598325"/>
                  </a:cubicBezTo>
                  <a:cubicBezTo>
                    <a:pt x="266527" y="598325"/>
                    <a:pt x="274686" y="592885"/>
                    <a:pt x="277405" y="592885"/>
                  </a:cubicBezTo>
                  <a:cubicBezTo>
                    <a:pt x="285564" y="587446"/>
                    <a:pt x="288284" y="579287"/>
                    <a:pt x="291004" y="573848"/>
                  </a:cubicBezTo>
                  <a:cubicBezTo>
                    <a:pt x="296443" y="562969"/>
                    <a:pt x="301882" y="554810"/>
                    <a:pt x="307322" y="543931"/>
                  </a:cubicBezTo>
                  <a:cubicBezTo>
                    <a:pt x="315481" y="524894"/>
                    <a:pt x="320920" y="524894"/>
                    <a:pt x="326359" y="481379"/>
                  </a:cubicBezTo>
                  <a:cubicBezTo>
                    <a:pt x="329079" y="456903"/>
                    <a:pt x="334518" y="435145"/>
                    <a:pt x="337238" y="413388"/>
                  </a:cubicBezTo>
                  <a:cubicBezTo>
                    <a:pt x="337238" y="391631"/>
                    <a:pt x="337238" y="369873"/>
                    <a:pt x="337238" y="350836"/>
                  </a:cubicBezTo>
                  <a:cubicBezTo>
                    <a:pt x="337238" y="339957"/>
                    <a:pt x="337238" y="320920"/>
                    <a:pt x="334518" y="296443"/>
                  </a:cubicBezTo>
                  <a:cubicBezTo>
                    <a:pt x="331798" y="269246"/>
                    <a:pt x="329079" y="250209"/>
                    <a:pt x="329079" y="244769"/>
                  </a:cubicBezTo>
                  <a:cubicBezTo>
                    <a:pt x="323640" y="206694"/>
                    <a:pt x="318200" y="174058"/>
                    <a:pt x="307322" y="135983"/>
                  </a:cubicBezTo>
                  <a:cubicBezTo>
                    <a:pt x="304602" y="125105"/>
                    <a:pt x="304602" y="108787"/>
                    <a:pt x="271966" y="78870"/>
                  </a:cubicBezTo>
                  <a:cubicBezTo>
                    <a:pt x="263807" y="73431"/>
                    <a:pt x="233891" y="65272"/>
                    <a:pt x="214853" y="65272"/>
                  </a:cubicBezTo>
                  <a:close/>
                  <a:moveTo>
                    <a:pt x="114226" y="0"/>
                  </a:moveTo>
                  <a:cubicBezTo>
                    <a:pt x="119665" y="0"/>
                    <a:pt x="125105" y="0"/>
                    <a:pt x="127824" y="0"/>
                  </a:cubicBezTo>
                  <a:cubicBezTo>
                    <a:pt x="133264" y="0"/>
                    <a:pt x="141422" y="0"/>
                    <a:pt x="146862" y="2720"/>
                  </a:cubicBezTo>
                  <a:cubicBezTo>
                    <a:pt x="157741" y="5439"/>
                    <a:pt x="165900" y="13598"/>
                    <a:pt x="174059" y="21758"/>
                  </a:cubicBezTo>
                  <a:cubicBezTo>
                    <a:pt x="179498" y="21758"/>
                    <a:pt x="187657" y="21758"/>
                    <a:pt x="193096" y="21758"/>
                  </a:cubicBezTo>
                  <a:cubicBezTo>
                    <a:pt x="212134" y="21758"/>
                    <a:pt x="228452" y="27197"/>
                    <a:pt x="261088" y="27197"/>
                  </a:cubicBezTo>
                  <a:cubicBezTo>
                    <a:pt x="277405" y="27197"/>
                    <a:pt x="293723" y="35356"/>
                    <a:pt x="310042" y="35356"/>
                  </a:cubicBezTo>
                  <a:cubicBezTo>
                    <a:pt x="318200" y="35356"/>
                    <a:pt x="329079" y="35356"/>
                    <a:pt x="334518" y="40795"/>
                  </a:cubicBezTo>
                  <a:cubicBezTo>
                    <a:pt x="342677" y="46234"/>
                    <a:pt x="348117" y="54393"/>
                    <a:pt x="356276" y="59833"/>
                  </a:cubicBezTo>
                  <a:cubicBezTo>
                    <a:pt x="361715" y="65272"/>
                    <a:pt x="369874" y="67992"/>
                    <a:pt x="372593" y="76151"/>
                  </a:cubicBezTo>
                  <a:cubicBezTo>
                    <a:pt x="375313" y="81590"/>
                    <a:pt x="378033" y="89749"/>
                    <a:pt x="380752" y="95188"/>
                  </a:cubicBezTo>
                  <a:cubicBezTo>
                    <a:pt x="386192" y="103347"/>
                    <a:pt x="391631" y="106067"/>
                    <a:pt x="405230" y="114226"/>
                  </a:cubicBezTo>
                  <a:cubicBezTo>
                    <a:pt x="413388" y="119665"/>
                    <a:pt x="410669" y="133263"/>
                    <a:pt x="416108" y="141422"/>
                  </a:cubicBezTo>
                  <a:cubicBezTo>
                    <a:pt x="426987" y="160461"/>
                    <a:pt x="446025" y="182218"/>
                    <a:pt x="451464" y="201256"/>
                  </a:cubicBezTo>
                  <a:cubicBezTo>
                    <a:pt x="456903" y="220293"/>
                    <a:pt x="456903" y="236611"/>
                    <a:pt x="456903" y="252929"/>
                  </a:cubicBezTo>
                  <a:cubicBezTo>
                    <a:pt x="456903" y="266527"/>
                    <a:pt x="456903" y="277406"/>
                    <a:pt x="456903" y="291004"/>
                  </a:cubicBezTo>
                  <a:cubicBezTo>
                    <a:pt x="456903" y="299163"/>
                    <a:pt x="456903" y="307322"/>
                    <a:pt x="459623" y="318201"/>
                  </a:cubicBezTo>
                  <a:cubicBezTo>
                    <a:pt x="459623" y="320921"/>
                    <a:pt x="459623" y="323640"/>
                    <a:pt x="459623" y="326360"/>
                  </a:cubicBezTo>
                  <a:cubicBezTo>
                    <a:pt x="462342" y="331799"/>
                    <a:pt x="459623" y="337238"/>
                    <a:pt x="459623" y="348117"/>
                  </a:cubicBezTo>
                  <a:cubicBezTo>
                    <a:pt x="459623" y="350837"/>
                    <a:pt x="462342" y="361715"/>
                    <a:pt x="462342" y="367155"/>
                  </a:cubicBezTo>
                  <a:cubicBezTo>
                    <a:pt x="462342" y="375314"/>
                    <a:pt x="456903" y="383473"/>
                    <a:pt x="456903" y="391632"/>
                  </a:cubicBezTo>
                  <a:cubicBezTo>
                    <a:pt x="456903" y="399790"/>
                    <a:pt x="456903" y="410669"/>
                    <a:pt x="456903" y="418828"/>
                  </a:cubicBezTo>
                  <a:cubicBezTo>
                    <a:pt x="456903" y="421548"/>
                    <a:pt x="454183" y="429707"/>
                    <a:pt x="451464" y="437866"/>
                  </a:cubicBezTo>
                  <a:cubicBezTo>
                    <a:pt x="448744" y="443305"/>
                    <a:pt x="448744" y="451464"/>
                    <a:pt x="446025" y="454184"/>
                  </a:cubicBezTo>
                  <a:cubicBezTo>
                    <a:pt x="443305" y="462343"/>
                    <a:pt x="440585" y="473221"/>
                    <a:pt x="440585" y="481380"/>
                  </a:cubicBezTo>
                  <a:cubicBezTo>
                    <a:pt x="437865" y="489539"/>
                    <a:pt x="437865" y="500418"/>
                    <a:pt x="432426" y="508577"/>
                  </a:cubicBezTo>
                  <a:cubicBezTo>
                    <a:pt x="429706" y="516736"/>
                    <a:pt x="424267" y="522175"/>
                    <a:pt x="418828" y="530334"/>
                  </a:cubicBezTo>
                  <a:cubicBezTo>
                    <a:pt x="416108" y="535773"/>
                    <a:pt x="413388" y="543932"/>
                    <a:pt x="410669" y="549371"/>
                  </a:cubicBezTo>
                  <a:cubicBezTo>
                    <a:pt x="405230" y="557531"/>
                    <a:pt x="397071" y="573848"/>
                    <a:pt x="391631" y="579288"/>
                  </a:cubicBezTo>
                  <a:cubicBezTo>
                    <a:pt x="369874" y="609204"/>
                    <a:pt x="350836" y="620083"/>
                    <a:pt x="337238" y="630961"/>
                  </a:cubicBezTo>
                  <a:cubicBezTo>
                    <a:pt x="326359" y="639120"/>
                    <a:pt x="315481" y="641840"/>
                    <a:pt x="301883" y="647279"/>
                  </a:cubicBezTo>
                  <a:cubicBezTo>
                    <a:pt x="291004" y="649999"/>
                    <a:pt x="277405" y="652718"/>
                    <a:pt x="263807" y="652718"/>
                  </a:cubicBezTo>
                  <a:cubicBezTo>
                    <a:pt x="252929" y="652718"/>
                    <a:pt x="244770" y="649999"/>
                    <a:pt x="233891" y="649999"/>
                  </a:cubicBezTo>
                  <a:cubicBezTo>
                    <a:pt x="206694" y="649999"/>
                    <a:pt x="217573" y="652718"/>
                    <a:pt x="187657" y="652718"/>
                  </a:cubicBezTo>
                  <a:cubicBezTo>
                    <a:pt x="184937" y="660877"/>
                    <a:pt x="179498" y="666317"/>
                    <a:pt x="171339" y="669036"/>
                  </a:cubicBezTo>
                  <a:cubicBezTo>
                    <a:pt x="165900" y="671756"/>
                    <a:pt x="160460" y="671756"/>
                    <a:pt x="155021" y="671756"/>
                  </a:cubicBezTo>
                  <a:cubicBezTo>
                    <a:pt x="149581" y="671756"/>
                    <a:pt x="144142" y="674476"/>
                    <a:pt x="138703" y="674476"/>
                  </a:cubicBezTo>
                  <a:cubicBezTo>
                    <a:pt x="135983" y="674476"/>
                    <a:pt x="127824" y="677195"/>
                    <a:pt x="125105" y="677195"/>
                  </a:cubicBezTo>
                  <a:cubicBezTo>
                    <a:pt x="116946" y="677195"/>
                    <a:pt x="108787" y="671756"/>
                    <a:pt x="106067" y="671756"/>
                  </a:cubicBezTo>
                  <a:cubicBezTo>
                    <a:pt x="100628" y="669036"/>
                    <a:pt x="95188" y="663597"/>
                    <a:pt x="87029" y="658158"/>
                  </a:cubicBezTo>
                  <a:cubicBezTo>
                    <a:pt x="84310" y="655438"/>
                    <a:pt x="81590" y="655438"/>
                    <a:pt x="81590" y="652718"/>
                  </a:cubicBezTo>
                  <a:cubicBezTo>
                    <a:pt x="73431" y="652718"/>
                    <a:pt x="81590" y="652718"/>
                    <a:pt x="67992" y="652718"/>
                  </a:cubicBezTo>
                  <a:cubicBezTo>
                    <a:pt x="59833" y="652718"/>
                    <a:pt x="51674" y="652718"/>
                    <a:pt x="43515" y="652718"/>
                  </a:cubicBezTo>
                  <a:cubicBezTo>
                    <a:pt x="35356" y="652718"/>
                    <a:pt x="24477" y="652718"/>
                    <a:pt x="16318" y="647279"/>
                  </a:cubicBezTo>
                  <a:cubicBezTo>
                    <a:pt x="8159" y="644559"/>
                    <a:pt x="0" y="636401"/>
                    <a:pt x="0" y="630961"/>
                  </a:cubicBezTo>
                  <a:cubicBezTo>
                    <a:pt x="0" y="625522"/>
                    <a:pt x="0" y="622802"/>
                    <a:pt x="5439" y="620083"/>
                  </a:cubicBezTo>
                  <a:cubicBezTo>
                    <a:pt x="10879" y="617363"/>
                    <a:pt x="21758" y="614643"/>
                    <a:pt x="27197" y="611924"/>
                  </a:cubicBezTo>
                  <a:cubicBezTo>
                    <a:pt x="38076" y="609204"/>
                    <a:pt x="54393" y="609204"/>
                    <a:pt x="65272" y="609204"/>
                  </a:cubicBezTo>
                  <a:cubicBezTo>
                    <a:pt x="65272" y="601045"/>
                    <a:pt x="65272" y="592886"/>
                    <a:pt x="65272" y="584727"/>
                  </a:cubicBezTo>
                  <a:cubicBezTo>
                    <a:pt x="65272" y="541213"/>
                    <a:pt x="62552" y="500418"/>
                    <a:pt x="62552" y="456903"/>
                  </a:cubicBezTo>
                  <a:cubicBezTo>
                    <a:pt x="62552" y="440585"/>
                    <a:pt x="65272" y="397071"/>
                    <a:pt x="65272" y="337238"/>
                  </a:cubicBezTo>
                  <a:cubicBezTo>
                    <a:pt x="65272" y="293724"/>
                    <a:pt x="67992" y="247490"/>
                    <a:pt x="67992" y="203975"/>
                  </a:cubicBezTo>
                  <a:cubicBezTo>
                    <a:pt x="67992" y="179498"/>
                    <a:pt x="67992" y="149582"/>
                    <a:pt x="70712" y="119665"/>
                  </a:cubicBezTo>
                  <a:cubicBezTo>
                    <a:pt x="70712" y="103347"/>
                    <a:pt x="73431" y="84309"/>
                    <a:pt x="73431" y="67992"/>
                  </a:cubicBezTo>
                  <a:cubicBezTo>
                    <a:pt x="73431" y="67992"/>
                    <a:pt x="70712" y="67992"/>
                    <a:pt x="67992" y="67992"/>
                  </a:cubicBezTo>
                  <a:cubicBezTo>
                    <a:pt x="59833" y="67992"/>
                    <a:pt x="51674" y="67992"/>
                    <a:pt x="43515" y="67992"/>
                  </a:cubicBezTo>
                  <a:cubicBezTo>
                    <a:pt x="35356" y="67992"/>
                    <a:pt x="24477" y="67992"/>
                    <a:pt x="16318" y="62552"/>
                  </a:cubicBezTo>
                  <a:cubicBezTo>
                    <a:pt x="8159" y="59833"/>
                    <a:pt x="0" y="51674"/>
                    <a:pt x="0" y="46234"/>
                  </a:cubicBezTo>
                  <a:cubicBezTo>
                    <a:pt x="0" y="43515"/>
                    <a:pt x="0" y="38075"/>
                    <a:pt x="5439" y="35356"/>
                  </a:cubicBezTo>
                  <a:cubicBezTo>
                    <a:pt x="10879" y="32636"/>
                    <a:pt x="21758" y="29916"/>
                    <a:pt x="27197" y="27197"/>
                  </a:cubicBezTo>
                  <a:cubicBezTo>
                    <a:pt x="46234" y="24477"/>
                    <a:pt x="65272" y="21758"/>
                    <a:pt x="76151" y="21758"/>
                  </a:cubicBezTo>
                  <a:cubicBezTo>
                    <a:pt x="76151" y="19038"/>
                    <a:pt x="78871" y="16318"/>
                    <a:pt x="81590" y="13598"/>
                  </a:cubicBezTo>
                  <a:cubicBezTo>
                    <a:pt x="84310" y="10879"/>
                    <a:pt x="92469" y="5439"/>
                    <a:pt x="97908" y="5439"/>
                  </a:cubicBezTo>
                  <a:cubicBezTo>
                    <a:pt x="103347" y="2720"/>
                    <a:pt x="108787" y="0"/>
                    <a:pt x="114226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/>
            </a:p>
          </p:txBody>
        </p:sp>
        <p:sp>
          <p:nvSpPr>
            <p:cNvPr id="45" name="Freeform: Shape 44">
              <a:extLst>
                <a:ext uri="{FF2B5EF4-FFF2-40B4-BE49-F238E27FC236}">
                  <a16:creationId xmlns:a16="http://schemas.microsoft.com/office/drawing/2014/main" id="{E57DE58C-884C-473D-88BB-56EE3548B302}"/>
                </a:ext>
              </a:extLst>
            </p:cNvPr>
            <p:cNvSpPr/>
            <p:nvPr/>
          </p:nvSpPr>
          <p:spPr>
            <a:xfrm>
              <a:off x="7310622" y="4197597"/>
              <a:ext cx="489539" cy="761503"/>
            </a:xfrm>
            <a:custGeom>
              <a:avLst/>
              <a:gdLst>
                <a:gd name="connsiteX0" fmla="*/ 433491 w 489538"/>
                <a:gd name="connsiteY0" fmla="*/ 651063 h 761503"/>
                <a:gd name="connsiteX1" fmla="*/ 438930 w 489538"/>
                <a:gd name="connsiteY1" fmla="*/ 661942 h 761503"/>
                <a:gd name="connsiteX2" fmla="*/ 425332 w 489538"/>
                <a:gd name="connsiteY2" fmla="*/ 683699 h 761503"/>
                <a:gd name="connsiteX3" fmla="*/ 400855 w 489538"/>
                <a:gd name="connsiteY3" fmla="*/ 691858 h 761503"/>
                <a:gd name="connsiteX4" fmla="*/ 343742 w 489538"/>
                <a:gd name="connsiteY4" fmla="*/ 700017 h 761503"/>
                <a:gd name="connsiteX5" fmla="*/ 316546 w 489538"/>
                <a:gd name="connsiteY5" fmla="*/ 705456 h 761503"/>
                <a:gd name="connsiteX6" fmla="*/ 275751 w 489538"/>
                <a:gd name="connsiteY6" fmla="*/ 705456 h 761503"/>
                <a:gd name="connsiteX7" fmla="*/ 264872 w 489538"/>
                <a:gd name="connsiteY7" fmla="*/ 708176 h 761503"/>
                <a:gd name="connsiteX8" fmla="*/ 253994 w 489538"/>
                <a:gd name="connsiteY8" fmla="*/ 708176 h 761503"/>
                <a:gd name="connsiteX9" fmla="*/ 240395 w 489538"/>
                <a:gd name="connsiteY9" fmla="*/ 719054 h 761503"/>
                <a:gd name="connsiteX10" fmla="*/ 224077 w 489538"/>
                <a:gd name="connsiteY10" fmla="*/ 721774 h 761503"/>
                <a:gd name="connsiteX11" fmla="*/ 205040 w 489538"/>
                <a:gd name="connsiteY11" fmla="*/ 724494 h 761503"/>
                <a:gd name="connsiteX12" fmla="*/ 191441 w 489538"/>
                <a:gd name="connsiteY12" fmla="*/ 727213 h 761503"/>
                <a:gd name="connsiteX13" fmla="*/ 169684 w 489538"/>
                <a:gd name="connsiteY13" fmla="*/ 721774 h 761503"/>
                <a:gd name="connsiteX14" fmla="*/ 150646 w 489538"/>
                <a:gd name="connsiteY14" fmla="*/ 708176 h 761503"/>
                <a:gd name="connsiteX15" fmla="*/ 139768 w 489538"/>
                <a:gd name="connsiteY15" fmla="*/ 708176 h 761503"/>
                <a:gd name="connsiteX16" fmla="*/ 120730 w 489538"/>
                <a:gd name="connsiteY16" fmla="*/ 708176 h 761503"/>
                <a:gd name="connsiteX17" fmla="*/ 98973 w 489538"/>
                <a:gd name="connsiteY17" fmla="*/ 708176 h 761503"/>
                <a:gd name="connsiteX18" fmla="*/ 74496 w 489538"/>
                <a:gd name="connsiteY18" fmla="*/ 702736 h 761503"/>
                <a:gd name="connsiteX19" fmla="*/ 58178 w 489538"/>
                <a:gd name="connsiteY19" fmla="*/ 683699 h 761503"/>
                <a:gd name="connsiteX20" fmla="*/ 63617 w 489538"/>
                <a:gd name="connsiteY20" fmla="*/ 675540 h 761503"/>
                <a:gd name="connsiteX21" fmla="*/ 85375 w 489538"/>
                <a:gd name="connsiteY21" fmla="*/ 667381 h 761503"/>
                <a:gd name="connsiteX22" fmla="*/ 128889 w 489538"/>
                <a:gd name="connsiteY22" fmla="*/ 661942 h 761503"/>
                <a:gd name="connsiteX23" fmla="*/ 128889 w 489538"/>
                <a:gd name="connsiteY23" fmla="*/ 602109 h 761503"/>
                <a:gd name="connsiteX24" fmla="*/ 126170 w 489538"/>
                <a:gd name="connsiteY24" fmla="*/ 523239 h 761503"/>
                <a:gd name="connsiteX25" fmla="*/ 126170 w 489538"/>
                <a:gd name="connsiteY25" fmla="*/ 468846 h 761503"/>
                <a:gd name="connsiteX26" fmla="*/ 123450 w 489538"/>
                <a:gd name="connsiteY26" fmla="*/ 409014 h 761503"/>
                <a:gd name="connsiteX27" fmla="*/ 123450 w 489538"/>
                <a:gd name="connsiteY27" fmla="*/ 384537 h 761503"/>
                <a:gd name="connsiteX28" fmla="*/ 126170 w 489538"/>
                <a:gd name="connsiteY28" fmla="*/ 349181 h 761503"/>
                <a:gd name="connsiteX29" fmla="*/ 126170 w 489538"/>
                <a:gd name="connsiteY29" fmla="*/ 324704 h 761503"/>
                <a:gd name="connsiteX30" fmla="*/ 128889 w 489538"/>
                <a:gd name="connsiteY30" fmla="*/ 292068 h 761503"/>
                <a:gd name="connsiteX31" fmla="*/ 134329 w 489538"/>
                <a:gd name="connsiteY31" fmla="*/ 234956 h 761503"/>
                <a:gd name="connsiteX32" fmla="*/ 134329 w 489538"/>
                <a:gd name="connsiteY32" fmla="*/ 172404 h 761503"/>
                <a:gd name="connsiteX33" fmla="*/ 137048 w 489538"/>
                <a:gd name="connsiteY33" fmla="*/ 123450 h 761503"/>
                <a:gd name="connsiteX34" fmla="*/ 123450 w 489538"/>
                <a:gd name="connsiteY34" fmla="*/ 123450 h 761503"/>
                <a:gd name="connsiteX35" fmla="*/ 101693 w 489538"/>
                <a:gd name="connsiteY35" fmla="*/ 123450 h 761503"/>
                <a:gd name="connsiteX36" fmla="*/ 77216 w 489538"/>
                <a:gd name="connsiteY36" fmla="*/ 118011 h 761503"/>
                <a:gd name="connsiteX37" fmla="*/ 60898 w 489538"/>
                <a:gd name="connsiteY37" fmla="*/ 98973 h 761503"/>
                <a:gd name="connsiteX38" fmla="*/ 66337 w 489538"/>
                <a:gd name="connsiteY38" fmla="*/ 90814 h 761503"/>
                <a:gd name="connsiteX39" fmla="*/ 88094 w 489538"/>
                <a:gd name="connsiteY39" fmla="*/ 82655 h 761503"/>
                <a:gd name="connsiteX40" fmla="*/ 145207 w 489538"/>
                <a:gd name="connsiteY40" fmla="*/ 77216 h 761503"/>
                <a:gd name="connsiteX41" fmla="*/ 145207 w 489538"/>
                <a:gd name="connsiteY41" fmla="*/ 77216 h 761503"/>
                <a:gd name="connsiteX42" fmla="*/ 153366 w 489538"/>
                <a:gd name="connsiteY42" fmla="*/ 69057 h 761503"/>
                <a:gd name="connsiteX43" fmla="*/ 177843 w 489538"/>
                <a:gd name="connsiteY43" fmla="*/ 60898 h 761503"/>
                <a:gd name="connsiteX44" fmla="*/ 196881 w 489538"/>
                <a:gd name="connsiteY44" fmla="*/ 58178 h 761503"/>
                <a:gd name="connsiteX45" fmla="*/ 205040 w 489538"/>
                <a:gd name="connsiteY45" fmla="*/ 58178 h 761503"/>
                <a:gd name="connsiteX46" fmla="*/ 215919 w 489538"/>
                <a:gd name="connsiteY46" fmla="*/ 63617 h 761503"/>
                <a:gd name="connsiteX47" fmla="*/ 229517 w 489538"/>
                <a:gd name="connsiteY47" fmla="*/ 69057 h 761503"/>
                <a:gd name="connsiteX48" fmla="*/ 256713 w 489538"/>
                <a:gd name="connsiteY48" fmla="*/ 77216 h 761503"/>
                <a:gd name="connsiteX49" fmla="*/ 264872 w 489538"/>
                <a:gd name="connsiteY49" fmla="*/ 77216 h 761503"/>
                <a:gd name="connsiteX50" fmla="*/ 281190 w 489538"/>
                <a:gd name="connsiteY50" fmla="*/ 77216 h 761503"/>
                <a:gd name="connsiteX51" fmla="*/ 330144 w 489538"/>
                <a:gd name="connsiteY51" fmla="*/ 77216 h 761503"/>
                <a:gd name="connsiteX52" fmla="*/ 357341 w 489538"/>
                <a:gd name="connsiteY52" fmla="*/ 79935 h 761503"/>
                <a:gd name="connsiteX53" fmla="*/ 387257 w 489538"/>
                <a:gd name="connsiteY53" fmla="*/ 82655 h 761503"/>
                <a:gd name="connsiteX54" fmla="*/ 406295 w 489538"/>
                <a:gd name="connsiteY54" fmla="*/ 85375 h 761503"/>
                <a:gd name="connsiteX55" fmla="*/ 417173 w 489538"/>
                <a:gd name="connsiteY55" fmla="*/ 79935 h 761503"/>
                <a:gd name="connsiteX56" fmla="*/ 425332 w 489538"/>
                <a:gd name="connsiteY56" fmla="*/ 85375 h 761503"/>
                <a:gd name="connsiteX57" fmla="*/ 433491 w 489538"/>
                <a:gd name="connsiteY57" fmla="*/ 104412 h 761503"/>
                <a:gd name="connsiteX58" fmla="*/ 436211 w 489538"/>
                <a:gd name="connsiteY58" fmla="*/ 137048 h 761503"/>
                <a:gd name="connsiteX59" fmla="*/ 438930 w 489538"/>
                <a:gd name="connsiteY59" fmla="*/ 183282 h 761503"/>
                <a:gd name="connsiteX60" fmla="*/ 422612 w 489538"/>
                <a:gd name="connsiteY60" fmla="*/ 218638 h 761503"/>
                <a:gd name="connsiteX61" fmla="*/ 406295 w 489538"/>
                <a:gd name="connsiteY61" fmla="*/ 213198 h 761503"/>
                <a:gd name="connsiteX62" fmla="*/ 398136 w 489538"/>
                <a:gd name="connsiteY62" fmla="*/ 196881 h 761503"/>
                <a:gd name="connsiteX63" fmla="*/ 395416 w 489538"/>
                <a:gd name="connsiteY63" fmla="*/ 175123 h 761503"/>
                <a:gd name="connsiteX64" fmla="*/ 395416 w 489538"/>
                <a:gd name="connsiteY64" fmla="*/ 153366 h 761503"/>
                <a:gd name="connsiteX65" fmla="*/ 395416 w 489538"/>
                <a:gd name="connsiteY65" fmla="*/ 126170 h 761503"/>
                <a:gd name="connsiteX66" fmla="*/ 370939 w 489538"/>
                <a:gd name="connsiteY66" fmla="*/ 128889 h 761503"/>
                <a:gd name="connsiteX67" fmla="*/ 338303 w 489538"/>
                <a:gd name="connsiteY67" fmla="*/ 131609 h 761503"/>
                <a:gd name="connsiteX68" fmla="*/ 286629 w 489538"/>
                <a:gd name="connsiteY68" fmla="*/ 134328 h 761503"/>
                <a:gd name="connsiteX69" fmla="*/ 273031 w 489538"/>
                <a:gd name="connsiteY69" fmla="*/ 137048 h 761503"/>
                <a:gd name="connsiteX70" fmla="*/ 262153 w 489538"/>
                <a:gd name="connsiteY70" fmla="*/ 142487 h 761503"/>
                <a:gd name="connsiteX71" fmla="*/ 259433 w 489538"/>
                <a:gd name="connsiteY71" fmla="*/ 153366 h 761503"/>
                <a:gd name="connsiteX72" fmla="*/ 262153 w 489538"/>
                <a:gd name="connsiteY72" fmla="*/ 166964 h 761503"/>
                <a:gd name="connsiteX73" fmla="*/ 262153 w 489538"/>
                <a:gd name="connsiteY73" fmla="*/ 196881 h 761503"/>
                <a:gd name="connsiteX74" fmla="*/ 262153 w 489538"/>
                <a:gd name="connsiteY74" fmla="*/ 215918 h 761503"/>
                <a:gd name="connsiteX75" fmla="*/ 262153 w 489538"/>
                <a:gd name="connsiteY75" fmla="*/ 251274 h 761503"/>
                <a:gd name="connsiteX76" fmla="*/ 259433 w 489538"/>
                <a:gd name="connsiteY76" fmla="*/ 278470 h 761503"/>
                <a:gd name="connsiteX77" fmla="*/ 259433 w 489538"/>
                <a:gd name="connsiteY77" fmla="*/ 308386 h 761503"/>
                <a:gd name="connsiteX78" fmla="*/ 259433 w 489538"/>
                <a:gd name="connsiteY78" fmla="*/ 321985 h 761503"/>
                <a:gd name="connsiteX79" fmla="*/ 259433 w 489538"/>
                <a:gd name="connsiteY79" fmla="*/ 332863 h 761503"/>
                <a:gd name="connsiteX80" fmla="*/ 267592 w 489538"/>
                <a:gd name="connsiteY80" fmla="*/ 335583 h 761503"/>
                <a:gd name="connsiteX81" fmla="*/ 281190 w 489538"/>
                <a:gd name="connsiteY81" fmla="*/ 335583 h 761503"/>
                <a:gd name="connsiteX82" fmla="*/ 327424 w 489538"/>
                <a:gd name="connsiteY82" fmla="*/ 338303 h 761503"/>
                <a:gd name="connsiteX83" fmla="*/ 351901 w 489538"/>
                <a:gd name="connsiteY83" fmla="*/ 341022 h 761503"/>
                <a:gd name="connsiteX84" fmla="*/ 351901 w 489538"/>
                <a:gd name="connsiteY84" fmla="*/ 335583 h 761503"/>
                <a:gd name="connsiteX85" fmla="*/ 351901 w 489538"/>
                <a:gd name="connsiteY85" fmla="*/ 313826 h 761503"/>
                <a:gd name="connsiteX86" fmla="*/ 357341 w 489538"/>
                <a:gd name="connsiteY86" fmla="*/ 289349 h 761503"/>
                <a:gd name="connsiteX87" fmla="*/ 373658 w 489538"/>
                <a:gd name="connsiteY87" fmla="*/ 273031 h 761503"/>
                <a:gd name="connsiteX88" fmla="*/ 381817 w 489538"/>
                <a:gd name="connsiteY88" fmla="*/ 278470 h 761503"/>
                <a:gd name="connsiteX89" fmla="*/ 389977 w 489538"/>
                <a:gd name="connsiteY89" fmla="*/ 300228 h 761503"/>
                <a:gd name="connsiteX90" fmla="*/ 395416 w 489538"/>
                <a:gd name="connsiteY90" fmla="*/ 351901 h 761503"/>
                <a:gd name="connsiteX91" fmla="*/ 398136 w 489538"/>
                <a:gd name="connsiteY91" fmla="*/ 409014 h 761503"/>
                <a:gd name="connsiteX92" fmla="*/ 381817 w 489538"/>
                <a:gd name="connsiteY92" fmla="*/ 444369 h 761503"/>
                <a:gd name="connsiteX93" fmla="*/ 365500 w 489538"/>
                <a:gd name="connsiteY93" fmla="*/ 438930 h 761503"/>
                <a:gd name="connsiteX94" fmla="*/ 357341 w 489538"/>
                <a:gd name="connsiteY94" fmla="*/ 422612 h 761503"/>
                <a:gd name="connsiteX95" fmla="*/ 354621 w 489538"/>
                <a:gd name="connsiteY95" fmla="*/ 400855 h 761503"/>
                <a:gd name="connsiteX96" fmla="*/ 354621 w 489538"/>
                <a:gd name="connsiteY96" fmla="*/ 381817 h 761503"/>
                <a:gd name="connsiteX97" fmla="*/ 270312 w 489538"/>
                <a:gd name="connsiteY97" fmla="*/ 381817 h 761503"/>
                <a:gd name="connsiteX98" fmla="*/ 256713 w 489538"/>
                <a:gd name="connsiteY98" fmla="*/ 395415 h 761503"/>
                <a:gd name="connsiteX99" fmla="*/ 253994 w 489538"/>
                <a:gd name="connsiteY99" fmla="*/ 422612 h 761503"/>
                <a:gd name="connsiteX100" fmla="*/ 253994 w 489538"/>
                <a:gd name="connsiteY100" fmla="*/ 433490 h 761503"/>
                <a:gd name="connsiteX101" fmla="*/ 253994 w 489538"/>
                <a:gd name="connsiteY101" fmla="*/ 449809 h 761503"/>
                <a:gd name="connsiteX102" fmla="*/ 256713 w 489538"/>
                <a:gd name="connsiteY102" fmla="*/ 474285 h 761503"/>
                <a:gd name="connsiteX103" fmla="*/ 256713 w 489538"/>
                <a:gd name="connsiteY103" fmla="*/ 496043 h 761503"/>
                <a:gd name="connsiteX104" fmla="*/ 259433 w 489538"/>
                <a:gd name="connsiteY104" fmla="*/ 534118 h 761503"/>
                <a:gd name="connsiteX105" fmla="*/ 259433 w 489538"/>
                <a:gd name="connsiteY105" fmla="*/ 591231 h 761503"/>
                <a:gd name="connsiteX106" fmla="*/ 262153 w 489538"/>
                <a:gd name="connsiteY106" fmla="*/ 618427 h 761503"/>
                <a:gd name="connsiteX107" fmla="*/ 267592 w 489538"/>
                <a:gd name="connsiteY107" fmla="*/ 648343 h 761503"/>
                <a:gd name="connsiteX108" fmla="*/ 292069 w 489538"/>
                <a:gd name="connsiteY108" fmla="*/ 651063 h 761503"/>
                <a:gd name="connsiteX109" fmla="*/ 327424 w 489538"/>
                <a:gd name="connsiteY109" fmla="*/ 651063 h 761503"/>
                <a:gd name="connsiteX110" fmla="*/ 362780 w 489538"/>
                <a:gd name="connsiteY110" fmla="*/ 653783 h 761503"/>
                <a:gd name="connsiteX111" fmla="*/ 395416 w 489538"/>
                <a:gd name="connsiteY111" fmla="*/ 648343 h 761503"/>
                <a:gd name="connsiteX112" fmla="*/ 395416 w 489538"/>
                <a:gd name="connsiteY112" fmla="*/ 618427 h 761503"/>
                <a:gd name="connsiteX113" fmla="*/ 395416 w 489538"/>
                <a:gd name="connsiteY113" fmla="*/ 596670 h 761503"/>
                <a:gd name="connsiteX114" fmla="*/ 398136 w 489538"/>
                <a:gd name="connsiteY114" fmla="*/ 574913 h 761503"/>
                <a:gd name="connsiteX115" fmla="*/ 406295 w 489538"/>
                <a:gd name="connsiteY115" fmla="*/ 558595 h 761503"/>
                <a:gd name="connsiteX116" fmla="*/ 422612 w 489538"/>
                <a:gd name="connsiteY116" fmla="*/ 553155 h 761503"/>
                <a:gd name="connsiteX117" fmla="*/ 438930 w 489538"/>
                <a:gd name="connsiteY117" fmla="*/ 588511 h 761503"/>
                <a:gd name="connsiteX118" fmla="*/ 436211 w 489538"/>
                <a:gd name="connsiteY118" fmla="*/ 645624 h 761503"/>
                <a:gd name="connsiteX119" fmla="*/ 433491 w 489538"/>
                <a:gd name="connsiteY119" fmla="*/ 651063 h 761503"/>
                <a:gd name="connsiteX120" fmla="*/ 433491 w 489538"/>
                <a:gd name="connsiteY120" fmla="*/ 651063 h 761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</a:cxnLst>
              <a:rect l="l" t="t" r="r" b="b"/>
              <a:pathLst>
                <a:path w="489538" h="761503">
                  <a:moveTo>
                    <a:pt x="433491" y="651063"/>
                  </a:moveTo>
                  <a:cubicBezTo>
                    <a:pt x="436211" y="653783"/>
                    <a:pt x="438930" y="656502"/>
                    <a:pt x="438930" y="661942"/>
                  </a:cubicBezTo>
                  <a:cubicBezTo>
                    <a:pt x="438930" y="670101"/>
                    <a:pt x="433491" y="678259"/>
                    <a:pt x="425332" y="683699"/>
                  </a:cubicBezTo>
                  <a:cubicBezTo>
                    <a:pt x="417173" y="689138"/>
                    <a:pt x="409014" y="689138"/>
                    <a:pt x="400855" y="691858"/>
                  </a:cubicBezTo>
                  <a:cubicBezTo>
                    <a:pt x="381817" y="694578"/>
                    <a:pt x="362780" y="694578"/>
                    <a:pt x="343742" y="700017"/>
                  </a:cubicBezTo>
                  <a:cubicBezTo>
                    <a:pt x="335583" y="702736"/>
                    <a:pt x="324705" y="702736"/>
                    <a:pt x="316546" y="705456"/>
                  </a:cubicBezTo>
                  <a:cubicBezTo>
                    <a:pt x="308387" y="705456"/>
                    <a:pt x="289349" y="705456"/>
                    <a:pt x="275751" y="705456"/>
                  </a:cubicBezTo>
                  <a:cubicBezTo>
                    <a:pt x="270312" y="705456"/>
                    <a:pt x="267592" y="708176"/>
                    <a:pt x="264872" y="708176"/>
                  </a:cubicBezTo>
                  <a:cubicBezTo>
                    <a:pt x="264872" y="708176"/>
                    <a:pt x="259433" y="708176"/>
                    <a:pt x="253994" y="708176"/>
                  </a:cubicBezTo>
                  <a:cubicBezTo>
                    <a:pt x="251274" y="713615"/>
                    <a:pt x="245835" y="716335"/>
                    <a:pt x="240395" y="719054"/>
                  </a:cubicBezTo>
                  <a:cubicBezTo>
                    <a:pt x="234956" y="721774"/>
                    <a:pt x="229517" y="721774"/>
                    <a:pt x="224077" y="721774"/>
                  </a:cubicBezTo>
                  <a:cubicBezTo>
                    <a:pt x="218638" y="721774"/>
                    <a:pt x="213199" y="724494"/>
                    <a:pt x="205040" y="724494"/>
                  </a:cubicBezTo>
                  <a:cubicBezTo>
                    <a:pt x="202320" y="724494"/>
                    <a:pt x="194161" y="727213"/>
                    <a:pt x="191441" y="727213"/>
                  </a:cubicBezTo>
                  <a:cubicBezTo>
                    <a:pt x="183282" y="727213"/>
                    <a:pt x="172404" y="721774"/>
                    <a:pt x="169684" y="721774"/>
                  </a:cubicBezTo>
                  <a:cubicBezTo>
                    <a:pt x="164245" y="719054"/>
                    <a:pt x="156086" y="713615"/>
                    <a:pt x="150646" y="708176"/>
                  </a:cubicBezTo>
                  <a:cubicBezTo>
                    <a:pt x="145207" y="708176"/>
                    <a:pt x="139768" y="708176"/>
                    <a:pt x="139768" y="708176"/>
                  </a:cubicBezTo>
                  <a:cubicBezTo>
                    <a:pt x="126170" y="708176"/>
                    <a:pt x="137048" y="708176"/>
                    <a:pt x="120730" y="708176"/>
                  </a:cubicBezTo>
                  <a:cubicBezTo>
                    <a:pt x="112571" y="708176"/>
                    <a:pt x="104412" y="708176"/>
                    <a:pt x="98973" y="708176"/>
                  </a:cubicBezTo>
                  <a:cubicBezTo>
                    <a:pt x="90814" y="708176"/>
                    <a:pt x="79936" y="708176"/>
                    <a:pt x="74496" y="702736"/>
                  </a:cubicBezTo>
                  <a:cubicBezTo>
                    <a:pt x="66337" y="700017"/>
                    <a:pt x="58178" y="689138"/>
                    <a:pt x="58178" y="683699"/>
                  </a:cubicBezTo>
                  <a:cubicBezTo>
                    <a:pt x="58178" y="680979"/>
                    <a:pt x="58178" y="678259"/>
                    <a:pt x="63617" y="675540"/>
                  </a:cubicBezTo>
                  <a:cubicBezTo>
                    <a:pt x="69057" y="672820"/>
                    <a:pt x="77216" y="670101"/>
                    <a:pt x="85375" y="667381"/>
                  </a:cubicBezTo>
                  <a:cubicBezTo>
                    <a:pt x="98973" y="664661"/>
                    <a:pt x="115291" y="664661"/>
                    <a:pt x="128889" y="661942"/>
                  </a:cubicBezTo>
                  <a:cubicBezTo>
                    <a:pt x="128889" y="645624"/>
                    <a:pt x="128889" y="623866"/>
                    <a:pt x="128889" y="602109"/>
                  </a:cubicBezTo>
                  <a:cubicBezTo>
                    <a:pt x="128889" y="566754"/>
                    <a:pt x="128889" y="531398"/>
                    <a:pt x="126170" y="523239"/>
                  </a:cubicBezTo>
                  <a:cubicBezTo>
                    <a:pt x="126170" y="517800"/>
                    <a:pt x="126170" y="487884"/>
                    <a:pt x="126170" y="468846"/>
                  </a:cubicBezTo>
                  <a:cubicBezTo>
                    <a:pt x="126170" y="449809"/>
                    <a:pt x="123450" y="430771"/>
                    <a:pt x="123450" y="409014"/>
                  </a:cubicBezTo>
                  <a:cubicBezTo>
                    <a:pt x="123450" y="400855"/>
                    <a:pt x="123450" y="392696"/>
                    <a:pt x="123450" y="384537"/>
                  </a:cubicBezTo>
                  <a:cubicBezTo>
                    <a:pt x="123450" y="373658"/>
                    <a:pt x="126170" y="360060"/>
                    <a:pt x="126170" y="349181"/>
                  </a:cubicBezTo>
                  <a:cubicBezTo>
                    <a:pt x="126170" y="341022"/>
                    <a:pt x="126170" y="332863"/>
                    <a:pt x="126170" y="324704"/>
                  </a:cubicBezTo>
                  <a:cubicBezTo>
                    <a:pt x="126170" y="313826"/>
                    <a:pt x="126170" y="302947"/>
                    <a:pt x="128889" y="292068"/>
                  </a:cubicBezTo>
                  <a:cubicBezTo>
                    <a:pt x="131609" y="273031"/>
                    <a:pt x="134329" y="253993"/>
                    <a:pt x="134329" y="234956"/>
                  </a:cubicBezTo>
                  <a:cubicBezTo>
                    <a:pt x="134329" y="213198"/>
                    <a:pt x="134329" y="191441"/>
                    <a:pt x="134329" y="172404"/>
                  </a:cubicBezTo>
                  <a:cubicBezTo>
                    <a:pt x="134329" y="156086"/>
                    <a:pt x="134329" y="139768"/>
                    <a:pt x="137048" y="123450"/>
                  </a:cubicBezTo>
                  <a:cubicBezTo>
                    <a:pt x="131609" y="123450"/>
                    <a:pt x="134329" y="123450"/>
                    <a:pt x="123450" y="123450"/>
                  </a:cubicBezTo>
                  <a:cubicBezTo>
                    <a:pt x="115291" y="123450"/>
                    <a:pt x="107132" y="123450"/>
                    <a:pt x="101693" y="123450"/>
                  </a:cubicBezTo>
                  <a:cubicBezTo>
                    <a:pt x="93534" y="123450"/>
                    <a:pt x="82655" y="123450"/>
                    <a:pt x="77216" y="118011"/>
                  </a:cubicBezTo>
                  <a:cubicBezTo>
                    <a:pt x="69057" y="115291"/>
                    <a:pt x="60898" y="101693"/>
                    <a:pt x="60898" y="98973"/>
                  </a:cubicBezTo>
                  <a:cubicBezTo>
                    <a:pt x="60898" y="96253"/>
                    <a:pt x="60898" y="93534"/>
                    <a:pt x="66337" y="90814"/>
                  </a:cubicBezTo>
                  <a:cubicBezTo>
                    <a:pt x="71777" y="88094"/>
                    <a:pt x="79936" y="85375"/>
                    <a:pt x="88094" y="82655"/>
                  </a:cubicBezTo>
                  <a:cubicBezTo>
                    <a:pt x="104412" y="79935"/>
                    <a:pt x="131609" y="77216"/>
                    <a:pt x="145207" y="77216"/>
                  </a:cubicBezTo>
                  <a:cubicBezTo>
                    <a:pt x="145207" y="77216"/>
                    <a:pt x="145207" y="77216"/>
                    <a:pt x="145207" y="77216"/>
                  </a:cubicBezTo>
                  <a:cubicBezTo>
                    <a:pt x="145207" y="74496"/>
                    <a:pt x="150646" y="71776"/>
                    <a:pt x="153366" y="69057"/>
                  </a:cubicBezTo>
                  <a:cubicBezTo>
                    <a:pt x="161525" y="63617"/>
                    <a:pt x="169684" y="63617"/>
                    <a:pt x="177843" y="60898"/>
                  </a:cubicBezTo>
                  <a:cubicBezTo>
                    <a:pt x="183282" y="58178"/>
                    <a:pt x="191441" y="58178"/>
                    <a:pt x="196881" y="58178"/>
                  </a:cubicBezTo>
                  <a:cubicBezTo>
                    <a:pt x="199600" y="58178"/>
                    <a:pt x="202320" y="58178"/>
                    <a:pt x="205040" y="58178"/>
                  </a:cubicBezTo>
                  <a:cubicBezTo>
                    <a:pt x="207759" y="58178"/>
                    <a:pt x="213199" y="60898"/>
                    <a:pt x="215919" y="63617"/>
                  </a:cubicBezTo>
                  <a:cubicBezTo>
                    <a:pt x="221358" y="66337"/>
                    <a:pt x="224077" y="66337"/>
                    <a:pt x="229517" y="69057"/>
                  </a:cubicBezTo>
                  <a:cubicBezTo>
                    <a:pt x="237675" y="71776"/>
                    <a:pt x="245835" y="77216"/>
                    <a:pt x="256713" y="77216"/>
                  </a:cubicBezTo>
                  <a:cubicBezTo>
                    <a:pt x="259433" y="77216"/>
                    <a:pt x="262153" y="77216"/>
                    <a:pt x="264872" y="77216"/>
                  </a:cubicBezTo>
                  <a:cubicBezTo>
                    <a:pt x="270312" y="77216"/>
                    <a:pt x="275751" y="77216"/>
                    <a:pt x="281190" y="77216"/>
                  </a:cubicBezTo>
                  <a:cubicBezTo>
                    <a:pt x="292069" y="77216"/>
                    <a:pt x="321985" y="77216"/>
                    <a:pt x="330144" y="77216"/>
                  </a:cubicBezTo>
                  <a:cubicBezTo>
                    <a:pt x="338303" y="77216"/>
                    <a:pt x="349182" y="77216"/>
                    <a:pt x="357341" y="79935"/>
                  </a:cubicBezTo>
                  <a:cubicBezTo>
                    <a:pt x="368219" y="79935"/>
                    <a:pt x="379098" y="82655"/>
                    <a:pt x="387257" y="82655"/>
                  </a:cubicBezTo>
                  <a:cubicBezTo>
                    <a:pt x="392696" y="82655"/>
                    <a:pt x="400855" y="85375"/>
                    <a:pt x="406295" y="85375"/>
                  </a:cubicBezTo>
                  <a:cubicBezTo>
                    <a:pt x="409014" y="82655"/>
                    <a:pt x="414453" y="79935"/>
                    <a:pt x="417173" y="79935"/>
                  </a:cubicBezTo>
                  <a:cubicBezTo>
                    <a:pt x="419893" y="79935"/>
                    <a:pt x="422612" y="79935"/>
                    <a:pt x="425332" y="85375"/>
                  </a:cubicBezTo>
                  <a:cubicBezTo>
                    <a:pt x="428052" y="90814"/>
                    <a:pt x="433491" y="98973"/>
                    <a:pt x="433491" y="104412"/>
                  </a:cubicBezTo>
                  <a:cubicBezTo>
                    <a:pt x="436211" y="131609"/>
                    <a:pt x="436211" y="120730"/>
                    <a:pt x="436211" y="137048"/>
                  </a:cubicBezTo>
                  <a:cubicBezTo>
                    <a:pt x="438930" y="158805"/>
                    <a:pt x="438930" y="158805"/>
                    <a:pt x="438930" y="183282"/>
                  </a:cubicBezTo>
                  <a:cubicBezTo>
                    <a:pt x="438930" y="194161"/>
                    <a:pt x="438930" y="218638"/>
                    <a:pt x="422612" y="218638"/>
                  </a:cubicBezTo>
                  <a:cubicBezTo>
                    <a:pt x="414453" y="218638"/>
                    <a:pt x="411734" y="215918"/>
                    <a:pt x="406295" y="213198"/>
                  </a:cubicBezTo>
                  <a:cubicBezTo>
                    <a:pt x="400855" y="210479"/>
                    <a:pt x="398136" y="202320"/>
                    <a:pt x="398136" y="196881"/>
                  </a:cubicBezTo>
                  <a:cubicBezTo>
                    <a:pt x="395416" y="188722"/>
                    <a:pt x="395416" y="183282"/>
                    <a:pt x="395416" y="175123"/>
                  </a:cubicBezTo>
                  <a:cubicBezTo>
                    <a:pt x="395416" y="169684"/>
                    <a:pt x="395416" y="164245"/>
                    <a:pt x="395416" y="153366"/>
                  </a:cubicBezTo>
                  <a:cubicBezTo>
                    <a:pt x="395416" y="145207"/>
                    <a:pt x="395416" y="134328"/>
                    <a:pt x="395416" y="126170"/>
                  </a:cubicBezTo>
                  <a:cubicBezTo>
                    <a:pt x="387257" y="128889"/>
                    <a:pt x="379098" y="128889"/>
                    <a:pt x="370939" y="128889"/>
                  </a:cubicBezTo>
                  <a:cubicBezTo>
                    <a:pt x="360060" y="128889"/>
                    <a:pt x="349182" y="128889"/>
                    <a:pt x="338303" y="131609"/>
                  </a:cubicBezTo>
                  <a:cubicBezTo>
                    <a:pt x="327424" y="131609"/>
                    <a:pt x="319265" y="134328"/>
                    <a:pt x="286629" y="134328"/>
                  </a:cubicBezTo>
                  <a:cubicBezTo>
                    <a:pt x="281190" y="134328"/>
                    <a:pt x="278470" y="134328"/>
                    <a:pt x="273031" y="137048"/>
                  </a:cubicBezTo>
                  <a:cubicBezTo>
                    <a:pt x="270312" y="137048"/>
                    <a:pt x="264872" y="137048"/>
                    <a:pt x="262153" y="142487"/>
                  </a:cubicBezTo>
                  <a:cubicBezTo>
                    <a:pt x="259433" y="145207"/>
                    <a:pt x="259433" y="150647"/>
                    <a:pt x="259433" y="153366"/>
                  </a:cubicBezTo>
                  <a:cubicBezTo>
                    <a:pt x="259433" y="158805"/>
                    <a:pt x="259433" y="164245"/>
                    <a:pt x="262153" y="166964"/>
                  </a:cubicBezTo>
                  <a:cubicBezTo>
                    <a:pt x="262153" y="177843"/>
                    <a:pt x="262153" y="186002"/>
                    <a:pt x="262153" y="196881"/>
                  </a:cubicBezTo>
                  <a:cubicBezTo>
                    <a:pt x="262153" y="202320"/>
                    <a:pt x="262153" y="210479"/>
                    <a:pt x="262153" y="215918"/>
                  </a:cubicBezTo>
                  <a:cubicBezTo>
                    <a:pt x="262153" y="229516"/>
                    <a:pt x="262153" y="240395"/>
                    <a:pt x="262153" y="251274"/>
                  </a:cubicBezTo>
                  <a:cubicBezTo>
                    <a:pt x="262153" y="259433"/>
                    <a:pt x="259433" y="270311"/>
                    <a:pt x="259433" y="278470"/>
                  </a:cubicBezTo>
                  <a:cubicBezTo>
                    <a:pt x="259433" y="289349"/>
                    <a:pt x="259433" y="297508"/>
                    <a:pt x="259433" y="308386"/>
                  </a:cubicBezTo>
                  <a:cubicBezTo>
                    <a:pt x="259433" y="313826"/>
                    <a:pt x="259433" y="319265"/>
                    <a:pt x="259433" y="321985"/>
                  </a:cubicBezTo>
                  <a:cubicBezTo>
                    <a:pt x="259433" y="324704"/>
                    <a:pt x="259433" y="330144"/>
                    <a:pt x="259433" y="332863"/>
                  </a:cubicBezTo>
                  <a:cubicBezTo>
                    <a:pt x="262153" y="335583"/>
                    <a:pt x="264872" y="335583"/>
                    <a:pt x="267592" y="335583"/>
                  </a:cubicBezTo>
                  <a:cubicBezTo>
                    <a:pt x="273031" y="335583"/>
                    <a:pt x="275751" y="335583"/>
                    <a:pt x="281190" y="335583"/>
                  </a:cubicBezTo>
                  <a:cubicBezTo>
                    <a:pt x="311107" y="335583"/>
                    <a:pt x="319265" y="335583"/>
                    <a:pt x="327424" y="338303"/>
                  </a:cubicBezTo>
                  <a:cubicBezTo>
                    <a:pt x="335583" y="341022"/>
                    <a:pt x="343742" y="341022"/>
                    <a:pt x="351901" y="341022"/>
                  </a:cubicBezTo>
                  <a:cubicBezTo>
                    <a:pt x="351901" y="338303"/>
                    <a:pt x="351901" y="338303"/>
                    <a:pt x="351901" y="335583"/>
                  </a:cubicBezTo>
                  <a:cubicBezTo>
                    <a:pt x="351901" y="327424"/>
                    <a:pt x="351901" y="319265"/>
                    <a:pt x="351901" y="313826"/>
                  </a:cubicBezTo>
                  <a:cubicBezTo>
                    <a:pt x="351901" y="305667"/>
                    <a:pt x="351901" y="294788"/>
                    <a:pt x="357341" y="289349"/>
                  </a:cubicBezTo>
                  <a:cubicBezTo>
                    <a:pt x="360060" y="281190"/>
                    <a:pt x="368219" y="273031"/>
                    <a:pt x="373658" y="273031"/>
                  </a:cubicBezTo>
                  <a:cubicBezTo>
                    <a:pt x="376378" y="273031"/>
                    <a:pt x="379098" y="273031"/>
                    <a:pt x="381817" y="278470"/>
                  </a:cubicBezTo>
                  <a:cubicBezTo>
                    <a:pt x="384537" y="283909"/>
                    <a:pt x="387257" y="292068"/>
                    <a:pt x="389977" y="300228"/>
                  </a:cubicBezTo>
                  <a:cubicBezTo>
                    <a:pt x="392696" y="316545"/>
                    <a:pt x="392696" y="335583"/>
                    <a:pt x="395416" y="351901"/>
                  </a:cubicBezTo>
                  <a:cubicBezTo>
                    <a:pt x="398136" y="373658"/>
                    <a:pt x="398136" y="384537"/>
                    <a:pt x="398136" y="409014"/>
                  </a:cubicBezTo>
                  <a:cubicBezTo>
                    <a:pt x="398136" y="422612"/>
                    <a:pt x="398136" y="444369"/>
                    <a:pt x="381817" y="444369"/>
                  </a:cubicBezTo>
                  <a:cubicBezTo>
                    <a:pt x="373658" y="444369"/>
                    <a:pt x="370939" y="441650"/>
                    <a:pt x="365500" y="438930"/>
                  </a:cubicBezTo>
                  <a:cubicBezTo>
                    <a:pt x="360060" y="436210"/>
                    <a:pt x="357341" y="428051"/>
                    <a:pt x="357341" y="422612"/>
                  </a:cubicBezTo>
                  <a:cubicBezTo>
                    <a:pt x="354621" y="414453"/>
                    <a:pt x="354621" y="409014"/>
                    <a:pt x="354621" y="400855"/>
                  </a:cubicBezTo>
                  <a:cubicBezTo>
                    <a:pt x="354621" y="395415"/>
                    <a:pt x="354621" y="389976"/>
                    <a:pt x="354621" y="381817"/>
                  </a:cubicBezTo>
                  <a:cubicBezTo>
                    <a:pt x="335583" y="381817"/>
                    <a:pt x="308387" y="384537"/>
                    <a:pt x="270312" y="381817"/>
                  </a:cubicBezTo>
                  <a:cubicBezTo>
                    <a:pt x="262153" y="381817"/>
                    <a:pt x="256713" y="387256"/>
                    <a:pt x="256713" y="395415"/>
                  </a:cubicBezTo>
                  <a:cubicBezTo>
                    <a:pt x="256713" y="403574"/>
                    <a:pt x="256713" y="414453"/>
                    <a:pt x="253994" y="422612"/>
                  </a:cubicBezTo>
                  <a:cubicBezTo>
                    <a:pt x="253994" y="425332"/>
                    <a:pt x="253994" y="430771"/>
                    <a:pt x="253994" y="433490"/>
                  </a:cubicBezTo>
                  <a:cubicBezTo>
                    <a:pt x="253994" y="438930"/>
                    <a:pt x="253994" y="444369"/>
                    <a:pt x="253994" y="449809"/>
                  </a:cubicBezTo>
                  <a:cubicBezTo>
                    <a:pt x="253994" y="457967"/>
                    <a:pt x="256713" y="466126"/>
                    <a:pt x="256713" y="474285"/>
                  </a:cubicBezTo>
                  <a:cubicBezTo>
                    <a:pt x="256713" y="482444"/>
                    <a:pt x="256713" y="490603"/>
                    <a:pt x="256713" y="496043"/>
                  </a:cubicBezTo>
                  <a:cubicBezTo>
                    <a:pt x="256713" y="509641"/>
                    <a:pt x="259433" y="520520"/>
                    <a:pt x="259433" y="534118"/>
                  </a:cubicBezTo>
                  <a:cubicBezTo>
                    <a:pt x="259433" y="553155"/>
                    <a:pt x="259433" y="572193"/>
                    <a:pt x="259433" y="591231"/>
                  </a:cubicBezTo>
                  <a:cubicBezTo>
                    <a:pt x="259433" y="602109"/>
                    <a:pt x="262153" y="610268"/>
                    <a:pt x="262153" y="618427"/>
                  </a:cubicBezTo>
                  <a:cubicBezTo>
                    <a:pt x="264872" y="626586"/>
                    <a:pt x="262153" y="642904"/>
                    <a:pt x="267592" y="648343"/>
                  </a:cubicBezTo>
                  <a:cubicBezTo>
                    <a:pt x="270312" y="651063"/>
                    <a:pt x="275751" y="651063"/>
                    <a:pt x="292069" y="651063"/>
                  </a:cubicBezTo>
                  <a:cubicBezTo>
                    <a:pt x="305667" y="651063"/>
                    <a:pt x="319265" y="651063"/>
                    <a:pt x="327424" y="651063"/>
                  </a:cubicBezTo>
                  <a:cubicBezTo>
                    <a:pt x="338303" y="651063"/>
                    <a:pt x="351901" y="653783"/>
                    <a:pt x="362780" y="653783"/>
                  </a:cubicBezTo>
                  <a:cubicBezTo>
                    <a:pt x="376378" y="653783"/>
                    <a:pt x="384537" y="651063"/>
                    <a:pt x="395416" y="648343"/>
                  </a:cubicBezTo>
                  <a:cubicBezTo>
                    <a:pt x="395416" y="637465"/>
                    <a:pt x="395416" y="629306"/>
                    <a:pt x="395416" y="618427"/>
                  </a:cubicBezTo>
                  <a:cubicBezTo>
                    <a:pt x="395416" y="610268"/>
                    <a:pt x="395416" y="602109"/>
                    <a:pt x="395416" y="596670"/>
                  </a:cubicBezTo>
                  <a:cubicBezTo>
                    <a:pt x="395416" y="591231"/>
                    <a:pt x="395416" y="585791"/>
                    <a:pt x="398136" y="574913"/>
                  </a:cubicBezTo>
                  <a:cubicBezTo>
                    <a:pt x="400855" y="569473"/>
                    <a:pt x="400855" y="564034"/>
                    <a:pt x="406295" y="558595"/>
                  </a:cubicBezTo>
                  <a:cubicBezTo>
                    <a:pt x="411734" y="553155"/>
                    <a:pt x="414453" y="553155"/>
                    <a:pt x="422612" y="553155"/>
                  </a:cubicBezTo>
                  <a:cubicBezTo>
                    <a:pt x="436211" y="553155"/>
                    <a:pt x="438930" y="577632"/>
                    <a:pt x="438930" y="588511"/>
                  </a:cubicBezTo>
                  <a:cubicBezTo>
                    <a:pt x="438930" y="612988"/>
                    <a:pt x="438930" y="623866"/>
                    <a:pt x="436211" y="645624"/>
                  </a:cubicBezTo>
                  <a:cubicBezTo>
                    <a:pt x="433491" y="648343"/>
                    <a:pt x="433491" y="648343"/>
                    <a:pt x="433491" y="651063"/>
                  </a:cubicBezTo>
                  <a:lnTo>
                    <a:pt x="433491" y="651063"/>
                  </a:ln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/>
            </a:p>
          </p:txBody>
        </p:sp>
        <p:sp>
          <p:nvSpPr>
            <p:cNvPr id="46" name="Freeform: Shape 45">
              <a:extLst>
                <a:ext uri="{FF2B5EF4-FFF2-40B4-BE49-F238E27FC236}">
                  <a16:creationId xmlns:a16="http://schemas.microsoft.com/office/drawing/2014/main" id="{4E622CD9-12E7-481D-9568-392632F69D07}"/>
                </a:ext>
              </a:extLst>
            </p:cNvPr>
            <p:cNvSpPr/>
            <p:nvPr/>
          </p:nvSpPr>
          <p:spPr>
            <a:xfrm>
              <a:off x="7912732" y="4250336"/>
              <a:ext cx="465062" cy="658157"/>
            </a:xfrm>
            <a:custGeom>
              <a:avLst/>
              <a:gdLst>
                <a:gd name="connsiteX0" fmla="*/ 193096 w 465062"/>
                <a:gd name="connsiteY0" fmla="*/ 59832 h 658157"/>
                <a:gd name="connsiteX1" fmla="*/ 193096 w 465062"/>
                <a:gd name="connsiteY1" fmla="*/ 114226 h 658157"/>
                <a:gd name="connsiteX2" fmla="*/ 198536 w 465062"/>
                <a:gd name="connsiteY2" fmla="*/ 209414 h 658157"/>
                <a:gd name="connsiteX3" fmla="*/ 201255 w 465062"/>
                <a:gd name="connsiteY3" fmla="*/ 282845 h 658157"/>
                <a:gd name="connsiteX4" fmla="*/ 203975 w 465062"/>
                <a:gd name="connsiteY4" fmla="*/ 315481 h 658157"/>
                <a:gd name="connsiteX5" fmla="*/ 203975 w 465062"/>
                <a:gd name="connsiteY5" fmla="*/ 320920 h 658157"/>
                <a:gd name="connsiteX6" fmla="*/ 212134 w 465062"/>
                <a:gd name="connsiteY6" fmla="*/ 329079 h 658157"/>
                <a:gd name="connsiteX7" fmla="*/ 223013 w 465062"/>
                <a:gd name="connsiteY7" fmla="*/ 329079 h 658157"/>
                <a:gd name="connsiteX8" fmla="*/ 239331 w 465062"/>
                <a:gd name="connsiteY8" fmla="*/ 329079 h 658157"/>
                <a:gd name="connsiteX9" fmla="*/ 280126 w 465062"/>
                <a:gd name="connsiteY9" fmla="*/ 312761 h 658157"/>
                <a:gd name="connsiteX10" fmla="*/ 296443 w 465062"/>
                <a:gd name="connsiteY10" fmla="*/ 288284 h 658157"/>
                <a:gd name="connsiteX11" fmla="*/ 304602 w 465062"/>
                <a:gd name="connsiteY11" fmla="*/ 258368 h 658157"/>
                <a:gd name="connsiteX12" fmla="*/ 312761 w 465062"/>
                <a:gd name="connsiteY12" fmla="*/ 225732 h 658157"/>
                <a:gd name="connsiteX13" fmla="*/ 315481 w 465062"/>
                <a:gd name="connsiteY13" fmla="*/ 195816 h 658157"/>
                <a:gd name="connsiteX14" fmla="*/ 318201 w 465062"/>
                <a:gd name="connsiteY14" fmla="*/ 168619 h 658157"/>
                <a:gd name="connsiteX15" fmla="*/ 312761 w 465062"/>
                <a:gd name="connsiteY15" fmla="*/ 135983 h 658157"/>
                <a:gd name="connsiteX16" fmla="*/ 312761 w 465062"/>
                <a:gd name="connsiteY16" fmla="*/ 122385 h 658157"/>
                <a:gd name="connsiteX17" fmla="*/ 293724 w 465062"/>
                <a:gd name="connsiteY17" fmla="*/ 84309 h 658157"/>
                <a:gd name="connsiteX18" fmla="*/ 280126 w 465062"/>
                <a:gd name="connsiteY18" fmla="*/ 73430 h 658157"/>
                <a:gd name="connsiteX19" fmla="*/ 258368 w 465062"/>
                <a:gd name="connsiteY19" fmla="*/ 62552 h 658157"/>
                <a:gd name="connsiteX20" fmla="*/ 217573 w 465062"/>
                <a:gd name="connsiteY20" fmla="*/ 59832 h 658157"/>
                <a:gd name="connsiteX21" fmla="*/ 111506 w 465062"/>
                <a:gd name="connsiteY21" fmla="*/ 0 h 658157"/>
                <a:gd name="connsiteX22" fmla="*/ 127824 w 465062"/>
                <a:gd name="connsiteY22" fmla="*/ 0 h 658157"/>
                <a:gd name="connsiteX23" fmla="*/ 157741 w 465062"/>
                <a:gd name="connsiteY23" fmla="*/ 5440 h 658157"/>
                <a:gd name="connsiteX24" fmla="*/ 179497 w 465062"/>
                <a:gd name="connsiteY24" fmla="*/ 16318 h 658157"/>
                <a:gd name="connsiteX25" fmla="*/ 209414 w 465062"/>
                <a:gd name="connsiteY25" fmla="*/ 16318 h 658157"/>
                <a:gd name="connsiteX26" fmla="*/ 247489 w 465062"/>
                <a:gd name="connsiteY26" fmla="*/ 16318 h 658157"/>
                <a:gd name="connsiteX27" fmla="*/ 266527 w 465062"/>
                <a:gd name="connsiteY27" fmla="*/ 16318 h 658157"/>
                <a:gd name="connsiteX28" fmla="*/ 312761 w 465062"/>
                <a:gd name="connsiteY28" fmla="*/ 27197 h 658157"/>
                <a:gd name="connsiteX29" fmla="*/ 337238 w 465062"/>
                <a:gd name="connsiteY29" fmla="*/ 38075 h 658157"/>
                <a:gd name="connsiteX30" fmla="*/ 364434 w 465062"/>
                <a:gd name="connsiteY30" fmla="*/ 54393 h 658157"/>
                <a:gd name="connsiteX31" fmla="*/ 386192 w 465062"/>
                <a:gd name="connsiteY31" fmla="*/ 73431 h 658157"/>
                <a:gd name="connsiteX32" fmla="*/ 407949 w 465062"/>
                <a:gd name="connsiteY32" fmla="*/ 103347 h 658157"/>
                <a:gd name="connsiteX33" fmla="*/ 416108 w 465062"/>
                <a:gd name="connsiteY33" fmla="*/ 141422 h 658157"/>
                <a:gd name="connsiteX34" fmla="*/ 418828 w 465062"/>
                <a:gd name="connsiteY34" fmla="*/ 163179 h 658157"/>
                <a:gd name="connsiteX35" fmla="*/ 418828 w 465062"/>
                <a:gd name="connsiteY35" fmla="*/ 171339 h 658157"/>
                <a:gd name="connsiteX36" fmla="*/ 421547 w 465062"/>
                <a:gd name="connsiteY36" fmla="*/ 187656 h 658157"/>
                <a:gd name="connsiteX37" fmla="*/ 418828 w 465062"/>
                <a:gd name="connsiteY37" fmla="*/ 206694 h 658157"/>
                <a:gd name="connsiteX38" fmla="*/ 416108 w 465062"/>
                <a:gd name="connsiteY38" fmla="*/ 233891 h 658157"/>
                <a:gd name="connsiteX39" fmla="*/ 405229 w 465062"/>
                <a:gd name="connsiteY39" fmla="*/ 263807 h 658157"/>
                <a:gd name="connsiteX40" fmla="*/ 394351 w 465062"/>
                <a:gd name="connsiteY40" fmla="*/ 274686 h 658157"/>
                <a:gd name="connsiteX41" fmla="*/ 388912 w 465062"/>
                <a:gd name="connsiteY41" fmla="*/ 285564 h 658157"/>
                <a:gd name="connsiteX42" fmla="*/ 369874 w 465062"/>
                <a:gd name="connsiteY42" fmla="*/ 304602 h 658157"/>
                <a:gd name="connsiteX43" fmla="*/ 358995 w 465062"/>
                <a:gd name="connsiteY43" fmla="*/ 310041 h 658157"/>
                <a:gd name="connsiteX44" fmla="*/ 348117 w 465062"/>
                <a:gd name="connsiteY44" fmla="*/ 320920 h 658157"/>
                <a:gd name="connsiteX45" fmla="*/ 326359 w 465062"/>
                <a:gd name="connsiteY45" fmla="*/ 339957 h 658157"/>
                <a:gd name="connsiteX46" fmla="*/ 312761 w 465062"/>
                <a:gd name="connsiteY46" fmla="*/ 353555 h 658157"/>
                <a:gd name="connsiteX47" fmla="*/ 337238 w 465062"/>
                <a:gd name="connsiteY47" fmla="*/ 380752 h 658157"/>
                <a:gd name="connsiteX48" fmla="*/ 358995 w 465062"/>
                <a:gd name="connsiteY48" fmla="*/ 421547 h 658157"/>
                <a:gd name="connsiteX49" fmla="*/ 372593 w 465062"/>
                <a:gd name="connsiteY49" fmla="*/ 459622 h 658157"/>
                <a:gd name="connsiteX50" fmla="*/ 386192 w 465062"/>
                <a:gd name="connsiteY50" fmla="*/ 514015 h 658157"/>
                <a:gd name="connsiteX51" fmla="*/ 407949 w 465062"/>
                <a:gd name="connsiteY51" fmla="*/ 568408 h 658157"/>
                <a:gd name="connsiteX52" fmla="*/ 421547 w 465062"/>
                <a:gd name="connsiteY52" fmla="*/ 598324 h 658157"/>
                <a:gd name="connsiteX53" fmla="*/ 451463 w 465062"/>
                <a:gd name="connsiteY53" fmla="*/ 628241 h 658157"/>
                <a:gd name="connsiteX54" fmla="*/ 465062 w 465062"/>
                <a:gd name="connsiteY54" fmla="*/ 644559 h 658157"/>
                <a:gd name="connsiteX55" fmla="*/ 462342 w 465062"/>
                <a:gd name="connsiteY55" fmla="*/ 649998 h 658157"/>
                <a:gd name="connsiteX56" fmla="*/ 437865 w 465062"/>
                <a:gd name="connsiteY56" fmla="*/ 658157 h 658157"/>
                <a:gd name="connsiteX57" fmla="*/ 361715 w 465062"/>
                <a:gd name="connsiteY57" fmla="*/ 622801 h 658157"/>
                <a:gd name="connsiteX58" fmla="*/ 320920 w 465062"/>
                <a:gd name="connsiteY58" fmla="*/ 565689 h 658157"/>
                <a:gd name="connsiteX59" fmla="*/ 304602 w 465062"/>
                <a:gd name="connsiteY59" fmla="*/ 530333 h 658157"/>
                <a:gd name="connsiteX60" fmla="*/ 293723 w 465062"/>
                <a:gd name="connsiteY60" fmla="*/ 497697 h 658157"/>
                <a:gd name="connsiteX61" fmla="*/ 282845 w 465062"/>
                <a:gd name="connsiteY61" fmla="*/ 462342 h 658157"/>
                <a:gd name="connsiteX62" fmla="*/ 269246 w 465062"/>
                <a:gd name="connsiteY62" fmla="*/ 424267 h 658157"/>
                <a:gd name="connsiteX63" fmla="*/ 255648 w 465062"/>
                <a:gd name="connsiteY63" fmla="*/ 391631 h 658157"/>
                <a:gd name="connsiteX64" fmla="*/ 236610 w 465062"/>
                <a:gd name="connsiteY64" fmla="*/ 367154 h 658157"/>
                <a:gd name="connsiteX65" fmla="*/ 217573 w 465062"/>
                <a:gd name="connsiteY65" fmla="*/ 361714 h 658157"/>
                <a:gd name="connsiteX66" fmla="*/ 201255 w 465062"/>
                <a:gd name="connsiteY66" fmla="*/ 361714 h 658157"/>
                <a:gd name="connsiteX67" fmla="*/ 198535 w 465062"/>
                <a:gd name="connsiteY67" fmla="*/ 367154 h 658157"/>
                <a:gd name="connsiteX68" fmla="*/ 201255 w 465062"/>
                <a:gd name="connsiteY68" fmla="*/ 388911 h 658157"/>
                <a:gd name="connsiteX69" fmla="*/ 198535 w 465062"/>
                <a:gd name="connsiteY69" fmla="*/ 426986 h 658157"/>
                <a:gd name="connsiteX70" fmla="*/ 203975 w 465062"/>
                <a:gd name="connsiteY70" fmla="*/ 478660 h 658157"/>
                <a:gd name="connsiteX71" fmla="*/ 198535 w 465062"/>
                <a:gd name="connsiteY71" fmla="*/ 552090 h 658157"/>
                <a:gd name="connsiteX72" fmla="*/ 195816 w 465062"/>
                <a:gd name="connsiteY72" fmla="*/ 576567 h 658157"/>
                <a:gd name="connsiteX73" fmla="*/ 198535 w 465062"/>
                <a:gd name="connsiteY73" fmla="*/ 592885 h 658157"/>
                <a:gd name="connsiteX74" fmla="*/ 233891 w 465062"/>
                <a:gd name="connsiteY74" fmla="*/ 592885 h 658157"/>
                <a:gd name="connsiteX75" fmla="*/ 271966 w 465062"/>
                <a:gd name="connsiteY75" fmla="*/ 611923 h 658157"/>
                <a:gd name="connsiteX76" fmla="*/ 266527 w 465062"/>
                <a:gd name="connsiteY76" fmla="*/ 628241 h 658157"/>
                <a:gd name="connsiteX77" fmla="*/ 250209 w 465062"/>
                <a:gd name="connsiteY77" fmla="*/ 636400 h 658157"/>
                <a:gd name="connsiteX78" fmla="*/ 228451 w 465062"/>
                <a:gd name="connsiteY78" fmla="*/ 639119 h 658157"/>
                <a:gd name="connsiteX79" fmla="*/ 187657 w 465062"/>
                <a:gd name="connsiteY79" fmla="*/ 639119 h 658157"/>
                <a:gd name="connsiteX80" fmla="*/ 152301 w 465062"/>
                <a:gd name="connsiteY80" fmla="*/ 652717 h 658157"/>
                <a:gd name="connsiteX81" fmla="*/ 133263 w 465062"/>
                <a:gd name="connsiteY81" fmla="*/ 655437 h 658157"/>
                <a:gd name="connsiteX82" fmla="*/ 122385 w 465062"/>
                <a:gd name="connsiteY82" fmla="*/ 652717 h 658157"/>
                <a:gd name="connsiteX83" fmla="*/ 97908 w 465062"/>
                <a:gd name="connsiteY83" fmla="*/ 639119 h 658157"/>
                <a:gd name="connsiteX84" fmla="*/ 70711 w 465062"/>
                <a:gd name="connsiteY84" fmla="*/ 639119 h 658157"/>
                <a:gd name="connsiteX85" fmla="*/ 46234 w 465062"/>
                <a:gd name="connsiteY85" fmla="*/ 639119 h 658157"/>
                <a:gd name="connsiteX86" fmla="*/ 19038 w 465062"/>
                <a:gd name="connsiteY86" fmla="*/ 630960 h 658157"/>
                <a:gd name="connsiteX87" fmla="*/ 2720 w 465062"/>
                <a:gd name="connsiteY87" fmla="*/ 614642 h 658157"/>
                <a:gd name="connsiteX88" fmla="*/ 8159 w 465062"/>
                <a:gd name="connsiteY88" fmla="*/ 606483 h 658157"/>
                <a:gd name="connsiteX89" fmla="*/ 29916 w 465062"/>
                <a:gd name="connsiteY89" fmla="*/ 598324 h 658157"/>
                <a:gd name="connsiteX90" fmla="*/ 76151 w 465062"/>
                <a:gd name="connsiteY90" fmla="*/ 592885 h 658157"/>
                <a:gd name="connsiteX91" fmla="*/ 73431 w 465062"/>
                <a:gd name="connsiteY91" fmla="*/ 573848 h 658157"/>
                <a:gd name="connsiteX92" fmla="*/ 70711 w 465062"/>
                <a:gd name="connsiteY92" fmla="*/ 500417 h 658157"/>
                <a:gd name="connsiteX93" fmla="*/ 73431 w 465062"/>
                <a:gd name="connsiteY93" fmla="*/ 437865 h 658157"/>
                <a:gd name="connsiteX94" fmla="*/ 70711 w 465062"/>
                <a:gd name="connsiteY94" fmla="*/ 369873 h 658157"/>
                <a:gd name="connsiteX95" fmla="*/ 70711 w 465062"/>
                <a:gd name="connsiteY95" fmla="*/ 293723 h 658157"/>
                <a:gd name="connsiteX96" fmla="*/ 73431 w 465062"/>
                <a:gd name="connsiteY96" fmla="*/ 212133 h 658157"/>
                <a:gd name="connsiteX97" fmla="*/ 76151 w 465062"/>
                <a:gd name="connsiteY97" fmla="*/ 155021 h 658157"/>
                <a:gd name="connsiteX98" fmla="*/ 76151 w 465062"/>
                <a:gd name="connsiteY98" fmla="*/ 119665 h 658157"/>
                <a:gd name="connsiteX99" fmla="*/ 78870 w 465062"/>
                <a:gd name="connsiteY99" fmla="*/ 84310 h 658157"/>
                <a:gd name="connsiteX100" fmla="*/ 76151 w 465062"/>
                <a:gd name="connsiteY100" fmla="*/ 62552 h 658157"/>
                <a:gd name="connsiteX101" fmla="*/ 67992 w 465062"/>
                <a:gd name="connsiteY101" fmla="*/ 62552 h 658157"/>
                <a:gd name="connsiteX102" fmla="*/ 43515 w 465062"/>
                <a:gd name="connsiteY102" fmla="*/ 62552 h 658157"/>
                <a:gd name="connsiteX103" fmla="*/ 16318 w 465062"/>
                <a:gd name="connsiteY103" fmla="*/ 57113 h 658157"/>
                <a:gd name="connsiteX104" fmla="*/ 0 w 465062"/>
                <a:gd name="connsiteY104" fmla="*/ 40795 h 658157"/>
                <a:gd name="connsiteX105" fmla="*/ 5439 w 465062"/>
                <a:gd name="connsiteY105" fmla="*/ 32636 h 658157"/>
                <a:gd name="connsiteX106" fmla="*/ 27197 w 465062"/>
                <a:gd name="connsiteY106" fmla="*/ 24477 h 658157"/>
                <a:gd name="connsiteX107" fmla="*/ 76151 w 465062"/>
                <a:gd name="connsiteY107" fmla="*/ 19038 h 658157"/>
                <a:gd name="connsiteX108" fmla="*/ 78870 w 465062"/>
                <a:gd name="connsiteY108" fmla="*/ 13598 h 658157"/>
                <a:gd name="connsiteX109" fmla="*/ 95188 w 465062"/>
                <a:gd name="connsiteY109" fmla="*/ 5440 h 658157"/>
                <a:gd name="connsiteX110" fmla="*/ 111506 w 465062"/>
                <a:gd name="connsiteY110" fmla="*/ 0 h 6581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</a:cxnLst>
              <a:rect l="l" t="t" r="r" b="b"/>
              <a:pathLst>
                <a:path w="465062" h="658157">
                  <a:moveTo>
                    <a:pt x="193096" y="59832"/>
                  </a:moveTo>
                  <a:cubicBezTo>
                    <a:pt x="193096" y="73430"/>
                    <a:pt x="193096" y="89748"/>
                    <a:pt x="193096" y="114226"/>
                  </a:cubicBezTo>
                  <a:cubicBezTo>
                    <a:pt x="193096" y="144142"/>
                    <a:pt x="195816" y="176778"/>
                    <a:pt x="198536" y="209414"/>
                  </a:cubicBezTo>
                  <a:cubicBezTo>
                    <a:pt x="198536" y="247489"/>
                    <a:pt x="201255" y="277406"/>
                    <a:pt x="201255" y="282845"/>
                  </a:cubicBezTo>
                  <a:cubicBezTo>
                    <a:pt x="201255" y="293723"/>
                    <a:pt x="203975" y="304602"/>
                    <a:pt x="203975" y="315481"/>
                  </a:cubicBezTo>
                  <a:cubicBezTo>
                    <a:pt x="203975" y="318200"/>
                    <a:pt x="203975" y="318200"/>
                    <a:pt x="203975" y="320920"/>
                  </a:cubicBezTo>
                  <a:cubicBezTo>
                    <a:pt x="203975" y="326359"/>
                    <a:pt x="206695" y="329079"/>
                    <a:pt x="212134" y="329079"/>
                  </a:cubicBezTo>
                  <a:cubicBezTo>
                    <a:pt x="214854" y="329079"/>
                    <a:pt x="220293" y="329079"/>
                    <a:pt x="223013" y="329079"/>
                  </a:cubicBezTo>
                  <a:cubicBezTo>
                    <a:pt x="228452" y="329079"/>
                    <a:pt x="233891" y="329079"/>
                    <a:pt x="239331" y="329079"/>
                  </a:cubicBezTo>
                  <a:cubicBezTo>
                    <a:pt x="252929" y="329079"/>
                    <a:pt x="271967" y="323640"/>
                    <a:pt x="280126" y="312761"/>
                  </a:cubicBezTo>
                  <a:cubicBezTo>
                    <a:pt x="288284" y="304602"/>
                    <a:pt x="291004" y="299163"/>
                    <a:pt x="296443" y="288284"/>
                  </a:cubicBezTo>
                  <a:cubicBezTo>
                    <a:pt x="299163" y="277406"/>
                    <a:pt x="301883" y="269247"/>
                    <a:pt x="304602" y="258368"/>
                  </a:cubicBezTo>
                  <a:cubicBezTo>
                    <a:pt x="307322" y="244770"/>
                    <a:pt x="310042" y="239330"/>
                    <a:pt x="312761" y="225732"/>
                  </a:cubicBezTo>
                  <a:cubicBezTo>
                    <a:pt x="315481" y="212134"/>
                    <a:pt x="315481" y="209414"/>
                    <a:pt x="315481" y="195816"/>
                  </a:cubicBezTo>
                  <a:cubicBezTo>
                    <a:pt x="315481" y="179498"/>
                    <a:pt x="315481" y="184937"/>
                    <a:pt x="318201" y="168619"/>
                  </a:cubicBezTo>
                  <a:cubicBezTo>
                    <a:pt x="312761" y="152302"/>
                    <a:pt x="312761" y="149582"/>
                    <a:pt x="312761" y="135983"/>
                  </a:cubicBezTo>
                  <a:cubicBezTo>
                    <a:pt x="312761" y="133264"/>
                    <a:pt x="312761" y="127825"/>
                    <a:pt x="312761" y="122385"/>
                  </a:cubicBezTo>
                  <a:cubicBezTo>
                    <a:pt x="312761" y="111507"/>
                    <a:pt x="301883" y="95188"/>
                    <a:pt x="293724" y="84309"/>
                  </a:cubicBezTo>
                  <a:cubicBezTo>
                    <a:pt x="288284" y="78870"/>
                    <a:pt x="285565" y="76150"/>
                    <a:pt x="280126" y="73430"/>
                  </a:cubicBezTo>
                  <a:cubicBezTo>
                    <a:pt x="271967" y="67991"/>
                    <a:pt x="266527" y="65271"/>
                    <a:pt x="258368" y="62552"/>
                  </a:cubicBezTo>
                  <a:cubicBezTo>
                    <a:pt x="244770" y="59832"/>
                    <a:pt x="228452" y="59832"/>
                    <a:pt x="217573" y="59832"/>
                  </a:cubicBezTo>
                  <a:close/>
                  <a:moveTo>
                    <a:pt x="111506" y="0"/>
                  </a:moveTo>
                  <a:cubicBezTo>
                    <a:pt x="114226" y="0"/>
                    <a:pt x="122385" y="0"/>
                    <a:pt x="127824" y="0"/>
                  </a:cubicBezTo>
                  <a:cubicBezTo>
                    <a:pt x="135983" y="0"/>
                    <a:pt x="146862" y="2720"/>
                    <a:pt x="157741" y="5440"/>
                  </a:cubicBezTo>
                  <a:cubicBezTo>
                    <a:pt x="168619" y="8159"/>
                    <a:pt x="176778" y="10879"/>
                    <a:pt x="179497" y="16318"/>
                  </a:cubicBezTo>
                  <a:cubicBezTo>
                    <a:pt x="193096" y="16318"/>
                    <a:pt x="201255" y="16318"/>
                    <a:pt x="209414" y="16318"/>
                  </a:cubicBezTo>
                  <a:cubicBezTo>
                    <a:pt x="220292" y="16318"/>
                    <a:pt x="231171" y="16318"/>
                    <a:pt x="247489" y="16318"/>
                  </a:cubicBezTo>
                  <a:cubicBezTo>
                    <a:pt x="250209" y="16318"/>
                    <a:pt x="258368" y="16318"/>
                    <a:pt x="266527" y="16318"/>
                  </a:cubicBezTo>
                  <a:cubicBezTo>
                    <a:pt x="277405" y="16318"/>
                    <a:pt x="291004" y="21758"/>
                    <a:pt x="312761" y="27197"/>
                  </a:cubicBezTo>
                  <a:cubicBezTo>
                    <a:pt x="320920" y="29917"/>
                    <a:pt x="329079" y="35356"/>
                    <a:pt x="337238" y="38075"/>
                  </a:cubicBezTo>
                  <a:cubicBezTo>
                    <a:pt x="342677" y="40795"/>
                    <a:pt x="353556" y="48954"/>
                    <a:pt x="364434" y="54393"/>
                  </a:cubicBezTo>
                  <a:cubicBezTo>
                    <a:pt x="375313" y="62552"/>
                    <a:pt x="386192" y="67992"/>
                    <a:pt x="386192" y="73431"/>
                  </a:cubicBezTo>
                  <a:cubicBezTo>
                    <a:pt x="391631" y="84310"/>
                    <a:pt x="402510" y="92469"/>
                    <a:pt x="407949" y="103347"/>
                  </a:cubicBezTo>
                  <a:cubicBezTo>
                    <a:pt x="413388" y="116945"/>
                    <a:pt x="416108" y="130544"/>
                    <a:pt x="416108" y="141422"/>
                  </a:cubicBezTo>
                  <a:cubicBezTo>
                    <a:pt x="416108" y="152301"/>
                    <a:pt x="418828" y="157740"/>
                    <a:pt x="418828" y="163179"/>
                  </a:cubicBezTo>
                  <a:cubicBezTo>
                    <a:pt x="418828" y="165899"/>
                    <a:pt x="418828" y="168619"/>
                    <a:pt x="418828" y="171339"/>
                  </a:cubicBezTo>
                  <a:cubicBezTo>
                    <a:pt x="418828" y="174058"/>
                    <a:pt x="421547" y="182217"/>
                    <a:pt x="421547" y="187656"/>
                  </a:cubicBezTo>
                  <a:cubicBezTo>
                    <a:pt x="421547" y="193096"/>
                    <a:pt x="418828" y="201255"/>
                    <a:pt x="418828" y="206694"/>
                  </a:cubicBezTo>
                  <a:cubicBezTo>
                    <a:pt x="418828" y="217573"/>
                    <a:pt x="418828" y="223012"/>
                    <a:pt x="416108" y="233891"/>
                  </a:cubicBezTo>
                  <a:cubicBezTo>
                    <a:pt x="413388" y="244769"/>
                    <a:pt x="410668" y="255648"/>
                    <a:pt x="405229" y="263807"/>
                  </a:cubicBezTo>
                  <a:cubicBezTo>
                    <a:pt x="402510" y="269246"/>
                    <a:pt x="397070" y="269246"/>
                    <a:pt x="394351" y="274686"/>
                  </a:cubicBezTo>
                  <a:cubicBezTo>
                    <a:pt x="391631" y="277405"/>
                    <a:pt x="391631" y="282844"/>
                    <a:pt x="388912" y="285564"/>
                  </a:cubicBezTo>
                  <a:cubicBezTo>
                    <a:pt x="383472" y="291003"/>
                    <a:pt x="375313" y="301882"/>
                    <a:pt x="369874" y="304602"/>
                  </a:cubicBezTo>
                  <a:cubicBezTo>
                    <a:pt x="367154" y="307321"/>
                    <a:pt x="361715" y="307321"/>
                    <a:pt x="358995" y="310041"/>
                  </a:cubicBezTo>
                  <a:cubicBezTo>
                    <a:pt x="356275" y="312761"/>
                    <a:pt x="350836" y="318200"/>
                    <a:pt x="348117" y="320920"/>
                  </a:cubicBezTo>
                  <a:cubicBezTo>
                    <a:pt x="339958" y="326359"/>
                    <a:pt x="334518" y="334518"/>
                    <a:pt x="326359" y="339957"/>
                  </a:cubicBezTo>
                  <a:cubicBezTo>
                    <a:pt x="320920" y="342677"/>
                    <a:pt x="312761" y="342677"/>
                    <a:pt x="312761" y="353555"/>
                  </a:cubicBezTo>
                  <a:cubicBezTo>
                    <a:pt x="312761" y="361714"/>
                    <a:pt x="334518" y="372593"/>
                    <a:pt x="337238" y="380752"/>
                  </a:cubicBezTo>
                  <a:cubicBezTo>
                    <a:pt x="345397" y="394350"/>
                    <a:pt x="353556" y="407948"/>
                    <a:pt x="358995" y="421547"/>
                  </a:cubicBezTo>
                  <a:cubicBezTo>
                    <a:pt x="364434" y="435145"/>
                    <a:pt x="367154" y="446024"/>
                    <a:pt x="372593" y="459622"/>
                  </a:cubicBezTo>
                  <a:cubicBezTo>
                    <a:pt x="378033" y="478660"/>
                    <a:pt x="383472" y="494978"/>
                    <a:pt x="386192" y="514015"/>
                  </a:cubicBezTo>
                  <a:cubicBezTo>
                    <a:pt x="391631" y="533053"/>
                    <a:pt x="402510" y="549371"/>
                    <a:pt x="407949" y="568408"/>
                  </a:cubicBezTo>
                  <a:cubicBezTo>
                    <a:pt x="410668" y="579287"/>
                    <a:pt x="416108" y="590165"/>
                    <a:pt x="421547" y="598324"/>
                  </a:cubicBezTo>
                  <a:cubicBezTo>
                    <a:pt x="435146" y="614642"/>
                    <a:pt x="443305" y="622801"/>
                    <a:pt x="451463" y="628241"/>
                  </a:cubicBezTo>
                  <a:cubicBezTo>
                    <a:pt x="456903" y="630960"/>
                    <a:pt x="465062" y="636400"/>
                    <a:pt x="465062" y="644559"/>
                  </a:cubicBezTo>
                  <a:cubicBezTo>
                    <a:pt x="465062" y="647278"/>
                    <a:pt x="465062" y="647278"/>
                    <a:pt x="462342" y="649998"/>
                  </a:cubicBezTo>
                  <a:cubicBezTo>
                    <a:pt x="456903" y="655437"/>
                    <a:pt x="446024" y="658157"/>
                    <a:pt x="437865" y="658157"/>
                  </a:cubicBezTo>
                  <a:cubicBezTo>
                    <a:pt x="413388" y="658157"/>
                    <a:pt x="378033" y="641839"/>
                    <a:pt x="361715" y="622801"/>
                  </a:cubicBezTo>
                  <a:cubicBezTo>
                    <a:pt x="345397" y="606483"/>
                    <a:pt x="334518" y="584726"/>
                    <a:pt x="320920" y="565689"/>
                  </a:cubicBezTo>
                  <a:cubicBezTo>
                    <a:pt x="315480" y="554810"/>
                    <a:pt x="310041" y="543931"/>
                    <a:pt x="304602" y="530333"/>
                  </a:cubicBezTo>
                  <a:cubicBezTo>
                    <a:pt x="299163" y="519454"/>
                    <a:pt x="296443" y="508576"/>
                    <a:pt x="293723" y="497697"/>
                  </a:cubicBezTo>
                  <a:cubicBezTo>
                    <a:pt x="291004" y="486819"/>
                    <a:pt x="288284" y="473220"/>
                    <a:pt x="282845" y="462342"/>
                  </a:cubicBezTo>
                  <a:cubicBezTo>
                    <a:pt x="280125" y="448743"/>
                    <a:pt x="274686" y="437865"/>
                    <a:pt x="269246" y="424267"/>
                  </a:cubicBezTo>
                  <a:cubicBezTo>
                    <a:pt x="266527" y="416108"/>
                    <a:pt x="261087" y="402509"/>
                    <a:pt x="255648" y="391631"/>
                  </a:cubicBezTo>
                  <a:cubicBezTo>
                    <a:pt x="250209" y="380752"/>
                    <a:pt x="244770" y="375313"/>
                    <a:pt x="236610" y="367154"/>
                  </a:cubicBezTo>
                  <a:cubicBezTo>
                    <a:pt x="231171" y="361714"/>
                    <a:pt x="223012" y="361714"/>
                    <a:pt x="217573" y="361714"/>
                  </a:cubicBezTo>
                  <a:cubicBezTo>
                    <a:pt x="212134" y="361714"/>
                    <a:pt x="206694" y="361714"/>
                    <a:pt x="201255" y="361714"/>
                  </a:cubicBezTo>
                  <a:cubicBezTo>
                    <a:pt x="198535" y="361714"/>
                    <a:pt x="198535" y="364434"/>
                    <a:pt x="198535" y="367154"/>
                  </a:cubicBezTo>
                  <a:cubicBezTo>
                    <a:pt x="198535" y="375313"/>
                    <a:pt x="201255" y="386191"/>
                    <a:pt x="201255" y="388911"/>
                  </a:cubicBezTo>
                  <a:cubicBezTo>
                    <a:pt x="201255" y="402509"/>
                    <a:pt x="198535" y="413388"/>
                    <a:pt x="198535" y="426986"/>
                  </a:cubicBezTo>
                  <a:cubicBezTo>
                    <a:pt x="198535" y="446024"/>
                    <a:pt x="203975" y="456902"/>
                    <a:pt x="203975" y="478660"/>
                  </a:cubicBezTo>
                  <a:cubicBezTo>
                    <a:pt x="203975" y="503136"/>
                    <a:pt x="201255" y="527613"/>
                    <a:pt x="198535" y="552090"/>
                  </a:cubicBezTo>
                  <a:cubicBezTo>
                    <a:pt x="198535" y="560249"/>
                    <a:pt x="195816" y="568408"/>
                    <a:pt x="195816" y="576567"/>
                  </a:cubicBezTo>
                  <a:cubicBezTo>
                    <a:pt x="195816" y="582006"/>
                    <a:pt x="195816" y="587446"/>
                    <a:pt x="198535" y="592885"/>
                  </a:cubicBezTo>
                  <a:cubicBezTo>
                    <a:pt x="212134" y="592885"/>
                    <a:pt x="225732" y="592885"/>
                    <a:pt x="233891" y="592885"/>
                  </a:cubicBezTo>
                  <a:cubicBezTo>
                    <a:pt x="247489" y="592885"/>
                    <a:pt x="271966" y="592885"/>
                    <a:pt x="271966" y="611923"/>
                  </a:cubicBezTo>
                  <a:cubicBezTo>
                    <a:pt x="271966" y="620082"/>
                    <a:pt x="269246" y="622801"/>
                    <a:pt x="266527" y="628241"/>
                  </a:cubicBezTo>
                  <a:cubicBezTo>
                    <a:pt x="261087" y="633680"/>
                    <a:pt x="255648" y="636400"/>
                    <a:pt x="250209" y="636400"/>
                  </a:cubicBezTo>
                  <a:cubicBezTo>
                    <a:pt x="239330" y="639119"/>
                    <a:pt x="233891" y="639119"/>
                    <a:pt x="228451" y="639119"/>
                  </a:cubicBezTo>
                  <a:cubicBezTo>
                    <a:pt x="223012" y="639119"/>
                    <a:pt x="206694" y="639119"/>
                    <a:pt x="187657" y="639119"/>
                  </a:cubicBezTo>
                  <a:cubicBezTo>
                    <a:pt x="176778" y="647278"/>
                    <a:pt x="163180" y="649998"/>
                    <a:pt x="152301" y="652717"/>
                  </a:cubicBezTo>
                  <a:cubicBezTo>
                    <a:pt x="146862" y="652717"/>
                    <a:pt x="138703" y="655437"/>
                    <a:pt x="133263" y="655437"/>
                  </a:cubicBezTo>
                  <a:cubicBezTo>
                    <a:pt x="130544" y="655437"/>
                    <a:pt x="125104" y="655437"/>
                    <a:pt x="122385" y="652717"/>
                  </a:cubicBezTo>
                  <a:cubicBezTo>
                    <a:pt x="114226" y="649998"/>
                    <a:pt x="103347" y="644559"/>
                    <a:pt x="97908" y="639119"/>
                  </a:cubicBezTo>
                  <a:cubicBezTo>
                    <a:pt x="87029" y="639119"/>
                    <a:pt x="78870" y="639119"/>
                    <a:pt x="70711" y="639119"/>
                  </a:cubicBezTo>
                  <a:cubicBezTo>
                    <a:pt x="62552" y="639119"/>
                    <a:pt x="54393" y="639119"/>
                    <a:pt x="46234" y="639119"/>
                  </a:cubicBezTo>
                  <a:cubicBezTo>
                    <a:pt x="38075" y="639119"/>
                    <a:pt x="27197" y="633680"/>
                    <a:pt x="19038" y="630960"/>
                  </a:cubicBezTo>
                  <a:cubicBezTo>
                    <a:pt x="10879" y="628241"/>
                    <a:pt x="2720" y="620082"/>
                    <a:pt x="2720" y="614642"/>
                  </a:cubicBezTo>
                  <a:cubicBezTo>
                    <a:pt x="2720" y="611923"/>
                    <a:pt x="2720" y="609203"/>
                    <a:pt x="8159" y="606483"/>
                  </a:cubicBezTo>
                  <a:cubicBezTo>
                    <a:pt x="13599" y="603764"/>
                    <a:pt x="24477" y="601044"/>
                    <a:pt x="29916" y="598324"/>
                  </a:cubicBezTo>
                  <a:cubicBezTo>
                    <a:pt x="43515" y="595605"/>
                    <a:pt x="62552" y="595605"/>
                    <a:pt x="76151" y="592885"/>
                  </a:cubicBezTo>
                  <a:cubicBezTo>
                    <a:pt x="76151" y="587446"/>
                    <a:pt x="73431" y="582006"/>
                    <a:pt x="73431" y="573848"/>
                  </a:cubicBezTo>
                  <a:cubicBezTo>
                    <a:pt x="73431" y="565689"/>
                    <a:pt x="70711" y="516735"/>
                    <a:pt x="70711" y="500417"/>
                  </a:cubicBezTo>
                  <a:cubicBezTo>
                    <a:pt x="70711" y="481379"/>
                    <a:pt x="73431" y="456902"/>
                    <a:pt x="73431" y="437865"/>
                  </a:cubicBezTo>
                  <a:cubicBezTo>
                    <a:pt x="73431" y="416108"/>
                    <a:pt x="70711" y="391631"/>
                    <a:pt x="70711" y="369873"/>
                  </a:cubicBezTo>
                  <a:cubicBezTo>
                    <a:pt x="70711" y="345397"/>
                    <a:pt x="70711" y="318200"/>
                    <a:pt x="70711" y="293723"/>
                  </a:cubicBezTo>
                  <a:cubicBezTo>
                    <a:pt x="70711" y="266526"/>
                    <a:pt x="73431" y="239330"/>
                    <a:pt x="73431" y="212133"/>
                  </a:cubicBezTo>
                  <a:cubicBezTo>
                    <a:pt x="73431" y="187656"/>
                    <a:pt x="76151" y="179498"/>
                    <a:pt x="76151" y="155021"/>
                  </a:cubicBezTo>
                  <a:cubicBezTo>
                    <a:pt x="76151" y="144142"/>
                    <a:pt x="76151" y="130544"/>
                    <a:pt x="76151" y="119665"/>
                  </a:cubicBezTo>
                  <a:cubicBezTo>
                    <a:pt x="76151" y="106067"/>
                    <a:pt x="78870" y="95188"/>
                    <a:pt x="78870" y="84310"/>
                  </a:cubicBezTo>
                  <a:cubicBezTo>
                    <a:pt x="78870" y="78870"/>
                    <a:pt x="78870" y="70711"/>
                    <a:pt x="76151" y="62552"/>
                  </a:cubicBezTo>
                  <a:cubicBezTo>
                    <a:pt x="76151" y="62552"/>
                    <a:pt x="73431" y="62552"/>
                    <a:pt x="67992" y="62552"/>
                  </a:cubicBezTo>
                  <a:cubicBezTo>
                    <a:pt x="59833" y="62552"/>
                    <a:pt x="51674" y="62552"/>
                    <a:pt x="43515" y="62552"/>
                  </a:cubicBezTo>
                  <a:cubicBezTo>
                    <a:pt x="35356" y="62552"/>
                    <a:pt x="24477" y="59833"/>
                    <a:pt x="16318" y="57113"/>
                  </a:cubicBezTo>
                  <a:cubicBezTo>
                    <a:pt x="8159" y="54393"/>
                    <a:pt x="0" y="43515"/>
                    <a:pt x="0" y="40795"/>
                  </a:cubicBezTo>
                  <a:cubicBezTo>
                    <a:pt x="0" y="38075"/>
                    <a:pt x="0" y="35356"/>
                    <a:pt x="5439" y="32636"/>
                  </a:cubicBezTo>
                  <a:cubicBezTo>
                    <a:pt x="10879" y="29917"/>
                    <a:pt x="21758" y="27197"/>
                    <a:pt x="27197" y="24477"/>
                  </a:cubicBezTo>
                  <a:cubicBezTo>
                    <a:pt x="46234" y="21758"/>
                    <a:pt x="62552" y="19038"/>
                    <a:pt x="76151" y="19038"/>
                  </a:cubicBezTo>
                  <a:cubicBezTo>
                    <a:pt x="76151" y="16318"/>
                    <a:pt x="78870" y="16318"/>
                    <a:pt x="78870" y="13598"/>
                  </a:cubicBezTo>
                  <a:cubicBezTo>
                    <a:pt x="84309" y="10879"/>
                    <a:pt x="89749" y="8159"/>
                    <a:pt x="95188" y="5440"/>
                  </a:cubicBezTo>
                  <a:cubicBezTo>
                    <a:pt x="100628" y="2720"/>
                    <a:pt x="106067" y="0"/>
                    <a:pt x="111506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/>
            </a:p>
          </p:txBody>
        </p:sp>
        <p:sp>
          <p:nvSpPr>
            <p:cNvPr id="47" name="Freeform: Shape 46">
              <a:extLst>
                <a:ext uri="{FF2B5EF4-FFF2-40B4-BE49-F238E27FC236}">
                  <a16:creationId xmlns:a16="http://schemas.microsoft.com/office/drawing/2014/main" id="{2CB86C1E-34D9-4E0F-88EC-65476446F32C}"/>
                </a:ext>
              </a:extLst>
            </p:cNvPr>
            <p:cNvSpPr/>
            <p:nvPr/>
          </p:nvSpPr>
          <p:spPr>
            <a:xfrm>
              <a:off x="8346812" y="4186718"/>
              <a:ext cx="353556" cy="761503"/>
            </a:xfrm>
            <a:custGeom>
              <a:avLst/>
              <a:gdLst>
                <a:gd name="connsiteX0" fmla="*/ 283910 w 353555"/>
                <a:gd name="connsiteY0" fmla="*/ 672820 h 761503"/>
                <a:gd name="connsiteX1" fmla="*/ 321985 w 353555"/>
                <a:gd name="connsiteY1" fmla="*/ 689138 h 761503"/>
                <a:gd name="connsiteX2" fmla="*/ 316546 w 353555"/>
                <a:gd name="connsiteY2" fmla="*/ 705456 h 761503"/>
                <a:gd name="connsiteX3" fmla="*/ 300228 w 353555"/>
                <a:gd name="connsiteY3" fmla="*/ 713615 h 761503"/>
                <a:gd name="connsiteX4" fmla="*/ 278471 w 353555"/>
                <a:gd name="connsiteY4" fmla="*/ 716335 h 761503"/>
                <a:gd name="connsiteX5" fmla="*/ 237676 w 353555"/>
                <a:gd name="connsiteY5" fmla="*/ 716335 h 761503"/>
                <a:gd name="connsiteX6" fmla="*/ 180563 w 353555"/>
                <a:gd name="connsiteY6" fmla="*/ 719054 h 761503"/>
                <a:gd name="connsiteX7" fmla="*/ 126170 w 353555"/>
                <a:gd name="connsiteY7" fmla="*/ 719054 h 761503"/>
                <a:gd name="connsiteX8" fmla="*/ 101693 w 353555"/>
                <a:gd name="connsiteY8" fmla="*/ 719054 h 761503"/>
                <a:gd name="connsiteX9" fmla="*/ 74496 w 353555"/>
                <a:gd name="connsiteY9" fmla="*/ 713615 h 761503"/>
                <a:gd name="connsiteX10" fmla="*/ 58178 w 353555"/>
                <a:gd name="connsiteY10" fmla="*/ 697297 h 761503"/>
                <a:gd name="connsiteX11" fmla="*/ 63618 w 353555"/>
                <a:gd name="connsiteY11" fmla="*/ 689138 h 761503"/>
                <a:gd name="connsiteX12" fmla="*/ 85375 w 353555"/>
                <a:gd name="connsiteY12" fmla="*/ 680979 h 761503"/>
                <a:gd name="connsiteX13" fmla="*/ 131609 w 353555"/>
                <a:gd name="connsiteY13" fmla="*/ 675540 h 761503"/>
                <a:gd name="connsiteX14" fmla="*/ 142488 w 353555"/>
                <a:gd name="connsiteY14" fmla="*/ 675540 h 761503"/>
                <a:gd name="connsiteX15" fmla="*/ 131609 w 353555"/>
                <a:gd name="connsiteY15" fmla="*/ 653783 h 761503"/>
                <a:gd name="connsiteX16" fmla="*/ 128890 w 353555"/>
                <a:gd name="connsiteY16" fmla="*/ 640184 h 761503"/>
                <a:gd name="connsiteX17" fmla="*/ 128890 w 353555"/>
                <a:gd name="connsiteY17" fmla="*/ 629306 h 761503"/>
                <a:gd name="connsiteX18" fmla="*/ 128890 w 353555"/>
                <a:gd name="connsiteY18" fmla="*/ 621147 h 761503"/>
                <a:gd name="connsiteX19" fmla="*/ 128890 w 353555"/>
                <a:gd name="connsiteY19" fmla="*/ 593950 h 761503"/>
                <a:gd name="connsiteX20" fmla="*/ 128890 w 353555"/>
                <a:gd name="connsiteY20" fmla="*/ 583072 h 761503"/>
                <a:gd name="connsiteX21" fmla="*/ 128890 w 353555"/>
                <a:gd name="connsiteY21" fmla="*/ 436210 h 761503"/>
                <a:gd name="connsiteX22" fmla="*/ 128890 w 353555"/>
                <a:gd name="connsiteY22" fmla="*/ 357340 h 761503"/>
                <a:gd name="connsiteX23" fmla="*/ 131609 w 353555"/>
                <a:gd name="connsiteY23" fmla="*/ 289349 h 761503"/>
                <a:gd name="connsiteX24" fmla="*/ 131609 w 353555"/>
                <a:gd name="connsiteY24" fmla="*/ 251274 h 761503"/>
                <a:gd name="connsiteX25" fmla="*/ 131609 w 353555"/>
                <a:gd name="connsiteY25" fmla="*/ 205040 h 761503"/>
                <a:gd name="connsiteX26" fmla="*/ 131609 w 353555"/>
                <a:gd name="connsiteY26" fmla="*/ 139768 h 761503"/>
                <a:gd name="connsiteX27" fmla="*/ 131609 w 353555"/>
                <a:gd name="connsiteY27" fmla="*/ 128889 h 761503"/>
                <a:gd name="connsiteX28" fmla="*/ 126170 w 353555"/>
                <a:gd name="connsiteY28" fmla="*/ 128889 h 761503"/>
                <a:gd name="connsiteX29" fmla="*/ 101693 w 353555"/>
                <a:gd name="connsiteY29" fmla="*/ 128889 h 761503"/>
                <a:gd name="connsiteX30" fmla="*/ 74496 w 353555"/>
                <a:gd name="connsiteY30" fmla="*/ 123450 h 761503"/>
                <a:gd name="connsiteX31" fmla="*/ 58178 w 353555"/>
                <a:gd name="connsiteY31" fmla="*/ 107132 h 761503"/>
                <a:gd name="connsiteX32" fmla="*/ 60898 w 353555"/>
                <a:gd name="connsiteY32" fmla="*/ 98973 h 761503"/>
                <a:gd name="connsiteX33" fmla="*/ 82655 w 353555"/>
                <a:gd name="connsiteY33" fmla="*/ 93534 h 761503"/>
                <a:gd name="connsiteX34" fmla="*/ 131609 w 353555"/>
                <a:gd name="connsiteY34" fmla="*/ 88094 h 761503"/>
                <a:gd name="connsiteX35" fmla="*/ 131609 w 353555"/>
                <a:gd name="connsiteY35" fmla="*/ 82655 h 761503"/>
                <a:gd name="connsiteX36" fmla="*/ 134329 w 353555"/>
                <a:gd name="connsiteY36" fmla="*/ 71776 h 761503"/>
                <a:gd name="connsiteX37" fmla="*/ 147927 w 353555"/>
                <a:gd name="connsiteY37" fmla="*/ 63617 h 761503"/>
                <a:gd name="connsiteX38" fmla="*/ 164245 w 353555"/>
                <a:gd name="connsiteY38" fmla="*/ 58178 h 761503"/>
                <a:gd name="connsiteX39" fmla="*/ 177843 w 353555"/>
                <a:gd name="connsiteY39" fmla="*/ 58178 h 761503"/>
                <a:gd name="connsiteX40" fmla="*/ 196881 w 353555"/>
                <a:gd name="connsiteY40" fmla="*/ 60898 h 761503"/>
                <a:gd name="connsiteX41" fmla="*/ 232237 w 353555"/>
                <a:gd name="connsiteY41" fmla="*/ 88094 h 761503"/>
                <a:gd name="connsiteX42" fmla="*/ 278471 w 353555"/>
                <a:gd name="connsiteY42" fmla="*/ 88094 h 761503"/>
                <a:gd name="connsiteX43" fmla="*/ 316546 w 353555"/>
                <a:gd name="connsiteY43" fmla="*/ 104412 h 761503"/>
                <a:gd name="connsiteX44" fmla="*/ 311107 w 353555"/>
                <a:gd name="connsiteY44" fmla="*/ 120730 h 761503"/>
                <a:gd name="connsiteX45" fmla="*/ 294789 w 353555"/>
                <a:gd name="connsiteY45" fmla="*/ 128889 h 761503"/>
                <a:gd name="connsiteX46" fmla="*/ 273032 w 353555"/>
                <a:gd name="connsiteY46" fmla="*/ 131609 h 761503"/>
                <a:gd name="connsiteX47" fmla="*/ 243115 w 353555"/>
                <a:gd name="connsiteY47" fmla="*/ 131609 h 761503"/>
                <a:gd name="connsiteX48" fmla="*/ 243115 w 353555"/>
                <a:gd name="connsiteY48" fmla="*/ 134329 h 761503"/>
                <a:gd name="connsiteX49" fmla="*/ 248554 w 353555"/>
                <a:gd name="connsiteY49" fmla="*/ 169684 h 761503"/>
                <a:gd name="connsiteX50" fmla="*/ 251274 w 353555"/>
                <a:gd name="connsiteY50" fmla="*/ 205040 h 761503"/>
                <a:gd name="connsiteX51" fmla="*/ 251274 w 353555"/>
                <a:gd name="connsiteY51" fmla="*/ 240395 h 761503"/>
                <a:gd name="connsiteX52" fmla="*/ 251274 w 353555"/>
                <a:gd name="connsiteY52" fmla="*/ 256713 h 761503"/>
                <a:gd name="connsiteX53" fmla="*/ 253994 w 353555"/>
                <a:gd name="connsiteY53" fmla="*/ 270311 h 761503"/>
                <a:gd name="connsiteX54" fmla="*/ 259433 w 353555"/>
                <a:gd name="connsiteY54" fmla="*/ 343742 h 761503"/>
                <a:gd name="connsiteX55" fmla="*/ 262153 w 353555"/>
                <a:gd name="connsiteY55" fmla="*/ 425332 h 761503"/>
                <a:gd name="connsiteX56" fmla="*/ 264872 w 353555"/>
                <a:gd name="connsiteY56" fmla="*/ 490603 h 761503"/>
                <a:gd name="connsiteX57" fmla="*/ 270312 w 353555"/>
                <a:gd name="connsiteY57" fmla="*/ 564034 h 761503"/>
                <a:gd name="connsiteX58" fmla="*/ 270312 w 353555"/>
                <a:gd name="connsiteY58" fmla="*/ 599390 h 761503"/>
                <a:gd name="connsiteX59" fmla="*/ 270312 w 353555"/>
                <a:gd name="connsiteY59" fmla="*/ 637465 h 761503"/>
                <a:gd name="connsiteX60" fmla="*/ 264872 w 353555"/>
                <a:gd name="connsiteY60" fmla="*/ 670101 h 761503"/>
                <a:gd name="connsiteX61" fmla="*/ 283910 w 353555"/>
                <a:gd name="connsiteY61" fmla="*/ 672820 h 761503"/>
                <a:gd name="connsiteX62" fmla="*/ 283910 w 353555"/>
                <a:gd name="connsiteY62" fmla="*/ 672820 h 761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</a:cxnLst>
              <a:rect l="l" t="t" r="r" b="b"/>
              <a:pathLst>
                <a:path w="353555" h="761503">
                  <a:moveTo>
                    <a:pt x="283910" y="672820"/>
                  </a:moveTo>
                  <a:cubicBezTo>
                    <a:pt x="297508" y="672820"/>
                    <a:pt x="321985" y="672820"/>
                    <a:pt x="321985" y="689138"/>
                  </a:cubicBezTo>
                  <a:cubicBezTo>
                    <a:pt x="321985" y="697297"/>
                    <a:pt x="319266" y="697297"/>
                    <a:pt x="316546" y="705456"/>
                  </a:cubicBezTo>
                  <a:cubicBezTo>
                    <a:pt x="311107" y="710895"/>
                    <a:pt x="305667" y="713615"/>
                    <a:pt x="300228" y="713615"/>
                  </a:cubicBezTo>
                  <a:cubicBezTo>
                    <a:pt x="292069" y="716335"/>
                    <a:pt x="283910" y="716335"/>
                    <a:pt x="278471" y="716335"/>
                  </a:cubicBezTo>
                  <a:cubicBezTo>
                    <a:pt x="275751" y="716335"/>
                    <a:pt x="256713" y="716335"/>
                    <a:pt x="237676" y="716335"/>
                  </a:cubicBezTo>
                  <a:cubicBezTo>
                    <a:pt x="213199" y="716335"/>
                    <a:pt x="186003" y="719054"/>
                    <a:pt x="180563" y="719054"/>
                  </a:cubicBezTo>
                  <a:cubicBezTo>
                    <a:pt x="166965" y="719054"/>
                    <a:pt x="142488" y="719054"/>
                    <a:pt x="126170" y="719054"/>
                  </a:cubicBezTo>
                  <a:cubicBezTo>
                    <a:pt x="118011" y="719054"/>
                    <a:pt x="109852" y="719054"/>
                    <a:pt x="101693" y="719054"/>
                  </a:cubicBezTo>
                  <a:cubicBezTo>
                    <a:pt x="93534" y="719054"/>
                    <a:pt x="82655" y="719054"/>
                    <a:pt x="74496" y="713615"/>
                  </a:cubicBezTo>
                  <a:cubicBezTo>
                    <a:pt x="66337" y="710895"/>
                    <a:pt x="58178" y="702736"/>
                    <a:pt x="58178" y="697297"/>
                  </a:cubicBezTo>
                  <a:cubicBezTo>
                    <a:pt x="58178" y="694578"/>
                    <a:pt x="58178" y="691858"/>
                    <a:pt x="63618" y="689138"/>
                  </a:cubicBezTo>
                  <a:cubicBezTo>
                    <a:pt x="69057" y="686418"/>
                    <a:pt x="79936" y="683699"/>
                    <a:pt x="85375" y="680979"/>
                  </a:cubicBezTo>
                  <a:cubicBezTo>
                    <a:pt x="104413" y="678260"/>
                    <a:pt x="123450" y="675540"/>
                    <a:pt x="131609" y="675540"/>
                  </a:cubicBezTo>
                  <a:cubicBezTo>
                    <a:pt x="134329" y="675540"/>
                    <a:pt x="137049" y="675540"/>
                    <a:pt x="142488" y="675540"/>
                  </a:cubicBezTo>
                  <a:cubicBezTo>
                    <a:pt x="134329" y="670101"/>
                    <a:pt x="131609" y="661942"/>
                    <a:pt x="131609" y="653783"/>
                  </a:cubicBezTo>
                  <a:cubicBezTo>
                    <a:pt x="131609" y="648343"/>
                    <a:pt x="131609" y="642904"/>
                    <a:pt x="128890" y="640184"/>
                  </a:cubicBezTo>
                  <a:cubicBezTo>
                    <a:pt x="128890" y="637465"/>
                    <a:pt x="128890" y="634745"/>
                    <a:pt x="128890" y="629306"/>
                  </a:cubicBezTo>
                  <a:cubicBezTo>
                    <a:pt x="128890" y="626586"/>
                    <a:pt x="128890" y="623867"/>
                    <a:pt x="128890" y="621147"/>
                  </a:cubicBezTo>
                  <a:cubicBezTo>
                    <a:pt x="128890" y="612988"/>
                    <a:pt x="128890" y="604829"/>
                    <a:pt x="128890" y="593950"/>
                  </a:cubicBezTo>
                  <a:cubicBezTo>
                    <a:pt x="128890" y="591231"/>
                    <a:pt x="128890" y="585791"/>
                    <a:pt x="128890" y="583072"/>
                  </a:cubicBezTo>
                  <a:cubicBezTo>
                    <a:pt x="128890" y="534118"/>
                    <a:pt x="131609" y="485164"/>
                    <a:pt x="128890" y="436210"/>
                  </a:cubicBezTo>
                  <a:cubicBezTo>
                    <a:pt x="128890" y="409014"/>
                    <a:pt x="128890" y="384537"/>
                    <a:pt x="128890" y="357340"/>
                  </a:cubicBezTo>
                  <a:cubicBezTo>
                    <a:pt x="128890" y="335583"/>
                    <a:pt x="131609" y="313826"/>
                    <a:pt x="131609" y="289349"/>
                  </a:cubicBezTo>
                  <a:cubicBezTo>
                    <a:pt x="131609" y="275751"/>
                    <a:pt x="131609" y="264872"/>
                    <a:pt x="131609" y="251274"/>
                  </a:cubicBezTo>
                  <a:cubicBezTo>
                    <a:pt x="131609" y="234956"/>
                    <a:pt x="131609" y="221357"/>
                    <a:pt x="131609" y="205040"/>
                  </a:cubicBezTo>
                  <a:cubicBezTo>
                    <a:pt x="131609" y="183282"/>
                    <a:pt x="131609" y="161525"/>
                    <a:pt x="131609" y="139768"/>
                  </a:cubicBezTo>
                  <a:cubicBezTo>
                    <a:pt x="131609" y="137048"/>
                    <a:pt x="131609" y="134329"/>
                    <a:pt x="131609" y="128889"/>
                  </a:cubicBezTo>
                  <a:cubicBezTo>
                    <a:pt x="128890" y="128889"/>
                    <a:pt x="126170" y="128889"/>
                    <a:pt x="126170" y="128889"/>
                  </a:cubicBezTo>
                  <a:cubicBezTo>
                    <a:pt x="118011" y="128889"/>
                    <a:pt x="109852" y="128889"/>
                    <a:pt x="101693" y="128889"/>
                  </a:cubicBezTo>
                  <a:cubicBezTo>
                    <a:pt x="93534" y="128889"/>
                    <a:pt x="82655" y="128889"/>
                    <a:pt x="74496" y="123450"/>
                  </a:cubicBezTo>
                  <a:cubicBezTo>
                    <a:pt x="66337" y="120730"/>
                    <a:pt x="58178" y="112571"/>
                    <a:pt x="58178" y="107132"/>
                  </a:cubicBezTo>
                  <a:cubicBezTo>
                    <a:pt x="58178" y="104412"/>
                    <a:pt x="58178" y="101693"/>
                    <a:pt x="60898" y="98973"/>
                  </a:cubicBezTo>
                  <a:cubicBezTo>
                    <a:pt x="63618" y="96253"/>
                    <a:pt x="77216" y="93534"/>
                    <a:pt x="82655" y="93534"/>
                  </a:cubicBezTo>
                  <a:cubicBezTo>
                    <a:pt x="98973" y="90814"/>
                    <a:pt x="123450" y="88094"/>
                    <a:pt x="131609" y="88094"/>
                  </a:cubicBezTo>
                  <a:cubicBezTo>
                    <a:pt x="131609" y="85375"/>
                    <a:pt x="131609" y="85375"/>
                    <a:pt x="131609" y="82655"/>
                  </a:cubicBezTo>
                  <a:cubicBezTo>
                    <a:pt x="131609" y="77216"/>
                    <a:pt x="131609" y="74496"/>
                    <a:pt x="134329" y="71776"/>
                  </a:cubicBezTo>
                  <a:cubicBezTo>
                    <a:pt x="137049" y="69057"/>
                    <a:pt x="145208" y="66337"/>
                    <a:pt x="147927" y="63617"/>
                  </a:cubicBezTo>
                  <a:cubicBezTo>
                    <a:pt x="153366" y="60898"/>
                    <a:pt x="158806" y="58178"/>
                    <a:pt x="164245" y="58178"/>
                  </a:cubicBezTo>
                  <a:cubicBezTo>
                    <a:pt x="169684" y="58178"/>
                    <a:pt x="175124" y="58178"/>
                    <a:pt x="177843" y="58178"/>
                  </a:cubicBezTo>
                  <a:cubicBezTo>
                    <a:pt x="183283" y="58178"/>
                    <a:pt x="191442" y="58178"/>
                    <a:pt x="196881" y="60898"/>
                  </a:cubicBezTo>
                  <a:cubicBezTo>
                    <a:pt x="213199" y="63617"/>
                    <a:pt x="224078" y="74496"/>
                    <a:pt x="232237" y="88094"/>
                  </a:cubicBezTo>
                  <a:cubicBezTo>
                    <a:pt x="253994" y="88094"/>
                    <a:pt x="270312" y="88094"/>
                    <a:pt x="278471" y="88094"/>
                  </a:cubicBezTo>
                  <a:cubicBezTo>
                    <a:pt x="292069" y="88094"/>
                    <a:pt x="316546" y="88094"/>
                    <a:pt x="316546" y="104412"/>
                  </a:cubicBezTo>
                  <a:cubicBezTo>
                    <a:pt x="316546" y="112571"/>
                    <a:pt x="313826" y="112571"/>
                    <a:pt x="311107" y="120730"/>
                  </a:cubicBezTo>
                  <a:cubicBezTo>
                    <a:pt x="305667" y="126170"/>
                    <a:pt x="300228" y="128889"/>
                    <a:pt x="294789" y="128889"/>
                  </a:cubicBezTo>
                  <a:cubicBezTo>
                    <a:pt x="286630" y="131609"/>
                    <a:pt x="278471" y="131609"/>
                    <a:pt x="273032" y="131609"/>
                  </a:cubicBezTo>
                  <a:cubicBezTo>
                    <a:pt x="270312" y="131609"/>
                    <a:pt x="259433" y="131609"/>
                    <a:pt x="243115" y="131609"/>
                  </a:cubicBezTo>
                  <a:lnTo>
                    <a:pt x="243115" y="134329"/>
                  </a:lnTo>
                  <a:cubicBezTo>
                    <a:pt x="245835" y="145207"/>
                    <a:pt x="245835" y="158805"/>
                    <a:pt x="248554" y="169684"/>
                  </a:cubicBezTo>
                  <a:cubicBezTo>
                    <a:pt x="251274" y="180563"/>
                    <a:pt x="251274" y="194161"/>
                    <a:pt x="251274" y="205040"/>
                  </a:cubicBezTo>
                  <a:cubicBezTo>
                    <a:pt x="251274" y="215918"/>
                    <a:pt x="251274" y="226797"/>
                    <a:pt x="251274" y="240395"/>
                  </a:cubicBezTo>
                  <a:cubicBezTo>
                    <a:pt x="251274" y="245834"/>
                    <a:pt x="251274" y="251274"/>
                    <a:pt x="251274" y="256713"/>
                  </a:cubicBezTo>
                  <a:cubicBezTo>
                    <a:pt x="251274" y="262152"/>
                    <a:pt x="251274" y="267592"/>
                    <a:pt x="253994" y="270311"/>
                  </a:cubicBezTo>
                  <a:cubicBezTo>
                    <a:pt x="256713" y="294788"/>
                    <a:pt x="256713" y="319265"/>
                    <a:pt x="259433" y="343742"/>
                  </a:cubicBezTo>
                  <a:cubicBezTo>
                    <a:pt x="259433" y="370939"/>
                    <a:pt x="262153" y="398135"/>
                    <a:pt x="262153" y="425332"/>
                  </a:cubicBezTo>
                  <a:cubicBezTo>
                    <a:pt x="262153" y="447089"/>
                    <a:pt x="262153" y="468846"/>
                    <a:pt x="264872" y="490603"/>
                  </a:cubicBezTo>
                  <a:cubicBezTo>
                    <a:pt x="264872" y="515080"/>
                    <a:pt x="270312" y="539557"/>
                    <a:pt x="270312" y="564034"/>
                  </a:cubicBezTo>
                  <a:cubicBezTo>
                    <a:pt x="270312" y="574913"/>
                    <a:pt x="270312" y="588511"/>
                    <a:pt x="270312" y="599390"/>
                  </a:cubicBezTo>
                  <a:cubicBezTo>
                    <a:pt x="270312" y="612988"/>
                    <a:pt x="270312" y="623867"/>
                    <a:pt x="270312" y="637465"/>
                  </a:cubicBezTo>
                  <a:cubicBezTo>
                    <a:pt x="270312" y="648343"/>
                    <a:pt x="270312" y="661942"/>
                    <a:pt x="264872" y="670101"/>
                  </a:cubicBezTo>
                  <a:cubicBezTo>
                    <a:pt x="273032" y="672820"/>
                    <a:pt x="278471" y="672820"/>
                    <a:pt x="283910" y="672820"/>
                  </a:cubicBezTo>
                  <a:lnTo>
                    <a:pt x="283910" y="672820"/>
                  </a:ln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/>
            </a:p>
          </p:txBody>
        </p:sp>
        <p:sp>
          <p:nvSpPr>
            <p:cNvPr id="48" name="Freeform: Shape 47">
              <a:extLst>
                <a:ext uri="{FF2B5EF4-FFF2-40B4-BE49-F238E27FC236}">
                  <a16:creationId xmlns:a16="http://schemas.microsoft.com/office/drawing/2014/main" id="{D932AD99-53C0-46CD-960C-6F1735F80A7B}"/>
                </a:ext>
              </a:extLst>
            </p:cNvPr>
            <p:cNvSpPr/>
            <p:nvPr/>
          </p:nvSpPr>
          <p:spPr>
            <a:xfrm>
              <a:off x="8652924" y="4192158"/>
              <a:ext cx="516735" cy="788700"/>
            </a:xfrm>
            <a:custGeom>
              <a:avLst/>
              <a:gdLst>
                <a:gd name="connsiteX0" fmla="*/ 464616 w 516735"/>
                <a:gd name="connsiteY0" fmla="*/ 436210 h 788699"/>
                <a:gd name="connsiteX1" fmla="*/ 445578 w 516735"/>
                <a:gd name="connsiteY1" fmla="*/ 455248 h 788699"/>
                <a:gd name="connsiteX2" fmla="*/ 404783 w 516735"/>
                <a:gd name="connsiteY2" fmla="*/ 466126 h 788699"/>
                <a:gd name="connsiteX3" fmla="*/ 385746 w 516735"/>
                <a:gd name="connsiteY3" fmla="*/ 479725 h 788699"/>
                <a:gd name="connsiteX4" fmla="*/ 388466 w 516735"/>
                <a:gd name="connsiteY4" fmla="*/ 512361 h 788699"/>
                <a:gd name="connsiteX5" fmla="*/ 388466 w 516735"/>
                <a:gd name="connsiteY5" fmla="*/ 544997 h 788699"/>
                <a:gd name="connsiteX6" fmla="*/ 388466 w 516735"/>
                <a:gd name="connsiteY6" fmla="*/ 566754 h 788699"/>
                <a:gd name="connsiteX7" fmla="*/ 391185 w 516735"/>
                <a:gd name="connsiteY7" fmla="*/ 632026 h 788699"/>
                <a:gd name="connsiteX8" fmla="*/ 393905 w 516735"/>
                <a:gd name="connsiteY8" fmla="*/ 683699 h 788699"/>
                <a:gd name="connsiteX9" fmla="*/ 377587 w 516735"/>
                <a:gd name="connsiteY9" fmla="*/ 724494 h 788699"/>
                <a:gd name="connsiteX10" fmla="*/ 361269 w 516735"/>
                <a:gd name="connsiteY10" fmla="*/ 719054 h 788699"/>
                <a:gd name="connsiteX11" fmla="*/ 353110 w 516735"/>
                <a:gd name="connsiteY11" fmla="*/ 702737 h 788699"/>
                <a:gd name="connsiteX12" fmla="*/ 350390 w 516735"/>
                <a:gd name="connsiteY12" fmla="*/ 686419 h 788699"/>
                <a:gd name="connsiteX13" fmla="*/ 353110 w 516735"/>
                <a:gd name="connsiteY13" fmla="*/ 659222 h 788699"/>
                <a:gd name="connsiteX14" fmla="*/ 353110 w 516735"/>
                <a:gd name="connsiteY14" fmla="*/ 656502 h 788699"/>
                <a:gd name="connsiteX15" fmla="*/ 317754 w 516735"/>
                <a:gd name="connsiteY15" fmla="*/ 708176 h 788699"/>
                <a:gd name="connsiteX16" fmla="*/ 241604 w 516735"/>
                <a:gd name="connsiteY16" fmla="*/ 735372 h 788699"/>
                <a:gd name="connsiteX17" fmla="*/ 187211 w 516735"/>
                <a:gd name="connsiteY17" fmla="*/ 727214 h 788699"/>
                <a:gd name="connsiteX18" fmla="*/ 135537 w 516735"/>
                <a:gd name="connsiteY18" fmla="*/ 694578 h 788699"/>
                <a:gd name="connsiteX19" fmla="*/ 86583 w 516735"/>
                <a:gd name="connsiteY19" fmla="*/ 621147 h 788699"/>
                <a:gd name="connsiteX20" fmla="*/ 67546 w 516735"/>
                <a:gd name="connsiteY20" fmla="*/ 555875 h 788699"/>
                <a:gd name="connsiteX21" fmla="*/ 59387 w 516735"/>
                <a:gd name="connsiteY21" fmla="*/ 509641 h 788699"/>
                <a:gd name="connsiteX22" fmla="*/ 59387 w 516735"/>
                <a:gd name="connsiteY22" fmla="*/ 468846 h 788699"/>
                <a:gd name="connsiteX23" fmla="*/ 86583 w 516735"/>
                <a:gd name="connsiteY23" fmla="*/ 302947 h 788699"/>
                <a:gd name="connsiteX24" fmla="*/ 108341 w 516735"/>
                <a:gd name="connsiteY24" fmla="*/ 224077 h 788699"/>
                <a:gd name="connsiteX25" fmla="*/ 146416 w 516735"/>
                <a:gd name="connsiteY25" fmla="*/ 145207 h 788699"/>
                <a:gd name="connsiteX26" fmla="*/ 198090 w 516735"/>
                <a:gd name="connsiteY26" fmla="*/ 85375 h 788699"/>
                <a:gd name="connsiteX27" fmla="*/ 228006 w 516735"/>
                <a:gd name="connsiteY27" fmla="*/ 69057 h 788699"/>
                <a:gd name="connsiteX28" fmla="*/ 268801 w 516735"/>
                <a:gd name="connsiteY28" fmla="*/ 58178 h 788699"/>
                <a:gd name="connsiteX29" fmla="*/ 274240 w 516735"/>
                <a:gd name="connsiteY29" fmla="*/ 58178 h 788699"/>
                <a:gd name="connsiteX30" fmla="*/ 295997 w 516735"/>
                <a:gd name="connsiteY30" fmla="*/ 60898 h 788699"/>
                <a:gd name="connsiteX31" fmla="*/ 331353 w 516735"/>
                <a:gd name="connsiteY31" fmla="*/ 71776 h 788699"/>
                <a:gd name="connsiteX32" fmla="*/ 350390 w 516735"/>
                <a:gd name="connsiteY32" fmla="*/ 93534 h 788699"/>
                <a:gd name="connsiteX33" fmla="*/ 353110 w 516735"/>
                <a:gd name="connsiteY33" fmla="*/ 74496 h 788699"/>
                <a:gd name="connsiteX34" fmla="*/ 358549 w 516735"/>
                <a:gd name="connsiteY34" fmla="*/ 63618 h 788699"/>
                <a:gd name="connsiteX35" fmla="*/ 366708 w 516735"/>
                <a:gd name="connsiteY35" fmla="*/ 58178 h 788699"/>
                <a:gd name="connsiteX36" fmla="*/ 374867 w 516735"/>
                <a:gd name="connsiteY36" fmla="*/ 63618 h 788699"/>
                <a:gd name="connsiteX37" fmla="*/ 383027 w 516735"/>
                <a:gd name="connsiteY37" fmla="*/ 82655 h 788699"/>
                <a:gd name="connsiteX38" fmla="*/ 385746 w 516735"/>
                <a:gd name="connsiteY38" fmla="*/ 126170 h 788699"/>
                <a:gd name="connsiteX39" fmla="*/ 388466 w 516735"/>
                <a:gd name="connsiteY39" fmla="*/ 186002 h 788699"/>
                <a:gd name="connsiteX40" fmla="*/ 391185 w 516735"/>
                <a:gd name="connsiteY40" fmla="*/ 237676 h 788699"/>
                <a:gd name="connsiteX41" fmla="*/ 374867 w 516735"/>
                <a:gd name="connsiteY41" fmla="*/ 278470 h 788699"/>
                <a:gd name="connsiteX42" fmla="*/ 358549 w 516735"/>
                <a:gd name="connsiteY42" fmla="*/ 273031 h 788699"/>
                <a:gd name="connsiteX43" fmla="*/ 350390 w 516735"/>
                <a:gd name="connsiteY43" fmla="*/ 256713 h 788699"/>
                <a:gd name="connsiteX44" fmla="*/ 347671 w 516735"/>
                <a:gd name="connsiteY44" fmla="*/ 240395 h 788699"/>
                <a:gd name="connsiteX45" fmla="*/ 347671 w 516735"/>
                <a:gd name="connsiteY45" fmla="*/ 213199 h 788699"/>
                <a:gd name="connsiteX46" fmla="*/ 344951 w 516735"/>
                <a:gd name="connsiteY46" fmla="*/ 194161 h 788699"/>
                <a:gd name="connsiteX47" fmla="*/ 339512 w 516735"/>
                <a:gd name="connsiteY47" fmla="*/ 150647 h 788699"/>
                <a:gd name="connsiteX48" fmla="*/ 323194 w 516735"/>
                <a:gd name="connsiteY48" fmla="*/ 112571 h 788699"/>
                <a:gd name="connsiteX49" fmla="*/ 293278 w 516735"/>
                <a:gd name="connsiteY49" fmla="*/ 101693 h 788699"/>
                <a:gd name="connsiteX50" fmla="*/ 263361 w 516735"/>
                <a:gd name="connsiteY50" fmla="*/ 120730 h 788699"/>
                <a:gd name="connsiteX51" fmla="*/ 241604 w 516735"/>
                <a:gd name="connsiteY51" fmla="*/ 153366 h 788699"/>
                <a:gd name="connsiteX52" fmla="*/ 233445 w 516735"/>
                <a:gd name="connsiteY52" fmla="*/ 194161 h 788699"/>
                <a:gd name="connsiteX53" fmla="*/ 225286 w 516735"/>
                <a:gd name="connsiteY53" fmla="*/ 232236 h 788699"/>
                <a:gd name="connsiteX54" fmla="*/ 217127 w 516735"/>
                <a:gd name="connsiteY54" fmla="*/ 275751 h 788699"/>
                <a:gd name="connsiteX55" fmla="*/ 211688 w 516735"/>
                <a:gd name="connsiteY55" fmla="*/ 316545 h 788699"/>
                <a:gd name="connsiteX56" fmla="*/ 206249 w 516735"/>
                <a:gd name="connsiteY56" fmla="*/ 354621 h 788699"/>
                <a:gd name="connsiteX57" fmla="*/ 200809 w 516735"/>
                <a:gd name="connsiteY57" fmla="*/ 398135 h 788699"/>
                <a:gd name="connsiteX58" fmla="*/ 195370 w 516735"/>
                <a:gd name="connsiteY58" fmla="*/ 438930 h 788699"/>
                <a:gd name="connsiteX59" fmla="*/ 192650 w 516735"/>
                <a:gd name="connsiteY59" fmla="*/ 474286 h 788699"/>
                <a:gd name="connsiteX60" fmla="*/ 195370 w 516735"/>
                <a:gd name="connsiteY60" fmla="*/ 525959 h 788699"/>
                <a:gd name="connsiteX61" fmla="*/ 208968 w 516735"/>
                <a:gd name="connsiteY61" fmla="*/ 596670 h 788699"/>
                <a:gd name="connsiteX62" fmla="*/ 214407 w 516735"/>
                <a:gd name="connsiteY62" fmla="*/ 623867 h 788699"/>
                <a:gd name="connsiteX63" fmla="*/ 228006 w 516735"/>
                <a:gd name="connsiteY63" fmla="*/ 656502 h 788699"/>
                <a:gd name="connsiteX64" fmla="*/ 271520 w 516735"/>
                <a:gd name="connsiteY64" fmla="*/ 689138 h 788699"/>
                <a:gd name="connsiteX65" fmla="*/ 306876 w 516735"/>
                <a:gd name="connsiteY65" fmla="*/ 664661 h 788699"/>
                <a:gd name="connsiteX66" fmla="*/ 331353 w 516735"/>
                <a:gd name="connsiteY66" fmla="*/ 602109 h 788699"/>
                <a:gd name="connsiteX67" fmla="*/ 336792 w 516735"/>
                <a:gd name="connsiteY67" fmla="*/ 544997 h 788699"/>
                <a:gd name="connsiteX68" fmla="*/ 336792 w 516735"/>
                <a:gd name="connsiteY68" fmla="*/ 498762 h 788699"/>
                <a:gd name="connsiteX69" fmla="*/ 336792 w 516735"/>
                <a:gd name="connsiteY69" fmla="*/ 490603 h 788699"/>
                <a:gd name="connsiteX70" fmla="*/ 320474 w 516735"/>
                <a:gd name="connsiteY70" fmla="*/ 477005 h 788699"/>
                <a:gd name="connsiteX71" fmla="*/ 282399 w 516735"/>
                <a:gd name="connsiteY71" fmla="*/ 479725 h 788699"/>
                <a:gd name="connsiteX72" fmla="*/ 252483 w 516735"/>
                <a:gd name="connsiteY72" fmla="*/ 474286 h 788699"/>
                <a:gd name="connsiteX73" fmla="*/ 247044 w 516735"/>
                <a:gd name="connsiteY73" fmla="*/ 466126 h 788699"/>
                <a:gd name="connsiteX74" fmla="*/ 249763 w 516735"/>
                <a:gd name="connsiteY74" fmla="*/ 457968 h 788699"/>
                <a:gd name="connsiteX75" fmla="*/ 268801 w 516735"/>
                <a:gd name="connsiteY75" fmla="*/ 447089 h 788699"/>
                <a:gd name="connsiteX76" fmla="*/ 312315 w 516735"/>
                <a:gd name="connsiteY76" fmla="*/ 436210 h 788699"/>
                <a:gd name="connsiteX77" fmla="*/ 353110 w 516735"/>
                <a:gd name="connsiteY77" fmla="*/ 430771 h 788699"/>
                <a:gd name="connsiteX78" fmla="*/ 385746 w 516735"/>
                <a:gd name="connsiteY78" fmla="*/ 430771 h 788699"/>
                <a:gd name="connsiteX79" fmla="*/ 437420 w 516735"/>
                <a:gd name="connsiteY79" fmla="*/ 428051 h 788699"/>
                <a:gd name="connsiteX80" fmla="*/ 464616 w 516735"/>
                <a:gd name="connsiteY80" fmla="*/ 436210 h 7886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</a:cxnLst>
              <a:rect l="l" t="t" r="r" b="b"/>
              <a:pathLst>
                <a:path w="516735" h="788699">
                  <a:moveTo>
                    <a:pt x="464616" y="436210"/>
                  </a:moveTo>
                  <a:cubicBezTo>
                    <a:pt x="464616" y="447089"/>
                    <a:pt x="453738" y="452528"/>
                    <a:pt x="445578" y="455248"/>
                  </a:cubicBezTo>
                  <a:cubicBezTo>
                    <a:pt x="434700" y="460687"/>
                    <a:pt x="415662" y="463407"/>
                    <a:pt x="404783" y="466126"/>
                  </a:cubicBezTo>
                  <a:cubicBezTo>
                    <a:pt x="393905" y="466126"/>
                    <a:pt x="385746" y="468846"/>
                    <a:pt x="385746" y="479725"/>
                  </a:cubicBezTo>
                  <a:cubicBezTo>
                    <a:pt x="385746" y="487884"/>
                    <a:pt x="388466" y="506921"/>
                    <a:pt x="388466" y="512361"/>
                  </a:cubicBezTo>
                  <a:cubicBezTo>
                    <a:pt x="388466" y="515080"/>
                    <a:pt x="388466" y="539557"/>
                    <a:pt x="388466" y="544997"/>
                  </a:cubicBezTo>
                  <a:cubicBezTo>
                    <a:pt x="388466" y="550436"/>
                    <a:pt x="388466" y="558595"/>
                    <a:pt x="388466" y="566754"/>
                  </a:cubicBezTo>
                  <a:cubicBezTo>
                    <a:pt x="388466" y="591231"/>
                    <a:pt x="388466" y="621147"/>
                    <a:pt x="391185" y="632026"/>
                  </a:cubicBezTo>
                  <a:cubicBezTo>
                    <a:pt x="393905" y="653783"/>
                    <a:pt x="393905" y="661942"/>
                    <a:pt x="393905" y="683699"/>
                  </a:cubicBezTo>
                  <a:cubicBezTo>
                    <a:pt x="393905" y="694578"/>
                    <a:pt x="393905" y="724494"/>
                    <a:pt x="377587" y="724494"/>
                  </a:cubicBezTo>
                  <a:cubicBezTo>
                    <a:pt x="369428" y="724494"/>
                    <a:pt x="366708" y="721774"/>
                    <a:pt x="361269" y="719054"/>
                  </a:cubicBezTo>
                  <a:cubicBezTo>
                    <a:pt x="355830" y="716335"/>
                    <a:pt x="353110" y="708176"/>
                    <a:pt x="353110" y="702737"/>
                  </a:cubicBezTo>
                  <a:cubicBezTo>
                    <a:pt x="350390" y="694578"/>
                    <a:pt x="350390" y="689138"/>
                    <a:pt x="350390" y="686419"/>
                  </a:cubicBezTo>
                  <a:cubicBezTo>
                    <a:pt x="350390" y="678260"/>
                    <a:pt x="353110" y="672820"/>
                    <a:pt x="353110" y="659222"/>
                  </a:cubicBezTo>
                  <a:lnTo>
                    <a:pt x="353110" y="656502"/>
                  </a:lnTo>
                  <a:cubicBezTo>
                    <a:pt x="347671" y="675540"/>
                    <a:pt x="334073" y="694578"/>
                    <a:pt x="317754" y="708176"/>
                  </a:cubicBezTo>
                  <a:cubicBezTo>
                    <a:pt x="293278" y="727214"/>
                    <a:pt x="274240" y="735372"/>
                    <a:pt x="241604" y="735372"/>
                  </a:cubicBezTo>
                  <a:cubicBezTo>
                    <a:pt x="222566" y="735372"/>
                    <a:pt x="203529" y="732653"/>
                    <a:pt x="187211" y="727214"/>
                  </a:cubicBezTo>
                  <a:cubicBezTo>
                    <a:pt x="165454" y="719054"/>
                    <a:pt x="149136" y="708176"/>
                    <a:pt x="135537" y="694578"/>
                  </a:cubicBezTo>
                  <a:cubicBezTo>
                    <a:pt x="113780" y="672820"/>
                    <a:pt x="100182" y="648343"/>
                    <a:pt x="86583" y="621147"/>
                  </a:cubicBezTo>
                  <a:cubicBezTo>
                    <a:pt x="75705" y="599390"/>
                    <a:pt x="70266" y="580352"/>
                    <a:pt x="67546" y="555875"/>
                  </a:cubicBezTo>
                  <a:cubicBezTo>
                    <a:pt x="64826" y="539557"/>
                    <a:pt x="62107" y="525959"/>
                    <a:pt x="59387" y="509641"/>
                  </a:cubicBezTo>
                  <a:cubicBezTo>
                    <a:pt x="56667" y="493323"/>
                    <a:pt x="59387" y="485164"/>
                    <a:pt x="59387" y="468846"/>
                  </a:cubicBezTo>
                  <a:cubicBezTo>
                    <a:pt x="59387" y="414453"/>
                    <a:pt x="72985" y="362780"/>
                    <a:pt x="86583" y="302947"/>
                  </a:cubicBezTo>
                  <a:cubicBezTo>
                    <a:pt x="92023" y="275751"/>
                    <a:pt x="100182" y="248554"/>
                    <a:pt x="108341" y="224077"/>
                  </a:cubicBezTo>
                  <a:cubicBezTo>
                    <a:pt x="116500" y="196881"/>
                    <a:pt x="130098" y="169684"/>
                    <a:pt x="146416" y="145207"/>
                  </a:cubicBezTo>
                  <a:cubicBezTo>
                    <a:pt x="160014" y="123450"/>
                    <a:pt x="176332" y="101693"/>
                    <a:pt x="198090" y="85375"/>
                  </a:cubicBezTo>
                  <a:cubicBezTo>
                    <a:pt x="206249" y="77216"/>
                    <a:pt x="217127" y="71776"/>
                    <a:pt x="228006" y="69057"/>
                  </a:cubicBezTo>
                  <a:cubicBezTo>
                    <a:pt x="241604" y="63618"/>
                    <a:pt x="255202" y="58178"/>
                    <a:pt x="268801" y="58178"/>
                  </a:cubicBezTo>
                  <a:cubicBezTo>
                    <a:pt x="271520" y="58178"/>
                    <a:pt x="274240" y="58178"/>
                    <a:pt x="274240" y="58178"/>
                  </a:cubicBezTo>
                  <a:cubicBezTo>
                    <a:pt x="279679" y="58178"/>
                    <a:pt x="285119" y="58178"/>
                    <a:pt x="295997" y="60898"/>
                  </a:cubicBezTo>
                  <a:cubicBezTo>
                    <a:pt x="309595" y="63618"/>
                    <a:pt x="320474" y="66337"/>
                    <a:pt x="331353" y="71776"/>
                  </a:cubicBezTo>
                  <a:cubicBezTo>
                    <a:pt x="339512" y="77216"/>
                    <a:pt x="347671" y="85375"/>
                    <a:pt x="350390" y="93534"/>
                  </a:cubicBezTo>
                  <a:cubicBezTo>
                    <a:pt x="350390" y="88095"/>
                    <a:pt x="353110" y="79936"/>
                    <a:pt x="353110" y="74496"/>
                  </a:cubicBezTo>
                  <a:cubicBezTo>
                    <a:pt x="355830" y="71776"/>
                    <a:pt x="355830" y="69057"/>
                    <a:pt x="358549" y="63618"/>
                  </a:cubicBezTo>
                  <a:cubicBezTo>
                    <a:pt x="361269" y="60898"/>
                    <a:pt x="363989" y="58178"/>
                    <a:pt x="366708" y="58178"/>
                  </a:cubicBezTo>
                  <a:cubicBezTo>
                    <a:pt x="369428" y="58178"/>
                    <a:pt x="372148" y="60898"/>
                    <a:pt x="374867" y="63618"/>
                  </a:cubicBezTo>
                  <a:cubicBezTo>
                    <a:pt x="377587" y="69057"/>
                    <a:pt x="380307" y="77216"/>
                    <a:pt x="383027" y="82655"/>
                  </a:cubicBezTo>
                  <a:cubicBezTo>
                    <a:pt x="383027" y="90814"/>
                    <a:pt x="385746" y="107132"/>
                    <a:pt x="385746" y="126170"/>
                  </a:cubicBezTo>
                  <a:cubicBezTo>
                    <a:pt x="385746" y="150647"/>
                    <a:pt x="385746" y="177843"/>
                    <a:pt x="388466" y="186002"/>
                  </a:cubicBezTo>
                  <a:cubicBezTo>
                    <a:pt x="391185" y="207759"/>
                    <a:pt x="391185" y="215918"/>
                    <a:pt x="391185" y="237676"/>
                  </a:cubicBezTo>
                  <a:cubicBezTo>
                    <a:pt x="391185" y="248554"/>
                    <a:pt x="391185" y="278470"/>
                    <a:pt x="374867" y="278470"/>
                  </a:cubicBezTo>
                  <a:cubicBezTo>
                    <a:pt x="366708" y="278470"/>
                    <a:pt x="363989" y="275751"/>
                    <a:pt x="358549" y="273031"/>
                  </a:cubicBezTo>
                  <a:cubicBezTo>
                    <a:pt x="353110" y="270311"/>
                    <a:pt x="350390" y="262152"/>
                    <a:pt x="350390" y="256713"/>
                  </a:cubicBezTo>
                  <a:cubicBezTo>
                    <a:pt x="350390" y="251274"/>
                    <a:pt x="347671" y="245834"/>
                    <a:pt x="347671" y="240395"/>
                  </a:cubicBezTo>
                  <a:cubicBezTo>
                    <a:pt x="347671" y="232236"/>
                    <a:pt x="347671" y="224077"/>
                    <a:pt x="347671" y="213199"/>
                  </a:cubicBezTo>
                  <a:cubicBezTo>
                    <a:pt x="347671" y="207759"/>
                    <a:pt x="347671" y="199600"/>
                    <a:pt x="344951" y="194161"/>
                  </a:cubicBezTo>
                  <a:cubicBezTo>
                    <a:pt x="342232" y="180563"/>
                    <a:pt x="342232" y="164245"/>
                    <a:pt x="339512" y="150647"/>
                  </a:cubicBezTo>
                  <a:cubicBezTo>
                    <a:pt x="336792" y="137048"/>
                    <a:pt x="331353" y="123450"/>
                    <a:pt x="323194" y="112571"/>
                  </a:cubicBezTo>
                  <a:cubicBezTo>
                    <a:pt x="317754" y="104412"/>
                    <a:pt x="304156" y="101693"/>
                    <a:pt x="293278" y="101693"/>
                  </a:cubicBezTo>
                  <a:cubicBezTo>
                    <a:pt x="279679" y="101693"/>
                    <a:pt x="271520" y="109852"/>
                    <a:pt x="263361" y="120730"/>
                  </a:cubicBezTo>
                  <a:cubicBezTo>
                    <a:pt x="257922" y="131609"/>
                    <a:pt x="247044" y="139768"/>
                    <a:pt x="241604" y="153366"/>
                  </a:cubicBezTo>
                  <a:cubicBezTo>
                    <a:pt x="236165" y="166964"/>
                    <a:pt x="233445" y="180563"/>
                    <a:pt x="233445" y="194161"/>
                  </a:cubicBezTo>
                  <a:cubicBezTo>
                    <a:pt x="233445" y="207759"/>
                    <a:pt x="230725" y="218638"/>
                    <a:pt x="225286" y="232236"/>
                  </a:cubicBezTo>
                  <a:cubicBezTo>
                    <a:pt x="219847" y="245834"/>
                    <a:pt x="219847" y="262152"/>
                    <a:pt x="217127" y="275751"/>
                  </a:cubicBezTo>
                  <a:cubicBezTo>
                    <a:pt x="214407" y="289349"/>
                    <a:pt x="214407" y="302947"/>
                    <a:pt x="211688" y="316545"/>
                  </a:cubicBezTo>
                  <a:cubicBezTo>
                    <a:pt x="211688" y="330144"/>
                    <a:pt x="206249" y="341022"/>
                    <a:pt x="206249" y="354621"/>
                  </a:cubicBezTo>
                  <a:cubicBezTo>
                    <a:pt x="203529" y="368219"/>
                    <a:pt x="203529" y="381817"/>
                    <a:pt x="200809" y="398135"/>
                  </a:cubicBezTo>
                  <a:cubicBezTo>
                    <a:pt x="198090" y="411733"/>
                    <a:pt x="198090" y="425332"/>
                    <a:pt x="195370" y="438930"/>
                  </a:cubicBezTo>
                  <a:cubicBezTo>
                    <a:pt x="195370" y="449809"/>
                    <a:pt x="192650" y="463407"/>
                    <a:pt x="192650" y="474286"/>
                  </a:cubicBezTo>
                  <a:cubicBezTo>
                    <a:pt x="192650" y="490603"/>
                    <a:pt x="195370" y="509641"/>
                    <a:pt x="195370" y="525959"/>
                  </a:cubicBezTo>
                  <a:cubicBezTo>
                    <a:pt x="195370" y="550436"/>
                    <a:pt x="203529" y="572193"/>
                    <a:pt x="208968" y="596670"/>
                  </a:cubicBezTo>
                  <a:cubicBezTo>
                    <a:pt x="211688" y="604829"/>
                    <a:pt x="211688" y="615708"/>
                    <a:pt x="214407" y="623867"/>
                  </a:cubicBezTo>
                  <a:cubicBezTo>
                    <a:pt x="217127" y="634745"/>
                    <a:pt x="222566" y="645624"/>
                    <a:pt x="228006" y="656502"/>
                  </a:cubicBezTo>
                  <a:cubicBezTo>
                    <a:pt x="236165" y="670101"/>
                    <a:pt x="252483" y="689138"/>
                    <a:pt x="271520" y="689138"/>
                  </a:cubicBezTo>
                  <a:cubicBezTo>
                    <a:pt x="287838" y="689138"/>
                    <a:pt x="298717" y="675540"/>
                    <a:pt x="306876" y="664661"/>
                  </a:cubicBezTo>
                  <a:cubicBezTo>
                    <a:pt x="320474" y="645624"/>
                    <a:pt x="325914" y="623867"/>
                    <a:pt x="331353" y="602109"/>
                  </a:cubicBezTo>
                  <a:cubicBezTo>
                    <a:pt x="334073" y="583072"/>
                    <a:pt x="336792" y="564034"/>
                    <a:pt x="336792" y="544997"/>
                  </a:cubicBezTo>
                  <a:cubicBezTo>
                    <a:pt x="336792" y="531398"/>
                    <a:pt x="336792" y="512361"/>
                    <a:pt x="336792" y="498762"/>
                  </a:cubicBezTo>
                  <a:cubicBezTo>
                    <a:pt x="336792" y="496043"/>
                    <a:pt x="336792" y="493323"/>
                    <a:pt x="336792" y="490603"/>
                  </a:cubicBezTo>
                  <a:cubicBezTo>
                    <a:pt x="336792" y="479725"/>
                    <a:pt x="336792" y="477005"/>
                    <a:pt x="320474" y="477005"/>
                  </a:cubicBezTo>
                  <a:cubicBezTo>
                    <a:pt x="309595" y="477005"/>
                    <a:pt x="295997" y="479725"/>
                    <a:pt x="282399" y="479725"/>
                  </a:cubicBezTo>
                  <a:cubicBezTo>
                    <a:pt x="271520" y="479725"/>
                    <a:pt x="260642" y="479725"/>
                    <a:pt x="252483" y="474286"/>
                  </a:cubicBezTo>
                  <a:cubicBezTo>
                    <a:pt x="249763" y="471566"/>
                    <a:pt x="247044" y="468846"/>
                    <a:pt x="247044" y="466126"/>
                  </a:cubicBezTo>
                  <a:cubicBezTo>
                    <a:pt x="247044" y="463407"/>
                    <a:pt x="247044" y="460687"/>
                    <a:pt x="249763" y="457968"/>
                  </a:cubicBezTo>
                  <a:cubicBezTo>
                    <a:pt x="255202" y="452528"/>
                    <a:pt x="260642" y="449809"/>
                    <a:pt x="268801" y="447089"/>
                  </a:cubicBezTo>
                  <a:cubicBezTo>
                    <a:pt x="282399" y="441650"/>
                    <a:pt x="295997" y="438930"/>
                    <a:pt x="312315" y="436210"/>
                  </a:cubicBezTo>
                  <a:cubicBezTo>
                    <a:pt x="325914" y="433491"/>
                    <a:pt x="339512" y="433491"/>
                    <a:pt x="353110" y="430771"/>
                  </a:cubicBezTo>
                  <a:cubicBezTo>
                    <a:pt x="363989" y="430771"/>
                    <a:pt x="374867" y="430771"/>
                    <a:pt x="385746" y="430771"/>
                  </a:cubicBezTo>
                  <a:cubicBezTo>
                    <a:pt x="402064" y="430771"/>
                    <a:pt x="426541" y="428051"/>
                    <a:pt x="437420" y="428051"/>
                  </a:cubicBezTo>
                  <a:cubicBezTo>
                    <a:pt x="451018" y="422612"/>
                    <a:pt x="464616" y="425332"/>
                    <a:pt x="464616" y="436210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/>
            </a:p>
          </p:txBody>
        </p:sp>
        <p:sp>
          <p:nvSpPr>
            <p:cNvPr id="49" name="Freeform: Shape 48">
              <a:extLst>
                <a:ext uri="{FF2B5EF4-FFF2-40B4-BE49-F238E27FC236}">
                  <a16:creationId xmlns:a16="http://schemas.microsoft.com/office/drawing/2014/main" id="{6C6EC568-17DB-458F-9492-F1CC33DF1A00}"/>
                </a:ext>
              </a:extLst>
            </p:cNvPr>
            <p:cNvSpPr/>
            <p:nvPr/>
          </p:nvSpPr>
          <p:spPr>
            <a:xfrm>
              <a:off x="9053923" y="4178559"/>
              <a:ext cx="625521" cy="788700"/>
            </a:xfrm>
            <a:custGeom>
              <a:avLst/>
              <a:gdLst>
                <a:gd name="connsiteX0" fmla="*/ 536838 w 625521"/>
                <a:gd name="connsiteY0" fmla="*/ 680979 h 788699"/>
                <a:gd name="connsiteX1" fmla="*/ 574913 w 625521"/>
                <a:gd name="connsiteY1" fmla="*/ 697297 h 788699"/>
                <a:gd name="connsiteX2" fmla="*/ 566755 w 625521"/>
                <a:gd name="connsiteY2" fmla="*/ 713615 h 788699"/>
                <a:gd name="connsiteX3" fmla="*/ 550437 w 625521"/>
                <a:gd name="connsiteY3" fmla="*/ 721774 h 788699"/>
                <a:gd name="connsiteX4" fmla="*/ 528680 w 625521"/>
                <a:gd name="connsiteY4" fmla="*/ 724494 h 788699"/>
                <a:gd name="connsiteX5" fmla="*/ 417174 w 625521"/>
                <a:gd name="connsiteY5" fmla="*/ 724494 h 788699"/>
                <a:gd name="connsiteX6" fmla="*/ 398136 w 625521"/>
                <a:gd name="connsiteY6" fmla="*/ 724494 h 788699"/>
                <a:gd name="connsiteX7" fmla="*/ 373659 w 625521"/>
                <a:gd name="connsiteY7" fmla="*/ 724494 h 788699"/>
                <a:gd name="connsiteX8" fmla="*/ 346462 w 625521"/>
                <a:gd name="connsiteY8" fmla="*/ 719054 h 788699"/>
                <a:gd name="connsiteX9" fmla="*/ 330144 w 625521"/>
                <a:gd name="connsiteY9" fmla="*/ 702737 h 788699"/>
                <a:gd name="connsiteX10" fmla="*/ 335584 w 625521"/>
                <a:gd name="connsiteY10" fmla="*/ 694578 h 788699"/>
                <a:gd name="connsiteX11" fmla="*/ 357341 w 625521"/>
                <a:gd name="connsiteY11" fmla="*/ 686419 h 788699"/>
                <a:gd name="connsiteX12" fmla="*/ 395416 w 625521"/>
                <a:gd name="connsiteY12" fmla="*/ 680979 h 788699"/>
                <a:gd name="connsiteX13" fmla="*/ 381817 w 625521"/>
                <a:gd name="connsiteY13" fmla="*/ 656502 h 788699"/>
                <a:gd name="connsiteX14" fmla="*/ 379098 w 625521"/>
                <a:gd name="connsiteY14" fmla="*/ 585791 h 788699"/>
                <a:gd name="connsiteX15" fmla="*/ 379098 w 625521"/>
                <a:gd name="connsiteY15" fmla="*/ 517800 h 788699"/>
                <a:gd name="connsiteX16" fmla="*/ 379098 w 625521"/>
                <a:gd name="connsiteY16" fmla="*/ 474286 h 788699"/>
                <a:gd name="connsiteX17" fmla="*/ 379098 w 625521"/>
                <a:gd name="connsiteY17" fmla="*/ 430771 h 788699"/>
                <a:gd name="connsiteX18" fmla="*/ 381817 w 625521"/>
                <a:gd name="connsiteY18" fmla="*/ 411733 h 788699"/>
                <a:gd name="connsiteX19" fmla="*/ 379098 w 625521"/>
                <a:gd name="connsiteY19" fmla="*/ 400855 h 788699"/>
                <a:gd name="connsiteX20" fmla="*/ 370939 w 625521"/>
                <a:gd name="connsiteY20" fmla="*/ 398135 h 788699"/>
                <a:gd name="connsiteX21" fmla="*/ 338304 w 625521"/>
                <a:gd name="connsiteY21" fmla="*/ 400855 h 788699"/>
                <a:gd name="connsiteX22" fmla="*/ 289349 w 625521"/>
                <a:gd name="connsiteY22" fmla="*/ 403575 h 788699"/>
                <a:gd name="connsiteX23" fmla="*/ 264872 w 625521"/>
                <a:gd name="connsiteY23" fmla="*/ 400855 h 788699"/>
                <a:gd name="connsiteX24" fmla="*/ 259433 w 625521"/>
                <a:gd name="connsiteY24" fmla="*/ 406294 h 788699"/>
                <a:gd name="connsiteX25" fmla="*/ 259433 w 625521"/>
                <a:gd name="connsiteY25" fmla="*/ 425332 h 788699"/>
                <a:gd name="connsiteX26" fmla="*/ 259433 w 625521"/>
                <a:gd name="connsiteY26" fmla="*/ 449809 h 788699"/>
                <a:gd name="connsiteX27" fmla="*/ 259433 w 625521"/>
                <a:gd name="connsiteY27" fmla="*/ 471566 h 788699"/>
                <a:gd name="connsiteX28" fmla="*/ 259433 w 625521"/>
                <a:gd name="connsiteY28" fmla="*/ 504202 h 788699"/>
                <a:gd name="connsiteX29" fmla="*/ 259433 w 625521"/>
                <a:gd name="connsiteY29" fmla="*/ 509641 h 788699"/>
                <a:gd name="connsiteX30" fmla="*/ 256714 w 625521"/>
                <a:gd name="connsiteY30" fmla="*/ 542277 h 788699"/>
                <a:gd name="connsiteX31" fmla="*/ 256714 w 625521"/>
                <a:gd name="connsiteY31" fmla="*/ 577632 h 788699"/>
                <a:gd name="connsiteX32" fmla="*/ 256714 w 625521"/>
                <a:gd name="connsiteY32" fmla="*/ 612988 h 788699"/>
                <a:gd name="connsiteX33" fmla="*/ 253994 w 625521"/>
                <a:gd name="connsiteY33" fmla="*/ 656502 h 788699"/>
                <a:gd name="connsiteX34" fmla="*/ 256714 w 625521"/>
                <a:gd name="connsiteY34" fmla="*/ 678260 h 788699"/>
                <a:gd name="connsiteX35" fmla="*/ 286629 w 625521"/>
                <a:gd name="connsiteY35" fmla="*/ 694578 h 788699"/>
                <a:gd name="connsiteX36" fmla="*/ 281191 w 625521"/>
                <a:gd name="connsiteY36" fmla="*/ 710895 h 788699"/>
                <a:gd name="connsiteX37" fmla="*/ 264872 w 625521"/>
                <a:gd name="connsiteY37" fmla="*/ 719054 h 788699"/>
                <a:gd name="connsiteX38" fmla="*/ 243116 w 625521"/>
                <a:gd name="connsiteY38" fmla="*/ 721774 h 788699"/>
                <a:gd name="connsiteX39" fmla="*/ 243116 w 625521"/>
                <a:gd name="connsiteY39" fmla="*/ 721774 h 788699"/>
                <a:gd name="connsiteX40" fmla="*/ 232236 w 625521"/>
                <a:gd name="connsiteY40" fmla="*/ 727214 h 788699"/>
                <a:gd name="connsiteX41" fmla="*/ 224078 w 625521"/>
                <a:gd name="connsiteY41" fmla="*/ 735372 h 788699"/>
                <a:gd name="connsiteX42" fmla="*/ 213199 w 625521"/>
                <a:gd name="connsiteY42" fmla="*/ 738092 h 788699"/>
                <a:gd name="connsiteX43" fmla="*/ 183283 w 625521"/>
                <a:gd name="connsiteY43" fmla="*/ 727214 h 788699"/>
                <a:gd name="connsiteX44" fmla="*/ 175124 w 625521"/>
                <a:gd name="connsiteY44" fmla="*/ 719054 h 788699"/>
                <a:gd name="connsiteX45" fmla="*/ 145208 w 625521"/>
                <a:gd name="connsiteY45" fmla="*/ 719054 h 788699"/>
                <a:gd name="connsiteX46" fmla="*/ 126170 w 625521"/>
                <a:gd name="connsiteY46" fmla="*/ 719054 h 788699"/>
                <a:gd name="connsiteX47" fmla="*/ 101693 w 625521"/>
                <a:gd name="connsiteY47" fmla="*/ 719054 h 788699"/>
                <a:gd name="connsiteX48" fmla="*/ 74496 w 625521"/>
                <a:gd name="connsiteY48" fmla="*/ 713615 h 788699"/>
                <a:gd name="connsiteX49" fmla="*/ 58178 w 625521"/>
                <a:gd name="connsiteY49" fmla="*/ 697297 h 788699"/>
                <a:gd name="connsiteX50" fmla="*/ 63618 w 625521"/>
                <a:gd name="connsiteY50" fmla="*/ 689138 h 788699"/>
                <a:gd name="connsiteX51" fmla="*/ 85375 w 625521"/>
                <a:gd name="connsiteY51" fmla="*/ 680979 h 788699"/>
                <a:gd name="connsiteX52" fmla="*/ 131609 w 625521"/>
                <a:gd name="connsiteY52" fmla="*/ 675540 h 788699"/>
                <a:gd name="connsiteX53" fmla="*/ 131609 w 625521"/>
                <a:gd name="connsiteY53" fmla="*/ 667381 h 788699"/>
                <a:gd name="connsiteX54" fmla="*/ 131609 w 625521"/>
                <a:gd name="connsiteY54" fmla="*/ 651063 h 788699"/>
                <a:gd name="connsiteX55" fmla="*/ 131609 w 625521"/>
                <a:gd name="connsiteY55" fmla="*/ 618427 h 788699"/>
                <a:gd name="connsiteX56" fmla="*/ 131609 w 625521"/>
                <a:gd name="connsiteY56" fmla="*/ 580352 h 788699"/>
                <a:gd name="connsiteX57" fmla="*/ 131609 w 625521"/>
                <a:gd name="connsiteY57" fmla="*/ 531398 h 788699"/>
                <a:gd name="connsiteX58" fmla="*/ 131609 w 625521"/>
                <a:gd name="connsiteY58" fmla="*/ 466126 h 788699"/>
                <a:gd name="connsiteX59" fmla="*/ 131609 w 625521"/>
                <a:gd name="connsiteY59" fmla="*/ 422612 h 788699"/>
                <a:gd name="connsiteX60" fmla="*/ 131609 w 625521"/>
                <a:gd name="connsiteY60" fmla="*/ 411733 h 788699"/>
                <a:gd name="connsiteX61" fmla="*/ 131609 w 625521"/>
                <a:gd name="connsiteY61" fmla="*/ 398135 h 788699"/>
                <a:gd name="connsiteX62" fmla="*/ 126170 w 625521"/>
                <a:gd name="connsiteY62" fmla="*/ 389976 h 788699"/>
                <a:gd name="connsiteX63" fmla="*/ 101693 w 625521"/>
                <a:gd name="connsiteY63" fmla="*/ 387257 h 788699"/>
                <a:gd name="connsiteX64" fmla="*/ 77216 w 625521"/>
                <a:gd name="connsiteY64" fmla="*/ 376378 h 788699"/>
                <a:gd name="connsiteX65" fmla="*/ 82655 w 625521"/>
                <a:gd name="connsiteY65" fmla="*/ 368219 h 788699"/>
                <a:gd name="connsiteX66" fmla="*/ 98973 w 625521"/>
                <a:gd name="connsiteY66" fmla="*/ 360060 h 788699"/>
                <a:gd name="connsiteX67" fmla="*/ 118011 w 625521"/>
                <a:gd name="connsiteY67" fmla="*/ 357340 h 788699"/>
                <a:gd name="connsiteX68" fmla="*/ 131609 w 625521"/>
                <a:gd name="connsiteY68" fmla="*/ 351901 h 788699"/>
                <a:gd name="connsiteX69" fmla="*/ 131609 w 625521"/>
                <a:gd name="connsiteY69" fmla="*/ 343742 h 788699"/>
                <a:gd name="connsiteX70" fmla="*/ 131609 w 625521"/>
                <a:gd name="connsiteY70" fmla="*/ 270311 h 788699"/>
                <a:gd name="connsiteX71" fmla="*/ 137048 w 625521"/>
                <a:gd name="connsiteY71" fmla="*/ 145207 h 788699"/>
                <a:gd name="connsiteX72" fmla="*/ 139768 w 625521"/>
                <a:gd name="connsiteY72" fmla="*/ 123450 h 788699"/>
                <a:gd name="connsiteX73" fmla="*/ 123450 w 625521"/>
                <a:gd name="connsiteY73" fmla="*/ 123450 h 788699"/>
                <a:gd name="connsiteX74" fmla="*/ 118011 w 625521"/>
                <a:gd name="connsiteY74" fmla="*/ 123450 h 788699"/>
                <a:gd name="connsiteX75" fmla="*/ 101693 w 625521"/>
                <a:gd name="connsiteY75" fmla="*/ 123450 h 788699"/>
                <a:gd name="connsiteX76" fmla="*/ 74496 w 625521"/>
                <a:gd name="connsiteY76" fmla="*/ 118011 h 788699"/>
                <a:gd name="connsiteX77" fmla="*/ 58178 w 625521"/>
                <a:gd name="connsiteY77" fmla="*/ 101693 h 788699"/>
                <a:gd name="connsiteX78" fmla="*/ 63618 w 625521"/>
                <a:gd name="connsiteY78" fmla="*/ 93534 h 788699"/>
                <a:gd name="connsiteX79" fmla="*/ 85375 w 625521"/>
                <a:gd name="connsiteY79" fmla="*/ 85375 h 788699"/>
                <a:gd name="connsiteX80" fmla="*/ 137048 w 625521"/>
                <a:gd name="connsiteY80" fmla="*/ 82655 h 788699"/>
                <a:gd name="connsiteX81" fmla="*/ 147927 w 625521"/>
                <a:gd name="connsiteY81" fmla="*/ 82655 h 788699"/>
                <a:gd name="connsiteX82" fmla="*/ 186003 w 625521"/>
                <a:gd name="connsiteY82" fmla="*/ 58178 h 788699"/>
                <a:gd name="connsiteX83" fmla="*/ 226797 w 625521"/>
                <a:gd name="connsiteY83" fmla="*/ 79936 h 788699"/>
                <a:gd name="connsiteX84" fmla="*/ 253994 w 625521"/>
                <a:gd name="connsiteY84" fmla="*/ 79936 h 788699"/>
                <a:gd name="connsiteX85" fmla="*/ 294789 w 625521"/>
                <a:gd name="connsiteY85" fmla="*/ 96253 h 788699"/>
                <a:gd name="connsiteX86" fmla="*/ 283910 w 625521"/>
                <a:gd name="connsiteY86" fmla="*/ 112571 h 788699"/>
                <a:gd name="connsiteX87" fmla="*/ 267592 w 625521"/>
                <a:gd name="connsiteY87" fmla="*/ 120730 h 788699"/>
                <a:gd name="connsiteX88" fmla="*/ 245835 w 625521"/>
                <a:gd name="connsiteY88" fmla="*/ 123450 h 788699"/>
                <a:gd name="connsiteX89" fmla="*/ 237676 w 625521"/>
                <a:gd name="connsiteY89" fmla="*/ 123450 h 788699"/>
                <a:gd name="connsiteX90" fmla="*/ 240396 w 625521"/>
                <a:gd name="connsiteY90" fmla="*/ 128889 h 788699"/>
                <a:gd name="connsiteX91" fmla="*/ 251274 w 625521"/>
                <a:gd name="connsiteY91" fmla="*/ 177843 h 788699"/>
                <a:gd name="connsiteX92" fmla="*/ 256714 w 625521"/>
                <a:gd name="connsiteY92" fmla="*/ 226797 h 788699"/>
                <a:gd name="connsiteX93" fmla="*/ 262153 w 625521"/>
                <a:gd name="connsiteY93" fmla="*/ 273031 h 788699"/>
                <a:gd name="connsiteX94" fmla="*/ 262153 w 625521"/>
                <a:gd name="connsiteY94" fmla="*/ 289349 h 788699"/>
                <a:gd name="connsiteX95" fmla="*/ 262153 w 625521"/>
                <a:gd name="connsiteY95" fmla="*/ 297508 h 788699"/>
                <a:gd name="connsiteX96" fmla="*/ 264872 w 625521"/>
                <a:gd name="connsiteY96" fmla="*/ 321985 h 788699"/>
                <a:gd name="connsiteX97" fmla="*/ 270312 w 625521"/>
                <a:gd name="connsiteY97" fmla="*/ 335583 h 788699"/>
                <a:gd name="connsiteX98" fmla="*/ 270312 w 625521"/>
                <a:gd name="connsiteY98" fmla="*/ 338303 h 788699"/>
                <a:gd name="connsiteX99" fmla="*/ 270312 w 625521"/>
                <a:gd name="connsiteY99" fmla="*/ 346462 h 788699"/>
                <a:gd name="connsiteX100" fmla="*/ 278471 w 625521"/>
                <a:gd name="connsiteY100" fmla="*/ 354621 h 788699"/>
                <a:gd name="connsiteX101" fmla="*/ 338304 w 625521"/>
                <a:gd name="connsiteY101" fmla="*/ 349181 h 788699"/>
                <a:gd name="connsiteX102" fmla="*/ 365500 w 625521"/>
                <a:gd name="connsiteY102" fmla="*/ 349181 h 788699"/>
                <a:gd name="connsiteX103" fmla="*/ 381817 w 625521"/>
                <a:gd name="connsiteY103" fmla="*/ 349181 h 788699"/>
                <a:gd name="connsiteX104" fmla="*/ 392697 w 625521"/>
                <a:gd name="connsiteY104" fmla="*/ 338303 h 788699"/>
                <a:gd name="connsiteX105" fmla="*/ 389977 w 625521"/>
                <a:gd name="connsiteY105" fmla="*/ 313826 h 788699"/>
                <a:gd name="connsiteX106" fmla="*/ 392697 w 625521"/>
                <a:gd name="connsiteY106" fmla="*/ 262152 h 788699"/>
                <a:gd name="connsiteX107" fmla="*/ 395416 w 625521"/>
                <a:gd name="connsiteY107" fmla="*/ 224077 h 788699"/>
                <a:gd name="connsiteX108" fmla="*/ 398136 w 625521"/>
                <a:gd name="connsiteY108" fmla="*/ 177843 h 788699"/>
                <a:gd name="connsiteX109" fmla="*/ 395416 w 625521"/>
                <a:gd name="connsiteY109" fmla="*/ 153366 h 788699"/>
                <a:gd name="connsiteX110" fmla="*/ 395416 w 625521"/>
                <a:gd name="connsiteY110" fmla="*/ 137048 h 788699"/>
                <a:gd name="connsiteX111" fmla="*/ 379098 w 625521"/>
                <a:gd name="connsiteY111" fmla="*/ 137048 h 788699"/>
                <a:gd name="connsiteX112" fmla="*/ 351902 w 625521"/>
                <a:gd name="connsiteY112" fmla="*/ 131609 h 788699"/>
                <a:gd name="connsiteX113" fmla="*/ 338304 w 625521"/>
                <a:gd name="connsiteY113" fmla="*/ 115291 h 788699"/>
                <a:gd name="connsiteX114" fmla="*/ 343742 w 625521"/>
                <a:gd name="connsiteY114" fmla="*/ 107132 h 788699"/>
                <a:gd name="connsiteX115" fmla="*/ 362780 w 625521"/>
                <a:gd name="connsiteY115" fmla="*/ 98973 h 788699"/>
                <a:gd name="connsiteX116" fmla="*/ 395416 w 625521"/>
                <a:gd name="connsiteY116" fmla="*/ 96253 h 788699"/>
                <a:gd name="connsiteX117" fmla="*/ 403575 w 625521"/>
                <a:gd name="connsiteY117" fmla="*/ 90814 h 788699"/>
                <a:gd name="connsiteX118" fmla="*/ 422612 w 625521"/>
                <a:gd name="connsiteY118" fmla="*/ 88095 h 788699"/>
                <a:gd name="connsiteX119" fmla="*/ 428052 w 625521"/>
                <a:gd name="connsiteY119" fmla="*/ 88095 h 788699"/>
                <a:gd name="connsiteX120" fmla="*/ 447090 w 625521"/>
                <a:gd name="connsiteY120" fmla="*/ 90814 h 788699"/>
                <a:gd name="connsiteX121" fmla="*/ 455249 w 625521"/>
                <a:gd name="connsiteY121" fmla="*/ 96253 h 788699"/>
                <a:gd name="connsiteX122" fmla="*/ 525960 w 625521"/>
                <a:gd name="connsiteY122" fmla="*/ 93534 h 788699"/>
                <a:gd name="connsiteX123" fmla="*/ 561315 w 625521"/>
                <a:gd name="connsiteY123" fmla="*/ 109852 h 788699"/>
                <a:gd name="connsiteX124" fmla="*/ 555876 w 625521"/>
                <a:gd name="connsiteY124" fmla="*/ 126170 h 788699"/>
                <a:gd name="connsiteX125" fmla="*/ 539558 w 625521"/>
                <a:gd name="connsiteY125" fmla="*/ 134329 h 788699"/>
                <a:gd name="connsiteX126" fmla="*/ 517800 w 625521"/>
                <a:gd name="connsiteY126" fmla="*/ 137048 h 788699"/>
                <a:gd name="connsiteX127" fmla="*/ 477006 w 625521"/>
                <a:gd name="connsiteY127" fmla="*/ 137048 h 788699"/>
                <a:gd name="connsiteX128" fmla="*/ 485165 w 625521"/>
                <a:gd name="connsiteY128" fmla="*/ 161525 h 788699"/>
                <a:gd name="connsiteX129" fmla="*/ 496043 w 625521"/>
                <a:gd name="connsiteY129" fmla="*/ 210479 h 788699"/>
                <a:gd name="connsiteX130" fmla="*/ 501483 w 625521"/>
                <a:gd name="connsiteY130" fmla="*/ 251274 h 788699"/>
                <a:gd name="connsiteX131" fmla="*/ 506922 w 625521"/>
                <a:gd name="connsiteY131" fmla="*/ 292069 h 788699"/>
                <a:gd name="connsiteX132" fmla="*/ 506922 w 625521"/>
                <a:gd name="connsiteY132" fmla="*/ 321985 h 788699"/>
                <a:gd name="connsiteX133" fmla="*/ 509642 w 625521"/>
                <a:gd name="connsiteY133" fmla="*/ 341022 h 788699"/>
                <a:gd name="connsiteX134" fmla="*/ 509642 w 625521"/>
                <a:gd name="connsiteY134" fmla="*/ 343742 h 788699"/>
                <a:gd name="connsiteX135" fmla="*/ 517800 w 625521"/>
                <a:gd name="connsiteY135" fmla="*/ 349181 h 788699"/>
                <a:gd name="connsiteX136" fmla="*/ 528680 w 625521"/>
                <a:gd name="connsiteY136" fmla="*/ 349181 h 788699"/>
                <a:gd name="connsiteX137" fmla="*/ 550437 w 625521"/>
                <a:gd name="connsiteY137" fmla="*/ 357340 h 788699"/>
                <a:gd name="connsiteX138" fmla="*/ 550437 w 625521"/>
                <a:gd name="connsiteY138" fmla="*/ 362780 h 788699"/>
                <a:gd name="connsiteX139" fmla="*/ 534119 w 625521"/>
                <a:gd name="connsiteY139" fmla="*/ 384537 h 788699"/>
                <a:gd name="connsiteX140" fmla="*/ 520520 w 625521"/>
                <a:gd name="connsiteY140" fmla="*/ 389976 h 788699"/>
                <a:gd name="connsiteX141" fmla="*/ 512362 w 625521"/>
                <a:gd name="connsiteY141" fmla="*/ 395415 h 788699"/>
                <a:gd name="connsiteX142" fmla="*/ 512362 w 625521"/>
                <a:gd name="connsiteY142" fmla="*/ 398135 h 788699"/>
                <a:gd name="connsiteX143" fmla="*/ 512362 w 625521"/>
                <a:gd name="connsiteY143" fmla="*/ 409014 h 788699"/>
                <a:gd name="connsiteX144" fmla="*/ 512362 w 625521"/>
                <a:gd name="connsiteY144" fmla="*/ 414453 h 788699"/>
                <a:gd name="connsiteX145" fmla="*/ 512362 w 625521"/>
                <a:gd name="connsiteY145" fmla="*/ 438930 h 788699"/>
                <a:gd name="connsiteX146" fmla="*/ 515081 w 625521"/>
                <a:gd name="connsiteY146" fmla="*/ 504202 h 788699"/>
                <a:gd name="connsiteX147" fmla="*/ 520520 w 625521"/>
                <a:gd name="connsiteY147" fmla="*/ 572193 h 788699"/>
                <a:gd name="connsiteX148" fmla="*/ 517800 w 625521"/>
                <a:gd name="connsiteY148" fmla="*/ 604829 h 788699"/>
                <a:gd name="connsiteX149" fmla="*/ 512362 w 625521"/>
                <a:gd name="connsiteY149" fmla="*/ 661942 h 788699"/>
                <a:gd name="connsiteX150" fmla="*/ 509642 w 625521"/>
                <a:gd name="connsiteY150" fmla="*/ 670101 h 788699"/>
                <a:gd name="connsiteX151" fmla="*/ 512362 w 625521"/>
                <a:gd name="connsiteY151" fmla="*/ 680979 h 788699"/>
                <a:gd name="connsiteX152" fmla="*/ 512362 w 625521"/>
                <a:gd name="connsiteY152" fmla="*/ 686419 h 788699"/>
                <a:gd name="connsiteX153" fmla="*/ 536838 w 625521"/>
                <a:gd name="connsiteY153" fmla="*/ 680979 h 788699"/>
                <a:gd name="connsiteX154" fmla="*/ 536838 w 625521"/>
                <a:gd name="connsiteY154" fmla="*/ 680979 h 7886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</a:cxnLst>
              <a:rect l="l" t="t" r="r" b="b"/>
              <a:pathLst>
                <a:path w="625521" h="788699">
                  <a:moveTo>
                    <a:pt x="536838" y="680979"/>
                  </a:moveTo>
                  <a:cubicBezTo>
                    <a:pt x="550437" y="680979"/>
                    <a:pt x="574913" y="680979"/>
                    <a:pt x="574913" y="697297"/>
                  </a:cubicBezTo>
                  <a:cubicBezTo>
                    <a:pt x="574913" y="705456"/>
                    <a:pt x="572194" y="708176"/>
                    <a:pt x="566755" y="713615"/>
                  </a:cubicBezTo>
                  <a:cubicBezTo>
                    <a:pt x="561315" y="719054"/>
                    <a:pt x="555876" y="721774"/>
                    <a:pt x="550437" y="721774"/>
                  </a:cubicBezTo>
                  <a:cubicBezTo>
                    <a:pt x="539558" y="724494"/>
                    <a:pt x="534119" y="724494"/>
                    <a:pt x="528680" y="724494"/>
                  </a:cubicBezTo>
                  <a:cubicBezTo>
                    <a:pt x="517800" y="724494"/>
                    <a:pt x="428052" y="724494"/>
                    <a:pt x="417174" y="724494"/>
                  </a:cubicBezTo>
                  <a:cubicBezTo>
                    <a:pt x="403575" y="724494"/>
                    <a:pt x="414454" y="724494"/>
                    <a:pt x="398136" y="724494"/>
                  </a:cubicBezTo>
                  <a:cubicBezTo>
                    <a:pt x="389977" y="724494"/>
                    <a:pt x="381817" y="724494"/>
                    <a:pt x="373659" y="724494"/>
                  </a:cubicBezTo>
                  <a:cubicBezTo>
                    <a:pt x="365500" y="724494"/>
                    <a:pt x="354621" y="721774"/>
                    <a:pt x="346462" y="719054"/>
                  </a:cubicBezTo>
                  <a:cubicBezTo>
                    <a:pt x="338304" y="716335"/>
                    <a:pt x="330144" y="708176"/>
                    <a:pt x="330144" y="702737"/>
                  </a:cubicBezTo>
                  <a:cubicBezTo>
                    <a:pt x="330144" y="700017"/>
                    <a:pt x="330144" y="697297"/>
                    <a:pt x="335584" y="694578"/>
                  </a:cubicBezTo>
                  <a:cubicBezTo>
                    <a:pt x="341023" y="691858"/>
                    <a:pt x="351902" y="689138"/>
                    <a:pt x="357341" y="686419"/>
                  </a:cubicBezTo>
                  <a:cubicBezTo>
                    <a:pt x="373659" y="683699"/>
                    <a:pt x="387257" y="680979"/>
                    <a:pt x="395416" y="680979"/>
                  </a:cubicBezTo>
                  <a:cubicBezTo>
                    <a:pt x="387257" y="675540"/>
                    <a:pt x="384537" y="670101"/>
                    <a:pt x="381817" y="656502"/>
                  </a:cubicBezTo>
                  <a:cubicBezTo>
                    <a:pt x="379098" y="632026"/>
                    <a:pt x="379098" y="610268"/>
                    <a:pt x="379098" y="585791"/>
                  </a:cubicBezTo>
                  <a:cubicBezTo>
                    <a:pt x="379098" y="564034"/>
                    <a:pt x="379098" y="542277"/>
                    <a:pt x="379098" y="517800"/>
                  </a:cubicBezTo>
                  <a:cubicBezTo>
                    <a:pt x="379098" y="504202"/>
                    <a:pt x="379098" y="487884"/>
                    <a:pt x="379098" y="474286"/>
                  </a:cubicBezTo>
                  <a:cubicBezTo>
                    <a:pt x="379098" y="457968"/>
                    <a:pt x="376379" y="444369"/>
                    <a:pt x="379098" y="430771"/>
                  </a:cubicBezTo>
                  <a:cubicBezTo>
                    <a:pt x="379098" y="425332"/>
                    <a:pt x="381817" y="417173"/>
                    <a:pt x="381817" y="411733"/>
                  </a:cubicBezTo>
                  <a:cubicBezTo>
                    <a:pt x="381817" y="406294"/>
                    <a:pt x="381817" y="403575"/>
                    <a:pt x="379098" y="400855"/>
                  </a:cubicBezTo>
                  <a:cubicBezTo>
                    <a:pt x="376379" y="400855"/>
                    <a:pt x="373659" y="398135"/>
                    <a:pt x="370939" y="398135"/>
                  </a:cubicBezTo>
                  <a:cubicBezTo>
                    <a:pt x="360061" y="398135"/>
                    <a:pt x="343742" y="400855"/>
                    <a:pt x="338304" y="400855"/>
                  </a:cubicBezTo>
                  <a:cubicBezTo>
                    <a:pt x="330144" y="400855"/>
                    <a:pt x="319266" y="403575"/>
                    <a:pt x="289349" y="403575"/>
                  </a:cubicBezTo>
                  <a:cubicBezTo>
                    <a:pt x="275751" y="403575"/>
                    <a:pt x="267592" y="400855"/>
                    <a:pt x="264872" y="400855"/>
                  </a:cubicBezTo>
                  <a:cubicBezTo>
                    <a:pt x="262153" y="400855"/>
                    <a:pt x="259433" y="400855"/>
                    <a:pt x="259433" y="406294"/>
                  </a:cubicBezTo>
                  <a:cubicBezTo>
                    <a:pt x="259433" y="414453"/>
                    <a:pt x="259433" y="419892"/>
                    <a:pt x="259433" y="425332"/>
                  </a:cubicBezTo>
                  <a:cubicBezTo>
                    <a:pt x="259433" y="433491"/>
                    <a:pt x="259433" y="441650"/>
                    <a:pt x="259433" y="449809"/>
                  </a:cubicBezTo>
                  <a:cubicBezTo>
                    <a:pt x="259433" y="457968"/>
                    <a:pt x="259433" y="463407"/>
                    <a:pt x="259433" y="471566"/>
                  </a:cubicBezTo>
                  <a:cubicBezTo>
                    <a:pt x="259433" y="482445"/>
                    <a:pt x="259433" y="493323"/>
                    <a:pt x="259433" y="504202"/>
                  </a:cubicBezTo>
                  <a:cubicBezTo>
                    <a:pt x="259433" y="506921"/>
                    <a:pt x="259433" y="506921"/>
                    <a:pt x="259433" y="509641"/>
                  </a:cubicBezTo>
                  <a:cubicBezTo>
                    <a:pt x="259433" y="520520"/>
                    <a:pt x="256714" y="531398"/>
                    <a:pt x="256714" y="542277"/>
                  </a:cubicBezTo>
                  <a:cubicBezTo>
                    <a:pt x="256714" y="553156"/>
                    <a:pt x="256714" y="566754"/>
                    <a:pt x="256714" y="577632"/>
                  </a:cubicBezTo>
                  <a:cubicBezTo>
                    <a:pt x="256714" y="588511"/>
                    <a:pt x="256714" y="599390"/>
                    <a:pt x="256714" y="612988"/>
                  </a:cubicBezTo>
                  <a:cubicBezTo>
                    <a:pt x="256714" y="629306"/>
                    <a:pt x="253994" y="642904"/>
                    <a:pt x="253994" y="656502"/>
                  </a:cubicBezTo>
                  <a:cubicBezTo>
                    <a:pt x="253994" y="664661"/>
                    <a:pt x="256714" y="672820"/>
                    <a:pt x="256714" y="678260"/>
                  </a:cubicBezTo>
                  <a:cubicBezTo>
                    <a:pt x="270312" y="678260"/>
                    <a:pt x="286629" y="680979"/>
                    <a:pt x="286629" y="694578"/>
                  </a:cubicBezTo>
                  <a:cubicBezTo>
                    <a:pt x="286629" y="702737"/>
                    <a:pt x="283910" y="705456"/>
                    <a:pt x="281191" y="710895"/>
                  </a:cubicBezTo>
                  <a:cubicBezTo>
                    <a:pt x="275751" y="716335"/>
                    <a:pt x="270312" y="719054"/>
                    <a:pt x="264872" y="719054"/>
                  </a:cubicBezTo>
                  <a:cubicBezTo>
                    <a:pt x="256714" y="721774"/>
                    <a:pt x="248554" y="721774"/>
                    <a:pt x="243116" y="721774"/>
                  </a:cubicBezTo>
                  <a:cubicBezTo>
                    <a:pt x="243116" y="721774"/>
                    <a:pt x="243116" y="721774"/>
                    <a:pt x="243116" y="721774"/>
                  </a:cubicBezTo>
                  <a:cubicBezTo>
                    <a:pt x="237676" y="724494"/>
                    <a:pt x="237676" y="724494"/>
                    <a:pt x="232236" y="727214"/>
                  </a:cubicBezTo>
                  <a:cubicBezTo>
                    <a:pt x="229517" y="729933"/>
                    <a:pt x="229517" y="732653"/>
                    <a:pt x="224078" y="735372"/>
                  </a:cubicBezTo>
                  <a:cubicBezTo>
                    <a:pt x="221358" y="738092"/>
                    <a:pt x="215919" y="738092"/>
                    <a:pt x="213199" y="738092"/>
                  </a:cubicBezTo>
                  <a:cubicBezTo>
                    <a:pt x="199601" y="738092"/>
                    <a:pt x="188722" y="735372"/>
                    <a:pt x="183283" y="727214"/>
                  </a:cubicBezTo>
                  <a:cubicBezTo>
                    <a:pt x="180563" y="724494"/>
                    <a:pt x="177843" y="721774"/>
                    <a:pt x="175124" y="719054"/>
                  </a:cubicBezTo>
                  <a:cubicBezTo>
                    <a:pt x="161526" y="719054"/>
                    <a:pt x="150646" y="719054"/>
                    <a:pt x="145208" y="719054"/>
                  </a:cubicBezTo>
                  <a:cubicBezTo>
                    <a:pt x="131609" y="719054"/>
                    <a:pt x="142488" y="719054"/>
                    <a:pt x="126170" y="719054"/>
                  </a:cubicBezTo>
                  <a:cubicBezTo>
                    <a:pt x="118011" y="719054"/>
                    <a:pt x="109852" y="719054"/>
                    <a:pt x="101693" y="719054"/>
                  </a:cubicBezTo>
                  <a:cubicBezTo>
                    <a:pt x="93534" y="719054"/>
                    <a:pt x="82655" y="719054"/>
                    <a:pt x="74496" y="713615"/>
                  </a:cubicBezTo>
                  <a:cubicBezTo>
                    <a:pt x="66338" y="710895"/>
                    <a:pt x="58178" y="702737"/>
                    <a:pt x="58178" y="697297"/>
                  </a:cubicBezTo>
                  <a:cubicBezTo>
                    <a:pt x="58178" y="694578"/>
                    <a:pt x="58178" y="691858"/>
                    <a:pt x="63618" y="689138"/>
                  </a:cubicBezTo>
                  <a:cubicBezTo>
                    <a:pt x="69057" y="686419"/>
                    <a:pt x="79936" y="683699"/>
                    <a:pt x="85375" y="680979"/>
                  </a:cubicBezTo>
                  <a:cubicBezTo>
                    <a:pt x="98973" y="678260"/>
                    <a:pt x="118011" y="678260"/>
                    <a:pt x="131609" y="675540"/>
                  </a:cubicBezTo>
                  <a:cubicBezTo>
                    <a:pt x="131609" y="672820"/>
                    <a:pt x="131609" y="670101"/>
                    <a:pt x="131609" y="667381"/>
                  </a:cubicBezTo>
                  <a:cubicBezTo>
                    <a:pt x="131609" y="661942"/>
                    <a:pt x="131609" y="656502"/>
                    <a:pt x="131609" y="651063"/>
                  </a:cubicBezTo>
                  <a:cubicBezTo>
                    <a:pt x="131609" y="640184"/>
                    <a:pt x="131609" y="629306"/>
                    <a:pt x="131609" y="618427"/>
                  </a:cubicBezTo>
                  <a:cubicBezTo>
                    <a:pt x="131609" y="604829"/>
                    <a:pt x="131609" y="593950"/>
                    <a:pt x="131609" y="580352"/>
                  </a:cubicBezTo>
                  <a:cubicBezTo>
                    <a:pt x="131609" y="564034"/>
                    <a:pt x="131609" y="547716"/>
                    <a:pt x="131609" y="531398"/>
                  </a:cubicBezTo>
                  <a:cubicBezTo>
                    <a:pt x="131609" y="509641"/>
                    <a:pt x="131609" y="487884"/>
                    <a:pt x="131609" y="466126"/>
                  </a:cubicBezTo>
                  <a:cubicBezTo>
                    <a:pt x="131609" y="452528"/>
                    <a:pt x="131609" y="436210"/>
                    <a:pt x="131609" y="422612"/>
                  </a:cubicBezTo>
                  <a:cubicBezTo>
                    <a:pt x="131609" y="419892"/>
                    <a:pt x="131609" y="414453"/>
                    <a:pt x="131609" y="411733"/>
                  </a:cubicBezTo>
                  <a:cubicBezTo>
                    <a:pt x="131609" y="409014"/>
                    <a:pt x="131609" y="400855"/>
                    <a:pt x="131609" y="398135"/>
                  </a:cubicBezTo>
                  <a:cubicBezTo>
                    <a:pt x="131609" y="392696"/>
                    <a:pt x="131609" y="392696"/>
                    <a:pt x="126170" y="389976"/>
                  </a:cubicBezTo>
                  <a:cubicBezTo>
                    <a:pt x="123450" y="389976"/>
                    <a:pt x="109852" y="387257"/>
                    <a:pt x="101693" y="387257"/>
                  </a:cubicBezTo>
                  <a:cubicBezTo>
                    <a:pt x="90814" y="384537"/>
                    <a:pt x="77216" y="381817"/>
                    <a:pt x="77216" y="376378"/>
                  </a:cubicBezTo>
                  <a:cubicBezTo>
                    <a:pt x="77216" y="373658"/>
                    <a:pt x="79936" y="370939"/>
                    <a:pt x="82655" y="368219"/>
                  </a:cubicBezTo>
                  <a:cubicBezTo>
                    <a:pt x="88095" y="365499"/>
                    <a:pt x="93534" y="362780"/>
                    <a:pt x="98973" y="360060"/>
                  </a:cubicBezTo>
                  <a:cubicBezTo>
                    <a:pt x="104413" y="360060"/>
                    <a:pt x="112571" y="357340"/>
                    <a:pt x="118011" y="357340"/>
                  </a:cubicBezTo>
                  <a:cubicBezTo>
                    <a:pt x="126170" y="354621"/>
                    <a:pt x="128890" y="357340"/>
                    <a:pt x="131609" y="351901"/>
                  </a:cubicBezTo>
                  <a:cubicBezTo>
                    <a:pt x="131609" y="349181"/>
                    <a:pt x="131609" y="346462"/>
                    <a:pt x="131609" y="343742"/>
                  </a:cubicBezTo>
                  <a:cubicBezTo>
                    <a:pt x="131609" y="319265"/>
                    <a:pt x="131609" y="294788"/>
                    <a:pt x="131609" y="270311"/>
                  </a:cubicBezTo>
                  <a:cubicBezTo>
                    <a:pt x="131609" y="226797"/>
                    <a:pt x="131609" y="186002"/>
                    <a:pt x="137048" y="145207"/>
                  </a:cubicBezTo>
                  <a:cubicBezTo>
                    <a:pt x="137048" y="139768"/>
                    <a:pt x="137048" y="131609"/>
                    <a:pt x="139768" y="123450"/>
                  </a:cubicBezTo>
                  <a:cubicBezTo>
                    <a:pt x="134329" y="123450"/>
                    <a:pt x="137048" y="123450"/>
                    <a:pt x="123450" y="123450"/>
                  </a:cubicBezTo>
                  <a:cubicBezTo>
                    <a:pt x="120731" y="123450"/>
                    <a:pt x="120731" y="123450"/>
                    <a:pt x="118011" y="123450"/>
                  </a:cubicBezTo>
                  <a:cubicBezTo>
                    <a:pt x="112571" y="123450"/>
                    <a:pt x="107133" y="123450"/>
                    <a:pt x="101693" y="123450"/>
                  </a:cubicBezTo>
                  <a:cubicBezTo>
                    <a:pt x="93534" y="123450"/>
                    <a:pt x="82655" y="120730"/>
                    <a:pt x="74496" y="118011"/>
                  </a:cubicBezTo>
                  <a:cubicBezTo>
                    <a:pt x="66338" y="115291"/>
                    <a:pt x="58178" y="107132"/>
                    <a:pt x="58178" y="101693"/>
                  </a:cubicBezTo>
                  <a:cubicBezTo>
                    <a:pt x="58178" y="98973"/>
                    <a:pt x="58178" y="96253"/>
                    <a:pt x="63618" y="93534"/>
                  </a:cubicBezTo>
                  <a:cubicBezTo>
                    <a:pt x="66338" y="90814"/>
                    <a:pt x="77216" y="88095"/>
                    <a:pt x="85375" y="85375"/>
                  </a:cubicBezTo>
                  <a:cubicBezTo>
                    <a:pt x="104413" y="82655"/>
                    <a:pt x="128890" y="82655"/>
                    <a:pt x="137048" y="82655"/>
                  </a:cubicBezTo>
                  <a:cubicBezTo>
                    <a:pt x="139768" y="82655"/>
                    <a:pt x="142488" y="82655"/>
                    <a:pt x="147927" y="82655"/>
                  </a:cubicBezTo>
                  <a:cubicBezTo>
                    <a:pt x="153366" y="69057"/>
                    <a:pt x="164245" y="58178"/>
                    <a:pt x="186003" y="58178"/>
                  </a:cubicBezTo>
                  <a:cubicBezTo>
                    <a:pt x="202321" y="58178"/>
                    <a:pt x="215919" y="66337"/>
                    <a:pt x="226797" y="79936"/>
                  </a:cubicBezTo>
                  <a:cubicBezTo>
                    <a:pt x="237676" y="79936"/>
                    <a:pt x="248554" y="79936"/>
                    <a:pt x="253994" y="79936"/>
                  </a:cubicBezTo>
                  <a:cubicBezTo>
                    <a:pt x="267592" y="79936"/>
                    <a:pt x="294789" y="79936"/>
                    <a:pt x="294789" y="96253"/>
                  </a:cubicBezTo>
                  <a:cubicBezTo>
                    <a:pt x="294789" y="104412"/>
                    <a:pt x="289349" y="107132"/>
                    <a:pt x="283910" y="112571"/>
                  </a:cubicBezTo>
                  <a:cubicBezTo>
                    <a:pt x="278471" y="118011"/>
                    <a:pt x="273031" y="120730"/>
                    <a:pt x="267592" y="120730"/>
                  </a:cubicBezTo>
                  <a:cubicBezTo>
                    <a:pt x="259433" y="123450"/>
                    <a:pt x="251274" y="123450"/>
                    <a:pt x="245835" y="123450"/>
                  </a:cubicBezTo>
                  <a:cubicBezTo>
                    <a:pt x="245835" y="123450"/>
                    <a:pt x="243116" y="123450"/>
                    <a:pt x="237676" y="123450"/>
                  </a:cubicBezTo>
                  <a:cubicBezTo>
                    <a:pt x="237676" y="126170"/>
                    <a:pt x="237676" y="126170"/>
                    <a:pt x="240396" y="128889"/>
                  </a:cubicBezTo>
                  <a:cubicBezTo>
                    <a:pt x="245835" y="145207"/>
                    <a:pt x="248554" y="161525"/>
                    <a:pt x="251274" y="177843"/>
                  </a:cubicBezTo>
                  <a:cubicBezTo>
                    <a:pt x="253994" y="194161"/>
                    <a:pt x="253994" y="210479"/>
                    <a:pt x="256714" y="226797"/>
                  </a:cubicBezTo>
                  <a:cubicBezTo>
                    <a:pt x="259433" y="243115"/>
                    <a:pt x="262153" y="256713"/>
                    <a:pt x="262153" y="273031"/>
                  </a:cubicBezTo>
                  <a:cubicBezTo>
                    <a:pt x="262153" y="278470"/>
                    <a:pt x="262153" y="283910"/>
                    <a:pt x="262153" y="289349"/>
                  </a:cubicBezTo>
                  <a:lnTo>
                    <a:pt x="262153" y="297508"/>
                  </a:lnTo>
                  <a:cubicBezTo>
                    <a:pt x="262153" y="305667"/>
                    <a:pt x="262153" y="313826"/>
                    <a:pt x="264872" y="321985"/>
                  </a:cubicBezTo>
                  <a:cubicBezTo>
                    <a:pt x="264872" y="327424"/>
                    <a:pt x="270312" y="330144"/>
                    <a:pt x="270312" y="335583"/>
                  </a:cubicBezTo>
                  <a:cubicBezTo>
                    <a:pt x="270312" y="335583"/>
                    <a:pt x="270312" y="338303"/>
                    <a:pt x="270312" y="338303"/>
                  </a:cubicBezTo>
                  <a:cubicBezTo>
                    <a:pt x="270312" y="341022"/>
                    <a:pt x="270312" y="343742"/>
                    <a:pt x="270312" y="346462"/>
                  </a:cubicBezTo>
                  <a:cubicBezTo>
                    <a:pt x="270312" y="351901"/>
                    <a:pt x="273031" y="354621"/>
                    <a:pt x="278471" y="354621"/>
                  </a:cubicBezTo>
                  <a:cubicBezTo>
                    <a:pt x="289349" y="354621"/>
                    <a:pt x="335584" y="351901"/>
                    <a:pt x="338304" y="349181"/>
                  </a:cubicBezTo>
                  <a:cubicBezTo>
                    <a:pt x="346462" y="349181"/>
                    <a:pt x="357341" y="349181"/>
                    <a:pt x="365500" y="349181"/>
                  </a:cubicBezTo>
                  <a:cubicBezTo>
                    <a:pt x="370939" y="349181"/>
                    <a:pt x="376379" y="349181"/>
                    <a:pt x="381817" y="349181"/>
                  </a:cubicBezTo>
                  <a:cubicBezTo>
                    <a:pt x="387257" y="349181"/>
                    <a:pt x="392697" y="346462"/>
                    <a:pt x="392697" y="338303"/>
                  </a:cubicBezTo>
                  <a:cubicBezTo>
                    <a:pt x="392697" y="330144"/>
                    <a:pt x="389977" y="316545"/>
                    <a:pt x="389977" y="313826"/>
                  </a:cubicBezTo>
                  <a:cubicBezTo>
                    <a:pt x="389977" y="294788"/>
                    <a:pt x="389977" y="278470"/>
                    <a:pt x="392697" y="262152"/>
                  </a:cubicBezTo>
                  <a:cubicBezTo>
                    <a:pt x="392697" y="259433"/>
                    <a:pt x="395416" y="243115"/>
                    <a:pt x="395416" y="224077"/>
                  </a:cubicBezTo>
                  <a:cubicBezTo>
                    <a:pt x="395416" y="207759"/>
                    <a:pt x="398136" y="188722"/>
                    <a:pt x="398136" y="177843"/>
                  </a:cubicBezTo>
                  <a:cubicBezTo>
                    <a:pt x="398136" y="169684"/>
                    <a:pt x="395416" y="158806"/>
                    <a:pt x="395416" y="153366"/>
                  </a:cubicBezTo>
                  <a:cubicBezTo>
                    <a:pt x="395416" y="145207"/>
                    <a:pt x="395416" y="142488"/>
                    <a:pt x="395416" y="137048"/>
                  </a:cubicBezTo>
                  <a:cubicBezTo>
                    <a:pt x="389977" y="137048"/>
                    <a:pt x="384537" y="137048"/>
                    <a:pt x="379098" y="137048"/>
                  </a:cubicBezTo>
                  <a:cubicBezTo>
                    <a:pt x="370939" y="137048"/>
                    <a:pt x="360061" y="134329"/>
                    <a:pt x="351902" y="131609"/>
                  </a:cubicBezTo>
                  <a:cubicBezTo>
                    <a:pt x="343742" y="128889"/>
                    <a:pt x="338304" y="120730"/>
                    <a:pt x="338304" y="115291"/>
                  </a:cubicBezTo>
                  <a:cubicBezTo>
                    <a:pt x="338304" y="112571"/>
                    <a:pt x="338304" y="109852"/>
                    <a:pt x="343742" y="107132"/>
                  </a:cubicBezTo>
                  <a:cubicBezTo>
                    <a:pt x="349182" y="104412"/>
                    <a:pt x="357341" y="101693"/>
                    <a:pt x="362780" y="98973"/>
                  </a:cubicBezTo>
                  <a:cubicBezTo>
                    <a:pt x="373659" y="96253"/>
                    <a:pt x="387257" y="96253"/>
                    <a:pt x="395416" y="96253"/>
                  </a:cubicBezTo>
                  <a:cubicBezTo>
                    <a:pt x="398136" y="93534"/>
                    <a:pt x="400855" y="90814"/>
                    <a:pt x="403575" y="90814"/>
                  </a:cubicBezTo>
                  <a:cubicBezTo>
                    <a:pt x="411734" y="90814"/>
                    <a:pt x="419893" y="88095"/>
                    <a:pt x="422612" y="88095"/>
                  </a:cubicBezTo>
                  <a:cubicBezTo>
                    <a:pt x="425332" y="88095"/>
                    <a:pt x="425332" y="88095"/>
                    <a:pt x="428052" y="88095"/>
                  </a:cubicBezTo>
                  <a:cubicBezTo>
                    <a:pt x="433492" y="88095"/>
                    <a:pt x="441650" y="88095"/>
                    <a:pt x="447090" y="90814"/>
                  </a:cubicBezTo>
                  <a:cubicBezTo>
                    <a:pt x="449809" y="90814"/>
                    <a:pt x="452529" y="93534"/>
                    <a:pt x="455249" y="96253"/>
                  </a:cubicBezTo>
                  <a:cubicBezTo>
                    <a:pt x="482445" y="96253"/>
                    <a:pt x="509642" y="93534"/>
                    <a:pt x="525960" y="93534"/>
                  </a:cubicBezTo>
                  <a:cubicBezTo>
                    <a:pt x="539558" y="93534"/>
                    <a:pt x="561315" y="93534"/>
                    <a:pt x="561315" y="109852"/>
                  </a:cubicBezTo>
                  <a:cubicBezTo>
                    <a:pt x="561315" y="118011"/>
                    <a:pt x="561315" y="120730"/>
                    <a:pt x="555876" y="126170"/>
                  </a:cubicBezTo>
                  <a:cubicBezTo>
                    <a:pt x="550437" y="131609"/>
                    <a:pt x="544997" y="134329"/>
                    <a:pt x="539558" y="134329"/>
                  </a:cubicBezTo>
                  <a:cubicBezTo>
                    <a:pt x="531399" y="137048"/>
                    <a:pt x="523240" y="137048"/>
                    <a:pt x="517800" y="137048"/>
                  </a:cubicBezTo>
                  <a:cubicBezTo>
                    <a:pt x="515081" y="137048"/>
                    <a:pt x="498763" y="137048"/>
                    <a:pt x="477006" y="137048"/>
                  </a:cubicBezTo>
                  <a:cubicBezTo>
                    <a:pt x="479725" y="145207"/>
                    <a:pt x="485165" y="153366"/>
                    <a:pt x="485165" y="161525"/>
                  </a:cubicBezTo>
                  <a:cubicBezTo>
                    <a:pt x="487885" y="177843"/>
                    <a:pt x="493324" y="194161"/>
                    <a:pt x="496043" y="210479"/>
                  </a:cubicBezTo>
                  <a:cubicBezTo>
                    <a:pt x="498763" y="224077"/>
                    <a:pt x="498763" y="237676"/>
                    <a:pt x="501483" y="251274"/>
                  </a:cubicBezTo>
                  <a:cubicBezTo>
                    <a:pt x="504202" y="264872"/>
                    <a:pt x="506922" y="275751"/>
                    <a:pt x="506922" y="292069"/>
                  </a:cubicBezTo>
                  <a:cubicBezTo>
                    <a:pt x="506922" y="302947"/>
                    <a:pt x="506922" y="311106"/>
                    <a:pt x="506922" y="321985"/>
                  </a:cubicBezTo>
                  <a:cubicBezTo>
                    <a:pt x="506922" y="327424"/>
                    <a:pt x="509642" y="335583"/>
                    <a:pt x="509642" y="341022"/>
                  </a:cubicBezTo>
                  <a:cubicBezTo>
                    <a:pt x="509642" y="343742"/>
                    <a:pt x="509642" y="343742"/>
                    <a:pt x="509642" y="343742"/>
                  </a:cubicBezTo>
                  <a:cubicBezTo>
                    <a:pt x="509642" y="349181"/>
                    <a:pt x="515081" y="349181"/>
                    <a:pt x="517800" y="349181"/>
                  </a:cubicBezTo>
                  <a:cubicBezTo>
                    <a:pt x="520520" y="349181"/>
                    <a:pt x="523240" y="349181"/>
                    <a:pt x="528680" y="349181"/>
                  </a:cubicBezTo>
                  <a:cubicBezTo>
                    <a:pt x="536838" y="349181"/>
                    <a:pt x="547717" y="349181"/>
                    <a:pt x="550437" y="357340"/>
                  </a:cubicBezTo>
                  <a:cubicBezTo>
                    <a:pt x="550437" y="360060"/>
                    <a:pt x="550437" y="360060"/>
                    <a:pt x="550437" y="362780"/>
                  </a:cubicBezTo>
                  <a:cubicBezTo>
                    <a:pt x="550437" y="370939"/>
                    <a:pt x="539558" y="381817"/>
                    <a:pt x="534119" y="384537"/>
                  </a:cubicBezTo>
                  <a:cubicBezTo>
                    <a:pt x="531399" y="387257"/>
                    <a:pt x="523240" y="387257"/>
                    <a:pt x="520520" y="389976"/>
                  </a:cubicBezTo>
                  <a:cubicBezTo>
                    <a:pt x="515081" y="389976"/>
                    <a:pt x="512362" y="392696"/>
                    <a:pt x="512362" y="395415"/>
                  </a:cubicBezTo>
                  <a:cubicBezTo>
                    <a:pt x="512362" y="395415"/>
                    <a:pt x="512362" y="398135"/>
                    <a:pt x="512362" y="398135"/>
                  </a:cubicBezTo>
                  <a:cubicBezTo>
                    <a:pt x="512362" y="400855"/>
                    <a:pt x="512362" y="406294"/>
                    <a:pt x="512362" y="409014"/>
                  </a:cubicBezTo>
                  <a:cubicBezTo>
                    <a:pt x="512362" y="411733"/>
                    <a:pt x="512362" y="411733"/>
                    <a:pt x="512362" y="414453"/>
                  </a:cubicBezTo>
                  <a:cubicBezTo>
                    <a:pt x="512362" y="422612"/>
                    <a:pt x="512362" y="430771"/>
                    <a:pt x="512362" y="438930"/>
                  </a:cubicBezTo>
                  <a:cubicBezTo>
                    <a:pt x="512362" y="460687"/>
                    <a:pt x="512362" y="482445"/>
                    <a:pt x="515081" y="504202"/>
                  </a:cubicBezTo>
                  <a:cubicBezTo>
                    <a:pt x="517800" y="525959"/>
                    <a:pt x="520520" y="550436"/>
                    <a:pt x="520520" y="572193"/>
                  </a:cubicBezTo>
                  <a:cubicBezTo>
                    <a:pt x="520520" y="583072"/>
                    <a:pt x="520520" y="593950"/>
                    <a:pt x="517800" y="604829"/>
                  </a:cubicBezTo>
                  <a:cubicBezTo>
                    <a:pt x="515081" y="623867"/>
                    <a:pt x="515081" y="642904"/>
                    <a:pt x="512362" y="661942"/>
                  </a:cubicBezTo>
                  <a:cubicBezTo>
                    <a:pt x="512362" y="664661"/>
                    <a:pt x="509642" y="667381"/>
                    <a:pt x="509642" y="670101"/>
                  </a:cubicBezTo>
                  <a:cubicBezTo>
                    <a:pt x="509642" y="672820"/>
                    <a:pt x="512362" y="678260"/>
                    <a:pt x="512362" y="680979"/>
                  </a:cubicBezTo>
                  <a:cubicBezTo>
                    <a:pt x="512362" y="683699"/>
                    <a:pt x="512362" y="686419"/>
                    <a:pt x="512362" y="686419"/>
                  </a:cubicBezTo>
                  <a:cubicBezTo>
                    <a:pt x="517800" y="680979"/>
                    <a:pt x="528680" y="680979"/>
                    <a:pt x="536838" y="680979"/>
                  </a:cubicBezTo>
                  <a:lnTo>
                    <a:pt x="536838" y="680979"/>
                  </a:ln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/>
            </a:p>
          </p:txBody>
        </p:sp>
        <p:sp>
          <p:nvSpPr>
            <p:cNvPr id="50" name="Freeform: Shape 49">
              <a:extLst>
                <a:ext uri="{FF2B5EF4-FFF2-40B4-BE49-F238E27FC236}">
                  <a16:creationId xmlns:a16="http://schemas.microsoft.com/office/drawing/2014/main" id="{045AFC19-C641-4E38-8827-516270B72E11}"/>
                </a:ext>
              </a:extLst>
            </p:cNvPr>
            <p:cNvSpPr/>
            <p:nvPr/>
          </p:nvSpPr>
          <p:spPr>
            <a:xfrm>
              <a:off x="9592416" y="4192158"/>
              <a:ext cx="516735" cy="761503"/>
            </a:xfrm>
            <a:custGeom>
              <a:avLst/>
              <a:gdLst>
                <a:gd name="connsiteX0" fmla="*/ 463407 w 516735"/>
                <a:gd name="connsiteY0" fmla="*/ 194161 h 761503"/>
                <a:gd name="connsiteX1" fmla="*/ 447089 w 516735"/>
                <a:gd name="connsiteY1" fmla="*/ 226797 h 761503"/>
                <a:gd name="connsiteX2" fmla="*/ 430771 w 516735"/>
                <a:gd name="connsiteY2" fmla="*/ 221357 h 761503"/>
                <a:gd name="connsiteX3" fmla="*/ 422612 w 516735"/>
                <a:gd name="connsiteY3" fmla="*/ 207759 h 761503"/>
                <a:gd name="connsiteX4" fmla="*/ 419893 w 516735"/>
                <a:gd name="connsiteY4" fmla="*/ 188722 h 761503"/>
                <a:gd name="connsiteX5" fmla="*/ 419893 w 516735"/>
                <a:gd name="connsiteY5" fmla="*/ 139768 h 761503"/>
                <a:gd name="connsiteX6" fmla="*/ 419893 w 516735"/>
                <a:gd name="connsiteY6" fmla="*/ 120730 h 761503"/>
                <a:gd name="connsiteX7" fmla="*/ 395416 w 516735"/>
                <a:gd name="connsiteY7" fmla="*/ 120730 h 761503"/>
                <a:gd name="connsiteX8" fmla="*/ 370939 w 516735"/>
                <a:gd name="connsiteY8" fmla="*/ 120730 h 761503"/>
                <a:gd name="connsiteX9" fmla="*/ 346461 w 516735"/>
                <a:gd name="connsiteY9" fmla="*/ 123450 h 761503"/>
                <a:gd name="connsiteX10" fmla="*/ 335583 w 516735"/>
                <a:gd name="connsiteY10" fmla="*/ 123450 h 761503"/>
                <a:gd name="connsiteX11" fmla="*/ 335583 w 516735"/>
                <a:gd name="connsiteY11" fmla="*/ 123450 h 761503"/>
                <a:gd name="connsiteX12" fmla="*/ 324704 w 516735"/>
                <a:gd name="connsiteY12" fmla="*/ 128889 h 761503"/>
                <a:gd name="connsiteX13" fmla="*/ 327424 w 516735"/>
                <a:gd name="connsiteY13" fmla="*/ 139768 h 761503"/>
                <a:gd name="connsiteX14" fmla="*/ 330144 w 516735"/>
                <a:gd name="connsiteY14" fmla="*/ 175123 h 761503"/>
                <a:gd name="connsiteX15" fmla="*/ 330144 w 516735"/>
                <a:gd name="connsiteY15" fmla="*/ 199600 h 761503"/>
                <a:gd name="connsiteX16" fmla="*/ 327424 w 516735"/>
                <a:gd name="connsiteY16" fmla="*/ 224077 h 761503"/>
                <a:gd name="connsiteX17" fmla="*/ 330144 w 516735"/>
                <a:gd name="connsiteY17" fmla="*/ 251274 h 761503"/>
                <a:gd name="connsiteX18" fmla="*/ 327424 w 516735"/>
                <a:gd name="connsiteY18" fmla="*/ 278470 h 761503"/>
                <a:gd name="connsiteX19" fmla="*/ 327424 w 516735"/>
                <a:gd name="connsiteY19" fmla="*/ 332864 h 761503"/>
                <a:gd name="connsiteX20" fmla="*/ 330144 w 516735"/>
                <a:gd name="connsiteY20" fmla="*/ 357340 h 761503"/>
                <a:gd name="connsiteX21" fmla="*/ 330144 w 516735"/>
                <a:gd name="connsiteY21" fmla="*/ 368219 h 761503"/>
                <a:gd name="connsiteX22" fmla="*/ 332863 w 516735"/>
                <a:gd name="connsiteY22" fmla="*/ 387257 h 761503"/>
                <a:gd name="connsiteX23" fmla="*/ 332863 w 516735"/>
                <a:gd name="connsiteY23" fmla="*/ 433491 h 761503"/>
                <a:gd name="connsiteX24" fmla="*/ 332863 w 516735"/>
                <a:gd name="connsiteY24" fmla="*/ 487884 h 761503"/>
                <a:gd name="connsiteX25" fmla="*/ 330144 w 516735"/>
                <a:gd name="connsiteY25" fmla="*/ 512361 h 761503"/>
                <a:gd name="connsiteX26" fmla="*/ 330144 w 516735"/>
                <a:gd name="connsiteY26" fmla="*/ 539557 h 761503"/>
                <a:gd name="connsiteX27" fmla="*/ 332863 w 516735"/>
                <a:gd name="connsiteY27" fmla="*/ 593950 h 761503"/>
                <a:gd name="connsiteX28" fmla="*/ 332863 w 516735"/>
                <a:gd name="connsiteY28" fmla="*/ 648343 h 761503"/>
                <a:gd name="connsiteX29" fmla="*/ 332863 w 516735"/>
                <a:gd name="connsiteY29" fmla="*/ 656502 h 761503"/>
                <a:gd name="connsiteX30" fmla="*/ 357341 w 516735"/>
                <a:gd name="connsiteY30" fmla="*/ 656502 h 761503"/>
                <a:gd name="connsiteX31" fmla="*/ 395416 w 516735"/>
                <a:gd name="connsiteY31" fmla="*/ 675540 h 761503"/>
                <a:gd name="connsiteX32" fmla="*/ 389976 w 516735"/>
                <a:gd name="connsiteY32" fmla="*/ 691858 h 761503"/>
                <a:gd name="connsiteX33" fmla="*/ 373658 w 516735"/>
                <a:gd name="connsiteY33" fmla="*/ 700017 h 761503"/>
                <a:gd name="connsiteX34" fmla="*/ 351901 w 516735"/>
                <a:gd name="connsiteY34" fmla="*/ 702737 h 761503"/>
                <a:gd name="connsiteX35" fmla="*/ 319265 w 516735"/>
                <a:gd name="connsiteY35" fmla="*/ 702737 h 761503"/>
                <a:gd name="connsiteX36" fmla="*/ 311106 w 516735"/>
                <a:gd name="connsiteY36" fmla="*/ 708176 h 761503"/>
                <a:gd name="connsiteX37" fmla="*/ 289349 w 516735"/>
                <a:gd name="connsiteY37" fmla="*/ 713615 h 761503"/>
                <a:gd name="connsiteX38" fmla="*/ 270311 w 516735"/>
                <a:gd name="connsiteY38" fmla="*/ 713615 h 761503"/>
                <a:gd name="connsiteX39" fmla="*/ 243115 w 516735"/>
                <a:gd name="connsiteY39" fmla="*/ 705456 h 761503"/>
                <a:gd name="connsiteX40" fmla="*/ 237675 w 516735"/>
                <a:gd name="connsiteY40" fmla="*/ 702737 h 761503"/>
                <a:gd name="connsiteX41" fmla="*/ 199600 w 516735"/>
                <a:gd name="connsiteY41" fmla="*/ 702737 h 761503"/>
                <a:gd name="connsiteX42" fmla="*/ 175123 w 516735"/>
                <a:gd name="connsiteY42" fmla="*/ 702737 h 761503"/>
                <a:gd name="connsiteX43" fmla="*/ 147927 w 516735"/>
                <a:gd name="connsiteY43" fmla="*/ 697297 h 761503"/>
                <a:gd name="connsiteX44" fmla="*/ 131609 w 516735"/>
                <a:gd name="connsiteY44" fmla="*/ 678260 h 761503"/>
                <a:gd name="connsiteX45" fmla="*/ 137048 w 516735"/>
                <a:gd name="connsiteY45" fmla="*/ 670101 h 761503"/>
                <a:gd name="connsiteX46" fmla="*/ 158805 w 516735"/>
                <a:gd name="connsiteY46" fmla="*/ 661942 h 761503"/>
                <a:gd name="connsiteX47" fmla="*/ 199600 w 516735"/>
                <a:gd name="connsiteY47" fmla="*/ 659222 h 761503"/>
                <a:gd name="connsiteX48" fmla="*/ 199600 w 516735"/>
                <a:gd name="connsiteY48" fmla="*/ 659222 h 761503"/>
                <a:gd name="connsiteX49" fmla="*/ 196880 w 516735"/>
                <a:gd name="connsiteY49" fmla="*/ 629306 h 761503"/>
                <a:gd name="connsiteX50" fmla="*/ 199600 w 516735"/>
                <a:gd name="connsiteY50" fmla="*/ 574913 h 761503"/>
                <a:gd name="connsiteX51" fmla="*/ 202320 w 516735"/>
                <a:gd name="connsiteY51" fmla="*/ 523239 h 761503"/>
                <a:gd name="connsiteX52" fmla="*/ 205040 w 516735"/>
                <a:gd name="connsiteY52" fmla="*/ 460687 h 761503"/>
                <a:gd name="connsiteX53" fmla="*/ 205040 w 516735"/>
                <a:gd name="connsiteY53" fmla="*/ 417173 h 761503"/>
                <a:gd name="connsiteX54" fmla="*/ 207759 w 516735"/>
                <a:gd name="connsiteY54" fmla="*/ 392696 h 761503"/>
                <a:gd name="connsiteX55" fmla="*/ 210478 w 516735"/>
                <a:gd name="connsiteY55" fmla="*/ 368219 h 761503"/>
                <a:gd name="connsiteX56" fmla="*/ 210478 w 516735"/>
                <a:gd name="connsiteY56" fmla="*/ 313826 h 761503"/>
                <a:gd name="connsiteX57" fmla="*/ 210478 w 516735"/>
                <a:gd name="connsiteY57" fmla="*/ 259433 h 761503"/>
                <a:gd name="connsiteX58" fmla="*/ 210478 w 516735"/>
                <a:gd name="connsiteY58" fmla="*/ 213199 h 761503"/>
                <a:gd name="connsiteX59" fmla="*/ 210478 w 516735"/>
                <a:gd name="connsiteY59" fmla="*/ 145207 h 761503"/>
                <a:gd name="connsiteX60" fmla="*/ 213198 w 516735"/>
                <a:gd name="connsiteY60" fmla="*/ 131609 h 761503"/>
                <a:gd name="connsiteX61" fmla="*/ 205040 w 516735"/>
                <a:gd name="connsiteY61" fmla="*/ 123450 h 761503"/>
                <a:gd name="connsiteX62" fmla="*/ 161525 w 516735"/>
                <a:gd name="connsiteY62" fmla="*/ 123450 h 761503"/>
                <a:gd name="connsiteX63" fmla="*/ 112571 w 516735"/>
                <a:gd name="connsiteY63" fmla="*/ 120730 h 761503"/>
                <a:gd name="connsiteX64" fmla="*/ 104412 w 516735"/>
                <a:gd name="connsiteY64" fmla="*/ 118011 h 761503"/>
                <a:gd name="connsiteX65" fmla="*/ 107132 w 516735"/>
                <a:gd name="connsiteY65" fmla="*/ 191441 h 761503"/>
                <a:gd name="connsiteX66" fmla="*/ 90814 w 516735"/>
                <a:gd name="connsiteY66" fmla="*/ 224077 h 761503"/>
                <a:gd name="connsiteX67" fmla="*/ 74496 w 516735"/>
                <a:gd name="connsiteY67" fmla="*/ 218638 h 761503"/>
                <a:gd name="connsiteX68" fmla="*/ 66337 w 516735"/>
                <a:gd name="connsiteY68" fmla="*/ 205040 h 761503"/>
                <a:gd name="connsiteX69" fmla="*/ 63617 w 516735"/>
                <a:gd name="connsiteY69" fmla="*/ 186002 h 761503"/>
                <a:gd name="connsiteX70" fmla="*/ 63617 w 516735"/>
                <a:gd name="connsiteY70" fmla="*/ 145207 h 761503"/>
                <a:gd name="connsiteX71" fmla="*/ 63617 w 516735"/>
                <a:gd name="connsiteY71" fmla="*/ 109852 h 761503"/>
                <a:gd name="connsiteX72" fmla="*/ 58178 w 516735"/>
                <a:gd name="connsiteY72" fmla="*/ 96253 h 761503"/>
                <a:gd name="connsiteX73" fmla="*/ 66337 w 516735"/>
                <a:gd name="connsiteY73" fmla="*/ 85375 h 761503"/>
                <a:gd name="connsiteX74" fmla="*/ 93533 w 516735"/>
                <a:gd name="connsiteY74" fmla="*/ 77216 h 761503"/>
                <a:gd name="connsiteX75" fmla="*/ 115290 w 516735"/>
                <a:gd name="connsiteY75" fmla="*/ 77216 h 761503"/>
                <a:gd name="connsiteX76" fmla="*/ 169684 w 516735"/>
                <a:gd name="connsiteY76" fmla="*/ 74496 h 761503"/>
                <a:gd name="connsiteX77" fmla="*/ 194161 w 516735"/>
                <a:gd name="connsiteY77" fmla="*/ 71776 h 761503"/>
                <a:gd name="connsiteX78" fmla="*/ 196880 w 516735"/>
                <a:gd name="connsiteY78" fmla="*/ 71776 h 761503"/>
                <a:gd name="connsiteX79" fmla="*/ 210478 w 516735"/>
                <a:gd name="connsiteY79" fmla="*/ 71776 h 761503"/>
                <a:gd name="connsiteX80" fmla="*/ 218638 w 516735"/>
                <a:gd name="connsiteY80" fmla="*/ 71776 h 761503"/>
                <a:gd name="connsiteX81" fmla="*/ 237675 w 516735"/>
                <a:gd name="connsiteY81" fmla="*/ 60898 h 761503"/>
                <a:gd name="connsiteX82" fmla="*/ 253993 w 516735"/>
                <a:gd name="connsiteY82" fmla="*/ 58178 h 761503"/>
                <a:gd name="connsiteX83" fmla="*/ 283910 w 516735"/>
                <a:gd name="connsiteY83" fmla="*/ 60898 h 761503"/>
                <a:gd name="connsiteX84" fmla="*/ 294788 w 516735"/>
                <a:gd name="connsiteY84" fmla="*/ 66337 h 761503"/>
                <a:gd name="connsiteX85" fmla="*/ 305667 w 516735"/>
                <a:gd name="connsiteY85" fmla="*/ 74496 h 761503"/>
                <a:gd name="connsiteX86" fmla="*/ 313826 w 516735"/>
                <a:gd name="connsiteY86" fmla="*/ 74496 h 761503"/>
                <a:gd name="connsiteX87" fmla="*/ 327424 w 516735"/>
                <a:gd name="connsiteY87" fmla="*/ 74496 h 761503"/>
                <a:gd name="connsiteX88" fmla="*/ 354621 w 516735"/>
                <a:gd name="connsiteY88" fmla="*/ 74496 h 761503"/>
                <a:gd name="connsiteX89" fmla="*/ 422612 w 516735"/>
                <a:gd name="connsiteY89" fmla="*/ 74496 h 761503"/>
                <a:gd name="connsiteX90" fmla="*/ 455248 w 516735"/>
                <a:gd name="connsiteY90" fmla="*/ 79936 h 761503"/>
                <a:gd name="connsiteX91" fmla="*/ 466127 w 516735"/>
                <a:gd name="connsiteY91" fmla="*/ 98973 h 761503"/>
                <a:gd name="connsiteX92" fmla="*/ 463407 w 516735"/>
                <a:gd name="connsiteY92" fmla="*/ 109852 h 761503"/>
                <a:gd name="connsiteX93" fmla="*/ 463407 w 516735"/>
                <a:gd name="connsiteY93" fmla="*/ 120730 h 761503"/>
                <a:gd name="connsiteX94" fmla="*/ 463407 w 516735"/>
                <a:gd name="connsiteY94" fmla="*/ 194161 h 761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</a:cxnLst>
              <a:rect l="l" t="t" r="r" b="b"/>
              <a:pathLst>
                <a:path w="516735" h="761503">
                  <a:moveTo>
                    <a:pt x="463407" y="194161"/>
                  </a:moveTo>
                  <a:cubicBezTo>
                    <a:pt x="463407" y="205040"/>
                    <a:pt x="463407" y="226797"/>
                    <a:pt x="447089" y="226797"/>
                  </a:cubicBezTo>
                  <a:cubicBezTo>
                    <a:pt x="438930" y="226797"/>
                    <a:pt x="436211" y="226797"/>
                    <a:pt x="430771" y="221357"/>
                  </a:cubicBezTo>
                  <a:cubicBezTo>
                    <a:pt x="425332" y="218638"/>
                    <a:pt x="422612" y="210479"/>
                    <a:pt x="422612" y="207759"/>
                  </a:cubicBezTo>
                  <a:cubicBezTo>
                    <a:pt x="419893" y="199600"/>
                    <a:pt x="419893" y="194161"/>
                    <a:pt x="419893" y="188722"/>
                  </a:cubicBezTo>
                  <a:cubicBezTo>
                    <a:pt x="419893" y="183282"/>
                    <a:pt x="419893" y="147927"/>
                    <a:pt x="419893" y="139768"/>
                  </a:cubicBezTo>
                  <a:cubicBezTo>
                    <a:pt x="419893" y="134329"/>
                    <a:pt x="419893" y="128889"/>
                    <a:pt x="419893" y="120730"/>
                  </a:cubicBezTo>
                  <a:cubicBezTo>
                    <a:pt x="411734" y="120730"/>
                    <a:pt x="403574" y="120730"/>
                    <a:pt x="395416" y="120730"/>
                  </a:cubicBezTo>
                  <a:cubicBezTo>
                    <a:pt x="387256" y="120730"/>
                    <a:pt x="379098" y="120730"/>
                    <a:pt x="370939" y="120730"/>
                  </a:cubicBezTo>
                  <a:cubicBezTo>
                    <a:pt x="362780" y="120730"/>
                    <a:pt x="354621" y="123450"/>
                    <a:pt x="346461" y="123450"/>
                  </a:cubicBezTo>
                  <a:cubicBezTo>
                    <a:pt x="343742" y="123450"/>
                    <a:pt x="341023" y="123450"/>
                    <a:pt x="335583" y="123450"/>
                  </a:cubicBezTo>
                  <a:cubicBezTo>
                    <a:pt x="335583" y="123450"/>
                    <a:pt x="335583" y="123450"/>
                    <a:pt x="335583" y="123450"/>
                  </a:cubicBezTo>
                  <a:cubicBezTo>
                    <a:pt x="327424" y="123450"/>
                    <a:pt x="324704" y="126170"/>
                    <a:pt x="324704" y="128889"/>
                  </a:cubicBezTo>
                  <a:cubicBezTo>
                    <a:pt x="324704" y="131609"/>
                    <a:pt x="324704" y="137048"/>
                    <a:pt x="327424" y="139768"/>
                  </a:cubicBezTo>
                  <a:cubicBezTo>
                    <a:pt x="330144" y="147927"/>
                    <a:pt x="330144" y="166964"/>
                    <a:pt x="330144" y="175123"/>
                  </a:cubicBezTo>
                  <a:cubicBezTo>
                    <a:pt x="330144" y="183282"/>
                    <a:pt x="330144" y="191441"/>
                    <a:pt x="330144" y="199600"/>
                  </a:cubicBezTo>
                  <a:cubicBezTo>
                    <a:pt x="330144" y="207759"/>
                    <a:pt x="327424" y="215918"/>
                    <a:pt x="327424" y="224077"/>
                  </a:cubicBezTo>
                  <a:cubicBezTo>
                    <a:pt x="327424" y="232236"/>
                    <a:pt x="330144" y="243115"/>
                    <a:pt x="330144" y="251274"/>
                  </a:cubicBezTo>
                  <a:cubicBezTo>
                    <a:pt x="330144" y="259433"/>
                    <a:pt x="330144" y="267592"/>
                    <a:pt x="327424" y="278470"/>
                  </a:cubicBezTo>
                  <a:cubicBezTo>
                    <a:pt x="327424" y="294788"/>
                    <a:pt x="327424" y="313826"/>
                    <a:pt x="327424" y="332864"/>
                  </a:cubicBezTo>
                  <a:cubicBezTo>
                    <a:pt x="327424" y="341022"/>
                    <a:pt x="327424" y="349181"/>
                    <a:pt x="330144" y="357340"/>
                  </a:cubicBezTo>
                  <a:cubicBezTo>
                    <a:pt x="330144" y="360060"/>
                    <a:pt x="330144" y="365499"/>
                    <a:pt x="330144" y="368219"/>
                  </a:cubicBezTo>
                  <a:cubicBezTo>
                    <a:pt x="330144" y="373658"/>
                    <a:pt x="332863" y="384537"/>
                    <a:pt x="332863" y="387257"/>
                  </a:cubicBezTo>
                  <a:cubicBezTo>
                    <a:pt x="332863" y="406294"/>
                    <a:pt x="332863" y="414453"/>
                    <a:pt x="332863" y="433491"/>
                  </a:cubicBezTo>
                  <a:cubicBezTo>
                    <a:pt x="332863" y="452528"/>
                    <a:pt x="335583" y="468846"/>
                    <a:pt x="332863" y="487884"/>
                  </a:cubicBezTo>
                  <a:cubicBezTo>
                    <a:pt x="332863" y="496043"/>
                    <a:pt x="330144" y="504202"/>
                    <a:pt x="330144" y="512361"/>
                  </a:cubicBezTo>
                  <a:cubicBezTo>
                    <a:pt x="330144" y="520520"/>
                    <a:pt x="330144" y="531398"/>
                    <a:pt x="330144" y="539557"/>
                  </a:cubicBezTo>
                  <a:cubicBezTo>
                    <a:pt x="330144" y="558595"/>
                    <a:pt x="330144" y="574913"/>
                    <a:pt x="332863" y="593950"/>
                  </a:cubicBezTo>
                  <a:cubicBezTo>
                    <a:pt x="332863" y="610268"/>
                    <a:pt x="332863" y="632026"/>
                    <a:pt x="332863" y="648343"/>
                  </a:cubicBezTo>
                  <a:cubicBezTo>
                    <a:pt x="332863" y="651063"/>
                    <a:pt x="332863" y="653783"/>
                    <a:pt x="332863" y="656502"/>
                  </a:cubicBezTo>
                  <a:cubicBezTo>
                    <a:pt x="343742" y="656502"/>
                    <a:pt x="351901" y="656502"/>
                    <a:pt x="357341" y="656502"/>
                  </a:cubicBezTo>
                  <a:cubicBezTo>
                    <a:pt x="370939" y="656502"/>
                    <a:pt x="395416" y="659222"/>
                    <a:pt x="395416" y="675540"/>
                  </a:cubicBezTo>
                  <a:cubicBezTo>
                    <a:pt x="395416" y="683699"/>
                    <a:pt x="392696" y="686419"/>
                    <a:pt x="389976" y="691858"/>
                  </a:cubicBezTo>
                  <a:cubicBezTo>
                    <a:pt x="384537" y="697297"/>
                    <a:pt x="379098" y="700017"/>
                    <a:pt x="373658" y="700017"/>
                  </a:cubicBezTo>
                  <a:cubicBezTo>
                    <a:pt x="365499" y="702737"/>
                    <a:pt x="357341" y="702737"/>
                    <a:pt x="351901" y="702737"/>
                  </a:cubicBezTo>
                  <a:cubicBezTo>
                    <a:pt x="349181" y="702737"/>
                    <a:pt x="335583" y="702737"/>
                    <a:pt x="319265" y="702737"/>
                  </a:cubicBezTo>
                  <a:cubicBezTo>
                    <a:pt x="316546" y="705456"/>
                    <a:pt x="313826" y="705456"/>
                    <a:pt x="311106" y="708176"/>
                  </a:cubicBezTo>
                  <a:cubicBezTo>
                    <a:pt x="302948" y="713615"/>
                    <a:pt x="297508" y="713615"/>
                    <a:pt x="289349" y="713615"/>
                  </a:cubicBezTo>
                  <a:cubicBezTo>
                    <a:pt x="283910" y="713615"/>
                    <a:pt x="278470" y="713615"/>
                    <a:pt x="270311" y="713615"/>
                  </a:cubicBezTo>
                  <a:cubicBezTo>
                    <a:pt x="259433" y="713615"/>
                    <a:pt x="251273" y="710895"/>
                    <a:pt x="243115" y="705456"/>
                  </a:cubicBezTo>
                  <a:cubicBezTo>
                    <a:pt x="240395" y="705456"/>
                    <a:pt x="237675" y="702737"/>
                    <a:pt x="237675" y="702737"/>
                  </a:cubicBezTo>
                  <a:cubicBezTo>
                    <a:pt x="224077" y="702737"/>
                    <a:pt x="213198" y="702737"/>
                    <a:pt x="199600" y="702737"/>
                  </a:cubicBezTo>
                  <a:cubicBezTo>
                    <a:pt x="191441" y="702737"/>
                    <a:pt x="183282" y="702737"/>
                    <a:pt x="175123" y="702737"/>
                  </a:cubicBezTo>
                  <a:cubicBezTo>
                    <a:pt x="166965" y="702737"/>
                    <a:pt x="156085" y="702737"/>
                    <a:pt x="147927" y="697297"/>
                  </a:cubicBezTo>
                  <a:cubicBezTo>
                    <a:pt x="139768" y="694578"/>
                    <a:pt x="131609" y="680979"/>
                    <a:pt x="131609" y="678260"/>
                  </a:cubicBezTo>
                  <a:cubicBezTo>
                    <a:pt x="131609" y="675540"/>
                    <a:pt x="131609" y="672820"/>
                    <a:pt x="137048" y="670101"/>
                  </a:cubicBezTo>
                  <a:cubicBezTo>
                    <a:pt x="142487" y="667381"/>
                    <a:pt x="153366" y="664661"/>
                    <a:pt x="158805" y="661942"/>
                  </a:cubicBezTo>
                  <a:cubicBezTo>
                    <a:pt x="175123" y="659222"/>
                    <a:pt x="191441" y="659222"/>
                    <a:pt x="199600" y="659222"/>
                  </a:cubicBezTo>
                  <a:lnTo>
                    <a:pt x="199600" y="659222"/>
                  </a:lnTo>
                  <a:cubicBezTo>
                    <a:pt x="199600" y="648343"/>
                    <a:pt x="196880" y="640184"/>
                    <a:pt x="196880" y="629306"/>
                  </a:cubicBezTo>
                  <a:cubicBezTo>
                    <a:pt x="196880" y="612988"/>
                    <a:pt x="196880" y="591231"/>
                    <a:pt x="199600" y="574913"/>
                  </a:cubicBezTo>
                  <a:cubicBezTo>
                    <a:pt x="199600" y="558595"/>
                    <a:pt x="199600" y="539557"/>
                    <a:pt x="202320" y="523239"/>
                  </a:cubicBezTo>
                  <a:cubicBezTo>
                    <a:pt x="202320" y="501482"/>
                    <a:pt x="205040" y="482445"/>
                    <a:pt x="205040" y="460687"/>
                  </a:cubicBezTo>
                  <a:cubicBezTo>
                    <a:pt x="205040" y="447089"/>
                    <a:pt x="205040" y="430771"/>
                    <a:pt x="205040" y="417173"/>
                  </a:cubicBezTo>
                  <a:cubicBezTo>
                    <a:pt x="205040" y="409014"/>
                    <a:pt x="207759" y="400855"/>
                    <a:pt x="207759" y="392696"/>
                  </a:cubicBezTo>
                  <a:cubicBezTo>
                    <a:pt x="207759" y="384537"/>
                    <a:pt x="210478" y="376378"/>
                    <a:pt x="210478" y="368219"/>
                  </a:cubicBezTo>
                  <a:cubicBezTo>
                    <a:pt x="210478" y="351901"/>
                    <a:pt x="210478" y="332864"/>
                    <a:pt x="210478" y="313826"/>
                  </a:cubicBezTo>
                  <a:cubicBezTo>
                    <a:pt x="210478" y="294788"/>
                    <a:pt x="210478" y="275751"/>
                    <a:pt x="210478" y="259433"/>
                  </a:cubicBezTo>
                  <a:cubicBezTo>
                    <a:pt x="210478" y="243115"/>
                    <a:pt x="210478" y="226797"/>
                    <a:pt x="210478" y="213199"/>
                  </a:cubicBezTo>
                  <a:cubicBezTo>
                    <a:pt x="210478" y="194161"/>
                    <a:pt x="210478" y="164245"/>
                    <a:pt x="210478" y="145207"/>
                  </a:cubicBezTo>
                  <a:cubicBezTo>
                    <a:pt x="210478" y="139768"/>
                    <a:pt x="213198" y="134329"/>
                    <a:pt x="213198" y="131609"/>
                  </a:cubicBezTo>
                  <a:cubicBezTo>
                    <a:pt x="213198" y="126170"/>
                    <a:pt x="207759" y="123450"/>
                    <a:pt x="205040" y="123450"/>
                  </a:cubicBezTo>
                  <a:cubicBezTo>
                    <a:pt x="199600" y="123450"/>
                    <a:pt x="166965" y="123450"/>
                    <a:pt x="161525" y="123450"/>
                  </a:cubicBezTo>
                  <a:cubicBezTo>
                    <a:pt x="145207" y="123450"/>
                    <a:pt x="128889" y="123450"/>
                    <a:pt x="112571" y="120730"/>
                  </a:cubicBezTo>
                  <a:cubicBezTo>
                    <a:pt x="109852" y="120730"/>
                    <a:pt x="107132" y="120730"/>
                    <a:pt x="104412" y="118011"/>
                  </a:cubicBezTo>
                  <a:cubicBezTo>
                    <a:pt x="107132" y="137048"/>
                    <a:pt x="107132" y="172404"/>
                    <a:pt x="107132" y="191441"/>
                  </a:cubicBezTo>
                  <a:cubicBezTo>
                    <a:pt x="107132" y="202320"/>
                    <a:pt x="107132" y="224077"/>
                    <a:pt x="90814" y="224077"/>
                  </a:cubicBezTo>
                  <a:cubicBezTo>
                    <a:pt x="82655" y="224077"/>
                    <a:pt x="79935" y="221357"/>
                    <a:pt x="74496" y="218638"/>
                  </a:cubicBezTo>
                  <a:cubicBezTo>
                    <a:pt x="69057" y="215918"/>
                    <a:pt x="66337" y="210479"/>
                    <a:pt x="66337" y="205040"/>
                  </a:cubicBezTo>
                  <a:cubicBezTo>
                    <a:pt x="63617" y="196881"/>
                    <a:pt x="63617" y="191441"/>
                    <a:pt x="63617" y="186002"/>
                  </a:cubicBezTo>
                  <a:cubicBezTo>
                    <a:pt x="63617" y="180563"/>
                    <a:pt x="63617" y="153366"/>
                    <a:pt x="63617" y="145207"/>
                  </a:cubicBezTo>
                  <a:cubicBezTo>
                    <a:pt x="63617" y="134329"/>
                    <a:pt x="63617" y="120730"/>
                    <a:pt x="63617" y="109852"/>
                  </a:cubicBezTo>
                  <a:cubicBezTo>
                    <a:pt x="60897" y="104412"/>
                    <a:pt x="58178" y="101693"/>
                    <a:pt x="58178" y="96253"/>
                  </a:cubicBezTo>
                  <a:cubicBezTo>
                    <a:pt x="58178" y="93534"/>
                    <a:pt x="60897" y="88095"/>
                    <a:pt x="66337" y="85375"/>
                  </a:cubicBezTo>
                  <a:cubicBezTo>
                    <a:pt x="74496" y="79936"/>
                    <a:pt x="77215" y="77216"/>
                    <a:pt x="93533" y="77216"/>
                  </a:cubicBezTo>
                  <a:cubicBezTo>
                    <a:pt x="101692" y="77216"/>
                    <a:pt x="109852" y="77216"/>
                    <a:pt x="115290" y="77216"/>
                  </a:cubicBezTo>
                  <a:cubicBezTo>
                    <a:pt x="134328" y="77216"/>
                    <a:pt x="150646" y="77216"/>
                    <a:pt x="169684" y="74496"/>
                  </a:cubicBezTo>
                  <a:cubicBezTo>
                    <a:pt x="177843" y="74496"/>
                    <a:pt x="186002" y="71776"/>
                    <a:pt x="194161" y="71776"/>
                  </a:cubicBezTo>
                  <a:cubicBezTo>
                    <a:pt x="194161" y="71776"/>
                    <a:pt x="196880" y="71776"/>
                    <a:pt x="196880" y="71776"/>
                  </a:cubicBezTo>
                  <a:cubicBezTo>
                    <a:pt x="199600" y="71776"/>
                    <a:pt x="205040" y="71776"/>
                    <a:pt x="210478" y="71776"/>
                  </a:cubicBezTo>
                  <a:cubicBezTo>
                    <a:pt x="213198" y="71776"/>
                    <a:pt x="215918" y="71776"/>
                    <a:pt x="218638" y="71776"/>
                  </a:cubicBezTo>
                  <a:cubicBezTo>
                    <a:pt x="224077" y="69057"/>
                    <a:pt x="229516" y="63618"/>
                    <a:pt x="237675" y="60898"/>
                  </a:cubicBezTo>
                  <a:cubicBezTo>
                    <a:pt x="243115" y="58178"/>
                    <a:pt x="248554" y="58178"/>
                    <a:pt x="253993" y="58178"/>
                  </a:cubicBezTo>
                  <a:cubicBezTo>
                    <a:pt x="264872" y="58178"/>
                    <a:pt x="273031" y="58178"/>
                    <a:pt x="283910" y="60898"/>
                  </a:cubicBezTo>
                  <a:cubicBezTo>
                    <a:pt x="286629" y="60898"/>
                    <a:pt x="292068" y="63618"/>
                    <a:pt x="294788" y="66337"/>
                  </a:cubicBezTo>
                  <a:cubicBezTo>
                    <a:pt x="297508" y="69057"/>
                    <a:pt x="302948" y="71776"/>
                    <a:pt x="305667" y="74496"/>
                  </a:cubicBezTo>
                  <a:cubicBezTo>
                    <a:pt x="308386" y="74496"/>
                    <a:pt x="311106" y="74496"/>
                    <a:pt x="313826" y="74496"/>
                  </a:cubicBezTo>
                  <a:cubicBezTo>
                    <a:pt x="319265" y="74496"/>
                    <a:pt x="321985" y="74496"/>
                    <a:pt x="327424" y="74496"/>
                  </a:cubicBezTo>
                  <a:cubicBezTo>
                    <a:pt x="335583" y="74496"/>
                    <a:pt x="346461" y="74496"/>
                    <a:pt x="354621" y="74496"/>
                  </a:cubicBezTo>
                  <a:cubicBezTo>
                    <a:pt x="376378" y="74496"/>
                    <a:pt x="400855" y="74496"/>
                    <a:pt x="422612" y="74496"/>
                  </a:cubicBezTo>
                  <a:cubicBezTo>
                    <a:pt x="433491" y="74496"/>
                    <a:pt x="447089" y="74496"/>
                    <a:pt x="455248" y="79936"/>
                  </a:cubicBezTo>
                  <a:cubicBezTo>
                    <a:pt x="460687" y="82655"/>
                    <a:pt x="466127" y="90814"/>
                    <a:pt x="466127" y="98973"/>
                  </a:cubicBezTo>
                  <a:cubicBezTo>
                    <a:pt x="466127" y="101693"/>
                    <a:pt x="466127" y="107132"/>
                    <a:pt x="463407" y="109852"/>
                  </a:cubicBezTo>
                  <a:cubicBezTo>
                    <a:pt x="463407" y="112571"/>
                    <a:pt x="463407" y="112571"/>
                    <a:pt x="463407" y="120730"/>
                  </a:cubicBezTo>
                  <a:cubicBezTo>
                    <a:pt x="463407" y="142488"/>
                    <a:pt x="463407" y="172404"/>
                    <a:pt x="463407" y="194161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/>
            </a:p>
          </p:txBody>
        </p:sp>
      </p:grpSp>
      <p:sp>
        <p:nvSpPr>
          <p:cNvPr id="60" name="Content Placeholder 59">
            <a:extLst>
              <a:ext uri="{FF2B5EF4-FFF2-40B4-BE49-F238E27FC236}">
                <a16:creationId xmlns:a16="http://schemas.microsoft.com/office/drawing/2014/main" id="{8EFE1F84-4849-448C-8C35-33EC553AD838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6538914" y="1860550"/>
            <a:ext cx="5065254" cy="268605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t>Click to add text or choose an icon below to insert other content</a:t>
            </a:r>
          </a:p>
          <a:p>
            <a:pPr lvl="1"/>
            <a:r>
              <a:t>Second level</a:t>
            </a:r>
          </a:p>
          <a:p>
            <a:pPr lvl="2"/>
            <a:r>
              <a:t>Third level</a:t>
            </a:r>
          </a:p>
          <a:p>
            <a:pPr lvl="3"/>
            <a:r>
              <a:t>Fourth level</a:t>
            </a:r>
          </a:p>
          <a:p>
            <a:pPr lvl="4"/>
            <a:r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0067696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ullfram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: Shape 5">
            <a:extLst>
              <a:ext uri="{FF2B5EF4-FFF2-40B4-BE49-F238E27FC236}">
                <a16:creationId xmlns:a16="http://schemas.microsoft.com/office/drawing/2014/main" id="{CB31FDED-D159-4F4F-8CA3-B83301DF537B}"/>
              </a:ext>
            </a:extLst>
          </p:cNvPr>
          <p:cNvSpPr/>
          <p:nvPr/>
        </p:nvSpPr>
        <p:spPr bwMode="ltGray">
          <a:xfrm>
            <a:off x="10441275" y="5951300"/>
            <a:ext cx="1627670" cy="906700"/>
          </a:xfrm>
          <a:custGeom>
            <a:avLst/>
            <a:gdLst>
              <a:gd name="connsiteX0" fmla="*/ 838774 w 1585477"/>
              <a:gd name="connsiteY0" fmla="*/ 14 h 883197"/>
              <a:gd name="connsiteX1" fmla="*/ 996107 w 1585477"/>
              <a:gd name="connsiteY1" fmla="*/ 18377 h 883197"/>
              <a:gd name="connsiteX2" fmla="*/ 1585477 w 1585477"/>
              <a:gd name="connsiteY2" fmla="*/ 746145 h 883197"/>
              <a:gd name="connsiteX3" fmla="*/ 1585202 w 1585477"/>
              <a:gd name="connsiteY3" fmla="*/ 883197 h 883197"/>
              <a:gd name="connsiteX4" fmla="*/ 695 w 1585477"/>
              <a:gd name="connsiteY4" fmla="*/ 883197 h 883197"/>
              <a:gd name="connsiteX5" fmla="*/ 294 w 1585477"/>
              <a:gd name="connsiteY5" fmla="*/ 879328 h 883197"/>
              <a:gd name="connsiteX6" fmla="*/ 20167 w 1585477"/>
              <a:gd name="connsiteY6" fmla="*/ 648487 h 883197"/>
              <a:gd name="connsiteX7" fmla="*/ 838774 w 1585477"/>
              <a:gd name="connsiteY7" fmla="*/ 14 h 8831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585477" h="883197">
                <a:moveTo>
                  <a:pt x="838774" y="14"/>
                </a:moveTo>
                <a:cubicBezTo>
                  <a:pt x="891699" y="335"/>
                  <a:pt x="944452" y="6288"/>
                  <a:pt x="996107" y="18377"/>
                </a:cubicBezTo>
                <a:cubicBezTo>
                  <a:pt x="1344865" y="100437"/>
                  <a:pt x="1558993" y="409128"/>
                  <a:pt x="1585477" y="746145"/>
                </a:cubicBezTo>
                <a:lnTo>
                  <a:pt x="1585202" y="883197"/>
                </a:lnTo>
                <a:lnTo>
                  <a:pt x="695" y="883197"/>
                </a:lnTo>
                <a:lnTo>
                  <a:pt x="294" y="879328"/>
                </a:lnTo>
                <a:cubicBezTo>
                  <a:pt x="-1813" y="797038"/>
                  <a:pt x="7712" y="718092"/>
                  <a:pt x="20167" y="648487"/>
                </a:cubicBezTo>
                <a:cubicBezTo>
                  <a:pt x="89408" y="271519"/>
                  <a:pt x="468297" y="-2229"/>
                  <a:pt x="838774" y="14"/>
                </a:cubicBezTo>
                <a:close/>
              </a:path>
            </a:pathLst>
          </a:custGeom>
          <a:solidFill>
            <a:srgbClr val="4F2170"/>
          </a:solidFill>
          <a:ln w="9525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>
              <a:lnSpc>
                <a:spcPct val="90000"/>
              </a:lnSpc>
            </a:pPr>
            <a:endParaRPr dirty="0">
              <a:solidFill>
                <a:schemeClr val="bg1"/>
              </a:solidFill>
            </a:endParaRPr>
          </a:p>
        </p:txBody>
      </p:sp>
      <p:sp>
        <p:nvSpPr>
          <p:cNvPr id="51" name="Picture Placeholder 50">
            <a:extLst>
              <a:ext uri="{FF2B5EF4-FFF2-40B4-BE49-F238E27FC236}">
                <a16:creationId xmlns:a16="http://schemas.microsoft.com/office/drawing/2014/main" id="{9A604104-23C8-45DB-B8E5-CC8FD54A777D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12047573 w 12192000"/>
              <a:gd name="connsiteY3" fmla="*/ 6858000 h 6858000"/>
              <a:gd name="connsiteX4" fmla="*/ 12047848 w 12192000"/>
              <a:gd name="connsiteY4" fmla="*/ 6720949 h 6858000"/>
              <a:gd name="connsiteX5" fmla="*/ 11458478 w 12192000"/>
              <a:gd name="connsiteY5" fmla="*/ 5993181 h 6858000"/>
              <a:gd name="connsiteX6" fmla="*/ 11301145 w 12192000"/>
              <a:gd name="connsiteY6" fmla="*/ 5974818 h 6858000"/>
              <a:gd name="connsiteX7" fmla="*/ 10482538 w 12192000"/>
              <a:gd name="connsiteY7" fmla="*/ 6623291 h 6858000"/>
              <a:gd name="connsiteX8" fmla="*/ 10462665 w 12192000"/>
              <a:gd name="connsiteY8" fmla="*/ 6854132 h 6858000"/>
              <a:gd name="connsiteX9" fmla="*/ 10463066 w 12192000"/>
              <a:gd name="connsiteY9" fmla="*/ 6858000 h 6858000"/>
              <a:gd name="connsiteX10" fmla="*/ 0 w 12192000"/>
              <a:gd name="connsiteY10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12047573" y="6858000"/>
                </a:lnTo>
                <a:lnTo>
                  <a:pt x="12047848" y="6720949"/>
                </a:lnTo>
                <a:cubicBezTo>
                  <a:pt x="12021364" y="6383932"/>
                  <a:pt x="11807236" y="6075241"/>
                  <a:pt x="11458478" y="5993181"/>
                </a:cubicBezTo>
                <a:cubicBezTo>
                  <a:pt x="11406823" y="5981092"/>
                  <a:pt x="11354070" y="5975139"/>
                  <a:pt x="11301145" y="5974818"/>
                </a:cubicBezTo>
                <a:cubicBezTo>
                  <a:pt x="10930668" y="5972575"/>
                  <a:pt x="10551779" y="6246323"/>
                  <a:pt x="10482538" y="6623291"/>
                </a:cubicBezTo>
                <a:cubicBezTo>
                  <a:pt x="10470083" y="6692896"/>
                  <a:pt x="10460558" y="6771842"/>
                  <a:pt x="10462665" y="6854132"/>
                </a:cubicBezTo>
                <a:lnTo>
                  <a:pt x="10463066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D9D9D9"/>
          </a:solidFill>
        </p:spPr>
        <p:txBody>
          <a:bodyPr wrap="square" lIns="3657600" tIns="0" rIns="0" anchor="ctr" anchorCtr="0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Arial" panose="020B0604020202020204" pitchFamily="34" charset="0"/>
              <a:buNone/>
              <a:tabLst/>
              <a:defRPr sz="16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dirty="0"/>
              <a:t>Click icon to insert picture</a:t>
            </a:r>
            <a:br>
              <a:rPr dirty="0"/>
            </a:br>
            <a:r>
              <a:rPr dirty="0"/>
              <a:t>(minimum recommended size for </a:t>
            </a:r>
            <a:br>
              <a:rPr dirty="0"/>
            </a:br>
            <a:r>
              <a:rPr dirty="0"/>
              <a:t>full slide image is 1280 x 720 pixels)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0C975EE0-AD02-4365-B012-AEF1EB027E17}"/>
              </a:ext>
            </a:extLst>
          </p:cNvPr>
          <p:cNvGrpSpPr>
            <a:grpSpLocks noChangeAspect="1"/>
          </p:cNvGrpSpPr>
          <p:nvPr/>
        </p:nvGrpSpPr>
        <p:grpSpPr>
          <a:xfrm>
            <a:off x="10676779" y="6205751"/>
            <a:ext cx="1143000" cy="440144"/>
            <a:chOff x="2078951" y="1888610"/>
            <a:chExt cx="8030200" cy="3092248"/>
          </a:xfrm>
          <a:solidFill>
            <a:srgbClr val="FFFFFF"/>
          </a:solidFill>
        </p:grpSpPr>
        <p:sp>
          <p:nvSpPr>
            <p:cNvPr id="8" name="Freeform: Shape 7">
              <a:extLst>
                <a:ext uri="{FF2B5EF4-FFF2-40B4-BE49-F238E27FC236}">
                  <a16:creationId xmlns:a16="http://schemas.microsoft.com/office/drawing/2014/main" id="{4E98E784-FC01-4610-B058-2CCB322671BA}"/>
                </a:ext>
              </a:extLst>
            </p:cNvPr>
            <p:cNvSpPr/>
            <p:nvPr/>
          </p:nvSpPr>
          <p:spPr>
            <a:xfrm>
              <a:off x="2078951" y="2872694"/>
              <a:ext cx="951880" cy="652717"/>
            </a:xfrm>
            <a:custGeom>
              <a:avLst/>
              <a:gdLst>
                <a:gd name="connsiteX0" fmla="*/ 903041 w 951880"/>
                <a:gd name="connsiteY0" fmla="*/ 330574 h 652717"/>
                <a:gd name="connsiteX1" fmla="*/ 780656 w 951880"/>
                <a:gd name="connsiteY1" fmla="*/ 379528 h 652717"/>
                <a:gd name="connsiteX2" fmla="*/ 598439 w 951880"/>
                <a:gd name="connsiteY2" fmla="*/ 311537 h 652717"/>
                <a:gd name="connsiteX3" fmla="*/ 505970 w 951880"/>
                <a:gd name="connsiteY3" fmla="*/ 164675 h 652717"/>
                <a:gd name="connsiteX4" fmla="*/ 266640 w 951880"/>
                <a:gd name="connsiteY4" fmla="*/ 61329 h 652717"/>
                <a:gd name="connsiteX5" fmla="*/ 103461 w 951880"/>
                <a:gd name="connsiteY5" fmla="*/ 458398 h 652717"/>
                <a:gd name="connsiteX6" fmla="*/ 756179 w 951880"/>
                <a:gd name="connsiteY6" fmla="*/ 485595 h 652717"/>
                <a:gd name="connsiteX7" fmla="*/ 903041 w 951880"/>
                <a:gd name="connsiteY7" fmla="*/ 330574 h 6527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51880" h="652717">
                  <a:moveTo>
                    <a:pt x="903041" y="330574"/>
                  </a:moveTo>
                  <a:cubicBezTo>
                    <a:pt x="867685" y="363210"/>
                    <a:pt x="813292" y="374089"/>
                    <a:pt x="780656" y="379528"/>
                  </a:cubicBezTo>
                  <a:cubicBezTo>
                    <a:pt x="712664" y="387687"/>
                    <a:pt x="641953" y="365930"/>
                    <a:pt x="598439" y="311537"/>
                  </a:cubicBezTo>
                  <a:cubicBezTo>
                    <a:pt x="563083" y="268022"/>
                    <a:pt x="544046" y="210910"/>
                    <a:pt x="505970" y="164675"/>
                  </a:cubicBezTo>
                  <a:cubicBezTo>
                    <a:pt x="448858" y="93964"/>
                    <a:pt x="359109" y="45011"/>
                    <a:pt x="266640" y="61329"/>
                  </a:cubicBezTo>
                  <a:cubicBezTo>
                    <a:pt x="81704" y="93964"/>
                    <a:pt x="114" y="308817"/>
                    <a:pt x="103461" y="458398"/>
                  </a:cubicBezTo>
                  <a:cubicBezTo>
                    <a:pt x="253042" y="670531"/>
                    <a:pt x="584840" y="635176"/>
                    <a:pt x="756179" y="485595"/>
                  </a:cubicBezTo>
                  <a:cubicBezTo>
                    <a:pt x="813292" y="442080"/>
                    <a:pt x="862246" y="390407"/>
                    <a:pt x="903041" y="330574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/>
            </a:p>
          </p:txBody>
        </p:sp>
        <p:sp>
          <p:nvSpPr>
            <p:cNvPr id="9" name="Freeform: Shape 8">
              <a:extLst>
                <a:ext uri="{FF2B5EF4-FFF2-40B4-BE49-F238E27FC236}">
                  <a16:creationId xmlns:a16="http://schemas.microsoft.com/office/drawing/2014/main" id="{DFF2B29D-E74D-4303-BB3A-2284D731A034}"/>
                </a:ext>
              </a:extLst>
            </p:cNvPr>
            <p:cNvSpPr/>
            <p:nvPr/>
          </p:nvSpPr>
          <p:spPr>
            <a:xfrm>
              <a:off x="9151831" y="2872694"/>
              <a:ext cx="951880" cy="652717"/>
            </a:xfrm>
            <a:custGeom>
              <a:avLst/>
              <a:gdLst>
                <a:gd name="connsiteX0" fmla="*/ 58178 w 951880"/>
                <a:gd name="connsiteY0" fmla="*/ 330574 h 652717"/>
                <a:gd name="connsiteX1" fmla="*/ 180563 w 951880"/>
                <a:gd name="connsiteY1" fmla="*/ 379528 h 652717"/>
                <a:gd name="connsiteX2" fmla="*/ 362780 w 951880"/>
                <a:gd name="connsiteY2" fmla="*/ 311537 h 652717"/>
                <a:gd name="connsiteX3" fmla="*/ 455249 w 951880"/>
                <a:gd name="connsiteY3" fmla="*/ 164675 h 652717"/>
                <a:gd name="connsiteX4" fmla="*/ 694578 w 951880"/>
                <a:gd name="connsiteY4" fmla="*/ 61329 h 652717"/>
                <a:gd name="connsiteX5" fmla="*/ 857758 w 951880"/>
                <a:gd name="connsiteY5" fmla="*/ 458398 h 652717"/>
                <a:gd name="connsiteX6" fmla="*/ 205040 w 951880"/>
                <a:gd name="connsiteY6" fmla="*/ 485595 h 652717"/>
                <a:gd name="connsiteX7" fmla="*/ 58178 w 951880"/>
                <a:gd name="connsiteY7" fmla="*/ 330574 h 6527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51880" h="652717">
                  <a:moveTo>
                    <a:pt x="58178" y="330574"/>
                  </a:moveTo>
                  <a:cubicBezTo>
                    <a:pt x="96253" y="363210"/>
                    <a:pt x="147927" y="374089"/>
                    <a:pt x="180563" y="379528"/>
                  </a:cubicBezTo>
                  <a:cubicBezTo>
                    <a:pt x="248554" y="387687"/>
                    <a:pt x="319266" y="365930"/>
                    <a:pt x="362780" y="311537"/>
                  </a:cubicBezTo>
                  <a:cubicBezTo>
                    <a:pt x="398136" y="268022"/>
                    <a:pt x="417174" y="210910"/>
                    <a:pt x="455249" y="164675"/>
                  </a:cubicBezTo>
                  <a:cubicBezTo>
                    <a:pt x="512362" y="93964"/>
                    <a:pt x="602110" y="45011"/>
                    <a:pt x="694578" y="61329"/>
                  </a:cubicBezTo>
                  <a:cubicBezTo>
                    <a:pt x="879515" y="93964"/>
                    <a:pt x="961105" y="308817"/>
                    <a:pt x="857758" y="458398"/>
                  </a:cubicBezTo>
                  <a:cubicBezTo>
                    <a:pt x="708176" y="670531"/>
                    <a:pt x="376379" y="635176"/>
                    <a:pt x="205040" y="485595"/>
                  </a:cubicBezTo>
                  <a:cubicBezTo>
                    <a:pt x="150646" y="442080"/>
                    <a:pt x="101693" y="390407"/>
                    <a:pt x="58178" y="330574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/>
            </a:p>
          </p:txBody>
        </p:sp>
        <p:sp>
          <p:nvSpPr>
            <p:cNvPr id="10" name="Freeform: Shape 9">
              <a:extLst>
                <a:ext uri="{FF2B5EF4-FFF2-40B4-BE49-F238E27FC236}">
                  <a16:creationId xmlns:a16="http://schemas.microsoft.com/office/drawing/2014/main" id="{5FD16FEA-B5DB-4F05-ABCB-F67FBB3F290E}"/>
                </a:ext>
              </a:extLst>
            </p:cNvPr>
            <p:cNvSpPr/>
            <p:nvPr/>
          </p:nvSpPr>
          <p:spPr>
            <a:xfrm>
              <a:off x="8001294" y="2010994"/>
              <a:ext cx="734308" cy="299162"/>
            </a:xfrm>
            <a:custGeom>
              <a:avLst/>
              <a:gdLst>
                <a:gd name="connsiteX0" fmla="*/ 596792 w 734307"/>
                <a:gd name="connsiteY0" fmla="*/ 58178 h 299162"/>
                <a:gd name="connsiteX1" fmla="*/ 148048 w 734307"/>
                <a:gd name="connsiteY1" fmla="*/ 58178 h 299162"/>
                <a:gd name="connsiteX2" fmla="*/ 58299 w 734307"/>
                <a:gd name="connsiteY2" fmla="*/ 150646 h 299162"/>
                <a:gd name="connsiteX3" fmla="*/ 148048 w 734307"/>
                <a:gd name="connsiteY3" fmla="*/ 251274 h 299162"/>
                <a:gd name="connsiteX4" fmla="*/ 596792 w 734307"/>
                <a:gd name="connsiteY4" fmla="*/ 251274 h 299162"/>
                <a:gd name="connsiteX5" fmla="*/ 686541 w 734307"/>
                <a:gd name="connsiteY5" fmla="*/ 158805 h 299162"/>
                <a:gd name="connsiteX6" fmla="*/ 596792 w 734307"/>
                <a:gd name="connsiteY6" fmla="*/ 58178 h 2991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34307" h="299162">
                  <a:moveTo>
                    <a:pt x="596792" y="58178"/>
                  </a:moveTo>
                  <a:cubicBezTo>
                    <a:pt x="591353" y="58178"/>
                    <a:pt x="153487" y="58178"/>
                    <a:pt x="148048" y="58178"/>
                  </a:cubicBezTo>
                  <a:cubicBezTo>
                    <a:pt x="99094" y="60898"/>
                    <a:pt x="61019" y="104412"/>
                    <a:pt x="58299" y="150646"/>
                  </a:cubicBezTo>
                  <a:cubicBezTo>
                    <a:pt x="55580" y="199600"/>
                    <a:pt x="99094" y="248554"/>
                    <a:pt x="148048" y="251274"/>
                  </a:cubicBezTo>
                  <a:cubicBezTo>
                    <a:pt x="153487" y="251274"/>
                    <a:pt x="591353" y="251274"/>
                    <a:pt x="596792" y="251274"/>
                  </a:cubicBezTo>
                  <a:cubicBezTo>
                    <a:pt x="645746" y="248554"/>
                    <a:pt x="683821" y="205040"/>
                    <a:pt x="686541" y="158805"/>
                  </a:cubicBezTo>
                  <a:cubicBezTo>
                    <a:pt x="689260" y="109852"/>
                    <a:pt x="648465" y="60898"/>
                    <a:pt x="596792" y="58178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/>
            </a:p>
          </p:txBody>
        </p:sp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73DE2517-FFDB-44E3-991E-865C415B8826}"/>
                </a:ext>
              </a:extLst>
            </p:cNvPr>
            <p:cNvSpPr/>
            <p:nvPr/>
          </p:nvSpPr>
          <p:spPr>
            <a:xfrm>
              <a:off x="4920042" y="2277520"/>
              <a:ext cx="1006274" cy="951879"/>
            </a:xfrm>
            <a:custGeom>
              <a:avLst/>
              <a:gdLst>
                <a:gd name="connsiteX0" fmla="*/ 884954 w 1006273"/>
                <a:gd name="connsiteY0" fmla="*/ 746251 h 951879"/>
                <a:gd name="connsiteX1" fmla="*/ 874076 w 1006273"/>
                <a:gd name="connsiteY1" fmla="*/ 670101 h 951879"/>
                <a:gd name="connsiteX2" fmla="*/ 874076 w 1006273"/>
                <a:gd name="connsiteY2" fmla="*/ 536837 h 951879"/>
                <a:gd name="connsiteX3" fmla="*/ 689139 w 1006273"/>
                <a:gd name="connsiteY3" fmla="*/ 88094 h 951879"/>
                <a:gd name="connsiteX4" fmla="*/ 428052 w 1006273"/>
                <a:gd name="connsiteY4" fmla="*/ 253993 h 951879"/>
                <a:gd name="connsiteX5" fmla="*/ 196881 w 1006273"/>
                <a:gd name="connsiteY5" fmla="*/ 58178 h 951879"/>
                <a:gd name="connsiteX6" fmla="*/ 58178 w 1006273"/>
                <a:gd name="connsiteY6" fmla="*/ 128889 h 951879"/>
                <a:gd name="connsiteX7" fmla="*/ 142488 w 1006273"/>
                <a:gd name="connsiteY7" fmla="*/ 273031 h 951879"/>
                <a:gd name="connsiteX8" fmla="*/ 142488 w 1006273"/>
                <a:gd name="connsiteY8" fmla="*/ 757130 h 951879"/>
                <a:gd name="connsiteX9" fmla="*/ 283910 w 1006273"/>
                <a:gd name="connsiteY9" fmla="*/ 895832 h 951879"/>
                <a:gd name="connsiteX10" fmla="*/ 428052 w 1006273"/>
                <a:gd name="connsiteY10" fmla="*/ 757130 h 951879"/>
                <a:gd name="connsiteX11" fmla="*/ 428052 w 1006273"/>
                <a:gd name="connsiteY11" fmla="*/ 400855 h 951879"/>
                <a:gd name="connsiteX12" fmla="*/ 523240 w 1006273"/>
                <a:gd name="connsiteY12" fmla="*/ 283910 h 951879"/>
                <a:gd name="connsiteX13" fmla="*/ 591231 w 1006273"/>
                <a:gd name="connsiteY13" fmla="*/ 354621 h 951879"/>
                <a:gd name="connsiteX14" fmla="*/ 591231 w 1006273"/>
                <a:gd name="connsiteY14" fmla="*/ 697297 h 951879"/>
                <a:gd name="connsiteX15" fmla="*/ 593951 w 1006273"/>
                <a:gd name="connsiteY15" fmla="*/ 729933 h 951879"/>
                <a:gd name="connsiteX16" fmla="*/ 610269 w 1006273"/>
                <a:gd name="connsiteY16" fmla="*/ 778887 h 951879"/>
                <a:gd name="connsiteX17" fmla="*/ 822402 w 1006273"/>
                <a:gd name="connsiteY17" fmla="*/ 893112 h 951879"/>
                <a:gd name="connsiteX18" fmla="*/ 961105 w 1006273"/>
                <a:gd name="connsiteY18" fmla="*/ 822401 h 951879"/>
                <a:gd name="connsiteX19" fmla="*/ 884954 w 1006273"/>
                <a:gd name="connsiteY19" fmla="*/ 746251 h 9518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006273" h="951879">
                  <a:moveTo>
                    <a:pt x="884954" y="746251"/>
                  </a:moveTo>
                  <a:cubicBezTo>
                    <a:pt x="879515" y="721774"/>
                    <a:pt x="876795" y="694578"/>
                    <a:pt x="874076" y="670101"/>
                  </a:cubicBezTo>
                  <a:cubicBezTo>
                    <a:pt x="874076" y="634745"/>
                    <a:pt x="874076" y="583072"/>
                    <a:pt x="874076" y="536837"/>
                  </a:cubicBezTo>
                  <a:cubicBezTo>
                    <a:pt x="879515" y="373658"/>
                    <a:pt x="909431" y="88094"/>
                    <a:pt x="689139" y="88094"/>
                  </a:cubicBezTo>
                  <a:cubicBezTo>
                    <a:pt x="539558" y="88094"/>
                    <a:pt x="452529" y="213199"/>
                    <a:pt x="428052" y="253993"/>
                  </a:cubicBezTo>
                  <a:cubicBezTo>
                    <a:pt x="425332" y="139768"/>
                    <a:pt x="335583" y="58178"/>
                    <a:pt x="196881" y="58178"/>
                  </a:cubicBezTo>
                  <a:cubicBezTo>
                    <a:pt x="109852" y="58178"/>
                    <a:pt x="58178" y="128889"/>
                    <a:pt x="58178" y="128889"/>
                  </a:cubicBezTo>
                  <a:cubicBezTo>
                    <a:pt x="58178" y="128889"/>
                    <a:pt x="142488" y="158805"/>
                    <a:pt x="142488" y="273031"/>
                  </a:cubicBezTo>
                  <a:cubicBezTo>
                    <a:pt x="142488" y="354621"/>
                    <a:pt x="142488" y="757130"/>
                    <a:pt x="142488" y="757130"/>
                  </a:cubicBezTo>
                  <a:cubicBezTo>
                    <a:pt x="145207" y="827841"/>
                    <a:pt x="194161" y="895832"/>
                    <a:pt x="283910" y="895832"/>
                  </a:cubicBezTo>
                  <a:cubicBezTo>
                    <a:pt x="373659" y="895832"/>
                    <a:pt x="428052" y="827841"/>
                    <a:pt x="428052" y="757130"/>
                  </a:cubicBezTo>
                  <a:lnTo>
                    <a:pt x="428052" y="400855"/>
                  </a:lnTo>
                  <a:cubicBezTo>
                    <a:pt x="441650" y="343742"/>
                    <a:pt x="474286" y="283910"/>
                    <a:pt x="523240" y="283910"/>
                  </a:cubicBezTo>
                  <a:cubicBezTo>
                    <a:pt x="585792" y="283910"/>
                    <a:pt x="591231" y="354621"/>
                    <a:pt x="591231" y="354621"/>
                  </a:cubicBezTo>
                  <a:lnTo>
                    <a:pt x="591231" y="697297"/>
                  </a:lnTo>
                  <a:cubicBezTo>
                    <a:pt x="591231" y="708176"/>
                    <a:pt x="593951" y="719054"/>
                    <a:pt x="593951" y="729933"/>
                  </a:cubicBezTo>
                  <a:cubicBezTo>
                    <a:pt x="596671" y="748971"/>
                    <a:pt x="602110" y="765289"/>
                    <a:pt x="610269" y="778887"/>
                  </a:cubicBezTo>
                  <a:cubicBezTo>
                    <a:pt x="645624" y="846878"/>
                    <a:pt x="719055" y="893112"/>
                    <a:pt x="822402" y="893112"/>
                  </a:cubicBezTo>
                  <a:cubicBezTo>
                    <a:pt x="909431" y="893112"/>
                    <a:pt x="961105" y="822401"/>
                    <a:pt x="961105" y="822401"/>
                  </a:cubicBezTo>
                  <a:cubicBezTo>
                    <a:pt x="961105" y="822401"/>
                    <a:pt x="909431" y="808803"/>
                    <a:pt x="884954" y="746251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/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156F7D03-AC74-4987-8247-B58A990351E5}"/>
                </a:ext>
              </a:extLst>
            </p:cNvPr>
            <p:cNvSpPr/>
            <p:nvPr/>
          </p:nvSpPr>
          <p:spPr>
            <a:xfrm>
              <a:off x="7552331" y="1888610"/>
              <a:ext cx="489539" cy="1332631"/>
            </a:xfrm>
            <a:custGeom>
              <a:avLst/>
              <a:gdLst>
                <a:gd name="connsiteX0" fmla="*/ 368560 w 489538"/>
                <a:gd name="connsiteY0" fmla="*/ 1135162 h 1332630"/>
                <a:gd name="connsiteX1" fmla="*/ 357681 w 489538"/>
                <a:gd name="connsiteY1" fmla="*/ 1059011 h 1332630"/>
                <a:gd name="connsiteX2" fmla="*/ 357681 w 489538"/>
                <a:gd name="connsiteY2" fmla="*/ 207759 h 1332630"/>
                <a:gd name="connsiteX3" fmla="*/ 208099 w 489538"/>
                <a:gd name="connsiteY3" fmla="*/ 58178 h 1332630"/>
                <a:gd name="connsiteX4" fmla="*/ 58518 w 489538"/>
                <a:gd name="connsiteY4" fmla="*/ 207759 h 1332630"/>
                <a:gd name="connsiteX5" fmla="*/ 58518 w 489538"/>
                <a:gd name="connsiteY5" fmla="*/ 961104 h 1332630"/>
                <a:gd name="connsiteX6" fmla="*/ 85715 w 489538"/>
                <a:gd name="connsiteY6" fmla="*/ 1159639 h 1332630"/>
                <a:gd name="connsiteX7" fmla="*/ 306007 w 489538"/>
                <a:gd name="connsiteY7" fmla="*/ 1282023 h 1332630"/>
                <a:gd name="connsiteX8" fmla="*/ 444710 w 489538"/>
                <a:gd name="connsiteY8" fmla="*/ 1211312 h 1332630"/>
                <a:gd name="connsiteX9" fmla="*/ 368560 w 489538"/>
                <a:gd name="connsiteY9" fmla="*/ 1135162 h 13326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89538" h="1332630">
                  <a:moveTo>
                    <a:pt x="368560" y="1135162"/>
                  </a:moveTo>
                  <a:cubicBezTo>
                    <a:pt x="363120" y="1110685"/>
                    <a:pt x="357681" y="1083488"/>
                    <a:pt x="357681" y="1059011"/>
                  </a:cubicBezTo>
                  <a:lnTo>
                    <a:pt x="357681" y="207759"/>
                  </a:lnTo>
                  <a:cubicBezTo>
                    <a:pt x="357681" y="126170"/>
                    <a:pt x="289689" y="58178"/>
                    <a:pt x="208099" y="58178"/>
                  </a:cubicBezTo>
                  <a:cubicBezTo>
                    <a:pt x="126510" y="58178"/>
                    <a:pt x="58518" y="126170"/>
                    <a:pt x="58518" y="207759"/>
                  </a:cubicBezTo>
                  <a:lnTo>
                    <a:pt x="58518" y="961104"/>
                  </a:lnTo>
                  <a:cubicBezTo>
                    <a:pt x="58518" y="1029095"/>
                    <a:pt x="53079" y="1097086"/>
                    <a:pt x="85715" y="1159639"/>
                  </a:cubicBezTo>
                  <a:cubicBezTo>
                    <a:pt x="118351" y="1227630"/>
                    <a:pt x="202660" y="1282023"/>
                    <a:pt x="306007" y="1282023"/>
                  </a:cubicBezTo>
                  <a:cubicBezTo>
                    <a:pt x="393036" y="1282023"/>
                    <a:pt x="444710" y="1211312"/>
                    <a:pt x="444710" y="1211312"/>
                  </a:cubicBezTo>
                  <a:cubicBezTo>
                    <a:pt x="444710" y="1211312"/>
                    <a:pt x="393036" y="1197714"/>
                    <a:pt x="368560" y="1135162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ADBEEF49-1973-43EE-ABD4-7E037813A7B0}"/>
                </a:ext>
              </a:extLst>
            </p:cNvPr>
            <p:cNvSpPr/>
            <p:nvPr/>
          </p:nvSpPr>
          <p:spPr>
            <a:xfrm>
              <a:off x="4162324" y="2357456"/>
              <a:ext cx="815899" cy="815898"/>
            </a:xfrm>
            <a:custGeom>
              <a:avLst/>
              <a:gdLst>
                <a:gd name="connsiteX0" fmla="*/ 407949 w 815899"/>
                <a:gd name="connsiteY0" fmla="*/ 174058 h 815898"/>
                <a:gd name="connsiteX1" fmla="*/ 293723 w 815899"/>
                <a:gd name="connsiteY1" fmla="*/ 407950 h 815898"/>
                <a:gd name="connsiteX2" fmla="*/ 410669 w 815899"/>
                <a:gd name="connsiteY2" fmla="*/ 641840 h 815898"/>
                <a:gd name="connsiteX3" fmla="*/ 522175 w 815899"/>
                <a:gd name="connsiteY3" fmla="*/ 407950 h 815898"/>
                <a:gd name="connsiteX4" fmla="*/ 407949 w 815899"/>
                <a:gd name="connsiteY4" fmla="*/ 174058 h 815898"/>
                <a:gd name="connsiteX5" fmla="*/ 407950 w 815899"/>
                <a:gd name="connsiteY5" fmla="*/ 0 h 815898"/>
                <a:gd name="connsiteX6" fmla="*/ 815899 w 815899"/>
                <a:gd name="connsiteY6" fmla="*/ 407949 h 815898"/>
                <a:gd name="connsiteX7" fmla="*/ 407950 w 815899"/>
                <a:gd name="connsiteY7" fmla="*/ 815898 h 815898"/>
                <a:gd name="connsiteX8" fmla="*/ 0 w 815899"/>
                <a:gd name="connsiteY8" fmla="*/ 407949 h 815898"/>
                <a:gd name="connsiteX9" fmla="*/ 407950 w 815899"/>
                <a:gd name="connsiteY9" fmla="*/ 0 h 815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15899" h="815898">
                  <a:moveTo>
                    <a:pt x="407949" y="174058"/>
                  </a:moveTo>
                  <a:cubicBezTo>
                    <a:pt x="342677" y="174058"/>
                    <a:pt x="293723" y="263807"/>
                    <a:pt x="293723" y="407950"/>
                  </a:cubicBezTo>
                  <a:cubicBezTo>
                    <a:pt x="293723" y="552091"/>
                    <a:pt x="331799" y="639120"/>
                    <a:pt x="410669" y="641840"/>
                  </a:cubicBezTo>
                  <a:cubicBezTo>
                    <a:pt x="489539" y="641840"/>
                    <a:pt x="527614" y="552091"/>
                    <a:pt x="522175" y="407950"/>
                  </a:cubicBezTo>
                  <a:cubicBezTo>
                    <a:pt x="522175" y="263807"/>
                    <a:pt x="473221" y="176778"/>
                    <a:pt x="407949" y="174058"/>
                  </a:cubicBezTo>
                  <a:close/>
                  <a:moveTo>
                    <a:pt x="407950" y="0"/>
                  </a:moveTo>
                  <a:cubicBezTo>
                    <a:pt x="633682" y="0"/>
                    <a:pt x="815899" y="182217"/>
                    <a:pt x="815899" y="407949"/>
                  </a:cubicBezTo>
                  <a:cubicBezTo>
                    <a:pt x="815899" y="633681"/>
                    <a:pt x="633682" y="815898"/>
                    <a:pt x="407950" y="815898"/>
                  </a:cubicBezTo>
                  <a:cubicBezTo>
                    <a:pt x="182218" y="815898"/>
                    <a:pt x="0" y="633681"/>
                    <a:pt x="0" y="407949"/>
                  </a:cubicBezTo>
                  <a:cubicBezTo>
                    <a:pt x="0" y="182217"/>
                    <a:pt x="182218" y="0"/>
                    <a:pt x="407950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BDB7EADA-FB78-4FA9-9520-D83E0D8F84CD}"/>
                </a:ext>
              </a:extLst>
            </p:cNvPr>
            <p:cNvSpPr/>
            <p:nvPr/>
          </p:nvSpPr>
          <p:spPr>
            <a:xfrm>
              <a:off x="5884871" y="1946788"/>
              <a:ext cx="912802" cy="1223846"/>
            </a:xfrm>
            <a:custGeom>
              <a:avLst/>
              <a:gdLst>
                <a:gd name="connsiteX0" fmla="*/ 387907 w 912802"/>
                <a:gd name="connsiteY0" fmla="*/ 620081 h 1223846"/>
                <a:gd name="connsiteX1" fmla="*/ 273681 w 912802"/>
                <a:gd name="connsiteY1" fmla="*/ 824055 h 1223846"/>
                <a:gd name="connsiteX2" fmla="*/ 390627 w 912802"/>
                <a:gd name="connsiteY2" fmla="*/ 1028029 h 1223846"/>
                <a:gd name="connsiteX3" fmla="*/ 502132 w 912802"/>
                <a:gd name="connsiteY3" fmla="*/ 824055 h 1223846"/>
                <a:gd name="connsiteX4" fmla="*/ 387907 w 912802"/>
                <a:gd name="connsiteY4" fmla="*/ 620081 h 1223846"/>
                <a:gd name="connsiteX5" fmla="*/ 676192 w 912802"/>
                <a:gd name="connsiteY5" fmla="*/ 0 h 1223846"/>
                <a:gd name="connsiteX6" fmla="*/ 825773 w 912802"/>
                <a:gd name="connsiteY6" fmla="*/ 149581 h 1223846"/>
                <a:gd name="connsiteX7" fmla="*/ 825773 w 912802"/>
                <a:gd name="connsiteY7" fmla="*/ 1000834 h 1223846"/>
                <a:gd name="connsiteX8" fmla="*/ 836651 w 912802"/>
                <a:gd name="connsiteY8" fmla="*/ 1076985 h 1223846"/>
                <a:gd name="connsiteX9" fmla="*/ 912802 w 912802"/>
                <a:gd name="connsiteY9" fmla="*/ 1150415 h 1223846"/>
                <a:gd name="connsiteX10" fmla="*/ 774099 w 912802"/>
                <a:gd name="connsiteY10" fmla="*/ 1221126 h 1223846"/>
                <a:gd name="connsiteX11" fmla="*/ 553807 w 912802"/>
                <a:gd name="connsiteY11" fmla="*/ 1098742 h 1223846"/>
                <a:gd name="connsiteX12" fmla="*/ 548367 w 912802"/>
                <a:gd name="connsiteY12" fmla="*/ 1085144 h 1223846"/>
                <a:gd name="connsiteX13" fmla="*/ 398786 w 912802"/>
                <a:gd name="connsiteY13" fmla="*/ 1212967 h 1223846"/>
                <a:gd name="connsiteX14" fmla="*/ 156736 w 912802"/>
                <a:gd name="connsiteY14" fmla="*/ 1180332 h 1223846"/>
                <a:gd name="connsiteX15" fmla="*/ 287280 w 912802"/>
                <a:gd name="connsiteY15" fmla="*/ 416107 h 1223846"/>
                <a:gd name="connsiteX16" fmla="*/ 526611 w 912802"/>
                <a:gd name="connsiteY16" fmla="*/ 552091 h 1223846"/>
                <a:gd name="connsiteX17" fmla="*/ 526611 w 912802"/>
                <a:gd name="connsiteY17" fmla="*/ 149581 h 1223846"/>
                <a:gd name="connsiteX18" fmla="*/ 676192 w 912802"/>
                <a:gd name="connsiteY18" fmla="*/ 0 h 1223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912802" h="1223846">
                  <a:moveTo>
                    <a:pt x="387907" y="620081"/>
                  </a:moveTo>
                  <a:cubicBezTo>
                    <a:pt x="322635" y="620081"/>
                    <a:pt x="273681" y="698951"/>
                    <a:pt x="273681" y="824055"/>
                  </a:cubicBezTo>
                  <a:cubicBezTo>
                    <a:pt x="273681" y="949160"/>
                    <a:pt x="311756" y="1028029"/>
                    <a:pt x="390627" y="1028029"/>
                  </a:cubicBezTo>
                  <a:cubicBezTo>
                    <a:pt x="466777" y="1025310"/>
                    <a:pt x="504852" y="949160"/>
                    <a:pt x="502132" y="824055"/>
                  </a:cubicBezTo>
                  <a:cubicBezTo>
                    <a:pt x="502132" y="698951"/>
                    <a:pt x="455898" y="622801"/>
                    <a:pt x="387907" y="620081"/>
                  </a:cubicBezTo>
                  <a:close/>
                  <a:moveTo>
                    <a:pt x="676192" y="0"/>
                  </a:moveTo>
                  <a:cubicBezTo>
                    <a:pt x="757781" y="0"/>
                    <a:pt x="825773" y="67992"/>
                    <a:pt x="825773" y="149581"/>
                  </a:cubicBezTo>
                  <a:lnTo>
                    <a:pt x="825773" y="1000834"/>
                  </a:lnTo>
                  <a:cubicBezTo>
                    <a:pt x="828492" y="1025311"/>
                    <a:pt x="831212" y="1052508"/>
                    <a:pt x="836651" y="1076985"/>
                  </a:cubicBezTo>
                  <a:cubicBezTo>
                    <a:pt x="861128" y="1139537"/>
                    <a:pt x="912802" y="1150415"/>
                    <a:pt x="912802" y="1150415"/>
                  </a:cubicBezTo>
                  <a:cubicBezTo>
                    <a:pt x="912802" y="1150415"/>
                    <a:pt x="861128" y="1221126"/>
                    <a:pt x="774099" y="1221126"/>
                  </a:cubicBezTo>
                  <a:cubicBezTo>
                    <a:pt x="670752" y="1221126"/>
                    <a:pt x="589162" y="1166733"/>
                    <a:pt x="553807" y="1098742"/>
                  </a:cubicBezTo>
                  <a:cubicBezTo>
                    <a:pt x="551087" y="1093303"/>
                    <a:pt x="551087" y="1090583"/>
                    <a:pt x="548367" y="1085144"/>
                  </a:cubicBezTo>
                  <a:cubicBezTo>
                    <a:pt x="534769" y="1147696"/>
                    <a:pt x="450460" y="1199369"/>
                    <a:pt x="398786" y="1212967"/>
                  </a:cubicBezTo>
                  <a:cubicBezTo>
                    <a:pt x="322636" y="1234725"/>
                    <a:pt x="222008" y="1223846"/>
                    <a:pt x="156736" y="1180332"/>
                  </a:cubicBezTo>
                  <a:cubicBezTo>
                    <a:pt x="-79874" y="1028031"/>
                    <a:pt x="-58117" y="416107"/>
                    <a:pt x="287280" y="416107"/>
                  </a:cubicBezTo>
                  <a:cubicBezTo>
                    <a:pt x="412385" y="416107"/>
                    <a:pt x="491255" y="503137"/>
                    <a:pt x="526611" y="552091"/>
                  </a:cubicBezTo>
                  <a:lnTo>
                    <a:pt x="526611" y="149581"/>
                  </a:lnTo>
                  <a:cubicBezTo>
                    <a:pt x="526611" y="67992"/>
                    <a:pt x="594602" y="0"/>
                    <a:pt x="676192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548CB4A2-0C87-47C9-8C4B-B9BA3E2C90BC}"/>
                </a:ext>
              </a:extLst>
            </p:cNvPr>
            <p:cNvSpPr/>
            <p:nvPr/>
          </p:nvSpPr>
          <p:spPr>
            <a:xfrm>
              <a:off x="6789513" y="2362895"/>
              <a:ext cx="747906" cy="810458"/>
            </a:xfrm>
            <a:custGeom>
              <a:avLst/>
              <a:gdLst>
                <a:gd name="connsiteX0" fmla="*/ 394818 w 747906"/>
                <a:gd name="connsiteY0" fmla="*/ 163222 h 810458"/>
                <a:gd name="connsiteX1" fmla="*/ 356275 w 747906"/>
                <a:gd name="connsiteY1" fmla="*/ 174058 h 810458"/>
                <a:gd name="connsiteX2" fmla="*/ 274685 w 747906"/>
                <a:gd name="connsiteY2" fmla="*/ 356275 h 810458"/>
                <a:gd name="connsiteX3" fmla="*/ 375313 w 747906"/>
                <a:gd name="connsiteY3" fmla="*/ 358994 h 810458"/>
                <a:gd name="connsiteX4" fmla="*/ 473220 w 747906"/>
                <a:gd name="connsiteY4" fmla="*/ 239329 h 810458"/>
                <a:gd name="connsiteX5" fmla="*/ 394818 w 747906"/>
                <a:gd name="connsiteY5" fmla="*/ 163222 h 810458"/>
                <a:gd name="connsiteX6" fmla="*/ 386192 w 747906"/>
                <a:gd name="connsiteY6" fmla="*/ 0 h 810458"/>
                <a:gd name="connsiteX7" fmla="*/ 747906 w 747906"/>
                <a:gd name="connsiteY7" fmla="*/ 266526 h 810458"/>
                <a:gd name="connsiteX8" fmla="*/ 291004 w 747906"/>
                <a:gd name="connsiteY8" fmla="*/ 484100 h 810458"/>
                <a:gd name="connsiteX9" fmla="*/ 497698 w 747906"/>
                <a:gd name="connsiteY9" fmla="*/ 617363 h 810458"/>
                <a:gd name="connsiteX10" fmla="*/ 712551 w 747906"/>
                <a:gd name="connsiteY10" fmla="*/ 557530 h 810458"/>
                <a:gd name="connsiteX11" fmla="*/ 388912 w 747906"/>
                <a:gd name="connsiteY11" fmla="*/ 810458 h 810458"/>
                <a:gd name="connsiteX12" fmla="*/ 0 w 747906"/>
                <a:gd name="connsiteY12" fmla="*/ 413389 h 810458"/>
                <a:gd name="connsiteX13" fmla="*/ 386192 w 747906"/>
                <a:gd name="connsiteY13" fmla="*/ 0 h 8104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747906" h="810458">
                  <a:moveTo>
                    <a:pt x="394818" y="163222"/>
                  </a:moveTo>
                  <a:cubicBezTo>
                    <a:pt x="381772" y="163179"/>
                    <a:pt x="368514" y="166579"/>
                    <a:pt x="356275" y="174058"/>
                  </a:cubicBezTo>
                  <a:cubicBezTo>
                    <a:pt x="299162" y="212133"/>
                    <a:pt x="282844" y="291003"/>
                    <a:pt x="274685" y="356275"/>
                  </a:cubicBezTo>
                  <a:cubicBezTo>
                    <a:pt x="274685" y="364434"/>
                    <a:pt x="369873" y="358994"/>
                    <a:pt x="375313" y="358994"/>
                  </a:cubicBezTo>
                  <a:cubicBezTo>
                    <a:pt x="432425" y="345396"/>
                    <a:pt x="473220" y="301881"/>
                    <a:pt x="473220" y="239329"/>
                  </a:cubicBezTo>
                  <a:cubicBezTo>
                    <a:pt x="471181" y="194455"/>
                    <a:pt x="433956" y="163349"/>
                    <a:pt x="394818" y="163222"/>
                  </a:cubicBezTo>
                  <a:close/>
                  <a:moveTo>
                    <a:pt x="386192" y="0"/>
                  </a:moveTo>
                  <a:cubicBezTo>
                    <a:pt x="519455" y="0"/>
                    <a:pt x="747906" y="65272"/>
                    <a:pt x="747906" y="266526"/>
                  </a:cubicBezTo>
                  <a:cubicBezTo>
                    <a:pt x="747906" y="467782"/>
                    <a:pt x="538493" y="484100"/>
                    <a:pt x="291004" y="484100"/>
                  </a:cubicBezTo>
                  <a:cubicBezTo>
                    <a:pt x="291004" y="484100"/>
                    <a:pt x="326359" y="617363"/>
                    <a:pt x="497698" y="617363"/>
                  </a:cubicBezTo>
                  <a:cubicBezTo>
                    <a:pt x="669036" y="617363"/>
                    <a:pt x="712551" y="557530"/>
                    <a:pt x="712551" y="557530"/>
                  </a:cubicBezTo>
                  <a:cubicBezTo>
                    <a:pt x="712551" y="557530"/>
                    <a:pt x="696233" y="810458"/>
                    <a:pt x="388912" y="810458"/>
                  </a:cubicBezTo>
                  <a:cubicBezTo>
                    <a:pt x="212134" y="810458"/>
                    <a:pt x="0" y="677195"/>
                    <a:pt x="0" y="413389"/>
                  </a:cubicBezTo>
                  <a:cubicBezTo>
                    <a:pt x="0" y="176778"/>
                    <a:pt x="163180" y="0"/>
                    <a:pt x="386192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02D2D5C1-4179-4736-BA45-C19AC8497060}"/>
                </a:ext>
              </a:extLst>
            </p:cNvPr>
            <p:cNvSpPr/>
            <p:nvPr/>
          </p:nvSpPr>
          <p:spPr>
            <a:xfrm>
              <a:off x="7988882" y="2362895"/>
              <a:ext cx="747906" cy="810458"/>
            </a:xfrm>
            <a:custGeom>
              <a:avLst/>
              <a:gdLst>
                <a:gd name="connsiteX0" fmla="*/ 394818 w 747906"/>
                <a:gd name="connsiteY0" fmla="*/ 163222 h 810458"/>
                <a:gd name="connsiteX1" fmla="*/ 356275 w 747906"/>
                <a:gd name="connsiteY1" fmla="*/ 174058 h 810458"/>
                <a:gd name="connsiteX2" fmla="*/ 274685 w 747906"/>
                <a:gd name="connsiteY2" fmla="*/ 356275 h 810458"/>
                <a:gd name="connsiteX3" fmla="*/ 375313 w 747906"/>
                <a:gd name="connsiteY3" fmla="*/ 358994 h 810458"/>
                <a:gd name="connsiteX4" fmla="*/ 473220 w 747906"/>
                <a:gd name="connsiteY4" fmla="*/ 239329 h 810458"/>
                <a:gd name="connsiteX5" fmla="*/ 394818 w 747906"/>
                <a:gd name="connsiteY5" fmla="*/ 163222 h 810458"/>
                <a:gd name="connsiteX6" fmla="*/ 386192 w 747906"/>
                <a:gd name="connsiteY6" fmla="*/ 0 h 810458"/>
                <a:gd name="connsiteX7" fmla="*/ 747906 w 747906"/>
                <a:gd name="connsiteY7" fmla="*/ 266526 h 810458"/>
                <a:gd name="connsiteX8" fmla="*/ 291004 w 747906"/>
                <a:gd name="connsiteY8" fmla="*/ 484100 h 810458"/>
                <a:gd name="connsiteX9" fmla="*/ 497697 w 747906"/>
                <a:gd name="connsiteY9" fmla="*/ 617363 h 810458"/>
                <a:gd name="connsiteX10" fmla="*/ 712551 w 747906"/>
                <a:gd name="connsiteY10" fmla="*/ 557530 h 810458"/>
                <a:gd name="connsiteX11" fmla="*/ 388911 w 747906"/>
                <a:gd name="connsiteY11" fmla="*/ 810458 h 810458"/>
                <a:gd name="connsiteX12" fmla="*/ 0 w 747906"/>
                <a:gd name="connsiteY12" fmla="*/ 413389 h 810458"/>
                <a:gd name="connsiteX13" fmla="*/ 386192 w 747906"/>
                <a:gd name="connsiteY13" fmla="*/ 0 h 8104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747906" h="810458">
                  <a:moveTo>
                    <a:pt x="394818" y="163222"/>
                  </a:moveTo>
                  <a:cubicBezTo>
                    <a:pt x="381772" y="163179"/>
                    <a:pt x="368514" y="166579"/>
                    <a:pt x="356275" y="174058"/>
                  </a:cubicBezTo>
                  <a:cubicBezTo>
                    <a:pt x="299162" y="212133"/>
                    <a:pt x="282844" y="291003"/>
                    <a:pt x="274685" y="356275"/>
                  </a:cubicBezTo>
                  <a:cubicBezTo>
                    <a:pt x="274685" y="364434"/>
                    <a:pt x="369873" y="358994"/>
                    <a:pt x="375313" y="358994"/>
                  </a:cubicBezTo>
                  <a:cubicBezTo>
                    <a:pt x="432426" y="345396"/>
                    <a:pt x="473220" y="301881"/>
                    <a:pt x="473220" y="239329"/>
                  </a:cubicBezTo>
                  <a:cubicBezTo>
                    <a:pt x="471181" y="194455"/>
                    <a:pt x="433955" y="163349"/>
                    <a:pt x="394818" y="163222"/>
                  </a:cubicBezTo>
                  <a:close/>
                  <a:moveTo>
                    <a:pt x="386192" y="0"/>
                  </a:moveTo>
                  <a:cubicBezTo>
                    <a:pt x="519455" y="0"/>
                    <a:pt x="747906" y="65272"/>
                    <a:pt x="747906" y="266526"/>
                  </a:cubicBezTo>
                  <a:cubicBezTo>
                    <a:pt x="747906" y="467782"/>
                    <a:pt x="538492" y="484100"/>
                    <a:pt x="291004" y="484100"/>
                  </a:cubicBezTo>
                  <a:cubicBezTo>
                    <a:pt x="291004" y="484100"/>
                    <a:pt x="326359" y="617363"/>
                    <a:pt x="497697" y="617363"/>
                  </a:cubicBezTo>
                  <a:cubicBezTo>
                    <a:pt x="669036" y="617363"/>
                    <a:pt x="712551" y="557530"/>
                    <a:pt x="712551" y="557530"/>
                  </a:cubicBezTo>
                  <a:cubicBezTo>
                    <a:pt x="712551" y="557530"/>
                    <a:pt x="696233" y="810458"/>
                    <a:pt x="388911" y="810458"/>
                  </a:cubicBezTo>
                  <a:cubicBezTo>
                    <a:pt x="212133" y="810458"/>
                    <a:pt x="0" y="677195"/>
                    <a:pt x="0" y="413389"/>
                  </a:cubicBezTo>
                  <a:cubicBezTo>
                    <a:pt x="0" y="176778"/>
                    <a:pt x="163180" y="0"/>
                    <a:pt x="386192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98B32661-72D5-4F04-ACE1-EC30AB0CDE8C}"/>
                </a:ext>
              </a:extLst>
            </p:cNvPr>
            <p:cNvSpPr/>
            <p:nvPr/>
          </p:nvSpPr>
          <p:spPr>
            <a:xfrm>
              <a:off x="8683414" y="2274801"/>
              <a:ext cx="897487" cy="951879"/>
            </a:xfrm>
            <a:custGeom>
              <a:avLst/>
              <a:gdLst>
                <a:gd name="connsiteX0" fmla="*/ 580988 w 897487"/>
                <a:gd name="connsiteY0" fmla="*/ 667381 h 951879"/>
                <a:gd name="connsiteX1" fmla="*/ 409649 w 897487"/>
                <a:gd name="connsiteY1" fmla="*/ 667381 h 951879"/>
                <a:gd name="connsiteX2" fmla="*/ 591866 w 897487"/>
                <a:gd name="connsiteY2" fmla="*/ 525959 h 951879"/>
                <a:gd name="connsiteX3" fmla="*/ 842075 w 897487"/>
                <a:gd name="connsiteY3" fmla="*/ 123450 h 951879"/>
                <a:gd name="connsiteX4" fmla="*/ 842075 w 897487"/>
                <a:gd name="connsiteY4" fmla="*/ 123450 h 951879"/>
                <a:gd name="connsiteX5" fmla="*/ 798560 w 897487"/>
                <a:gd name="connsiteY5" fmla="*/ 58178 h 951879"/>
                <a:gd name="connsiteX6" fmla="*/ 746887 w 897487"/>
                <a:gd name="connsiteY6" fmla="*/ 107132 h 951879"/>
                <a:gd name="connsiteX7" fmla="*/ 697933 w 897487"/>
                <a:gd name="connsiteY7" fmla="*/ 115291 h 951879"/>
                <a:gd name="connsiteX8" fmla="*/ 219273 w 897487"/>
                <a:gd name="connsiteY8" fmla="*/ 115291 h 951879"/>
                <a:gd name="connsiteX9" fmla="*/ 102328 w 897487"/>
                <a:gd name="connsiteY9" fmla="*/ 224077 h 951879"/>
                <a:gd name="connsiteX10" fmla="*/ 213834 w 897487"/>
                <a:gd name="connsiteY10" fmla="*/ 332863 h 951879"/>
                <a:gd name="connsiteX11" fmla="*/ 485800 w 897487"/>
                <a:gd name="connsiteY11" fmla="*/ 335583 h 951879"/>
                <a:gd name="connsiteX12" fmla="*/ 134964 w 897487"/>
                <a:gd name="connsiteY12" fmla="*/ 615708 h 951879"/>
                <a:gd name="connsiteX13" fmla="*/ 61533 w 897487"/>
                <a:gd name="connsiteY13" fmla="*/ 884953 h 951879"/>
                <a:gd name="connsiteX14" fmla="*/ 398771 w 897487"/>
                <a:gd name="connsiteY14" fmla="*/ 806083 h 951879"/>
                <a:gd name="connsiteX15" fmla="*/ 529314 w 897487"/>
                <a:gd name="connsiteY15" fmla="*/ 863196 h 951879"/>
                <a:gd name="connsiteX16" fmla="*/ 782242 w 897487"/>
                <a:gd name="connsiteY16" fmla="*/ 607549 h 951879"/>
                <a:gd name="connsiteX17" fmla="*/ 580988 w 897487"/>
                <a:gd name="connsiteY17" fmla="*/ 667381 h 9518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897487" h="951879">
                  <a:moveTo>
                    <a:pt x="580988" y="667381"/>
                  </a:moveTo>
                  <a:lnTo>
                    <a:pt x="409649" y="667381"/>
                  </a:lnTo>
                  <a:cubicBezTo>
                    <a:pt x="423248" y="667381"/>
                    <a:pt x="548352" y="561314"/>
                    <a:pt x="591866" y="525959"/>
                  </a:cubicBezTo>
                  <a:cubicBezTo>
                    <a:pt x="700653" y="433491"/>
                    <a:pt x="899188" y="297508"/>
                    <a:pt x="842075" y="123450"/>
                  </a:cubicBezTo>
                  <a:lnTo>
                    <a:pt x="842075" y="123450"/>
                  </a:lnTo>
                  <a:cubicBezTo>
                    <a:pt x="831197" y="82655"/>
                    <a:pt x="798560" y="58178"/>
                    <a:pt x="798560" y="58178"/>
                  </a:cubicBezTo>
                  <a:cubicBezTo>
                    <a:pt x="798560" y="58178"/>
                    <a:pt x="787682" y="90814"/>
                    <a:pt x="746887" y="107132"/>
                  </a:cubicBezTo>
                  <a:cubicBezTo>
                    <a:pt x="730569" y="109852"/>
                    <a:pt x="714251" y="115291"/>
                    <a:pt x="697933" y="115291"/>
                  </a:cubicBezTo>
                  <a:cubicBezTo>
                    <a:pt x="684334" y="115291"/>
                    <a:pt x="219273" y="115291"/>
                    <a:pt x="219273" y="115291"/>
                  </a:cubicBezTo>
                  <a:cubicBezTo>
                    <a:pt x="156721" y="115291"/>
                    <a:pt x="105048" y="166964"/>
                    <a:pt x="102328" y="224077"/>
                  </a:cubicBezTo>
                  <a:cubicBezTo>
                    <a:pt x="102328" y="283910"/>
                    <a:pt x="151282" y="332863"/>
                    <a:pt x="213834" y="332863"/>
                  </a:cubicBezTo>
                  <a:lnTo>
                    <a:pt x="485800" y="335583"/>
                  </a:lnTo>
                  <a:cubicBezTo>
                    <a:pt x="360695" y="406294"/>
                    <a:pt x="211114" y="487884"/>
                    <a:pt x="134964" y="615708"/>
                  </a:cubicBezTo>
                  <a:cubicBezTo>
                    <a:pt x="91449" y="689138"/>
                    <a:pt x="45215" y="800644"/>
                    <a:pt x="61533" y="884953"/>
                  </a:cubicBezTo>
                  <a:cubicBezTo>
                    <a:pt x="121366" y="830560"/>
                    <a:pt x="279106" y="778887"/>
                    <a:pt x="398771" y="806083"/>
                  </a:cubicBezTo>
                  <a:cubicBezTo>
                    <a:pt x="445005" y="814242"/>
                    <a:pt x="491239" y="838719"/>
                    <a:pt x="529314" y="863196"/>
                  </a:cubicBezTo>
                  <a:cubicBezTo>
                    <a:pt x="755046" y="1004618"/>
                    <a:pt x="891029" y="727213"/>
                    <a:pt x="782242" y="607549"/>
                  </a:cubicBezTo>
                  <a:cubicBezTo>
                    <a:pt x="784962" y="607549"/>
                    <a:pt x="722410" y="667381"/>
                    <a:pt x="580988" y="667381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2A331478-F85F-4D3E-A6DA-5647BA14CD3D}"/>
                </a:ext>
              </a:extLst>
            </p:cNvPr>
            <p:cNvSpPr/>
            <p:nvPr/>
          </p:nvSpPr>
          <p:spPr>
            <a:xfrm>
              <a:off x="2624650" y="1948442"/>
              <a:ext cx="1903761" cy="1577400"/>
            </a:xfrm>
            <a:custGeom>
              <a:avLst/>
              <a:gdLst>
                <a:gd name="connsiteX0" fmla="*/ 1559430 w 1903760"/>
                <a:gd name="connsiteY0" fmla="*/ 1165078 h 1577399"/>
                <a:gd name="connsiteX1" fmla="*/ 1369054 w 1903760"/>
                <a:gd name="connsiteY1" fmla="*/ 593950 h 1577399"/>
                <a:gd name="connsiteX2" fmla="*/ 1483279 w 1903760"/>
                <a:gd name="connsiteY2" fmla="*/ 126170 h 1577399"/>
                <a:gd name="connsiteX3" fmla="*/ 1311941 w 1903760"/>
                <a:gd name="connsiteY3" fmla="*/ 58178 h 1577399"/>
                <a:gd name="connsiteX4" fmla="*/ 1078050 w 1903760"/>
                <a:gd name="connsiteY4" fmla="*/ 205040 h 1577399"/>
                <a:gd name="connsiteX5" fmla="*/ 846879 w 1903760"/>
                <a:gd name="connsiteY5" fmla="*/ 523239 h 1577399"/>
                <a:gd name="connsiteX6" fmla="*/ 645624 w 1903760"/>
                <a:gd name="connsiteY6" fmla="*/ 210479 h 1577399"/>
                <a:gd name="connsiteX7" fmla="*/ 455248 w 1903760"/>
                <a:gd name="connsiteY7" fmla="*/ 63617 h 1577399"/>
                <a:gd name="connsiteX8" fmla="*/ 234956 w 1903760"/>
                <a:gd name="connsiteY8" fmla="*/ 137048 h 1577399"/>
                <a:gd name="connsiteX9" fmla="*/ 316546 w 1903760"/>
                <a:gd name="connsiteY9" fmla="*/ 588511 h 1577399"/>
                <a:gd name="connsiteX10" fmla="*/ 58178 w 1903760"/>
                <a:gd name="connsiteY10" fmla="*/ 1072610 h 1577399"/>
                <a:gd name="connsiteX11" fmla="*/ 474286 w 1903760"/>
                <a:gd name="connsiteY11" fmla="*/ 1020936 h 1577399"/>
                <a:gd name="connsiteX12" fmla="*/ 555876 w 1903760"/>
                <a:gd name="connsiteY12" fmla="*/ 572193 h 1577399"/>
                <a:gd name="connsiteX13" fmla="*/ 830561 w 1903760"/>
                <a:gd name="connsiteY13" fmla="*/ 993740 h 1577399"/>
                <a:gd name="connsiteX14" fmla="*/ 1140602 w 1903760"/>
                <a:gd name="connsiteY14" fmla="*/ 574913 h 1577399"/>
                <a:gd name="connsiteX15" fmla="*/ 1567589 w 1903760"/>
                <a:gd name="connsiteY15" fmla="*/ 1526792 h 1577399"/>
                <a:gd name="connsiteX16" fmla="*/ 1866751 w 1903760"/>
                <a:gd name="connsiteY16" fmla="*/ 1322818 h 1577399"/>
                <a:gd name="connsiteX17" fmla="*/ 1559430 w 1903760"/>
                <a:gd name="connsiteY17" fmla="*/ 1165078 h 15773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903760" h="1577399">
                  <a:moveTo>
                    <a:pt x="1559430" y="1165078"/>
                  </a:moveTo>
                  <a:cubicBezTo>
                    <a:pt x="1420727" y="1012777"/>
                    <a:pt x="1377213" y="762569"/>
                    <a:pt x="1369054" y="593950"/>
                  </a:cubicBezTo>
                  <a:cubicBezTo>
                    <a:pt x="1360895" y="449809"/>
                    <a:pt x="1369054" y="199600"/>
                    <a:pt x="1483279" y="126170"/>
                  </a:cubicBezTo>
                  <a:cubicBezTo>
                    <a:pt x="1445204" y="77216"/>
                    <a:pt x="1369054" y="58178"/>
                    <a:pt x="1311941" y="58178"/>
                  </a:cubicBezTo>
                  <a:cubicBezTo>
                    <a:pt x="1184117" y="58178"/>
                    <a:pt x="1121565" y="142488"/>
                    <a:pt x="1078050" y="205040"/>
                  </a:cubicBezTo>
                  <a:cubicBezTo>
                    <a:pt x="1064452" y="224077"/>
                    <a:pt x="846879" y="523239"/>
                    <a:pt x="846879" y="523239"/>
                  </a:cubicBezTo>
                  <a:cubicBezTo>
                    <a:pt x="846879" y="523239"/>
                    <a:pt x="667382" y="243115"/>
                    <a:pt x="645624" y="210479"/>
                  </a:cubicBezTo>
                  <a:cubicBezTo>
                    <a:pt x="615708" y="164245"/>
                    <a:pt x="555876" y="77216"/>
                    <a:pt x="455248" y="63617"/>
                  </a:cubicBezTo>
                  <a:cubicBezTo>
                    <a:pt x="411734" y="58178"/>
                    <a:pt x="297508" y="52739"/>
                    <a:pt x="234956" y="137048"/>
                  </a:cubicBezTo>
                  <a:cubicBezTo>
                    <a:pt x="341023" y="221357"/>
                    <a:pt x="338303" y="438930"/>
                    <a:pt x="316546" y="588511"/>
                  </a:cubicBezTo>
                  <a:cubicBezTo>
                    <a:pt x="248554" y="1031815"/>
                    <a:pt x="58178" y="1072610"/>
                    <a:pt x="58178" y="1072610"/>
                  </a:cubicBezTo>
                  <a:cubicBezTo>
                    <a:pt x="156086" y="1333696"/>
                    <a:pt x="403575" y="1230350"/>
                    <a:pt x="474286" y="1020936"/>
                  </a:cubicBezTo>
                  <a:cubicBezTo>
                    <a:pt x="520520" y="884953"/>
                    <a:pt x="550436" y="713615"/>
                    <a:pt x="555876" y="572193"/>
                  </a:cubicBezTo>
                  <a:lnTo>
                    <a:pt x="830561" y="993740"/>
                  </a:lnTo>
                  <a:cubicBezTo>
                    <a:pt x="830561" y="993740"/>
                    <a:pt x="1140602" y="574913"/>
                    <a:pt x="1140602" y="574913"/>
                  </a:cubicBezTo>
                  <a:cubicBezTo>
                    <a:pt x="1088929" y="1314659"/>
                    <a:pt x="1344577" y="1526792"/>
                    <a:pt x="1567589" y="1526792"/>
                  </a:cubicBezTo>
                  <a:cubicBezTo>
                    <a:pt x="1790601" y="1526792"/>
                    <a:pt x="1866751" y="1322818"/>
                    <a:pt x="1866751" y="1322818"/>
                  </a:cubicBezTo>
                  <a:cubicBezTo>
                    <a:pt x="1744367" y="1314659"/>
                    <a:pt x="1641019" y="1252107"/>
                    <a:pt x="1559430" y="1165078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DF8068D5-9178-44A0-AAEB-6F35EED63A67}"/>
                </a:ext>
              </a:extLst>
            </p:cNvPr>
            <p:cNvSpPr/>
            <p:nvPr/>
          </p:nvSpPr>
          <p:spPr>
            <a:xfrm>
              <a:off x="4792218" y="3234839"/>
              <a:ext cx="271966" cy="652717"/>
            </a:xfrm>
            <a:custGeom>
              <a:avLst/>
              <a:gdLst>
                <a:gd name="connsiteX0" fmla="*/ 88095 w 271965"/>
                <a:gd name="connsiteY0" fmla="*/ 120730 h 652717"/>
                <a:gd name="connsiteX1" fmla="*/ 93534 w 271965"/>
                <a:gd name="connsiteY1" fmla="*/ 153366 h 652717"/>
                <a:gd name="connsiteX2" fmla="*/ 93534 w 271965"/>
                <a:gd name="connsiteY2" fmla="*/ 544997 h 652717"/>
                <a:gd name="connsiteX3" fmla="*/ 156086 w 271965"/>
                <a:gd name="connsiteY3" fmla="*/ 604829 h 652717"/>
                <a:gd name="connsiteX4" fmla="*/ 221358 w 271965"/>
                <a:gd name="connsiteY4" fmla="*/ 544997 h 652717"/>
                <a:gd name="connsiteX5" fmla="*/ 221358 w 271965"/>
                <a:gd name="connsiteY5" fmla="*/ 194161 h 652717"/>
                <a:gd name="connsiteX6" fmla="*/ 210479 w 271965"/>
                <a:gd name="connsiteY6" fmla="*/ 109852 h 652717"/>
                <a:gd name="connsiteX7" fmla="*/ 118011 w 271965"/>
                <a:gd name="connsiteY7" fmla="*/ 58178 h 652717"/>
                <a:gd name="connsiteX8" fmla="*/ 58178 w 271965"/>
                <a:gd name="connsiteY8" fmla="*/ 88094 h 652717"/>
                <a:gd name="connsiteX9" fmla="*/ 88095 w 271965"/>
                <a:gd name="connsiteY9" fmla="*/ 120730 h 6527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71965" h="652717">
                  <a:moveTo>
                    <a:pt x="88095" y="120730"/>
                  </a:moveTo>
                  <a:cubicBezTo>
                    <a:pt x="90814" y="131609"/>
                    <a:pt x="90814" y="142487"/>
                    <a:pt x="93534" y="153366"/>
                  </a:cubicBezTo>
                  <a:cubicBezTo>
                    <a:pt x="93534" y="156086"/>
                    <a:pt x="93534" y="542277"/>
                    <a:pt x="93534" y="544997"/>
                  </a:cubicBezTo>
                  <a:cubicBezTo>
                    <a:pt x="93534" y="577632"/>
                    <a:pt x="123450" y="604829"/>
                    <a:pt x="156086" y="604829"/>
                  </a:cubicBezTo>
                  <a:cubicBezTo>
                    <a:pt x="188722" y="607548"/>
                    <a:pt x="221358" y="577632"/>
                    <a:pt x="221358" y="544997"/>
                  </a:cubicBezTo>
                  <a:cubicBezTo>
                    <a:pt x="221358" y="539557"/>
                    <a:pt x="221358" y="194161"/>
                    <a:pt x="221358" y="194161"/>
                  </a:cubicBezTo>
                  <a:cubicBezTo>
                    <a:pt x="221358" y="164245"/>
                    <a:pt x="224078" y="134329"/>
                    <a:pt x="210479" y="109852"/>
                  </a:cubicBezTo>
                  <a:cubicBezTo>
                    <a:pt x="196881" y="79935"/>
                    <a:pt x="158806" y="58178"/>
                    <a:pt x="118011" y="58178"/>
                  </a:cubicBezTo>
                  <a:cubicBezTo>
                    <a:pt x="79936" y="58178"/>
                    <a:pt x="58178" y="88094"/>
                    <a:pt x="58178" y="88094"/>
                  </a:cubicBezTo>
                  <a:cubicBezTo>
                    <a:pt x="58178" y="88094"/>
                    <a:pt x="77216" y="93534"/>
                    <a:pt x="88095" y="120730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/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CE3593E3-C1E4-4BBB-8B41-202BB57C5F6D}"/>
                </a:ext>
              </a:extLst>
            </p:cNvPr>
            <p:cNvSpPr/>
            <p:nvPr/>
          </p:nvSpPr>
          <p:spPr>
            <a:xfrm>
              <a:off x="8751819" y="3234667"/>
              <a:ext cx="271966" cy="652717"/>
            </a:xfrm>
            <a:custGeom>
              <a:avLst/>
              <a:gdLst>
                <a:gd name="connsiteX0" fmla="*/ 191663 w 271965"/>
                <a:gd name="connsiteY0" fmla="*/ 542449 h 652717"/>
                <a:gd name="connsiteX1" fmla="*/ 186224 w 271965"/>
                <a:gd name="connsiteY1" fmla="*/ 509813 h 652717"/>
                <a:gd name="connsiteX2" fmla="*/ 186224 w 271965"/>
                <a:gd name="connsiteY2" fmla="*/ 118183 h 652717"/>
                <a:gd name="connsiteX3" fmla="*/ 123672 w 271965"/>
                <a:gd name="connsiteY3" fmla="*/ 58350 h 652717"/>
                <a:gd name="connsiteX4" fmla="*/ 58400 w 271965"/>
                <a:gd name="connsiteY4" fmla="*/ 118183 h 652717"/>
                <a:gd name="connsiteX5" fmla="*/ 58400 w 271965"/>
                <a:gd name="connsiteY5" fmla="*/ 469018 h 652717"/>
                <a:gd name="connsiteX6" fmla="*/ 69279 w 271965"/>
                <a:gd name="connsiteY6" fmla="*/ 553328 h 652717"/>
                <a:gd name="connsiteX7" fmla="*/ 161747 w 271965"/>
                <a:gd name="connsiteY7" fmla="*/ 605001 h 652717"/>
                <a:gd name="connsiteX8" fmla="*/ 221580 w 271965"/>
                <a:gd name="connsiteY8" fmla="*/ 575085 h 652717"/>
                <a:gd name="connsiteX9" fmla="*/ 191663 w 271965"/>
                <a:gd name="connsiteY9" fmla="*/ 542449 h 6527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71965" h="652717">
                  <a:moveTo>
                    <a:pt x="191663" y="542449"/>
                  </a:moveTo>
                  <a:cubicBezTo>
                    <a:pt x="188944" y="531570"/>
                    <a:pt x="186224" y="520692"/>
                    <a:pt x="186224" y="509813"/>
                  </a:cubicBezTo>
                  <a:cubicBezTo>
                    <a:pt x="186224" y="507093"/>
                    <a:pt x="186224" y="120902"/>
                    <a:pt x="186224" y="118183"/>
                  </a:cubicBezTo>
                  <a:cubicBezTo>
                    <a:pt x="186224" y="85547"/>
                    <a:pt x="156308" y="58350"/>
                    <a:pt x="123672" y="58350"/>
                  </a:cubicBezTo>
                  <a:cubicBezTo>
                    <a:pt x="91036" y="55631"/>
                    <a:pt x="58400" y="85547"/>
                    <a:pt x="58400" y="118183"/>
                  </a:cubicBezTo>
                  <a:cubicBezTo>
                    <a:pt x="58400" y="123622"/>
                    <a:pt x="58400" y="469018"/>
                    <a:pt x="58400" y="469018"/>
                  </a:cubicBezTo>
                  <a:cubicBezTo>
                    <a:pt x="58400" y="498934"/>
                    <a:pt x="55680" y="528851"/>
                    <a:pt x="69279" y="553328"/>
                  </a:cubicBezTo>
                  <a:cubicBezTo>
                    <a:pt x="82877" y="583244"/>
                    <a:pt x="120953" y="605001"/>
                    <a:pt x="161747" y="605001"/>
                  </a:cubicBezTo>
                  <a:cubicBezTo>
                    <a:pt x="199822" y="605001"/>
                    <a:pt x="221580" y="575085"/>
                    <a:pt x="221580" y="575085"/>
                  </a:cubicBezTo>
                  <a:cubicBezTo>
                    <a:pt x="221580" y="575085"/>
                    <a:pt x="202542" y="566926"/>
                    <a:pt x="191663" y="542449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5BB18E18-DA27-4B34-9C93-966E6D88235F}"/>
                </a:ext>
              </a:extLst>
            </p:cNvPr>
            <p:cNvSpPr/>
            <p:nvPr/>
          </p:nvSpPr>
          <p:spPr>
            <a:xfrm>
              <a:off x="6320666" y="3416868"/>
              <a:ext cx="435145" cy="462341"/>
            </a:xfrm>
            <a:custGeom>
              <a:avLst/>
              <a:gdLst>
                <a:gd name="connsiteX0" fmla="*/ 302948 w 435145"/>
                <a:gd name="connsiteY0" fmla="*/ 74684 h 462341"/>
                <a:gd name="connsiteX1" fmla="*/ 186003 w 435145"/>
                <a:gd name="connsiteY1" fmla="*/ 148115 h 462341"/>
                <a:gd name="connsiteX2" fmla="*/ 186003 w 435145"/>
                <a:gd name="connsiteY2" fmla="*/ 148115 h 462341"/>
                <a:gd name="connsiteX3" fmla="*/ 186003 w 435145"/>
                <a:gd name="connsiteY3" fmla="*/ 115479 h 462341"/>
                <a:gd name="connsiteX4" fmla="*/ 123450 w 435145"/>
                <a:gd name="connsiteY4" fmla="*/ 58366 h 462341"/>
                <a:gd name="connsiteX5" fmla="*/ 58178 w 435145"/>
                <a:gd name="connsiteY5" fmla="*/ 115479 h 462341"/>
                <a:gd name="connsiteX6" fmla="*/ 58178 w 435145"/>
                <a:gd name="connsiteY6" fmla="*/ 362967 h 462341"/>
                <a:gd name="connsiteX7" fmla="*/ 120730 w 435145"/>
                <a:gd name="connsiteY7" fmla="*/ 422800 h 462341"/>
                <a:gd name="connsiteX8" fmla="*/ 186003 w 435145"/>
                <a:gd name="connsiteY8" fmla="*/ 362967 h 462341"/>
                <a:gd name="connsiteX9" fmla="*/ 186003 w 435145"/>
                <a:gd name="connsiteY9" fmla="*/ 213386 h 462341"/>
                <a:gd name="connsiteX10" fmla="*/ 186003 w 435145"/>
                <a:gd name="connsiteY10" fmla="*/ 213386 h 462341"/>
                <a:gd name="connsiteX11" fmla="*/ 229517 w 435145"/>
                <a:gd name="connsiteY11" fmla="*/ 161713 h 462341"/>
                <a:gd name="connsiteX12" fmla="*/ 259433 w 435145"/>
                <a:gd name="connsiteY12" fmla="*/ 194349 h 462341"/>
                <a:gd name="connsiteX13" fmla="*/ 259433 w 435145"/>
                <a:gd name="connsiteY13" fmla="*/ 362967 h 462341"/>
                <a:gd name="connsiteX14" fmla="*/ 321985 w 435145"/>
                <a:gd name="connsiteY14" fmla="*/ 422800 h 462341"/>
                <a:gd name="connsiteX15" fmla="*/ 387257 w 435145"/>
                <a:gd name="connsiteY15" fmla="*/ 362967 h 462341"/>
                <a:gd name="connsiteX16" fmla="*/ 387257 w 435145"/>
                <a:gd name="connsiteY16" fmla="*/ 273219 h 462341"/>
                <a:gd name="connsiteX17" fmla="*/ 302948 w 435145"/>
                <a:gd name="connsiteY17" fmla="*/ 74684 h 4623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435145" h="462341">
                  <a:moveTo>
                    <a:pt x="302948" y="74684"/>
                  </a:moveTo>
                  <a:cubicBezTo>
                    <a:pt x="234956" y="74684"/>
                    <a:pt x="196881" y="131797"/>
                    <a:pt x="186003" y="148115"/>
                  </a:cubicBezTo>
                  <a:lnTo>
                    <a:pt x="186003" y="148115"/>
                  </a:lnTo>
                  <a:cubicBezTo>
                    <a:pt x="186003" y="129077"/>
                    <a:pt x="186003" y="115479"/>
                    <a:pt x="186003" y="115479"/>
                  </a:cubicBezTo>
                  <a:cubicBezTo>
                    <a:pt x="186003" y="82843"/>
                    <a:pt x="156086" y="58366"/>
                    <a:pt x="123450" y="58366"/>
                  </a:cubicBezTo>
                  <a:cubicBezTo>
                    <a:pt x="90814" y="55646"/>
                    <a:pt x="58178" y="82843"/>
                    <a:pt x="58178" y="115479"/>
                  </a:cubicBezTo>
                  <a:cubicBezTo>
                    <a:pt x="58178" y="120918"/>
                    <a:pt x="58178" y="360248"/>
                    <a:pt x="58178" y="362967"/>
                  </a:cubicBezTo>
                  <a:cubicBezTo>
                    <a:pt x="58178" y="395603"/>
                    <a:pt x="88095" y="422800"/>
                    <a:pt x="120730" y="422800"/>
                  </a:cubicBezTo>
                  <a:cubicBezTo>
                    <a:pt x="153366" y="425519"/>
                    <a:pt x="186003" y="395603"/>
                    <a:pt x="186003" y="362967"/>
                  </a:cubicBezTo>
                  <a:cubicBezTo>
                    <a:pt x="186003" y="360248"/>
                    <a:pt x="186003" y="281378"/>
                    <a:pt x="186003" y="213386"/>
                  </a:cubicBezTo>
                  <a:lnTo>
                    <a:pt x="186003" y="213386"/>
                  </a:lnTo>
                  <a:cubicBezTo>
                    <a:pt x="191442" y="186190"/>
                    <a:pt x="205040" y="161713"/>
                    <a:pt x="229517" y="161713"/>
                  </a:cubicBezTo>
                  <a:cubicBezTo>
                    <a:pt x="259433" y="161713"/>
                    <a:pt x="259433" y="194349"/>
                    <a:pt x="259433" y="194349"/>
                  </a:cubicBezTo>
                  <a:lnTo>
                    <a:pt x="259433" y="362967"/>
                  </a:lnTo>
                  <a:cubicBezTo>
                    <a:pt x="259433" y="395603"/>
                    <a:pt x="289349" y="422800"/>
                    <a:pt x="321985" y="422800"/>
                  </a:cubicBezTo>
                  <a:cubicBezTo>
                    <a:pt x="354621" y="425519"/>
                    <a:pt x="387257" y="395603"/>
                    <a:pt x="387257" y="362967"/>
                  </a:cubicBezTo>
                  <a:lnTo>
                    <a:pt x="387257" y="273219"/>
                  </a:lnTo>
                  <a:cubicBezTo>
                    <a:pt x="387257" y="183470"/>
                    <a:pt x="395416" y="71964"/>
                    <a:pt x="302948" y="74684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7499867C-A199-4323-96E0-4E372C32987F}"/>
                </a:ext>
              </a:extLst>
            </p:cNvPr>
            <p:cNvSpPr/>
            <p:nvPr/>
          </p:nvSpPr>
          <p:spPr>
            <a:xfrm>
              <a:off x="7960620" y="3416868"/>
              <a:ext cx="435145" cy="462341"/>
            </a:xfrm>
            <a:custGeom>
              <a:avLst/>
              <a:gdLst>
                <a:gd name="connsiteX0" fmla="*/ 302948 w 435145"/>
                <a:gd name="connsiteY0" fmla="*/ 74684 h 462341"/>
                <a:gd name="connsiteX1" fmla="*/ 186002 w 435145"/>
                <a:gd name="connsiteY1" fmla="*/ 148115 h 462341"/>
                <a:gd name="connsiteX2" fmla="*/ 186002 w 435145"/>
                <a:gd name="connsiteY2" fmla="*/ 148115 h 462341"/>
                <a:gd name="connsiteX3" fmla="*/ 186002 w 435145"/>
                <a:gd name="connsiteY3" fmla="*/ 115479 h 462341"/>
                <a:gd name="connsiteX4" fmla="*/ 123450 w 435145"/>
                <a:gd name="connsiteY4" fmla="*/ 58366 h 462341"/>
                <a:gd name="connsiteX5" fmla="*/ 58178 w 435145"/>
                <a:gd name="connsiteY5" fmla="*/ 115479 h 462341"/>
                <a:gd name="connsiteX6" fmla="*/ 58178 w 435145"/>
                <a:gd name="connsiteY6" fmla="*/ 362967 h 462341"/>
                <a:gd name="connsiteX7" fmla="*/ 120730 w 435145"/>
                <a:gd name="connsiteY7" fmla="*/ 422800 h 462341"/>
                <a:gd name="connsiteX8" fmla="*/ 186002 w 435145"/>
                <a:gd name="connsiteY8" fmla="*/ 362967 h 462341"/>
                <a:gd name="connsiteX9" fmla="*/ 186002 w 435145"/>
                <a:gd name="connsiteY9" fmla="*/ 213386 h 462341"/>
                <a:gd name="connsiteX10" fmla="*/ 186002 w 435145"/>
                <a:gd name="connsiteY10" fmla="*/ 213386 h 462341"/>
                <a:gd name="connsiteX11" fmla="*/ 229517 w 435145"/>
                <a:gd name="connsiteY11" fmla="*/ 161713 h 462341"/>
                <a:gd name="connsiteX12" fmla="*/ 259433 w 435145"/>
                <a:gd name="connsiteY12" fmla="*/ 194349 h 462341"/>
                <a:gd name="connsiteX13" fmla="*/ 259433 w 435145"/>
                <a:gd name="connsiteY13" fmla="*/ 362967 h 462341"/>
                <a:gd name="connsiteX14" fmla="*/ 321985 w 435145"/>
                <a:gd name="connsiteY14" fmla="*/ 422800 h 462341"/>
                <a:gd name="connsiteX15" fmla="*/ 387257 w 435145"/>
                <a:gd name="connsiteY15" fmla="*/ 362967 h 462341"/>
                <a:gd name="connsiteX16" fmla="*/ 387257 w 435145"/>
                <a:gd name="connsiteY16" fmla="*/ 273219 h 462341"/>
                <a:gd name="connsiteX17" fmla="*/ 302948 w 435145"/>
                <a:gd name="connsiteY17" fmla="*/ 74684 h 4623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435145" h="462341">
                  <a:moveTo>
                    <a:pt x="302948" y="74684"/>
                  </a:moveTo>
                  <a:cubicBezTo>
                    <a:pt x="234956" y="74684"/>
                    <a:pt x="196881" y="131797"/>
                    <a:pt x="186002" y="148115"/>
                  </a:cubicBezTo>
                  <a:lnTo>
                    <a:pt x="186002" y="148115"/>
                  </a:lnTo>
                  <a:cubicBezTo>
                    <a:pt x="186002" y="129077"/>
                    <a:pt x="186002" y="115479"/>
                    <a:pt x="186002" y="115479"/>
                  </a:cubicBezTo>
                  <a:cubicBezTo>
                    <a:pt x="186002" y="82843"/>
                    <a:pt x="156086" y="58366"/>
                    <a:pt x="123450" y="58366"/>
                  </a:cubicBezTo>
                  <a:cubicBezTo>
                    <a:pt x="90814" y="55646"/>
                    <a:pt x="58178" y="82843"/>
                    <a:pt x="58178" y="115479"/>
                  </a:cubicBezTo>
                  <a:cubicBezTo>
                    <a:pt x="58178" y="120918"/>
                    <a:pt x="58178" y="360248"/>
                    <a:pt x="58178" y="362967"/>
                  </a:cubicBezTo>
                  <a:cubicBezTo>
                    <a:pt x="58178" y="395603"/>
                    <a:pt x="88095" y="422800"/>
                    <a:pt x="120730" y="422800"/>
                  </a:cubicBezTo>
                  <a:cubicBezTo>
                    <a:pt x="153366" y="425519"/>
                    <a:pt x="186002" y="395603"/>
                    <a:pt x="186002" y="362967"/>
                  </a:cubicBezTo>
                  <a:cubicBezTo>
                    <a:pt x="186002" y="360248"/>
                    <a:pt x="186002" y="281378"/>
                    <a:pt x="186002" y="213386"/>
                  </a:cubicBezTo>
                  <a:lnTo>
                    <a:pt x="186002" y="213386"/>
                  </a:lnTo>
                  <a:cubicBezTo>
                    <a:pt x="191442" y="186190"/>
                    <a:pt x="205040" y="161713"/>
                    <a:pt x="229517" y="161713"/>
                  </a:cubicBezTo>
                  <a:cubicBezTo>
                    <a:pt x="259433" y="161713"/>
                    <a:pt x="259433" y="194349"/>
                    <a:pt x="259433" y="194349"/>
                  </a:cubicBezTo>
                  <a:lnTo>
                    <a:pt x="259433" y="362967"/>
                  </a:lnTo>
                  <a:cubicBezTo>
                    <a:pt x="259433" y="395603"/>
                    <a:pt x="289349" y="422800"/>
                    <a:pt x="321985" y="422800"/>
                  </a:cubicBezTo>
                  <a:cubicBezTo>
                    <a:pt x="354621" y="425519"/>
                    <a:pt x="387257" y="395603"/>
                    <a:pt x="387257" y="362967"/>
                  </a:cubicBezTo>
                  <a:lnTo>
                    <a:pt x="387257" y="273219"/>
                  </a:lnTo>
                  <a:cubicBezTo>
                    <a:pt x="384537" y="183470"/>
                    <a:pt x="395416" y="71964"/>
                    <a:pt x="302948" y="74684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BF5424D8-84CB-4710-93EA-67FB2CF29EAF}"/>
                </a:ext>
              </a:extLst>
            </p:cNvPr>
            <p:cNvSpPr/>
            <p:nvPr/>
          </p:nvSpPr>
          <p:spPr>
            <a:xfrm>
              <a:off x="5020669" y="3416868"/>
              <a:ext cx="435145" cy="462341"/>
            </a:xfrm>
            <a:custGeom>
              <a:avLst/>
              <a:gdLst>
                <a:gd name="connsiteX0" fmla="*/ 302948 w 435145"/>
                <a:gd name="connsiteY0" fmla="*/ 74684 h 462341"/>
                <a:gd name="connsiteX1" fmla="*/ 186002 w 435145"/>
                <a:gd name="connsiteY1" fmla="*/ 148115 h 462341"/>
                <a:gd name="connsiteX2" fmla="*/ 186002 w 435145"/>
                <a:gd name="connsiteY2" fmla="*/ 148115 h 462341"/>
                <a:gd name="connsiteX3" fmla="*/ 186002 w 435145"/>
                <a:gd name="connsiteY3" fmla="*/ 115479 h 462341"/>
                <a:gd name="connsiteX4" fmla="*/ 123450 w 435145"/>
                <a:gd name="connsiteY4" fmla="*/ 58366 h 462341"/>
                <a:gd name="connsiteX5" fmla="*/ 58178 w 435145"/>
                <a:gd name="connsiteY5" fmla="*/ 115479 h 462341"/>
                <a:gd name="connsiteX6" fmla="*/ 58178 w 435145"/>
                <a:gd name="connsiteY6" fmla="*/ 362967 h 462341"/>
                <a:gd name="connsiteX7" fmla="*/ 120730 w 435145"/>
                <a:gd name="connsiteY7" fmla="*/ 422800 h 462341"/>
                <a:gd name="connsiteX8" fmla="*/ 186002 w 435145"/>
                <a:gd name="connsiteY8" fmla="*/ 362967 h 462341"/>
                <a:gd name="connsiteX9" fmla="*/ 186002 w 435145"/>
                <a:gd name="connsiteY9" fmla="*/ 213386 h 462341"/>
                <a:gd name="connsiteX10" fmla="*/ 186002 w 435145"/>
                <a:gd name="connsiteY10" fmla="*/ 213386 h 462341"/>
                <a:gd name="connsiteX11" fmla="*/ 229517 w 435145"/>
                <a:gd name="connsiteY11" fmla="*/ 161713 h 462341"/>
                <a:gd name="connsiteX12" fmla="*/ 259433 w 435145"/>
                <a:gd name="connsiteY12" fmla="*/ 194349 h 462341"/>
                <a:gd name="connsiteX13" fmla="*/ 259433 w 435145"/>
                <a:gd name="connsiteY13" fmla="*/ 362967 h 462341"/>
                <a:gd name="connsiteX14" fmla="*/ 321985 w 435145"/>
                <a:gd name="connsiteY14" fmla="*/ 422800 h 462341"/>
                <a:gd name="connsiteX15" fmla="*/ 387257 w 435145"/>
                <a:gd name="connsiteY15" fmla="*/ 362967 h 462341"/>
                <a:gd name="connsiteX16" fmla="*/ 387257 w 435145"/>
                <a:gd name="connsiteY16" fmla="*/ 273219 h 462341"/>
                <a:gd name="connsiteX17" fmla="*/ 302948 w 435145"/>
                <a:gd name="connsiteY17" fmla="*/ 74684 h 4623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435145" h="462341">
                  <a:moveTo>
                    <a:pt x="302948" y="74684"/>
                  </a:moveTo>
                  <a:cubicBezTo>
                    <a:pt x="234956" y="74684"/>
                    <a:pt x="196881" y="131797"/>
                    <a:pt x="186002" y="148115"/>
                  </a:cubicBezTo>
                  <a:lnTo>
                    <a:pt x="186002" y="148115"/>
                  </a:lnTo>
                  <a:cubicBezTo>
                    <a:pt x="186002" y="129077"/>
                    <a:pt x="186002" y="115479"/>
                    <a:pt x="186002" y="115479"/>
                  </a:cubicBezTo>
                  <a:cubicBezTo>
                    <a:pt x="186002" y="82843"/>
                    <a:pt x="156086" y="58366"/>
                    <a:pt x="123450" y="58366"/>
                  </a:cubicBezTo>
                  <a:cubicBezTo>
                    <a:pt x="90814" y="55646"/>
                    <a:pt x="58178" y="82843"/>
                    <a:pt x="58178" y="115479"/>
                  </a:cubicBezTo>
                  <a:cubicBezTo>
                    <a:pt x="58178" y="120918"/>
                    <a:pt x="58178" y="360248"/>
                    <a:pt x="58178" y="362967"/>
                  </a:cubicBezTo>
                  <a:cubicBezTo>
                    <a:pt x="58178" y="395603"/>
                    <a:pt x="88094" y="422800"/>
                    <a:pt x="120730" y="422800"/>
                  </a:cubicBezTo>
                  <a:cubicBezTo>
                    <a:pt x="153366" y="425519"/>
                    <a:pt x="186002" y="395603"/>
                    <a:pt x="186002" y="362967"/>
                  </a:cubicBezTo>
                  <a:cubicBezTo>
                    <a:pt x="186002" y="360248"/>
                    <a:pt x="186002" y="281378"/>
                    <a:pt x="186002" y="213386"/>
                  </a:cubicBezTo>
                  <a:lnTo>
                    <a:pt x="186002" y="213386"/>
                  </a:lnTo>
                  <a:cubicBezTo>
                    <a:pt x="191442" y="186190"/>
                    <a:pt x="205040" y="161713"/>
                    <a:pt x="229517" y="161713"/>
                  </a:cubicBezTo>
                  <a:cubicBezTo>
                    <a:pt x="259433" y="161713"/>
                    <a:pt x="259433" y="194349"/>
                    <a:pt x="259433" y="194349"/>
                  </a:cubicBezTo>
                  <a:lnTo>
                    <a:pt x="259433" y="362967"/>
                  </a:lnTo>
                  <a:cubicBezTo>
                    <a:pt x="259433" y="395603"/>
                    <a:pt x="289349" y="422800"/>
                    <a:pt x="321985" y="422800"/>
                  </a:cubicBezTo>
                  <a:cubicBezTo>
                    <a:pt x="354621" y="425519"/>
                    <a:pt x="387257" y="395603"/>
                    <a:pt x="387257" y="362967"/>
                  </a:cubicBezTo>
                  <a:lnTo>
                    <a:pt x="387257" y="273219"/>
                  </a:lnTo>
                  <a:cubicBezTo>
                    <a:pt x="384537" y="183470"/>
                    <a:pt x="395416" y="71964"/>
                    <a:pt x="302948" y="74684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7DDB42FA-72B7-4EC6-8731-88363F1EC79A}"/>
                </a:ext>
              </a:extLst>
            </p:cNvPr>
            <p:cNvSpPr/>
            <p:nvPr/>
          </p:nvSpPr>
          <p:spPr>
            <a:xfrm>
              <a:off x="7616289" y="3475234"/>
              <a:ext cx="364436" cy="364434"/>
            </a:xfrm>
            <a:custGeom>
              <a:avLst/>
              <a:gdLst>
                <a:gd name="connsiteX0" fmla="*/ 182218 w 364436"/>
                <a:gd name="connsiteY0" fmla="*/ 73431 h 364434"/>
                <a:gd name="connsiteX1" fmla="*/ 130544 w 364436"/>
                <a:gd name="connsiteY1" fmla="*/ 179499 h 364434"/>
                <a:gd name="connsiteX2" fmla="*/ 182218 w 364436"/>
                <a:gd name="connsiteY2" fmla="*/ 285565 h 364434"/>
                <a:gd name="connsiteX3" fmla="*/ 233891 w 364436"/>
                <a:gd name="connsiteY3" fmla="*/ 179499 h 364434"/>
                <a:gd name="connsiteX4" fmla="*/ 182218 w 364436"/>
                <a:gd name="connsiteY4" fmla="*/ 73431 h 364434"/>
                <a:gd name="connsiteX5" fmla="*/ 182219 w 364436"/>
                <a:gd name="connsiteY5" fmla="*/ 0 h 364434"/>
                <a:gd name="connsiteX6" fmla="*/ 364436 w 364436"/>
                <a:gd name="connsiteY6" fmla="*/ 182217 h 364434"/>
                <a:gd name="connsiteX7" fmla="*/ 182219 w 364436"/>
                <a:gd name="connsiteY7" fmla="*/ 364434 h 364434"/>
                <a:gd name="connsiteX8" fmla="*/ 0 w 364436"/>
                <a:gd name="connsiteY8" fmla="*/ 182217 h 364434"/>
                <a:gd name="connsiteX9" fmla="*/ 182219 w 364436"/>
                <a:gd name="connsiteY9" fmla="*/ 0 h 3644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64436" h="364434">
                  <a:moveTo>
                    <a:pt x="182218" y="73431"/>
                  </a:moveTo>
                  <a:cubicBezTo>
                    <a:pt x="152302" y="76151"/>
                    <a:pt x="130544" y="114226"/>
                    <a:pt x="130544" y="179499"/>
                  </a:cubicBezTo>
                  <a:cubicBezTo>
                    <a:pt x="130544" y="244770"/>
                    <a:pt x="146862" y="285565"/>
                    <a:pt x="182218" y="285565"/>
                  </a:cubicBezTo>
                  <a:cubicBezTo>
                    <a:pt x="217573" y="285565"/>
                    <a:pt x="233891" y="247490"/>
                    <a:pt x="233891" y="179499"/>
                  </a:cubicBezTo>
                  <a:cubicBezTo>
                    <a:pt x="233891" y="114226"/>
                    <a:pt x="212134" y="73431"/>
                    <a:pt x="182218" y="73431"/>
                  </a:cubicBezTo>
                  <a:close/>
                  <a:moveTo>
                    <a:pt x="182219" y="0"/>
                  </a:moveTo>
                  <a:cubicBezTo>
                    <a:pt x="282846" y="0"/>
                    <a:pt x="364436" y="81590"/>
                    <a:pt x="364436" y="182217"/>
                  </a:cubicBezTo>
                  <a:cubicBezTo>
                    <a:pt x="364436" y="282844"/>
                    <a:pt x="282846" y="364434"/>
                    <a:pt x="182219" y="364434"/>
                  </a:cubicBezTo>
                  <a:cubicBezTo>
                    <a:pt x="81591" y="364434"/>
                    <a:pt x="0" y="282844"/>
                    <a:pt x="0" y="182217"/>
                  </a:cubicBezTo>
                  <a:cubicBezTo>
                    <a:pt x="0" y="81590"/>
                    <a:pt x="81591" y="0"/>
                    <a:pt x="182219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178809C4-0D47-4B10-9CB8-45403FAB078D}"/>
                </a:ext>
              </a:extLst>
            </p:cNvPr>
            <p:cNvSpPr/>
            <p:nvPr/>
          </p:nvSpPr>
          <p:spPr>
            <a:xfrm>
              <a:off x="6743101" y="3464184"/>
              <a:ext cx="372773" cy="375657"/>
            </a:xfrm>
            <a:custGeom>
              <a:avLst/>
              <a:gdLst>
                <a:gd name="connsiteX0" fmla="*/ 176958 w 372773"/>
                <a:gd name="connsiteY0" fmla="*/ 98080 h 375657"/>
                <a:gd name="connsiteX1" fmla="*/ 125284 w 372773"/>
                <a:gd name="connsiteY1" fmla="*/ 190548 h 375657"/>
                <a:gd name="connsiteX2" fmla="*/ 176958 w 372773"/>
                <a:gd name="connsiteY2" fmla="*/ 283017 h 375657"/>
                <a:gd name="connsiteX3" fmla="*/ 228631 w 372773"/>
                <a:gd name="connsiteY3" fmla="*/ 190548 h 375657"/>
                <a:gd name="connsiteX4" fmla="*/ 176958 w 372773"/>
                <a:gd name="connsiteY4" fmla="*/ 98080 h 375657"/>
                <a:gd name="connsiteX5" fmla="*/ 307501 w 372773"/>
                <a:gd name="connsiteY5" fmla="*/ 172 h 375657"/>
                <a:gd name="connsiteX6" fmla="*/ 372773 w 372773"/>
                <a:gd name="connsiteY6" fmla="*/ 62724 h 375657"/>
                <a:gd name="connsiteX7" fmla="*/ 372773 w 372773"/>
                <a:gd name="connsiteY7" fmla="*/ 312934 h 375657"/>
                <a:gd name="connsiteX8" fmla="*/ 302061 w 372773"/>
                <a:gd name="connsiteY8" fmla="*/ 375486 h 375657"/>
                <a:gd name="connsiteX9" fmla="*/ 239509 w 372773"/>
                <a:gd name="connsiteY9" fmla="*/ 326532 h 375657"/>
                <a:gd name="connsiteX10" fmla="*/ 179677 w 372773"/>
                <a:gd name="connsiteY10" fmla="*/ 370046 h 375657"/>
                <a:gd name="connsiteX11" fmla="*/ 70890 w 372773"/>
                <a:gd name="connsiteY11" fmla="*/ 353728 h 375657"/>
                <a:gd name="connsiteX12" fmla="*/ 128003 w 372773"/>
                <a:gd name="connsiteY12" fmla="*/ 11051 h 375657"/>
                <a:gd name="connsiteX13" fmla="*/ 236790 w 372773"/>
                <a:gd name="connsiteY13" fmla="*/ 70883 h 375657"/>
                <a:gd name="connsiteX14" fmla="*/ 236790 w 372773"/>
                <a:gd name="connsiteY14" fmla="*/ 62724 h 375657"/>
                <a:gd name="connsiteX15" fmla="*/ 307501 w 372773"/>
                <a:gd name="connsiteY15" fmla="*/ 172 h 3756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72773" h="375657">
                  <a:moveTo>
                    <a:pt x="176958" y="98080"/>
                  </a:moveTo>
                  <a:cubicBezTo>
                    <a:pt x="147042" y="100800"/>
                    <a:pt x="125284" y="133436"/>
                    <a:pt x="125284" y="190548"/>
                  </a:cubicBezTo>
                  <a:cubicBezTo>
                    <a:pt x="125284" y="247661"/>
                    <a:pt x="141602" y="283017"/>
                    <a:pt x="176958" y="283017"/>
                  </a:cubicBezTo>
                  <a:cubicBezTo>
                    <a:pt x="212314" y="283017"/>
                    <a:pt x="228631" y="247661"/>
                    <a:pt x="228631" y="190548"/>
                  </a:cubicBezTo>
                  <a:cubicBezTo>
                    <a:pt x="228631" y="133436"/>
                    <a:pt x="206874" y="98080"/>
                    <a:pt x="176958" y="98080"/>
                  </a:cubicBezTo>
                  <a:close/>
                  <a:moveTo>
                    <a:pt x="307501" y="172"/>
                  </a:moveTo>
                  <a:cubicBezTo>
                    <a:pt x="340137" y="172"/>
                    <a:pt x="372773" y="30088"/>
                    <a:pt x="372773" y="62724"/>
                  </a:cubicBezTo>
                  <a:cubicBezTo>
                    <a:pt x="372773" y="65444"/>
                    <a:pt x="372773" y="307494"/>
                    <a:pt x="372773" y="312934"/>
                  </a:cubicBezTo>
                  <a:cubicBezTo>
                    <a:pt x="370053" y="348289"/>
                    <a:pt x="337417" y="378205"/>
                    <a:pt x="302061" y="375486"/>
                  </a:cubicBezTo>
                  <a:cubicBezTo>
                    <a:pt x="274865" y="372766"/>
                    <a:pt x="247668" y="353728"/>
                    <a:pt x="239509" y="326532"/>
                  </a:cubicBezTo>
                  <a:cubicBezTo>
                    <a:pt x="225911" y="348289"/>
                    <a:pt x="198715" y="364607"/>
                    <a:pt x="179677" y="370046"/>
                  </a:cubicBezTo>
                  <a:cubicBezTo>
                    <a:pt x="147041" y="378205"/>
                    <a:pt x="100807" y="372766"/>
                    <a:pt x="70890" y="353728"/>
                  </a:cubicBezTo>
                  <a:cubicBezTo>
                    <a:pt x="-35177" y="285737"/>
                    <a:pt x="-27018" y="11051"/>
                    <a:pt x="128003" y="11051"/>
                  </a:cubicBezTo>
                  <a:cubicBezTo>
                    <a:pt x="185116" y="11051"/>
                    <a:pt x="220471" y="49126"/>
                    <a:pt x="236790" y="70883"/>
                  </a:cubicBezTo>
                  <a:cubicBezTo>
                    <a:pt x="236790" y="70883"/>
                    <a:pt x="236790" y="65444"/>
                    <a:pt x="236790" y="62724"/>
                  </a:cubicBezTo>
                  <a:cubicBezTo>
                    <a:pt x="239509" y="27369"/>
                    <a:pt x="272145" y="-2547"/>
                    <a:pt x="307501" y="172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28D60CB4-24EE-4286-B104-B1E7780F25F7}"/>
                </a:ext>
              </a:extLst>
            </p:cNvPr>
            <p:cNvSpPr/>
            <p:nvPr/>
          </p:nvSpPr>
          <p:spPr>
            <a:xfrm>
              <a:off x="8380335" y="3464184"/>
              <a:ext cx="372772" cy="375657"/>
            </a:xfrm>
            <a:custGeom>
              <a:avLst/>
              <a:gdLst>
                <a:gd name="connsiteX0" fmla="*/ 176957 w 372772"/>
                <a:gd name="connsiteY0" fmla="*/ 98080 h 375657"/>
                <a:gd name="connsiteX1" fmla="*/ 125282 w 372772"/>
                <a:gd name="connsiteY1" fmla="*/ 190548 h 375657"/>
                <a:gd name="connsiteX2" fmla="*/ 176957 w 372772"/>
                <a:gd name="connsiteY2" fmla="*/ 283017 h 375657"/>
                <a:gd name="connsiteX3" fmla="*/ 228630 w 372772"/>
                <a:gd name="connsiteY3" fmla="*/ 190548 h 375657"/>
                <a:gd name="connsiteX4" fmla="*/ 176957 w 372772"/>
                <a:gd name="connsiteY4" fmla="*/ 98080 h 375657"/>
                <a:gd name="connsiteX5" fmla="*/ 307501 w 372772"/>
                <a:gd name="connsiteY5" fmla="*/ 172 h 375657"/>
                <a:gd name="connsiteX6" fmla="*/ 372772 w 372772"/>
                <a:gd name="connsiteY6" fmla="*/ 62724 h 375657"/>
                <a:gd name="connsiteX7" fmla="*/ 372772 w 372772"/>
                <a:gd name="connsiteY7" fmla="*/ 312934 h 375657"/>
                <a:gd name="connsiteX8" fmla="*/ 302062 w 372772"/>
                <a:gd name="connsiteY8" fmla="*/ 375486 h 375657"/>
                <a:gd name="connsiteX9" fmla="*/ 239509 w 372772"/>
                <a:gd name="connsiteY9" fmla="*/ 326532 h 375657"/>
                <a:gd name="connsiteX10" fmla="*/ 179677 w 372772"/>
                <a:gd name="connsiteY10" fmla="*/ 370046 h 375657"/>
                <a:gd name="connsiteX11" fmla="*/ 70890 w 372772"/>
                <a:gd name="connsiteY11" fmla="*/ 353728 h 375657"/>
                <a:gd name="connsiteX12" fmla="*/ 128002 w 372772"/>
                <a:gd name="connsiteY12" fmla="*/ 11051 h 375657"/>
                <a:gd name="connsiteX13" fmla="*/ 236790 w 372772"/>
                <a:gd name="connsiteY13" fmla="*/ 70883 h 375657"/>
                <a:gd name="connsiteX14" fmla="*/ 236790 w 372772"/>
                <a:gd name="connsiteY14" fmla="*/ 62724 h 375657"/>
                <a:gd name="connsiteX15" fmla="*/ 307501 w 372772"/>
                <a:gd name="connsiteY15" fmla="*/ 172 h 3756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72772" h="375657">
                  <a:moveTo>
                    <a:pt x="176957" y="98080"/>
                  </a:moveTo>
                  <a:cubicBezTo>
                    <a:pt x="147039" y="100800"/>
                    <a:pt x="125282" y="133436"/>
                    <a:pt x="125282" y="190548"/>
                  </a:cubicBezTo>
                  <a:cubicBezTo>
                    <a:pt x="125282" y="247661"/>
                    <a:pt x="141600" y="283017"/>
                    <a:pt x="176957" y="283017"/>
                  </a:cubicBezTo>
                  <a:cubicBezTo>
                    <a:pt x="212312" y="283017"/>
                    <a:pt x="228630" y="247661"/>
                    <a:pt x="228630" y="190548"/>
                  </a:cubicBezTo>
                  <a:cubicBezTo>
                    <a:pt x="228630" y="133436"/>
                    <a:pt x="206873" y="98080"/>
                    <a:pt x="176957" y="98080"/>
                  </a:cubicBezTo>
                  <a:close/>
                  <a:moveTo>
                    <a:pt x="307501" y="172"/>
                  </a:moveTo>
                  <a:cubicBezTo>
                    <a:pt x="340137" y="172"/>
                    <a:pt x="372772" y="30088"/>
                    <a:pt x="372772" y="62724"/>
                  </a:cubicBezTo>
                  <a:cubicBezTo>
                    <a:pt x="372772" y="65444"/>
                    <a:pt x="372772" y="307494"/>
                    <a:pt x="372772" y="312934"/>
                  </a:cubicBezTo>
                  <a:cubicBezTo>
                    <a:pt x="370053" y="348289"/>
                    <a:pt x="337417" y="378205"/>
                    <a:pt x="302062" y="375486"/>
                  </a:cubicBezTo>
                  <a:cubicBezTo>
                    <a:pt x="274865" y="372766"/>
                    <a:pt x="247668" y="353728"/>
                    <a:pt x="239509" y="326532"/>
                  </a:cubicBezTo>
                  <a:cubicBezTo>
                    <a:pt x="228630" y="348289"/>
                    <a:pt x="198714" y="364607"/>
                    <a:pt x="179677" y="370046"/>
                  </a:cubicBezTo>
                  <a:cubicBezTo>
                    <a:pt x="147040" y="378205"/>
                    <a:pt x="100806" y="372766"/>
                    <a:pt x="70890" y="353728"/>
                  </a:cubicBezTo>
                  <a:cubicBezTo>
                    <a:pt x="-35177" y="285737"/>
                    <a:pt x="-27018" y="11051"/>
                    <a:pt x="128002" y="11051"/>
                  </a:cubicBezTo>
                  <a:cubicBezTo>
                    <a:pt x="185116" y="11051"/>
                    <a:pt x="220472" y="49126"/>
                    <a:pt x="236790" y="70883"/>
                  </a:cubicBezTo>
                  <a:cubicBezTo>
                    <a:pt x="236790" y="70883"/>
                    <a:pt x="236790" y="65444"/>
                    <a:pt x="236790" y="62724"/>
                  </a:cubicBezTo>
                  <a:cubicBezTo>
                    <a:pt x="239509" y="27369"/>
                    <a:pt x="272145" y="-2547"/>
                    <a:pt x="307501" y="172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/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AC807290-9044-47A7-90E1-CA3E462987B6}"/>
                </a:ext>
              </a:extLst>
            </p:cNvPr>
            <p:cNvSpPr/>
            <p:nvPr/>
          </p:nvSpPr>
          <p:spPr>
            <a:xfrm>
              <a:off x="7389492" y="3444253"/>
              <a:ext cx="217573" cy="435145"/>
            </a:xfrm>
            <a:custGeom>
              <a:avLst/>
              <a:gdLst>
                <a:gd name="connsiteX0" fmla="*/ 186002 w 217572"/>
                <a:gd name="connsiteY0" fmla="*/ 118011 h 435144"/>
                <a:gd name="connsiteX1" fmla="*/ 128890 w 217572"/>
                <a:gd name="connsiteY1" fmla="*/ 58178 h 435144"/>
                <a:gd name="connsiteX2" fmla="*/ 123450 w 217572"/>
                <a:gd name="connsiteY2" fmla="*/ 58178 h 435144"/>
                <a:gd name="connsiteX3" fmla="*/ 58178 w 217572"/>
                <a:gd name="connsiteY3" fmla="*/ 115291 h 435144"/>
                <a:gd name="connsiteX4" fmla="*/ 58178 w 217572"/>
                <a:gd name="connsiteY4" fmla="*/ 232236 h 435144"/>
                <a:gd name="connsiteX5" fmla="*/ 58178 w 217572"/>
                <a:gd name="connsiteY5" fmla="*/ 232236 h 435144"/>
                <a:gd name="connsiteX6" fmla="*/ 58178 w 217572"/>
                <a:gd name="connsiteY6" fmla="*/ 335583 h 435144"/>
                <a:gd name="connsiteX7" fmla="*/ 115291 w 217572"/>
                <a:gd name="connsiteY7" fmla="*/ 395415 h 435144"/>
                <a:gd name="connsiteX8" fmla="*/ 120730 w 217572"/>
                <a:gd name="connsiteY8" fmla="*/ 395415 h 435144"/>
                <a:gd name="connsiteX9" fmla="*/ 186002 w 217572"/>
                <a:gd name="connsiteY9" fmla="*/ 338303 h 435144"/>
                <a:gd name="connsiteX10" fmla="*/ 186002 w 217572"/>
                <a:gd name="connsiteY10" fmla="*/ 240395 h 435144"/>
                <a:gd name="connsiteX11" fmla="*/ 186002 w 217572"/>
                <a:gd name="connsiteY11" fmla="*/ 240395 h 435144"/>
                <a:gd name="connsiteX12" fmla="*/ 186002 w 217572"/>
                <a:gd name="connsiteY12" fmla="*/ 118011 h 4351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17572" h="435144">
                  <a:moveTo>
                    <a:pt x="186002" y="118011"/>
                  </a:moveTo>
                  <a:cubicBezTo>
                    <a:pt x="183283" y="85375"/>
                    <a:pt x="158806" y="60898"/>
                    <a:pt x="128890" y="58178"/>
                  </a:cubicBezTo>
                  <a:cubicBezTo>
                    <a:pt x="126170" y="58178"/>
                    <a:pt x="126170" y="58178"/>
                    <a:pt x="123450" y="58178"/>
                  </a:cubicBezTo>
                  <a:cubicBezTo>
                    <a:pt x="96254" y="58178"/>
                    <a:pt x="58178" y="82655"/>
                    <a:pt x="58178" y="115291"/>
                  </a:cubicBezTo>
                  <a:lnTo>
                    <a:pt x="58178" y="232236"/>
                  </a:lnTo>
                  <a:lnTo>
                    <a:pt x="58178" y="232236"/>
                  </a:lnTo>
                  <a:cubicBezTo>
                    <a:pt x="58178" y="270311"/>
                    <a:pt x="58178" y="335583"/>
                    <a:pt x="58178" y="335583"/>
                  </a:cubicBezTo>
                  <a:cubicBezTo>
                    <a:pt x="60898" y="368219"/>
                    <a:pt x="85375" y="392696"/>
                    <a:pt x="115291" y="395415"/>
                  </a:cubicBezTo>
                  <a:cubicBezTo>
                    <a:pt x="118011" y="395415"/>
                    <a:pt x="118011" y="395415"/>
                    <a:pt x="120730" y="395415"/>
                  </a:cubicBezTo>
                  <a:cubicBezTo>
                    <a:pt x="147927" y="395415"/>
                    <a:pt x="186002" y="370938"/>
                    <a:pt x="186002" y="338303"/>
                  </a:cubicBezTo>
                  <a:lnTo>
                    <a:pt x="186002" y="240395"/>
                  </a:lnTo>
                  <a:lnTo>
                    <a:pt x="186002" y="240395"/>
                  </a:lnTo>
                  <a:cubicBezTo>
                    <a:pt x="186002" y="202320"/>
                    <a:pt x="186002" y="118011"/>
                    <a:pt x="186002" y="118011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344258D2-EA42-49C8-AB37-BBF96FAEA587}"/>
                </a:ext>
              </a:extLst>
            </p:cNvPr>
            <p:cNvSpPr/>
            <p:nvPr/>
          </p:nvSpPr>
          <p:spPr>
            <a:xfrm>
              <a:off x="7392212" y="3280901"/>
              <a:ext cx="217573" cy="217572"/>
            </a:xfrm>
            <a:custGeom>
              <a:avLst/>
              <a:gdLst>
                <a:gd name="connsiteX0" fmla="*/ 183282 w 217572"/>
                <a:gd name="connsiteY0" fmla="*/ 120902 h 217572"/>
                <a:gd name="connsiteX1" fmla="*/ 120730 w 217572"/>
                <a:gd name="connsiteY1" fmla="*/ 183454 h 217572"/>
                <a:gd name="connsiteX2" fmla="*/ 58178 w 217572"/>
                <a:gd name="connsiteY2" fmla="*/ 120902 h 217572"/>
                <a:gd name="connsiteX3" fmla="*/ 120730 w 217572"/>
                <a:gd name="connsiteY3" fmla="*/ 58350 h 217572"/>
                <a:gd name="connsiteX4" fmla="*/ 183282 w 217572"/>
                <a:gd name="connsiteY4" fmla="*/ 120902 h 2175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17572" h="217572">
                  <a:moveTo>
                    <a:pt x="183282" y="120902"/>
                  </a:moveTo>
                  <a:cubicBezTo>
                    <a:pt x="183282" y="156258"/>
                    <a:pt x="156086" y="183454"/>
                    <a:pt x="120730" y="183454"/>
                  </a:cubicBezTo>
                  <a:cubicBezTo>
                    <a:pt x="85375" y="183454"/>
                    <a:pt x="58178" y="156258"/>
                    <a:pt x="58178" y="120902"/>
                  </a:cubicBezTo>
                  <a:cubicBezTo>
                    <a:pt x="58178" y="85547"/>
                    <a:pt x="85375" y="58350"/>
                    <a:pt x="120730" y="58350"/>
                  </a:cubicBezTo>
                  <a:cubicBezTo>
                    <a:pt x="153366" y="55630"/>
                    <a:pt x="183282" y="85547"/>
                    <a:pt x="183282" y="120902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CAE1932C-E9CE-473B-AC83-46E902037AB3}"/>
                </a:ext>
              </a:extLst>
            </p:cNvPr>
            <p:cNvSpPr/>
            <p:nvPr/>
          </p:nvSpPr>
          <p:spPr>
            <a:xfrm>
              <a:off x="6005186" y="3416884"/>
              <a:ext cx="380752" cy="462341"/>
            </a:xfrm>
            <a:custGeom>
              <a:avLst/>
              <a:gdLst>
                <a:gd name="connsiteX0" fmla="*/ 270312 w 380752"/>
                <a:gd name="connsiteY0" fmla="*/ 69229 h 462341"/>
                <a:gd name="connsiteX1" fmla="*/ 188722 w 380752"/>
                <a:gd name="connsiteY1" fmla="*/ 134501 h 462341"/>
                <a:gd name="connsiteX2" fmla="*/ 188722 w 380752"/>
                <a:gd name="connsiteY2" fmla="*/ 118183 h 462341"/>
                <a:gd name="connsiteX3" fmla="*/ 126170 w 380752"/>
                <a:gd name="connsiteY3" fmla="*/ 58350 h 462341"/>
                <a:gd name="connsiteX4" fmla="*/ 58178 w 380752"/>
                <a:gd name="connsiteY4" fmla="*/ 118183 h 462341"/>
                <a:gd name="connsiteX5" fmla="*/ 58178 w 380752"/>
                <a:gd name="connsiteY5" fmla="*/ 210651 h 462341"/>
                <a:gd name="connsiteX6" fmla="*/ 58178 w 380752"/>
                <a:gd name="connsiteY6" fmla="*/ 365671 h 462341"/>
                <a:gd name="connsiteX7" fmla="*/ 58178 w 380752"/>
                <a:gd name="connsiteY7" fmla="*/ 365671 h 462341"/>
                <a:gd name="connsiteX8" fmla="*/ 120730 w 380752"/>
                <a:gd name="connsiteY8" fmla="*/ 425504 h 462341"/>
                <a:gd name="connsiteX9" fmla="*/ 186002 w 380752"/>
                <a:gd name="connsiteY9" fmla="*/ 365671 h 462341"/>
                <a:gd name="connsiteX10" fmla="*/ 186002 w 380752"/>
                <a:gd name="connsiteY10" fmla="*/ 365671 h 462341"/>
                <a:gd name="connsiteX11" fmla="*/ 186002 w 380752"/>
                <a:gd name="connsiteY11" fmla="*/ 210651 h 462341"/>
                <a:gd name="connsiteX12" fmla="*/ 215919 w 380752"/>
                <a:gd name="connsiteY12" fmla="*/ 158978 h 462341"/>
                <a:gd name="connsiteX13" fmla="*/ 275751 w 380752"/>
                <a:gd name="connsiteY13" fmla="*/ 221530 h 462341"/>
                <a:gd name="connsiteX14" fmla="*/ 270312 w 380752"/>
                <a:gd name="connsiteY14" fmla="*/ 69229 h 4623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80752" h="462341">
                  <a:moveTo>
                    <a:pt x="270312" y="69229"/>
                  </a:moveTo>
                  <a:cubicBezTo>
                    <a:pt x="232236" y="71949"/>
                    <a:pt x="213199" y="99145"/>
                    <a:pt x="188722" y="134501"/>
                  </a:cubicBezTo>
                  <a:cubicBezTo>
                    <a:pt x="188722" y="134501"/>
                    <a:pt x="188722" y="118183"/>
                    <a:pt x="188722" y="118183"/>
                  </a:cubicBezTo>
                  <a:cubicBezTo>
                    <a:pt x="188722" y="85547"/>
                    <a:pt x="158806" y="58350"/>
                    <a:pt x="126170" y="58350"/>
                  </a:cubicBezTo>
                  <a:cubicBezTo>
                    <a:pt x="93534" y="55631"/>
                    <a:pt x="60898" y="85547"/>
                    <a:pt x="58178" y="118183"/>
                  </a:cubicBezTo>
                  <a:lnTo>
                    <a:pt x="58178" y="210651"/>
                  </a:lnTo>
                  <a:lnTo>
                    <a:pt x="58178" y="365671"/>
                  </a:lnTo>
                  <a:lnTo>
                    <a:pt x="58178" y="365671"/>
                  </a:lnTo>
                  <a:cubicBezTo>
                    <a:pt x="58178" y="398307"/>
                    <a:pt x="88094" y="425504"/>
                    <a:pt x="120730" y="425504"/>
                  </a:cubicBezTo>
                  <a:cubicBezTo>
                    <a:pt x="153366" y="428224"/>
                    <a:pt x="186002" y="398307"/>
                    <a:pt x="186002" y="365671"/>
                  </a:cubicBezTo>
                  <a:lnTo>
                    <a:pt x="186002" y="365671"/>
                  </a:lnTo>
                  <a:lnTo>
                    <a:pt x="186002" y="210651"/>
                  </a:lnTo>
                  <a:cubicBezTo>
                    <a:pt x="188722" y="188894"/>
                    <a:pt x="196881" y="158978"/>
                    <a:pt x="215919" y="158978"/>
                  </a:cubicBezTo>
                  <a:cubicBezTo>
                    <a:pt x="243115" y="158978"/>
                    <a:pt x="215919" y="221530"/>
                    <a:pt x="275751" y="221530"/>
                  </a:cubicBezTo>
                  <a:cubicBezTo>
                    <a:pt x="362780" y="221530"/>
                    <a:pt x="373658" y="63790"/>
                    <a:pt x="270312" y="69229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/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5D230A14-0748-4725-BC9F-A79515DCCFDB}"/>
                </a:ext>
              </a:extLst>
            </p:cNvPr>
            <p:cNvSpPr/>
            <p:nvPr/>
          </p:nvSpPr>
          <p:spPr>
            <a:xfrm>
              <a:off x="5693490" y="3475234"/>
              <a:ext cx="337238" cy="364434"/>
            </a:xfrm>
            <a:custGeom>
              <a:avLst/>
              <a:gdLst>
                <a:gd name="connsiteX0" fmla="*/ 180433 w 337238"/>
                <a:gd name="connsiteY0" fmla="*/ 73984 h 364434"/>
                <a:gd name="connsiteX1" fmla="*/ 163180 w 337238"/>
                <a:gd name="connsiteY1" fmla="*/ 78870 h 364434"/>
                <a:gd name="connsiteX2" fmla="*/ 125105 w 337238"/>
                <a:gd name="connsiteY2" fmla="*/ 160461 h 364434"/>
                <a:gd name="connsiteX3" fmla="*/ 171339 w 337238"/>
                <a:gd name="connsiteY3" fmla="*/ 163180 h 364434"/>
                <a:gd name="connsiteX4" fmla="*/ 214854 w 337238"/>
                <a:gd name="connsiteY4" fmla="*/ 108787 h 364434"/>
                <a:gd name="connsiteX5" fmla="*/ 180433 w 337238"/>
                <a:gd name="connsiteY5" fmla="*/ 73984 h 364434"/>
                <a:gd name="connsiteX6" fmla="*/ 174059 w 337238"/>
                <a:gd name="connsiteY6" fmla="*/ 0 h 364434"/>
                <a:gd name="connsiteX7" fmla="*/ 337238 w 337238"/>
                <a:gd name="connsiteY7" fmla="*/ 119665 h 364434"/>
                <a:gd name="connsiteX8" fmla="*/ 133264 w 337238"/>
                <a:gd name="connsiteY8" fmla="*/ 217573 h 364434"/>
                <a:gd name="connsiteX9" fmla="*/ 225732 w 337238"/>
                <a:gd name="connsiteY9" fmla="*/ 277405 h 364434"/>
                <a:gd name="connsiteX10" fmla="*/ 320920 w 337238"/>
                <a:gd name="connsiteY10" fmla="*/ 250208 h 364434"/>
                <a:gd name="connsiteX11" fmla="*/ 174059 w 337238"/>
                <a:gd name="connsiteY11" fmla="*/ 364434 h 364434"/>
                <a:gd name="connsiteX12" fmla="*/ 0 w 337238"/>
                <a:gd name="connsiteY12" fmla="*/ 184937 h 364434"/>
                <a:gd name="connsiteX13" fmla="*/ 174059 w 337238"/>
                <a:gd name="connsiteY13" fmla="*/ 0 h 3644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37238" h="364434">
                  <a:moveTo>
                    <a:pt x="180433" y="73984"/>
                  </a:moveTo>
                  <a:cubicBezTo>
                    <a:pt x="174569" y="73941"/>
                    <a:pt x="168620" y="75471"/>
                    <a:pt x="163180" y="78870"/>
                  </a:cubicBezTo>
                  <a:cubicBezTo>
                    <a:pt x="135984" y="95189"/>
                    <a:pt x="127825" y="130544"/>
                    <a:pt x="125105" y="160461"/>
                  </a:cubicBezTo>
                  <a:cubicBezTo>
                    <a:pt x="125105" y="163180"/>
                    <a:pt x="168620" y="160461"/>
                    <a:pt x="171339" y="163180"/>
                  </a:cubicBezTo>
                  <a:cubicBezTo>
                    <a:pt x="195816" y="157741"/>
                    <a:pt x="214854" y="135984"/>
                    <a:pt x="214854" y="108787"/>
                  </a:cubicBezTo>
                  <a:cubicBezTo>
                    <a:pt x="214854" y="88389"/>
                    <a:pt x="198026" y="74111"/>
                    <a:pt x="180433" y="73984"/>
                  </a:cubicBezTo>
                  <a:close/>
                  <a:moveTo>
                    <a:pt x="174059" y="0"/>
                  </a:moveTo>
                  <a:cubicBezTo>
                    <a:pt x="233891" y="0"/>
                    <a:pt x="337238" y="29916"/>
                    <a:pt x="337238" y="119665"/>
                  </a:cubicBezTo>
                  <a:cubicBezTo>
                    <a:pt x="337238" y="209414"/>
                    <a:pt x="244770" y="217573"/>
                    <a:pt x="133264" y="217573"/>
                  </a:cubicBezTo>
                  <a:cubicBezTo>
                    <a:pt x="133264" y="217573"/>
                    <a:pt x="149581" y="277405"/>
                    <a:pt x="225732" y="277405"/>
                  </a:cubicBezTo>
                  <a:cubicBezTo>
                    <a:pt x="301883" y="277405"/>
                    <a:pt x="320920" y="250208"/>
                    <a:pt x="320920" y="250208"/>
                  </a:cubicBezTo>
                  <a:cubicBezTo>
                    <a:pt x="320920" y="250208"/>
                    <a:pt x="315481" y="364434"/>
                    <a:pt x="174059" y="364434"/>
                  </a:cubicBezTo>
                  <a:cubicBezTo>
                    <a:pt x="95188" y="364434"/>
                    <a:pt x="0" y="304602"/>
                    <a:pt x="0" y="184937"/>
                  </a:cubicBezTo>
                  <a:cubicBezTo>
                    <a:pt x="0" y="78870"/>
                    <a:pt x="73431" y="0"/>
                    <a:pt x="174059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/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CC00DD94-854F-4950-9148-B594259CA291}"/>
                </a:ext>
              </a:extLst>
            </p:cNvPr>
            <p:cNvSpPr/>
            <p:nvPr/>
          </p:nvSpPr>
          <p:spPr>
            <a:xfrm>
              <a:off x="5376945" y="3338014"/>
              <a:ext cx="353556" cy="543931"/>
            </a:xfrm>
            <a:custGeom>
              <a:avLst/>
              <a:gdLst>
                <a:gd name="connsiteX0" fmla="*/ 311107 w 353555"/>
                <a:gd name="connsiteY0" fmla="*/ 433663 h 543931"/>
                <a:gd name="connsiteX1" fmla="*/ 215919 w 353555"/>
                <a:gd name="connsiteY1" fmla="*/ 501654 h 543931"/>
                <a:gd name="connsiteX2" fmla="*/ 98973 w 353555"/>
                <a:gd name="connsiteY2" fmla="*/ 392868 h 543931"/>
                <a:gd name="connsiteX3" fmla="*/ 98973 w 353555"/>
                <a:gd name="connsiteY3" fmla="*/ 221530 h 543931"/>
                <a:gd name="connsiteX4" fmla="*/ 82655 w 353555"/>
                <a:gd name="connsiteY4" fmla="*/ 221530 h 543931"/>
                <a:gd name="connsiteX5" fmla="*/ 58178 w 353555"/>
                <a:gd name="connsiteY5" fmla="*/ 191614 h 543931"/>
                <a:gd name="connsiteX6" fmla="*/ 85375 w 353555"/>
                <a:gd name="connsiteY6" fmla="*/ 164417 h 543931"/>
                <a:gd name="connsiteX7" fmla="*/ 101693 w 353555"/>
                <a:gd name="connsiteY7" fmla="*/ 164417 h 543931"/>
                <a:gd name="connsiteX8" fmla="*/ 101693 w 353555"/>
                <a:gd name="connsiteY8" fmla="*/ 118183 h 543931"/>
                <a:gd name="connsiteX9" fmla="*/ 166965 w 353555"/>
                <a:gd name="connsiteY9" fmla="*/ 58350 h 543931"/>
                <a:gd name="connsiteX10" fmla="*/ 229517 w 353555"/>
                <a:gd name="connsiteY10" fmla="*/ 118183 h 543931"/>
                <a:gd name="connsiteX11" fmla="*/ 229517 w 353555"/>
                <a:gd name="connsiteY11" fmla="*/ 118183 h 543931"/>
                <a:gd name="connsiteX12" fmla="*/ 229517 w 353555"/>
                <a:gd name="connsiteY12" fmla="*/ 164417 h 543931"/>
                <a:gd name="connsiteX13" fmla="*/ 283910 w 353555"/>
                <a:gd name="connsiteY13" fmla="*/ 164417 h 543931"/>
                <a:gd name="connsiteX14" fmla="*/ 308387 w 353555"/>
                <a:gd name="connsiteY14" fmla="*/ 194333 h 543931"/>
                <a:gd name="connsiteX15" fmla="*/ 281190 w 353555"/>
                <a:gd name="connsiteY15" fmla="*/ 221530 h 543931"/>
                <a:gd name="connsiteX16" fmla="*/ 229517 w 353555"/>
                <a:gd name="connsiteY16" fmla="*/ 221530 h 543931"/>
                <a:gd name="connsiteX17" fmla="*/ 229517 w 353555"/>
                <a:gd name="connsiteY17" fmla="*/ 365671 h 543931"/>
                <a:gd name="connsiteX18" fmla="*/ 311107 w 353555"/>
                <a:gd name="connsiteY18" fmla="*/ 433663 h 5439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353555" h="543931">
                  <a:moveTo>
                    <a:pt x="311107" y="433663"/>
                  </a:moveTo>
                  <a:cubicBezTo>
                    <a:pt x="311107" y="433663"/>
                    <a:pt x="278471" y="501654"/>
                    <a:pt x="215919" y="501654"/>
                  </a:cubicBezTo>
                  <a:cubicBezTo>
                    <a:pt x="164245" y="501654"/>
                    <a:pt x="101693" y="458140"/>
                    <a:pt x="98973" y="392868"/>
                  </a:cubicBezTo>
                  <a:cubicBezTo>
                    <a:pt x="98973" y="392868"/>
                    <a:pt x="98973" y="297680"/>
                    <a:pt x="98973" y="221530"/>
                  </a:cubicBezTo>
                  <a:lnTo>
                    <a:pt x="82655" y="221530"/>
                  </a:lnTo>
                  <a:cubicBezTo>
                    <a:pt x="74496" y="221530"/>
                    <a:pt x="58178" y="216090"/>
                    <a:pt x="58178" y="191614"/>
                  </a:cubicBezTo>
                  <a:cubicBezTo>
                    <a:pt x="58178" y="167137"/>
                    <a:pt x="77216" y="164417"/>
                    <a:pt x="85375" y="164417"/>
                  </a:cubicBezTo>
                  <a:lnTo>
                    <a:pt x="101693" y="164417"/>
                  </a:lnTo>
                  <a:cubicBezTo>
                    <a:pt x="101693" y="137220"/>
                    <a:pt x="101693" y="118183"/>
                    <a:pt x="101693" y="118183"/>
                  </a:cubicBezTo>
                  <a:cubicBezTo>
                    <a:pt x="104413" y="85547"/>
                    <a:pt x="134329" y="55631"/>
                    <a:pt x="166965" y="58350"/>
                  </a:cubicBezTo>
                  <a:cubicBezTo>
                    <a:pt x="196881" y="61070"/>
                    <a:pt x="229517" y="85547"/>
                    <a:pt x="229517" y="118183"/>
                  </a:cubicBezTo>
                  <a:lnTo>
                    <a:pt x="229517" y="118183"/>
                  </a:lnTo>
                  <a:lnTo>
                    <a:pt x="229517" y="164417"/>
                  </a:lnTo>
                  <a:lnTo>
                    <a:pt x="283910" y="164417"/>
                  </a:lnTo>
                  <a:cubicBezTo>
                    <a:pt x="292069" y="164417"/>
                    <a:pt x="308387" y="169856"/>
                    <a:pt x="308387" y="194333"/>
                  </a:cubicBezTo>
                  <a:cubicBezTo>
                    <a:pt x="308387" y="218810"/>
                    <a:pt x="292069" y="221530"/>
                    <a:pt x="281190" y="221530"/>
                  </a:cubicBezTo>
                  <a:lnTo>
                    <a:pt x="229517" y="221530"/>
                  </a:lnTo>
                  <a:lnTo>
                    <a:pt x="229517" y="365671"/>
                  </a:lnTo>
                  <a:cubicBezTo>
                    <a:pt x="226797" y="409186"/>
                    <a:pt x="267592" y="433663"/>
                    <a:pt x="311107" y="433663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/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780C20D3-903A-4021-AA27-6ABEDC98B36B}"/>
                </a:ext>
              </a:extLst>
            </p:cNvPr>
            <p:cNvSpPr/>
            <p:nvPr/>
          </p:nvSpPr>
          <p:spPr>
            <a:xfrm>
              <a:off x="7090329" y="3338014"/>
              <a:ext cx="353556" cy="543931"/>
            </a:xfrm>
            <a:custGeom>
              <a:avLst/>
              <a:gdLst>
                <a:gd name="connsiteX0" fmla="*/ 311107 w 353555"/>
                <a:gd name="connsiteY0" fmla="*/ 433663 h 543931"/>
                <a:gd name="connsiteX1" fmla="*/ 215919 w 353555"/>
                <a:gd name="connsiteY1" fmla="*/ 501654 h 543931"/>
                <a:gd name="connsiteX2" fmla="*/ 98973 w 353555"/>
                <a:gd name="connsiteY2" fmla="*/ 392868 h 543931"/>
                <a:gd name="connsiteX3" fmla="*/ 98973 w 353555"/>
                <a:gd name="connsiteY3" fmla="*/ 221530 h 543931"/>
                <a:gd name="connsiteX4" fmla="*/ 82655 w 353555"/>
                <a:gd name="connsiteY4" fmla="*/ 221530 h 543931"/>
                <a:gd name="connsiteX5" fmla="*/ 58178 w 353555"/>
                <a:gd name="connsiteY5" fmla="*/ 191614 h 543931"/>
                <a:gd name="connsiteX6" fmla="*/ 85375 w 353555"/>
                <a:gd name="connsiteY6" fmla="*/ 164417 h 543931"/>
                <a:gd name="connsiteX7" fmla="*/ 101693 w 353555"/>
                <a:gd name="connsiteY7" fmla="*/ 164417 h 543931"/>
                <a:gd name="connsiteX8" fmla="*/ 101693 w 353555"/>
                <a:gd name="connsiteY8" fmla="*/ 118183 h 543931"/>
                <a:gd name="connsiteX9" fmla="*/ 166965 w 353555"/>
                <a:gd name="connsiteY9" fmla="*/ 58350 h 543931"/>
                <a:gd name="connsiteX10" fmla="*/ 229517 w 353555"/>
                <a:gd name="connsiteY10" fmla="*/ 118183 h 543931"/>
                <a:gd name="connsiteX11" fmla="*/ 229517 w 353555"/>
                <a:gd name="connsiteY11" fmla="*/ 118183 h 543931"/>
                <a:gd name="connsiteX12" fmla="*/ 229517 w 353555"/>
                <a:gd name="connsiteY12" fmla="*/ 164417 h 543931"/>
                <a:gd name="connsiteX13" fmla="*/ 283910 w 353555"/>
                <a:gd name="connsiteY13" fmla="*/ 164417 h 543931"/>
                <a:gd name="connsiteX14" fmla="*/ 308387 w 353555"/>
                <a:gd name="connsiteY14" fmla="*/ 194333 h 543931"/>
                <a:gd name="connsiteX15" fmla="*/ 281190 w 353555"/>
                <a:gd name="connsiteY15" fmla="*/ 221530 h 543931"/>
                <a:gd name="connsiteX16" fmla="*/ 229517 w 353555"/>
                <a:gd name="connsiteY16" fmla="*/ 221530 h 543931"/>
                <a:gd name="connsiteX17" fmla="*/ 229517 w 353555"/>
                <a:gd name="connsiteY17" fmla="*/ 365671 h 543931"/>
                <a:gd name="connsiteX18" fmla="*/ 311107 w 353555"/>
                <a:gd name="connsiteY18" fmla="*/ 433663 h 5439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353555" h="543931">
                  <a:moveTo>
                    <a:pt x="311107" y="433663"/>
                  </a:moveTo>
                  <a:cubicBezTo>
                    <a:pt x="311107" y="433663"/>
                    <a:pt x="278471" y="501654"/>
                    <a:pt x="215919" y="501654"/>
                  </a:cubicBezTo>
                  <a:cubicBezTo>
                    <a:pt x="164245" y="501654"/>
                    <a:pt x="101693" y="458140"/>
                    <a:pt x="98973" y="392868"/>
                  </a:cubicBezTo>
                  <a:cubicBezTo>
                    <a:pt x="98973" y="392868"/>
                    <a:pt x="98973" y="297680"/>
                    <a:pt x="98973" y="221530"/>
                  </a:cubicBezTo>
                  <a:lnTo>
                    <a:pt x="82655" y="221530"/>
                  </a:lnTo>
                  <a:cubicBezTo>
                    <a:pt x="74496" y="221530"/>
                    <a:pt x="58178" y="216090"/>
                    <a:pt x="58178" y="191614"/>
                  </a:cubicBezTo>
                  <a:cubicBezTo>
                    <a:pt x="58178" y="167137"/>
                    <a:pt x="77216" y="164417"/>
                    <a:pt x="85375" y="164417"/>
                  </a:cubicBezTo>
                  <a:lnTo>
                    <a:pt x="101693" y="164417"/>
                  </a:lnTo>
                  <a:cubicBezTo>
                    <a:pt x="101693" y="137220"/>
                    <a:pt x="101693" y="118183"/>
                    <a:pt x="101693" y="118183"/>
                  </a:cubicBezTo>
                  <a:cubicBezTo>
                    <a:pt x="104412" y="85547"/>
                    <a:pt x="134329" y="55631"/>
                    <a:pt x="166965" y="58350"/>
                  </a:cubicBezTo>
                  <a:cubicBezTo>
                    <a:pt x="196881" y="61070"/>
                    <a:pt x="229517" y="85547"/>
                    <a:pt x="229517" y="118183"/>
                  </a:cubicBezTo>
                  <a:lnTo>
                    <a:pt x="229517" y="118183"/>
                  </a:lnTo>
                  <a:lnTo>
                    <a:pt x="229517" y="164417"/>
                  </a:lnTo>
                  <a:lnTo>
                    <a:pt x="283910" y="164417"/>
                  </a:lnTo>
                  <a:cubicBezTo>
                    <a:pt x="292069" y="164417"/>
                    <a:pt x="308387" y="169856"/>
                    <a:pt x="308387" y="194333"/>
                  </a:cubicBezTo>
                  <a:cubicBezTo>
                    <a:pt x="308387" y="218810"/>
                    <a:pt x="292069" y="221530"/>
                    <a:pt x="281190" y="221530"/>
                  </a:cubicBezTo>
                  <a:lnTo>
                    <a:pt x="229517" y="221530"/>
                  </a:lnTo>
                  <a:lnTo>
                    <a:pt x="229517" y="365671"/>
                  </a:lnTo>
                  <a:cubicBezTo>
                    <a:pt x="229517" y="409186"/>
                    <a:pt x="270312" y="433663"/>
                    <a:pt x="311107" y="433663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/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D2B49219-FA68-4BFE-A6FB-19D2B0D4C1FF}"/>
                </a:ext>
              </a:extLst>
            </p:cNvPr>
            <p:cNvSpPr/>
            <p:nvPr/>
          </p:nvSpPr>
          <p:spPr>
            <a:xfrm>
              <a:off x="2080719" y="4178559"/>
              <a:ext cx="462342" cy="788700"/>
            </a:xfrm>
            <a:custGeom>
              <a:avLst/>
              <a:gdLst>
                <a:gd name="connsiteX0" fmla="*/ 403575 w 462341"/>
                <a:gd name="connsiteY0" fmla="*/ 583072 h 788699"/>
                <a:gd name="connsiteX1" fmla="*/ 406295 w 462341"/>
                <a:gd name="connsiteY1" fmla="*/ 596670 h 788699"/>
                <a:gd name="connsiteX2" fmla="*/ 400855 w 462341"/>
                <a:gd name="connsiteY2" fmla="*/ 610268 h 788699"/>
                <a:gd name="connsiteX3" fmla="*/ 389977 w 462341"/>
                <a:gd name="connsiteY3" fmla="*/ 626586 h 788699"/>
                <a:gd name="connsiteX4" fmla="*/ 354621 w 462341"/>
                <a:gd name="connsiteY4" fmla="*/ 675540 h 788699"/>
                <a:gd name="connsiteX5" fmla="*/ 327424 w 462341"/>
                <a:gd name="connsiteY5" fmla="*/ 691858 h 788699"/>
                <a:gd name="connsiteX6" fmla="*/ 292069 w 462341"/>
                <a:gd name="connsiteY6" fmla="*/ 713615 h 788699"/>
                <a:gd name="connsiteX7" fmla="*/ 251274 w 462341"/>
                <a:gd name="connsiteY7" fmla="*/ 724494 h 788699"/>
                <a:gd name="connsiteX8" fmla="*/ 221358 w 462341"/>
                <a:gd name="connsiteY8" fmla="*/ 721774 h 788699"/>
                <a:gd name="connsiteX9" fmla="*/ 191442 w 462341"/>
                <a:gd name="connsiteY9" fmla="*/ 721774 h 788699"/>
                <a:gd name="connsiteX10" fmla="*/ 153366 w 462341"/>
                <a:gd name="connsiteY10" fmla="*/ 713615 h 788699"/>
                <a:gd name="connsiteX11" fmla="*/ 104412 w 462341"/>
                <a:gd name="connsiteY11" fmla="*/ 675540 h 788699"/>
                <a:gd name="connsiteX12" fmla="*/ 104412 w 462341"/>
                <a:gd name="connsiteY12" fmla="*/ 689138 h 788699"/>
                <a:gd name="connsiteX13" fmla="*/ 101693 w 462341"/>
                <a:gd name="connsiteY13" fmla="*/ 710895 h 788699"/>
                <a:gd name="connsiteX14" fmla="*/ 85375 w 462341"/>
                <a:gd name="connsiteY14" fmla="*/ 732653 h 788699"/>
                <a:gd name="connsiteX15" fmla="*/ 69057 w 462341"/>
                <a:gd name="connsiteY15" fmla="*/ 727214 h 788699"/>
                <a:gd name="connsiteX16" fmla="*/ 60898 w 462341"/>
                <a:gd name="connsiteY16" fmla="*/ 710895 h 788699"/>
                <a:gd name="connsiteX17" fmla="*/ 58178 w 462341"/>
                <a:gd name="connsiteY17" fmla="*/ 691858 h 788699"/>
                <a:gd name="connsiteX18" fmla="*/ 60898 w 462341"/>
                <a:gd name="connsiteY18" fmla="*/ 664661 h 788699"/>
                <a:gd name="connsiteX19" fmla="*/ 60898 w 462341"/>
                <a:gd name="connsiteY19" fmla="*/ 607549 h 788699"/>
                <a:gd name="connsiteX20" fmla="*/ 63618 w 462341"/>
                <a:gd name="connsiteY20" fmla="*/ 528679 h 788699"/>
                <a:gd name="connsiteX21" fmla="*/ 69057 w 462341"/>
                <a:gd name="connsiteY21" fmla="*/ 504202 h 788699"/>
                <a:gd name="connsiteX22" fmla="*/ 74496 w 462341"/>
                <a:gd name="connsiteY22" fmla="*/ 493323 h 788699"/>
                <a:gd name="connsiteX23" fmla="*/ 82655 w 462341"/>
                <a:gd name="connsiteY23" fmla="*/ 487884 h 788699"/>
                <a:gd name="connsiteX24" fmla="*/ 90814 w 462341"/>
                <a:gd name="connsiteY24" fmla="*/ 493323 h 788699"/>
                <a:gd name="connsiteX25" fmla="*/ 98973 w 462341"/>
                <a:gd name="connsiteY25" fmla="*/ 512361 h 788699"/>
                <a:gd name="connsiteX26" fmla="*/ 101693 w 462341"/>
                <a:gd name="connsiteY26" fmla="*/ 555875 h 788699"/>
                <a:gd name="connsiteX27" fmla="*/ 101693 w 462341"/>
                <a:gd name="connsiteY27" fmla="*/ 596670 h 788699"/>
                <a:gd name="connsiteX28" fmla="*/ 109852 w 462341"/>
                <a:gd name="connsiteY28" fmla="*/ 626586 h 788699"/>
                <a:gd name="connsiteX29" fmla="*/ 128889 w 462341"/>
                <a:gd name="connsiteY29" fmla="*/ 651063 h 788699"/>
                <a:gd name="connsiteX30" fmla="*/ 153366 w 462341"/>
                <a:gd name="connsiteY30" fmla="*/ 670101 h 788699"/>
                <a:gd name="connsiteX31" fmla="*/ 196881 w 462341"/>
                <a:gd name="connsiteY31" fmla="*/ 678260 h 788699"/>
                <a:gd name="connsiteX32" fmla="*/ 221358 w 462341"/>
                <a:gd name="connsiteY32" fmla="*/ 667381 h 788699"/>
                <a:gd name="connsiteX33" fmla="*/ 253994 w 462341"/>
                <a:gd name="connsiteY33" fmla="*/ 659222 h 788699"/>
                <a:gd name="connsiteX34" fmla="*/ 275751 w 462341"/>
                <a:gd name="connsiteY34" fmla="*/ 637465 h 788699"/>
                <a:gd name="connsiteX35" fmla="*/ 281190 w 462341"/>
                <a:gd name="connsiteY35" fmla="*/ 615708 h 788699"/>
                <a:gd name="connsiteX36" fmla="*/ 278471 w 462341"/>
                <a:gd name="connsiteY36" fmla="*/ 602109 h 788699"/>
                <a:gd name="connsiteX37" fmla="*/ 262153 w 462341"/>
                <a:gd name="connsiteY37" fmla="*/ 572193 h 788699"/>
                <a:gd name="connsiteX38" fmla="*/ 245835 w 462341"/>
                <a:gd name="connsiteY38" fmla="*/ 536838 h 788699"/>
                <a:gd name="connsiteX39" fmla="*/ 196881 w 462341"/>
                <a:gd name="connsiteY39" fmla="*/ 477005 h 788699"/>
                <a:gd name="connsiteX40" fmla="*/ 145207 w 462341"/>
                <a:gd name="connsiteY40" fmla="*/ 419892 h 788699"/>
                <a:gd name="connsiteX41" fmla="*/ 93534 w 462341"/>
                <a:gd name="connsiteY41" fmla="*/ 357340 h 788699"/>
                <a:gd name="connsiteX42" fmla="*/ 66337 w 462341"/>
                <a:gd name="connsiteY42" fmla="*/ 283910 h 788699"/>
                <a:gd name="connsiteX43" fmla="*/ 58178 w 462341"/>
                <a:gd name="connsiteY43" fmla="*/ 224077 h 788699"/>
                <a:gd name="connsiteX44" fmla="*/ 82655 w 462341"/>
                <a:gd name="connsiteY44" fmla="*/ 150647 h 788699"/>
                <a:gd name="connsiteX45" fmla="*/ 137048 w 462341"/>
                <a:gd name="connsiteY45" fmla="*/ 96253 h 788699"/>
                <a:gd name="connsiteX46" fmla="*/ 196881 w 462341"/>
                <a:gd name="connsiteY46" fmla="*/ 77216 h 788699"/>
                <a:gd name="connsiteX47" fmla="*/ 232236 w 462341"/>
                <a:gd name="connsiteY47" fmla="*/ 69057 h 788699"/>
                <a:gd name="connsiteX48" fmla="*/ 262153 w 462341"/>
                <a:gd name="connsiteY48" fmla="*/ 74496 h 788699"/>
                <a:gd name="connsiteX49" fmla="*/ 294789 w 462341"/>
                <a:gd name="connsiteY49" fmla="*/ 85375 h 788699"/>
                <a:gd name="connsiteX50" fmla="*/ 327424 w 462341"/>
                <a:gd name="connsiteY50" fmla="*/ 104412 h 788699"/>
                <a:gd name="connsiteX51" fmla="*/ 332864 w 462341"/>
                <a:gd name="connsiteY51" fmla="*/ 74496 h 788699"/>
                <a:gd name="connsiteX52" fmla="*/ 338303 w 462341"/>
                <a:gd name="connsiteY52" fmla="*/ 63618 h 788699"/>
                <a:gd name="connsiteX53" fmla="*/ 349182 w 462341"/>
                <a:gd name="connsiteY53" fmla="*/ 58178 h 788699"/>
                <a:gd name="connsiteX54" fmla="*/ 357341 w 462341"/>
                <a:gd name="connsiteY54" fmla="*/ 63618 h 788699"/>
                <a:gd name="connsiteX55" fmla="*/ 365500 w 462341"/>
                <a:gd name="connsiteY55" fmla="*/ 82655 h 788699"/>
                <a:gd name="connsiteX56" fmla="*/ 368219 w 462341"/>
                <a:gd name="connsiteY56" fmla="*/ 142488 h 788699"/>
                <a:gd name="connsiteX57" fmla="*/ 368219 w 462341"/>
                <a:gd name="connsiteY57" fmla="*/ 188722 h 788699"/>
                <a:gd name="connsiteX58" fmla="*/ 370939 w 462341"/>
                <a:gd name="connsiteY58" fmla="*/ 245834 h 788699"/>
                <a:gd name="connsiteX59" fmla="*/ 354621 w 462341"/>
                <a:gd name="connsiteY59" fmla="*/ 286629 h 788699"/>
                <a:gd name="connsiteX60" fmla="*/ 338303 w 462341"/>
                <a:gd name="connsiteY60" fmla="*/ 281190 h 788699"/>
                <a:gd name="connsiteX61" fmla="*/ 330144 w 462341"/>
                <a:gd name="connsiteY61" fmla="*/ 264872 h 788699"/>
                <a:gd name="connsiteX62" fmla="*/ 327424 w 462341"/>
                <a:gd name="connsiteY62" fmla="*/ 248554 h 788699"/>
                <a:gd name="connsiteX63" fmla="*/ 330144 w 462341"/>
                <a:gd name="connsiteY63" fmla="*/ 221357 h 788699"/>
                <a:gd name="connsiteX64" fmla="*/ 330144 w 462341"/>
                <a:gd name="connsiteY64" fmla="*/ 188722 h 788699"/>
                <a:gd name="connsiteX65" fmla="*/ 327424 w 462341"/>
                <a:gd name="connsiteY65" fmla="*/ 164245 h 788699"/>
                <a:gd name="connsiteX66" fmla="*/ 311107 w 462341"/>
                <a:gd name="connsiteY66" fmla="*/ 134329 h 788699"/>
                <a:gd name="connsiteX67" fmla="*/ 283910 w 462341"/>
                <a:gd name="connsiteY67" fmla="*/ 118011 h 788699"/>
                <a:gd name="connsiteX68" fmla="*/ 251274 w 462341"/>
                <a:gd name="connsiteY68" fmla="*/ 112571 h 788699"/>
                <a:gd name="connsiteX69" fmla="*/ 215918 w 462341"/>
                <a:gd name="connsiteY69" fmla="*/ 123450 h 788699"/>
                <a:gd name="connsiteX70" fmla="*/ 202320 w 462341"/>
                <a:gd name="connsiteY70" fmla="*/ 147927 h 788699"/>
                <a:gd name="connsiteX71" fmla="*/ 188722 w 462341"/>
                <a:gd name="connsiteY71" fmla="*/ 180563 h 788699"/>
                <a:gd name="connsiteX72" fmla="*/ 183283 w 462341"/>
                <a:gd name="connsiteY72" fmla="*/ 210479 h 788699"/>
                <a:gd name="connsiteX73" fmla="*/ 188722 w 462341"/>
                <a:gd name="connsiteY73" fmla="*/ 226797 h 788699"/>
                <a:gd name="connsiteX74" fmla="*/ 188722 w 462341"/>
                <a:gd name="connsiteY74" fmla="*/ 248554 h 788699"/>
                <a:gd name="connsiteX75" fmla="*/ 210479 w 462341"/>
                <a:gd name="connsiteY75" fmla="*/ 273031 h 788699"/>
                <a:gd name="connsiteX76" fmla="*/ 226797 w 462341"/>
                <a:gd name="connsiteY76" fmla="*/ 300228 h 788699"/>
                <a:gd name="connsiteX77" fmla="*/ 256713 w 462341"/>
                <a:gd name="connsiteY77" fmla="*/ 332864 h 788699"/>
                <a:gd name="connsiteX78" fmla="*/ 275751 w 462341"/>
                <a:gd name="connsiteY78" fmla="*/ 351901 h 788699"/>
                <a:gd name="connsiteX79" fmla="*/ 324705 w 462341"/>
                <a:gd name="connsiteY79" fmla="*/ 400855 h 788699"/>
                <a:gd name="connsiteX80" fmla="*/ 343742 w 462341"/>
                <a:gd name="connsiteY80" fmla="*/ 428051 h 788699"/>
                <a:gd name="connsiteX81" fmla="*/ 351901 w 462341"/>
                <a:gd name="connsiteY81" fmla="*/ 433491 h 788699"/>
                <a:gd name="connsiteX82" fmla="*/ 360060 w 462341"/>
                <a:gd name="connsiteY82" fmla="*/ 447089 h 788699"/>
                <a:gd name="connsiteX83" fmla="*/ 384537 w 462341"/>
                <a:gd name="connsiteY83" fmla="*/ 474286 h 788699"/>
                <a:gd name="connsiteX84" fmla="*/ 395416 w 462341"/>
                <a:gd name="connsiteY84" fmla="*/ 506921 h 788699"/>
                <a:gd name="connsiteX85" fmla="*/ 406295 w 462341"/>
                <a:gd name="connsiteY85" fmla="*/ 536838 h 788699"/>
                <a:gd name="connsiteX86" fmla="*/ 409014 w 462341"/>
                <a:gd name="connsiteY86" fmla="*/ 547716 h 788699"/>
                <a:gd name="connsiteX87" fmla="*/ 406295 w 462341"/>
                <a:gd name="connsiteY87" fmla="*/ 569473 h 788699"/>
                <a:gd name="connsiteX88" fmla="*/ 403575 w 462341"/>
                <a:gd name="connsiteY88" fmla="*/ 583072 h 788699"/>
                <a:gd name="connsiteX89" fmla="*/ 403575 w 462341"/>
                <a:gd name="connsiteY89" fmla="*/ 583072 h 7886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</a:cxnLst>
              <a:rect l="l" t="t" r="r" b="b"/>
              <a:pathLst>
                <a:path w="462341" h="788699">
                  <a:moveTo>
                    <a:pt x="403575" y="583072"/>
                  </a:moveTo>
                  <a:cubicBezTo>
                    <a:pt x="403575" y="588511"/>
                    <a:pt x="406295" y="591231"/>
                    <a:pt x="406295" y="596670"/>
                  </a:cubicBezTo>
                  <a:cubicBezTo>
                    <a:pt x="406295" y="602109"/>
                    <a:pt x="403575" y="604829"/>
                    <a:pt x="400855" y="610268"/>
                  </a:cubicBezTo>
                  <a:cubicBezTo>
                    <a:pt x="398136" y="615708"/>
                    <a:pt x="392696" y="621147"/>
                    <a:pt x="389977" y="626586"/>
                  </a:cubicBezTo>
                  <a:cubicBezTo>
                    <a:pt x="381818" y="645624"/>
                    <a:pt x="368219" y="661942"/>
                    <a:pt x="354621" y="675540"/>
                  </a:cubicBezTo>
                  <a:cubicBezTo>
                    <a:pt x="346462" y="683699"/>
                    <a:pt x="338303" y="686419"/>
                    <a:pt x="327424" y="691858"/>
                  </a:cubicBezTo>
                  <a:cubicBezTo>
                    <a:pt x="316546" y="700017"/>
                    <a:pt x="302948" y="708176"/>
                    <a:pt x="292069" y="713615"/>
                  </a:cubicBezTo>
                  <a:cubicBezTo>
                    <a:pt x="281190" y="719054"/>
                    <a:pt x="264872" y="724494"/>
                    <a:pt x="251274" y="724494"/>
                  </a:cubicBezTo>
                  <a:cubicBezTo>
                    <a:pt x="240395" y="724494"/>
                    <a:pt x="229517" y="721774"/>
                    <a:pt x="221358" y="721774"/>
                  </a:cubicBezTo>
                  <a:cubicBezTo>
                    <a:pt x="213199" y="721774"/>
                    <a:pt x="202320" y="721774"/>
                    <a:pt x="191442" y="721774"/>
                  </a:cubicBezTo>
                  <a:cubicBezTo>
                    <a:pt x="172404" y="721774"/>
                    <a:pt x="172404" y="721774"/>
                    <a:pt x="153366" y="713615"/>
                  </a:cubicBezTo>
                  <a:cubicBezTo>
                    <a:pt x="134329" y="708176"/>
                    <a:pt x="118011" y="691858"/>
                    <a:pt x="104412" y="675540"/>
                  </a:cubicBezTo>
                  <a:cubicBezTo>
                    <a:pt x="104412" y="678260"/>
                    <a:pt x="104412" y="680979"/>
                    <a:pt x="104412" y="689138"/>
                  </a:cubicBezTo>
                  <a:cubicBezTo>
                    <a:pt x="104412" y="694578"/>
                    <a:pt x="104412" y="702737"/>
                    <a:pt x="101693" y="710895"/>
                  </a:cubicBezTo>
                  <a:cubicBezTo>
                    <a:pt x="101693" y="721774"/>
                    <a:pt x="96253" y="732653"/>
                    <a:pt x="85375" y="732653"/>
                  </a:cubicBezTo>
                  <a:cubicBezTo>
                    <a:pt x="77216" y="732653"/>
                    <a:pt x="74496" y="729933"/>
                    <a:pt x="69057" y="727214"/>
                  </a:cubicBezTo>
                  <a:cubicBezTo>
                    <a:pt x="63618" y="724494"/>
                    <a:pt x="60898" y="716335"/>
                    <a:pt x="60898" y="710895"/>
                  </a:cubicBezTo>
                  <a:cubicBezTo>
                    <a:pt x="58178" y="702737"/>
                    <a:pt x="58178" y="697297"/>
                    <a:pt x="58178" y="691858"/>
                  </a:cubicBezTo>
                  <a:cubicBezTo>
                    <a:pt x="58178" y="683699"/>
                    <a:pt x="60898" y="678260"/>
                    <a:pt x="60898" y="664661"/>
                  </a:cubicBezTo>
                  <a:cubicBezTo>
                    <a:pt x="60898" y="656502"/>
                    <a:pt x="60898" y="632026"/>
                    <a:pt x="60898" y="607549"/>
                  </a:cubicBezTo>
                  <a:cubicBezTo>
                    <a:pt x="60898" y="574913"/>
                    <a:pt x="60898" y="542277"/>
                    <a:pt x="63618" y="528679"/>
                  </a:cubicBezTo>
                  <a:cubicBezTo>
                    <a:pt x="63618" y="520520"/>
                    <a:pt x="63618" y="509641"/>
                    <a:pt x="69057" y="504202"/>
                  </a:cubicBezTo>
                  <a:cubicBezTo>
                    <a:pt x="71777" y="501482"/>
                    <a:pt x="71777" y="498762"/>
                    <a:pt x="74496" y="493323"/>
                  </a:cubicBezTo>
                  <a:cubicBezTo>
                    <a:pt x="77216" y="490603"/>
                    <a:pt x="79936" y="487884"/>
                    <a:pt x="82655" y="487884"/>
                  </a:cubicBezTo>
                  <a:cubicBezTo>
                    <a:pt x="85375" y="487884"/>
                    <a:pt x="90814" y="490603"/>
                    <a:pt x="90814" y="493323"/>
                  </a:cubicBezTo>
                  <a:cubicBezTo>
                    <a:pt x="93534" y="498762"/>
                    <a:pt x="98973" y="506921"/>
                    <a:pt x="98973" y="512361"/>
                  </a:cubicBezTo>
                  <a:cubicBezTo>
                    <a:pt x="98973" y="520520"/>
                    <a:pt x="101693" y="536838"/>
                    <a:pt x="101693" y="555875"/>
                  </a:cubicBezTo>
                  <a:cubicBezTo>
                    <a:pt x="101693" y="569473"/>
                    <a:pt x="101693" y="583072"/>
                    <a:pt x="101693" y="596670"/>
                  </a:cubicBezTo>
                  <a:cubicBezTo>
                    <a:pt x="101693" y="607549"/>
                    <a:pt x="104412" y="618427"/>
                    <a:pt x="109852" y="626586"/>
                  </a:cubicBezTo>
                  <a:cubicBezTo>
                    <a:pt x="115291" y="637465"/>
                    <a:pt x="123450" y="642904"/>
                    <a:pt x="128889" y="651063"/>
                  </a:cubicBezTo>
                  <a:cubicBezTo>
                    <a:pt x="137048" y="661942"/>
                    <a:pt x="139768" y="667381"/>
                    <a:pt x="153366" y="670101"/>
                  </a:cubicBezTo>
                  <a:cubicBezTo>
                    <a:pt x="161525" y="670101"/>
                    <a:pt x="183283" y="678260"/>
                    <a:pt x="196881" y="678260"/>
                  </a:cubicBezTo>
                  <a:cubicBezTo>
                    <a:pt x="207759" y="678260"/>
                    <a:pt x="210479" y="672820"/>
                    <a:pt x="221358" y="667381"/>
                  </a:cubicBezTo>
                  <a:cubicBezTo>
                    <a:pt x="232236" y="661942"/>
                    <a:pt x="245835" y="664661"/>
                    <a:pt x="253994" y="659222"/>
                  </a:cubicBezTo>
                  <a:cubicBezTo>
                    <a:pt x="262153" y="653783"/>
                    <a:pt x="273031" y="645624"/>
                    <a:pt x="275751" y="637465"/>
                  </a:cubicBezTo>
                  <a:cubicBezTo>
                    <a:pt x="281190" y="629306"/>
                    <a:pt x="281190" y="621147"/>
                    <a:pt x="281190" y="615708"/>
                  </a:cubicBezTo>
                  <a:cubicBezTo>
                    <a:pt x="281190" y="610268"/>
                    <a:pt x="281190" y="607549"/>
                    <a:pt x="278471" y="602109"/>
                  </a:cubicBezTo>
                  <a:cubicBezTo>
                    <a:pt x="275751" y="591231"/>
                    <a:pt x="267592" y="583072"/>
                    <a:pt x="262153" y="572193"/>
                  </a:cubicBezTo>
                  <a:cubicBezTo>
                    <a:pt x="256713" y="561314"/>
                    <a:pt x="253994" y="547716"/>
                    <a:pt x="245835" y="536838"/>
                  </a:cubicBezTo>
                  <a:cubicBezTo>
                    <a:pt x="232236" y="515080"/>
                    <a:pt x="213199" y="498762"/>
                    <a:pt x="196881" y="477005"/>
                  </a:cubicBezTo>
                  <a:cubicBezTo>
                    <a:pt x="180563" y="457968"/>
                    <a:pt x="164245" y="438930"/>
                    <a:pt x="145207" y="419892"/>
                  </a:cubicBezTo>
                  <a:cubicBezTo>
                    <a:pt x="126170" y="400855"/>
                    <a:pt x="109852" y="379098"/>
                    <a:pt x="93534" y="357340"/>
                  </a:cubicBezTo>
                  <a:cubicBezTo>
                    <a:pt x="77216" y="335583"/>
                    <a:pt x="71777" y="308387"/>
                    <a:pt x="66337" y="283910"/>
                  </a:cubicBezTo>
                  <a:cubicBezTo>
                    <a:pt x="63618" y="267592"/>
                    <a:pt x="58178" y="245834"/>
                    <a:pt x="58178" y="224077"/>
                  </a:cubicBezTo>
                  <a:cubicBezTo>
                    <a:pt x="58178" y="194161"/>
                    <a:pt x="69057" y="175123"/>
                    <a:pt x="82655" y="150647"/>
                  </a:cubicBezTo>
                  <a:cubicBezTo>
                    <a:pt x="96253" y="128889"/>
                    <a:pt x="115291" y="109852"/>
                    <a:pt x="137048" y="96253"/>
                  </a:cubicBezTo>
                  <a:cubicBezTo>
                    <a:pt x="158806" y="82655"/>
                    <a:pt x="172404" y="79936"/>
                    <a:pt x="196881" y="77216"/>
                  </a:cubicBezTo>
                  <a:cubicBezTo>
                    <a:pt x="210479" y="77216"/>
                    <a:pt x="215918" y="69057"/>
                    <a:pt x="232236" y="69057"/>
                  </a:cubicBezTo>
                  <a:cubicBezTo>
                    <a:pt x="243115" y="69057"/>
                    <a:pt x="251274" y="71776"/>
                    <a:pt x="262153" y="74496"/>
                  </a:cubicBezTo>
                  <a:cubicBezTo>
                    <a:pt x="273031" y="77216"/>
                    <a:pt x="283910" y="82655"/>
                    <a:pt x="294789" y="85375"/>
                  </a:cubicBezTo>
                  <a:cubicBezTo>
                    <a:pt x="308387" y="90814"/>
                    <a:pt x="319265" y="96253"/>
                    <a:pt x="327424" y="104412"/>
                  </a:cubicBezTo>
                  <a:cubicBezTo>
                    <a:pt x="327424" y="90814"/>
                    <a:pt x="327424" y="79936"/>
                    <a:pt x="332864" y="74496"/>
                  </a:cubicBezTo>
                  <a:cubicBezTo>
                    <a:pt x="335583" y="71776"/>
                    <a:pt x="335583" y="69057"/>
                    <a:pt x="338303" y="63618"/>
                  </a:cubicBezTo>
                  <a:cubicBezTo>
                    <a:pt x="341023" y="60898"/>
                    <a:pt x="346462" y="58178"/>
                    <a:pt x="349182" y="58178"/>
                  </a:cubicBezTo>
                  <a:cubicBezTo>
                    <a:pt x="351901" y="58178"/>
                    <a:pt x="357341" y="60898"/>
                    <a:pt x="357341" y="63618"/>
                  </a:cubicBezTo>
                  <a:cubicBezTo>
                    <a:pt x="360060" y="69057"/>
                    <a:pt x="365500" y="77216"/>
                    <a:pt x="365500" y="82655"/>
                  </a:cubicBezTo>
                  <a:cubicBezTo>
                    <a:pt x="365500" y="90814"/>
                    <a:pt x="368219" y="123450"/>
                    <a:pt x="368219" y="142488"/>
                  </a:cubicBezTo>
                  <a:cubicBezTo>
                    <a:pt x="368219" y="158806"/>
                    <a:pt x="368219" y="177843"/>
                    <a:pt x="368219" y="188722"/>
                  </a:cubicBezTo>
                  <a:cubicBezTo>
                    <a:pt x="368219" y="213199"/>
                    <a:pt x="370939" y="224077"/>
                    <a:pt x="370939" y="245834"/>
                  </a:cubicBezTo>
                  <a:cubicBezTo>
                    <a:pt x="370939" y="256713"/>
                    <a:pt x="370939" y="286629"/>
                    <a:pt x="354621" y="286629"/>
                  </a:cubicBezTo>
                  <a:cubicBezTo>
                    <a:pt x="346462" y="286629"/>
                    <a:pt x="343742" y="283910"/>
                    <a:pt x="338303" y="281190"/>
                  </a:cubicBezTo>
                  <a:cubicBezTo>
                    <a:pt x="332864" y="278470"/>
                    <a:pt x="330144" y="270311"/>
                    <a:pt x="330144" y="264872"/>
                  </a:cubicBezTo>
                  <a:cubicBezTo>
                    <a:pt x="327424" y="256713"/>
                    <a:pt x="327424" y="251274"/>
                    <a:pt x="327424" y="248554"/>
                  </a:cubicBezTo>
                  <a:cubicBezTo>
                    <a:pt x="327424" y="240395"/>
                    <a:pt x="330144" y="234956"/>
                    <a:pt x="330144" y="221357"/>
                  </a:cubicBezTo>
                  <a:cubicBezTo>
                    <a:pt x="330144" y="213199"/>
                    <a:pt x="330144" y="202320"/>
                    <a:pt x="330144" y="188722"/>
                  </a:cubicBezTo>
                  <a:cubicBezTo>
                    <a:pt x="330144" y="180563"/>
                    <a:pt x="327424" y="172404"/>
                    <a:pt x="327424" y="164245"/>
                  </a:cubicBezTo>
                  <a:cubicBezTo>
                    <a:pt x="324705" y="153366"/>
                    <a:pt x="319265" y="142488"/>
                    <a:pt x="311107" y="134329"/>
                  </a:cubicBezTo>
                  <a:cubicBezTo>
                    <a:pt x="302948" y="126170"/>
                    <a:pt x="294789" y="120730"/>
                    <a:pt x="283910" y="118011"/>
                  </a:cubicBezTo>
                  <a:cubicBezTo>
                    <a:pt x="275751" y="115291"/>
                    <a:pt x="262153" y="112571"/>
                    <a:pt x="251274" y="112571"/>
                  </a:cubicBezTo>
                  <a:cubicBezTo>
                    <a:pt x="237676" y="112571"/>
                    <a:pt x="224077" y="115291"/>
                    <a:pt x="215918" y="123450"/>
                  </a:cubicBezTo>
                  <a:cubicBezTo>
                    <a:pt x="207759" y="128889"/>
                    <a:pt x="205040" y="139768"/>
                    <a:pt x="202320" y="147927"/>
                  </a:cubicBezTo>
                  <a:cubicBezTo>
                    <a:pt x="196881" y="158806"/>
                    <a:pt x="191442" y="166964"/>
                    <a:pt x="188722" y="180563"/>
                  </a:cubicBezTo>
                  <a:cubicBezTo>
                    <a:pt x="186002" y="191441"/>
                    <a:pt x="183283" y="199600"/>
                    <a:pt x="183283" y="210479"/>
                  </a:cubicBezTo>
                  <a:cubicBezTo>
                    <a:pt x="183283" y="215918"/>
                    <a:pt x="186002" y="221357"/>
                    <a:pt x="188722" y="226797"/>
                  </a:cubicBezTo>
                  <a:cubicBezTo>
                    <a:pt x="191442" y="234956"/>
                    <a:pt x="188722" y="243115"/>
                    <a:pt x="188722" y="248554"/>
                  </a:cubicBezTo>
                  <a:cubicBezTo>
                    <a:pt x="191442" y="259433"/>
                    <a:pt x="202320" y="264872"/>
                    <a:pt x="210479" y="273031"/>
                  </a:cubicBezTo>
                  <a:cubicBezTo>
                    <a:pt x="218638" y="281190"/>
                    <a:pt x="221358" y="292069"/>
                    <a:pt x="226797" y="300228"/>
                  </a:cubicBezTo>
                  <a:cubicBezTo>
                    <a:pt x="234956" y="311106"/>
                    <a:pt x="245835" y="321985"/>
                    <a:pt x="256713" y="332864"/>
                  </a:cubicBezTo>
                  <a:cubicBezTo>
                    <a:pt x="259433" y="338303"/>
                    <a:pt x="267592" y="343742"/>
                    <a:pt x="275751" y="351901"/>
                  </a:cubicBezTo>
                  <a:cubicBezTo>
                    <a:pt x="292069" y="368219"/>
                    <a:pt x="311107" y="384537"/>
                    <a:pt x="324705" y="400855"/>
                  </a:cubicBezTo>
                  <a:cubicBezTo>
                    <a:pt x="332864" y="409014"/>
                    <a:pt x="335583" y="419892"/>
                    <a:pt x="343742" y="428051"/>
                  </a:cubicBezTo>
                  <a:cubicBezTo>
                    <a:pt x="346462" y="430771"/>
                    <a:pt x="349182" y="430771"/>
                    <a:pt x="351901" y="433491"/>
                  </a:cubicBezTo>
                  <a:cubicBezTo>
                    <a:pt x="354621" y="436210"/>
                    <a:pt x="357341" y="441650"/>
                    <a:pt x="360060" y="447089"/>
                  </a:cubicBezTo>
                  <a:cubicBezTo>
                    <a:pt x="368219" y="455248"/>
                    <a:pt x="376378" y="463407"/>
                    <a:pt x="384537" y="474286"/>
                  </a:cubicBezTo>
                  <a:cubicBezTo>
                    <a:pt x="389977" y="482445"/>
                    <a:pt x="392696" y="496043"/>
                    <a:pt x="395416" y="506921"/>
                  </a:cubicBezTo>
                  <a:cubicBezTo>
                    <a:pt x="400855" y="517800"/>
                    <a:pt x="400855" y="528679"/>
                    <a:pt x="406295" y="536838"/>
                  </a:cubicBezTo>
                  <a:cubicBezTo>
                    <a:pt x="409014" y="539557"/>
                    <a:pt x="409014" y="544997"/>
                    <a:pt x="409014" y="547716"/>
                  </a:cubicBezTo>
                  <a:cubicBezTo>
                    <a:pt x="409014" y="555875"/>
                    <a:pt x="406295" y="561314"/>
                    <a:pt x="406295" y="569473"/>
                  </a:cubicBezTo>
                  <a:cubicBezTo>
                    <a:pt x="406295" y="574913"/>
                    <a:pt x="403575" y="577632"/>
                    <a:pt x="403575" y="583072"/>
                  </a:cubicBezTo>
                  <a:lnTo>
                    <a:pt x="403575" y="583072"/>
                  </a:ln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/>
            </a:p>
          </p:txBody>
        </p:sp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id="{3B3E68FC-F99A-473C-A1B9-AA803E7F6CFB}"/>
                </a:ext>
              </a:extLst>
            </p:cNvPr>
            <p:cNvSpPr/>
            <p:nvPr/>
          </p:nvSpPr>
          <p:spPr>
            <a:xfrm>
              <a:off x="2456032" y="4192158"/>
              <a:ext cx="571128" cy="761503"/>
            </a:xfrm>
            <a:custGeom>
              <a:avLst/>
              <a:gdLst>
                <a:gd name="connsiteX0" fmla="*/ 512361 w 571128"/>
                <a:gd name="connsiteY0" fmla="*/ 79936 h 761503"/>
                <a:gd name="connsiteX1" fmla="*/ 539558 w 571128"/>
                <a:gd name="connsiteY1" fmla="*/ 96253 h 761503"/>
                <a:gd name="connsiteX2" fmla="*/ 534118 w 571128"/>
                <a:gd name="connsiteY2" fmla="*/ 112571 h 761503"/>
                <a:gd name="connsiteX3" fmla="*/ 523240 w 571128"/>
                <a:gd name="connsiteY3" fmla="*/ 120730 h 761503"/>
                <a:gd name="connsiteX4" fmla="*/ 506922 w 571128"/>
                <a:gd name="connsiteY4" fmla="*/ 123450 h 761503"/>
                <a:gd name="connsiteX5" fmla="*/ 477006 w 571128"/>
                <a:gd name="connsiteY5" fmla="*/ 123450 h 761503"/>
                <a:gd name="connsiteX6" fmla="*/ 479725 w 571128"/>
                <a:gd name="connsiteY6" fmla="*/ 145207 h 761503"/>
                <a:gd name="connsiteX7" fmla="*/ 477006 w 571128"/>
                <a:gd name="connsiteY7" fmla="*/ 180563 h 761503"/>
                <a:gd name="connsiteX8" fmla="*/ 482445 w 571128"/>
                <a:gd name="connsiteY8" fmla="*/ 232236 h 761503"/>
                <a:gd name="connsiteX9" fmla="*/ 485165 w 571128"/>
                <a:gd name="connsiteY9" fmla="*/ 283910 h 761503"/>
                <a:gd name="connsiteX10" fmla="*/ 485165 w 571128"/>
                <a:gd name="connsiteY10" fmla="*/ 327424 h 761503"/>
                <a:gd name="connsiteX11" fmla="*/ 487884 w 571128"/>
                <a:gd name="connsiteY11" fmla="*/ 373658 h 761503"/>
                <a:gd name="connsiteX12" fmla="*/ 485165 w 571128"/>
                <a:gd name="connsiteY12" fmla="*/ 419892 h 761503"/>
                <a:gd name="connsiteX13" fmla="*/ 485165 w 571128"/>
                <a:gd name="connsiteY13" fmla="*/ 463407 h 761503"/>
                <a:gd name="connsiteX14" fmla="*/ 482445 w 571128"/>
                <a:gd name="connsiteY14" fmla="*/ 515080 h 761503"/>
                <a:gd name="connsiteX15" fmla="*/ 482445 w 571128"/>
                <a:gd name="connsiteY15" fmla="*/ 558595 h 761503"/>
                <a:gd name="connsiteX16" fmla="*/ 479725 w 571128"/>
                <a:gd name="connsiteY16" fmla="*/ 602109 h 761503"/>
                <a:gd name="connsiteX17" fmla="*/ 485165 w 571128"/>
                <a:gd name="connsiteY17" fmla="*/ 648343 h 761503"/>
                <a:gd name="connsiteX18" fmla="*/ 474286 w 571128"/>
                <a:gd name="connsiteY18" fmla="*/ 675540 h 761503"/>
                <a:gd name="connsiteX19" fmla="*/ 428052 w 571128"/>
                <a:gd name="connsiteY19" fmla="*/ 691858 h 761503"/>
                <a:gd name="connsiteX20" fmla="*/ 387257 w 571128"/>
                <a:gd name="connsiteY20" fmla="*/ 683699 h 761503"/>
                <a:gd name="connsiteX21" fmla="*/ 351901 w 571128"/>
                <a:gd name="connsiteY21" fmla="*/ 664661 h 761503"/>
                <a:gd name="connsiteX22" fmla="*/ 305667 w 571128"/>
                <a:gd name="connsiteY22" fmla="*/ 596670 h 761503"/>
                <a:gd name="connsiteX23" fmla="*/ 270312 w 571128"/>
                <a:gd name="connsiteY23" fmla="*/ 509641 h 761503"/>
                <a:gd name="connsiteX24" fmla="*/ 251274 w 571128"/>
                <a:gd name="connsiteY24" fmla="*/ 460687 h 761503"/>
                <a:gd name="connsiteX25" fmla="*/ 224077 w 571128"/>
                <a:gd name="connsiteY25" fmla="*/ 381817 h 761503"/>
                <a:gd name="connsiteX26" fmla="*/ 207759 w 571128"/>
                <a:gd name="connsiteY26" fmla="*/ 330144 h 761503"/>
                <a:gd name="connsiteX27" fmla="*/ 191442 w 571128"/>
                <a:gd name="connsiteY27" fmla="*/ 286629 h 761503"/>
                <a:gd name="connsiteX28" fmla="*/ 183283 w 571128"/>
                <a:gd name="connsiteY28" fmla="*/ 278470 h 761503"/>
                <a:gd name="connsiteX29" fmla="*/ 180563 w 571128"/>
                <a:gd name="connsiteY29" fmla="*/ 292069 h 761503"/>
                <a:gd name="connsiteX30" fmla="*/ 180563 w 571128"/>
                <a:gd name="connsiteY30" fmla="*/ 305667 h 761503"/>
                <a:gd name="connsiteX31" fmla="*/ 183283 w 571128"/>
                <a:gd name="connsiteY31" fmla="*/ 354621 h 761503"/>
                <a:gd name="connsiteX32" fmla="*/ 188722 w 571128"/>
                <a:gd name="connsiteY32" fmla="*/ 449809 h 761503"/>
                <a:gd name="connsiteX33" fmla="*/ 188722 w 571128"/>
                <a:gd name="connsiteY33" fmla="*/ 479725 h 761503"/>
                <a:gd name="connsiteX34" fmla="*/ 188722 w 571128"/>
                <a:gd name="connsiteY34" fmla="*/ 542277 h 761503"/>
                <a:gd name="connsiteX35" fmla="*/ 186002 w 571128"/>
                <a:gd name="connsiteY35" fmla="*/ 615708 h 761503"/>
                <a:gd name="connsiteX36" fmla="*/ 186002 w 571128"/>
                <a:gd name="connsiteY36" fmla="*/ 637465 h 761503"/>
                <a:gd name="connsiteX37" fmla="*/ 183283 w 571128"/>
                <a:gd name="connsiteY37" fmla="*/ 664661 h 761503"/>
                <a:gd name="connsiteX38" fmla="*/ 226797 w 571128"/>
                <a:gd name="connsiteY38" fmla="*/ 664661 h 761503"/>
                <a:gd name="connsiteX39" fmla="*/ 253994 w 571128"/>
                <a:gd name="connsiteY39" fmla="*/ 680979 h 761503"/>
                <a:gd name="connsiteX40" fmla="*/ 248554 w 571128"/>
                <a:gd name="connsiteY40" fmla="*/ 697297 h 761503"/>
                <a:gd name="connsiteX41" fmla="*/ 234956 w 571128"/>
                <a:gd name="connsiteY41" fmla="*/ 705456 h 761503"/>
                <a:gd name="connsiteX42" fmla="*/ 218638 w 571128"/>
                <a:gd name="connsiteY42" fmla="*/ 708176 h 761503"/>
                <a:gd name="connsiteX43" fmla="*/ 183283 w 571128"/>
                <a:gd name="connsiteY43" fmla="*/ 708176 h 761503"/>
                <a:gd name="connsiteX44" fmla="*/ 150647 w 571128"/>
                <a:gd name="connsiteY44" fmla="*/ 708176 h 761503"/>
                <a:gd name="connsiteX45" fmla="*/ 107132 w 571128"/>
                <a:gd name="connsiteY45" fmla="*/ 708176 h 761503"/>
                <a:gd name="connsiteX46" fmla="*/ 88094 w 571128"/>
                <a:gd name="connsiteY46" fmla="*/ 708176 h 761503"/>
                <a:gd name="connsiteX47" fmla="*/ 69057 w 571128"/>
                <a:gd name="connsiteY47" fmla="*/ 702737 h 761503"/>
                <a:gd name="connsiteX48" fmla="*/ 58178 w 571128"/>
                <a:gd name="connsiteY48" fmla="*/ 686419 h 761503"/>
                <a:gd name="connsiteX49" fmla="*/ 60898 w 571128"/>
                <a:gd name="connsiteY49" fmla="*/ 678260 h 761503"/>
                <a:gd name="connsiteX50" fmla="*/ 77216 w 571128"/>
                <a:gd name="connsiteY50" fmla="*/ 670101 h 761503"/>
                <a:gd name="connsiteX51" fmla="*/ 120730 w 571128"/>
                <a:gd name="connsiteY51" fmla="*/ 664661 h 761503"/>
                <a:gd name="connsiteX52" fmla="*/ 131609 w 571128"/>
                <a:gd name="connsiteY52" fmla="*/ 664661 h 761503"/>
                <a:gd name="connsiteX53" fmla="*/ 134329 w 571128"/>
                <a:gd name="connsiteY53" fmla="*/ 539557 h 761503"/>
                <a:gd name="connsiteX54" fmla="*/ 134329 w 571128"/>
                <a:gd name="connsiteY54" fmla="*/ 504202 h 761503"/>
                <a:gd name="connsiteX55" fmla="*/ 131609 w 571128"/>
                <a:gd name="connsiteY55" fmla="*/ 376378 h 761503"/>
                <a:gd name="connsiteX56" fmla="*/ 131609 w 571128"/>
                <a:gd name="connsiteY56" fmla="*/ 302947 h 761503"/>
                <a:gd name="connsiteX57" fmla="*/ 134329 w 571128"/>
                <a:gd name="connsiteY57" fmla="*/ 221357 h 761503"/>
                <a:gd name="connsiteX58" fmla="*/ 137048 w 571128"/>
                <a:gd name="connsiteY58" fmla="*/ 123450 h 761503"/>
                <a:gd name="connsiteX59" fmla="*/ 107132 w 571128"/>
                <a:gd name="connsiteY59" fmla="*/ 123450 h 761503"/>
                <a:gd name="connsiteX60" fmla="*/ 88094 w 571128"/>
                <a:gd name="connsiteY60" fmla="*/ 123450 h 761503"/>
                <a:gd name="connsiteX61" fmla="*/ 69057 w 571128"/>
                <a:gd name="connsiteY61" fmla="*/ 118011 h 761503"/>
                <a:gd name="connsiteX62" fmla="*/ 58178 w 571128"/>
                <a:gd name="connsiteY62" fmla="*/ 101693 h 761503"/>
                <a:gd name="connsiteX63" fmla="*/ 60898 w 571128"/>
                <a:gd name="connsiteY63" fmla="*/ 93534 h 761503"/>
                <a:gd name="connsiteX64" fmla="*/ 77216 w 571128"/>
                <a:gd name="connsiteY64" fmla="*/ 85375 h 761503"/>
                <a:gd name="connsiteX65" fmla="*/ 131609 w 571128"/>
                <a:gd name="connsiteY65" fmla="*/ 79936 h 761503"/>
                <a:gd name="connsiteX66" fmla="*/ 161525 w 571128"/>
                <a:gd name="connsiteY66" fmla="*/ 79936 h 761503"/>
                <a:gd name="connsiteX67" fmla="*/ 177843 w 571128"/>
                <a:gd name="connsiteY67" fmla="*/ 66337 h 761503"/>
                <a:gd name="connsiteX68" fmla="*/ 202320 w 571128"/>
                <a:gd name="connsiteY68" fmla="*/ 58178 h 761503"/>
                <a:gd name="connsiteX69" fmla="*/ 234956 w 571128"/>
                <a:gd name="connsiteY69" fmla="*/ 77216 h 761503"/>
                <a:gd name="connsiteX70" fmla="*/ 251274 w 571128"/>
                <a:gd name="connsiteY70" fmla="*/ 107132 h 761503"/>
                <a:gd name="connsiteX71" fmla="*/ 267592 w 571128"/>
                <a:gd name="connsiteY71" fmla="*/ 147927 h 761503"/>
                <a:gd name="connsiteX72" fmla="*/ 281190 w 571128"/>
                <a:gd name="connsiteY72" fmla="*/ 183282 h 761503"/>
                <a:gd name="connsiteX73" fmla="*/ 297508 w 571128"/>
                <a:gd name="connsiteY73" fmla="*/ 224077 h 761503"/>
                <a:gd name="connsiteX74" fmla="*/ 308387 w 571128"/>
                <a:gd name="connsiteY74" fmla="*/ 264872 h 761503"/>
                <a:gd name="connsiteX75" fmla="*/ 319265 w 571128"/>
                <a:gd name="connsiteY75" fmla="*/ 300228 h 761503"/>
                <a:gd name="connsiteX76" fmla="*/ 351901 w 571128"/>
                <a:gd name="connsiteY76" fmla="*/ 379098 h 761503"/>
                <a:gd name="connsiteX77" fmla="*/ 365500 w 571128"/>
                <a:gd name="connsiteY77" fmla="*/ 417173 h 761503"/>
                <a:gd name="connsiteX78" fmla="*/ 379098 w 571128"/>
                <a:gd name="connsiteY78" fmla="*/ 457968 h 761503"/>
                <a:gd name="connsiteX79" fmla="*/ 395416 w 571128"/>
                <a:gd name="connsiteY79" fmla="*/ 496043 h 761503"/>
                <a:gd name="connsiteX80" fmla="*/ 406295 w 571128"/>
                <a:gd name="connsiteY80" fmla="*/ 512361 h 761503"/>
                <a:gd name="connsiteX81" fmla="*/ 411734 w 571128"/>
                <a:gd name="connsiteY81" fmla="*/ 531398 h 761503"/>
                <a:gd name="connsiteX82" fmla="*/ 419893 w 571128"/>
                <a:gd name="connsiteY82" fmla="*/ 558595 h 761503"/>
                <a:gd name="connsiteX83" fmla="*/ 425332 w 571128"/>
                <a:gd name="connsiteY83" fmla="*/ 564034 h 761503"/>
                <a:gd name="connsiteX84" fmla="*/ 430771 w 571128"/>
                <a:gd name="connsiteY84" fmla="*/ 558595 h 761503"/>
                <a:gd name="connsiteX85" fmla="*/ 430771 w 571128"/>
                <a:gd name="connsiteY85" fmla="*/ 550436 h 761503"/>
                <a:gd name="connsiteX86" fmla="*/ 430771 w 571128"/>
                <a:gd name="connsiteY86" fmla="*/ 501482 h 761503"/>
                <a:gd name="connsiteX87" fmla="*/ 430771 w 571128"/>
                <a:gd name="connsiteY87" fmla="*/ 403575 h 761503"/>
                <a:gd name="connsiteX88" fmla="*/ 425332 w 571128"/>
                <a:gd name="connsiteY88" fmla="*/ 313826 h 761503"/>
                <a:gd name="connsiteX89" fmla="*/ 425332 w 571128"/>
                <a:gd name="connsiteY89" fmla="*/ 248554 h 761503"/>
                <a:gd name="connsiteX90" fmla="*/ 425332 w 571128"/>
                <a:gd name="connsiteY90" fmla="*/ 210479 h 761503"/>
                <a:gd name="connsiteX91" fmla="*/ 422613 w 571128"/>
                <a:gd name="connsiteY91" fmla="*/ 153366 h 761503"/>
                <a:gd name="connsiteX92" fmla="*/ 425332 w 571128"/>
                <a:gd name="connsiteY92" fmla="*/ 123450 h 761503"/>
                <a:gd name="connsiteX93" fmla="*/ 398136 w 571128"/>
                <a:gd name="connsiteY93" fmla="*/ 123450 h 761503"/>
                <a:gd name="connsiteX94" fmla="*/ 379098 w 571128"/>
                <a:gd name="connsiteY94" fmla="*/ 123450 h 761503"/>
                <a:gd name="connsiteX95" fmla="*/ 360060 w 571128"/>
                <a:gd name="connsiteY95" fmla="*/ 118011 h 761503"/>
                <a:gd name="connsiteX96" fmla="*/ 349182 w 571128"/>
                <a:gd name="connsiteY96" fmla="*/ 101693 h 761503"/>
                <a:gd name="connsiteX97" fmla="*/ 351901 w 571128"/>
                <a:gd name="connsiteY97" fmla="*/ 93534 h 761503"/>
                <a:gd name="connsiteX98" fmla="*/ 368219 w 571128"/>
                <a:gd name="connsiteY98" fmla="*/ 85375 h 761503"/>
                <a:gd name="connsiteX99" fmla="*/ 422613 w 571128"/>
                <a:gd name="connsiteY99" fmla="*/ 79936 h 761503"/>
                <a:gd name="connsiteX100" fmla="*/ 444370 w 571128"/>
                <a:gd name="connsiteY100" fmla="*/ 79936 h 761503"/>
                <a:gd name="connsiteX101" fmla="*/ 463407 w 571128"/>
                <a:gd name="connsiteY101" fmla="*/ 71776 h 761503"/>
                <a:gd name="connsiteX102" fmla="*/ 477006 w 571128"/>
                <a:gd name="connsiteY102" fmla="*/ 79936 h 761503"/>
                <a:gd name="connsiteX103" fmla="*/ 512361 w 571128"/>
                <a:gd name="connsiteY103" fmla="*/ 79936 h 761503"/>
                <a:gd name="connsiteX104" fmla="*/ 512361 w 571128"/>
                <a:gd name="connsiteY104" fmla="*/ 79936 h 761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</a:cxnLst>
              <a:rect l="l" t="t" r="r" b="b"/>
              <a:pathLst>
                <a:path w="571128" h="761503">
                  <a:moveTo>
                    <a:pt x="512361" y="79936"/>
                  </a:moveTo>
                  <a:cubicBezTo>
                    <a:pt x="520520" y="79936"/>
                    <a:pt x="539558" y="79936"/>
                    <a:pt x="539558" y="96253"/>
                  </a:cubicBezTo>
                  <a:cubicBezTo>
                    <a:pt x="539558" y="104412"/>
                    <a:pt x="539558" y="107132"/>
                    <a:pt x="534118" y="112571"/>
                  </a:cubicBezTo>
                  <a:cubicBezTo>
                    <a:pt x="531399" y="118011"/>
                    <a:pt x="525960" y="120730"/>
                    <a:pt x="523240" y="120730"/>
                  </a:cubicBezTo>
                  <a:cubicBezTo>
                    <a:pt x="515081" y="123450"/>
                    <a:pt x="512361" y="123450"/>
                    <a:pt x="506922" y="123450"/>
                  </a:cubicBezTo>
                  <a:cubicBezTo>
                    <a:pt x="504202" y="123450"/>
                    <a:pt x="490604" y="123450"/>
                    <a:pt x="477006" y="123450"/>
                  </a:cubicBezTo>
                  <a:cubicBezTo>
                    <a:pt x="477006" y="131609"/>
                    <a:pt x="479725" y="137048"/>
                    <a:pt x="479725" y="145207"/>
                  </a:cubicBezTo>
                  <a:cubicBezTo>
                    <a:pt x="479725" y="156086"/>
                    <a:pt x="477006" y="166964"/>
                    <a:pt x="477006" y="180563"/>
                  </a:cubicBezTo>
                  <a:cubicBezTo>
                    <a:pt x="477006" y="196881"/>
                    <a:pt x="479725" y="215918"/>
                    <a:pt x="482445" y="232236"/>
                  </a:cubicBezTo>
                  <a:cubicBezTo>
                    <a:pt x="485165" y="248554"/>
                    <a:pt x="485165" y="267592"/>
                    <a:pt x="485165" y="283910"/>
                  </a:cubicBezTo>
                  <a:cubicBezTo>
                    <a:pt x="485165" y="297508"/>
                    <a:pt x="485165" y="313826"/>
                    <a:pt x="485165" y="327424"/>
                  </a:cubicBezTo>
                  <a:cubicBezTo>
                    <a:pt x="485165" y="343742"/>
                    <a:pt x="487884" y="357340"/>
                    <a:pt x="487884" y="373658"/>
                  </a:cubicBezTo>
                  <a:cubicBezTo>
                    <a:pt x="487884" y="389976"/>
                    <a:pt x="485165" y="403575"/>
                    <a:pt x="485165" y="419892"/>
                  </a:cubicBezTo>
                  <a:cubicBezTo>
                    <a:pt x="485165" y="436210"/>
                    <a:pt x="485165" y="449809"/>
                    <a:pt x="485165" y="463407"/>
                  </a:cubicBezTo>
                  <a:cubicBezTo>
                    <a:pt x="485165" y="479725"/>
                    <a:pt x="485165" y="498762"/>
                    <a:pt x="482445" y="515080"/>
                  </a:cubicBezTo>
                  <a:cubicBezTo>
                    <a:pt x="482445" y="528679"/>
                    <a:pt x="482445" y="542277"/>
                    <a:pt x="482445" y="558595"/>
                  </a:cubicBezTo>
                  <a:cubicBezTo>
                    <a:pt x="482445" y="572193"/>
                    <a:pt x="479725" y="588511"/>
                    <a:pt x="479725" y="602109"/>
                  </a:cubicBezTo>
                  <a:cubicBezTo>
                    <a:pt x="479725" y="615708"/>
                    <a:pt x="485165" y="632026"/>
                    <a:pt x="485165" y="648343"/>
                  </a:cubicBezTo>
                  <a:cubicBezTo>
                    <a:pt x="485165" y="659222"/>
                    <a:pt x="482445" y="670101"/>
                    <a:pt x="474286" y="675540"/>
                  </a:cubicBezTo>
                  <a:cubicBezTo>
                    <a:pt x="460688" y="686419"/>
                    <a:pt x="444370" y="691858"/>
                    <a:pt x="428052" y="691858"/>
                  </a:cubicBezTo>
                  <a:cubicBezTo>
                    <a:pt x="414454" y="691858"/>
                    <a:pt x="400855" y="689138"/>
                    <a:pt x="387257" y="683699"/>
                  </a:cubicBezTo>
                  <a:cubicBezTo>
                    <a:pt x="373659" y="678260"/>
                    <a:pt x="360060" y="672820"/>
                    <a:pt x="351901" y="664661"/>
                  </a:cubicBezTo>
                  <a:cubicBezTo>
                    <a:pt x="330144" y="645624"/>
                    <a:pt x="316546" y="621147"/>
                    <a:pt x="305667" y="596670"/>
                  </a:cubicBezTo>
                  <a:cubicBezTo>
                    <a:pt x="292069" y="569473"/>
                    <a:pt x="281190" y="539557"/>
                    <a:pt x="270312" y="509641"/>
                  </a:cubicBezTo>
                  <a:cubicBezTo>
                    <a:pt x="264872" y="493323"/>
                    <a:pt x="256713" y="477005"/>
                    <a:pt x="251274" y="460687"/>
                  </a:cubicBezTo>
                  <a:cubicBezTo>
                    <a:pt x="240395" y="433491"/>
                    <a:pt x="232236" y="409014"/>
                    <a:pt x="224077" y="381817"/>
                  </a:cubicBezTo>
                  <a:cubicBezTo>
                    <a:pt x="218638" y="365499"/>
                    <a:pt x="213199" y="346462"/>
                    <a:pt x="207759" y="330144"/>
                  </a:cubicBezTo>
                  <a:cubicBezTo>
                    <a:pt x="202320" y="316545"/>
                    <a:pt x="196881" y="300228"/>
                    <a:pt x="191442" y="286629"/>
                  </a:cubicBezTo>
                  <a:cubicBezTo>
                    <a:pt x="188722" y="281190"/>
                    <a:pt x="186002" y="278470"/>
                    <a:pt x="183283" y="278470"/>
                  </a:cubicBezTo>
                  <a:cubicBezTo>
                    <a:pt x="180563" y="278470"/>
                    <a:pt x="180563" y="286629"/>
                    <a:pt x="180563" y="292069"/>
                  </a:cubicBezTo>
                  <a:cubicBezTo>
                    <a:pt x="180563" y="297508"/>
                    <a:pt x="180563" y="302947"/>
                    <a:pt x="180563" y="305667"/>
                  </a:cubicBezTo>
                  <a:cubicBezTo>
                    <a:pt x="180563" y="321985"/>
                    <a:pt x="183283" y="338303"/>
                    <a:pt x="183283" y="354621"/>
                  </a:cubicBezTo>
                  <a:cubicBezTo>
                    <a:pt x="183283" y="387257"/>
                    <a:pt x="186002" y="417173"/>
                    <a:pt x="188722" y="449809"/>
                  </a:cubicBezTo>
                  <a:cubicBezTo>
                    <a:pt x="188722" y="460687"/>
                    <a:pt x="188722" y="468846"/>
                    <a:pt x="188722" y="479725"/>
                  </a:cubicBezTo>
                  <a:cubicBezTo>
                    <a:pt x="188722" y="501482"/>
                    <a:pt x="188722" y="523239"/>
                    <a:pt x="188722" y="542277"/>
                  </a:cubicBezTo>
                  <a:cubicBezTo>
                    <a:pt x="188722" y="566754"/>
                    <a:pt x="186002" y="591231"/>
                    <a:pt x="186002" y="615708"/>
                  </a:cubicBezTo>
                  <a:cubicBezTo>
                    <a:pt x="186002" y="623867"/>
                    <a:pt x="186002" y="632026"/>
                    <a:pt x="186002" y="637465"/>
                  </a:cubicBezTo>
                  <a:cubicBezTo>
                    <a:pt x="186002" y="645624"/>
                    <a:pt x="183283" y="656502"/>
                    <a:pt x="183283" y="664661"/>
                  </a:cubicBezTo>
                  <a:cubicBezTo>
                    <a:pt x="202320" y="664661"/>
                    <a:pt x="218638" y="664661"/>
                    <a:pt x="226797" y="664661"/>
                  </a:cubicBezTo>
                  <a:cubicBezTo>
                    <a:pt x="234956" y="664661"/>
                    <a:pt x="253994" y="664661"/>
                    <a:pt x="253994" y="680979"/>
                  </a:cubicBezTo>
                  <a:cubicBezTo>
                    <a:pt x="253994" y="689138"/>
                    <a:pt x="253994" y="691858"/>
                    <a:pt x="248554" y="697297"/>
                  </a:cubicBezTo>
                  <a:cubicBezTo>
                    <a:pt x="245835" y="702737"/>
                    <a:pt x="240395" y="705456"/>
                    <a:pt x="234956" y="705456"/>
                  </a:cubicBezTo>
                  <a:cubicBezTo>
                    <a:pt x="226797" y="708176"/>
                    <a:pt x="224077" y="708176"/>
                    <a:pt x="218638" y="708176"/>
                  </a:cubicBezTo>
                  <a:cubicBezTo>
                    <a:pt x="215918" y="708176"/>
                    <a:pt x="199600" y="708176"/>
                    <a:pt x="183283" y="708176"/>
                  </a:cubicBezTo>
                  <a:cubicBezTo>
                    <a:pt x="166965" y="708176"/>
                    <a:pt x="153366" y="708176"/>
                    <a:pt x="150647" y="708176"/>
                  </a:cubicBezTo>
                  <a:cubicBezTo>
                    <a:pt x="139768" y="708176"/>
                    <a:pt x="120730" y="708176"/>
                    <a:pt x="107132" y="708176"/>
                  </a:cubicBezTo>
                  <a:cubicBezTo>
                    <a:pt x="101693" y="708176"/>
                    <a:pt x="96253" y="708176"/>
                    <a:pt x="88094" y="708176"/>
                  </a:cubicBezTo>
                  <a:cubicBezTo>
                    <a:pt x="82655" y="708176"/>
                    <a:pt x="74496" y="708176"/>
                    <a:pt x="69057" y="702737"/>
                  </a:cubicBezTo>
                  <a:cubicBezTo>
                    <a:pt x="63618" y="700017"/>
                    <a:pt x="58178" y="691858"/>
                    <a:pt x="58178" y="686419"/>
                  </a:cubicBezTo>
                  <a:cubicBezTo>
                    <a:pt x="58178" y="683699"/>
                    <a:pt x="58178" y="680979"/>
                    <a:pt x="60898" y="678260"/>
                  </a:cubicBezTo>
                  <a:cubicBezTo>
                    <a:pt x="63618" y="675540"/>
                    <a:pt x="71777" y="672820"/>
                    <a:pt x="77216" y="670101"/>
                  </a:cubicBezTo>
                  <a:cubicBezTo>
                    <a:pt x="90814" y="667381"/>
                    <a:pt x="115291" y="664661"/>
                    <a:pt x="120730" y="664661"/>
                  </a:cubicBezTo>
                  <a:cubicBezTo>
                    <a:pt x="123450" y="664661"/>
                    <a:pt x="126170" y="664661"/>
                    <a:pt x="131609" y="664661"/>
                  </a:cubicBezTo>
                  <a:cubicBezTo>
                    <a:pt x="131609" y="623867"/>
                    <a:pt x="134329" y="583072"/>
                    <a:pt x="134329" y="539557"/>
                  </a:cubicBezTo>
                  <a:cubicBezTo>
                    <a:pt x="134329" y="528679"/>
                    <a:pt x="134329" y="515080"/>
                    <a:pt x="134329" y="504202"/>
                  </a:cubicBezTo>
                  <a:cubicBezTo>
                    <a:pt x="131609" y="460687"/>
                    <a:pt x="131609" y="417173"/>
                    <a:pt x="131609" y="376378"/>
                  </a:cubicBezTo>
                  <a:cubicBezTo>
                    <a:pt x="131609" y="351901"/>
                    <a:pt x="131609" y="327424"/>
                    <a:pt x="131609" y="302947"/>
                  </a:cubicBezTo>
                  <a:cubicBezTo>
                    <a:pt x="131609" y="275751"/>
                    <a:pt x="131609" y="248554"/>
                    <a:pt x="134329" y="221357"/>
                  </a:cubicBezTo>
                  <a:cubicBezTo>
                    <a:pt x="134329" y="188722"/>
                    <a:pt x="137048" y="156086"/>
                    <a:pt x="137048" y="123450"/>
                  </a:cubicBezTo>
                  <a:cubicBezTo>
                    <a:pt x="126170" y="123450"/>
                    <a:pt x="115291" y="123450"/>
                    <a:pt x="107132" y="123450"/>
                  </a:cubicBezTo>
                  <a:cubicBezTo>
                    <a:pt x="101693" y="123450"/>
                    <a:pt x="96253" y="123450"/>
                    <a:pt x="88094" y="123450"/>
                  </a:cubicBezTo>
                  <a:cubicBezTo>
                    <a:pt x="82655" y="123450"/>
                    <a:pt x="74496" y="120730"/>
                    <a:pt x="69057" y="118011"/>
                  </a:cubicBezTo>
                  <a:cubicBezTo>
                    <a:pt x="63618" y="115291"/>
                    <a:pt x="58178" y="107132"/>
                    <a:pt x="58178" y="101693"/>
                  </a:cubicBezTo>
                  <a:cubicBezTo>
                    <a:pt x="58178" y="98973"/>
                    <a:pt x="58178" y="96253"/>
                    <a:pt x="60898" y="93534"/>
                  </a:cubicBezTo>
                  <a:cubicBezTo>
                    <a:pt x="63618" y="90814"/>
                    <a:pt x="71777" y="88095"/>
                    <a:pt x="77216" y="85375"/>
                  </a:cubicBezTo>
                  <a:cubicBezTo>
                    <a:pt x="90814" y="82655"/>
                    <a:pt x="126170" y="79936"/>
                    <a:pt x="131609" y="79936"/>
                  </a:cubicBezTo>
                  <a:cubicBezTo>
                    <a:pt x="137048" y="79936"/>
                    <a:pt x="147927" y="79936"/>
                    <a:pt x="161525" y="79936"/>
                  </a:cubicBezTo>
                  <a:cubicBezTo>
                    <a:pt x="166965" y="74496"/>
                    <a:pt x="172404" y="71776"/>
                    <a:pt x="177843" y="66337"/>
                  </a:cubicBezTo>
                  <a:cubicBezTo>
                    <a:pt x="186002" y="60898"/>
                    <a:pt x="194161" y="58178"/>
                    <a:pt x="202320" y="58178"/>
                  </a:cubicBezTo>
                  <a:cubicBezTo>
                    <a:pt x="215918" y="58178"/>
                    <a:pt x="226797" y="63618"/>
                    <a:pt x="234956" y="77216"/>
                  </a:cubicBezTo>
                  <a:cubicBezTo>
                    <a:pt x="240395" y="88095"/>
                    <a:pt x="248554" y="96253"/>
                    <a:pt x="251274" y="107132"/>
                  </a:cubicBezTo>
                  <a:cubicBezTo>
                    <a:pt x="256713" y="120730"/>
                    <a:pt x="259433" y="134329"/>
                    <a:pt x="267592" y="147927"/>
                  </a:cubicBezTo>
                  <a:cubicBezTo>
                    <a:pt x="273031" y="158806"/>
                    <a:pt x="275751" y="172404"/>
                    <a:pt x="281190" y="183282"/>
                  </a:cubicBezTo>
                  <a:cubicBezTo>
                    <a:pt x="286630" y="196881"/>
                    <a:pt x="292069" y="210479"/>
                    <a:pt x="297508" y="224077"/>
                  </a:cubicBezTo>
                  <a:cubicBezTo>
                    <a:pt x="300228" y="237676"/>
                    <a:pt x="305667" y="251274"/>
                    <a:pt x="308387" y="264872"/>
                  </a:cubicBezTo>
                  <a:cubicBezTo>
                    <a:pt x="311107" y="278470"/>
                    <a:pt x="311107" y="289349"/>
                    <a:pt x="319265" y="300228"/>
                  </a:cubicBezTo>
                  <a:cubicBezTo>
                    <a:pt x="332864" y="324704"/>
                    <a:pt x="346462" y="351901"/>
                    <a:pt x="351901" y="379098"/>
                  </a:cubicBezTo>
                  <a:cubicBezTo>
                    <a:pt x="354621" y="392696"/>
                    <a:pt x="360060" y="403575"/>
                    <a:pt x="365500" y="417173"/>
                  </a:cubicBezTo>
                  <a:cubicBezTo>
                    <a:pt x="373659" y="430771"/>
                    <a:pt x="373659" y="444369"/>
                    <a:pt x="379098" y="457968"/>
                  </a:cubicBezTo>
                  <a:cubicBezTo>
                    <a:pt x="381818" y="471566"/>
                    <a:pt x="387257" y="482445"/>
                    <a:pt x="395416" y="496043"/>
                  </a:cubicBezTo>
                  <a:cubicBezTo>
                    <a:pt x="398136" y="501482"/>
                    <a:pt x="403575" y="506921"/>
                    <a:pt x="406295" y="512361"/>
                  </a:cubicBezTo>
                  <a:cubicBezTo>
                    <a:pt x="409014" y="517800"/>
                    <a:pt x="409014" y="525959"/>
                    <a:pt x="411734" y="531398"/>
                  </a:cubicBezTo>
                  <a:cubicBezTo>
                    <a:pt x="414454" y="539557"/>
                    <a:pt x="417173" y="550436"/>
                    <a:pt x="419893" y="558595"/>
                  </a:cubicBezTo>
                  <a:cubicBezTo>
                    <a:pt x="422613" y="561314"/>
                    <a:pt x="422613" y="564034"/>
                    <a:pt x="425332" y="564034"/>
                  </a:cubicBezTo>
                  <a:cubicBezTo>
                    <a:pt x="428052" y="564034"/>
                    <a:pt x="428052" y="561314"/>
                    <a:pt x="430771" y="558595"/>
                  </a:cubicBezTo>
                  <a:cubicBezTo>
                    <a:pt x="430771" y="555875"/>
                    <a:pt x="430771" y="553156"/>
                    <a:pt x="430771" y="550436"/>
                  </a:cubicBezTo>
                  <a:cubicBezTo>
                    <a:pt x="430771" y="534118"/>
                    <a:pt x="430771" y="517800"/>
                    <a:pt x="430771" y="501482"/>
                  </a:cubicBezTo>
                  <a:cubicBezTo>
                    <a:pt x="430771" y="468846"/>
                    <a:pt x="433491" y="436210"/>
                    <a:pt x="430771" y="403575"/>
                  </a:cubicBezTo>
                  <a:cubicBezTo>
                    <a:pt x="430771" y="373658"/>
                    <a:pt x="425332" y="343742"/>
                    <a:pt x="425332" y="313826"/>
                  </a:cubicBezTo>
                  <a:cubicBezTo>
                    <a:pt x="425332" y="292069"/>
                    <a:pt x="425332" y="270311"/>
                    <a:pt x="425332" y="248554"/>
                  </a:cubicBezTo>
                  <a:cubicBezTo>
                    <a:pt x="425332" y="234956"/>
                    <a:pt x="425332" y="224077"/>
                    <a:pt x="425332" y="210479"/>
                  </a:cubicBezTo>
                  <a:cubicBezTo>
                    <a:pt x="425332" y="191441"/>
                    <a:pt x="422613" y="172404"/>
                    <a:pt x="422613" y="153366"/>
                  </a:cubicBezTo>
                  <a:cubicBezTo>
                    <a:pt x="422613" y="142488"/>
                    <a:pt x="422613" y="134329"/>
                    <a:pt x="425332" y="123450"/>
                  </a:cubicBezTo>
                  <a:cubicBezTo>
                    <a:pt x="417173" y="123450"/>
                    <a:pt x="406295" y="123450"/>
                    <a:pt x="398136" y="123450"/>
                  </a:cubicBezTo>
                  <a:cubicBezTo>
                    <a:pt x="392696" y="123450"/>
                    <a:pt x="387257" y="123450"/>
                    <a:pt x="379098" y="123450"/>
                  </a:cubicBezTo>
                  <a:cubicBezTo>
                    <a:pt x="373659" y="123450"/>
                    <a:pt x="365500" y="120730"/>
                    <a:pt x="360060" y="118011"/>
                  </a:cubicBezTo>
                  <a:cubicBezTo>
                    <a:pt x="354621" y="115291"/>
                    <a:pt x="349182" y="107132"/>
                    <a:pt x="349182" y="101693"/>
                  </a:cubicBezTo>
                  <a:cubicBezTo>
                    <a:pt x="349182" y="98973"/>
                    <a:pt x="349182" y="96253"/>
                    <a:pt x="351901" y="93534"/>
                  </a:cubicBezTo>
                  <a:cubicBezTo>
                    <a:pt x="354621" y="90814"/>
                    <a:pt x="362780" y="88095"/>
                    <a:pt x="368219" y="85375"/>
                  </a:cubicBezTo>
                  <a:cubicBezTo>
                    <a:pt x="381818" y="82655"/>
                    <a:pt x="417173" y="79936"/>
                    <a:pt x="422613" y="79936"/>
                  </a:cubicBezTo>
                  <a:cubicBezTo>
                    <a:pt x="428052" y="79936"/>
                    <a:pt x="433491" y="79936"/>
                    <a:pt x="444370" y="79936"/>
                  </a:cubicBezTo>
                  <a:cubicBezTo>
                    <a:pt x="449809" y="74496"/>
                    <a:pt x="455248" y="71776"/>
                    <a:pt x="463407" y="71776"/>
                  </a:cubicBezTo>
                  <a:cubicBezTo>
                    <a:pt x="471566" y="71776"/>
                    <a:pt x="477006" y="74496"/>
                    <a:pt x="477006" y="79936"/>
                  </a:cubicBezTo>
                  <a:cubicBezTo>
                    <a:pt x="490604" y="82655"/>
                    <a:pt x="504202" y="79936"/>
                    <a:pt x="512361" y="79936"/>
                  </a:cubicBezTo>
                  <a:lnTo>
                    <a:pt x="512361" y="79936"/>
                  </a:ln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/>
            </a:p>
          </p:txBody>
        </p:sp>
        <p:sp>
          <p:nvSpPr>
            <p:cNvPr id="35" name="Freeform: Shape 34">
              <a:extLst>
                <a:ext uri="{FF2B5EF4-FFF2-40B4-BE49-F238E27FC236}">
                  <a16:creationId xmlns:a16="http://schemas.microsoft.com/office/drawing/2014/main" id="{974323F7-3F56-422F-B8F9-319B4269C514}"/>
                </a:ext>
              </a:extLst>
            </p:cNvPr>
            <p:cNvSpPr/>
            <p:nvPr/>
          </p:nvSpPr>
          <p:spPr>
            <a:xfrm>
              <a:off x="2987430" y="4242177"/>
              <a:ext cx="494979" cy="674476"/>
            </a:xfrm>
            <a:custGeom>
              <a:avLst/>
              <a:gdLst>
                <a:gd name="connsiteX0" fmla="*/ 228453 w 494979"/>
                <a:gd name="connsiteY0" fmla="*/ 97907 h 674476"/>
                <a:gd name="connsiteX1" fmla="*/ 212135 w 494979"/>
                <a:gd name="connsiteY1" fmla="*/ 119665 h 674476"/>
                <a:gd name="connsiteX2" fmla="*/ 203976 w 494979"/>
                <a:gd name="connsiteY2" fmla="*/ 152300 h 674476"/>
                <a:gd name="connsiteX3" fmla="*/ 201256 w 494979"/>
                <a:gd name="connsiteY3" fmla="*/ 168618 h 674476"/>
                <a:gd name="connsiteX4" fmla="*/ 198537 w 494979"/>
                <a:gd name="connsiteY4" fmla="*/ 184936 h 674476"/>
                <a:gd name="connsiteX5" fmla="*/ 190378 w 494979"/>
                <a:gd name="connsiteY5" fmla="*/ 220292 h 674476"/>
                <a:gd name="connsiteX6" fmla="*/ 171340 w 494979"/>
                <a:gd name="connsiteY6" fmla="*/ 291003 h 674476"/>
                <a:gd name="connsiteX7" fmla="*/ 163180 w 494979"/>
                <a:gd name="connsiteY7" fmla="*/ 323639 h 674476"/>
                <a:gd name="connsiteX8" fmla="*/ 152302 w 494979"/>
                <a:gd name="connsiteY8" fmla="*/ 361714 h 674476"/>
                <a:gd name="connsiteX9" fmla="*/ 146862 w 494979"/>
                <a:gd name="connsiteY9" fmla="*/ 388910 h 674476"/>
                <a:gd name="connsiteX10" fmla="*/ 152302 w 494979"/>
                <a:gd name="connsiteY10" fmla="*/ 391630 h 674476"/>
                <a:gd name="connsiteX11" fmla="*/ 174060 w 494979"/>
                <a:gd name="connsiteY11" fmla="*/ 391630 h 674476"/>
                <a:gd name="connsiteX12" fmla="*/ 195817 w 494979"/>
                <a:gd name="connsiteY12" fmla="*/ 388910 h 674476"/>
                <a:gd name="connsiteX13" fmla="*/ 214855 w 494979"/>
                <a:gd name="connsiteY13" fmla="*/ 388910 h 674476"/>
                <a:gd name="connsiteX14" fmla="*/ 239332 w 494979"/>
                <a:gd name="connsiteY14" fmla="*/ 388910 h 674476"/>
                <a:gd name="connsiteX15" fmla="*/ 252930 w 494979"/>
                <a:gd name="connsiteY15" fmla="*/ 386191 h 674476"/>
                <a:gd name="connsiteX16" fmla="*/ 261089 w 494979"/>
                <a:gd name="connsiteY16" fmla="*/ 386191 h 674476"/>
                <a:gd name="connsiteX17" fmla="*/ 258369 w 494979"/>
                <a:gd name="connsiteY17" fmla="*/ 367153 h 674476"/>
                <a:gd name="connsiteX18" fmla="*/ 252930 w 494979"/>
                <a:gd name="connsiteY18" fmla="*/ 331797 h 674476"/>
                <a:gd name="connsiteX19" fmla="*/ 250210 w 494979"/>
                <a:gd name="connsiteY19" fmla="*/ 244769 h 674476"/>
                <a:gd name="connsiteX20" fmla="*/ 244771 w 494979"/>
                <a:gd name="connsiteY20" fmla="*/ 203974 h 674476"/>
                <a:gd name="connsiteX21" fmla="*/ 239332 w 494979"/>
                <a:gd name="connsiteY21" fmla="*/ 157740 h 674476"/>
                <a:gd name="connsiteX22" fmla="*/ 236612 w 494979"/>
                <a:gd name="connsiteY22" fmla="*/ 119665 h 674476"/>
                <a:gd name="connsiteX23" fmla="*/ 228453 w 494979"/>
                <a:gd name="connsiteY23" fmla="*/ 97907 h 674476"/>
                <a:gd name="connsiteX24" fmla="*/ 274687 w 494979"/>
                <a:gd name="connsiteY24" fmla="*/ 0 h 674476"/>
                <a:gd name="connsiteX25" fmla="*/ 304603 w 494979"/>
                <a:gd name="connsiteY25" fmla="*/ 5439 h 674476"/>
                <a:gd name="connsiteX26" fmla="*/ 320921 w 494979"/>
                <a:gd name="connsiteY26" fmla="*/ 24477 h 674476"/>
                <a:gd name="connsiteX27" fmla="*/ 334519 w 494979"/>
                <a:gd name="connsiteY27" fmla="*/ 43515 h 674476"/>
                <a:gd name="connsiteX28" fmla="*/ 339959 w 494979"/>
                <a:gd name="connsiteY28" fmla="*/ 65272 h 674476"/>
                <a:gd name="connsiteX29" fmla="*/ 348118 w 494979"/>
                <a:gd name="connsiteY29" fmla="*/ 114226 h 674476"/>
                <a:gd name="connsiteX30" fmla="*/ 361716 w 494979"/>
                <a:gd name="connsiteY30" fmla="*/ 163180 h 674476"/>
                <a:gd name="connsiteX31" fmla="*/ 369875 w 494979"/>
                <a:gd name="connsiteY31" fmla="*/ 220293 h 674476"/>
                <a:gd name="connsiteX32" fmla="*/ 378034 w 494979"/>
                <a:gd name="connsiteY32" fmla="*/ 274686 h 674476"/>
                <a:gd name="connsiteX33" fmla="*/ 383473 w 494979"/>
                <a:gd name="connsiteY33" fmla="*/ 301883 h 674476"/>
                <a:gd name="connsiteX34" fmla="*/ 391632 w 494979"/>
                <a:gd name="connsiteY34" fmla="*/ 337238 h 674476"/>
                <a:gd name="connsiteX35" fmla="*/ 397071 w 494979"/>
                <a:gd name="connsiteY35" fmla="*/ 364435 h 674476"/>
                <a:gd name="connsiteX36" fmla="*/ 405230 w 494979"/>
                <a:gd name="connsiteY36" fmla="*/ 383473 h 674476"/>
                <a:gd name="connsiteX37" fmla="*/ 416109 w 494979"/>
                <a:gd name="connsiteY37" fmla="*/ 386192 h 674476"/>
                <a:gd name="connsiteX38" fmla="*/ 426988 w 494979"/>
                <a:gd name="connsiteY38" fmla="*/ 386192 h 674476"/>
                <a:gd name="connsiteX39" fmla="*/ 454184 w 494979"/>
                <a:gd name="connsiteY39" fmla="*/ 397071 h 674476"/>
                <a:gd name="connsiteX40" fmla="*/ 456904 w 494979"/>
                <a:gd name="connsiteY40" fmla="*/ 405230 h 674476"/>
                <a:gd name="connsiteX41" fmla="*/ 451465 w 494979"/>
                <a:gd name="connsiteY41" fmla="*/ 416108 h 674476"/>
                <a:gd name="connsiteX42" fmla="*/ 432427 w 494979"/>
                <a:gd name="connsiteY42" fmla="*/ 429707 h 674476"/>
                <a:gd name="connsiteX43" fmla="*/ 421548 w 494979"/>
                <a:gd name="connsiteY43" fmla="*/ 432426 h 674476"/>
                <a:gd name="connsiteX44" fmla="*/ 413389 w 494979"/>
                <a:gd name="connsiteY44" fmla="*/ 435146 h 674476"/>
                <a:gd name="connsiteX45" fmla="*/ 413389 w 494979"/>
                <a:gd name="connsiteY45" fmla="*/ 440585 h 674476"/>
                <a:gd name="connsiteX46" fmla="*/ 416109 w 494979"/>
                <a:gd name="connsiteY46" fmla="*/ 451464 h 674476"/>
                <a:gd name="connsiteX47" fmla="*/ 418829 w 494979"/>
                <a:gd name="connsiteY47" fmla="*/ 465062 h 674476"/>
                <a:gd name="connsiteX48" fmla="*/ 418829 w 494979"/>
                <a:gd name="connsiteY48" fmla="*/ 475941 h 674476"/>
                <a:gd name="connsiteX49" fmla="*/ 418829 w 494979"/>
                <a:gd name="connsiteY49" fmla="*/ 486820 h 674476"/>
                <a:gd name="connsiteX50" fmla="*/ 426988 w 494979"/>
                <a:gd name="connsiteY50" fmla="*/ 516736 h 674476"/>
                <a:gd name="connsiteX51" fmla="*/ 432427 w 494979"/>
                <a:gd name="connsiteY51" fmla="*/ 543932 h 674476"/>
                <a:gd name="connsiteX52" fmla="*/ 437866 w 494979"/>
                <a:gd name="connsiteY52" fmla="*/ 573848 h 674476"/>
                <a:gd name="connsiteX53" fmla="*/ 443306 w 494979"/>
                <a:gd name="connsiteY53" fmla="*/ 606484 h 674476"/>
                <a:gd name="connsiteX54" fmla="*/ 446025 w 494979"/>
                <a:gd name="connsiteY54" fmla="*/ 617363 h 674476"/>
                <a:gd name="connsiteX55" fmla="*/ 470502 w 494979"/>
                <a:gd name="connsiteY55" fmla="*/ 617363 h 674476"/>
                <a:gd name="connsiteX56" fmla="*/ 494979 w 494979"/>
                <a:gd name="connsiteY56" fmla="*/ 641840 h 674476"/>
                <a:gd name="connsiteX57" fmla="*/ 486820 w 494979"/>
                <a:gd name="connsiteY57" fmla="*/ 655438 h 674476"/>
                <a:gd name="connsiteX58" fmla="*/ 470502 w 494979"/>
                <a:gd name="connsiteY58" fmla="*/ 663597 h 674476"/>
                <a:gd name="connsiteX59" fmla="*/ 446025 w 494979"/>
                <a:gd name="connsiteY59" fmla="*/ 666317 h 674476"/>
                <a:gd name="connsiteX60" fmla="*/ 424268 w 494979"/>
                <a:gd name="connsiteY60" fmla="*/ 666317 h 674476"/>
                <a:gd name="connsiteX61" fmla="*/ 416109 w 494979"/>
                <a:gd name="connsiteY61" fmla="*/ 666317 h 674476"/>
                <a:gd name="connsiteX62" fmla="*/ 402511 w 494979"/>
                <a:gd name="connsiteY62" fmla="*/ 671756 h 674476"/>
                <a:gd name="connsiteX63" fmla="*/ 386193 w 494979"/>
                <a:gd name="connsiteY63" fmla="*/ 674476 h 674476"/>
                <a:gd name="connsiteX64" fmla="*/ 350837 w 494979"/>
                <a:gd name="connsiteY64" fmla="*/ 669036 h 674476"/>
                <a:gd name="connsiteX65" fmla="*/ 329080 w 494979"/>
                <a:gd name="connsiteY65" fmla="*/ 669036 h 674476"/>
                <a:gd name="connsiteX66" fmla="*/ 280126 w 494979"/>
                <a:gd name="connsiteY66" fmla="*/ 669036 h 674476"/>
                <a:gd name="connsiteX67" fmla="*/ 255649 w 494979"/>
                <a:gd name="connsiteY67" fmla="*/ 663597 h 674476"/>
                <a:gd name="connsiteX68" fmla="*/ 239331 w 494979"/>
                <a:gd name="connsiteY68" fmla="*/ 647279 h 674476"/>
                <a:gd name="connsiteX69" fmla="*/ 263808 w 494979"/>
                <a:gd name="connsiteY69" fmla="*/ 630961 h 674476"/>
                <a:gd name="connsiteX70" fmla="*/ 291005 w 494979"/>
                <a:gd name="connsiteY70" fmla="*/ 628241 h 674476"/>
                <a:gd name="connsiteX71" fmla="*/ 288285 w 494979"/>
                <a:gd name="connsiteY71" fmla="*/ 609204 h 674476"/>
                <a:gd name="connsiteX72" fmla="*/ 285565 w 494979"/>
                <a:gd name="connsiteY72" fmla="*/ 582007 h 674476"/>
                <a:gd name="connsiteX73" fmla="*/ 282846 w 494979"/>
                <a:gd name="connsiteY73" fmla="*/ 568409 h 674476"/>
                <a:gd name="connsiteX74" fmla="*/ 285565 w 494979"/>
                <a:gd name="connsiteY74" fmla="*/ 554811 h 674476"/>
                <a:gd name="connsiteX75" fmla="*/ 280126 w 494979"/>
                <a:gd name="connsiteY75" fmla="*/ 538493 h 674476"/>
                <a:gd name="connsiteX76" fmla="*/ 274687 w 494979"/>
                <a:gd name="connsiteY76" fmla="*/ 505857 h 674476"/>
                <a:gd name="connsiteX77" fmla="*/ 271967 w 494979"/>
                <a:gd name="connsiteY77" fmla="*/ 478660 h 674476"/>
                <a:gd name="connsiteX78" fmla="*/ 269247 w 494979"/>
                <a:gd name="connsiteY78" fmla="*/ 446025 h 674476"/>
                <a:gd name="connsiteX79" fmla="*/ 263808 w 494979"/>
                <a:gd name="connsiteY79" fmla="*/ 437866 h 674476"/>
                <a:gd name="connsiteX80" fmla="*/ 252929 w 494979"/>
                <a:gd name="connsiteY80" fmla="*/ 437866 h 674476"/>
                <a:gd name="connsiteX81" fmla="*/ 223013 w 494979"/>
                <a:gd name="connsiteY81" fmla="*/ 440585 h 674476"/>
                <a:gd name="connsiteX82" fmla="*/ 193097 w 494979"/>
                <a:gd name="connsiteY82" fmla="*/ 443305 h 674476"/>
                <a:gd name="connsiteX83" fmla="*/ 168620 w 494979"/>
                <a:gd name="connsiteY83" fmla="*/ 443305 h 674476"/>
                <a:gd name="connsiteX84" fmla="*/ 146862 w 494979"/>
                <a:gd name="connsiteY84" fmla="*/ 440585 h 674476"/>
                <a:gd name="connsiteX85" fmla="*/ 138703 w 494979"/>
                <a:gd name="connsiteY85" fmla="*/ 454184 h 674476"/>
                <a:gd name="connsiteX86" fmla="*/ 133263 w 494979"/>
                <a:gd name="connsiteY86" fmla="*/ 486820 h 674476"/>
                <a:gd name="connsiteX87" fmla="*/ 122385 w 494979"/>
                <a:gd name="connsiteY87" fmla="*/ 541213 h 674476"/>
                <a:gd name="connsiteX88" fmla="*/ 106067 w 494979"/>
                <a:gd name="connsiteY88" fmla="*/ 614643 h 674476"/>
                <a:gd name="connsiteX89" fmla="*/ 135983 w 494979"/>
                <a:gd name="connsiteY89" fmla="*/ 614643 h 674476"/>
                <a:gd name="connsiteX90" fmla="*/ 171340 w 494979"/>
                <a:gd name="connsiteY90" fmla="*/ 630961 h 674476"/>
                <a:gd name="connsiteX91" fmla="*/ 165900 w 494979"/>
                <a:gd name="connsiteY91" fmla="*/ 647279 h 674476"/>
                <a:gd name="connsiteX92" fmla="*/ 149581 w 494979"/>
                <a:gd name="connsiteY92" fmla="*/ 655438 h 674476"/>
                <a:gd name="connsiteX93" fmla="*/ 127824 w 494979"/>
                <a:gd name="connsiteY93" fmla="*/ 658158 h 674476"/>
                <a:gd name="connsiteX94" fmla="*/ 106067 w 494979"/>
                <a:gd name="connsiteY94" fmla="*/ 658158 h 674476"/>
                <a:gd name="connsiteX95" fmla="*/ 62552 w 494979"/>
                <a:gd name="connsiteY95" fmla="*/ 658158 h 674476"/>
                <a:gd name="connsiteX96" fmla="*/ 40795 w 494979"/>
                <a:gd name="connsiteY96" fmla="*/ 658158 h 674476"/>
                <a:gd name="connsiteX97" fmla="*/ 16318 w 494979"/>
                <a:gd name="connsiteY97" fmla="*/ 652718 h 674476"/>
                <a:gd name="connsiteX98" fmla="*/ 0 w 494979"/>
                <a:gd name="connsiteY98" fmla="*/ 636401 h 674476"/>
                <a:gd name="connsiteX99" fmla="*/ 2720 w 494979"/>
                <a:gd name="connsiteY99" fmla="*/ 628241 h 674476"/>
                <a:gd name="connsiteX100" fmla="*/ 24477 w 494979"/>
                <a:gd name="connsiteY100" fmla="*/ 620082 h 674476"/>
                <a:gd name="connsiteX101" fmla="*/ 62552 w 494979"/>
                <a:gd name="connsiteY101" fmla="*/ 617363 h 674476"/>
                <a:gd name="connsiteX102" fmla="*/ 62552 w 494979"/>
                <a:gd name="connsiteY102" fmla="*/ 614643 h 674476"/>
                <a:gd name="connsiteX103" fmla="*/ 65272 w 494979"/>
                <a:gd name="connsiteY103" fmla="*/ 587447 h 674476"/>
                <a:gd name="connsiteX104" fmla="*/ 76151 w 494979"/>
                <a:gd name="connsiteY104" fmla="*/ 522175 h 674476"/>
                <a:gd name="connsiteX105" fmla="*/ 87029 w 494979"/>
                <a:gd name="connsiteY105" fmla="*/ 470501 h 674476"/>
                <a:gd name="connsiteX106" fmla="*/ 92469 w 494979"/>
                <a:gd name="connsiteY106" fmla="*/ 446025 h 674476"/>
                <a:gd name="connsiteX107" fmla="*/ 65272 w 494979"/>
                <a:gd name="connsiteY107" fmla="*/ 432426 h 674476"/>
                <a:gd name="connsiteX108" fmla="*/ 54393 w 494979"/>
                <a:gd name="connsiteY108" fmla="*/ 421548 h 674476"/>
                <a:gd name="connsiteX109" fmla="*/ 73431 w 494979"/>
                <a:gd name="connsiteY109" fmla="*/ 407949 h 674476"/>
                <a:gd name="connsiteX110" fmla="*/ 100628 w 494979"/>
                <a:gd name="connsiteY110" fmla="*/ 399790 h 674476"/>
                <a:gd name="connsiteX111" fmla="*/ 108787 w 494979"/>
                <a:gd name="connsiteY111" fmla="*/ 369874 h 674476"/>
                <a:gd name="connsiteX112" fmla="*/ 125105 w 494979"/>
                <a:gd name="connsiteY112" fmla="*/ 307322 h 674476"/>
                <a:gd name="connsiteX113" fmla="*/ 141423 w 494979"/>
                <a:gd name="connsiteY113" fmla="*/ 242051 h 674476"/>
                <a:gd name="connsiteX114" fmla="*/ 155021 w 494979"/>
                <a:gd name="connsiteY114" fmla="*/ 179498 h 674476"/>
                <a:gd name="connsiteX115" fmla="*/ 168620 w 494979"/>
                <a:gd name="connsiteY115" fmla="*/ 119665 h 674476"/>
                <a:gd name="connsiteX116" fmla="*/ 193097 w 494979"/>
                <a:gd name="connsiteY116" fmla="*/ 57113 h 674476"/>
                <a:gd name="connsiteX117" fmla="*/ 201256 w 494979"/>
                <a:gd name="connsiteY117" fmla="*/ 38075 h 674476"/>
                <a:gd name="connsiteX118" fmla="*/ 217574 w 494979"/>
                <a:gd name="connsiteY118" fmla="*/ 13598 h 674476"/>
                <a:gd name="connsiteX119" fmla="*/ 274687 w 494979"/>
                <a:gd name="connsiteY119" fmla="*/ 0 h 6744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</a:cxnLst>
              <a:rect l="l" t="t" r="r" b="b"/>
              <a:pathLst>
                <a:path w="494979" h="674476">
                  <a:moveTo>
                    <a:pt x="228453" y="97907"/>
                  </a:moveTo>
                  <a:cubicBezTo>
                    <a:pt x="220294" y="97907"/>
                    <a:pt x="212135" y="114225"/>
                    <a:pt x="212135" y="119665"/>
                  </a:cubicBezTo>
                  <a:cubicBezTo>
                    <a:pt x="209415" y="130543"/>
                    <a:pt x="206696" y="144141"/>
                    <a:pt x="203976" y="152300"/>
                  </a:cubicBezTo>
                  <a:cubicBezTo>
                    <a:pt x="201256" y="157740"/>
                    <a:pt x="201256" y="163179"/>
                    <a:pt x="201256" y="168618"/>
                  </a:cubicBezTo>
                  <a:cubicBezTo>
                    <a:pt x="201256" y="174058"/>
                    <a:pt x="198537" y="179497"/>
                    <a:pt x="198537" y="184936"/>
                  </a:cubicBezTo>
                  <a:cubicBezTo>
                    <a:pt x="195817" y="195815"/>
                    <a:pt x="193097" y="209413"/>
                    <a:pt x="190378" y="220292"/>
                  </a:cubicBezTo>
                  <a:cubicBezTo>
                    <a:pt x="187658" y="244769"/>
                    <a:pt x="179499" y="269246"/>
                    <a:pt x="171340" y="291003"/>
                  </a:cubicBezTo>
                  <a:cubicBezTo>
                    <a:pt x="168620" y="301881"/>
                    <a:pt x="165900" y="312760"/>
                    <a:pt x="163180" y="323639"/>
                  </a:cubicBezTo>
                  <a:cubicBezTo>
                    <a:pt x="160461" y="337237"/>
                    <a:pt x="157741" y="348115"/>
                    <a:pt x="152302" y="361714"/>
                  </a:cubicBezTo>
                  <a:cubicBezTo>
                    <a:pt x="149582" y="367153"/>
                    <a:pt x="146862" y="383471"/>
                    <a:pt x="146862" y="388910"/>
                  </a:cubicBezTo>
                  <a:cubicBezTo>
                    <a:pt x="146862" y="391630"/>
                    <a:pt x="149582" y="391630"/>
                    <a:pt x="152302" y="391630"/>
                  </a:cubicBezTo>
                  <a:cubicBezTo>
                    <a:pt x="157741" y="391630"/>
                    <a:pt x="171340" y="391630"/>
                    <a:pt x="174060" y="391630"/>
                  </a:cubicBezTo>
                  <a:cubicBezTo>
                    <a:pt x="182219" y="391630"/>
                    <a:pt x="190378" y="391630"/>
                    <a:pt x="195817" y="388910"/>
                  </a:cubicBezTo>
                  <a:cubicBezTo>
                    <a:pt x="201256" y="388910"/>
                    <a:pt x="206696" y="388910"/>
                    <a:pt x="214855" y="388910"/>
                  </a:cubicBezTo>
                  <a:cubicBezTo>
                    <a:pt x="220294" y="388910"/>
                    <a:pt x="228453" y="388910"/>
                    <a:pt x="239332" y="388910"/>
                  </a:cubicBezTo>
                  <a:cubicBezTo>
                    <a:pt x="244771" y="388910"/>
                    <a:pt x="250210" y="388910"/>
                    <a:pt x="252930" y="386191"/>
                  </a:cubicBezTo>
                  <a:cubicBezTo>
                    <a:pt x="258369" y="391630"/>
                    <a:pt x="261089" y="388910"/>
                    <a:pt x="261089" y="386191"/>
                  </a:cubicBezTo>
                  <a:cubicBezTo>
                    <a:pt x="261089" y="380751"/>
                    <a:pt x="258369" y="372592"/>
                    <a:pt x="258369" y="367153"/>
                  </a:cubicBezTo>
                  <a:cubicBezTo>
                    <a:pt x="255650" y="353555"/>
                    <a:pt x="252930" y="342676"/>
                    <a:pt x="252930" y="331797"/>
                  </a:cubicBezTo>
                  <a:cubicBezTo>
                    <a:pt x="252930" y="301881"/>
                    <a:pt x="252930" y="274685"/>
                    <a:pt x="250210" y="244769"/>
                  </a:cubicBezTo>
                  <a:cubicBezTo>
                    <a:pt x="250210" y="231170"/>
                    <a:pt x="247491" y="217572"/>
                    <a:pt x="244771" y="203974"/>
                  </a:cubicBezTo>
                  <a:cubicBezTo>
                    <a:pt x="242051" y="187656"/>
                    <a:pt x="239332" y="174058"/>
                    <a:pt x="239332" y="157740"/>
                  </a:cubicBezTo>
                  <a:cubicBezTo>
                    <a:pt x="239332" y="152300"/>
                    <a:pt x="239332" y="133263"/>
                    <a:pt x="236612" y="119665"/>
                  </a:cubicBezTo>
                  <a:cubicBezTo>
                    <a:pt x="236612" y="106066"/>
                    <a:pt x="233892" y="97907"/>
                    <a:pt x="228453" y="97907"/>
                  </a:cubicBezTo>
                  <a:close/>
                  <a:moveTo>
                    <a:pt x="274687" y="0"/>
                  </a:moveTo>
                  <a:cubicBezTo>
                    <a:pt x="288285" y="0"/>
                    <a:pt x="293724" y="2720"/>
                    <a:pt x="304603" y="5439"/>
                  </a:cubicBezTo>
                  <a:cubicBezTo>
                    <a:pt x="315482" y="10879"/>
                    <a:pt x="315482" y="16318"/>
                    <a:pt x="320921" y="24477"/>
                  </a:cubicBezTo>
                  <a:cubicBezTo>
                    <a:pt x="326360" y="29916"/>
                    <a:pt x="331800" y="35356"/>
                    <a:pt x="334519" y="43515"/>
                  </a:cubicBezTo>
                  <a:cubicBezTo>
                    <a:pt x="337239" y="51674"/>
                    <a:pt x="337239" y="57113"/>
                    <a:pt x="339959" y="65272"/>
                  </a:cubicBezTo>
                  <a:cubicBezTo>
                    <a:pt x="345398" y="78870"/>
                    <a:pt x="342678" y="97908"/>
                    <a:pt x="348118" y="114226"/>
                  </a:cubicBezTo>
                  <a:cubicBezTo>
                    <a:pt x="350837" y="130544"/>
                    <a:pt x="358996" y="146863"/>
                    <a:pt x="361716" y="163180"/>
                  </a:cubicBezTo>
                  <a:cubicBezTo>
                    <a:pt x="364435" y="182218"/>
                    <a:pt x="364435" y="201256"/>
                    <a:pt x="369875" y="220293"/>
                  </a:cubicBezTo>
                  <a:cubicBezTo>
                    <a:pt x="375314" y="239331"/>
                    <a:pt x="378034" y="255649"/>
                    <a:pt x="378034" y="274686"/>
                  </a:cubicBezTo>
                  <a:cubicBezTo>
                    <a:pt x="378034" y="282845"/>
                    <a:pt x="380753" y="293724"/>
                    <a:pt x="383473" y="301883"/>
                  </a:cubicBezTo>
                  <a:cubicBezTo>
                    <a:pt x="386193" y="312762"/>
                    <a:pt x="388912" y="326360"/>
                    <a:pt x="391632" y="337238"/>
                  </a:cubicBezTo>
                  <a:cubicBezTo>
                    <a:pt x="391632" y="342678"/>
                    <a:pt x="394352" y="353556"/>
                    <a:pt x="397071" y="364435"/>
                  </a:cubicBezTo>
                  <a:cubicBezTo>
                    <a:pt x="399791" y="372594"/>
                    <a:pt x="402511" y="380753"/>
                    <a:pt x="405230" y="383473"/>
                  </a:cubicBezTo>
                  <a:cubicBezTo>
                    <a:pt x="407950" y="386192"/>
                    <a:pt x="413389" y="386192"/>
                    <a:pt x="416109" y="386192"/>
                  </a:cubicBezTo>
                  <a:cubicBezTo>
                    <a:pt x="418829" y="386192"/>
                    <a:pt x="424268" y="386192"/>
                    <a:pt x="426988" y="386192"/>
                  </a:cubicBezTo>
                  <a:cubicBezTo>
                    <a:pt x="437866" y="386192"/>
                    <a:pt x="448745" y="388912"/>
                    <a:pt x="454184" y="397071"/>
                  </a:cubicBezTo>
                  <a:cubicBezTo>
                    <a:pt x="456904" y="399790"/>
                    <a:pt x="456904" y="402510"/>
                    <a:pt x="456904" y="405230"/>
                  </a:cubicBezTo>
                  <a:cubicBezTo>
                    <a:pt x="456904" y="407949"/>
                    <a:pt x="454184" y="410669"/>
                    <a:pt x="451465" y="416108"/>
                  </a:cubicBezTo>
                  <a:cubicBezTo>
                    <a:pt x="446025" y="421548"/>
                    <a:pt x="440586" y="426987"/>
                    <a:pt x="432427" y="429707"/>
                  </a:cubicBezTo>
                  <a:cubicBezTo>
                    <a:pt x="429707" y="429707"/>
                    <a:pt x="426988" y="432426"/>
                    <a:pt x="421548" y="432426"/>
                  </a:cubicBezTo>
                  <a:cubicBezTo>
                    <a:pt x="418829" y="432426"/>
                    <a:pt x="416109" y="432426"/>
                    <a:pt x="413389" y="435146"/>
                  </a:cubicBezTo>
                  <a:cubicBezTo>
                    <a:pt x="413389" y="435146"/>
                    <a:pt x="413389" y="437866"/>
                    <a:pt x="413389" y="440585"/>
                  </a:cubicBezTo>
                  <a:cubicBezTo>
                    <a:pt x="413389" y="443305"/>
                    <a:pt x="413389" y="448744"/>
                    <a:pt x="416109" y="451464"/>
                  </a:cubicBezTo>
                  <a:cubicBezTo>
                    <a:pt x="416109" y="456903"/>
                    <a:pt x="418829" y="462343"/>
                    <a:pt x="418829" y="465062"/>
                  </a:cubicBezTo>
                  <a:lnTo>
                    <a:pt x="418829" y="475941"/>
                  </a:lnTo>
                  <a:cubicBezTo>
                    <a:pt x="418829" y="481380"/>
                    <a:pt x="418829" y="484100"/>
                    <a:pt x="418829" y="486820"/>
                  </a:cubicBezTo>
                  <a:cubicBezTo>
                    <a:pt x="421548" y="497698"/>
                    <a:pt x="424268" y="505857"/>
                    <a:pt x="426988" y="516736"/>
                  </a:cubicBezTo>
                  <a:cubicBezTo>
                    <a:pt x="426988" y="524895"/>
                    <a:pt x="429707" y="535773"/>
                    <a:pt x="432427" y="543932"/>
                  </a:cubicBezTo>
                  <a:cubicBezTo>
                    <a:pt x="435147" y="554811"/>
                    <a:pt x="437866" y="562970"/>
                    <a:pt x="437866" y="573848"/>
                  </a:cubicBezTo>
                  <a:cubicBezTo>
                    <a:pt x="437866" y="587447"/>
                    <a:pt x="440586" y="595606"/>
                    <a:pt x="443306" y="606484"/>
                  </a:cubicBezTo>
                  <a:cubicBezTo>
                    <a:pt x="443306" y="609204"/>
                    <a:pt x="446025" y="614643"/>
                    <a:pt x="446025" y="617363"/>
                  </a:cubicBezTo>
                  <a:cubicBezTo>
                    <a:pt x="454184" y="617363"/>
                    <a:pt x="462343" y="617363"/>
                    <a:pt x="470502" y="617363"/>
                  </a:cubicBezTo>
                  <a:cubicBezTo>
                    <a:pt x="478661" y="625522"/>
                    <a:pt x="492259" y="630961"/>
                    <a:pt x="494979" y="641840"/>
                  </a:cubicBezTo>
                  <a:cubicBezTo>
                    <a:pt x="494979" y="647279"/>
                    <a:pt x="489540" y="649999"/>
                    <a:pt x="486820" y="655438"/>
                  </a:cubicBezTo>
                  <a:cubicBezTo>
                    <a:pt x="484100" y="660877"/>
                    <a:pt x="475942" y="663597"/>
                    <a:pt x="470502" y="663597"/>
                  </a:cubicBezTo>
                  <a:cubicBezTo>
                    <a:pt x="459623" y="666317"/>
                    <a:pt x="454184" y="666317"/>
                    <a:pt x="446025" y="666317"/>
                  </a:cubicBezTo>
                  <a:cubicBezTo>
                    <a:pt x="440586" y="666317"/>
                    <a:pt x="432427" y="666317"/>
                    <a:pt x="424268" y="666317"/>
                  </a:cubicBezTo>
                  <a:cubicBezTo>
                    <a:pt x="421548" y="666317"/>
                    <a:pt x="418829" y="666317"/>
                    <a:pt x="416109" y="666317"/>
                  </a:cubicBezTo>
                  <a:cubicBezTo>
                    <a:pt x="410670" y="669036"/>
                    <a:pt x="407950" y="669036"/>
                    <a:pt x="402511" y="671756"/>
                  </a:cubicBezTo>
                  <a:cubicBezTo>
                    <a:pt x="397071" y="671756"/>
                    <a:pt x="391632" y="674476"/>
                    <a:pt x="386193" y="674476"/>
                  </a:cubicBezTo>
                  <a:cubicBezTo>
                    <a:pt x="375314" y="674476"/>
                    <a:pt x="361716" y="671756"/>
                    <a:pt x="350837" y="669036"/>
                  </a:cubicBezTo>
                  <a:cubicBezTo>
                    <a:pt x="342678" y="669036"/>
                    <a:pt x="334519" y="669036"/>
                    <a:pt x="329080" y="669036"/>
                  </a:cubicBezTo>
                  <a:cubicBezTo>
                    <a:pt x="307323" y="669036"/>
                    <a:pt x="288285" y="669036"/>
                    <a:pt x="280126" y="669036"/>
                  </a:cubicBezTo>
                  <a:cubicBezTo>
                    <a:pt x="271967" y="669036"/>
                    <a:pt x="261088" y="669036"/>
                    <a:pt x="255649" y="663597"/>
                  </a:cubicBezTo>
                  <a:cubicBezTo>
                    <a:pt x="250210" y="660877"/>
                    <a:pt x="239331" y="655438"/>
                    <a:pt x="239331" y="647279"/>
                  </a:cubicBezTo>
                  <a:cubicBezTo>
                    <a:pt x="239331" y="636401"/>
                    <a:pt x="255649" y="633681"/>
                    <a:pt x="263808" y="630961"/>
                  </a:cubicBezTo>
                  <a:cubicBezTo>
                    <a:pt x="269247" y="630961"/>
                    <a:pt x="277406" y="630961"/>
                    <a:pt x="291005" y="628241"/>
                  </a:cubicBezTo>
                  <a:cubicBezTo>
                    <a:pt x="291005" y="620082"/>
                    <a:pt x="291005" y="614643"/>
                    <a:pt x="288285" y="609204"/>
                  </a:cubicBezTo>
                  <a:cubicBezTo>
                    <a:pt x="288285" y="601045"/>
                    <a:pt x="285565" y="590166"/>
                    <a:pt x="285565" y="582007"/>
                  </a:cubicBezTo>
                  <a:cubicBezTo>
                    <a:pt x="285565" y="576568"/>
                    <a:pt x="282846" y="573848"/>
                    <a:pt x="282846" y="568409"/>
                  </a:cubicBezTo>
                  <a:cubicBezTo>
                    <a:pt x="282846" y="562970"/>
                    <a:pt x="285565" y="557531"/>
                    <a:pt x="285565" y="554811"/>
                  </a:cubicBezTo>
                  <a:cubicBezTo>
                    <a:pt x="285565" y="549371"/>
                    <a:pt x="282846" y="546652"/>
                    <a:pt x="280126" y="538493"/>
                  </a:cubicBezTo>
                  <a:cubicBezTo>
                    <a:pt x="280126" y="527614"/>
                    <a:pt x="274687" y="516736"/>
                    <a:pt x="274687" y="505857"/>
                  </a:cubicBezTo>
                  <a:cubicBezTo>
                    <a:pt x="274687" y="494978"/>
                    <a:pt x="274687" y="486820"/>
                    <a:pt x="271967" y="478660"/>
                  </a:cubicBezTo>
                  <a:cubicBezTo>
                    <a:pt x="269247" y="467782"/>
                    <a:pt x="269247" y="456903"/>
                    <a:pt x="269247" y="446025"/>
                  </a:cubicBezTo>
                  <a:cubicBezTo>
                    <a:pt x="269247" y="440585"/>
                    <a:pt x="266528" y="437866"/>
                    <a:pt x="263808" y="437866"/>
                  </a:cubicBezTo>
                  <a:cubicBezTo>
                    <a:pt x="261088" y="437866"/>
                    <a:pt x="258369" y="437866"/>
                    <a:pt x="252929" y="437866"/>
                  </a:cubicBezTo>
                  <a:cubicBezTo>
                    <a:pt x="242051" y="437866"/>
                    <a:pt x="231172" y="437866"/>
                    <a:pt x="223013" y="440585"/>
                  </a:cubicBezTo>
                  <a:cubicBezTo>
                    <a:pt x="212135" y="440585"/>
                    <a:pt x="203976" y="443305"/>
                    <a:pt x="193097" y="443305"/>
                  </a:cubicBezTo>
                  <a:cubicBezTo>
                    <a:pt x="184938" y="443305"/>
                    <a:pt x="176779" y="443305"/>
                    <a:pt x="168620" y="443305"/>
                  </a:cubicBezTo>
                  <a:cubicBezTo>
                    <a:pt x="165900" y="443305"/>
                    <a:pt x="155021" y="440585"/>
                    <a:pt x="146862" y="440585"/>
                  </a:cubicBezTo>
                  <a:cubicBezTo>
                    <a:pt x="138703" y="440585"/>
                    <a:pt x="138703" y="448744"/>
                    <a:pt x="138703" y="454184"/>
                  </a:cubicBezTo>
                  <a:cubicBezTo>
                    <a:pt x="138703" y="465062"/>
                    <a:pt x="135983" y="475941"/>
                    <a:pt x="133263" y="486820"/>
                  </a:cubicBezTo>
                  <a:cubicBezTo>
                    <a:pt x="130544" y="505857"/>
                    <a:pt x="125105" y="522175"/>
                    <a:pt x="122385" y="541213"/>
                  </a:cubicBezTo>
                  <a:cubicBezTo>
                    <a:pt x="119665" y="560250"/>
                    <a:pt x="111506" y="595606"/>
                    <a:pt x="106067" y="614643"/>
                  </a:cubicBezTo>
                  <a:cubicBezTo>
                    <a:pt x="114226" y="614643"/>
                    <a:pt x="125105" y="614643"/>
                    <a:pt x="135983" y="614643"/>
                  </a:cubicBezTo>
                  <a:cubicBezTo>
                    <a:pt x="149581" y="614643"/>
                    <a:pt x="171340" y="614643"/>
                    <a:pt x="171340" y="630961"/>
                  </a:cubicBezTo>
                  <a:cubicBezTo>
                    <a:pt x="171340" y="639120"/>
                    <a:pt x="168620" y="639120"/>
                    <a:pt x="165900" y="647279"/>
                  </a:cubicBezTo>
                  <a:cubicBezTo>
                    <a:pt x="163181" y="652718"/>
                    <a:pt x="155021" y="655438"/>
                    <a:pt x="149581" y="655438"/>
                  </a:cubicBezTo>
                  <a:cubicBezTo>
                    <a:pt x="141423" y="658158"/>
                    <a:pt x="135983" y="658158"/>
                    <a:pt x="127824" y="658158"/>
                  </a:cubicBezTo>
                  <a:cubicBezTo>
                    <a:pt x="122385" y="658158"/>
                    <a:pt x="116946" y="658158"/>
                    <a:pt x="106067" y="658158"/>
                  </a:cubicBezTo>
                  <a:cubicBezTo>
                    <a:pt x="92469" y="658158"/>
                    <a:pt x="78870" y="658158"/>
                    <a:pt x="62552" y="658158"/>
                  </a:cubicBezTo>
                  <a:cubicBezTo>
                    <a:pt x="54393" y="658158"/>
                    <a:pt x="46234" y="658158"/>
                    <a:pt x="40795" y="658158"/>
                  </a:cubicBezTo>
                  <a:cubicBezTo>
                    <a:pt x="32636" y="658158"/>
                    <a:pt x="21758" y="658158"/>
                    <a:pt x="16318" y="652718"/>
                  </a:cubicBezTo>
                  <a:cubicBezTo>
                    <a:pt x="8159" y="649999"/>
                    <a:pt x="0" y="641840"/>
                    <a:pt x="0" y="636401"/>
                  </a:cubicBezTo>
                  <a:cubicBezTo>
                    <a:pt x="0" y="633681"/>
                    <a:pt x="0" y="630961"/>
                    <a:pt x="2720" y="628241"/>
                  </a:cubicBezTo>
                  <a:cubicBezTo>
                    <a:pt x="8159" y="625522"/>
                    <a:pt x="16318" y="622802"/>
                    <a:pt x="24477" y="620082"/>
                  </a:cubicBezTo>
                  <a:cubicBezTo>
                    <a:pt x="38075" y="617363"/>
                    <a:pt x="48954" y="617363"/>
                    <a:pt x="62552" y="617363"/>
                  </a:cubicBezTo>
                  <a:cubicBezTo>
                    <a:pt x="62552" y="617363"/>
                    <a:pt x="62552" y="614643"/>
                    <a:pt x="62552" y="614643"/>
                  </a:cubicBezTo>
                  <a:cubicBezTo>
                    <a:pt x="62552" y="603765"/>
                    <a:pt x="65272" y="590166"/>
                    <a:pt x="65272" y="587447"/>
                  </a:cubicBezTo>
                  <a:cubicBezTo>
                    <a:pt x="67992" y="565689"/>
                    <a:pt x="73431" y="543932"/>
                    <a:pt x="76151" y="522175"/>
                  </a:cubicBezTo>
                  <a:cubicBezTo>
                    <a:pt x="78870" y="505857"/>
                    <a:pt x="81590" y="486820"/>
                    <a:pt x="87029" y="470501"/>
                  </a:cubicBezTo>
                  <a:cubicBezTo>
                    <a:pt x="87029" y="465062"/>
                    <a:pt x="92469" y="451464"/>
                    <a:pt x="92469" y="446025"/>
                  </a:cubicBezTo>
                  <a:cubicBezTo>
                    <a:pt x="92469" y="437866"/>
                    <a:pt x="73431" y="437866"/>
                    <a:pt x="65272" y="432426"/>
                  </a:cubicBezTo>
                  <a:cubicBezTo>
                    <a:pt x="59833" y="429707"/>
                    <a:pt x="54393" y="426987"/>
                    <a:pt x="54393" y="421548"/>
                  </a:cubicBezTo>
                  <a:cubicBezTo>
                    <a:pt x="54393" y="413389"/>
                    <a:pt x="62552" y="410669"/>
                    <a:pt x="73431" y="407949"/>
                  </a:cubicBezTo>
                  <a:cubicBezTo>
                    <a:pt x="78870" y="407949"/>
                    <a:pt x="92469" y="405230"/>
                    <a:pt x="100628" y="399790"/>
                  </a:cubicBezTo>
                  <a:cubicBezTo>
                    <a:pt x="106067" y="394351"/>
                    <a:pt x="106067" y="378033"/>
                    <a:pt x="108787" y="369874"/>
                  </a:cubicBezTo>
                  <a:cubicBezTo>
                    <a:pt x="114226" y="348117"/>
                    <a:pt x="119665" y="326360"/>
                    <a:pt x="125105" y="307322"/>
                  </a:cubicBezTo>
                  <a:cubicBezTo>
                    <a:pt x="130544" y="285565"/>
                    <a:pt x="135983" y="263808"/>
                    <a:pt x="141423" y="242051"/>
                  </a:cubicBezTo>
                  <a:cubicBezTo>
                    <a:pt x="146862" y="220293"/>
                    <a:pt x="152301" y="198536"/>
                    <a:pt x="155021" y="179498"/>
                  </a:cubicBezTo>
                  <a:cubicBezTo>
                    <a:pt x="157740" y="160461"/>
                    <a:pt x="163181" y="138703"/>
                    <a:pt x="168620" y="119665"/>
                  </a:cubicBezTo>
                  <a:cubicBezTo>
                    <a:pt x="176779" y="100627"/>
                    <a:pt x="182218" y="76150"/>
                    <a:pt x="193097" y="57113"/>
                  </a:cubicBezTo>
                  <a:lnTo>
                    <a:pt x="201256" y="38075"/>
                  </a:lnTo>
                  <a:cubicBezTo>
                    <a:pt x="206695" y="29916"/>
                    <a:pt x="209415" y="19038"/>
                    <a:pt x="217574" y="13598"/>
                  </a:cubicBezTo>
                  <a:cubicBezTo>
                    <a:pt x="231172" y="2720"/>
                    <a:pt x="255649" y="0"/>
                    <a:pt x="274687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/>
            </a:p>
          </p:txBody>
        </p:sp>
        <p:sp>
          <p:nvSpPr>
            <p:cNvPr id="36" name="Freeform: Shape 35">
              <a:extLst>
                <a:ext uri="{FF2B5EF4-FFF2-40B4-BE49-F238E27FC236}">
                  <a16:creationId xmlns:a16="http://schemas.microsoft.com/office/drawing/2014/main" id="{FD6AB36C-2BB9-458F-9B65-F616640B5697}"/>
                </a:ext>
              </a:extLst>
            </p:cNvPr>
            <p:cNvSpPr/>
            <p:nvPr/>
          </p:nvSpPr>
          <p:spPr>
            <a:xfrm>
              <a:off x="3443268" y="4186718"/>
              <a:ext cx="435145" cy="761503"/>
            </a:xfrm>
            <a:custGeom>
              <a:avLst/>
              <a:gdLst>
                <a:gd name="connsiteX0" fmla="*/ 400855 w 435145"/>
                <a:gd name="connsiteY0" fmla="*/ 678260 h 761503"/>
                <a:gd name="connsiteX1" fmla="*/ 384537 w 435145"/>
                <a:gd name="connsiteY1" fmla="*/ 719054 h 761503"/>
                <a:gd name="connsiteX2" fmla="*/ 368219 w 435145"/>
                <a:gd name="connsiteY2" fmla="*/ 713615 h 761503"/>
                <a:gd name="connsiteX3" fmla="*/ 360060 w 435145"/>
                <a:gd name="connsiteY3" fmla="*/ 697297 h 761503"/>
                <a:gd name="connsiteX4" fmla="*/ 360060 w 435145"/>
                <a:gd name="connsiteY4" fmla="*/ 651063 h 761503"/>
                <a:gd name="connsiteX5" fmla="*/ 332864 w 435145"/>
                <a:gd name="connsiteY5" fmla="*/ 686418 h 761503"/>
                <a:gd name="connsiteX6" fmla="*/ 251274 w 435145"/>
                <a:gd name="connsiteY6" fmla="*/ 721774 h 761503"/>
                <a:gd name="connsiteX7" fmla="*/ 229517 w 435145"/>
                <a:gd name="connsiteY7" fmla="*/ 719054 h 761503"/>
                <a:gd name="connsiteX8" fmla="*/ 158806 w 435145"/>
                <a:gd name="connsiteY8" fmla="*/ 694578 h 761503"/>
                <a:gd name="connsiteX9" fmla="*/ 112571 w 435145"/>
                <a:gd name="connsiteY9" fmla="*/ 659222 h 761503"/>
                <a:gd name="connsiteX10" fmla="*/ 79936 w 435145"/>
                <a:gd name="connsiteY10" fmla="*/ 607548 h 761503"/>
                <a:gd name="connsiteX11" fmla="*/ 63618 w 435145"/>
                <a:gd name="connsiteY11" fmla="*/ 542277 h 761503"/>
                <a:gd name="connsiteX12" fmla="*/ 58178 w 435145"/>
                <a:gd name="connsiteY12" fmla="*/ 471566 h 761503"/>
                <a:gd name="connsiteX13" fmla="*/ 60898 w 435145"/>
                <a:gd name="connsiteY13" fmla="*/ 400855 h 761503"/>
                <a:gd name="connsiteX14" fmla="*/ 66337 w 435145"/>
                <a:gd name="connsiteY14" fmla="*/ 335583 h 761503"/>
                <a:gd name="connsiteX15" fmla="*/ 85375 w 435145"/>
                <a:gd name="connsiteY15" fmla="*/ 267592 h 761503"/>
                <a:gd name="connsiteX16" fmla="*/ 109852 w 435145"/>
                <a:gd name="connsiteY16" fmla="*/ 199600 h 761503"/>
                <a:gd name="connsiteX17" fmla="*/ 145207 w 435145"/>
                <a:gd name="connsiteY17" fmla="*/ 145207 h 761503"/>
                <a:gd name="connsiteX18" fmla="*/ 188722 w 435145"/>
                <a:gd name="connsiteY18" fmla="*/ 96253 h 761503"/>
                <a:gd name="connsiteX19" fmla="*/ 243115 w 435145"/>
                <a:gd name="connsiteY19" fmla="*/ 71776 h 761503"/>
                <a:gd name="connsiteX20" fmla="*/ 286630 w 435145"/>
                <a:gd name="connsiteY20" fmla="*/ 63617 h 761503"/>
                <a:gd name="connsiteX21" fmla="*/ 305667 w 435145"/>
                <a:gd name="connsiteY21" fmla="*/ 66337 h 761503"/>
                <a:gd name="connsiteX22" fmla="*/ 324705 w 435145"/>
                <a:gd name="connsiteY22" fmla="*/ 79936 h 761503"/>
                <a:gd name="connsiteX23" fmla="*/ 341023 w 435145"/>
                <a:gd name="connsiteY23" fmla="*/ 101693 h 761503"/>
                <a:gd name="connsiteX24" fmla="*/ 354621 w 435145"/>
                <a:gd name="connsiteY24" fmla="*/ 123450 h 761503"/>
                <a:gd name="connsiteX25" fmla="*/ 354621 w 435145"/>
                <a:gd name="connsiteY25" fmla="*/ 98973 h 761503"/>
                <a:gd name="connsiteX26" fmla="*/ 360060 w 435145"/>
                <a:gd name="connsiteY26" fmla="*/ 74496 h 761503"/>
                <a:gd name="connsiteX27" fmla="*/ 365500 w 435145"/>
                <a:gd name="connsiteY27" fmla="*/ 63617 h 761503"/>
                <a:gd name="connsiteX28" fmla="*/ 373659 w 435145"/>
                <a:gd name="connsiteY28" fmla="*/ 58178 h 761503"/>
                <a:gd name="connsiteX29" fmla="*/ 381818 w 435145"/>
                <a:gd name="connsiteY29" fmla="*/ 63617 h 761503"/>
                <a:gd name="connsiteX30" fmla="*/ 389977 w 435145"/>
                <a:gd name="connsiteY30" fmla="*/ 82655 h 761503"/>
                <a:gd name="connsiteX31" fmla="*/ 392696 w 435145"/>
                <a:gd name="connsiteY31" fmla="*/ 126170 h 761503"/>
                <a:gd name="connsiteX32" fmla="*/ 395416 w 435145"/>
                <a:gd name="connsiteY32" fmla="*/ 186002 h 761503"/>
                <a:gd name="connsiteX33" fmla="*/ 398136 w 435145"/>
                <a:gd name="connsiteY33" fmla="*/ 237675 h 761503"/>
                <a:gd name="connsiteX34" fmla="*/ 398136 w 435145"/>
                <a:gd name="connsiteY34" fmla="*/ 243115 h 761503"/>
                <a:gd name="connsiteX35" fmla="*/ 395416 w 435145"/>
                <a:gd name="connsiteY35" fmla="*/ 256713 h 761503"/>
                <a:gd name="connsiteX36" fmla="*/ 379098 w 435145"/>
                <a:gd name="connsiteY36" fmla="*/ 278470 h 761503"/>
                <a:gd name="connsiteX37" fmla="*/ 362780 w 435145"/>
                <a:gd name="connsiteY37" fmla="*/ 273031 h 761503"/>
                <a:gd name="connsiteX38" fmla="*/ 354621 w 435145"/>
                <a:gd name="connsiteY38" fmla="*/ 256713 h 761503"/>
                <a:gd name="connsiteX39" fmla="*/ 354621 w 435145"/>
                <a:gd name="connsiteY39" fmla="*/ 213198 h 761503"/>
                <a:gd name="connsiteX40" fmla="*/ 354621 w 435145"/>
                <a:gd name="connsiteY40" fmla="*/ 205040 h 761503"/>
                <a:gd name="connsiteX41" fmla="*/ 338303 w 435145"/>
                <a:gd name="connsiteY41" fmla="*/ 147927 h 761503"/>
                <a:gd name="connsiteX42" fmla="*/ 292069 w 435145"/>
                <a:gd name="connsiteY42" fmla="*/ 107132 h 761503"/>
                <a:gd name="connsiteX43" fmla="*/ 262153 w 435145"/>
                <a:gd name="connsiteY43" fmla="*/ 120730 h 761503"/>
                <a:gd name="connsiteX44" fmla="*/ 251274 w 435145"/>
                <a:gd name="connsiteY44" fmla="*/ 131609 h 761503"/>
                <a:gd name="connsiteX45" fmla="*/ 240395 w 435145"/>
                <a:gd name="connsiteY45" fmla="*/ 139768 h 761503"/>
                <a:gd name="connsiteX46" fmla="*/ 237676 w 435145"/>
                <a:gd name="connsiteY46" fmla="*/ 164245 h 761503"/>
                <a:gd name="connsiteX47" fmla="*/ 226797 w 435145"/>
                <a:gd name="connsiteY47" fmla="*/ 196881 h 761503"/>
                <a:gd name="connsiteX48" fmla="*/ 213199 w 435145"/>
                <a:gd name="connsiteY48" fmla="*/ 259433 h 761503"/>
                <a:gd name="connsiteX49" fmla="*/ 207759 w 435145"/>
                <a:gd name="connsiteY49" fmla="*/ 324704 h 761503"/>
                <a:gd name="connsiteX50" fmla="*/ 207759 w 435145"/>
                <a:gd name="connsiteY50" fmla="*/ 335583 h 761503"/>
                <a:gd name="connsiteX51" fmla="*/ 205040 w 435145"/>
                <a:gd name="connsiteY51" fmla="*/ 349181 h 761503"/>
                <a:gd name="connsiteX52" fmla="*/ 207759 w 435145"/>
                <a:gd name="connsiteY52" fmla="*/ 368219 h 761503"/>
                <a:gd name="connsiteX53" fmla="*/ 207759 w 435145"/>
                <a:gd name="connsiteY53" fmla="*/ 376378 h 761503"/>
                <a:gd name="connsiteX54" fmla="*/ 205040 w 435145"/>
                <a:gd name="connsiteY54" fmla="*/ 387256 h 761503"/>
                <a:gd name="connsiteX55" fmla="*/ 205040 w 435145"/>
                <a:gd name="connsiteY55" fmla="*/ 395415 h 761503"/>
                <a:gd name="connsiteX56" fmla="*/ 205040 w 435145"/>
                <a:gd name="connsiteY56" fmla="*/ 406294 h 761503"/>
                <a:gd name="connsiteX57" fmla="*/ 205040 w 435145"/>
                <a:gd name="connsiteY57" fmla="*/ 425332 h 761503"/>
                <a:gd name="connsiteX58" fmla="*/ 213199 w 435145"/>
                <a:gd name="connsiteY58" fmla="*/ 493323 h 761503"/>
                <a:gd name="connsiteX59" fmla="*/ 221358 w 435145"/>
                <a:gd name="connsiteY59" fmla="*/ 561314 h 761503"/>
                <a:gd name="connsiteX60" fmla="*/ 226797 w 435145"/>
                <a:gd name="connsiteY60" fmla="*/ 591231 h 761503"/>
                <a:gd name="connsiteX61" fmla="*/ 240395 w 435145"/>
                <a:gd name="connsiteY61" fmla="*/ 618427 h 761503"/>
                <a:gd name="connsiteX62" fmla="*/ 283910 w 435145"/>
                <a:gd name="connsiteY62" fmla="*/ 651063 h 761503"/>
                <a:gd name="connsiteX63" fmla="*/ 338303 w 435145"/>
                <a:gd name="connsiteY63" fmla="*/ 612988 h 761503"/>
                <a:gd name="connsiteX64" fmla="*/ 354621 w 435145"/>
                <a:gd name="connsiteY64" fmla="*/ 577632 h 761503"/>
                <a:gd name="connsiteX65" fmla="*/ 357341 w 435145"/>
                <a:gd name="connsiteY65" fmla="*/ 509641 h 761503"/>
                <a:gd name="connsiteX66" fmla="*/ 362780 w 435145"/>
                <a:gd name="connsiteY66" fmla="*/ 485164 h 761503"/>
                <a:gd name="connsiteX67" fmla="*/ 368219 w 435145"/>
                <a:gd name="connsiteY67" fmla="*/ 474286 h 761503"/>
                <a:gd name="connsiteX68" fmla="*/ 376378 w 435145"/>
                <a:gd name="connsiteY68" fmla="*/ 468846 h 761503"/>
                <a:gd name="connsiteX69" fmla="*/ 384537 w 435145"/>
                <a:gd name="connsiteY69" fmla="*/ 474286 h 761503"/>
                <a:gd name="connsiteX70" fmla="*/ 392696 w 435145"/>
                <a:gd name="connsiteY70" fmla="*/ 493323 h 761503"/>
                <a:gd name="connsiteX71" fmla="*/ 395416 w 435145"/>
                <a:gd name="connsiteY71" fmla="*/ 558595 h 761503"/>
                <a:gd name="connsiteX72" fmla="*/ 398136 w 435145"/>
                <a:gd name="connsiteY72" fmla="*/ 618427 h 761503"/>
                <a:gd name="connsiteX73" fmla="*/ 400855 w 435145"/>
                <a:gd name="connsiteY73" fmla="*/ 678260 h 761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</a:cxnLst>
              <a:rect l="l" t="t" r="r" b="b"/>
              <a:pathLst>
                <a:path w="435145" h="761503">
                  <a:moveTo>
                    <a:pt x="400855" y="678260"/>
                  </a:moveTo>
                  <a:cubicBezTo>
                    <a:pt x="400855" y="689138"/>
                    <a:pt x="400855" y="719054"/>
                    <a:pt x="384537" y="719054"/>
                  </a:cubicBezTo>
                  <a:cubicBezTo>
                    <a:pt x="376378" y="719054"/>
                    <a:pt x="373659" y="716335"/>
                    <a:pt x="368219" y="713615"/>
                  </a:cubicBezTo>
                  <a:cubicBezTo>
                    <a:pt x="362780" y="710895"/>
                    <a:pt x="360060" y="702736"/>
                    <a:pt x="360060" y="697297"/>
                  </a:cubicBezTo>
                  <a:cubicBezTo>
                    <a:pt x="357341" y="680979"/>
                    <a:pt x="357341" y="664661"/>
                    <a:pt x="360060" y="651063"/>
                  </a:cubicBezTo>
                  <a:cubicBezTo>
                    <a:pt x="354621" y="659222"/>
                    <a:pt x="341023" y="678260"/>
                    <a:pt x="332864" y="686418"/>
                  </a:cubicBezTo>
                  <a:cubicBezTo>
                    <a:pt x="311107" y="708176"/>
                    <a:pt x="283910" y="721774"/>
                    <a:pt x="251274" y="721774"/>
                  </a:cubicBezTo>
                  <a:cubicBezTo>
                    <a:pt x="243115" y="721774"/>
                    <a:pt x="237676" y="721774"/>
                    <a:pt x="229517" y="719054"/>
                  </a:cubicBezTo>
                  <a:cubicBezTo>
                    <a:pt x="207759" y="716335"/>
                    <a:pt x="183283" y="708176"/>
                    <a:pt x="158806" y="694578"/>
                  </a:cubicBezTo>
                  <a:cubicBezTo>
                    <a:pt x="142488" y="686418"/>
                    <a:pt x="126170" y="672820"/>
                    <a:pt x="112571" y="659222"/>
                  </a:cubicBezTo>
                  <a:cubicBezTo>
                    <a:pt x="98973" y="642904"/>
                    <a:pt x="88095" y="626586"/>
                    <a:pt x="79936" y="607548"/>
                  </a:cubicBezTo>
                  <a:cubicBezTo>
                    <a:pt x="71777" y="585791"/>
                    <a:pt x="66337" y="566754"/>
                    <a:pt x="63618" y="542277"/>
                  </a:cubicBezTo>
                  <a:cubicBezTo>
                    <a:pt x="60898" y="517800"/>
                    <a:pt x="58178" y="493323"/>
                    <a:pt x="58178" y="471566"/>
                  </a:cubicBezTo>
                  <a:cubicBezTo>
                    <a:pt x="58178" y="447089"/>
                    <a:pt x="58178" y="425332"/>
                    <a:pt x="60898" y="400855"/>
                  </a:cubicBezTo>
                  <a:cubicBezTo>
                    <a:pt x="63618" y="379098"/>
                    <a:pt x="60898" y="357340"/>
                    <a:pt x="66337" y="335583"/>
                  </a:cubicBezTo>
                  <a:cubicBezTo>
                    <a:pt x="69057" y="313826"/>
                    <a:pt x="77216" y="289349"/>
                    <a:pt x="85375" y="267592"/>
                  </a:cubicBezTo>
                  <a:cubicBezTo>
                    <a:pt x="93534" y="243115"/>
                    <a:pt x="98973" y="221357"/>
                    <a:pt x="109852" y="199600"/>
                  </a:cubicBezTo>
                  <a:cubicBezTo>
                    <a:pt x="118011" y="177843"/>
                    <a:pt x="131609" y="161525"/>
                    <a:pt x="145207" y="145207"/>
                  </a:cubicBezTo>
                  <a:cubicBezTo>
                    <a:pt x="158806" y="128889"/>
                    <a:pt x="172404" y="109852"/>
                    <a:pt x="188722" y="96253"/>
                  </a:cubicBezTo>
                  <a:cubicBezTo>
                    <a:pt x="205040" y="82655"/>
                    <a:pt x="224077" y="77216"/>
                    <a:pt x="243115" y="71776"/>
                  </a:cubicBezTo>
                  <a:cubicBezTo>
                    <a:pt x="256713" y="69057"/>
                    <a:pt x="273031" y="63617"/>
                    <a:pt x="286630" y="63617"/>
                  </a:cubicBezTo>
                  <a:cubicBezTo>
                    <a:pt x="292069" y="63617"/>
                    <a:pt x="297508" y="63617"/>
                    <a:pt x="305667" y="66337"/>
                  </a:cubicBezTo>
                  <a:cubicBezTo>
                    <a:pt x="313826" y="69057"/>
                    <a:pt x="319266" y="74496"/>
                    <a:pt x="324705" y="79936"/>
                  </a:cubicBezTo>
                  <a:cubicBezTo>
                    <a:pt x="332864" y="85375"/>
                    <a:pt x="332864" y="93534"/>
                    <a:pt x="341023" y="101693"/>
                  </a:cubicBezTo>
                  <a:cubicBezTo>
                    <a:pt x="346462" y="107132"/>
                    <a:pt x="349182" y="118011"/>
                    <a:pt x="354621" y="123450"/>
                  </a:cubicBezTo>
                  <a:cubicBezTo>
                    <a:pt x="354621" y="115291"/>
                    <a:pt x="354621" y="101693"/>
                    <a:pt x="354621" y="98973"/>
                  </a:cubicBezTo>
                  <a:cubicBezTo>
                    <a:pt x="354621" y="90814"/>
                    <a:pt x="354621" y="79936"/>
                    <a:pt x="360060" y="74496"/>
                  </a:cubicBezTo>
                  <a:cubicBezTo>
                    <a:pt x="362780" y="71776"/>
                    <a:pt x="362780" y="69057"/>
                    <a:pt x="365500" y="63617"/>
                  </a:cubicBezTo>
                  <a:cubicBezTo>
                    <a:pt x="368219" y="60898"/>
                    <a:pt x="370939" y="58178"/>
                    <a:pt x="373659" y="58178"/>
                  </a:cubicBezTo>
                  <a:cubicBezTo>
                    <a:pt x="376378" y="58178"/>
                    <a:pt x="379098" y="60898"/>
                    <a:pt x="381818" y="63617"/>
                  </a:cubicBezTo>
                  <a:cubicBezTo>
                    <a:pt x="384537" y="69057"/>
                    <a:pt x="387257" y="77216"/>
                    <a:pt x="389977" y="82655"/>
                  </a:cubicBezTo>
                  <a:cubicBezTo>
                    <a:pt x="389977" y="90814"/>
                    <a:pt x="392696" y="107132"/>
                    <a:pt x="392696" y="126170"/>
                  </a:cubicBezTo>
                  <a:cubicBezTo>
                    <a:pt x="392696" y="150647"/>
                    <a:pt x="392696" y="177843"/>
                    <a:pt x="395416" y="186002"/>
                  </a:cubicBezTo>
                  <a:cubicBezTo>
                    <a:pt x="398136" y="205040"/>
                    <a:pt x="398136" y="215918"/>
                    <a:pt x="398136" y="237675"/>
                  </a:cubicBezTo>
                  <a:cubicBezTo>
                    <a:pt x="398136" y="240395"/>
                    <a:pt x="398136" y="243115"/>
                    <a:pt x="398136" y="243115"/>
                  </a:cubicBezTo>
                  <a:cubicBezTo>
                    <a:pt x="398136" y="248554"/>
                    <a:pt x="398136" y="251274"/>
                    <a:pt x="395416" y="256713"/>
                  </a:cubicBezTo>
                  <a:cubicBezTo>
                    <a:pt x="392696" y="267592"/>
                    <a:pt x="389977" y="278470"/>
                    <a:pt x="379098" y="278470"/>
                  </a:cubicBezTo>
                  <a:cubicBezTo>
                    <a:pt x="370939" y="278470"/>
                    <a:pt x="368219" y="275751"/>
                    <a:pt x="362780" y="273031"/>
                  </a:cubicBezTo>
                  <a:cubicBezTo>
                    <a:pt x="357341" y="270311"/>
                    <a:pt x="354621" y="262152"/>
                    <a:pt x="354621" y="256713"/>
                  </a:cubicBezTo>
                  <a:cubicBezTo>
                    <a:pt x="349182" y="237675"/>
                    <a:pt x="354621" y="232236"/>
                    <a:pt x="354621" y="213198"/>
                  </a:cubicBezTo>
                  <a:cubicBezTo>
                    <a:pt x="354621" y="210479"/>
                    <a:pt x="354621" y="207759"/>
                    <a:pt x="354621" y="205040"/>
                  </a:cubicBezTo>
                  <a:cubicBezTo>
                    <a:pt x="349182" y="186002"/>
                    <a:pt x="343742" y="169684"/>
                    <a:pt x="338303" y="147927"/>
                  </a:cubicBezTo>
                  <a:cubicBezTo>
                    <a:pt x="332864" y="131609"/>
                    <a:pt x="311107" y="107132"/>
                    <a:pt x="292069" y="107132"/>
                  </a:cubicBezTo>
                  <a:cubicBezTo>
                    <a:pt x="281190" y="107132"/>
                    <a:pt x="270312" y="115291"/>
                    <a:pt x="262153" y="120730"/>
                  </a:cubicBezTo>
                  <a:cubicBezTo>
                    <a:pt x="259433" y="123450"/>
                    <a:pt x="256713" y="126170"/>
                    <a:pt x="251274" y="131609"/>
                  </a:cubicBezTo>
                  <a:cubicBezTo>
                    <a:pt x="248554" y="134329"/>
                    <a:pt x="243115" y="137048"/>
                    <a:pt x="240395" y="139768"/>
                  </a:cubicBezTo>
                  <a:cubicBezTo>
                    <a:pt x="237676" y="145207"/>
                    <a:pt x="240395" y="156086"/>
                    <a:pt x="237676" y="164245"/>
                  </a:cubicBezTo>
                  <a:cubicBezTo>
                    <a:pt x="232236" y="175123"/>
                    <a:pt x="229517" y="186002"/>
                    <a:pt x="226797" y="196881"/>
                  </a:cubicBezTo>
                  <a:cubicBezTo>
                    <a:pt x="221358" y="218638"/>
                    <a:pt x="218638" y="237675"/>
                    <a:pt x="213199" y="259433"/>
                  </a:cubicBezTo>
                  <a:cubicBezTo>
                    <a:pt x="210479" y="281190"/>
                    <a:pt x="207759" y="302947"/>
                    <a:pt x="207759" y="324704"/>
                  </a:cubicBezTo>
                  <a:cubicBezTo>
                    <a:pt x="207759" y="327424"/>
                    <a:pt x="207759" y="332863"/>
                    <a:pt x="207759" y="335583"/>
                  </a:cubicBezTo>
                  <a:cubicBezTo>
                    <a:pt x="207759" y="341022"/>
                    <a:pt x="205040" y="343742"/>
                    <a:pt x="205040" y="349181"/>
                  </a:cubicBezTo>
                  <a:cubicBezTo>
                    <a:pt x="205040" y="354621"/>
                    <a:pt x="207759" y="362779"/>
                    <a:pt x="207759" y="368219"/>
                  </a:cubicBezTo>
                  <a:cubicBezTo>
                    <a:pt x="207759" y="370939"/>
                    <a:pt x="207759" y="373658"/>
                    <a:pt x="207759" y="376378"/>
                  </a:cubicBezTo>
                  <a:cubicBezTo>
                    <a:pt x="205040" y="381817"/>
                    <a:pt x="205040" y="384537"/>
                    <a:pt x="205040" y="387256"/>
                  </a:cubicBezTo>
                  <a:cubicBezTo>
                    <a:pt x="205040" y="389976"/>
                    <a:pt x="205040" y="392696"/>
                    <a:pt x="205040" y="395415"/>
                  </a:cubicBezTo>
                  <a:cubicBezTo>
                    <a:pt x="205040" y="398135"/>
                    <a:pt x="205040" y="403574"/>
                    <a:pt x="205040" y="406294"/>
                  </a:cubicBezTo>
                  <a:cubicBezTo>
                    <a:pt x="205040" y="411733"/>
                    <a:pt x="205040" y="417173"/>
                    <a:pt x="205040" y="425332"/>
                  </a:cubicBezTo>
                  <a:cubicBezTo>
                    <a:pt x="205040" y="449809"/>
                    <a:pt x="213199" y="471566"/>
                    <a:pt x="213199" y="493323"/>
                  </a:cubicBezTo>
                  <a:cubicBezTo>
                    <a:pt x="213199" y="517800"/>
                    <a:pt x="215919" y="539557"/>
                    <a:pt x="221358" y="561314"/>
                  </a:cubicBezTo>
                  <a:cubicBezTo>
                    <a:pt x="224077" y="572193"/>
                    <a:pt x="224077" y="580352"/>
                    <a:pt x="226797" y="591231"/>
                  </a:cubicBezTo>
                  <a:cubicBezTo>
                    <a:pt x="229517" y="599390"/>
                    <a:pt x="237676" y="607548"/>
                    <a:pt x="240395" y="618427"/>
                  </a:cubicBezTo>
                  <a:cubicBezTo>
                    <a:pt x="248554" y="637465"/>
                    <a:pt x="262153" y="651063"/>
                    <a:pt x="283910" y="651063"/>
                  </a:cubicBezTo>
                  <a:cubicBezTo>
                    <a:pt x="302948" y="651063"/>
                    <a:pt x="330144" y="629306"/>
                    <a:pt x="338303" y="612988"/>
                  </a:cubicBezTo>
                  <a:cubicBezTo>
                    <a:pt x="346462" y="599390"/>
                    <a:pt x="351901" y="591231"/>
                    <a:pt x="354621" y="577632"/>
                  </a:cubicBezTo>
                  <a:cubicBezTo>
                    <a:pt x="354621" y="550436"/>
                    <a:pt x="354621" y="517800"/>
                    <a:pt x="357341" y="509641"/>
                  </a:cubicBezTo>
                  <a:cubicBezTo>
                    <a:pt x="357341" y="501482"/>
                    <a:pt x="357341" y="490603"/>
                    <a:pt x="362780" y="485164"/>
                  </a:cubicBezTo>
                  <a:cubicBezTo>
                    <a:pt x="365500" y="482444"/>
                    <a:pt x="365500" y="479725"/>
                    <a:pt x="368219" y="474286"/>
                  </a:cubicBezTo>
                  <a:cubicBezTo>
                    <a:pt x="370939" y="471566"/>
                    <a:pt x="373659" y="468846"/>
                    <a:pt x="376378" y="468846"/>
                  </a:cubicBezTo>
                  <a:cubicBezTo>
                    <a:pt x="379098" y="468846"/>
                    <a:pt x="381818" y="471566"/>
                    <a:pt x="384537" y="474286"/>
                  </a:cubicBezTo>
                  <a:cubicBezTo>
                    <a:pt x="387257" y="479725"/>
                    <a:pt x="389977" y="487884"/>
                    <a:pt x="392696" y="493323"/>
                  </a:cubicBezTo>
                  <a:cubicBezTo>
                    <a:pt x="392696" y="501482"/>
                    <a:pt x="395416" y="539557"/>
                    <a:pt x="395416" y="558595"/>
                  </a:cubicBezTo>
                  <a:cubicBezTo>
                    <a:pt x="395416" y="583072"/>
                    <a:pt x="395416" y="610268"/>
                    <a:pt x="398136" y="618427"/>
                  </a:cubicBezTo>
                  <a:cubicBezTo>
                    <a:pt x="398136" y="648343"/>
                    <a:pt x="400855" y="659222"/>
                    <a:pt x="400855" y="678260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/>
            </a:p>
          </p:txBody>
        </p:sp>
        <p:sp>
          <p:nvSpPr>
            <p:cNvPr id="37" name="Freeform: Shape 36">
              <a:extLst>
                <a:ext uri="{FF2B5EF4-FFF2-40B4-BE49-F238E27FC236}">
                  <a16:creationId xmlns:a16="http://schemas.microsoft.com/office/drawing/2014/main" id="{77CD6E50-E0F0-4933-B850-6730D4173539}"/>
                </a:ext>
              </a:extLst>
            </p:cNvPr>
            <p:cNvSpPr/>
            <p:nvPr/>
          </p:nvSpPr>
          <p:spPr>
            <a:xfrm>
              <a:off x="3829459" y="4200317"/>
              <a:ext cx="598325" cy="761503"/>
            </a:xfrm>
            <a:custGeom>
              <a:avLst/>
              <a:gdLst>
                <a:gd name="connsiteX0" fmla="*/ 360060 w 598324"/>
                <a:gd name="connsiteY0" fmla="*/ 332863 h 761503"/>
                <a:gd name="connsiteX1" fmla="*/ 341023 w 598324"/>
                <a:gd name="connsiteY1" fmla="*/ 370939 h 761503"/>
                <a:gd name="connsiteX2" fmla="*/ 376378 w 598324"/>
                <a:gd name="connsiteY2" fmla="*/ 389976 h 761503"/>
                <a:gd name="connsiteX3" fmla="*/ 425332 w 598324"/>
                <a:gd name="connsiteY3" fmla="*/ 433491 h 761503"/>
                <a:gd name="connsiteX4" fmla="*/ 438930 w 598324"/>
                <a:gd name="connsiteY4" fmla="*/ 463407 h 761503"/>
                <a:gd name="connsiteX5" fmla="*/ 449809 w 598324"/>
                <a:gd name="connsiteY5" fmla="*/ 498762 h 761503"/>
                <a:gd name="connsiteX6" fmla="*/ 457968 w 598324"/>
                <a:gd name="connsiteY6" fmla="*/ 528679 h 761503"/>
                <a:gd name="connsiteX7" fmla="*/ 466127 w 598324"/>
                <a:gd name="connsiteY7" fmla="*/ 564034 h 761503"/>
                <a:gd name="connsiteX8" fmla="*/ 471566 w 598324"/>
                <a:gd name="connsiteY8" fmla="*/ 593950 h 761503"/>
                <a:gd name="connsiteX9" fmla="*/ 479725 w 598324"/>
                <a:gd name="connsiteY9" fmla="*/ 607548 h 761503"/>
                <a:gd name="connsiteX10" fmla="*/ 487884 w 598324"/>
                <a:gd name="connsiteY10" fmla="*/ 623867 h 761503"/>
                <a:gd name="connsiteX11" fmla="*/ 501482 w 598324"/>
                <a:gd name="connsiteY11" fmla="*/ 651063 h 761503"/>
                <a:gd name="connsiteX12" fmla="*/ 523240 w 598324"/>
                <a:gd name="connsiteY12" fmla="*/ 670101 h 761503"/>
                <a:gd name="connsiteX13" fmla="*/ 534119 w 598324"/>
                <a:gd name="connsiteY13" fmla="*/ 686418 h 761503"/>
                <a:gd name="connsiteX14" fmla="*/ 531399 w 598324"/>
                <a:gd name="connsiteY14" fmla="*/ 694578 h 761503"/>
                <a:gd name="connsiteX15" fmla="*/ 498763 w 598324"/>
                <a:gd name="connsiteY15" fmla="*/ 708176 h 761503"/>
                <a:gd name="connsiteX16" fmla="*/ 449809 w 598324"/>
                <a:gd name="connsiteY16" fmla="*/ 700017 h 761503"/>
                <a:gd name="connsiteX17" fmla="*/ 400855 w 598324"/>
                <a:gd name="connsiteY17" fmla="*/ 667381 h 761503"/>
                <a:gd name="connsiteX18" fmla="*/ 381817 w 598324"/>
                <a:gd name="connsiteY18" fmla="*/ 642904 h 761503"/>
                <a:gd name="connsiteX19" fmla="*/ 368219 w 598324"/>
                <a:gd name="connsiteY19" fmla="*/ 610268 h 761503"/>
                <a:gd name="connsiteX20" fmla="*/ 349182 w 598324"/>
                <a:gd name="connsiteY20" fmla="*/ 550436 h 761503"/>
                <a:gd name="connsiteX21" fmla="*/ 338303 w 598324"/>
                <a:gd name="connsiteY21" fmla="*/ 504202 h 761503"/>
                <a:gd name="connsiteX22" fmla="*/ 330144 w 598324"/>
                <a:gd name="connsiteY22" fmla="*/ 477005 h 761503"/>
                <a:gd name="connsiteX23" fmla="*/ 321985 w 598324"/>
                <a:gd name="connsiteY23" fmla="*/ 455248 h 761503"/>
                <a:gd name="connsiteX24" fmla="*/ 305667 w 598324"/>
                <a:gd name="connsiteY24" fmla="*/ 436210 h 761503"/>
                <a:gd name="connsiteX25" fmla="*/ 294788 w 598324"/>
                <a:gd name="connsiteY25" fmla="*/ 441650 h 761503"/>
                <a:gd name="connsiteX26" fmla="*/ 278471 w 598324"/>
                <a:gd name="connsiteY26" fmla="*/ 463407 h 761503"/>
                <a:gd name="connsiteX27" fmla="*/ 264872 w 598324"/>
                <a:gd name="connsiteY27" fmla="*/ 496043 h 761503"/>
                <a:gd name="connsiteX28" fmla="*/ 262153 w 598324"/>
                <a:gd name="connsiteY28" fmla="*/ 517800 h 761503"/>
                <a:gd name="connsiteX29" fmla="*/ 262153 w 598324"/>
                <a:gd name="connsiteY29" fmla="*/ 523239 h 761503"/>
                <a:gd name="connsiteX30" fmla="*/ 262153 w 598324"/>
                <a:gd name="connsiteY30" fmla="*/ 553155 h 761503"/>
                <a:gd name="connsiteX31" fmla="*/ 262153 w 598324"/>
                <a:gd name="connsiteY31" fmla="*/ 629306 h 761503"/>
                <a:gd name="connsiteX32" fmla="*/ 259433 w 598324"/>
                <a:gd name="connsiteY32" fmla="*/ 659222 h 761503"/>
                <a:gd name="connsiteX33" fmla="*/ 283910 w 598324"/>
                <a:gd name="connsiteY33" fmla="*/ 659222 h 761503"/>
                <a:gd name="connsiteX34" fmla="*/ 321985 w 598324"/>
                <a:gd name="connsiteY34" fmla="*/ 675540 h 761503"/>
                <a:gd name="connsiteX35" fmla="*/ 316546 w 598324"/>
                <a:gd name="connsiteY35" fmla="*/ 691858 h 761503"/>
                <a:gd name="connsiteX36" fmla="*/ 300228 w 598324"/>
                <a:gd name="connsiteY36" fmla="*/ 700017 h 761503"/>
                <a:gd name="connsiteX37" fmla="*/ 278471 w 598324"/>
                <a:gd name="connsiteY37" fmla="*/ 702736 h 761503"/>
                <a:gd name="connsiteX38" fmla="*/ 243115 w 598324"/>
                <a:gd name="connsiteY38" fmla="*/ 702736 h 761503"/>
                <a:gd name="connsiteX39" fmla="*/ 221358 w 598324"/>
                <a:gd name="connsiteY39" fmla="*/ 710895 h 761503"/>
                <a:gd name="connsiteX40" fmla="*/ 194161 w 598324"/>
                <a:gd name="connsiteY40" fmla="*/ 702736 h 761503"/>
                <a:gd name="connsiteX41" fmla="*/ 177843 w 598324"/>
                <a:gd name="connsiteY41" fmla="*/ 702736 h 761503"/>
                <a:gd name="connsiteX42" fmla="*/ 126170 w 598324"/>
                <a:gd name="connsiteY42" fmla="*/ 702736 h 761503"/>
                <a:gd name="connsiteX43" fmla="*/ 101693 w 598324"/>
                <a:gd name="connsiteY43" fmla="*/ 702736 h 761503"/>
                <a:gd name="connsiteX44" fmla="*/ 74496 w 598324"/>
                <a:gd name="connsiteY44" fmla="*/ 697297 h 761503"/>
                <a:gd name="connsiteX45" fmla="*/ 58178 w 598324"/>
                <a:gd name="connsiteY45" fmla="*/ 680979 h 761503"/>
                <a:gd name="connsiteX46" fmla="*/ 63617 w 598324"/>
                <a:gd name="connsiteY46" fmla="*/ 672820 h 761503"/>
                <a:gd name="connsiteX47" fmla="*/ 85375 w 598324"/>
                <a:gd name="connsiteY47" fmla="*/ 664661 h 761503"/>
                <a:gd name="connsiteX48" fmla="*/ 128889 w 598324"/>
                <a:gd name="connsiteY48" fmla="*/ 659222 h 761503"/>
                <a:gd name="connsiteX49" fmla="*/ 147927 w 598324"/>
                <a:gd name="connsiteY49" fmla="*/ 659222 h 761503"/>
                <a:gd name="connsiteX50" fmla="*/ 145207 w 598324"/>
                <a:gd name="connsiteY50" fmla="*/ 653783 h 761503"/>
                <a:gd name="connsiteX51" fmla="*/ 131609 w 598324"/>
                <a:gd name="connsiteY51" fmla="*/ 585791 h 761503"/>
                <a:gd name="connsiteX52" fmla="*/ 134329 w 598324"/>
                <a:gd name="connsiteY52" fmla="*/ 498762 h 761503"/>
                <a:gd name="connsiteX53" fmla="*/ 137048 w 598324"/>
                <a:gd name="connsiteY53" fmla="*/ 406294 h 761503"/>
                <a:gd name="connsiteX54" fmla="*/ 134329 w 598324"/>
                <a:gd name="connsiteY54" fmla="*/ 327424 h 761503"/>
                <a:gd name="connsiteX55" fmla="*/ 137048 w 598324"/>
                <a:gd name="connsiteY55" fmla="*/ 253993 h 761503"/>
                <a:gd name="connsiteX56" fmla="*/ 139768 w 598324"/>
                <a:gd name="connsiteY56" fmla="*/ 207759 h 761503"/>
                <a:gd name="connsiteX57" fmla="*/ 137048 w 598324"/>
                <a:gd name="connsiteY57" fmla="*/ 172404 h 761503"/>
                <a:gd name="connsiteX58" fmla="*/ 137048 w 598324"/>
                <a:gd name="connsiteY58" fmla="*/ 112571 h 761503"/>
                <a:gd name="connsiteX59" fmla="*/ 126170 w 598324"/>
                <a:gd name="connsiteY59" fmla="*/ 112571 h 761503"/>
                <a:gd name="connsiteX60" fmla="*/ 101693 w 598324"/>
                <a:gd name="connsiteY60" fmla="*/ 112571 h 761503"/>
                <a:gd name="connsiteX61" fmla="*/ 74496 w 598324"/>
                <a:gd name="connsiteY61" fmla="*/ 107132 h 761503"/>
                <a:gd name="connsiteX62" fmla="*/ 58178 w 598324"/>
                <a:gd name="connsiteY62" fmla="*/ 90814 h 761503"/>
                <a:gd name="connsiteX63" fmla="*/ 63617 w 598324"/>
                <a:gd name="connsiteY63" fmla="*/ 82655 h 761503"/>
                <a:gd name="connsiteX64" fmla="*/ 85375 w 598324"/>
                <a:gd name="connsiteY64" fmla="*/ 74496 h 761503"/>
                <a:gd name="connsiteX65" fmla="*/ 137048 w 598324"/>
                <a:gd name="connsiteY65" fmla="*/ 69057 h 761503"/>
                <a:gd name="connsiteX66" fmla="*/ 145207 w 598324"/>
                <a:gd name="connsiteY66" fmla="*/ 69057 h 761503"/>
                <a:gd name="connsiteX67" fmla="*/ 169684 w 598324"/>
                <a:gd name="connsiteY67" fmla="*/ 58178 h 761503"/>
                <a:gd name="connsiteX68" fmla="*/ 177843 w 598324"/>
                <a:gd name="connsiteY68" fmla="*/ 58178 h 761503"/>
                <a:gd name="connsiteX69" fmla="*/ 205040 w 598324"/>
                <a:gd name="connsiteY69" fmla="*/ 66337 h 761503"/>
                <a:gd name="connsiteX70" fmla="*/ 286629 w 598324"/>
                <a:gd name="connsiteY70" fmla="*/ 63617 h 761503"/>
                <a:gd name="connsiteX71" fmla="*/ 324705 w 598324"/>
                <a:gd name="connsiteY71" fmla="*/ 79936 h 761503"/>
                <a:gd name="connsiteX72" fmla="*/ 319265 w 598324"/>
                <a:gd name="connsiteY72" fmla="*/ 96253 h 761503"/>
                <a:gd name="connsiteX73" fmla="*/ 302948 w 598324"/>
                <a:gd name="connsiteY73" fmla="*/ 104412 h 761503"/>
                <a:gd name="connsiteX74" fmla="*/ 278471 w 598324"/>
                <a:gd name="connsiteY74" fmla="*/ 112571 h 761503"/>
                <a:gd name="connsiteX75" fmla="*/ 232236 w 598324"/>
                <a:gd name="connsiteY75" fmla="*/ 112571 h 761503"/>
                <a:gd name="connsiteX76" fmla="*/ 240395 w 598324"/>
                <a:gd name="connsiteY76" fmla="*/ 137048 h 761503"/>
                <a:gd name="connsiteX77" fmla="*/ 240395 w 598324"/>
                <a:gd name="connsiteY77" fmla="*/ 150647 h 761503"/>
                <a:gd name="connsiteX78" fmla="*/ 243115 w 598324"/>
                <a:gd name="connsiteY78" fmla="*/ 158805 h 761503"/>
                <a:gd name="connsiteX79" fmla="*/ 248554 w 598324"/>
                <a:gd name="connsiteY79" fmla="*/ 188722 h 761503"/>
                <a:gd name="connsiteX80" fmla="*/ 248554 w 598324"/>
                <a:gd name="connsiteY80" fmla="*/ 199600 h 761503"/>
                <a:gd name="connsiteX81" fmla="*/ 248554 w 598324"/>
                <a:gd name="connsiteY81" fmla="*/ 221357 h 761503"/>
                <a:gd name="connsiteX82" fmla="*/ 253994 w 598324"/>
                <a:gd name="connsiteY82" fmla="*/ 264872 h 761503"/>
                <a:gd name="connsiteX83" fmla="*/ 262153 w 598324"/>
                <a:gd name="connsiteY83" fmla="*/ 297508 h 761503"/>
                <a:gd name="connsiteX84" fmla="*/ 264872 w 598324"/>
                <a:gd name="connsiteY84" fmla="*/ 324704 h 761503"/>
                <a:gd name="connsiteX85" fmla="*/ 264872 w 598324"/>
                <a:gd name="connsiteY85" fmla="*/ 332863 h 761503"/>
                <a:gd name="connsiteX86" fmla="*/ 264872 w 598324"/>
                <a:gd name="connsiteY86" fmla="*/ 351901 h 761503"/>
                <a:gd name="connsiteX87" fmla="*/ 262153 w 598324"/>
                <a:gd name="connsiteY87" fmla="*/ 370939 h 761503"/>
                <a:gd name="connsiteX88" fmla="*/ 267592 w 598324"/>
                <a:gd name="connsiteY88" fmla="*/ 384537 h 761503"/>
                <a:gd name="connsiteX89" fmla="*/ 278471 w 598324"/>
                <a:gd name="connsiteY89" fmla="*/ 370939 h 761503"/>
                <a:gd name="connsiteX90" fmla="*/ 297508 w 598324"/>
                <a:gd name="connsiteY90" fmla="*/ 332863 h 761503"/>
                <a:gd name="connsiteX91" fmla="*/ 311106 w 598324"/>
                <a:gd name="connsiteY91" fmla="*/ 305667 h 761503"/>
                <a:gd name="connsiteX92" fmla="*/ 335583 w 598324"/>
                <a:gd name="connsiteY92" fmla="*/ 259433 h 761503"/>
                <a:gd name="connsiteX93" fmla="*/ 354621 w 598324"/>
                <a:gd name="connsiteY93" fmla="*/ 224077 h 761503"/>
                <a:gd name="connsiteX94" fmla="*/ 381817 w 598324"/>
                <a:gd name="connsiteY94" fmla="*/ 172404 h 761503"/>
                <a:gd name="connsiteX95" fmla="*/ 409014 w 598324"/>
                <a:gd name="connsiteY95" fmla="*/ 118011 h 761503"/>
                <a:gd name="connsiteX96" fmla="*/ 411734 w 598324"/>
                <a:gd name="connsiteY96" fmla="*/ 115291 h 761503"/>
                <a:gd name="connsiteX97" fmla="*/ 398136 w 598324"/>
                <a:gd name="connsiteY97" fmla="*/ 115291 h 761503"/>
                <a:gd name="connsiteX98" fmla="*/ 379098 w 598324"/>
                <a:gd name="connsiteY98" fmla="*/ 109852 h 761503"/>
                <a:gd name="connsiteX99" fmla="*/ 368219 w 598324"/>
                <a:gd name="connsiteY99" fmla="*/ 93534 h 761503"/>
                <a:gd name="connsiteX100" fmla="*/ 370939 w 598324"/>
                <a:gd name="connsiteY100" fmla="*/ 85375 h 761503"/>
                <a:gd name="connsiteX101" fmla="*/ 387257 w 598324"/>
                <a:gd name="connsiteY101" fmla="*/ 77216 h 761503"/>
                <a:gd name="connsiteX102" fmla="*/ 422612 w 598324"/>
                <a:gd name="connsiteY102" fmla="*/ 71776 h 761503"/>
                <a:gd name="connsiteX103" fmla="*/ 436211 w 598324"/>
                <a:gd name="connsiteY103" fmla="*/ 71776 h 761503"/>
                <a:gd name="connsiteX104" fmla="*/ 438930 w 598324"/>
                <a:gd name="connsiteY104" fmla="*/ 69057 h 761503"/>
                <a:gd name="connsiteX105" fmla="*/ 452529 w 598324"/>
                <a:gd name="connsiteY105" fmla="*/ 66337 h 761503"/>
                <a:gd name="connsiteX106" fmla="*/ 466127 w 598324"/>
                <a:gd name="connsiteY106" fmla="*/ 69057 h 761503"/>
                <a:gd name="connsiteX107" fmla="*/ 471566 w 598324"/>
                <a:gd name="connsiteY107" fmla="*/ 71776 h 761503"/>
                <a:gd name="connsiteX108" fmla="*/ 515081 w 598324"/>
                <a:gd name="connsiteY108" fmla="*/ 71776 h 761503"/>
                <a:gd name="connsiteX109" fmla="*/ 542277 w 598324"/>
                <a:gd name="connsiteY109" fmla="*/ 88094 h 761503"/>
                <a:gd name="connsiteX110" fmla="*/ 536838 w 598324"/>
                <a:gd name="connsiteY110" fmla="*/ 104412 h 761503"/>
                <a:gd name="connsiteX111" fmla="*/ 525959 w 598324"/>
                <a:gd name="connsiteY111" fmla="*/ 112571 h 761503"/>
                <a:gd name="connsiteX112" fmla="*/ 509642 w 598324"/>
                <a:gd name="connsiteY112" fmla="*/ 115291 h 761503"/>
                <a:gd name="connsiteX113" fmla="*/ 468847 w 598324"/>
                <a:gd name="connsiteY113" fmla="*/ 115291 h 761503"/>
                <a:gd name="connsiteX114" fmla="*/ 457968 w 598324"/>
                <a:gd name="connsiteY114" fmla="*/ 137048 h 761503"/>
                <a:gd name="connsiteX115" fmla="*/ 430771 w 598324"/>
                <a:gd name="connsiteY115" fmla="*/ 194161 h 761503"/>
                <a:gd name="connsiteX116" fmla="*/ 400855 w 598324"/>
                <a:gd name="connsiteY116" fmla="*/ 262152 h 761503"/>
                <a:gd name="connsiteX117" fmla="*/ 360060 w 598324"/>
                <a:gd name="connsiteY117" fmla="*/ 332863 h 761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</a:cxnLst>
              <a:rect l="l" t="t" r="r" b="b"/>
              <a:pathLst>
                <a:path w="598324" h="761503">
                  <a:moveTo>
                    <a:pt x="360060" y="332863"/>
                  </a:moveTo>
                  <a:cubicBezTo>
                    <a:pt x="351901" y="343742"/>
                    <a:pt x="341023" y="357340"/>
                    <a:pt x="341023" y="370939"/>
                  </a:cubicBezTo>
                  <a:cubicBezTo>
                    <a:pt x="341023" y="379098"/>
                    <a:pt x="357341" y="381817"/>
                    <a:pt x="376378" y="389976"/>
                  </a:cubicBezTo>
                  <a:cubicBezTo>
                    <a:pt x="395416" y="398135"/>
                    <a:pt x="417173" y="417173"/>
                    <a:pt x="425332" y="433491"/>
                  </a:cubicBezTo>
                  <a:cubicBezTo>
                    <a:pt x="430771" y="444369"/>
                    <a:pt x="436211" y="452528"/>
                    <a:pt x="438930" y="463407"/>
                  </a:cubicBezTo>
                  <a:cubicBezTo>
                    <a:pt x="444370" y="474286"/>
                    <a:pt x="447089" y="487884"/>
                    <a:pt x="449809" y="498762"/>
                  </a:cubicBezTo>
                  <a:cubicBezTo>
                    <a:pt x="452529" y="512361"/>
                    <a:pt x="452529" y="517800"/>
                    <a:pt x="457968" y="528679"/>
                  </a:cubicBezTo>
                  <a:cubicBezTo>
                    <a:pt x="463407" y="539557"/>
                    <a:pt x="463407" y="553155"/>
                    <a:pt x="466127" y="564034"/>
                  </a:cubicBezTo>
                  <a:cubicBezTo>
                    <a:pt x="468847" y="572193"/>
                    <a:pt x="468847" y="585791"/>
                    <a:pt x="471566" y="593950"/>
                  </a:cubicBezTo>
                  <a:cubicBezTo>
                    <a:pt x="474286" y="599390"/>
                    <a:pt x="477006" y="602109"/>
                    <a:pt x="479725" y="607548"/>
                  </a:cubicBezTo>
                  <a:cubicBezTo>
                    <a:pt x="482445" y="612988"/>
                    <a:pt x="487884" y="618427"/>
                    <a:pt x="487884" y="623867"/>
                  </a:cubicBezTo>
                  <a:cubicBezTo>
                    <a:pt x="490604" y="634745"/>
                    <a:pt x="496043" y="642904"/>
                    <a:pt x="501482" y="651063"/>
                  </a:cubicBezTo>
                  <a:cubicBezTo>
                    <a:pt x="506922" y="661942"/>
                    <a:pt x="512361" y="664661"/>
                    <a:pt x="523240" y="670101"/>
                  </a:cubicBezTo>
                  <a:cubicBezTo>
                    <a:pt x="528679" y="672820"/>
                    <a:pt x="534119" y="680979"/>
                    <a:pt x="534119" y="686418"/>
                  </a:cubicBezTo>
                  <a:cubicBezTo>
                    <a:pt x="534119" y="689138"/>
                    <a:pt x="534119" y="691858"/>
                    <a:pt x="531399" y="694578"/>
                  </a:cubicBezTo>
                  <a:cubicBezTo>
                    <a:pt x="525959" y="702736"/>
                    <a:pt x="512361" y="708176"/>
                    <a:pt x="498763" y="708176"/>
                  </a:cubicBezTo>
                  <a:cubicBezTo>
                    <a:pt x="485165" y="708176"/>
                    <a:pt x="466127" y="705456"/>
                    <a:pt x="449809" y="700017"/>
                  </a:cubicBezTo>
                  <a:cubicBezTo>
                    <a:pt x="430771" y="694578"/>
                    <a:pt x="409014" y="675540"/>
                    <a:pt x="400855" y="667381"/>
                  </a:cubicBezTo>
                  <a:cubicBezTo>
                    <a:pt x="392696" y="659222"/>
                    <a:pt x="387257" y="651063"/>
                    <a:pt x="381817" y="642904"/>
                  </a:cubicBezTo>
                  <a:cubicBezTo>
                    <a:pt x="376378" y="632025"/>
                    <a:pt x="370939" y="623867"/>
                    <a:pt x="368219" y="610268"/>
                  </a:cubicBezTo>
                  <a:cubicBezTo>
                    <a:pt x="360060" y="588511"/>
                    <a:pt x="357341" y="574913"/>
                    <a:pt x="349182" y="550436"/>
                  </a:cubicBezTo>
                  <a:cubicBezTo>
                    <a:pt x="343742" y="534118"/>
                    <a:pt x="341023" y="520520"/>
                    <a:pt x="338303" y="504202"/>
                  </a:cubicBezTo>
                  <a:cubicBezTo>
                    <a:pt x="335583" y="493323"/>
                    <a:pt x="332864" y="485164"/>
                    <a:pt x="330144" y="477005"/>
                  </a:cubicBezTo>
                  <a:cubicBezTo>
                    <a:pt x="327424" y="471566"/>
                    <a:pt x="324705" y="463407"/>
                    <a:pt x="321985" y="455248"/>
                  </a:cubicBezTo>
                  <a:cubicBezTo>
                    <a:pt x="316546" y="444369"/>
                    <a:pt x="311106" y="436210"/>
                    <a:pt x="305667" y="436210"/>
                  </a:cubicBezTo>
                  <a:cubicBezTo>
                    <a:pt x="302948" y="436210"/>
                    <a:pt x="300228" y="438930"/>
                    <a:pt x="294788" y="441650"/>
                  </a:cubicBezTo>
                  <a:cubicBezTo>
                    <a:pt x="289349" y="447089"/>
                    <a:pt x="283910" y="455248"/>
                    <a:pt x="278471" y="463407"/>
                  </a:cubicBezTo>
                  <a:cubicBezTo>
                    <a:pt x="270312" y="474286"/>
                    <a:pt x="267592" y="485164"/>
                    <a:pt x="264872" y="496043"/>
                  </a:cubicBezTo>
                  <a:cubicBezTo>
                    <a:pt x="264872" y="504202"/>
                    <a:pt x="262153" y="512361"/>
                    <a:pt x="262153" y="517800"/>
                  </a:cubicBezTo>
                  <a:cubicBezTo>
                    <a:pt x="262153" y="520520"/>
                    <a:pt x="262153" y="520520"/>
                    <a:pt x="262153" y="523239"/>
                  </a:cubicBezTo>
                  <a:cubicBezTo>
                    <a:pt x="262153" y="528679"/>
                    <a:pt x="262153" y="544997"/>
                    <a:pt x="262153" y="553155"/>
                  </a:cubicBezTo>
                  <a:cubicBezTo>
                    <a:pt x="262153" y="583072"/>
                    <a:pt x="264872" y="599390"/>
                    <a:pt x="262153" y="629306"/>
                  </a:cubicBezTo>
                  <a:cubicBezTo>
                    <a:pt x="262153" y="640184"/>
                    <a:pt x="262153" y="648343"/>
                    <a:pt x="259433" y="659222"/>
                  </a:cubicBezTo>
                  <a:cubicBezTo>
                    <a:pt x="270312" y="659222"/>
                    <a:pt x="278471" y="659222"/>
                    <a:pt x="283910" y="659222"/>
                  </a:cubicBezTo>
                  <a:cubicBezTo>
                    <a:pt x="297508" y="659222"/>
                    <a:pt x="321985" y="659222"/>
                    <a:pt x="321985" y="675540"/>
                  </a:cubicBezTo>
                  <a:cubicBezTo>
                    <a:pt x="321985" y="683699"/>
                    <a:pt x="319265" y="686418"/>
                    <a:pt x="316546" y="691858"/>
                  </a:cubicBezTo>
                  <a:cubicBezTo>
                    <a:pt x="311106" y="697297"/>
                    <a:pt x="305667" y="700017"/>
                    <a:pt x="300228" y="700017"/>
                  </a:cubicBezTo>
                  <a:cubicBezTo>
                    <a:pt x="292069" y="702736"/>
                    <a:pt x="283910" y="702736"/>
                    <a:pt x="278471" y="702736"/>
                  </a:cubicBezTo>
                  <a:cubicBezTo>
                    <a:pt x="275751" y="702736"/>
                    <a:pt x="259433" y="702736"/>
                    <a:pt x="243115" y="702736"/>
                  </a:cubicBezTo>
                  <a:cubicBezTo>
                    <a:pt x="237676" y="708176"/>
                    <a:pt x="229517" y="710895"/>
                    <a:pt x="221358" y="710895"/>
                  </a:cubicBezTo>
                  <a:cubicBezTo>
                    <a:pt x="213199" y="710895"/>
                    <a:pt x="202320" y="708176"/>
                    <a:pt x="194161" y="702736"/>
                  </a:cubicBezTo>
                  <a:cubicBezTo>
                    <a:pt x="186002" y="702736"/>
                    <a:pt x="180563" y="702736"/>
                    <a:pt x="177843" y="702736"/>
                  </a:cubicBezTo>
                  <a:cubicBezTo>
                    <a:pt x="164245" y="702736"/>
                    <a:pt x="139768" y="702736"/>
                    <a:pt x="126170" y="702736"/>
                  </a:cubicBezTo>
                  <a:cubicBezTo>
                    <a:pt x="118011" y="702736"/>
                    <a:pt x="109852" y="702736"/>
                    <a:pt x="101693" y="702736"/>
                  </a:cubicBezTo>
                  <a:cubicBezTo>
                    <a:pt x="93534" y="702736"/>
                    <a:pt x="82655" y="702736"/>
                    <a:pt x="74496" y="697297"/>
                  </a:cubicBezTo>
                  <a:cubicBezTo>
                    <a:pt x="66337" y="694578"/>
                    <a:pt x="58178" y="686418"/>
                    <a:pt x="58178" y="680979"/>
                  </a:cubicBezTo>
                  <a:cubicBezTo>
                    <a:pt x="58178" y="678260"/>
                    <a:pt x="58178" y="675540"/>
                    <a:pt x="63617" y="672820"/>
                  </a:cubicBezTo>
                  <a:cubicBezTo>
                    <a:pt x="69057" y="670101"/>
                    <a:pt x="79935" y="667381"/>
                    <a:pt x="85375" y="664661"/>
                  </a:cubicBezTo>
                  <a:cubicBezTo>
                    <a:pt x="104412" y="661942"/>
                    <a:pt x="123450" y="659222"/>
                    <a:pt x="128889" y="659222"/>
                  </a:cubicBezTo>
                  <a:cubicBezTo>
                    <a:pt x="134329" y="659222"/>
                    <a:pt x="139768" y="659222"/>
                    <a:pt x="147927" y="659222"/>
                  </a:cubicBezTo>
                  <a:cubicBezTo>
                    <a:pt x="147927" y="656502"/>
                    <a:pt x="145207" y="653783"/>
                    <a:pt x="145207" y="653783"/>
                  </a:cubicBezTo>
                  <a:cubicBezTo>
                    <a:pt x="131609" y="632025"/>
                    <a:pt x="131609" y="610268"/>
                    <a:pt x="131609" y="585791"/>
                  </a:cubicBezTo>
                  <a:cubicBezTo>
                    <a:pt x="131609" y="555875"/>
                    <a:pt x="131609" y="528679"/>
                    <a:pt x="134329" y="498762"/>
                  </a:cubicBezTo>
                  <a:cubicBezTo>
                    <a:pt x="134329" y="468846"/>
                    <a:pt x="137048" y="436210"/>
                    <a:pt x="137048" y="406294"/>
                  </a:cubicBezTo>
                  <a:cubicBezTo>
                    <a:pt x="137048" y="379098"/>
                    <a:pt x="134329" y="354621"/>
                    <a:pt x="134329" y="327424"/>
                  </a:cubicBezTo>
                  <a:cubicBezTo>
                    <a:pt x="134329" y="302947"/>
                    <a:pt x="137048" y="278470"/>
                    <a:pt x="137048" y="253993"/>
                  </a:cubicBezTo>
                  <a:cubicBezTo>
                    <a:pt x="137048" y="237675"/>
                    <a:pt x="139768" y="224077"/>
                    <a:pt x="139768" y="207759"/>
                  </a:cubicBezTo>
                  <a:cubicBezTo>
                    <a:pt x="139768" y="196881"/>
                    <a:pt x="137048" y="183282"/>
                    <a:pt x="137048" y="172404"/>
                  </a:cubicBezTo>
                  <a:cubicBezTo>
                    <a:pt x="137048" y="150647"/>
                    <a:pt x="137048" y="131609"/>
                    <a:pt x="137048" y="112571"/>
                  </a:cubicBezTo>
                  <a:cubicBezTo>
                    <a:pt x="134329" y="112571"/>
                    <a:pt x="137048" y="112571"/>
                    <a:pt x="126170" y="112571"/>
                  </a:cubicBezTo>
                  <a:cubicBezTo>
                    <a:pt x="118011" y="112571"/>
                    <a:pt x="109852" y="112571"/>
                    <a:pt x="101693" y="112571"/>
                  </a:cubicBezTo>
                  <a:cubicBezTo>
                    <a:pt x="93534" y="112571"/>
                    <a:pt x="82655" y="109852"/>
                    <a:pt x="74496" y="107132"/>
                  </a:cubicBezTo>
                  <a:cubicBezTo>
                    <a:pt x="66337" y="104412"/>
                    <a:pt x="58178" y="96253"/>
                    <a:pt x="58178" y="90814"/>
                  </a:cubicBezTo>
                  <a:cubicBezTo>
                    <a:pt x="58178" y="88094"/>
                    <a:pt x="58178" y="85375"/>
                    <a:pt x="63617" y="82655"/>
                  </a:cubicBezTo>
                  <a:cubicBezTo>
                    <a:pt x="69057" y="79936"/>
                    <a:pt x="79935" y="77216"/>
                    <a:pt x="85375" y="74496"/>
                  </a:cubicBezTo>
                  <a:cubicBezTo>
                    <a:pt x="104412" y="71776"/>
                    <a:pt x="128889" y="69057"/>
                    <a:pt x="137048" y="69057"/>
                  </a:cubicBezTo>
                  <a:cubicBezTo>
                    <a:pt x="137048" y="69057"/>
                    <a:pt x="139768" y="69057"/>
                    <a:pt x="145207" y="69057"/>
                  </a:cubicBezTo>
                  <a:cubicBezTo>
                    <a:pt x="150646" y="60898"/>
                    <a:pt x="158806" y="58178"/>
                    <a:pt x="169684" y="58178"/>
                  </a:cubicBezTo>
                  <a:cubicBezTo>
                    <a:pt x="172404" y="58178"/>
                    <a:pt x="175123" y="58178"/>
                    <a:pt x="177843" y="58178"/>
                  </a:cubicBezTo>
                  <a:cubicBezTo>
                    <a:pt x="186002" y="58178"/>
                    <a:pt x="196881" y="63617"/>
                    <a:pt x="205040" y="66337"/>
                  </a:cubicBezTo>
                  <a:cubicBezTo>
                    <a:pt x="237676" y="66337"/>
                    <a:pt x="273031" y="63617"/>
                    <a:pt x="286629" y="63617"/>
                  </a:cubicBezTo>
                  <a:cubicBezTo>
                    <a:pt x="300228" y="63617"/>
                    <a:pt x="324705" y="63617"/>
                    <a:pt x="324705" y="79936"/>
                  </a:cubicBezTo>
                  <a:cubicBezTo>
                    <a:pt x="324705" y="88094"/>
                    <a:pt x="321985" y="90814"/>
                    <a:pt x="319265" y="96253"/>
                  </a:cubicBezTo>
                  <a:cubicBezTo>
                    <a:pt x="313826" y="101693"/>
                    <a:pt x="308387" y="104412"/>
                    <a:pt x="302948" y="104412"/>
                  </a:cubicBezTo>
                  <a:cubicBezTo>
                    <a:pt x="289349" y="112571"/>
                    <a:pt x="283910" y="112571"/>
                    <a:pt x="278471" y="112571"/>
                  </a:cubicBezTo>
                  <a:cubicBezTo>
                    <a:pt x="273031" y="112571"/>
                    <a:pt x="253994" y="112571"/>
                    <a:pt x="232236" y="112571"/>
                  </a:cubicBezTo>
                  <a:cubicBezTo>
                    <a:pt x="237676" y="120730"/>
                    <a:pt x="240395" y="128889"/>
                    <a:pt x="240395" y="137048"/>
                  </a:cubicBezTo>
                  <a:cubicBezTo>
                    <a:pt x="240395" y="142487"/>
                    <a:pt x="240395" y="145207"/>
                    <a:pt x="240395" y="150647"/>
                  </a:cubicBezTo>
                  <a:cubicBezTo>
                    <a:pt x="240395" y="153366"/>
                    <a:pt x="240395" y="156086"/>
                    <a:pt x="243115" y="158805"/>
                  </a:cubicBezTo>
                  <a:cubicBezTo>
                    <a:pt x="245835" y="169684"/>
                    <a:pt x="245835" y="180563"/>
                    <a:pt x="248554" y="188722"/>
                  </a:cubicBezTo>
                  <a:cubicBezTo>
                    <a:pt x="248554" y="191441"/>
                    <a:pt x="248554" y="194161"/>
                    <a:pt x="248554" y="199600"/>
                  </a:cubicBezTo>
                  <a:cubicBezTo>
                    <a:pt x="248554" y="207759"/>
                    <a:pt x="248554" y="213198"/>
                    <a:pt x="248554" y="221357"/>
                  </a:cubicBezTo>
                  <a:cubicBezTo>
                    <a:pt x="248554" y="234956"/>
                    <a:pt x="251274" y="248554"/>
                    <a:pt x="253994" y="264872"/>
                  </a:cubicBezTo>
                  <a:cubicBezTo>
                    <a:pt x="256713" y="275751"/>
                    <a:pt x="259433" y="286629"/>
                    <a:pt x="262153" y="297508"/>
                  </a:cubicBezTo>
                  <a:cubicBezTo>
                    <a:pt x="264872" y="305667"/>
                    <a:pt x="264872" y="313826"/>
                    <a:pt x="264872" y="324704"/>
                  </a:cubicBezTo>
                  <a:cubicBezTo>
                    <a:pt x="264872" y="327424"/>
                    <a:pt x="264872" y="330144"/>
                    <a:pt x="264872" y="332863"/>
                  </a:cubicBezTo>
                  <a:cubicBezTo>
                    <a:pt x="264872" y="338303"/>
                    <a:pt x="264872" y="346462"/>
                    <a:pt x="264872" y="351901"/>
                  </a:cubicBezTo>
                  <a:cubicBezTo>
                    <a:pt x="264872" y="357340"/>
                    <a:pt x="262153" y="365499"/>
                    <a:pt x="262153" y="370939"/>
                  </a:cubicBezTo>
                  <a:cubicBezTo>
                    <a:pt x="262153" y="376378"/>
                    <a:pt x="264872" y="384537"/>
                    <a:pt x="267592" y="384537"/>
                  </a:cubicBezTo>
                  <a:cubicBezTo>
                    <a:pt x="273031" y="384537"/>
                    <a:pt x="275751" y="376378"/>
                    <a:pt x="278471" y="370939"/>
                  </a:cubicBezTo>
                  <a:cubicBezTo>
                    <a:pt x="283910" y="360060"/>
                    <a:pt x="289349" y="346462"/>
                    <a:pt x="297508" y="332863"/>
                  </a:cubicBezTo>
                  <a:cubicBezTo>
                    <a:pt x="302948" y="324704"/>
                    <a:pt x="305667" y="313826"/>
                    <a:pt x="311106" y="305667"/>
                  </a:cubicBezTo>
                  <a:cubicBezTo>
                    <a:pt x="319265" y="289349"/>
                    <a:pt x="327424" y="275751"/>
                    <a:pt x="335583" y="259433"/>
                  </a:cubicBezTo>
                  <a:cubicBezTo>
                    <a:pt x="341023" y="248554"/>
                    <a:pt x="349182" y="234956"/>
                    <a:pt x="354621" y="224077"/>
                  </a:cubicBezTo>
                  <a:cubicBezTo>
                    <a:pt x="362780" y="207759"/>
                    <a:pt x="370939" y="191441"/>
                    <a:pt x="381817" y="172404"/>
                  </a:cubicBezTo>
                  <a:cubicBezTo>
                    <a:pt x="389977" y="153366"/>
                    <a:pt x="400855" y="134329"/>
                    <a:pt x="409014" y="118011"/>
                  </a:cubicBezTo>
                  <a:cubicBezTo>
                    <a:pt x="409014" y="115291"/>
                    <a:pt x="409014" y="115291"/>
                    <a:pt x="411734" y="115291"/>
                  </a:cubicBezTo>
                  <a:cubicBezTo>
                    <a:pt x="406294" y="115291"/>
                    <a:pt x="400855" y="115291"/>
                    <a:pt x="398136" y="115291"/>
                  </a:cubicBezTo>
                  <a:cubicBezTo>
                    <a:pt x="392696" y="115291"/>
                    <a:pt x="384537" y="115291"/>
                    <a:pt x="379098" y="109852"/>
                  </a:cubicBezTo>
                  <a:cubicBezTo>
                    <a:pt x="373659" y="107132"/>
                    <a:pt x="368219" y="98973"/>
                    <a:pt x="368219" y="93534"/>
                  </a:cubicBezTo>
                  <a:cubicBezTo>
                    <a:pt x="368219" y="90814"/>
                    <a:pt x="368219" y="88094"/>
                    <a:pt x="370939" y="85375"/>
                  </a:cubicBezTo>
                  <a:cubicBezTo>
                    <a:pt x="373659" y="82655"/>
                    <a:pt x="381817" y="79936"/>
                    <a:pt x="387257" y="77216"/>
                  </a:cubicBezTo>
                  <a:cubicBezTo>
                    <a:pt x="400855" y="74496"/>
                    <a:pt x="414453" y="71776"/>
                    <a:pt x="422612" y="71776"/>
                  </a:cubicBezTo>
                  <a:cubicBezTo>
                    <a:pt x="425332" y="71776"/>
                    <a:pt x="430771" y="71776"/>
                    <a:pt x="436211" y="71776"/>
                  </a:cubicBezTo>
                  <a:cubicBezTo>
                    <a:pt x="436211" y="71776"/>
                    <a:pt x="438930" y="69057"/>
                    <a:pt x="438930" y="69057"/>
                  </a:cubicBezTo>
                  <a:cubicBezTo>
                    <a:pt x="444370" y="66337"/>
                    <a:pt x="447089" y="66337"/>
                    <a:pt x="452529" y="66337"/>
                  </a:cubicBezTo>
                  <a:cubicBezTo>
                    <a:pt x="457968" y="66337"/>
                    <a:pt x="460688" y="66337"/>
                    <a:pt x="466127" y="69057"/>
                  </a:cubicBezTo>
                  <a:cubicBezTo>
                    <a:pt x="468847" y="69057"/>
                    <a:pt x="471566" y="71776"/>
                    <a:pt x="471566" y="71776"/>
                  </a:cubicBezTo>
                  <a:cubicBezTo>
                    <a:pt x="490604" y="71776"/>
                    <a:pt x="506922" y="71776"/>
                    <a:pt x="515081" y="71776"/>
                  </a:cubicBezTo>
                  <a:cubicBezTo>
                    <a:pt x="523240" y="71776"/>
                    <a:pt x="542277" y="71776"/>
                    <a:pt x="542277" y="88094"/>
                  </a:cubicBezTo>
                  <a:cubicBezTo>
                    <a:pt x="542277" y="96253"/>
                    <a:pt x="542277" y="98973"/>
                    <a:pt x="536838" y="104412"/>
                  </a:cubicBezTo>
                  <a:cubicBezTo>
                    <a:pt x="534119" y="109852"/>
                    <a:pt x="528679" y="112571"/>
                    <a:pt x="525959" y="112571"/>
                  </a:cubicBezTo>
                  <a:cubicBezTo>
                    <a:pt x="520520" y="115291"/>
                    <a:pt x="515081" y="115291"/>
                    <a:pt x="509642" y="115291"/>
                  </a:cubicBezTo>
                  <a:cubicBezTo>
                    <a:pt x="506922" y="115291"/>
                    <a:pt x="487884" y="115291"/>
                    <a:pt x="468847" y="115291"/>
                  </a:cubicBezTo>
                  <a:cubicBezTo>
                    <a:pt x="466127" y="123450"/>
                    <a:pt x="460688" y="128889"/>
                    <a:pt x="457968" y="137048"/>
                  </a:cubicBezTo>
                  <a:cubicBezTo>
                    <a:pt x="447089" y="156086"/>
                    <a:pt x="438930" y="175123"/>
                    <a:pt x="430771" y="194161"/>
                  </a:cubicBezTo>
                  <a:cubicBezTo>
                    <a:pt x="419893" y="215918"/>
                    <a:pt x="411734" y="240395"/>
                    <a:pt x="400855" y="262152"/>
                  </a:cubicBezTo>
                  <a:cubicBezTo>
                    <a:pt x="387257" y="289349"/>
                    <a:pt x="373659" y="311106"/>
                    <a:pt x="360060" y="332863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/>
            </a:p>
          </p:txBody>
        </p:sp>
        <p:sp>
          <p:nvSpPr>
            <p:cNvPr id="38" name="Freeform: Shape 37">
              <a:extLst>
                <a:ext uri="{FF2B5EF4-FFF2-40B4-BE49-F238E27FC236}">
                  <a16:creationId xmlns:a16="http://schemas.microsoft.com/office/drawing/2014/main" id="{2771C143-A1F3-4138-9AAE-B59B0482EED3}"/>
                </a:ext>
              </a:extLst>
            </p:cNvPr>
            <p:cNvSpPr/>
            <p:nvPr/>
          </p:nvSpPr>
          <p:spPr>
            <a:xfrm>
              <a:off x="4335316" y="4186718"/>
              <a:ext cx="353556" cy="761503"/>
            </a:xfrm>
            <a:custGeom>
              <a:avLst/>
              <a:gdLst>
                <a:gd name="connsiteX0" fmla="*/ 283910 w 353555"/>
                <a:gd name="connsiteY0" fmla="*/ 672820 h 761503"/>
                <a:gd name="connsiteX1" fmla="*/ 321985 w 353555"/>
                <a:gd name="connsiteY1" fmla="*/ 689138 h 761503"/>
                <a:gd name="connsiteX2" fmla="*/ 316546 w 353555"/>
                <a:gd name="connsiteY2" fmla="*/ 705456 h 761503"/>
                <a:gd name="connsiteX3" fmla="*/ 300228 w 353555"/>
                <a:gd name="connsiteY3" fmla="*/ 713615 h 761503"/>
                <a:gd name="connsiteX4" fmla="*/ 278471 w 353555"/>
                <a:gd name="connsiteY4" fmla="*/ 716335 h 761503"/>
                <a:gd name="connsiteX5" fmla="*/ 237676 w 353555"/>
                <a:gd name="connsiteY5" fmla="*/ 716335 h 761503"/>
                <a:gd name="connsiteX6" fmla="*/ 180563 w 353555"/>
                <a:gd name="connsiteY6" fmla="*/ 719054 h 761503"/>
                <a:gd name="connsiteX7" fmla="*/ 126170 w 353555"/>
                <a:gd name="connsiteY7" fmla="*/ 719054 h 761503"/>
                <a:gd name="connsiteX8" fmla="*/ 101693 w 353555"/>
                <a:gd name="connsiteY8" fmla="*/ 719054 h 761503"/>
                <a:gd name="connsiteX9" fmla="*/ 74496 w 353555"/>
                <a:gd name="connsiteY9" fmla="*/ 713615 h 761503"/>
                <a:gd name="connsiteX10" fmla="*/ 58178 w 353555"/>
                <a:gd name="connsiteY10" fmla="*/ 697297 h 761503"/>
                <a:gd name="connsiteX11" fmla="*/ 63617 w 353555"/>
                <a:gd name="connsiteY11" fmla="*/ 689138 h 761503"/>
                <a:gd name="connsiteX12" fmla="*/ 85375 w 353555"/>
                <a:gd name="connsiteY12" fmla="*/ 680979 h 761503"/>
                <a:gd name="connsiteX13" fmla="*/ 131609 w 353555"/>
                <a:gd name="connsiteY13" fmla="*/ 675540 h 761503"/>
                <a:gd name="connsiteX14" fmla="*/ 142488 w 353555"/>
                <a:gd name="connsiteY14" fmla="*/ 675540 h 761503"/>
                <a:gd name="connsiteX15" fmla="*/ 131609 w 353555"/>
                <a:gd name="connsiteY15" fmla="*/ 653783 h 761503"/>
                <a:gd name="connsiteX16" fmla="*/ 128889 w 353555"/>
                <a:gd name="connsiteY16" fmla="*/ 640184 h 761503"/>
                <a:gd name="connsiteX17" fmla="*/ 128889 w 353555"/>
                <a:gd name="connsiteY17" fmla="*/ 629306 h 761503"/>
                <a:gd name="connsiteX18" fmla="*/ 128889 w 353555"/>
                <a:gd name="connsiteY18" fmla="*/ 621147 h 761503"/>
                <a:gd name="connsiteX19" fmla="*/ 128889 w 353555"/>
                <a:gd name="connsiteY19" fmla="*/ 593950 h 761503"/>
                <a:gd name="connsiteX20" fmla="*/ 128889 w 353555"/>
                <a:gd name="connsiteY20" fmla="*/ 583072 h 761503"/>
                <a:gd name="connsiteX21" fmla="*/ 128889 w 353555"/>
                <a:gd name="connsiteY21" fmla="*/ 436210 h 761503"/>
                <a:gd name="connsiteX22" fmla="*/ 128889 w 353555"/>
                <a:gd name="connsiteY22" fmla="*/ 357340 h 761503"/>
                <a:gd name="connsiteX23" fmla="*/ 131609 w 353555"/>
                <a:gd name="connsiteY23" fmla="*/ 289349 h 761503"/>
                <a:gd name="connsiteX24" fmla="*/ 131609 w 353555"/>
                <a:gd name="connsiteY24" fmla="*/ 251274 h 761503"/>
                <a:gd name="connsiteX25" fmla="*/ 131609 w 353555"/>
                <a:gd name="connsiteY25" fmla="*/ 205040 h 761503"/>
                <a:gd name="connsiteX26" fmla="*/ 131609 w 353555"/>
                <a:gd name="connsiteY26" fmla="*/ 139768 h 761503"/>
                <a:gd name="connsiteX27" fmla="*/ 131609 w 353555"/>
                <a:gd name="connsiteY27" fmla="*/ 128889 h 761503"/>
                <a:gd name="connsiteX28" fmla="*/ 126170 w 353555"/>
                <a:gd name="connsiteY28" fmla="*/ 128889 h 761503"/>
                <a:gd name="connsiteX29" fmla="*/ 101693 w 353555"/>
                <a:gd name="connsiteY29" fmla="*/ 128889 h 761503"/>
                <a:gd name="connsiteX30" fmla="*/ 74496 w 353555"/>
                <a:gd name="connsiteY30" fmla="*/ 123450 h 761503"/>
                <a:gd name="connsiteX31" fmla="*/ 58178 w 353555"/>
                <a:gd name="connsiteY31" fmla="*/ 107132 h 761503"/>
                <a:gd name="connsiteX32" fmla="*/ 60898 w 353555"/>
                <a:gd name="connsiteY32" fmla="*/ 98973 h 761503"/>
                <a:gd name="connsiteX33" fmla="*/ 82655 w 353555"/>
                <a:gd name="connsiteY33" fmla="*/ 93534 h 761503"/>
                <a:gd name="connsiteX34" fmla="*/ 131609 w 353555"/>
                <a:gd name="connsiteY34" fmla="*/ 88094 h 761503"/>
                <a:gd name="connsiteX35" fmla="*/ 131609 w 353555"/>
                <a:gd name="connsiteY35" fmla="*/ 82655 h 761503"/>
                <a:gd name="connsiteX36" fmla="*/ 134329 w 353555"/>
                <a:gd name="connsiteY36" fmla="*/ 71776 h 761503"/>
                <a:gd name="connsiteX37" fmla="*/ 147927 w 353555"/>
                <a:gd name="connsiteY37" fmla="*/ 63617 h 761503"/>
                <a:gd name="connsiteX38" fmla="*/ 164245 w 353555"/>
                <a:gd name="connsiteY38" fmla="*/ 58178 h 761503"/>
                <a:gd name="connsiteX39" fmla="*/ 177843 w 353555"/>
                <a:gd name="connsiteY39" fmla="*/ 58178 h 761503"/>
                <a:gd name="connsiteX40" fmla="*/ 196881 w 353555"/>
                <a:gd name="connsiteY40" fmla="*/ 60898 h 761503"/>
                <a:gd name="connsiteX41" fmla="*/ 232236 w 353555"/>
                <a:gd name="connsiteY41" fmla="*/ 88094 h 761503"/>
                <a:gd name="connsiteX42" fmla="*/ 278471 w 353555"/>
                <a:gd name="connsiteY42" fmla="*/ 88094 h 761503"/>
                <a:gd name="connsiteX43" fmla="*/ 316546 w 353555"/>
                <a:gd name="connsiteY43" fmla="*/ 104412 h 761503"/>
                <a:gd name="connsiteX44" fmla="*/ 311106 w 353555"/>
                <a:gd name="connsiteY44" fmla="*/ 120730 h 761503"/>
                <a:gd name="connsiteX45" fmla="*/ 294788 w 353555"/>
                <a:gd name="connsiteY45" fmla="*/ 128889 h 761503"/>
                <a:gd name="connsiteX46" fmla="*/ 273031 w 353555"/>
                <a:gd name="connsiteY46" fmla="*/ 131609 h 761503"/>
                <a:gd name="connsiteX47" fmla="*/ 243115 w 353555"/>
                <a:gd name="connsiteY47" fmla="*/ 131609 h 761503"/>
                <a:gd name="connsiteX48" fmla="*/ 243115 w 353555"/>
                <a:gd name="connsiteY48" fmla="*/ 134329 h 761503"/>
                <a:gd name="connsiteX49" fmla="*/ 248554 w 353555"/>
                <a:gd name="connsiteY49" fmla="*/ 169684 h 761503"/>
                <a:gd name="connsiteX50" fmla="*/ 251274 w 353555"/>
                <a:gd name="connsiteY50" fmla="*/ 205040 h 761503"/>
                <a:gd name="connsiteX51" fmla="*/ 251274 w 353555"/>
                <a:gd name="connsiteY51" fmla="*/ 240395 h 761503"/>
                <a:gd name="connsiteX52" fmla="*/ 251274 w 353555"/>
                <a:gd name="connsiteY52" fmla="*/ 256713 h 761503"/>
                <a:gd name="connsiteX53" fmla="*/ 253994 w 353555"/>
                <a:gd name="connsiteY53" fmla="*/ 270311 h 761503"/>
                <a:gd name="connsiteX54" fmla="*/ 259433 w 353555"/>
                <a:gd name="connsiteY54" fmla="*/ 343742 h 761503"/>
                <a:gd name="connsiteX55" fmla="*/ 262153 w 353555"/>
                <a:gd name="connsiteY55" fmla="*/ 425332 h 761503"/>
                <a:gd name="connsiteX56" fmla="*/ 264872 w 353555"/>
                <a:gd name="connsiteY56" fmla="*/ 490603 h 761503"/>
                <a:gd name="connsiteX57" fmla="*/ 270312 w 353555"/>
                <a:gd name="connsiteY57" fmla="*/ 564034 h 761503"/>
                <a:gd name="connsiteX58" fmla="*/ 270312 w 353555"/>
                <a:gd name="connsiteY58" fmla="*/ 599390 h 761503"/>
                <a:gd name="connsiteX59" fmla="*/ 270312 w 353555"/>
                <a:gd name="connsiteY59" fmla="*/ 637465 h 761503"/>
                <a:gd name="connsiteX60" fmla="*/ 264872 w 353555"/>
                <a:gd name="connsiteY60" fmla="*/ 670101 h 761503"/>
                <a:gd name="connsiteX61" fmla="*/ 283910 w 353555"/>
                <a:gd name="connsiteY61" fmla="*/ 672820 h 761503"/>
                <a:gd name="connsiteX62" fmla="*/ 283910 w 353555"/>
                <a:gd name="connsiteY62" fmla="*/ 672820 h 761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</a:cxnLst>
              <a:rect l="l" t="t" r="r" b="b"/>
              <a:pathLst>
                <a:path w="353555" h="761503">
                  <a:moveTo>
                    <a:pt x="283910" y="672820"/>
                  </a:moveTo>
                  <a:cubicBezTo>
                    <a:pt x="297508" y="672820"/>
                    <a:pt x="321985" y="672820"/>
                    <a:pt x="321985" y="689138"/>
                  </a:cubicBezTo>
                  <a:cubicBezTo>
                    <a:pt x="321985" y="697297"/>
                    <a:pt x="319265" y="697297"/>
                    <a:pt x="316546" y="705456"/>
                  </a:cubicBezTo>
                  <a:cubicBezTo>
                    <a:pt x="311106" y="710895"/>
                    <a:pt x="305667" y="713615"/>
                    <a:pt x="300228" y="713615"/>
                  </a:cubicBezTo>
                  <a:cubicBezTo>
                    <a:pt x="292069" y="716335"/>
                    <a:pt x="283910" y="716335"/>
                    <a:pt x="278471" y="716335"/>
                  </a:cubicBezTo>
                  <a:cubicBezTo>
                    <a:pt x="275751" y="716335"/>
                    <a:pt x="256713" y="716335"/>
                    <a:pt x="237676" y="716335"/>
                  </a:cubicBezTo>
                  <a:cubicBezTo>
                    <a:pt x="213199" y="716335"/>
                    <a:pt x="186002" y="719054"/>
                    <a:pt x="180563" y="719054"/>
                  </a:cubicBezTo>
                  <a:cubicBezTo>
                    <a:pt x="166965" y="719054"/>
                    <a:pt x="142488" y="719054"/>
                    <a:pt x="126170" y="719054"/>
                  </a:cubicBezTo>
                  <a:cubicBezTo>
                    <a:pt x="118011" y="719054"/>
                    <a:pt x="109852" y="719054"/>
                    <a:pt x="101693" y="719054"/>
                  </a:cubicBezTo>
                  <a:cubicBezTo>
                    <a:pt x="93534" y="719054"/>
                    <a:pt x="82655" y="719054"/>
                    <a:pt x="74496" y="713615"/>
                  </a:cubicBezTo>
                  <a:cubicBezTo>
                    <a:pt x="66337" y="710895"/>
                    <a:pt x="58178" y="702736"/>
                    <a:pt x="58178" y="697297"/>
                  </a:cubicBezTo>
                  <a:cubicBezTo>
                    <a:pt x="58178" y="694578"/>
                    <a:pt x="58178" y="691858"/>
                    <a:pt x="63617" y="689138"/>
                  </a:cubicBezTo>
                  <a:cubicBezTo>
                    <a:pt x="69057" y="686418"/>
                    <a:pt x="79935" y="683699"/>
                    <a:pt x="85375" y="680979"/>
                  </a:cubicBezTo>
                  <a:cubicBezTo>
                    <a:pt x="104412" y="678260"/>
                    <a:pt x="123450" y="675540"/>
                    <a:pt x="131609" y="675540"/>
                  </a:cubicBezTo>
                  <a:cubicBezTo>
                    <a:pt x="134329" y="675540"/>
                    <a:pt x="137048" y="675540"/>
                    <a:pt x="142488" y="675540"/>
                  </a:cubicBezTo>
                  <a:cubicBezTo>
                    <a:pt x="134329" y="670101"/>
                    <a:pt x="131609" y="661942"/>
                    <a:pt x="131609" y="653783"/>
                  </a:cubicBezTo>
                  <a:cubicBezTo>
                    <a:pt x="131609" y="648343"/>
                    <a:pt x="131609" y="642904"/>
                    <a:pt x="128889" y="640184"/>
                  </a:cubicBezTo>
                  <a:cubicBezTo>
                    <a:pt x="128889" y="637465"/>
                    <a:pt x="128889" y="634745"/>
                    <a:pt x="128889" y="629306"/>
                  </a:cubicBezTo>
                  <a:cubicBezTo>
                    <a:pt x="128889" y="626586"/>
                    <a:pt x="128889" y="623867"/>
                    <a:pt x="128889" y="621147"/>
                  </a:cubicBezTo>
                  <a:cubicBezTo>
                    <a:pt x="128889" y="612988"/>
                    <a:pt x="128889" y="604829"/>
                    <a:pt x="128889" y="593950"/>
                  </a:cubicBezTo>
                  <a:cubicBezTo>
                    <a:pt x="128889" y="591231"/>
                    <a:pt x="128889" y="585791"/>
                    <a:pt x="128889" y="583072"/>
                  </a:cubicBezTo>
                  <a:cubicBezTo>
                    <a:pt x="128889" y="534118"/>
                    <a:pt x="131609" y="485164"/>
                    <a:pt x="128889" y="436210"/>
                  </a:cubicBezTo>
                  <a:cubicBezTo>
                    <a:pt x="128889" y="409014"/>
                    <a:pt x="128889" y="384537"/>
                    <a:pt x="128889" y="357340"/>
                  </a:cubicBezTo>
                  <a:cubicBezTo>
                    <a:pt x="128889" y="335583"/>
                    <a:pt x="131609" y="313826"/>
                    <a:pt x="131609" y="289349"/>
                  </a:cubicBezTo>
                  <a:cubicBezTo>
                    <a:pt x="131609" y="275751"/>
                    <a:pt x="131609" y="264872"/>
                    <a:pt x="131609" y="251274"/>
                  </a:cubicBezTo>
                  <a:cubicBezTo>
                    <a:pt x="131609" y="234956"/>
                    <a:pt x="131609" y="221357"/>
                    <a:pt x="131609" y="205040"/>
                  </a:cubicBezTo>
                  <a:cubicBezTo>
                    <a:pt x="131609" y="183282"/>
                    <a:pt x="131609" y="161525"/>
                    <a:pt x="131609" y="139768"/>
                  </a:cubicBezTo>
                  <a:cubicBezTo>
                    <a:pt x="131609" y="137048"/>
                    <a:pt x="131609" y="134329"/>
                    <a:pt x="131609" y="128889"/>
                  </a:cubicBezTo>
                  <a:cubicBezTo>
                    <a:pt x="128889" y="128889"/>
                    <a:pt x="126170" y="128889"/>
                    <a:pt x="126170" y="128889"/>
                  </a:cubicBezTo>
                  <a:cubicBezTo>
                    <a:pt x="118011" y="128889"/>
                    <a:pt x="109852" y="128889"/>
                    <a:pt x="101693" y="128889"/>
                  </a:cubicBezTo>
                  <a:cubicBezTo>
                    <a:pt x="93534" y="128889"/>
                    <a:pt x="82655" y="128889"/>
                    <a:pt x="74496" y="123450"/>
                  </a:cubicBezTo>
                  <a:cubicBezTo>
                    <a:pt x="66337" y="120730"/>
                    <a:pt x="58178" y="112571"/>
                    <a:pt x="58178" y="107132"/>
                  </a:cubicBezTo>
                  <a:cubicBezTo>
                    <a:pt x="58178" y="104412"/>
                    <a:pt x="58178" y="101693"/>
                    <a:pt x="60898" y="98973"/>
                  </a:cubicBezTo>
                  <a:cubicBezTo>
                    <a:pt x="63617" y="96253"/>
                    <a:pt x="77216" y="93534"/>
                    <a:pt x="82655" y="93534"/>
                  </a:cubicBezTo>
                  <a:cubicBezTo>
                    <a:pt x="98973" y="90814"/>
                    <a:pt x="123450" y="88094"/>
                    <a:pt x="131609" y="88094"/>
                  </a:cubicBezTo>
                  <a:cubicBezTo>
                    <a:pt x="131609" y="85375"/>
                    <a:pt x="131609" y="85375"/>
                    <a:pt x="131609" y="82655"/>
                  </a:cubicBezTo>
                  <a:cubicBezTo>
                    <a:pt x="131609" y="77216"/>
                    <a:pt x="131609" y="74496"/>
                    <a:pt x="134329" y="71776"/>
                  </a:cubicBezTo>
                  <a:cubicBezTo>
                    <a:pt x="137048" y="69057"/>
                    <a:pt x="145207" y="66337"/>
                    <a:pt x="147927" y="63617"/>
                  </a:cubicBezTo>
                  <a:cubicBezTo>
                    <a:pt x="153366" y="60898"/>
                    <a:pt x="158806" y="58178"/>
                    <a:pt x="164245" y="58178"/>
                  </a:cubicBezTo>
                  <a:cubicBezTo>
                    <a:pt x="169684" y="58178"/>
                    <a:pt x="175123" y="58178"/>
                    <a:pt x="177843" y="58178"/>
                  </a:cubicBezTo>
                  <a:cubicBezTo>
                    <a:pt x="183283" y="58178"/>
                    <a:pt x="191442" y="58178"/>
                    <a:pt x="196881" y="60898"/>
                  </a:cubicBezTo>
                  <a:cubicBezTo>
                    <a:pt x="213199" y="63617"/>
                    <a:pt x="224077" y="74496"/>
                    <a:pt x="232236" y="88094"/>
                  </a:cubicBezTo>
                  <a:cubicBezTo>
                    <a:pt x="253994" y="88094"/>
                    <a:pt x="270312" y="88094"/>
                    <a:pt x="278471" y="88094"/>
                  </a:cubicBezTo>
                  <a:cubicBezTo>
                    <a:pt x="292069" y="88094"/>
                    <a:pt x="316546" y="88094"/>
                    <a:pt x="316546" y="104412"/>
                  </a:cubicBezTo>
                  <a:cubicBezTo>
                    <a:pt x="316546" y="112571"/>
                    <a:pt x="313826" y="112571"/>
                    <a:pt x="311106" y="120730"/>
                  </a:cubicBezTo>
                  <a:cubicBezTo>
                    <a:pt x="305667" y="126170"/>
                    <a:pt x="300228" y="128889"/>
                    <a:pt x="294788" y="128889"/>
                  </a:cubicBezTo>
                  <a:cubicBezTo>
                    <a:pt x="286630" y="131609"/>
                    <a:pt x="278471" y="131609"/>
                    <a:pt x="273031" y="131609"/>
                  </a:cubicBezTo>
                  <a:cubicBezTo>
                    <a:pt x="270312" y="131609"/>
                    <a:pt x="259433" y="131609"/>
                    <a:pt x="243115" y="131609"/>
                  </a:cubicBezTo>
                  <a:lnTo>
                    <a:pt x="243115" y="134329"/>
                  </a:lnTo>
                  <a:cubicBezTo>
                    <a:pt x="245835" y="145207"/>
                    <a:pt x="245835" y="158805"/>
                    <a:pt x="248554" y="169684"/>
                  </a:cubicBezTo>
                  <a:cubicBezTo>
                    <a:pt x="251274" y="180563"/>
                    <a:pt x="251274" y="194161"/>
                    <a:pt x="251274" y="205040"/>
                  </a:cubicBezTo>
                  <a:cubicBezTo>
                    <a:pt x="251274" y="215918"/>
                    <a:pt x="251274" y="226797"/>
                    <a:pt x="251274" y="240395"/>
                  </a:cubicBezTo>
                  <a:cubicBezTo>
                    <a:pt x="251274" y="245834"/>
                    <a:pt x="251274" y="251274"/>
                    <a:pt x="251274" y="256713"/>
                  </a:cubicBezTo>
                  <a:cubicBezTo>
                    <a:pt x="251274" y="262152"/>
                    <a:pt x="251274" y="267592"/>
                    <a:pt x="253994" y="270311"/>
                  </a:cubicBezTo>
                  <a:cubicBezTo>
                    <a:pt x="256713" y="294788"/>
                    <a:pt x="256713" y="319265"/>
                    <a:pt x="259433" y="343742"/>
                  </a:cubicBezTo>
                  <a:cubicBezTo>
                    <a:pt x="259433" y="370939"/>
                    <a:pt x="262153" y="398135"/>
                    <a:pt x="262153" y="425332"/>
                  </a:cubicBezTo>
                  <a:cubicBezTo>
                    <a:pt x="262153" y="447089"/>
                    <a:pt x="262153" y="468846"/>
                    <a:pt x="264872" y="490603"/>
                  </a:cubicBezTo>
                  <a:cubicBezTo>
                    <a:pt x="264872" y="515080"/>
                    <a:pt x="270312" y="539557"/>
                    <a:pt x="270312" y="564034"/>
                  </a:cubicBezTo>
                  <a:cubicBezTo>
                    <a:pt x="270312" y="574913"/>
                    <a:pt x="270312" y="588511"/>
                    <a:pt x="270312" y="599390"/>
                  </a:cubicBezTo>
                  <a:cubicBezTo>
                    <a:pt x="270312" y="612988"/>
                    <a:pt x="270312" y="623867"/>
                    <a:pt x="270312" y="637465"/>
                  </a:cubicBezTo>
                  <a:cubicBezTo>
                    <a:pt x="270312" y="648343"/>
                    <a:pt x="270312" y="661942"/>
                    <a:pt x="264872" y="670101"/>
                  </a:cubicBezTo>
                  <a:cubicBezTo>
                    <a:pt x="273031" y="672820"/>
                    <a:pt x="278471" y="672820"/>
                    <a:pt x="283910" y="672820"/>
                  </a:cubicBezTo>
                  <a:lnTo>
                    <a:pt x="283910" y="672820"/>
                  </a:ln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/>
            </a:p>
          </p:txBody>
        </p:sp>
        <p:sp>
          <p:nvSpPr>
            <p:cNvPr id="39" name="Freeform: Shape 38">
              <a:extLst>
                <a:ext uri="{FF2B5EF4-FFF2-40B4-BE49-F238E27FC236}">
                  <a16:creationId xmlns:a16="http://schemas.microsoft.com/office/drawing/2014/main" id="{87BD61EB-293E-42B3-9B29-34C68BECB4A0}"/>
                </a:ext>
              </a:extLst>
            </p:cNvPr>
            <p:cNvSpPr/>
            <p:nvPr/>
          </p:nvSpPr>
          <p:spPr>
            <a:xfrm>
              <a:off x="4620880" y="4194877"/>
              <a:ext cx="598325" cy="761503"/>
            </a:xfrm>
            <a:custGeom>
              <a:avLst/>
              <a:gdLst>
                <a:gd name="connsiteX0" fmla="*/ 515081 w 598324"/>
                <a:gd name="connsiteY0" fmla="*/ 79935 h 761503"/>
                <a:gd name="connsiteX1" fmla="*/ 542277 w 598324"/>
                <a:gd name="connsiteY1" fmla="*/ 96253 h 761503"/>
                <a:gd name="connsiteX2" fmla="*/ 536838 w 598324"/>
                <a:gd name="connsiteY2" fmla="*/ 112571 h 761503"/>
                <a:gd name="connsiteX3" fmla="*/ 523240 w 598324"/>
                <a:gd name="connsiteY3" fmla="*/ 120730 h 761503"/>
                <a:gd name="connsiteX4" fmla="*/ 506922 w 598324"/>
                <a:gd name="connsiteY4" fmla="*/ 123450 h 761503"/>
                <a:gd name="connsiteX5" fmla="*/ 477006 w 598324"/>
                <a:gd name="connsiteY5" fmla="*/ 123450 h 761503"/>
                <a:gd name="connsiteX6" fmla="*/ 479725 w 598324"/>
                <a:gd name="connsiteY6" fmla="*/ 145207 h 761503"/>
                <a:gd name="connsiteX7" fmla="*/ 477006 w 598324"/>
                <a:gd name="connsiteY7" fmla="*/ 180563 h 761503"/>
                <a:gd name="connsiteX8" fmla="*/ 482445 w 598324"/>
                <a:gd name="connsiteY8" fmla="*/ 232236 h 761503"/>
                <a:gd name="connsiteX9" fmla="*/ 485165 w 598324"/>
                <a:gd name="connsiteY9" fmla="*/ 283909 h 761503"/>
                <a:gd name="connsiteX10" fmla="*/ 485165 w 598324"/>
                <a:gd name="connsiteY10" fmla="*/ 327424 h 761503"/>
                <a:gd name="connsiteX11" fmla="*/ 487884 w 598324"/>
                <a:gd name="connsiteY11" fmla="*/ 373658 h 761503"/>
                <a:gd name="connsiteX12" fmla="*/ 485165 w 598324"/>
                <a:gd name="connsiteY12" fmla="*/ 419892 h 761503"/>
                <a:gd name="connsiteX13" fmla="*/ 485165 w 598324"/>
                <a:gd name="connsiteY13" fmla="*/ 463407 h 761503"/>
                <a:gd name="connsiteX14" fmla="*/ 482445 w 598324"/>
                <a:gd name="connsiteY14" fmla="*/ 515080 h 761503"/>
                <a:gd name="connsiteX15" fmla="*/ 482445 w 598324"/>
                <a:gd name="connsiteY15" fmla="*/ 558595 h 761503"/>
                <a:gd name="connsiteX16" fmla="*/ 479725 w 598324"/>
                <a:gd name="connsiteY16" fmla="*/ 602109 h 761503"/>
                <a:gd name="connsiteX17" fmla="*/ 485165 w 598324"/>
                <a:gd name="connsiteY17" fmla="*/ 648343 h 761503"/>
                <a:gd name="connsiteX18" fmla="*/ 474286 w 598324"/>
                <a:gd name="connsiteY18" fmla="*/ 675540 h 761503"/>
                <a:gd name="connsiteX19" fmla="*/ 428052 w 598324"/>
                <a:gd name="connsiteY19" fmla="*/ 691858 h 761503"/>
                <a:gd name="connsiteX20" fmla="*/ 387257 w 598324"/>
                <a:gd name="connsiteY20" fmla="*/ 683699 h 761503"/>
                <a:gd name="connsiteX21" fmla="*/ 351901 w 598324"/>
                <a:gd name="connsiteY21" fmla="*/ 664661 h 761503"/>
                <a:gd name="connsiteX22" fmla="*/ 305667 w 598324"/>
                <a:gd name="connsiteY22" fmla="*/ 596670 h 761503"/>
                <a:gd name="connsiteX23" fmla="*/ 270312 w 598324"/>
                <a:gd name="connsiteY23" fmla="*/ 509641 h 761503"/>
                <a:gd name="connsiteX24" fmla="*/ 251274 w 598324"/>
                <a:gd name="connsiteY24" fmla="*/ 460687 h 761503"/>
                <a:gd name="connsiteX25" fmla="*/ 224077 w 598324"/>
                <a:gd name="connsiteY25" fmla="*/ 381817 h 761503"/>
                <a:gd name="connsiteX26" fmla="*/ 207759 w 598324"/>
                <a:gd name="connsiteY26" fmla="*/ 330144 h 761503"/>
                <a:gd name="connsiteX27" fmla="*/ 191442 w 598324"/>
                <a:gd name="connsiteY27" fmla="*/ 286629 h 761503"/>
                <a:gd name="connsiteX28" fmla="*/ 183283 w 598324"/>
                <a:gd name="connsiteY28" fmla="*/ 278470 h 761503"/>
                <a:gd name="connsiteX29" fmla="*/ 180563 w 598324"/>
                <a:gd name="connsiteY29" fmla="*/ 292068 h 761503"/>
                <a:gd name="connsiteX30" fmla="*/ 180563 w 598324"/>
                <a:gd name="connsiteY30" fmla="*/ 305667 h 761503"/>
                <a:gd name="connsiteX31" fmla="*/ 183283 w 598324"/>
                <a:gd name="connsiteY31" fmla="*/ 354620 h 761503"/>
                <a:gd name="connsiteX32" fmla="*/ 188722 w 598324"/>
                <a:gd name="connsiteY32" fmla="*/ 449808 h 761503"/>
                <a:gd name="connsiteX33" fmla="*/ 188722 w 598324"/>
                <a:gd name="connsiteY33" fmla="*/ 479725 h 761503"/>
                <a:gd name="connsiteX34" fmla="*/ 188722 w 598324"/>
                <a:gd name="connsiteY34" fmla="*/ 542277 h 761503"/>
                <a:gd name="connsiteX35" fmla="*/ 186002 w 598324"/>
                <a:gd name="connsiteY35" fmla="*/ 615708 h 761503"/>
                <a:gd name="connsiteX36" fmla="*/ 186002 w 598324"/>
                <a:gd name="connsiteY36" fmla="*/ 637465 h 761503"/>
                <a:gd name="connsiteX37" fmla="*/ 183283 w 598324"/>
                <a:gd name="connsiteY37" fmla="*/ 664661 h 761503"/>
                <a:gd name="connsiteX38" fmla="*/ 226797 w 598324"/>
                <a:gd name="connsiteY38" fmla="*/ 664661 h 761503"/>
                <a:gd name="connsiteX39" fmla="*/ 253994 w 598324"/>
                <a:gd name="connsiteY39" fmla="*/ 680979 h 761503"/>
                <a:gd name="connsiteX40" fmla="*/ 248554 w 598324"/>
                <a:gd name="connsiteY40" fmla="*/ 697297 h 761503"/>
                <a:gd name="connsiteX41" fmla="*/ 234956 w 598324"/>
                <a:gd name="connsiteY41" fmla="*/ 705456 h 761503"/>
                <a:gd name="connsiteX42" fmla="*/ 218638 w 598324"/>
                <a:gd name="connsiteY42" fmla="*/ 708176 h 761503"/>
                <a:gd name="connsiteX43" fmla="*/ 183283 w 598324"/>
                <a:gd name="connsiteY43" fmla="*/ 708176 h 761503"/>
                <a:gd name="connsiteX44" fmla="*/ 150647 w 598324"/>
                <a:gd name="connsiteY44" fmla="*/ 708176 h 761503"/>
                <a:gd name="connsiteX45" fmla="*/ 107132 w 598324"/>
                <a:gd name="connsiteY45" fmla="*/ 708176 h 761503"/>
                <a:gd name="connsiteX46" fmla="*/ 88094 w 598324"/>
                <a:gd name="connsiteY46" fmla="*/ 708176 h 761503"/>
                <a:gd name="connsiteX47" fmla="*/ 69057 w 598324"/>
                <a:gd name="connsiteY47" fmla="*/ 702736 h 761503"/>
                <a:gd name="connsiteX48" fmla="*/ 58178 w 598324"/>
                <a:gd name="connsiteY48" fmla="*/ 686418 h 761503"/>
                <a:gd name="connsiteX49" fmla="*/ 60898 w 598324"/>
                <a:gd name="connsiteY49" fmla="*/ 678259 h 761503"/>
                <a:gd name="connsiteX50" fmla="*/ 77216 w 598324"/>
                <a:gd name="connsiteY50" fmla="*/ 670101 h 761503"/>
                <a:gd name="connsiteX51" fmla="*/ 120730 w 598324"/>
                <a:gd name="connsiteY51" fmla="*/ 664661 h 761503"/>
                <a:gd name="connsiteX52" fmla="*/ 131609 w 598324"/>
                <a:gd name="connsiteY52" fmla="*/ 664661 h 761503"/>
                <a:gd name="connsiteX53" fmla="*/ 134329 w 598324"/>
                <a:gd name="connsiteY53" fmla="*/ 539557 h 761503"/>
                <a:gd name="connsiteX54" fmla="*/ 134329 w 598324"/>
                <a:gd name="connsiteY54" fmla="*/ 504201 h 761503"/>
                <a:gd name="connsiteX55" fmla="*/ 131609 w 598324"/>
                <a:gd name="connsiteY55" fmla="*/ 376378 h 761503"/>
                <a:gd name="connsiteX56" fmla="*/ 131609 w 598324"/>
                <a:gd name="connsiteY56" fmla="*/ 302947 h 761503"/>
                <a:gd name="connsiteX57" fmla="*/ 134329 w 598324"/>
                <a:gd name="connsiteY57" fmla="*/ 221357 h 761503"/>
                <a:gd name="connsiteX58" fmla="*/ 137048 w 598324"/>
                <a:gd name="connsiteY58" fmla="*/ 123450 h 761503"/>
                <a:gd name="connsiteX59" fmla="*/ 107132 w 598324"/>
                <a:gd name="connsiteY59" fmla="*/ 123450 h 761503"/>
                <a:gd name="connsiteX60" fmla="*/ 88094 w 598324"/>
                <a:gd name="connsiteY60" fmla="*/ 123450 h 761503"/>
                <a:gd name="connsiteX61" fmla="*/ 69057 w 598324"/>
                <a:gd name="connsiteY61" fmla="*/ 118011 h 761503"/>
                <a:gd name="connsiteX62" fmla="*/ 58178 w 598324"/>
                <a:gd name="connsiteY62" fmla="*/ 101693 h 761503"/>
                <a:gd name="connsiteX63" fmla="*/ 60898 w 598324"/>
                <a:gd name="connsiteY63" fmla="*/ 93534 h 761503"/>
                <a:gd name="connsiteX64" fmla="*/ 77216 w 598324"/>
                <a:gd name="connsiteY64" fmla="*/ 85375 h 761503"/>
                <a:gd name="connsiteX65" fmla="*/ 131609 w 598324"/>
                <a:gd name="connsiteY65" fmla="*/ 79935 h 761503"/>
                <a:gd name="connsiteX66" fmla="*/ 161525 w 598324"/>
                <a:gd name="connsiteY66" fmla="*/ 79935 h 761503"/>
                <a:gd name="connsiteX67" fmla="*/ 177843 w 598324"/>
                <a:gd name="connsiteY67" fmla="*/ 66337 h 761503"/>
                <a:gd name="connsiteX68" fmla="*/ 202320 w 598324"/>
                <a:gd name="connsiteY68" fmla="*/ 58178 h 761503"/>
                <a:gd name="connsiteX69" fmla="*/ 234956 w 598324"/>
                <a:gd name="connsiteY69" fmla="*/ 77216 h 761503"/>
                <a:gd name="connsiteX70" fmla="*/ 251274 w 598324"/>
                <a:gd name="connsiteY70" fmla="*/ 107132 h 761503"/>
                <a:gd name="connsiteX71" fmla="*/ 267592 w 598324"/>
                <a:gd name="connsiteY71" fmla="*/ 147927 h 761503"/>
                <a:gd name="connsiteX72" fmla="*/ 281190 w 598324"/>
                <a:gd name="connsiteY72" fmla="*/ 183282 h 761503"/>
                <a:gd name="connsiteX73" fmla="*/ 297508 w 598324"/>
                <a:gd name="connsiteY73" fmla="*/ 224077 h 761503"/>
                <a:gd name="connsiteX74" fmla="*/ 308387 w 598324"/>
                <a:gd name="connsiteY74" fmla="*/ 264872 h 761503"/>
                <a:gd name="connsiteX75" fmla="*/ 319265 w 598324"/>
                <a:gd name="connsiteY75" fmla="*/ 300227 h 761503"/>
                <a:gd name="connsiteX76" fmla="*/ 351901 w 598324"/>
                <a:gd name="connsiteY76" fmla="*/ 379097 h 761503"/>
                <a:gd name="connsiteX77" fmla="*/ 365500 w 598324"/>
                <a:gd name="connsiteY77" fmla="*/ 417173 h 761503"/>
                <a:gd name="connsiteX78" fmla="*/ 379098 w 598324"/>
                <a:gd name="connsiteY78" fmla="*/ 457967 h 761503"/>
                <a:gd name="connsiteX79" fmla="*/ 395416 w 598324"/>
                <a:gd name="connsiteY79" fmla="*/ 496043 h 761503"/>
                <a:gd name="connsiteX80" fmla="*/ 406294 w 598324"/>
                <a:gd name="connsiteY80" fmla="*/ 512361 h 761503"/>
                <a:gd name="connsiteX81" fmla="*/ 411734 w 598324"/>
                <a:gd name="connsiteY81" fmla="*/ 531398 h 761503"/>
                <a:gd name="connsiteX82" fmla="*/ 419893 w 598324"/>
                <a:gd name="connsiteY82" fmla="*/ 558595 h 761503"/>
                <a:gd name="connsiteX83" fmla="*/ 425332 w 598324"/>
                <a:gd name="connsiteY83" fmla="*/ 564034 h 761503"/>
                <a:gd name="connsiteX84" fmla="*/ 430771 w 598324"/>
                <a:gd name="connsiteY84" fmla="*/ 558595 h 761503"/>
                <a:gd name="connsiteX85" fmla="*/ 430771 w 598324"/>
                <a:gd name="connsiteY85" fmla="*/ 550436 h 761503"/>
                <a:gd name="connsiteX86" fmla="*/ 430771 w 598324"/>
                <a:gd name="connsiteY86" fmla="*/ 501482 h 761503"/>
                <a:gd name="connsiteX87" fmla="*/ 430771 w 598324"/>
                <a:gd name="connsiteY87" fmla="*/ 403574 h 761503"/>
                <a:gd name="connsiteX88" fmla="*/ 425332 w 598324"/>
                <a:gd name="connsiteY88" fmla="*/ 313826 h 761503"/>
                <a:gd name="connsiteX89" fmla="*/ 425332 w 598324"/>
                <a:gd name="connsiteY89" fmla="*/ 248554 h 761503"/>
                <a:gd name="connsiteX90" fmla="*/ 425332 w 598324"/>
                <a:gd name="connsiteY90" fmla="*/ 210479 h 761503"/>
                <a:gd name="connsiteX91" fmla="*/ 422613 w 598324"/>
                <a:gd name="connsiteY91" fmla="*/ 153366 h 761503"/>
                <a:gd name="connsiteX92" fmla="*/ 425332 w 598324"/>
                <a:gd name="connsiteY92" fmla="*/ 123450 h 761503"/>
                <a:gd name="connsiteX93" fmla="*/ 398136 w 598324"/>
                <a:gd name="connsiteY93" fmla="*/ 123450 h 761503"/>
                <a:gd name="connsiteX94" fmla="*/ 379098 w 598324"/>
                <a:gd name="connsiteY94" fmla="*/ 123450 h 761503"/>
                <a:gd name="connsiteX95" fmla="*/ 360060 w 598324"/>
                <a:gd name="connsiteY95" fmla="*/ 118011 h 761503"/>
                <a:gd name="connsiteX96" fmla="*/ 349182 w 598324"/>
                <a:gd name="connsiteY96" fmla="*/ 101693 h 761503"/>
                <a:gd name="connsiteX97" fmla="*/ 351901 w 598324"/>
                <a:gd name="connsiteY97" fmla="*/ 93534 h 761503"/>
                <a:gd name="connsiteX98" fmla="*/ 368219 w 598324"/>
                <a:gd name="connsiteY98" fmla="*/ 85375 h 761503"/>
                <a:gd name="connsiteX99" fmla="*/ 422613 w 598324"/>
                <a:gd name="connsiteY99" fmla="*/ 79935 h 761503"/>
                <a:gd name="connsiteX100" fmla="*/ 444370 w 598324"/>
                <a:gd name="connsiteY100" fmla="*/ 79935 h 761503"/>
                <a:gd name="connsiteX101" fmla="*/ 463407 w 598324"/>
                <a:gd name="connsiteY101" fmla="*/ 71776 h 761503"/>
                <a:gd name="connsiteX102" fmla="*/ 477006 w 598324"/>
                <a:gd name="connsiteY102" fmla="*/ 79935 h 761503"/>
                <a:gd name="connsiteX103" fmla="*/ 515081 w 598324"/>
                <a:gd name="connsiteY103" fmla="*/ 79935 h 761503"/>
                <a:gd name="connsiteX104" fmla="*/ 515081 w 598324"/>
                <a:gd name="connsiteY104" fmla="*/ 79935 h 761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</a:cxnLst>
              <a:rect l="l" t="t" r="r" b="b"/>
              <a:pathLst>
                <a:path w="598324" h="761503">
                  <a:moveTo>
                    <a:pt x="515081" y="79935"/>
                  </a:moveTo>
                  <a:cubicBezTo>
                    <a:pt x="523240" y="79935"/>
                    <a:pt x="542277" y="79935"/>
                    <a:pt x="542277" y="96253"/>
                  </a:cubicBezTo>
                  <a:cubicBezTo>
                    <a:pt x="542277" y="104412"/>
                    <a:pt x="542277" y="107132"/>
                    <a:pt x="536838" y="112571"/>
                  </a:cubicBezTo>
                  <a:cubicBezTo>
                    <a:pt x="534119" y="118011"/>
                    <a:pt x="528679" y="120730"/>
                    <a:pt x="523240" y="120730"/>
                  </a:cubicBezTo>
                  <a:cubicBezTo>
                    <a:pt x="515081" y="123450"/>
                    <a:pt x="512361" y="123450"/>
                    <a:pt x="506922" y="123450"/>
                  </a:cubicBezTo>
                  <a:cubicBezTo>
                    <a:pt x="504202" y="123450"/>
                    <a:pt x="490604" y="123450"/>
                    <a:pt x="477006" y="123450"/>
                  </a:cubicBezTo>
                  <a:cubicBezTo>
                    <a:pt x="477006" y="131609"/>
                    <a:pt x="479725" y="137048"/>
                    <a:pt x="479725" y="145207"/>
                  </a:cubicBezTo>
                  <a:cubicBezTo>
                    <a:pt x="479725" y="156086"/>
                    <a:pt x="477006" y="166964"/>
                    <a:pt x="477006" y="180563"/>
                  </a:cubicBezTo>
                  <a:cubicBezTo>
                    <a:pt x="477006" y="196881"/>
                    <a:pt x="479725" y="215918"/>
                    <a:pt x="482445" y="232236"/>
                  </a:cubicBezTo>
                  <a:cubicBezTo>
                    <a:pt x="485165" y="248554"/>
                    <a:pt x="485165" y="267592"/>
                    <a:pt x="485165" y="283909"/>
                  </a:cubicBezTo>
                  <a:cubicBezTo>
                    <a:pt x="485165" y="297508"/>
                    <a:pt x="485165" y="313826"/>
                    <a:pt x="485165" y="327424"/>
                  </a:cubicBezTo>
                  <a:cubicBezTo>
                    <a:pt x="485165" y="343742"/>
                    <a:pt x="487884" y="357340"/>
                    <a:pt x="487884" y="373658"/>
                  </a:cubicBezTo>
                  <a:cubicBezTo>
                    <a:pt x="487884" y="389976"/>
                    <a:pt x="485165" y="403574"/>
                    <a:pt x="485165" y="419892"/>
                  </a:cubicBezTo>
                  <a:cubicBezTo>
                    <a:pt x="485165" y="436210"/>
                    <a:pt x="485165" y="449808"/>
                    <a:pt x="485165" y="463407"/>
                  </a:cubicBezTo>
                  <a:cubicBezTo>
                    <a:pt x="485165" y="479725"/>
                    <a:pt x="485165" y="498762"/>
                    <a:pt x="482445" y="515080"/>
                  </a:cubicBezTo>
                  <a:cubicBezTo>
                    <a:pt x="482445" y="528678"/>
                    <a:pt x="482445" y="542277"/>
                    <a:pt x="482445" y="558595"/>
                  </a:cubicBezTo>
                  <a:cubicBezTo>
                    <a:pt x="482445" y="572193"/>
                    <a:pt x="479725" y="588511"/>
                    <a:pt x="479725" y="602109"/>
                  </a:cubicBezTo>
                  <a:cubicBezTo>
                    <a:pt x="479725" y="615708"/>
                    <a:pt x="485165" y="632025"/>
                    <a:pt x="485165" y="648343"/>
                  </a:cubicBezTo>
                  <a:cubicBezTo>
                    <a:pt x="485165" y="659222"/>
                    <a:pt x="482445" y="670101"/>
                    <a:pt x="474286" y="675540"/>
                  </a:cubicBezTo>
                  <a:cubicBezTo>
                    <a:pt x="460688" y="686418"/>
                    <a:pt x="444370" y="691858"/>
                    <a:pt x="428052" y="691858"/>
                  </a:cubicBezTo>
                  <a:cubicBezTo>
                    <a:pt x="414453" y="691858"/>
                    <a:pt x="400855" y="689138"/>
                    <a:pt x="387257" y="683699"/>
                  </a:cubicBezTo>
                  <a:cubicBezTo>
                    <a:pt x="373659" y="678259"/>
                    <a:pt x="360060" y="672820"/>
                    <a:pt x="351901" y="664661"/>
                  </a:cubicBezTo>
                  <a:cubicBezTo>
                    <a:pt x="330144" y="645624"/>
                    <a:pt x="316546" y="621147"/>
                    <a:pt x="305667" y="596670"/>
                  </a:cubicBezTo>
                  <a:cubicBezTo>
                    <a:pt x="292069" y="569473"/>
                    <a:pt x="281190" y="539557"/>
                    <a:pt x="270312" y="509641"/>
                  </a:cubicBezTo>
                  <a:cubicBezTo>
                    <a:pt x="264872" y="493323"/>
                    <a:pt x="256713" y="477005"/>
                    <a:pt x="251274" y="460687"/>
                  </a:cubicBezTo>
                  <a:cubicBezTo>
                    <a:pt x="240395" y="433490"/>
                    <a:pt x="232236" y="409014"/>
                    <a:pt x="224077" y="381817"/>
                  </a:cubicBezTo>
                  <a:cubicBezTo>
                    <a:pt x="218638" y="365499"/>
                    <a:pt x="213199" y="346462"/>
                    <a:pt x="207759" y="330144"/>
                  </a:cubicBezTo>
                  <a:cubicBezTo>
                    <a:pt x="202320" y="316545"/>
                    <a:pt x="196881" y="300227"/>
                    <a:pt x="191442" y="286629"/>
                  </a:cubicBezTo>
                  <a:cubicBezTo>
                    <a:pt x="188722" y="281190"/>
                    <a:pt x="186002" y="278470"/>
                    <a:pt x="183283" y="278470"/>
                  </a:cubicBezTo>
                  <a:cubicBezTo>
                    <a:pt x="180563" y="278470"/>
                    <a:pt x="180563" y="286629"/>
                    <a:pt x="180563" y="292068"/>
                  </a:cubicBezTo>
                  <a:cubicBezTo>
                    <a:pt x="180563" y="297508"/>
                    <a:pt x="180563" y="302947"/>
                    <a:pt x="180563" y="305667"/>
                  </a:cubicBezTo>
                  <a:cubicBezTo>
                    <a:pt x="180563" y="321985"/>
                    <a:pt x="183283" y="338303"/>
                    <a:pt x="183283" y="354620"/>
                  </a:cubicBezTo>
                  <a:cubicBezTo>
                    <a:pt x="183283" y="387256"/>
                    <a:pt x="186002" y="417173"/>
                    <a:pt x="188722" y="449808"/>
                  </a:cubicBezTo>
                  <a:cubicBezTo>
                    <a:pt x="188722" y="460687"/>
                    <a:pt x="188722" y="468846"/>
                    <a:pt x="188722" y="479725"/>
                  </a:cubicBezTo>
                  <a:cubicBezTo>
                    <a:pt x="188722" y="501482"/>
                    <a:pt x="188722" y="523239"/>
                    <a:pt x="188722" y="542277"/>
                  </a:cubicBezTo>
                  <a:cubicBezTo>
                    <a:pt x="188722" y="566754"/>
                    <a:pt x="186002" y="591231"/>
                    <a:pt x="186002" y="615708"/>
                  </a:cubicBezTo>
                  <a:cubicBezTo>
                    <a:pt x="186002" y="623866"/>
                    <a:pt x="186002" y="632025"/>
                    <a:pt x="186002" y="637465"/>
                  </a:cubicBezTo>
                  <a:cubicBezTo>
                    <a:pt x="186002" y="645624"/>
                    <a:pt x="183283" y="656502"/>
                    <a:pt x="183283" y="664661"/>
                  </a:cubicBezTo>
                  <a:cubicBezTo>
                    <a:pt x="202320" y="664661"/>
                    <a:pt x="218638" y="664661"/>
                    <a:pt x="226797" y="664661"/>
                  </a:cubicBezTo>
                  <a:cubicBezTo>
                    <a:pt x="234956" y="664661"/>
                    <a:pt x="253994" y="664661"/>
                    <a:pt x="253994" y="680979"/>
                  </a:cubicBezTo>
                  <a:cubicBezTo>
                    <a:pt x="253994" y="689138"/>
                    <a:pt x="253994" y="691858"/>
                    <a:pt x="248554" y="697297"/>
                  </a:cubicBezTo>
                  <a:cubicBezTo>
                    <a:pt x="245835" y="702736"/>
                    <a:pt x="240395" y="705456"/>
                    <a:pt x="234956" y="705456"/>
                  </a:cubicBezTo>
                  <a:cubicBezTo>
                    <a:pt x="226797" y="708176"/>
                    <a:pt x="224077" y="708176"/>
                    <a:pt x="218638" y="708176"/>
                  </a:cubicBezTo>
                  <a:cubicBezTo>
                    <a:pt x="215918" y="708176"/>
                    <a:pt x="199600" y="708176"/>
                    <a:pt x="183283" y="708176"/>
                  </a:cubicBezTo>
                  <a:cubicBezTo>
                    <a:pt x="166965" y="708176"/>
                    <a:pt x="153366" y="708176"/>
                    <a:pt x="150647" y="708176"/>
                  </a:cubicBezTo>
                  <a:cubicBezTo>
                    <a:pt x="139768" y="708176"/>
                    <a:pt x="120730" y="708176"/>
                    <a:pt x="107132" y="708176"/>
                  </a:cubicBezTo>
                  <a:cubicBezTo>
                    <a:pt x="101693" y="708176"/>
                    <a:pt x="96254" y="708176"/>
                    <a:pt x="88094" y="708176"/>
                  </a:cubicBezTo>
                  <a:cubicBezTo>
                    <a:pt x="82655" y="708176"/>
                    <a:pt x="74496" y="708176"/>
                    <a:pt x="69057" y="702736"/>
                  </a:cubicBezTo>
                  <a:cubicBezTo>
                    <a:pt x="63617" y="700017"/>
                    <a:pt x="58178" y="691858"/>
                    <a:pt x="58178" y="686418"/>
                  </a:cubicBezTo>
                  <a:cubicBezTo>
                    <a:pt x="58178" y="683699"/>
                    <a:pt x="58178" y="680979"/>
                    <a:pt x="60898" y="678259"/>
                  </a:cubicBezTo>
                  <a:cubicBezTo>
                    <a:pt x="63617" y="675540"/>
                    <a:pt x="71777" y="672820"/>
                    <a:pt x="77216" y="670101"/>
                  </a:cubicBezTo>
                  <a:cubicBezTo>
                    <a:pt x="90814" y="667381"/>
                    <a:pt x="115291" y="664661"/>
                    <a:pt x="120730" y="664661"/>
                  </a:cubicBezTo>
                  <a:cubicBezTo>
                    <a:pt x="123450" y="664661"/>
                    <a:pt x="126170" y="664661"/>
                    <a:pt x="131609" y="664661"/>
                  </a:cubicBezTo>
                  <a:cubicBezTo>
                    <a:pt x="131609" y="623866"/>
                    <a:pt x="134329" y="583072"/>
                    <a:pt x="134329" y="539557"/>
                  </a:cubicBezTo>
                  <a:cubicBezTo>
                    <a:pt x="134329" y="528678"/>
                    <a:pt x="134329" y="515080"/>
                    <a:pt x="134329" y="504201"/>
                  </a:cubicBezTo>
                  <a:cubicBezTo>
                    <a:pt x="131609" y="460687"/>
                    <a:pt x="131609" y="417173"/>
                    <a:pt x="131609" y="376378"/>
                  </a:cubicBezTo>
                  <a:cubicBezTo>
                    <a:pt x="131609" y="351901"/>
                    <a:pt x="131609" y="327424"/>
                    <a:pt x="131609" y="302947"/>
                  </a:cubicBezTo>
                  <a:cubicBezTo>
                    <a:pt x="131609" y="275751"/>
                    <a:pt x="131609" y="248554"/>
                    <a:pt x="134329" y="221357"/>
                  </a:cubicBezTo>
                  <a:cubicBezTo>
                    <a:pt x="134329" y="188722"/>
                    <a:pt x="137048" y="156086"/>
                    <a:pt x="137048" y="123450"/>
                  </a:cubicBezTo>
                  <a:cubicBezTo>
                    <a:pt x="126170" y="123450"/>
                    <a:pt x="115291" y="123450"/>
                    <a:pt x="107132" y="123450"/>
                  </a:cubicBezTo>
                  <a:cubicBezTo>
                    <a:pt x="101693" y="123450"/>
                    <a:pt x="96254" y="123450"/>
                    <a:pt x="88094" y="123450"/>
                  </a:cubicBezTo>
                  <a:cubicBezTo>
                    <a:pt x="82655" y="123450"/>
                    <a:pt x="74496" y="120730"/>
                    <a:pt x="69057" y="118011"/>
                  </a:cubicBezTo>
                  <a:cubicBezTo>
                    <a:pt x="63617" y="115291"/>
                    <a:pt x="58178" y="107132"/>
                    <a:pt x="58178" y="101693"/>
                  </a:cubicBezTo>
                  <a:cubicBezTo>
                    <a:pt x="58178" y="98973"/>
                    <a:pt x="58178" y="96253"/>
                    <a:pt x="60898" y="93534"/>
                  </a:cubicBezTo>
                  <a:cubicBezTo>
                    <a:pt x="63617" y="90814"/>
                    <a:pt x="71777" y="88094"/>
                    <a:pt x="77216" y="85375"/>
                  </a:cubicBezTo>
                  <a:cubicBezTo>
                    <a:pt x="90814" y="82655"/>
                    <a:pt x="126170" y="79935"/>
                    <a:pt x="131609" y="79935"/>
                  </a:cubicBezTo>
                  <a:cubicBezTo>
                    <a:pt x="137048" y="79935"/>
                    <a:pt x="147927" y="79935"/>
                    <a:pt x="161525" y="79935"/>
                  </a:cubicBezTo>
                  <a:cubicBezTo>
                    <a:pt x="166965" y="74496"/>
                    <a:pt x="172404" y="71776"/>
                    <a:pt x="177843" y="66337"/>
                  </a:cubicBezTo>
                  <a:cubicBezTo>
                    <a:pt x="186002" y="60898"/>
                    <a:pt x="194161" y="58178"/>
                    <a:pt x="202320" y="58178"/>
                  </a:cubicBezTo>
                  <a:cubicBezTo>
                    <a:pt x="215918" y="58178"/>
                    <a:pt x="226797" y="63617"/>
                    <a:pt x="234956" y="77216"/>
                  </a:cubicBezTo>
                  <a:cubicBezTo>
                    <a:pt x="240395" y="88094"/>
                    <a:pt x="248554" y="96253"/>
                    <a:pt x="251274" y="107132"/>
                  </a:cubicBezTo>
                  <a:cubicBezTo>
                    <a:pt x="256713" y="120730"/>
                    <a:pt x="259433" y="134328"/>
                    <a:pt x="267592" y="147927"/>
                  </a:cubicBezTo>
                  <a:cubicBezTo>
                    <a:pt x="273031" y="158805"/>
                    <a:pt x="275751" y="172404"/>
                    <a:pt x="281190" y="183282"/>
                  </a:cubicBezTo>
                  <a:cubicBezTo>
                    <a:pt x="286630" y="196881"/>
                    <a:pt x="292069" y="210479"/>
                    <a:pt x="297508" y="224077"/>
                  </a:cubicBezTo>
                  <a:cubicBezTo>
                    <a:pt x="300228" y="237675"/>
                    <a:pt x="305667" y="251274"/>
                    <a:pt x="308387" y="264872"/>
                  </a:cubicBezTo>
                  <a:cubicBezTo>
                    <a:pt x="311106" y="278470"/>
                    <a:pt x="311106" y="289349"/>
                    <a:pt x="319265" y="300227"/>
                  </a:cubicBezTo>
                  <a:cubicBezTo>
                    <a:pt x="332864" y="324704"/>
                    <a:pt x="346462" y="351901"/>
                    <a:pt x="351901" y="379097"/>
                  </a:cubicBezTo>
                  <a:cubicBezTo>
                    <a:pt x="354621" y="392696"/>
                    <a:pt x="360060" y="403574"/>
                    <a:pt x="365500" y="417173"/>
                  </a:cubicBezTo>
                  <a:cubicBezTo>
                    <a:pt x="373659" y="430771"/>
                    <a:pt x="373659" y="444369"/>
                    <a:pt x="379098" y="457967"/>
                  </a:cubicBezTo>
                  <a:cubicBezTo>
                    <a:pt x="381818" y="471566"/>
                    <a:pt x="387257" y="482444"/>
                    <a:pt x="395416" y="496043"/>
                  </a:cubicBezTo>
                  <a:cubicBezTo>
                    <a:pt x="398136" y="501482"/>
                    <a:pt x="403575" y="506921"/>
                    <a:pt x="406294" y="512361"/>
                  </a:cubicBezTo>
                  <a:cubicBezTo>
                    <a:pt x="409014" y="517800"/>
                    <a:pt x="409014" y="525959"/>
                    <a:pt x="411734" y="531398"/>
                  </a:cubicBezTo>
                  <a:cubicBezTo>
                    <a:pt x="414453" y="539557"/>
                    <a:pt x="417173" y="550436"/>
                    <a:pt x="419893" y="558595"/>
                  </a:cubicBezTo>
                  <a:cubicBezTo>
                    <a:pt x="422613" y="561314"/>
                    <a:pt x="422613" y="564034"/>
                    <a:pt x="425332" y="564034"/>
                  </a:cubicBezTo>
                  <a:cubicBezTo>
                    <a:pt x="428052" y="564034"/>
                    <a:pt x="428052" y="561314"/>
                    <a:pt x="430771" y="558595"/>
                  </a:cubicBezTo>
                  <a:cubicBezTo>
                    <a:pt x="430771" y="555875"/>
                    <a:pt x="430771" y="553155"/>
                    <a:pt x="430771" y="550436"/>
                  </a:cubicBezTo>
                  <a:cubicBezTo>
                    <a:pt x="430771" y="534118"/>
                    <a:pt x="430771" y="517800"/>
                    <a:pt x="430771" y="501482"/>
                  </a:cubicBezTo>
                  <a:cubicBezTo>
                    <a:pt x="430771" y="468846"/>
                    <a:pt x="433491" y="436210"/>
                    <a:pt x="430771" y="403574"/>
                  </a:cubicBezTo>
                  <a:cubicBezTo>
                    <a:pt x="430771" y="373658"/>
                    <a:pt x="425332" y="343742"/>
                    <a:pt x="425332" y="313826"/>
                  </a:cubicBezTo>
                  <a:cubicBezTo>
                    <a:pt x="425332" y="292068"/>
                    <a:pt x="425332" y="270311"/>
                    <a:pt x="425332" y="248554"/>
                  </a:cubicBezTo>
                  <a:cubicBezTo>
                    <a:pt x="425332" y="234956"/>
                    <a:pt x="425332" y="224077"/>
                    <a:pt x="425332" y="210479"/>
                  </a:cubicBezTo>
                  <a:cubicBezTo>
                    <a:pt x="425332" y="191441"/>
                    <a:pt x="422613" y="172404"/>
                    <a:pt x="422613" y="153366"/>
                  </a:cubicBezTo>
                  <a:cubicBezTo>
                    <a:pt x="422613" y="142487"/>
                    <a:pt x="422613" y="134328"/>
                    <a:pt x="425332" y="123450"/>
                  </a:cubicBezTo>
                  <a:cubicBezTo>
                    <a:pt x="417173" y="123450"/>
                    <a:pt x="406294" y="123450"/>
                    <a:pt x="398136" y="123450"/>
                  </a:cubicBezTo>
                  <a:cubicBezTo>
                    <a:pt x="392696" y="123450"/>
                    <a:pt x="387257" y="123450"/>
                    <a:pt x="379098" y="123450"/>
                  </a:cubicBezTo>
                  <a:cubicBezTo>
                    <a:pt x="373659" y="123450"/>
                    <a:pt x="365500" y="120730"/>
                    <a:pt x="360060" y="118011"/>
                  </a:cubicBezTo>
                  <a:cubicBezTo>
                    <a:pt x="354621" y="115291"/>
                    <a:pt x="349182" y="107132"/>
                    <a:pt x="349182" y="101693"/>
                  </a:cubicBezTo>
                  <a:cubicBezTo>
                    <a:pt x="349182" y="98973"/>
                    <a:pt x="349182" y="96253"/>
                    <a:pt x="351901" y="93534"/>
                  </a:cubicBezTo>
                  <a:cubicBezTo>
                    <a:pt x="354621" y="90814"/>
                    <a:pt x="362780" y="88094"/>
                    <a:pt x="368219" y="85375"/>
                  </a:cubicBezTo>
                  <a:cubicBezTo>
                    <a:pt x="381818" y="82655"/>
                    <a:pt x="417173" y="79935"/>
                    <a:pt x="422613" y="79935"/>
                  </a:cubicBezTo>
                  <a:cubicBezTo>
                    <a:pt x="428052" y="79935"/>
                    <a:pt x="433491" y="79935"/>
                    <a:pt x="444370" y="79935"/>
                  </a:cubicBezTo>
                  <a:cubicBezTo>
                    <a:pt x="449809" y="74496"/>
                    <a:pt x="455248" y="71776"/>
                    <a:pt x="463407" y="71776"/>
                  </a:cubicBezTo>
                  <a:cubicBezTo>
                    <a:pt x="471566" y="71776"/>
                    <a:pt x="477006" y="74496"/>
                    <a:pt x="477006" y="79935"/>
                  </a:cubicBezTo>
                  <a:cubicBezTo>
                    <a:pt x="493324" y="79935"/>
                    <a:pt x="506922" y="79935"/>
                    <a:pt x="515081" y="79935"/>
                  </a:cubicBezTo>
                  <a:lnTo>
                    <a:pt x="515081" y="79935"/>
                  </a:ln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/>
            </a:p>
          </p:txBody>
        </p:sp>
        <p:sp>
          <p:nvSpPr>
            <p:cNvPr id="40" name="Freeform: Shape 39">
              <a:extLst>
                <a:ext uri="{FF2B5EF4-FFF2-40B4-BE49-F238E27FC236}">
                  <a16:creationId xmlns:a16="http://schemas.microsoft.com/office/drawing/2014/main" id="{85E6D875-3902-4C5B-BBC1-7ADBFCB34A9E}"/>
                </a:ext>
              </a:extLst>
            </p:cNvPr>
            <p:cNvSpPr/>
            <p:nvPr/>
          </p:nvSpPr>
          <p:spPr>
            <a:xfrm>
              <a:off x="5139126" y="4192158"/>
              <a:ext cx="516735" cy="788700"/>
            </a:xfrm>
            <a:custGeom>
              <a:avLst/>
              <a:gdLst>
                <a:gd name="connsiteX0" fmla="*/ 464616 w 516735"/>
                <a:gd name="connsiteY0" fmla="*/ 436210 h 788699"/>
                <a:gd name="connsiteX1" fmla="*/ 445578 w 516735"/>
                <a:gd name="connsiteY1" fmla="*/ 455248 h 788699"/>
                <a:gd name="connsiteX2" fmla="*/ 404784 w 516735"/>
                <a:gd name="connsiteY2" fmla="*/ 466126 h 788699"/>
                <a:gd name="connsiteX3" fmla="*/ 385746 w 516735"/>
                <a:gd name="connsiteY3" fmla="*/ 479725 h 788699"/>
                <a:gd name="connsiteX4" fmla="*/ 388466 w 516735"/>
                <a:gd name="connsiteY4" fmla="*/ 512361 h 788699"/>
                <a:gd name="connsiteX5" fmla="*/ 388466 w 516735"/>
                <a:gd name="connsiteY5" fmla="*/ 544997 h 788699"/>
                <a:gd name="connsiteX6" fmla="*/ 388466 w 516735"/>
                <a:gd name="connsiteY6" fmla="*/ 566754 h 788699"/>
                <a:gd name="connsiteX7" fmla="*/ 391185 w 516735"/>
                <a:gd name="connsiteY7" fmla="*/ 632026 h 788699"/>
                <a:gd name="connsiteX8" fmla="*/ 393905 w 516735"/>
                <a:gd name="connsiteY8" fmla="*/ 683699 h 788699"/>
                <a:gd name="connsiteX9" fmla="*/ 377587 w 516735"/>
                <a:gd name="connsiteY9" fmla="*/ 724494 h 788699"/>
                <a:gd name="connsiteX10" fmla="*/ 361269 w 516735"/>
                <a:gd name="connsiteY10" fmla="*/ 719054 h 788699"/>
                <a:gd name="connsiteX11" fmla="*/ 353110 w 516735"/>
                <a:gd name="connsiteY11" fmla="*/ 702737 h 788699"/>
                <a:gd name="connsiteX12" fmla="*/ 350390 w 516735"/>
                <a:gd name="connsiteY12" fmla="*/ 686419 h 788699"/>
                <a:gd name="connsiteX13" fmla="*/ 353110 w 516735"/>
                <a:gd name="connsiteY13" fmla="*/ 659222 h 788699"/>
                <a:gd name="connsiteX14" fmla="*/ 353110 w 516735"/>
                <a:gd name="connsiteY14" fmla="*/ 656502 h 788699"/>
                <a:gd name="connsiteX15" fmla="*/ 317755 w 516735"/>
                <a:gd name="connsiteY15" fmla="*/ 708176 h 788699"/>
                <a:gd name="connsiteX16" fmla="*/ 241604 w 516735"/>
                <a:gd name="connsiteY16" fmla="*/ 735372 h 788699"/>
                <a:gd name="connsiteX17" fmla="*/ 187211 w 516735"/>
                <a:gd name="connsiteY17" fmla="*/ 727214 h 788699"/>
                <a:gd name="connsiteX18" fmla="*/ 135538 w 516735"/>
                <a:gd name="connsiteY18" fmla="*/ 694578 h 788699"/>
                <a:gd name="connsiteX19" fmla="*/ 86584 w 516735"/>
                <a:gd name="connsiteY19" fmla="*/ 621147 h 788699"/>
                <a:gd name="connsiteX20" fmla="*/ 67546 w 516735"/>
                <a:gd name="connsiteY20" fmla="*/ 555875 h 788699"/>
                <a:gd name="connsiteX21" fmla="*/ 59387 w 516735"/>
                <a:gd name="connsiteY21" fmla="*/ 509641 h 788699"/>
                <a:gd name="connsiteX22" fmla="*/ 59387 w 516735"/>
                <a:gd name="connsiteY22" fmla="*/ 468846 h 788699"/>
                <a:gd name="connsiteX23" fmla="*/ 86584 w 516735"/>
                <a:gd name="connsiteY23" fmla="*/ 302947 h 788699"/>
                <a:gd name="connsiteX24" fmla="*/ 108341 w 516735"/>
                <a:gd name="connsiteY24" fmla="*/ 224077 h 788699"/>
                <a:gd name="connsiteX25" fmla="*/ 146416 w 516735"/>
                <a:gd name="connsiteY25" fmla="*/ 145207 h 788699"/>
                <a:gd name="connsiteX26" fmla="*/ 198090 w 516735"/>
                <a:gd name="connsiteY26" fmla="*/ 85375 h 788699"/>
                <a:gd name="connsiteX27" fmla="*/ 228006 w 516735"/>
                <a:gd name="connsiteY27" fmla="*/ 69057 h 788699"/>
                <a:gd name="connsiteX28" fmla="*/ 268801 w 516735"/>
                <a:gd name="connsiteY28" fmla="*/ 58178 h 788699"/>
                <a:gd name="connsiteX29" fmla="*/ 274240 w 516735"/>
                <a:gd name="connsiteY29" fmla="*/ 58178 h 788699"/>
                <a:gd name="connsiteX30" fmla="*/ 295997 w 516735"/>
                <a:gd name="connsiteY30" fmla="*/ 60898 h 788699"/>
                <a:gd name="connsiteX31" fmla="*/ 331353 w 516735"/>
                <a:gd name="connsiteY31" fmla="*/ 71776 h 788699"/>
                <a:gd name="connsiteX32" fmla="*/ 350390 w 516735"/>
                <a:gd name="connsiteY32" fmla="*/ 93534 h 788699"/>
                <a:gd name="connsiteX33" fmla="*/ 353110 w 516735"/>
                <a:gd name="connsiteY33" fmla="*/ 74496 h 788699"/>
                <a:gd name="connsiteX34" fmla="*/ 358549 w 516735"/>
                <a:gd name="connsiteY34" fmla="*/ 63618 h 788699"/>
                <a:gd name="connsiteX35" fmla="*/ 366708 w 516735"/>
                <a:gd name="connsiteY35" fmla="*/ 58178 h 788699"/>
                <a:gd name="connsiteX36" fmla="*/ 374867 w 516735"/>
                <a:gd name="connsiteY36" fmla="*/ 63618 h 788699"/>
                <a:gd name="connsiteX37" fmla="*/ 383026 w 516735"/>
                <a:gd name="connsiteY37" fmla="*/ 82655 h 788699"/>
                <a:gd name="connsiteX38" fmla="*/ 385746 w 516735"/>
                <a:gd name="connsiteY38" fmla="*/ 126170 h 788699"/>
                <a:gd name="connsiteX39" fmla="*/ 388466 w 516735"/>
                <a:gd name="connsiteY39" fmla="*/ 186002 h 788699"/>
                <a:gd name="connsiteX40" fmla="*/ 391185 w 516735"/>
                <a:gd name="connsiteY40" fmla="*/ 237676 h 788699"/>
                <a:gd name="connsiteX41" fmla="*/ 374867 w 516735"/>
                <a:gd name="connsiteY41" fmla="*/ 278470 h 788699"/>
                <a:gd name="connsiteX42" fmla="*/ 358549 w 516735"/>
                <a:gd name="connsiteY42" fmla="*/ 273031 h 788699"/>
                <a:gd name="connsiteX43" fmla="*/ 350390 w 516735"/>
                <a:gd name="connsiteY43" fmla="*/ 256713 h 788699"/>
                <a:gd name="connsiteX44" fmla="*/ 347671 w 516735"/>
                <a:gd name="connsiteY44" fmla="*/ 240395 h 788699"/>
                <a:gd name="connsiteX45" fmla="*/ 347671 w 516735"/>
                <a:gd name="connsiteY45" fmla="*/ 213199 h 788699"/>
                <a:gd name="connsiteX46" fmla="*/ 344951 w 516735"/>
                <a:gd name="connsiteY46" fmla="*/ 194161 h 788699"/>
                <a:gd name="connsiteX47" fmla="*/ 339512 w 516735"/>
                <a:gd name="connsiteY47" fmla="*/ 150647 h 788699"/>
                <a:gd name="connsiteX48" fmla="*/ 323194 w 516735"/>
                <a:gd name="connsiteY48" fmla="*/ 112571 h 788699"/>
                <a:gd name="connsiteX49" fmla="*/ 293278 w 516735"/>
                <a:gd name="connsiteY49" fmla="*/ 101693 h 788699"/>
                <a:gd name="connsiteX50" fmla="*/ 263361 w 516735"/>
                <a:gd name="connsiteY50" fmla="*/ 120730 h 788699"/>
                <a:gd name="connsiteX51" fmla="*/ 241604 w 516735"/>
                <a:gd name="connsiteY51" fmla="*/ 153366 h 788699"/>
                <a:gd name="connsiteX52" fmla="*/ 233445 w 516735"/>
                <a:gd name="connsiteY52" fmla="*/ 194161 h 788699"/>
                <a:gd name="connsiteX53" fmla="*/ 225286 w 516735"/>
                <a:gd name="connsiteY53" fmla="*/ 232236 h 788699"/>
                <a:gd name="connsiteX54" fmla="*/ 217127 w 516735"/>
                <a:gd name="connsiteY54" fmla="*/ 275751 h 788699"/>
                <a:gd name="connsiteX55" fmla="*/ 211688 w 516735"/>
                <a:gd name="connsiteY55" fmla="*/ 316545 h 788699"/>
                <a:gd name="connsiteX56" fmla="*/ 206249 w 516735"/>
                <a:gd name="connsiteY56" fmla="*/ 354621 h 788699"/>
                <a:gd name="connsiteX57" fmla="*/ 200809 w 516735"/>
                <a:gd name="connsiteY57" fmla="*/ 398135 h 788699"/>
                <a:gd name="connsiteX58" fmla="*/ 195370 w 516735"/>
                <a:gd name="connsiteY58" fmla="*/ 438930 h 788699"/>
                <a:gd name="connsiteX59" fmla="*/ 192650 w 516735"/>
                <a:gd name="connsiteY59" fmla="*/ 474286 h 788699"/>
                <a:gd name="connsiteX60" fmla="*/ 195370 w 516735"/>
                <a:gd name="connsiteY60" fmla="*/ 525959 h 788699"/>
                <a:gd name="connsiteX61" fmla="*/ 208968 w 516735"/>
                <a:gd name="connsiteY61" fmla="*/ 596670 h 788699"/>
                <a:gd name="connsiteX62" fmla="*/ 214407 w 516735"/>
                <a:gd name="connsiteY62" fmla="*/ 623867 h 788699"/>
                <a:gd name="connsiteX63" fmla="*/ 228006 w 516735"/>
                <a:gd name="connsiteY63" fmla="*/ 656502 h 788699"/>
                <a:gd name="connsiteX64" fmla="*/ 271520 w 516735"/>
                <a:gd name="connsiteY64" fmla="*/ 689138 h 788699"/>
                <a:gd name="connsiteX65" fmla="*/ 306876 w 516735"/>
                <a:gd name="connsiteY65" fmla="*/ 664661 h 788699"/>
                <a:gd name="connsiteX66" fmla="*/ 331353 w 516735"/>
                <a:gd name="connsiteY66" fmla="*/ 602109 h 788699"/>
                <a:gd name="connsiteX67" fmla="*/ 336792 w 516735"/>
                <a:gd name="connsiteY67" fmla="*/ 544997 h 788699"/>
                <a:gd name="connsiteX68" fmla="*/ 336792 w 516735"/>
                <a:gd name="connsiteY68" fmla="*/ 498762 h 788699"/>
                <a:gd name="connsiteX69" fmla="*/ 336792 w 516735"/>
                <a:gd name="connsiteY69" fmla="*/ 490603 h 788699"/>
                <a:gd name="connsiteX70" fmla="*/ 320474 w 516735"/>
                <a:gd name="connsiteY70" fmla="*/ 477005 h 788699"/>
                <a:gd name="connsiteX71" fmla="*/ 282399 w 516735"/>
                <a:gd name="connsiteY71" fmla="*/ 479725 h 788699"/>
                <a:gd name="connsiteX72" fmla="*/ 252483 w 516735"/>
                <a:gd name="connsiteY72" fmla="*/ 474286 h 788699"/>
                <a:gd name="connsiteX73" fmla="*/ 247043 w 516735"/>
                <a:gd name="connsiteY73" fmla="*/ 466126 h 788699"/>
                <a:gd name="connsiteX74" fmla="*/ 249763 w 516735"/>
                <a:gd name="connsiteY74" fmla="*/ 457968 h 788699"/>
                <a:gd name="connsiteX75" fmla="*/ 268801 w 516735"/>
                <a:gd name="connsiteY75" fmla="*/ 447089 h 788699"/>
                <a:gd name="connsiteX76" fmla="*/ 312315 w 516735"/>
                <a:gd name="connsiteY76" fmla="*/ 436210 h 788699"/>
                <a:gd name="connsiteX77" fmla="*/ 353110 w 516735"/>
                <a:gd name="connsiteY77" fmla="*/ 430771 h 788699"/>
                <a:gd name="connsiteX78" fmla="*/ 385746 w 516735"/>
                <a:gd name="connsiteY78" fmla="*/ 430771 h 788699"/>
                <a:gd name="connsiteX79" fmla="*/ 437420 w 516735"/>
                <a:gd name="connsiteY79" fmla="*/ 428051 h 788699"/>
                <a:gd name="connsiteX80" fmla="*/ 464616 w 516735"/>
                <a:gd name="connsiteY80" fmla="*/ 436210 h 7886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</a:cxnLst>
              <a:rect l="l" t="t" r="r" b="b"/>
              <a:pathLst>
                <a:path w="516735" h="788699">
                  <a:moveTo>
                    <a:pt x="464616" y="436210"/>
                  </a:moveTo>
                  <a:cubicBezTo>
                    <a:pt x="464616" y="447089"/>
                    <a:pt x="453737" y="452528"/>
                    <a:pt x="445578" y="455248"/>
                  </a:cubicBezTo>
                  <a:cubicBezTo>
                    <a:pt x="434700" y="460687"/>
                    <a:pt x="415662" y="463407"/>
                    <a:pt x="404784" y="466126"/>
                  </a:cubicBezTo>
                  <a:cubicBezTo>
                    <a:pt x="393905" y="466126"/>
                    <a:pt x="385746" y="468846"/>
                    <a:pt x="385746" y="479725"/>
                  </a:cubicBezTo>
                  <a:cubicBezTo>
                    <a:pt x="385746" y="487884"/>
                    <a:pt x="388466" y="506921"/>
                    <a:pt x="388466" y="512361"/>
                  </a:cubicBezTo>
                  <a:cubicBezTo>
                    <a:pt x="388466" y="515080"/>
                    <a:pt x="388466" y="539557"/>
                    <a:pt x="388466" y="544997"/>
                  </a:cubicBezTo>
                  <a:cubicBezTo>
                    <a:pt x="388466" y="550436"/>
                    <a:pt x="388466" y="558595"/>
                    <a:pt x="388466" y="566754"/>
                  </a:cubicBezTo>
                  <a:cubicBezTo>
                    <a:pt x="388466" y="591231"/>
                    <a:pt x="388466" y="621147"/>
                    <a:pt x="391185" y="632026"/>
                  </a:cubicBezTo>
                  <a:cubicBezTo>
                    <a:pt x="393905" y="653783"/>
                    <a:pt x="393905" y="661942"/>
                    <a:pt x="393905" y="683699"/>
                  </a:cubicBezTo>
                  <a:cubicBezTo>
                    <a:pt x="393905" y="694578"/>
                    <a:pt x="393905" y="724494"/>
                    <a:pt x="377587" y="724494"/>
                  </a:cubicBezTo>
                  <a:cubicBezTo>
                    <a:pt x="369428" y="724494"/>
                    <a:pt x="366708" y="721774"/>
                    <a:pt x="361269" y="719054"/>
                  </a:cubicBezTo>
                  <a:cubicBezTo>
                    <a:pt x="355830" y="716335"/>
                    <a:pt x="353110" y="708176"/>
                    <a:pt x="353110" y="702737"/>
                  </a:cubicBezTo>
                  <a:cubicBezTo>
                    <a:pt x="350390" y="694578"/>
                    <a:pt x="350390" y="689138"/>
                    <a:pt x="350390" y="686419"/>
                  </a:cubicBezTo>
                  <a:cubicBezTo>
                    <a:pt x="350390" y="678260"/>
                    <a:pt x="353110" y="672820"/>
                    <a:pt x="353110" y="659222"/>
                  </a:cubicBezTo>
                  <a:lnTo>
                    <a:pt x="353110" y="656502"/>
                  </a:lnTo>
                  <a:cubicBezTo>
                    <a:pt x="347671" y="675540"/>
                    <a:pt x="334072" y="694578"/>
                    <a:pt x="317755" y="708176"/>
                  </a:cubicBezTo>
                  <a:cubicBezTo>
                    <a:pt x="293278" y="727214"/>
                    <a:pt x="274240" y="735372"/>
                    <a:pt x="241604" y="735372"/>
                  </a:cubicBezTo>
                  <a:cubicBezTo>
                    <a:pt x="222566" y="735372"/>
                    <a:pt x="203529" y="732653"/>
                    <a:pt x="187211" y="727214"/>
                  </a:cubicBezTo>
                  <a:cubicBezTo>
                    <a:pt x="165454" y="719054"/>
                    <a:pt x="149136" y="708176"/>
                    <a:pt x="135538" y="694578"/>
                  </a:cubicBezTo>
                  <a:cubicBezTo>
                    <a:pt x="113780" y="672820"/>
                    <a:pt x="100182" y="648343"/>
                    <a:pt x="86584" y="621147"/>
                  </a:cubicBezTo>
                  <a:cubicBezTo>
                    <a:pt x="75705" y="599390"/>
                    <a:pt x="70266" y="580352"/>
                    <a:pt x="67546" y="555875"/>
                  </a:cubicBezTo>
                  <a:cubicBezTo>
                    <a:pt x="64826" y="539557"/>
                    <a:pt x="62107" y="525959"/>
                    <a:pt x="59387" y="509641"/>
                  </a:cubicBezTo>
                  <a:cubicBezTo>
                    <a:pt x="56667" y="493323"/>
                    <a:pt x="59387" y="485164"/>
                    <a:pt x="59387" y="468846"/>
                  </a:cubicBezTo>
                  <a:cubicBezTo>
                    <a:pt x="59387" y="414453"/>
                    <a:pt x="72985" y="362780"/>
                    <a:pt x="86584" y="302947"/>
                  </a:cubicBezTo>
                  <a:cubicBezTo>
                    <a:pt x="92023" y="275751"/>
                    <a:pt x="100182" y="248554"/>
                    <a:pt x="108341" y="224077"/>
                  </a:cubicBezTo>
                  <a:cubicBezTo>
                    <a:pt x="116500" y="196881"/>
                    <a:pt x="130098" y="169684"/>
                    <a:pt x="146416" y="145207"/>
                  </a:cubicBezTo>
                  <a:cubicBezTo>
                    <a:pt x="160014" y="123450"/>
                    <a:pt x="176332" y="101693"/>
                    <a:pt x="198090" y="85375"/>
                  </a:cubicBezTo>
                  <a:cubicBezTo>
                    <a:pt x="206249" y="77216"/>
                    <a:pt x="217127" y="71776"/>
                    <a:pt x="228006" y="69057"/>
                  </a:cubicBezTo>
                  <a:cubicBezTo>
                    <a:pt x="241604" y="63618"/>
                    <a:pt x="255202" y="58178"/>
                    <a:pt x="268801" y="58178"/>
                  </a:cubicBezTo>
                  <a:cubicBezTo>
                    <a:pt x="271520" y="58178"/>
                    <a:pt x="274240" y="58178"/>
                    <a:pt x="274240" y="58178"/>
                  </a:cubicBezTo>
                  <a:cubicBezTo>
                    <a:pt x="279679" y="58178"/>
                    <a:pt x="285119" y="58178"/>
                    <a:pt x="295997" y="60898"/>
                  </a:cubicBezTo>
                  <a:cubicBezTo>
                    <a:pt x="309595" y="63618"/>
                    <a:pt x="320474" y="66337"/>
                    <a:pt x="331353" y="71776"/>
                  </a:cubicBezTo>
                  <a:cubicBezTo>
                    <a:pt x="339512" y="77216"/>
                    <a:pt x="347671" y="85375"/>
                    <a:pt x="350390" y="93534"/>
                  </a:cubicBezTo>
                  <a:cubicBezTo>
                    <a:pt x="350390" y="88095"/>
                    <a:pt x="353110" y="79936"/>
                    <a:pt x="353110" y="74496"/>
                  </a:cubicBezTo>
                  <a:cubicBezTo>
                    <a:pt x="355830" y="71776"/>
                    <a:pt x="355830" y="69057"/>
                    <a:pt x="358549" y="63618"/>
                  </a:cubicBezTo>
                  <a:cubicBezTo>
                    <a:pt x="361269" y="60898"/>
                    <a:pt x="363989" y="58178"/>
                    <a:pt x="366708" y="58178"/>
                  </a:cubicBezTo>
                  <a:cubicBezTo>
                    <a:pt x="369428" y="58178"/>
                    <a:pt x="372148" y="60898"/>
                    <a:pt x="374867" y="63618"/>
                  </a:cubicBezTo>
                  <a:cubicBezTo>
                    <a:pt x="377587" y="69057"/>
                    <a:pt x="380307" y="77216"/>
                    <a:pt x="383026" y="82655"/>
                  </a:cubicBezTo>
                  <a:cubicBezTo>
                    <a:pt x="383026" y="90814"/>
                    <a:pt x="385746" y="107132"/>
                    <a:pt x="385746" y="126170"/>
                  </a:cubicBezTo>
                  <a:cubicBezTo>
                    <a:pt x="385746" y="150647"/>
                    <a:pt x="385746" y="177843"/>
                    <a:pt x="388466" y="186002"/>
                  </a:cubicBezTo>
                  <a:cubicBezTo>
                    <a:pt x="391185" y="207759"/>
                    <a:pt x="391185" y="215918"/>
                    <a:pt x="391185" y="237676"/>
                  </a:cubicBezTo>
                  <a:cubicBezTo>
                    <a:pt x="391185" y="248554"/>
                    <a:pt x="391185" y="278470"/>
                    <a:pt x="374867" y="278470"/>
                  </a:cubicBezTo>
                  <a:cubicBezTo>
                    <a:pt x="366708" y="278470"/>
                    <a:pt x="363989" y="275751"/>
                    <a:pt x="358549" y="273031"/>
                  </a:cubicBezTo>
                  <a:cubicBezTo>
                    <a:pt x="353110" y="270311"/>
                    <a:pt x="350390" y="262152"/>
                    <a:pt x="350390" y="256713"/>
                  </a:cubicBezTo>
                  <a:cubicBezTo>
                    <a:pt x="350390" y="251274"/>
                    <a:pt x="347671" y="245834"/>
                    <a:pt x="347671" y="240395"/>
                  </a:cubicBezTo>
                  <a:cubicBezTo>
                    <a:pt x="347671" y="232236"/>
                    <a:pt x="347671" y="224077"/>
                    <a:pt x="347671" y="213199"/>
                  </a:cubicBezTo>
                  <a:cubicBezTo>
                    <a:pt x="347671" y="207759"/>
                    <a:pt x="347671" y="199600"/>
                    <a:pt x="344951" y="194161"/>
                  </a:cubicBezTo>
                  <a:cubicBezTo>
                    <a:pt x="342232" y="180563"/>
                    <a:pt x="342232" y="164245"/>
                    <a:pt x="339512" y="150647"/>
                  </a:cubicBezTo>
                  <a:cubicBezTo>
                    <a:pt x="336792" y="137048"/>
                    <a:pt x="331353" y="123450"/>
                    <a:pt x="323194" y="112571"/>
                  </a:cubicBezTo>
                  <a:cubicBezTo>
                    <a:pt x="317755" y="104412"/>
                    <a:pt x="304156" y="101693"/>
                    <a:pt x="293278" y="101693"/>
                  </a:cubicBezTo>
                  <a:cubicBezTo>
                    <a:pt x="279679" y="101693"/>
                    <a:pt x="271520" y="109852"/>
                    <a:pt x="263361" y="120730"/>
                  </a:cubicBezTo>
                  <a:cubicBezTo>
                    <a:pt x="257922" y="131609"/>
                    <a:pt x="247043" y="139768"/>
                    <a:pt x="241604" y="153366"/>
                  </a:cubicBezTo>
                  <a:cubicBezTo>
                    <a:pt x="236165" y="166964"/>
                    <a:pt x="233445" y="180563"/>
                    <a:pt x="233445" y="194161"/>
                  </a:cubicBezTo>
                  <a:cubicBezTo>
                    <a:pt x="233445" y="207759"/>
                    <a:pt x="230726" y="218638"/>
                    <a:pt x="225286" y="232236"/>
                  </a:cubicBezTo>
                  <a:cubicBezTo>
                    <a:pt x="219847" y="245834"/>
                    <a:pt x="219847" y="262152"/>
                    <a:pt x="217127" y="275751"/>
                  </a:cubicBezTo>
                  <a:cubicBezTo>
                    <a:pt x="214407" y="289349"/>
                    <a:pt x="214407" y="302947"/>
                    <a:pt x="211688" y="316545"/>
                  </a:cubicBezTo>
                  <a:cubicBezTo>
                    <a:pt x="211688" y="330144"/>
                    <a:pt x="206249" y="341022"/>
                    <a:pt x="206249" y="354621"/>
                  </a:cubicBezTo>
                  <a:cubicBezTo>
                    <a:pt x="203529" y="368219"/>
                    <a:pt x="203529" y="381817"/>
                    <a:pt x="200809" y="398135"/>
                  </a:cubicBezTo>
                  <a:cubicBezTo>
                    <a:pt x="198090" y="411733"/>
                    <a:pt x="198090" y="425332"/>
                    <a:pt x="195370" y="438930"/>
                  </a:cubicBezTo>
                  <a:cubicBezTo>
                    <a:pt x="195370" y="449809"/>
                    <a:pt x="192650" y="463407"/>
                    <a:pt x="192650" y="474286"/>
                  </a:cubicBezTo>
                  <a:cubicBezTo>
                    <a:pt x="192650" y="490603"/>
                    <a:pt x="195370" y="509641"/>
                    <a:pt x="195370" y="525959"/>
                  </a:cubicBezTo>
                  <a:cubicBezTo>
                    <a:pt x="195370" y="550436"/>
                    <a:pt x="203529" y="572193"/>
                    <a:pt x="208968" y="596670"/>
                  </a:cubicBezTo>
                  <a:cubicBezTo>
                    <a:pt x="211688" y="604829"/>
                    <a:pt x="211688" y="615708"/>
                    <a:pt x="214407" y="623867"/>
                  </a:cubicBezTo>
                  <a:cubicBezTo>
                    <a:pt x="217127" y="634745"/>
                    <a:pt x="222566" y="645624"/>
                    <a:pt x="228006" y="656502"/>
                  </a:cubicBezTo>
                  <a:cubicBezTo>
                    <a:pt x="236165" y="670101"/>
                    <a:pt x="252483" y="689138"/>
                    <a:pt x="271520" y="689138"/>
                  </a:cubicBezTo>
                  <a:cubicBezTo>
                    <a:pt x="287838" y="689138"/>
                    <a:pt x="298717" y="675540"/>
                    <a:pt x="306876" y="664661"/>
                  </a:cubicBezTo>
                  <a:cubicBezTo>
                    <a:pt x="320474" y="645624"/>
                    <a:pt x="325914" y="623867"/>
                    <a:pt x="331353" y="602109"/>
                  </a:cubicBezTo>
                  <a:cubicBezTo>
                    <a:pt x="334072" y="583072"/>
                    <a:pt x="336792" y="564034"/>
                    <a:pt x="336792" y="544997"/>
                  </a:cubicBezTo>
                  <a:cubicBezTo>
                    <a:pt x="336792" y="531398"/>
                    <a:pt x="336792" y="512361"/>
                    <a:pt x="336792" y="498762"/>
                  </a:cubicBezTo>
                  <a:cubicBezTo>
                    <a:pt x="336792" y="496043"/>
                    <a:pt x="336792" y="493323"/>
                    <a:pt x="336792" y="490603"/>
                  </a:cubicBezTo>
                  <a:cubicBezTo>
                    <a:pt x="336792" y="479725"/>
                    <a:pt x="336792" y="477005"/>
                    <a:pt x="320474" y="477005"/>
                  </a:cubicBezTo>
                  <a:cubicBezTo>
                    <a:pt x="309595" y="477005"/>
                    <a:pt x="295997" y="479725"/>
                    <a:pt x="282399" y="479725"/>
                  </a:cubicBezTo>
                  <a:cubicBezTo>
                    <a:pt x="271520" y="479725"/>
                    <a:pt x="260642" y="479725"/>
                    <a:pt x="252483" y="474286"/>
                  </a:cubicBezTo>
                  <a:cubicBezTo>
                    <a:pt x="249763" y="471566"/>
                    <a:pt x="247043" y="468846"/>
                    <a:pt x="247043" y="466126"/>
                  </a:cubicBezTo>
                  <a:cubicBezTo>
                    <a:pt x="247043" y="463407"/>
                    <a:pt x="247043" y="460687"/>
                    <a:pt x="249763" y="457968"/>
                  </a:cubicBezTo>
                  <a:cubicBezTo>
                    <a:pt x="255202" y="452528"/>
                    <a:pt x="260642" y="449809"/>
                    <a:pt x="268801" y="447089"/>
                  </a:cubicBezTo>
                  <a:cubicBezTo>
                    <a:pt x="282399" y="441650"/>
                    <a:pt x="295997" y="438930"/>
                    <a:pt x="312315" y="436210"/>
                  </a:cubicBezTo>
                  <a:cubicBezTo>
                    <a:pt x="325914" y="433491"/>
                    <a:pt x="339512" y="433491"/>
                    <a:pt x="353110" y="430771"/>
                  </a:cubicBezTo>
                  <a:cubicBezTo>
                    <a:pt x="363989" y="430771"/>
                    <a:pt x="374867" y="430771"/>
                    <a:pt x="385746" y="430771"/>
                  </a:cubicBezTo>
                  <a:cubicBezTo>
                    <a:pt x="402064" y="430771"/>
                    <a:pt x="426541" y="428051"/>
                    <a:pt x="437420" y="428051"/>
                  </a:cubicBezTo>
                  <a:cubicBezTo>
                    <a:pt x="451018" y="419892"/>
                    <a:pt x="464616" y="425332"/>
                    <a:pt x="464616" y="436210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/>
            </a:p>
          </p:txBody>
        </p:sp>
        <p:sp>
          <p:nvSpPr>
            <p:cNvPr id="41" name="Freeform: Shape 40">
              <a:extLst>
                <a:ext uri="{FF2B5EF4-FFF2-40B4-BE49-F238E27FC236}">
                  <a16:creationId xmlns:a16="http://schemas.microsoft.com/office/drawing/2014/main" id="{28EECE7A-152F-483E-BC66-3DB3F1A6A039}"/>
                </a:ext>
              </a:extLst>
            </p:cNvPr>
            <p:cNvSpPr/>
            <p:nvPr/>
          </p:nvSpPr>
          <p:spPr>
            <a:xfrm>
              <a:off x="5651630" y="4181279"/>
              <a:ext cx="734308" cy="788700"/>
            </a:xfrm>
            <a:custGeom>
              <a:avLst/>
              <a:gdLst>
                <a:gd name="connsiteX0" fmla="*/ 653783 w 734307"/>
                <a:gd name="connsiteY0" fmla="*/ 678259 h 788699"/>
                <a:gd name="connsiteX1" fmla="*/ 691859 w 734307"/>
                <a:gd name="connsiteY1" fmla="*/ 694577 h 788699"/>
                <a:gd name="connsiteX2" fmla="*/ 686419 w 734307"/>
                <a:gd name="connsiteY2" fmla="*/ 710895 h 788699"/>
                <a:gd name="connsiteX3" fmla="*/ 670101 w 734307"/>
                <a:gd name="connsiteY3" fmla="*/ 719054 h 788699"/>
                <a:gd name="connsiteX4" fmla="*/ 648344 w 734307"/>
                <a:gd name="connsiteY4" fmla="*/ 721774 h 788699"/>
                <a:gd name="connsiteX5" fmla="*/ 618428 w 734307"/>
                <a:gd name="connsiteY5" fmla="*/ 721774 h 788699"/>
                <a:gd name="connsiteX6" fmla="*/ 572194 w 734307"/>
                <a:gd name="connsiteY6" fmla="*/ 735372 h 788699"/>
                <a:gd name="connsiteX7" fmla="*/ 544997 w 734307"/>
                <a:gd name="connsiteY7" fmla="*/ 729933 h 788699"/>
                <a:gd name="connsiteX8" fmla="*/ 534119 w 734307"/>
                <a:gd name="connsiteY8" fmla="*/ 721774 h 788699"/>
                <a:gd name="connsiteX9" fmla="*/ 496043 w 734307"/>
                <a:gd name="connsiteY9" fmla="*/ 721774 h 788699"/>
                <a:gd name="connsiteX10" fmla="*/ 471566 w 734307"/>
                <a:gd name="connsiteY10" fmla="*/ 721774 h 788699"/>
                <a:gd name="connsiteX11" fmla="*/ 444370 w 734307"/>
                <a:gd name="connsiteY11" fmla="*/ 716335 h 788699"/>
                <a:gd name="connsiteX12" fmla="*/ 428052 w 734307"/>
                <a:gd name="connsiteY12" fmla="*/ 700017 h 788699"/>
                <a:gd name="connsiteX13" fmla="*/ 433491 w 734307"/>
                <a:gd name="connsiteY13" fmla="*/ 691858 h 788699"/>
                <a:gd name="connsiteX14" fmla="*/ 455248 w 734307"/>
                <a:gd name="connsiteY14" fmla="*/ 683699 h 788699"/>
                <a:gd name="connsiteX15" fmla="*/ 506922 w 734307"/>
                <a:gd name="connsiteY15" fmla="*/ 678259 h 788699"/>
                <a:gd name="connsiteX16" fmla="*/ 509641 w 734307"/>
                <a:gd name="connsiteY16" fmla="*/ 678259 h 788699"/>
                <a:gd name="connsiteX17" fmla="*/ 506922 w 734307"/>
                <a:gd name="connsiteY17" fmla="*/ 664661 h 788699"/>
                <a:gd name="connsiteX18" fmla="*/ 498763 w 734307"/>
                <a:gd name="connsiteY18" fmla="*/ 580352 h 788699"/>
                <a:gd name="connsiteX19" fmla="*/ 496043 w 734307"/>
                <a:gd name="connsiteY19" fmla="*/ 479725 h 788699"/>
                <a:gd name="connsiteX20" fmla="*/ 493324 w 734307"/>
                <a:gd name="connsiteY20" fmla="*/ 389976 h 788699"/>
                <a:gd name="connsiteX21" fmla="*/ 490604 w 734307"/>
                <a:gd name="connsiteY21" fmla="*/ 302947 h 788699"/>
                <a:gd name="connsiteX22" fmla="*/ 487884 w 734307"/>
                <a:gd name="connsiteY22" fmla="*/ 229516 h 788699"/>
                <a:gd name="connsiteX23" fmla="*/ 485165 w 734307"/>
                <a:gd name="connsiteY23" fmla="*/ 221357 h 788699"/>
                <a:gd name="connsiteX24" fmla="*/ 482445 w 734307"/>
                <a:gd name="connsiteY24" fmla="*/ 226797 h 788699"/>
                <a:gd name="connsiteX25" fmla="*/ 477006 w 734307"/>
                <a:gd name="connsiteY25" fmla="*/ 262152 h 788699"/>
                <a:gd name="connsiteX26" fmla="*/ 460688 w 734307"/>
                <a:gd name="connsiteY26" fmla="*/ 341022 h 788699"/>
                <a:gd name="connsiteX27" fmla="*/ 444370 w 734307"/>
                <a:gd name="connsiteY27" fmla="*/ 417173 h 788699"/>
                <a:gd name="connsiteX28" fmla="*/ 436211 w 734307"/>
                <a:gd name="connsiteY28" fmla="*/ 455248 h 788699"/>
                <a:gd name="connsiteX29" fmla="*/ 425332 w 734307"/>
                <a:gd name="connsiteY29" fmla="*/ 493323 h 788699"/>
                <a:gd name="connsiteX30" fmla="*/ 411734 w 734307"/>
                <a:gd name="connsiteY30" fmla="*/ 531398 h 788699"/>
                <a:gd name="connsiteX31" fmla="*/ 376378 w 734307"/>
                <a:gd name="connsiteY31" fmla="*/ 547716 h 788699"/>
                <a:gd name="connsiteX32" fmla="*/ 319265 w 734307"/>
                <a:gd name="connsiteY32" fmla="*/ 525959 h 788699"/>
                <a:gd name="connsiteX33" fmla="*/ 289349 w 734307"/>
                <a:gd name="connsiteY33" fmla="*/ 455248 h 788699"/>
                <a:gd name="connsiteX34" fmla="*/ 273031 w 734307"/>
                <a:gd name="connsiteY34" fmla="*/ 373658 h 788699"/>
                <a:gd name="connsiteX35" fmla="*/ 262153 w 734307"/>
                <a:gd name="connsiteY35" fmla="*/ 316545 h 788699"/>
                <a:gd name="connsiteX36" fmla="*/ 245835 w 734307"/>
                <a:gd name="connsiteY36" fmla="*/ 237675 h 788699"/>
                <a:gd name="connsiteX37" fmla="*/ 234956 w 734307"/>
                <a:gd name="connsiteY37" fmla="*/ 196881 h 788699"/>
                <a:gd name="connsiteX38" fmla="*/ 232236 w 734307"/>
                <a:gd name="connsiteY38" fmla="*/ 191441 h 788699"/>
                <a:gd name="connsiteX39" fmla="*/ 226797 w 734307"/>
                <a:gd name="connsiteY39" fmla="*/ 207759 h 788699"/>
                <a:gd name="connsiteX40" fmla="*/ 226797 w 734307"/>
                <a:gd name="connsiteY40" fmla="*/ 232236 h 788699"/>
                <a:gd name="connsiteX41" fmla="*/ 224077 w 734307"/>
                <a:gd name="connsiteY41" fmla="*/ 267592 h 788699"/>
                <a:gd name="connsiteX42" fmla="*/ 221358 w 734307"/>
                <a:gd name="connsiteY42" fmla="*/ 311106 h 788699"/>
                <a:gd name="connsiteX43" fmla="*/ 218638 w 734307"/>
                <a:gd name="connsiteY43" fmla="*/ 360060 h 788699"/>
                <a:gd name="connsiteX44" fmla="*/ 215919 w 734307"/>
                <a:gd name="connsiteY44" fmla="*/ 398135 h 788699"/>
                <a:gd name="connsiteX45" fmla="*/ 213199 w 734307"/>
                <a:gd name="connsiteY45" fmla="*/ 430771 h 788699"/>
                <a:gd name="connsiteX46" fmla="*/ 213199 w 734307"/>
                <a:gd name="connsiteY46" fmla="*/ 455248 h 788699"/>
                <a:gd name="connsiteX47" fmla="*/ 213199 w 734307"/>
                <a:gd name="connsiteY47" fmla="*/ 477005 h 788699"/>
                <a:gd name="connsiteX48" fmla="*/ 207759 w 734307"/>
                <a:gd name="connsiteY48" fmla="*/ 520520 h 788699"/>
                <a:gd name="connsiteX49" fmla="*/ 196881 w 734307"/>
                <a:gd name="connsiteY49" fmla="*/ 610268 h 788699"/>
                <a:gd name="connsiteX50" fmla="*/ 194161 w 734307"/>
                <a:gd name="connsiteY50" fmla="*/ 653783 h 788699"/>
                <a:gd name="connsiteX51" fmla="*/ 191441 w 734307"/>
                <a:gd name="connsiteY51" fmla="*/ 667381 h 788699"/>
                <a:gd name="connsiteX52" fmla="*/ 243115 w 734307"/>
                <a:gd name="connsiteY52" fmla="*/ 667381 h 788699"/>
                <a:gd name="connsiteX53" fmla="*/ 273031 w 734307"/>
                <a:gd name="connsiteY53" fmla="*/ 683699 h 788699"/>
                <a:gd name="connsiteX54" fmla="*/ 262153 w 734307"/>
                <a:gd name="connsiteY54" fmla="*/ 697297 h 788699"/>
                <a:gd name="connsiteX55" fmla="*/ 248554 w 734307"/>
                <a:gd name="connsiteY55" fmla="*/ 705456 h 788699"/>
                <a:gd name="connsiteX56" fmla="*/ 232236 w 734307"/>
                <a:gd name="connsiteY56" fmla="*/ 708176 h 788699"/>
                <a:gd name="connsiteX57" fmla="*/ 166965 w 734307"/>
                <a:gd name="connsiteY57" fmla="*/ 708176 h 788699"/>
                <a:gd name="connsiteX58" fmla="*/ 109852 w 734307"/>
                <a:gd name="connsiteY58" fmla="*/ 708176 h 788699"/>
                <a:gd name="connsiteX59" fmla="*/ 90814 w 734307"/>
                <a:gd name="connsiteY59" fmla="*/ 708176 h 788699"/>
                <a:gd name="connsiteX60" fmla="*/ 69057 w 734307"/>
                <a:gd name="connsiteY60" fmla="*/ 702736 h 788699"/>
                <a:gd name="connsiteX61" fmla="*/ 58178 w 734307"/>
                <a:gd name="connsiteY61" fmla="*/ 686418 h 788699"/>
                <a:gd name="connsiteX62" fmla="*/ 60898 w 734307"/>
                <a:gd name="connsiteY62" fmla="*/ 678259 h 788699"/>
                <a:gd name="connsiteX63" fmla="*/ 77216 w 734307"/>
                <a:gd name="connsiteY63" fmla="*/ 670101 h 788699"/>
                <a:gd name="connsiteX64" fmla="*/ 126170 w 734307"/>
                <a:gd name="connsiteY64" fmla="*/ 664661 h 788699"/>
                <a:gd name="connsiteX65" fmla="*/ 142487 w 734307"/>
                <a:gd name="connsiteY65" fmla="*/ 664661 h 788699"/>
                <a:gd name="connsiteX66" fmla="*/ 147927 w 734307"/>
                <a:gd name="connsiteY66" fmla="*/ 588511 h 788699"/>
                <a:gd name="connsiteX67" fmla="*/ 153366 w 734307"/>
                <a:gd name="connsiteY67" fmla="*/ 493323 h 788699"/>
                <a:gd name="connsiteX68" fmla="*/ 156086 w 734307"/>
                <a:gd name="connsiteY68" fmla="*/ 411733 h 788699"/>
                <a:gd name="connsiteX69" fmla="*/ 161525 w 734307"/>
                <a:gd name="connsiteY69" fmla="*/ 297508 h 788699"/>
                <a:gd name="connsiteX70" fmla="*/ 166965 w 734307"/>
                <a:gd name="connsiteY70" fmla="*/ 240395 h 788699"/>
                <a:gd name="connsiteX71" fmla="*/ 177843 w 734307"/>
                <a:gd name="connsiteY71" fmla="*/ 161525 h 788699"/>
                <a:gd name="connsiteX72" fmla="*/ 183282 w 734307"/>
                <a:gd name="connsiteY72" fmla="*/ 118011 h 788699"/>
                <a:gd name="connsiteX73" fmla="*/ 183282 w 734307"/>
                <a:gd name="connsiteY73" fmla="*/ 115291 h 788699"/>
                <a:gd name="connsiteX74" fmla="*/ 161525 w 734307"/>
                <a:gd name="connsiteY74" fmla="*/ 115291 h 788699"/>
                <a:gd name="connsiteX75" fmla="*/ 137048 w 734307"/>
                <a:gd name="connsiteY75" fmla="*/ 115291 h 788699"/>
                <a:gd name="connsiteX76" fmla="*/ 109852 w 734307"/>
                <a:gd name="connsiteY76" fmla="*/ 109851 h 788699"/>
                <a:gd name="connsiteX77" fmla="*/ 93534 w 734307"/>
                <a:gd name="connsiteY77" fmla="*/ 93534 h 788699"/>
                <a:gd name="connsiteX78" fmla="*/ 98973 w 734307"/>
                <a:gd name="connsiteY78" fmla="*/ 85375 h 788699"/>
                <a:gd name="connsiteX79" fmla="*/ 120730 w 734307"/>
                <a:gd name="connsiteY79" fmla="*/ 77216 h 788699"/>
                <a:gd name="connsiteX80" fmla="*/ 172404 w 734307"/>
                <a:gd name="connsiteY80" fmla="*/ 71776 h 788699"/>
                <a:gd name="connsiteX81" fmla="*/ 234956 w 734307"/>
                <a:gd name="connsiteY81" fmla="*/ 69057 h 788699"/>
                <a:gd name="connsiteX82" fmla="*/ 243115 w 734307"/>
                <a:gd name="connsiteY82" fmla="*/ 69057 h 788699"/>
                <a:gd name="connsiteX83" fmla="*/ 270312 w 734307"/>
                <a:gd name="connsiteY83" fmla="*/ 74496 h 788699"/>
                <a:gd name="connsiteX84" fmla="*/ 308387 w 734307"/>
                <a:gd name="connsiteY84" fmla="*/ 123450 h 788699"/>
                <a:gd name="connsiteX85" fmla="*/ 332864 w 734307"/>
                <a:gd name="connsiteY85" fmla="*/ 202320 h 788699"/>
                <a:gd name="connsiteX86" fmla="*/ 338303 w 734307"/>
                <a:gd name="connsiteY86" fmla="*/ 237675 h 788699"/>
                <a:gd name="connsiteX87" fmla="*/ 349182 w 734307"/>
                <a:gd name="connsiteY87" fmla="*/ 281190 h 788699"/>
                <a:gd name="connsiteX88" fmla="*/ 357341 w 734307"/>
                <a:gd name="connsiteY88" fmla="*/ 316545 h 788699"/>
                <a:gd name="connsiteX89" fmla="*/ 365500 w 734307"/>
                <a:gd name="connsiteY89" fmla="*/ 351901 h 788699"/>
                <a:gd name="connsiteX90" fmla="*/ 376378 w 734307"/>
                <a:gd name="connsiteY90" fmla="*/ 389976 h 788699"/>
                <a:gd name="connsiteX91" fmla="*/ 387257 w 734307"/>
                <a:gd name="connsiteY91" fmla="*/ 414453 h 788699"/>
                <a:gd name="connsiteX92" fmla="*/ 398136 w 734307"/>
                <a:gd name="connsiteY92" fmla="*/ 376378 h 788699"/>
                <a:gd name="connsiteX93" fmla="*/ 406295 w 734307"/>
                <a:gd name="connsiteY93" fmla="*/ 332863 h 788699"/>
                <a:gd name="connsiteX94" fmla="*/ 425332 w 734307"/>
                <a:gd name="connsiteY94" fmla="*/ 243115 h 788699"/>
                <a:gd name="connsiteX95" fmla="*/ 444370 w 734307"/>
                <a:gd name="connsiteY95" fmla="*/ 150646 h 788699"/>
                <a:gd name="connsiteX96" fmla="*/ 477006 w 734307"/>
                <a:gd name="connsiteY96" fmla="*/ 79935 h 788699"/>
                <a:gd name="connsiteX97" fmla="*/ 523240 w 734307"/>
                <a:gd name="connsiteY97" fmla="*/ 58178 h 788699"/>
                <a:gd name="connsiteX98" fmla="*/ 544997 w 734307"/>
                <a:gd name="connsiteY98" fmla="*/ 63617 h 788699"/>
                <a:gd name="connsiteX99" fmla="*/ 612988 w 734307"/>
                <a:gd name="connsiteY99" fmla="*/ 63617 h 788699"/>
                <a:gd name="connsiteX100" fmla="*/ 651064 w 734307"/>
                <a:gd name="connsiteY100" fmla="*/ 79935 h 788699"/>
                <a:gd name="connsiteX101" fmla="*/ 645624 w 734307"/>
                <a:gd name="connsiteY101" fmla="*/ 96253 h 788699"/>
                <a:gd name="connsiteX102" fmla="*/ 629307 w 734307"/>
                <a:gd name="connsiteY102" fmla="*/ 104412 h 788699"/>
                <a:gd name="connsiteX103" fmla="*/ 607549 w 734307"/>
                <a:gd name="connsiteY103" fmla="*/ 107132 h 788699"/>
                <a:gd name="connsiteX104" fmla="*/ 580353 w 734307"/>
                <a:gd name="connsiteY104" fmla="*/ 107132 h 788699"/>
                <a:gd name="connsiteX105" fmla="*/ 583072 w 734307"/>
                <a:gd name="connsiteY105" fmla="*/ 115291 h 788699"/>
                <a:gd name="connsiteX106" fmla="*/ 588512 w 734307"/>
                <a:gd name="connsiteY106" fmla="*/ 156086 h 788699"/>
                <a:gd name="connsiteX107" fmla="*/ 593951 w 734307"/>
                <a:gd name="connsiteY107" fmla="*/ 196881 h 788699"/>
                <a:gd name="connsiteX108" fmla="*/ 599390 w 734307"/>
                <a:gd name="connsiteY108" fmla="*/ 226797 h 788699"/>
                <a:gd name="connsiteX109" fmla="*/ 599390 w 734307"/>
                <a:gd name="connsiteY109" fmla="*/ 232236 h 788699"/>
                <a:gd name="connsiteX110" fmla="*/ 599390 w 734307"/>
                <a:gd name="connsiteY110" fmla="*/ 240395 h 788699"/>
                <a:gd name="connsiteX111" fmla="*/ 602110 w 734307"/>
                <a:gd name="connsiteY111" fmla="*/ 270311 h 788699"/>
                <a:gd name="connsiteX112" fmla="*/ 607549 w 734307"/>
                <a:gd name="connsiteY112" fmla="*/ 308386 h 788699"/>
                <a:gd name="connsiteX113" fmla="*/ 607549 w 734307"/>
                <a:gd name="connsiteY113" fmla="*/ 319265 h 788699"/>
                <a:gd name="connsiteX114" fmla="*/ 612988 w 734307"/>
                <a:gd name="connsiteY114" fmla="*/ 335583 h 788699"/>
                <a:gd name="connsiteX115" fmla="*/ 612988 w 734307"/>
                <a:gd name="connsiteY115" fmla="*/ 346462 h 788699"/>
                <a:gd name="connsiteX116" fmla="*/ 612988 w 734307"/>
                <a:gd name="connsiteY116" fmla="*/ 370939 h 788699"/>
                <a:gd name="connsiteX117" fmla="*/ 612988 w 734307"/>
                <a:gd name="connsiteY117" fmla="*/ 395415 h 788699"/>
                <a:gd name="connsiteX118" fmla="*/ 615708 w 734307"/>
                <a:gd name="connsiteY118" fmla="*/ 422612 h 788699"/>
                <a:gd name="connsiteX119" fmla="*/ 618428 w 734307"/>
                <a:gd name="connsiteY119" fmla="*/ 441650 h 788699"/>
                <a:gd name="connsiteX120" fmla="*/ 618428 w 734307"/>
                <a:gd name="connsiteY120" fmla="*/ 455248 h 788699"/>
                <a:gd name="connsiteX121" fmla="*/ 621147 w 734307"/>
                <a:gd name="connsiteY121" fmla="*/ 463407 h 788699"/>
                <a:gd name="connsiteX122" fmla="*/ 626587 w 734307"/>
                <a:gd name="connsiteY122" fmla="*/ 482444 h 788699"/>
                <a:gd name="connsiteX123" fmla="*/ 629307 w 734307"/>
                <a:gd name="connsiteY123" fmla="*/ 517800 h 788699"/>
                <a:gd name="connsiteX124" fmla="*/ 634746 w 734307"/>
                <a:gd name="connsiteY124" fmla="*/ 561314 h 788699"/>
                <a:gd name="connsiteX125" fmla="*/ 634746 w 734307"/>
                <a:gd name="connsiteY125" fmla="*/ 566754 h 788699"/>
                <a:gd name="connsiteX126" fmla="*/ 634746 w 734307"/>
                <a:gd name="connsiteY126" fmla="*/ 583072 h 788699"/>
                <a:gd name="connsiteX127" fmla="*/ 637466 w 734307"/>
                <a:gd name="connsiteY127" fmla="*/ 607548 h 788699"/>
                <a:gd name="connsiteX128" fmla="*/ 640185 w 734307"/>
                <a:gd name="connsiteY128" fmla="*/ 618427 h 788699"/>
                <a:gd name="connsiteX129" fmla="*/ 640185 w 734307"/>
                <a:gd name="connsiteY129" fmla="*/ 632025 h 788699"/>
                <a:gd name="connsiteX130" fmla="*/ 640185 w 734307"/>
                <a:gd name="connsiteY130" fmla="*/ 640184 h 788699"/>
                <a:gd name="connsiteX131" fmla="*/ 642905 w 734307"/>
                <a:gd name="connsiteY131" fmla="*/ 659222 h 788699"/>
                <a:gd name="connsiteX132" fmla="*/ 642905 w 734307"/>
                <a:gd name="connsiteY132" fmla="*/ 664661 h 788699"/>
                <a:gd name="connsiteX133" fmla="*/ 653783 w 734307"/>
                <a:gd name="connsiteY133" fmla="*/ 678259 h 788699"/>
                <a:gd name="connsiteX134" fmla="*/ 653783 w 734307"/>
                <a:gd name="connsiteY134" fmla="*/ 678259 h 7886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</a:cxnLst>
              <a:rect l="l" t="t" r="r" b="b"/>
              <a:pathLst>
                <a:path w="734307" h="788699">
                  <a:moveTo>
                    <a:pt x="653783" y="678259"/>
                  </a:moveTo>
                  <a:cubicBezTo>
                    <a:pt x="667382" y="678259"/>
                    <a:pt x="691859" y="678259"/>
                    <a:pt x="691859" y="694577"/>
                  </a:cubicBezTo>
                  <a:cubicBezTo>
                    <a:pt x="691859" y="702736"/>
                    <a:pt x="689139" y="705456"/>
                    <a:pt x="686419" y="710895"/>
                  </a:cubicBezTo>
                  <a:cubicBezTo>
                    <a:pt x="683700" y="716335"/>
                    <a:pt x="675541" y="719054"/>
                    <a:pt x="670101" y="719054"/>
                  </a:cubicBezTo>
                  <a:cubicBezTo>
                    <a:pt x="661942" y="721774"/>
                    <a:pt x="653783" y="721774"/>
                    <a:pt x="648344" y="721774"/>
                  </a:cubicBezTo>
                  <a:cubicBezTo>
                    <a:pt x="645624" y="721774"/>
                    <a:pt x="634746" y="721774"/>
                    <a:pt x="618428" y="721774"/>
                  </a:cubicBezTo>
                  <a:cubicBezTo>
                    <a:pt x="604829" y="729933"/>
                    <a:pt x="588512" y="735372"/>
                    <a:pt x="572194" y="735372"/>
                  </a:cubicBezTo>
                  <a:cubicBezTo>
                    <a:pt x="564035" y="735372"/>
                    <a:pt x="553156" y="732653"/>
                    <a:pt x="544997" y="729933"/>
                  </a:cubicBezTo>
                  <a:cubicBezTo>
                    <a:pt x="539558" y="727213"/>
                    <a:pt x="536838" y="724494"/>
                    <a:pt x="534119" y="721774"/>
                  </a:cubicBezTo>
                  <a:cubicBezTo>
                    <a:pt x="520520" y="721774"/>
                    <a:pt x="509641" y="721774"/>
                    <a:pt x="496043" y="721774"/>
                  </a:cubicBezTo>
                  <a:cubicBezTo>
                    <a:pt x="487884" y="721774"/>
                    <a:pt x="479725" y="721774"/>
                    <a:pt x="471566" y="721774"/>
                  </a:cubicBezTo>
                  <a:cubicBezTo>
                    <a:pt x="463407" y="721774"/>
                    <a:pt x="452529" y="721774"/>
                    <a:pt x="444370" y="716335"/>
                  </a:cubicBezTo>
                  <a:cubicBezTo>
                    <a:pt x="436211" y="713615"/>
                    <a:pt x="428052" y="705456"/>
                    <a:pt x="428052" y="700017"/>
                  </a:cubicBezTo>
                  <a:cubicBezTo>
                    <a:pt x="428052" y="697297"/>
                    <a:pt x="428052" y="694577"/>
                    <a:pt x="433491" y="691858"/>
                  </a:cubicBezTo>
                  <a:cubicBezTo>
                    <a:pt x="438930" y="689138"/>
                    <a:pt x="449809" y="686418"/>
                    <a:pt x="455248" y="683699"/>
                  </a:cubicBezTo>
                  <a:cubicBezTo>
                    <a:pt x="474286" y="680979"/>
                    <a:pt x="498763" y="678259"/>
                    <a:pt x="506922" y="678259"/>
                  </a:cubicBezTo>
                  <a:cubicBezTo>
                    <a:pt x="506922" y="678259"/>
                    <a:pt x="509641" y="678259"/>
                    <a:pt x="509641" y="678259"/>
                  </a:cubicBezTo>
                  <a:cubicBezTo>
                    <a:pt x="509641" y="672820"/>
                    <a:pt x="506922" y="670101"/>
                    <a:pt x="506922" y="664661"/>
                  </a:cubicBezTo>
                  <a:cubicBezTo>
                    <a:pt x="501483" y="640184"/>
                    <a:pt x="501483" y="612988"/>
                    <a:pt x="498763" y="580352"/>
                  </a:cubicBezTo>
                  <a:cubicBezTo>
                    <a:pt x="496043" y="547716"/>
                    <a:pt x="498763" y="512361"/>
                    <a:pt x="496043" y="479725"/>
                  </a:cubicBezTo>
                  <a:cubicBezTo>
                    <a:pt x="493324" y="449808"/>
                    <a:pt x="493324" y="419892"/>
                    <a:pt x="493324" y="389976"/>
                  </a:cubicBezTo>
                  <a:cubicBezTo>
                    <a:pt x="493324" y="360060"/>
                    <a:pt x="490604" y="332863"/>
                    <a:pt x="490604" y="302947"/>
                  </a:cubicBezTo>
                  <a:cubicBezTo>
                    <a:pt x="487884" y="275751"/>
                    <a:pt x="487884" y="240395"/>
                    <a:pt x="487884" y="229516"/>
                  </a:cubicBezTo>
                  <a:cubicBezTo>
                    <a:pt x="487884" y="224077"/>
                    <a:pt x="487884" y="221357"/>
                    <a:pt x="485165" y="221357"/>
                  </a:cubicBezTo>
                  <a:cubicBezTo>
                    <a:pt x="485165" y="221357"/>
                    <a:pt x="482445" y="224077"/>
                    <a:pt x="482445" y="226797"/>
                  </a:cubicBezTo>
                  <a:cubicBezTo>
                    <a:pt x="479725" y="237675"/>
                    <a:pt x="479725" y="251274"/>
                    <a:pt x="477006" y="262152"/>
                  </a:cubicBezTo>
                  <a:cubicBezTo>
                    <a:pt x="471566" y="289349"/>
                    <a:pt x="466127" y="316545"/>
                    <a:pt x="460688" y="341022"/>
                  </a:cubicBezTo>
                  <a:cubicBezTo>
                    <a:pt x="455248" y="365499"/>
                    <a:pt x="447090" y="392696"/>
                    <a:pt x="444370" y="417173"/>
                  </a:cubicBezTo>
                  <a:cubicBezTo>
                    <a:pt x="441650" y="430771"/>
                    <a:pt x="438930" y="441650"/>
                    <a:pt x="436211" y="455248"/>
                  </a:cubicBezTo>
                  <a:cubicBezTo>
                    <a:pt x="433491" y="468846"/>
                    <a:pt x="428052" y="479725"/>
                    <a:pt x="425332" y="493323"/>
                  </a:cubicBezTo>
                  <a:cubicBezTo>
                    <a:pt x="422612" y="506921"/>
                    <a:pt x="419893" y="520520"/>
                    <a:pt x="411734" y="531398"/>
                  </a:cubicBezTo>
                  <a:cubicBezTo>
                    <a:pt x="406295" y="539557"/>
                    <a:pt x="395416" y="547716"/>
                    <a:pt x="376378" y="547716"/>
                  </a:cubicBezTo>
                  <a:cubicBezTo>
                    <a:pt x="357341" y="547716"/>
                    <a:pt x="335583" y="539557"/>
                    <a:pt x="319265" y="525959"/>
                  </a:cubicBezTo>
                  <a:cubicBezTo>
                    <a:pt x="300228" y="506921"/>
                    <a:pt x="294788" y="479725"/>
                    <a:pt x="289349" y="455248"/>
                  </a:cubicBezTo>
                  <a:cubicBezTo>
                    <a:pt x="283910" y="428051"/>
                    <a:pt x="278470" y="400855"/>
                    <a:pt x="273031" y="373658"/>
                  </a:cubicBezTo>
                  <a:cubicBezTo>
                    <a:pt x="273031" y="368219"/>
                    <a:pt x="267592" y="346462"/>
                    <a:pt x="262153" y="316545"/>
                  </a:cubicBezTo>
                  <a:cubicBezTo>
                    <a:pt x="256713" y="292068"/>
                    <a:pt x="251274" y="262152"/>
                    <a:pt x="245835" y="237675"/>
                  </a:cubicBezTo>
                  <a:cubicBezTo>
                    <a:pt x="240395" y="218638"/>
                    <a:pt x="237675" y="205039"/>
                    <a:pt x="234956" y="196881"/>
                  </a:cubicBezTo>
                  <a:cubicBezTo>
                    <a:pt x="232236" y="191441"/>
                    <a:pt x="232236" y="191441"/>
                    <a:pt x="232236" y="191441"/>
                  </a:cubicBezTo>
                  <a:cubicBezTo>
                    <a:pt x="229517" y="191441"/>
                    <a:pt x="229517" y="196881"/>
                    <a:pt x="226797" y="207759"/>
                  </a:cubicBezTo>
                  <a:cubicBezTo>
                    <a:pt x="226797" y="215918"/>
                    <a:pt x="226797" y="229516"/>
                    <a:pt x="226797" y="232236"/>
                  </a:cubicBezTo>
                  <a:cubicBezTo>
                    <a:pt x="226797" y="243115"/>
                    <a:pt x="224077" y="256713"/>
                    <a:pt x="224077" y="267592"/>
                  </a:cubicBezTo>
                  <a:cubicBezTo>
                    <a:pt x="224077" y="278470"/>
                    <a:pt x="224077" y="294788"/>
                    <a:pt x="221358" y="311106"/>
                  </a:cubicBezTo>
                  <a:cubicBezTo>
                    <a:pt x="221358" y="327424"/>
                    <a:pt x="218638" y="343742"/>
                    <a:pt x="218638" y="360060"/>
                  </a:cubicBezTo>
                  <a:cubicBezTo>
                    <a:pt x="218638" y="373658"/>
                    <a:pt x="215919" y="384537"/>
                    <a:pt x="215919" y="398135"/>
                  </a:cubicBezTo>
                  <a:cubicBezTo>
                    <a:pt x="215919" y="409014"/>
                    <a:pt x="213199" y="419892"/>
                    <a:pt x="213199" y="430771"/>
                  </a:cubicBezTo>
                  <a:cubicBezTo>
                    <a:pt x="213199" y="438930"/>
                    <a:pt x="213199" y="447089"/>
                    <a:pt x="213199" y="455248"/>
                  </a:cubicBezTo>
                  <a:cubicBezTo>
                    <a:pt x="213199" y="463407"/>
                    <a:pt x="213199" y="471566"/>
                    <a:pt x="213199" y="477005"/>
                  </a:cubicBezTo>
                  <a:cubicBezTo>
                    <a:pt x="210479" y="490603"/>
                    <a:pt x="207759" y="506921"/>
                    <a:pt x="207759" y="520520"/>
                  </a:cubicBezTo>
                  <a:cubicBezTo>
                    <a:pt x="202320" y="550436"/>
                    <a:pt x="199600" y="580352"/>
                    <a:pt x="196881" y="610268"/>
                  </a:cubicBezTo>
                  <a:cubicBezTo>
                    <a:pt x="196881" y="623866"/>
                    <a:pt x="196881" y="640184"/>
                    <a:pt x="194161" y="653783"/>
                  </a:cubicBezTo>
                  <a:cubicBezTo>
                    <a:pt x="194161" y="659222"/>
                    <a:pt x="194161" y="661942"/>
                    <a:pt x="191441" y="667381"/>
                  </a:cubicBezTo>
                  <a:cubicBezTo>
                    <a:pt x="213199" y="667381"/>
                    <a:pt x="232236" y="667381"/>
                    <a:pt x="243115" y="667381"/>
                  </a:cubicBezTo>
                  <a:cubicBezTo>
                    <a:pt x="253994" y="667381"/>
                    <a:pt x="273031" y="670101"/>
                    <a:pt x="273031" y="683699"/>
                  </a:cubicBezTo>
                  <a:cubicBezTo>
                    <a:pt x="273031" y="691858"/>
                    <a:pt x="267592" y="691858"/>
                    <a:pt x="262153" y="697297"/>
                  </a:cubicBezTo>
                  <a:cubicBezTo>
                    <a:pt x="259433" y="702736"/>
                    <a:pt x="253994" y="705456"/>
                    <a:pt x="248554" y="705456"/>
                  </a:cubicBezTo>
                  <a:cubicBezTo>
                    <a:pt x="240395" y="708176"/>
                    <a:pt x="234956" y="708176"/>
                    <a:pt x="232236" y="708176"/>
                  </a:cubicBezTo>
                  <a:cubicBezTo>
                    <a:pt x="226797" y="708176"/>
                    <a:pt x="175124" y="708176"/>
                    <a:pt x="166965" y="708176"/>
                  </a:cubicBezTo>
                  <a:cubicBezTo>
                    <a:pt x="156086" y="708176"/>
                    <a:pt x="120730" y="708176"/>
                    <a:pt x="109852" y="708176"/>
                  </a:cubicBezTo>
                  <a:cubicBezTo>
                    <a:pt x="104412" y="708176"/>
                    <a:pt x="96253" y="708176"/>
                    <a:pt x="90814" y="708176"/>
                  </a:cubicBezTo>
                  <a:cubicBezTo>
                    <a:pt x="85375" y="708176"/>
                    <a:pt x="77216" y="705456"/>
                    <a:pt x="69057" y="702736"/>
                  </a:cubicBezTo>
                  <a:cubicBezTo>
                    <a:pt x="63617" y="700017"/>
                    <a:pt x="58178" y="691858"/>
                    <a:pt x="58178" y="686418"/>
                  </a:cubicBezTo>
                  <a:cubicBezTo>
                    <a:pt x="58178" y="683699"/>
                    <a:pt x="58178" y="680979"/>
                    <a:pt x="60898" y="678259"/>
                  </a:cubicBezTo>
                  <a:cubicBezTo>
                    <a:pt x="63617" y="675540"/>
                    <a:pt x="71777" y="672820"/>
                    <a:pt x="77216" y="670101"/>
                  </a:cubicBezTo>
                  <a:cubicBezTo>
                    <a:pt x="90814" y="667381"/>
                    <a:pt x="120730" y="664661"/>
                    <a:pt x="126170" y="664661"/>
                  </a:cubicBezTo>
                  <a:cubicBezTo>
                    <a:pt x="128889" y="664661"/>
                    <a:pt x="134329" y="664661"/>
                    <a:pt x="142487" y="664661"/>
                  </a:cubicBezTo>
                  <a:cubicBezTo>
                    <a:pt x="142487" y="640184"/>
                    <a:pt x="147927" y="612988"/>
                    <a:pt x="147927" y="588511"/>
                  </a:cubicBezTo>
                  <a:cubicBezTo>
                    <a:pt x="150646" y="555875"/>
                    <a:pt x="153366" y="523239"/>
                    <a:pt x="153366" y="493323"/>
                  </a:cubicBezTo>
                  <a:cubicBezTo>
                    <a:pt x="153366" y="466126"/>
                    <a:pt x="156086" y="438930"/>
                    <a:pt x="156086" y="411733"/>
                  </a:cubicBezTo>
                  <a:cubicBezTo>
                    <a:pt x="158806" y="373658"/>
                    <a:pt x="158806" y="335583"/>
                    <a:pt x="161525" y="297508"/>
                  </a:cubicBezTo>
                  <a:cubicBezTo>
                    <a:pt x="161525" y="278470"/>
                    <a:pt x="164245" y="259433"/>
                    <a:pt x="166965" y="240395"/>
                  </a:cubicBezTo>
                  <a:cubicBezTo>
                    <a:pt x="169684" y="210479"/>
                    <a:pt x="172404" y="191441"/>
                    <a:pt x="177843" y="161525"/>
                  </a:cubicBezTo>
                  <a:cubicBezTo>
                    <a:pt x="180563" y="147927"/>
                    <a:pt x="180563" y="131609"/>
                    <a:pt x="183282" y="118011"/>
                  </a:cubicBezTo>
                  <a:cubicBezTo>
                    <a:pt x="183282" y="118011"/>
                    <a:pt x="183282" y="115291"/>
                    <a:pt x="183282" y="115291"/>
                  </a:cubicBezTo>
                  <a:cubicBezTo>
                    <a:pt x="177843" y="115291"/>
                    <a:pt x="172404" y="115291"/>
                    <a:pt x="161525" y="115291"/>
                  </a:cubicBezTo>
                  <a:cubicBezTo>
                    <a:pt x="153366" y="115291"/>
                    <a:pt x="145207" y="115291"/>
                    <a:pt x="137048" y="115291"/>
                  </a:cubicBezTo>
                  <a:cubicBezTo>
                    <a:pt x="128889" y="115291"/>
                    <a:pt x="118011" y="115291"/>
                    <a:pt x="109852" y="109851"/>
                  </a:cubicBezTo>
                  <a:cubicBezTo>
                    <a:pt x="101693" y="107132"/>
                    <a:pt x="93534" y="98973"/>
                    <a:pt x="93534" y="93534"/>
                  </a:cubicBezTo>
                  <a:cubicBezTo>
                    <a:pt x="93534" y="90814"/>
                    <a:pt x="93534" y="88094"/>
                    <a:pt x="98973" y="85375"/>
                  </a:cubicBezTo>
                  <a:cubicBezTo>
                    <a:pt x="104412" y="82655"/>
                    <a:pt x="115291" y="79935"/>
                    <a:pt x="120730" y="77216"/>
                  </a:cubicBezTo>
                  <a:cubicBezTo>
                    <a:pt x="139768" y="74496"/>
                    <a:pt x="164245" y="71776"/>
                    <a:pt x="172404" y="71776"/>
                  </a:cubicBezTo>
                  <a:cubicBezTo>
                    <a:pt x="194161" y="71776"/>
                    <a:pt x="210479" y="69057"/>
                    <a:pt x="234956" y="69057"/>
                  </a:cubicBezTo>
                  <a:cubicBezTo>
                    <a:pt x="237675" y="69057"/>
                    <a:pt x="240395" y="69057"/>
                    <a:pt x="243115" y="69057"/>
                  </a:cubicBezTo>
                  <a:cubicBezTo>
                    <a:pt x="251274" y="69057"/>
                    <a:pt x="262153" y="69057"/>
                    <a:pt x="270312" y="74496"/>
                  </a:cubicBezTo>
                  <a:cubicBezTo>
                    <a:pt x="283910" y="82655"/>
                    <a:pt x="300228" y="96253"/>
                    <a:pt x="308387" y="123450"/>
                  </a:cubicBezTo>
                  <a:cubicBezTo>
                    <a:pt x="316546" y="147927"/>
                    <a:pt x="327424" y="175123"/>
                    <a:pt x="332864" y="202320"/>
                  </a:cubicBezTo>
                  <a:cubicBezTo>
                    <a:pt x="335583" y="213198"/>
                    <a:pt x="335583" y="226797"/>
                    <a:pt x="338303" y="237675"/>
                  </a:cubicBezTo>
                  <a:cubicBezTo>
                    <a:pt x="343742" y="251274"/>
                    <a:pt x="346462" y="264872"/>
                    <a:pt x="349182" y="281190"/>
                  </a:cubicBezTo>
                  <a:cubicBezTo>
                    <a:pt x="351901" y="292068"/>
                    <a:pt x="351901" y="305667"/>
                    <a:pt x="357341" y="316545"/>
                  </a:cubicBezTo>
                  <a:cubicBezTo>
                    <a:pt x="362780" y="327424"/>
                    <a:pt x="362780" y="338303"/>
                    <a:pt x="365500" y="351901"/>
                  </a:cubicBezTo>
                  <a:cubicBezTo>
                    <a:pt x="365500" y="357340"/>
                    <a:pt x="373658" y="373658"/>
                    <a:pt x="376378" y="389976"/>
                  </a:cubicBezTo>
                  <a:cubicBezTo>
                    <a:pt x="381817" y="403574"/>
                    <a:pt x="384537" y="414453"/>
                    <a:pt x="387257" y="414453"/>
                  </a:cubicBezTo>
                  <a:cubicBezTo>
                    <a:pt x="392696" y="414453"/>
                    <a:pt x="395416" y="381817"/>
                    <a:pt x="398136" y="376378"/>
                  </a:cubicBezTo>
                  <a:cubicBezTo>
                    <a:pt x="400855" y="362779"/>
                    <a:pt x="403575" y="346462"/>
                    <a:pt x="406295" y="332863"/>
                  </a:cubicBezTo>
                  <a:cubicBezTo>
                    <a:pt x="411734" y="302947"/>
                    <a:pt x="417173" y="273031"/>
                    <a:pt x="425332" y="243115"/>
                  </a:cubicBezTo>
                  <a:cubicBezTo>
                    <a:pt x="430771" y="213198"/>
                    <a:pt x="436211" y="180563"/>
                    <a:pt x="444370" y="150646"/>
                  </a:cubicBezTo>
                  <a:cubicBezTo>
                    <a:pt x="449809" y="126170"/>
                    <a:pt x="460688" y="98973"/>
                    <a:pt x="477006" y="79935"/>
                  </a:cubicBezTo>
                  <a:cubicBezTo>
                    <a:pt x="487884" y="66337"/>
                    <a:pt x="506922" y="58178"/>
                    <a:pt x="523240" y="58178"/>
                  </a:cubicBezTo>
                  <a:cubicBezTo>
                    <a:pt x="528679" y="58178"/>
                    <a:pt x="539558" y="58178"/>
                    <a:pt x="544997" y="63617"/>
                  </a:cubicBezTo>
                  <a:lnTo>
                    <a:pt x="612988" y="63617"/>
                  </a:lnTo>
                  <a:cubicBezTo>
                    <a:pt x="626587" y="63617"/>
                    <a:pt x="651064" y="63617"/>
                    <a:pt x="651064" y="79935"/>
                  </a:cubicBezTo>
                  <a:cubicBezTo>
                    <a:pt x="651064" y="88094"/>
                    <a:pt x="648344" y="88094"/>
                    <a:pt x="645624" y="96253"/>
                  </a:cubicBezTo>
                  <a:cubicBezTo>
                    <a:pt x="640185" y="101693"/>
                    <a:pt x="634746" y="104412"/>
                    <a:pt x="629307" y="104412"/>
                  </a:cubicBezTo>
                  <a:cubicBezTo>
                    <a:pt x="621147" y="107132"/>
                    <a:pt x="612988" y="107132"/>
                    <a:pt x="607549" y="107132"/>
                  </a:cubicBezTo>
                  <a:cubicBezTo>
                    <a:pt x="604829" y="107132"/>
                    <a:pt x="591231" y="107132"/>
                    <a:pt x="580353" y="107132"/>
                  </a:cubicBezTo>
                  <a:cubicBezTo>
                    <a:pt x="580353" y="109851"/>
                    <a:pt x="583072" y="112571"/>
                    <a:pt x="583072" y="115291"/>
                  </a:cubicBezTo>
                  <a:cubicBezTo>
                    <a:pt x="585792" y="128889"/>
                    <a:pt x="585792" y="142487"/>
                    <a:pt x="588512" y="156086"/>
                  </a:cubicBezTo>
                  <a:cubicBezTo>
                    <a:pt x="591231" y="169684"/>
                    <a:pt x="591231" y="183282"/>
                    <a:pt x="593951" y="196881"/>
                  </a:cubicBezTo>
                  <a:cubicBezTo>
                    <a:pt x="593951" y="207759"/>
                    <a:pt x="599390" y="215918"/>
                    <a:pt x="599390" y="226797"/>
                  </a:cubicBezTo>
                  <a:cubicBezTo>
                    <a:pt x="599390" y="229516"/>
                    <a:pt x="599390" y="229516"/>
                    <a:pt x="599390" y="232236"/>
                  </a:cubicBezTo>
                  <a:cubicBezTo>
                    <a:pt x="599390" y="234956"/>
                    <a:pt x="599390" y="237675"/>
                    <a:pt x="599390" y="240395"/>
                  </a:cubicBezTo>
                  <a:cubicBezTo>
                    <a:pt x="599390" y="251274"/>
                    <a:pt x="599390" y="259433"/>
                    <a:pt x="602110" y="270311"/>
                  </a:cubicBezTo>
                  <a:cubicBezTo>
                    <a:pt x="604829" y="283909"/>
                    <a:pt x="607549" y="294788"/>
                    <a:pt x="607549" y="308386"/>
                  </a:cubicBezTo>
                  <a:cubicBezTo>
                    <a:pt x="607549" y="311106"/>
                    <a:pt x="607549" y="316545"/>
                    <a:pt x="607549" y="319265"/>
                  </a:cubicBezTo>
                  <a:cubicBezTo>
                    <a:pt x="607549" y="324704"/>
                    <a:pt x="610269" y="330144"/>
                    <a:pt x="612988" y="335583"/>
                  </a:cubicBezTo>
                  <a:cubicBezTo>
                    <a:pt x="612988" y="338303"/>
                    <a:pt x="612988" y="343742"/>
                    <a:pt x="612988" y="346462"/>
                  </a:cubicBezTo>
                  <a:cubicBezTo>
                    <a:pt x="612988" y="354620"/>
                    <a:pt x="612988" y="362779"/>
                    <a:pt x="612988" y="370939"/>
                  </a:cubicBezTo>
                  <a:cubicBezTo>
                    <a:pt x="612988" y="379097"/>
                    <a:pt x="612988" y="387256"/>
                    <a:pt x="612988" y="395415"/>
                  </a:cubicBezTo>
                  <a:cubicBezTo>
                    <a:pt x="612988" y="403574"/>
                    <a:pt x="615708" y="414453"/>
                    <a:pt x="615708" y="422612"/>
                  </a:cubicBezTo>
                  <a:cubicBezTo>
                    <a:pt x="618428" y="430771"/>
                    <a:pt x="618428" y="436210"/>
                    <a:pt x="618428" y="441650"/>
                  </a:cubicBezTo>
                  <a:cubicBezTo>
                    <a:pt x="618428" y="444369"/>
                    <a:pt x="618428" y="449808"/>
                    <a:pt x="618428" y="455248"/>
                  </a:cubicBezTo>
                  <a:cubicBezTo>
                    <a:pt x="618428" y="460687"/>
                    <a:pt x="618428" y="460687"/>
                    <a:pt x="621147" y="463407"/>
                  </a:cubicBezTo>
                  <a:cubicBezTo>
                    <a:pt x="623867" y="471566"/>
                    <a:pt x="623867" y="477005"/>
                    <a:pt x="626587" y="482444"/>
                  </a:cubicBezTo>
                  <a:cubicBezTo>
                    <a:pt x="629307" y="493323"/>
                    <a:pt x="629307" y="506921"/>
                    <a:pt x="629307" y="517800"/>
                  </a:cubicBezTo>
                  <a:cubicBezTo>
                    <a:pt x="632026" y="534118"/>
                    <a:pt x="632026" y="547716"/>
                    <a:pt x="634746" y="561314"/>
                  </a:cubicBezTo>
                  <a:cubicBezTo>
                    <a:pt x="634746" y="564034"/>
                    <a:pt x="634746" y="564034"/>
                    <a:pt x="634746" y="566754"/>
                  </a:cubicBezTo>
                  <a:cubicBezTo>
                    <a:pt x="634746" y="572193"/>
                    <a:pt x="634746" y="577632"/>
                    <a:pt x="634746" y="583072"/>
                  </a:cubicBezTo>
                  <a:cubicBezTo>
                    <a:pt x="634746" y="596670"/>
                    <a:pt x="637466" y="602109"/>
                    <a:pt x="637466" y="607548"/>
                  </a:cubicBezTo>
                  <a:cubicBezTo>
                    <a:pt x="637466" y="610268"/>
                    <a:pt x="640185" y="615708"/>
                    <a:pt x="640185" y="618427"/>
                  </a:cubicBezTo>
                  <a:cubicBezTo>
                    <a:pt x="640185" y="623866"/>
                    <a:pt x="640185" y="629306"/>
                    <a:pt x="640185" y="632025"/>
                  </a:cubicBezTo>
                  <a:cubicBezTo>
                    <a:pt x="640185" y="634745"/>
                    <a:pt x="640185" y="637465"/>
                    <a:pt x="640185" y="640184"/>
                  </a:cubicBezTo>
                  <a:cubicBezTo>
                    <a:pt x="640185" y="645624"/>
                    <a:pt x="642905" y="653783"/>
                    <a:pt x="642905" y="659222"/>
                  </a:cubicBezTo>
                  <a:cubicBezTo>
                    <a:pt x="642905" y="661942"/>
                    <a:pt x="642905" y="661942"/>
                    <a:pt x="642905" y="664661"/>
                  </a:cubicBezTo>
                  <a:cubicBezTo>
                    <a:pt x="645624" y="678259"/>
                    <a:pt x="651064" y="678259"/>
                    <a:pt x="653783" y="678259"/>
                  </a:cubicBezTo>
                  <a:lnTo>
                    <a:pt x="653783" y="678259"/>
                  </a:ln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/>
            </a:p>
          </p:txBody>
        </p:sp>
        <p:sp>
          <p:nvSpPr>
            <p:cNvPr id="42" name="Freeform: Shape 41">
              <a:extLst>
                <a:ext uri="{FF2B5EF4-FFF2-40B4-BE49-F238E27FC236}">
                  <a16:creationId xmlns:a16="http://schemas.microsoft.com/office/drawing/2014/main" id="{559998B0-FBE4-4736-A71B-DC348C340448}"/>
                </a:ext>
              </a:extLst>
            </p:cNvPr>
            <p:cNvSpPr/>
            <p:nvPr/>
          </p:nvSpPr>
          <p:spPr>
            <a:xfrm>
              <a:off x="6362526" y="4242177"/>
              <a:ext cx="492259" cy="674476"/>
            </a:xfrm>
            <a:custGeom>
              <a:avLst/>
              <a:gdLst>
                <a:gd name="connsiteX0" fmla="*/ 225733 w 492259"/>
                <a:gd name="connsiteY0" fmla="*/ 97907 h 674476"/>
                <a:gd name="connsiteX1" fmla="*/ 209415 w 492259"/>
                <a:gd name="connsiteY1" fmla="*/ 119665 h 674476"/>
                <a:gd name="connsiteX2" fmla="*/ 201256 w 492259"/>
                <a:gd name="connsiteY2" fmla="*/ 152300 h 674476"/>
                <a:gd name="connsiteX3" fmla="*/ 198536 w 492259"/>
                <a:gd name="connsiteY3" fmla="*/ 168618 h 674476"/>
                <a:gd name="connsiteX4" fmla="*/ 195817 w 492259"/>
                <a:gd name="connsiteY4" fmla="*/ 184936 h 674476"/>
                <a:gd name="connsiteX5" fmla="*/ 187658 w 492259"/>
                <a:gd name="connsiteY5" fmla="*/ 220292 h 674476"/>
                <a:gd name="connsiteX6" fmla="*/ 168620 w 492259"/>
                <a:gd name="connsiteY6" fmla="*/ 291003 h 674476"/>
                <a:gd name="connsiteX7" fmla="*/ 160461 w 492259"/>
                <a:gd name="connsiteY7" fmla="*/ 323639 h 674476"/>
                <a:gd name="connsiteX8" fmla="*/ 149582 w 492259"/>
                <a:gd name="connsiteY8" fmla="*/ 361714 h 674476"/>
                <a:gd name="connsiteX9" fmla="*/ 144143 w 492259"/>
                <a:gd name="connsiteY9" fmla="*/ 388910 h 674476"/>
                <a:gd name="connsiteX10" fmla="*/ 149582 w 492259"/>
                <a:gd name="connsiteY10" fmla="*/ 391630 h 674476"/>
                <a:gd name="connsiteX11" fmla="*/ 171340 w 492259"/>
                <a:gd name="connsiteY11" fmla="*/ 391630 h 674476"/>
                <a:gd name="connsiteX12" fmla="*/ 193097 w 492259"/>
                <a:gd name="connsiteY12" fmla="*/ 388910 h 674476"/>
                <a:gd name="connsiteX13" fmla="*/ 212135 w 492259"/>
                <a:gd name="connsiteY13" fmla="*/ 388910 h 674476"/>
                <a:gd name="connsiteX14" fmla="*/ 236611 w 492259"/>
                <a:gd name="connsiteY14" fmla="*/ 388910 h 674476"/>
                <a:gd name="connsiteX15" fmla="*/ 250210 w 492259"/>
                <a:gd name="connsiteY15" fmla="*/ 386191 h 674476"/>
                <a:gd name="connsiteX16" fmla="*/ 258369 w 492259"/>
                <a:gd name="connsiteY16" fmla="*/ 386191 h 674476"/>
                <a:gd name="connsiteX17" fmla="*/ 255649 w 492259"/>
                <a:gd name="connsiteY17" fmla="*/ 367153 h 674476"/>
                <a:gd name="connsiteX18" fmla="*/ 250210 w 492259"/>
                <a:gd name="connsiteY18" fmla="*/ 331797 h 674476"/>
                <a:gd name="connsiteX19" fmla="*/ 247490 w 492259"/>
                <a:gd name="connsiteY19" fmla="*/ 244769 h 674476"/>
                <a:gd name="connsiteX20" fmla="*/ 242051 w 492259"/>
                <a:gd name="connsiteY20" fmla="*/ 203974 h 674476"/>
                <a:gd name="connsiteX21" fmla="*/ 236611 w 492259"/>
                <a:gd name="connsiteY21" fmla="*/ 157740 h 674476"/>
                <a:gd name="connsiteX22" fmla="*/ 233892 w 492259"/>
                <a:gd name="connsiteY22" fmla="*/ 119665 h 674476"/>
                <a:gd name="connsiteX23" fmla="*/ 225733 w 492259"/>
                <a:gd name="connsiteY23" fmla="*/ 97907 h 674476"/>
                <a:gd name="connsiteX24" fmla="*/ 274687 w 492259"/>
                <a:gd name="connsiteY24" fmla="*/ 0 h 674476"/>
                <a:gd name="connsiteX25" fmla="*/ 304603 w 492259"/>
                <a:gd name="connsiteY25" fmla="*/ 5439 h 674476"/>
                <a:gd name="connsiteX26" fmla="*/ 320921 w 492259"/>
                <a:gd name="connsiteY26" fmla="*/ 24477 h 674476"/>
                <a:gd name="connsiteX27" fmla="*/ 334519 w 492259"/>
                <a:gd name="connsiteY27" fmla="*/ 43515 h 674476"/>
                <a:gd name="connsiteX28" fmla="*/ 339959 w 492259"/>
                <a:gd name="connsiteY28" fmla="*/ 65272 h 674476"/>
                <a:gd name="connsiteX29" fmla="*/ 348118 w 492259"/>
                <a:gd name="connsiteY29" fmla="*/ 114226 h 674476"/>
                <a:gd name="connsiteX30" fmla="*/ 361716 w 492259"/>
                <a:gd name="connsiteY30" fmla="*/ 163180 h 674476"/>
                <a:gd name="connsiteX31" fmla="*/ 369875 w 492259"/>
                <a:gd name="connsiteY31" fmla="*/ 220293 h 674476"/>
                <a:gd name="connsiteX32" fmla="*/ 378034 w 492259"/>
                <a:gd name="connsiteY32" fmla="*/ 274686 h 674476"/>
                <a:gd name="connsiteX33" fmla="*/ 383473 w 492259"/>
                <a:gd name="connsiteY33" fmla="*/ 301883 h 674476"/>
                <a:gd name="connsiteX34" fmla="*/ 391632 w 492259"/>
                <a:gd name="connsiteY34" fmla="*/ 337238 h 674476"/>
                <a:gd name="connsiteX35" fmla="*/ 397071 w 492259"/>
                <a:gd name="connsiteY35" fmla="*/ 364435 h 674476"/>
                <a:gd name="connsiteX36" fmla="*/ 405230 w 492259"/>
                <a:gd name="connsiteY36" fmla="*/ 383473 h 674476"/>
                <a:gd name="connsiteX37" fmla="*/ 416109 w 492259"/>
                <a:gd name="connsiteY37" fmla="*/ 386192 h 674476"/>
                <a:gd name="connsiteX38" fmla="*/ 426988 w 492259"/>
                <a:gd name="connsiteY38" fmla="*/ 386192 h 674476"/>
                <a:gd name="connsiteX39" fmla="*/ 454184 w 492259"/>
                <a:gd name="connsiteY39" fmla="*/ 397071 h 674476"/>
                <a:gd name="connsiteX40" fmla="*/ 456904 w 492259"/>
                <a:gd name="connsiteY40" fmla="*/ 405230 h 674476"/>
                <a:gd name="connsiteX41" fmla="*/ 451464 w 492259"/>
                <a:gd name="connsiteY41" fmla="*/ 416108 h 674476"/>
                <a:gd name="connsiteX42" fmla="*/ 432427 w 492259"/>
                <a:gd name="connsiteY42" fmla="*/ 429707 h 674476"/>
                <a:gd name="connsiteX43" fmla="*/ 421548 w 492259"/>
                <a:gd name="connsiteY43" fmla="*/ 432426 h 674476"/>
                <a:gd name="connsiteX44" fmla="*/ 413389 w 492259"/>
                <a:gd name="connsiteY44" fmla="*/ 435146 h 674476"/>
                <a:gd name="connsiteX45" fmla="*/ 413389 w 492259"/>
                <a:gd name="connsiteY45" fmla="*/ 440585 h 674476"/>
                <a:gd name="connsiteX46" fmla="*/ 416109 w 492259"/>
                <a:gd name="connsiteY46" fmla="*/ 451464 h 674476"/>
                <a:gd name="connsiteX47" fmla="*/ 418829 w 492259"/>
                <a:gd name="connsiteY47" fmla="*/ 465062 h 674476"/>
                <a:gd name="connsiteX48" fmla="*/ 418829 w 492259"/>
                <a:gd name="connsiteY48" fmla="*/ 475941 h 674476"/>
                <a:gd name="connsiteX49" fmla="*/ 418829 w 492259"/>
                <a:gd name="connsiteY49" fmla="*/ 486820 h 674476"/>
                <a:gd name="connsiteX50" fmla="*/ 426988 w 492259"/>
                <a:gd name="connsiteY50" fmla="*/ 516736 h 674476"/>
                <a:gd name="connsiteX51" fmla="*/ 432427 w 492259"/>
                <a:gd name="connsiteY51" fmla="*/ 543932 h 674476"/>
                <a:gd name="connsiteX52" fmla="*/ 437866 w 492259"/>
                <a:gd name="connsiteY52" fmla="*/ 573848 h 674476"/>
                <a:gd name="connsiteX53" fmla="*/ 443306 w 492259"/>
                <a:gd name="connsiteY53" fmla="*/ 606484 h 674476"/>
                <a:gd name="connsiteX54" fmla="*/ 446025 w 492259"/>
                <a:gd name="connsiteY54" fmla="*/ 617363 h 674476"/>
                <a:gd name="connsiteX55" fmla="*/ 470502 w 492259"/>
                <a:gd name="connsiteY55" fmla="*/ 617363 h 674476"/>
                <a:gd name="connsiteX56" fmla="*/ 492259 w 492259"/>
                <a:gd name="connsiteY56" fmla="*/ 641840 h 674476"/>
                <a:gd name="connsiteX57" fmla="*/ 484101 w 492259"/>
                <a:gd name="connsiteY57" fmla="*/ 655438 h 674476"/>
                <a:gd name="connsiteX58" fmla="*/ 467782 w 492259"/>
                <a:gd name="connsiteY58" fmla="*/ 663597 h 674476"/>
                <a:gd name="connsiteX59" fmla="*/ 443306 w 492259"/>
                <a:gd name="connsiteY59" fmla="*/ 666317 h 674476"/>
                <a:gd name="connsiteX60" fmla="*/ 421548 w 492259"/>
                <a:gd name="connsiteY60" fmla="*/ 666317 h 674476"/>
                <a:gd name="connsiteX61" fmla="*/ 413389 w 492259"/>
                <a:gd name="connsiteY61" fmla="*/ 666317 h 674476"/>
                <a:gd name="connsiteX62" fmla="*/ 399791 w 492259"/>
                <a:gd name="connsiteY62" fmla="*/ 671756 h 674476"/>
                <a:gd name="connsiteX63" fmla="*/ 383473 w 492259"/>
                <a:gd name="connsiteY63" fmla="*/ 674476 h 674476"/>
                <a:gd name="connsiteX64" fmla="*/ 348118 w 492259"/>
                <a:gd name="connsiteY64" fmla="*/ 669036 h 674476"/>
                <a:gd name="connsiteX65" fmla="*/ 326360 w 492259"/>
                <a:gd name="connsiteY65" fmla="*/ 669036 h 674476"/>
                <a:gd name="connsiteX66" fmla="*/ 277406 w 492259"/>
                <a:gd name="connsiteY66" fmla="*/ 669036 h 674476"/>
                <a:gd name="connsiteX67" fmla="*/ 252930 w 492259"/>
                <a:gd name="connsiteY67" fmla="*/ 663597 h 674476"/>
                <a:gd name="connsiteX68" fmla="*/ 236611 w 492259"/>
                <a:gd name="connsiteY68" fmla="*/ 647279 h 674476"/>
                <a:gd name="connsiteX69" fmla="*/ 261088 w 492259"/>
                <a:gd name="connsiteY69" fmla="*/ 630961 h 674476"/>
                <a:gd name="connsiteX70" fmla="*/ 288285 w 492259"/>
                <a:gd name="connsiteY70" fmla="*/ 628241 h 674476"/>
                <a:gd name="connsiteX71" fmla="*/ 285565 w 492259"/>
                <a:gd name="connsiteY71" fmla="*/ 609204 h 674476"/>
                <a:gd name="connsiteX72" fmla="*/ 282846 w 492259"/>
                <a:gd name="connsiteY72" fmla="*/ 582007 h 674476"/>
                <a:gd name="connsiteX73" fmla="*/ 280126 w 492259"/>
                <a:gd name="connsiteY73" fmla="*/ 568409 h 674476"/>
                <a:gd name="connsiteX74" fmla="*/ 282846 w 492259"/>
                <a:gd name="connsiteY74" fmla="*/ 554811 h 674476"/>
                <a:gd name="connsiteX75" fmla="*/ 277406 w 492259"/>
                <a:gd name="connsiteY75" fmla="*/ 538493 h 674476"/>
                <a:gd name="connsiteX76" fmla="*/ 271967 w 492259"/>
                <a:gd name="connsiteY76" fmla="*/ 505857 h 674476"/>
                <a:gd name="connsiteX77" fmla="*/ 269247 w 492259"/>
                <a:gd name="connsiteY77" fmla="*/ 478660 h 674476"/>
                <a:gd name="connsiteX78" fmla="*/ 266528 w 492259"/>
                <a:gd name="connsiteY78" fmla="*/ 446025 h 674476"/>
                <a:gd name="connsiteX79" fmla="*/ 261088 w 492259"/>
                <a:gd name="connsiteY79" fmla="*/ 437866 h 674476"/>
                <a:gd name="connsiteX80" fmla="*/ 250210 w 492259"/>
                <a:gd name="connsiteY80" fmla="*/ 437866 h 674476"/>
                <a:gd name="connsiteX81" fmla="*/ 220293 w 492259"/>
                <a:gd name="connsiteY81" fmla="*/ 440585 h 674476"/>
                <a:gd name="connsiteX82" fmla="*/ 190377 w 492259"/>
                <a:gd name="connsiteY82" fmla="*/ 443305 h 674476"/>
                <a:gd name="connsiteX83" fmla="*/ 165900 w 492259"/>
                <a:gd name="connsiteY83" fmla="*/ 443305 h 674476"/>
                <a:gd name="connsiteX84" fmla="*/ 144143 w 492259"/>
                <a:gd name="connsiteY84" fmla="*/ 440585 h 674476"/>
                <a:gd name="connsiteX85" fmla="*/ 135984 w 492259"/>
                <a:gd name="connsiteY85" fmla="*/ 454184 h 674476"/>
                <a:gd name="connsiteX86" fmla="*/ 130545 w 492259"/>
                <a:gd name="connsiteY86" fmla="*/ 486820 h 674476"/>
                <a:gd name="connsiteX87" fmla="*/ 119666 w 492259"/>
                <a:gd name="connsiteY87" fmla="*/ 541213 h 674476"/>
                <a:gd name="connsiteX88" fmla="*/ 103348 w 492259"/>
                <a:gd name="connsiteY88" fmla="*/ 614643 h 674476"/>
                <a:gd name="connsiteX89" fmla="*/ 133264 w 492259"/>
                <a:gd name="connsiteY89" fmla="*/ 614643 h 674476"/>
                <a:gd name="connsiteX90" fmla="*/ 168620 w 492259"/>
                <a:gd name="connsiteY90" fmla="*/ 630961 h 674476"/>
                <a:gd name="connsiteX91" fmla="*/ 163181 w 492259"/>
                <a:gd name="connsiteY91" fmla="*/ 647279 h 674476"/>
                <a:gd name="connsiteX92" fmla="*/ 146863 w 492259"/>
                <a:gd name="connsiteY92" fmla="*/ 655438 h 674476"/>
                <a:gd name="connsiteX93" fmla="*/ 127825 w 492259"/>
                <a:gd name="connsiteY93" fmla="*/ 658158 h 674476"/>
                <a:gd name="connsiteX94" fmla="*/ 106068 w 492259"/>
                <a:gd name="connsiteY94" fmla="*/ 658158 h 674476"/>
                <a:gd name="connsiteX95" fmla="*/ 62552 w 492259"/>
                <a:gd name="connsiteY95" fmla="*/ 658158 h 674476"/>
                <a:gd name="connsiteX96" fmla="*/ 40795 w 492259"/>
                <a:gd name="connsiteY96" fmla="*/ 658158 h 674476"/>
                <a:gd name="connsiteX97" fmla="*/ 16318 w 492259"/>
                <a:gd name="connsiteY97" fmla="*/ 652718 h 674476"/>
                <a:gd name="connsiteX98" fmla="*/ 0 w 492259"/>
                <a:gd name="connsiteY98" fmla="*/ 636401 h 674476"/>
                <a:gd name="connsiteX99" fmla="*/ 2720 w 492259"/>
                <a:gd name="connsiteY99" fmla="*/ 628241 h 674476"/>
                <a:gd name="connsiteX100" fmla="*/ 24477 w 492259"/>
                <a:gd name="connsiteY100" fmla="*/ 620082 h 674476"/>
                <a:gd name="connsiteX101" fmla="*/ 62552 w 492259"/>
                <a:gd name="connsiteY101" fmla="*/ 617363 h 674476"/>
                <a:gd name="connsiteX102" fmla="*/ 62552 w 492259"/>
                <a:gd name="connsiteY102" fmla="*/ 614643 h 674476"/>
                <a:gd name="connsiteX103" fmla="*/ 65272 w 492259"/>
                <a:gd name="connsiteY103" fmla="*/ 587447 h 674476"/>
                <a:gd name="connsiteX104" fmla="*/ 76151 w 492259"/>
                <a:gd name="connsiteY104" fmla="*/ 522175 h 674476"/>
                <a:gd name="connsiteX105" fmla="*/ 87029 w 492259"/>
                <a:gd name="connsiteY105" fmla="*/ 470501 h 674476"/>
                <a:gd name="connsiteX106" fmla="*/ 92468 w 492259"/>
                <a:gd name="connsiteY106" fmla="*/ 446025 h 674476"/>
                <a:gd name="connsiteX107" fmla="*/ 65272 w 492259"/>
                <a:gd name="connsiteY107" fmla="*/ 432426 h 674476"/>
                <a:gd name="connsiteX108" fmla="*/ 54393 w 492259"/>
                <a:gd name="connsiteY108" fmla="*/ 421548 h 674476"/>
                <a:gd name="connsiteX109" fmla="*/ 73431 w 492259"/>
                <a:gd name="connsiteY109" fmla="*/ 407949 h 674476"/>
                <a:gd name="connsiteX110" fmla="*/ 100629 w 492259"/>
                <a:gd name="connsiteY110" fmla="*/ 399790 h 674476"/>
                <a:gd name="connsiteX111" fmla="*/ 108788 w 492259"/>
                <a:gd name="connsiteY111" fmla="*/ 369874 h 674476"/>
                <a:gd name="connsiteX112" fmla="*/ 125105 w 492259"/>
                <a:gd name="connsiteY112" fmla="*/ 307322 h 674476"/>
                <a:gd name="connsiteX113" fmla="*/ 141423 w 492259"/>
                <a:gd name="connsiteY113" fmla="*/ 242051 h 674476"/>
                <a:gd name="connsiteX114" fmla="*/ 155022 w 492259"/>
                <a:gd name="connsiteY114" fmla="*/ 179498 h 674476"/>
                <a:gd name="connsiteX115" fmla="*/ 168620 w 492259"/>
                <a:gd name="connsiteY115" fmla="*/ 119665 h 674476"/>
                <a:gd name="connsiteX116" fmla="*/ 193097 w 492259"/>
                <a:gd name="connsiteY116" fmla="*/ 57113 h 674476"/>
                <a:gd name="connsiteX117" fmla="*/ 201256 w 492259"/>
                <a:gd name="connsiteY117" fmla="*/ 38075 h 674476"/>
                <a:gd name="connsiteX118" fmla="*/ 217574 w 492259"/>
                <a:gd name="connsiteY118" fmla="*/ 13598 h 674476"/>
                <a:gd name="connsiteX119" fmla="*/ 274687 w 492259"/>
                <a:gd name="connsiteY119" fmla="*/ 0 h 6744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</a:cxnLst>
              <a:rect l="l" t="t" r="r" b="b"/>
              <a:pathLst>
                <a:path w="492259" h="674476">
                  <a:moveTo>
                    <a:pt x="225733" y="97907"/>
                  </a:moveTo>
                  <a:cubicBezTo>
                    <a:pt x="217574" y="97907"/>
                    <a:pt x="209415" y="114225"/>
                    <a:pt x="209415" y="119665"/>
                  </a:cubicBezTo>
                  <a:cubicBezTo>
                    <a:pt x="206695" y="130543"/>
                    <a:pt x="203976" y="144141"/>
                    <a:pt x="201256" y="152300"/>
                  </a:cubicBezTo>
                  <a:cubicBezTo>
                    <a:pt x="198536" y="157740"/>
                    <a:pt x="198536" y="163179"/>
                    <a:pt x="198536" y="168618"/>
                  </a:cubicBezTo>
                  <a:cubicBezTo>
                    <a:pt x="198536" y="174058"/>
                    <a:pt x="195817" y="179497"/>
                    <a:pt x="195817" y="184936"/>
                  </a:cubicBezTo>
                  <a:cubicBezTo>
                    <a:pt x="193097" y="195815"/>
                    <a:pt x="190377" y="209413"/>
                    <a:pt x="187658" y="220292"/>
                  </a:cubicBezTo>
                  <a:cubicBezTo>
                    <a:pt x="184938" y="244769"/>
                    <a:pt x="176779" y="269246"/>
                    <a:pt x="168620" y="291003"/>
                  </a:cubicBezTo>
                  <a:cubicBezTo>
                    <a:pt x="165900" y="301881"/>
                    <a:pt x="163181" y="312760"/>
                    <a:pt x="160461" y="323639"/>
                  </a:cubicBezTo>
                  <a:cubicBezTo>
                    <a:pt x="157742" y="337237"/>
                    <a:pt x="155022" y="348115"/>
                    <a:pt x="149582" y="361714"/>
                  </a:cubicBezTo>
                  <a:cubicBezTo>
                    <a:pt x="146863" y="367153"/>
                    <a:pt x="144143" y="383471"/>
                    <a:pt x="144143" y="388910"/>
                  </a:cubicBezTo>
                  <a:cubicBezTo>
                    <a:pt x="144143" y="391630"/>
                    <a:pt x="146863" y="391630"/>
                    <a:pt x="149582" y="391630"/>
                  </a:cubicBezTo>
                  <a:cubicBezTo>
                    <a:pt x="155022" y="391630"/>
                    <a:pt x="168620" y="391630"/>
                    <a:pt x="171340" y="391630"/>
                  </a:cubicBezTo>
                  <a:cubicBezTo>
                    <a:pt x="179498" y="391630"/>
                    <a:pt x="187658" y="391630"/>
                    <a:pt x="193097" y="388910"/>
                  </a:cubicBezTo>
                  <a:cubicBezTo>
                    <a:pt x="198536" y="388910"/>
                    <a:pt x="203976" y="388910"/>
                    <a:pt x="212135" y="388910"/>
                  </a:cubicBezTo>
                  <a:cubicBezTo>
                    <a:pt x="217574" y="388910"/>
                    <a:pt x="225733" y="388910"/>
                    <a:pt x="236611" y="388910"/>
                  </a:cubicBezTo>
                  <a:cubicBezTo>
                    <a:pt x="242051" y="388910"/>
                    <a:pt x="247490" y="388910"/>
                    <a:pt x="250210" y="386191"/>
                  </a:cubicBezTo>
                  <a:cubicBezTo>
                    <a:pt x="255649" y="391630"/>
                    <a:pt x="258369" y="388910"/>
                    <a:pt x="258369" y="386191"/>
                  </a:cubicBezTo>
                  <a:cubicBezTo>
                    <a:pt x="258369" y="380751"/>
                    <a:pt x="255649" y="372592"/>
                    <a:pt x="255649" y="367153"/>
                  </a:cubicBezTo>
                  <a:cubicBezTo>
                    <a:pt x="252930" y="353555"/>
                    <a:pt x="250210" y="342676"/>
                    <a:pt x="250210" y="331797"/>
                  </a:cubicBezTo>
                  <a:cubicBezTo>
                    <a:pt x="250210" y="301881"/>
                    <a:pt x="250210" y="274685"/>
                    <a:pt x="247490" y="244769"/>
                  </a:cubicBezTo>
                  <a:cubicBezTo>
                    <a:pt x="247490" y="231170"/>
                    <a:pt x="244771" y="217572"/>
                    <a:pt x="242051" y="203974"/>
                  </a:cubicBezTo>
                  <a:cubicBezTo>
                    <a:pt x="239331" y="187656"/>
                    <a:pt x="236611" y="174058"/>
                    <a:pt x="236611" y="157740"/>
                  </a:cubicBezTo>
                  <a:cubicBezTo>
                    <a:pt x="236611" y="152300"/>
                    <a:pt x="236611" y="133263"/>
                    <a:pt x="233892" y="119665"/>
                  </a:cubicBezTo>
                  <a:cubicBezTo>
                    <a:pt x="233892" y="106066"/>
                    <a:pt x="231172" y="97907"/>
                    <a:pt x="225733" y="97907"/>
                  </a:cubicBezTo>
                  <a:close/>
                  <a:moveTo>
                    <a:pt x="274687" y="0"/>
                  </a:moveTo>
                  <a:cubicBezTo>
                    <a:pt x="288285" y="0"/>
                    <a:pt x="293724" y="2720"/>
                    <a:pt x="304603" y="5439"/>
                  </a:cubicBezTo>
                  <a:cubicBezTo>
                    <a:pt x="315481" y="10879"/>
                    <a:pt x="315481" y="16318"/>
                    <a:pt x="320921" y="24477"/>
                  </a:cubicBezTo>
                  <a:cubicBezTo>
                    <a:pt x="326360" y="29916"/>
                    <a:pt x="331800" y="35356"/>
                    <a:pt x="334519" y="43515"/>
                  </a:cubicBezTo>
                  <a:cubicBezTo>
                    <a:pt x="337239" y="51674"/>
                    <a:pt x="337239" y="57113"/>
                    <a:pt x="339959" y="65272"/>
                  </a:cubicBezTo>
                  <a:cubicBezTo>
                    <a:pt x="345398" y="78870"/>
                    <a:pt x="342678" y="97908"/>
                    <a:pt x="348118" y="114226"/>
                  </a:cubicBezTo>
                  <a:cubicBezTo>
                    <a:pt x="350837" y="130544"/>
                    <a:pt x="358996" y="146863"/>
                    <a:pt x="361716" y="163180"/>
                  </a:cubicBezTo>
                  <a:cubicBezTo>
                    <a:pt x="364435" y="182218"/>
                    <a:pt x="364435" y="201256"/>
                    <a:pt x="369875" y="220293"/>
                  </a:cubicBezTo>
                  <a:cubicBezTo>
                    <a:pt x="375314" y="239331"/>
                    <a:pt x="378034" y="255649"/>
                    <a:pt x="378034" y="274686"/>
                  </a:cubicBezTo>
                  <a:cubicBezTo>
                    <a:pt x="378034" y="282845"/>
                    <a:pt x="380753" y="293724"/>
                    <a:pt x="383473" y="301883"/>
                  </a:cubicBezTo>
                  <a:cubicBezTo>
                    <a:pt x="386193" y="312762"/>
                    <a:pt x="388913" y="326360"/>
                    <a:pt x="391632" y="337238"/>
                  </a:cubicBezTo>
                  <a:cubicBezTo>
                    <a:pt x="391632" y="342678"/>
                    <a:pt x="394352" y="353556"/>
                    <a:pt x="397071" y="364435"/>
                  </a:cubicBezTo>
                  <a:cubicBezTo>
                    <a:pt x="399791" y="372594"/>
                    <a:pt x="402511" y="380753"/>
                    <a:pt x="405230" y="383473"/>
                  </a:cubicBezTo>
                  <a:cubicBezTo>
                    <a:pt x="407950" y="386192"/>
                    <a:pt x="413389" y="386192"/>
                    <a:pt x="416109" y="386192"/>
                  </a:cubicBezTo>
                  <a:cubicBezTo>
                    <a:pt x="418829" y="386192"/>
                    <a:pt x="424268" y="386192"/>
                    <a:pt x="426988" y="386192"/>
                  </a:cubicBezTo>
                  <a:cubicBezTo>
                    <a:pt x="437866" y="386192"/>
                    <a:pt x="448745" y="388912"/>
                    <a:pt x="454184" y="397071"/>
                  </a:cubicBezTo>
                  <a:cubicBezTo>
                    <a:pt x="456904" y="399790"/>
                    <a:pt x="456904" y="402510"/>
                    <a:pt x="456904" y="405230"/>
                  </a:cubicBezTo>
                  <a:cubicBezTo>
                    <a:pt x="456904" y="407949"/>
                    <a:pt x="454184" y="410669"/>
                    <a:pt x="451464" y="416108"/>
                  </a:cubicBezTo>
                  <a:cubicBezTo>
                    <a:pt x="446025" y="421548"/>
                    <a:pt x="440586" y="426987"/>
                    <a:pt x="432427" y="429707"/>
                  </a:cubicBezTo>
                  <a:cubicBezTo>
                    <a:pt x="429707" y="429707"/>
                    <a:pt x="426988" y="432426"/>
                    <a:pt x="421548" y="432426"/>
                  </a:cubicBezTo>
                  <a:cubicBezTo>
                    <a:pt x="418829" y="432426"/>
                    <a:pt x="416109" y="432426"/>
                    <a:pt x="413389" y="435146"/>
                  </a:cubicBezTo>
                  <a:cubicBezTo>
                    <a:pt x="413389" y="435146"/>
                    <a:pt x="413389" y="437866"/>
                    <a:pt x="413389" y="440585"/>
                  </a:cubicBezTo>
                  <a:cubicBezTo>
                    <a:pt x="413389" y="443305"/>
                    <a:pt x="413389" y="448744"/>
                    <a:pt x="416109" y="451464"/>
                  </a:cubicBezTo>
                  <a:cubicBezTo>
                    <a:pt x="416109" y="456903"/>
                    <a:pt x="418829" y="462343"/>
                    <a:pt x="418829" y="465062"/>
                  </a:cubicBezTo>
                  <a:lnTo>
                    <a:pt x="418829" y="475941"/>
                  </a:lnTo>
                  <a:cubicBezTo>
                    <a:pt x="418829" y="481380"/>
                    <a:pt x="418829" y="484100"/>
                    <a:pt x="418829" y="486820"/>
                  </a:cubicBezTo>
                  <a:cubicBezTo>
                    <a:pt x="421548" y="497698"/>
                    <a:pt x="424268" y="505857"/>
                    <a:pt x="426988" y="516736"/>
                  </a:cubicBezTo>
                  <a:cubicBezTo>
                    <a:pt x="426988" y="524895"/>
                    <a:pt x="429707" y="535773"/>
                    <a:pt x="432427" y="543932"/>
                  </a:cubicBezTo>
                  <a:cubicBezTo>
                    <a:pt x="435147" y="554811"/>
                    <a:pt x="437866" y="562970"/>
                    <a:pt x="437866" y="573848"/>
                  </a:cubicBezTo>
                  <a:cubicBezTo>
                    <a:pt x="437866" y="587447"/>
                    <a:pt x="440586" y="595606"/>
                    <a:pt x="443306" y="606484"/>
                  </a:cubicBezTo>
                  <a:cubicBezTo>
                    <a:pt x="443306" y="609204"/>
                    <a:pt x="446025" y="614643"/>
                    <a:pt x="446025" y="617363"/>
                  </a:cubicBezTo>
                  <a:cubicBezTo>
                    <a:pt x="454184" y="617363"/>
                    <a:pt x="462343" y="617363"/>
                    <a:pt x="470502" y="617363"/>
                  </a:cubicBezTo>
                  <a:cubicBezTo>
                    <a:pt x="475942" y="625522"/>
                    <a:pt x="492259" y="630961"/>
                    <a:pt x="492259" y="641840"/>
                  </a:cubicBezTo>
                  <a:cubicBezTo>
                    <a:pt x="492259" y="647279"/>
                    <a:pt x="486820" y="649999"/>
                    <a:pt x="484101" y="655438"/>
                  </a:cubicBezTo>
                  <a:cubicBezTo>
                    <a:pt x="481381" y="660877"/>
                    <a:pt x="473222" y="663597"/>
                    <a:pt x="467782" y="663597"/>
                  </a:cubicBezTo>
                  <a:cubicBezTo>
                    <a:pt x="456904" y="666317"/>
                    <a:pt x="451464" y="666317"/>
                    <a:pt x="443306" y="666317"/>
                  </a:cubicBezTo>
                  <a:cubicBezTo>
                    <a:pt x="437866" y="666317"/>
                    <a:pt x="429707" y="666317"/>
                    <a:pt x="421548" y="666317"/>
                  </a:cubicBezTo>
                  <a:cubicBezTo>
                    <a:pt x="418829" y="666317"/>
                    <a:pt x="416109" y="666317"/>
                    <a:pt x="413389" y="666317"/>
                  </a:cubicBezTo>
                  <a:cubicBezTo>
                    <a:pt x="407950" y="669036"/>
                    <a:pt x="405230" y="669036"/>
                    <a:pt x="399791" y="671756"/>
                  </a:cubicBezTo>
                  <a:cubicBezTo>
                    <a:pt x="394352" y="671756"/>
                    <a:pt x="388913" y="674476"/>
                    <a:pt x="383473" y="674476"/>
                  </a:cubicBezTo>
                  <a:cubicBezTo>
                    <a:pt x="372594" y="674476"/>
                    <a:pt x="358996" y="671756"/>
                    <a:pt x="348118" y="669036"/>
                  </a:cubicBezTo>
                  <a:cubicBezTo>
                    <a:pt x="339959" y="669036"/>
                    <a:pt x="331800" y="669036"/>
                    <a:pt x="326360" y="669036"/>
                  </a:cubicBezTo>
                  <a:cubicBezTo>
                    <a:pt x="304603" y="669036"/>
                    <a:pt x="285565" y="669036"/>
                    <a:pt x="277406" y="669036"/>
                  </a:cubicBezTo>
                  <a:cubicBezTo>
                    <a:pt x="269247" y="669036"/>
                    <a:pt x="258369" y="669036"/>
                    <a:pt x="252930" y="663597"/>
                  </a:cubicBezTo>
                  <a:cubicBezTo>
                    <a:pt x="247490" y="660877"/>
                    <a:pt x="236611" y="655438"/>
                    <a:pt x="236611" y="647279"/>
                  </a:cubicBezTo>
                  <a:cubicBezTo>
                    <a:pt x="236611" y="636401"/>
                    <a:pt x="252930" y="633681"/>
                    <a:pt x="261088" y="630961"/>
                  </a:cubicBezTo>
                  <a:cubicBezTo>
                    <a:pt x="266528" y="630961"/>
                    <a:pt x="274687" y="630961"/>
                    <a:pt x="288285" y="628241"/>
                  </a:cubicBezTo>
                  <a:cubicBezTo>
                    <a:pt x="288285" y="620082"/>
                    <a:pt x="288285" y="614643"/>
                    <a:pt x="285565" y="609204"/>
                  </a:cubicBezTo>
                  <a:cubicBezTo>
                    <a:pt x="285565" y="601045"/>
                    <a:pt x="282846" y="590166"/>
                    <a:pt x="282846" y="582007"/>
                  </a:cubicBezTo>
                  <a:cubicBezTo>
                    <a:pt x="282846" y="576568"/>
                    <a:pt x="280126" y="573848"/>
                    <a:pt x="280126" y="568409"/>
                  </a:cubicBezTo>
                  <a:cubicBezTo>
                    <a:pt x="280126" y="562970"/>
                    <a:pt x="282846" y="557531"/>
                    <a:pt x="282846" y="554811"/>
                  </a:cubicBezTo>
                  <a:cubicBezTo>
                    <a:pt x="282846" y="549371"/>
                    <a:pt x="280126" y="546652"/>
                    <a:pt x="277406" y="538493"/>
                  </a:cubicBezTo>
                  <a:cubicBezTo>
                    <a:pt x="277406" y="527614"/>
                    <a:pt x="271967" y="516736"/>
                    <a:pt x="271967" y="505857"/>
                  </a:cubicBezTo>
                  <a:cubicBezTo>
                    <a:pt x="271967" y="494978"/>
                    <a:pt x="271967" y="486820"/>
                    <a:pt x="269247" y="478660"/>
                  </a:cubicBezTo>
                  <a:cubicBezTo>
                    <a:pt x="266528" y="467782"/>
                    <a:pt x="266528" y="456903"/>
                    <a:pt x="266528" y="446025"/>
                  </a:cubicBezTo>
                  <a:cubicBezTo>
                    <a:pt x="266528" y="440585"/>
                    <a:pt x="263808" y="437866"/>
                    <a:pt x="261088" y="437866"/>
                  </a:cubicBezTo>
                  <a:cubicBezTo>
                    <a:pt x="258369" y="437866"/>
                    <a:pt x="255649" y="437866"/>
                    <a:pt x="250210" y="437866"/>
                  </a:cubicBezTo>
                  <a:cubicBezTo>
                    <a:pt x="239331" y="437866"/>
                    <a:pt x="228452" y="437866"/>
                    <a:pt x="220293" y="440585"/>
                  </a:cubicBezTo>
                  <a:cubicBezTo>
                    <a:pt x="209415" y="440585"/>
                    <a:pt x="201256" y="443305"/>
                    <a:pt x="190377" y="443305"/>
                  </a:cubicBezTo>
                  <a:cubicBezTo>
                    <a:pt x="182218" y="443305"/>
                    <a:pt x="174059" y="443305"/>
                    <a:pt x="165900" y="443305"/>
                  </a:cubicBezTo>
                  <a:cubicBezTo>
                    <a:pt x="163181" y="443305"/>
                    <a:pt x="152302" y="440585"/>
                    <a:pt x="144143" y="440585"/>
                  </a:cubicBezTo>
                  <a:cubicBezTo>
                    <a:pt x="135984" y="440585"/>
                    <a:pt x="135984" y="448744"/>
                    <a:pt x="135984" y="454184"/>
                  </a:cubicBezTo>
                  <a:cubicBezTo>
                    <a:pt x="135984" y="465062"/>
                    <a:pt x="133264" y="475941"/>
                    <a:pt x="130545" y="486820"/>
                  </a:cubicBezTo>
                  <a:cubicBezTo>
                    <a:pt x="127825" y="505857"/>
                    <a:pt x="122386" y="522175"/>
                    <a:pt x="119666" y="541213"/>
                  </a:cubicBezTo>
                  <a:cubicBezTo>
                    <a:pt x="116947" y="560250"/>
                    <a:pt x="108788" y="595606"/>
                    <a:pt x="103348" y="614643"/>
                  </a:cubicBezTo>
                  <a:cubicBezTo>
                    <a:pt x="111507" y="614643"/>
                    <a:pt x="122386" y="614643"/>
                    <a:pt x="133264" y="614643"/>
                  </a:cubicBezTo>
                  <a:cubicBezTo>
                    <a:pt x="146863" y="614643"/>
                    <a:pt x="168620" y="614643"/>
                    <a:pt x="168620" y="630961"/>
                  </a:cubicBezTo>
                  <a:cubicBezTo>
                    <a:pt x="168620" y="639120"/>
                    <a:pt x="165900" y="639120"/>
                    <a:pt x="163181" y="647279"/>
                  </a:cubicBezTo>
                  <a:cubicBezTo>
                    <a:pt x="160461" y="652718"/>
                    <a:pt x="152302" y="655438"/>
                    <a:pt x="146863" y="655438"/>
                  </a:cubicBezTo>
                  <a:cubicBezTo>
                    <a:pt x="138704" y="658158"/>
                    <a:pt x="133264" y="658158"/>
                    <a:pt x="127825" y="658158"/>
                  </a:cubicBezTo>
                  <a:cubicBezTo>
                    <a:pt x="122386" y="658158"/>
                    <a:pt x="116947" y="658158"/>
                    <a:pt x="106068" y="658158"/>
                  </a:cubicBezTo>
                  <a:cubicBezTo>
                    <a:pt x="92468" y="658158"/>
                    <a:pt x="78870" y="658158"/>
                    <a:pt x="62552" y="658158"/>
                  </a:cubicBezTo>
                  <a:cubicBezTo>
                    <a:pt x="54393" y="658158"/>
                    <a:pt x="46234" y="658158"/>
                    <a:pt x="40795" y="658158"/>
                  </a:cubicBezTo>
                  <a:cubicBezTo>
                    <a:pt x="32636" y="658158"/>
                    <a:pt x="21758" y="658158"/>
                    <a:pt x="16318" y="652718"/>
                  </a:cubicBezTo>
                  <a:cubicBezTo>
                    <a:pt x="8159" y="649999"/>
                    <a:pt x="0" y="641840"/>
                    <a:pt x="0" y="636401"/>
                  </a:cubicBezTo>
                  <a:cubicBezTo>
                    <a:pt x="0" y="633681"/>
                    <a:pt x="0" y="630961"/>
                    <a:pt x="2720" y="628241"/>
                  </a:cubicBezTo>
                  <a:cubicBezTo>
                    <a:pt x="8159" y="625522"/>
                    <a:pt x="16318" y="622802"/>
                    <a:pt x="24477" y="620082"/>
                  </a:cubicBezTo>
                  <a:cubicBezTo>
                    <a:pt x="38075" y="617363"/>
                    <a:pt x="48954" y="617363"/>
                    <a:pt x="62552" y="617363"/>
                  </a:cubicBezTo>
                  <a:cubicBezTo>
                    <a:pt x="62552" y="617363"/>
                    <a:pt x="62552" y="614643"/>
                    <a:pt x="62552" y="614643"/>
                  </a:cubicBezTo>
                  <a:cubicBezTo>
                    <a:pt x="62552" y="603765"/>
                    <a:pt x="65272" y="590166"/>
                    <a:pt x="65272" y="587447"/>
                  </a:cubicBezTo>
                  <a:cubicBezTo>
                    <a:pt x="67992" y="565689"/>
                    <a:pt x="73431" y="543932"/>
                    <a:pt x="76151" y="522175"/>
                  </a:cubicBezTo>
                  <a:cubicBezTo>
                    <a:pt x="78870" y="505857"/>
                    <a:pt x="81590" y="486820"/>
                    <a:pt x="87029" y="470501"/>
                  </a:cubicBezTo>
                  <a:cubicBezTo>
                    <a:pt x="87029" y="465062"/>
                    <a:pt x="92468" y="451464"/>
                    <a:pt x="92468" y="446025"/>
                  </a:cubicBezTo>
                  <a:cubicBezTo>
                    <a:pt x="92468" y="437866"/>
                    <a:pt x="73431" y="437866"/>
                    <a:pt x="65272" y="432426"/>
                  </a:cubicBezTo>
                  <a:cubicBezTo>
                    <a:pt x="59833" y="429707"/>
                    <a:pt x="54393" y="426987"/>
                    <a:pt x="54393" y="421548"/>
                  </a:cubicBezTo>
                  <a:cubicBezTo>
                    <a:pt x="54393" y="413389"/>
                    <a:pt x="62552" y="410669"/>
                    <a:pt x="73431" y="407949"/>
                  </a:cubicBezTo>
                  <a:cubicBezTo>
                    <a:pt x="78870" y="407949"/>
                    <a:pt x="92468" y="405230"/>
                    <a:pt x="100629" y="399790"/>
                  </a:cubicBezTo>
                  <a:cubicBezTo>
                    <a:pt x="106068" y="394351"/>
                    <a:pt x="106068" y="378033"/>
                    <a:pt x="108788" y="369874"/>
                  </a:cubicBezTo>
                  <a:cubicBezTo>
                    <a:pt x="114227" y="348117"/>
                    <a:pt x="119666" y="326360"/>
                    <a:pt x="125105" y="307322"/>
                  </a:cubicBezTo>
                  <a:cubicBezTo>
                    <a:pt x="130545" y="285565"/>
                    <a:pt x="135984" y="263808"/>
                    <a:pt x="141423" y="242051"/>
                  </a:cubicBezTo>
                  <a:cubicBezTo>
                    <a:pt x="146863" y="220293"/>
                    <a:pt x="152302" y="198536"/>
                    <a:pt x="155022" y="179498"/>
                  </a:cubicBezTo>
                  <a:cubicBezTo>
                    <a:pt x="157742" y="160461"/>
                    <a:pt x="163181" y="138703"/>
                    <a:pt x="168620" y="119665"/>
                  </a:cubicBezTo>
                  <a:cubicBezTo>
                    <a:pt x="176779" y="100627"/>
                    <a:pt x="182218" y="76150"/>
                    <a:pt x="193097" y="57113"/>
                  </a:cubicBezTo>
                  <a:lnTo>
                    <a:pt x="201256" y="38075"/>
                  </a:lnTo>
                  <a:cubicBezTo>
                    <a:pt x="206695" y="29916"/>
                    <a:pt x="209415" y="19038"/>
                    <a:pt x="217574" y="13598"/>
                  </a:cubicBezTo>
                  <a:cubicBezTo>
                    <a:pt x="231172" y="2720"/>
                    <a:pt x="255649" y="0"/>
                    <a:pt x="274687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/>
            </a:p>
          </p:txBody>
        </p:sp>
        <p:sp>
          <p:nvSpPr>
            <p:cNvPr id="43" name="Freeform: Shape 42">
              <a:extLst>
                <a:ext uri="{FF2B5EF4-FFF2-40B4-BE49-F238E27FC236}">
                  <a16:creationId xmlns:a16="http://schemas.microsoft.com/office/drawing/2014/main" id="{D6B1EBFD-5AF9-4242-8571-9084369DA914}"/>
                </a:ext>
              </a:extLst>
            </p:cNvPr>
            <p:cNvSpPr/>
            <p:nvPr/>
          </p:nvSpPr>
          <p:spPr>
            <a:xfrm>
              <a:off x="6876542" y="4244897"/>
              <a:ext cx="462342" cy="677195"/>
            </a:xfrm>
            <a:custGeom>
              <a:avLst/>
              <a:gdLst>
                <a:gd name="connsiteX0" fmla="*/ 214853 w 462342"/>
                <a:gd name="connsiteY0" fmla="*/ 65272 h 677195"/>
                <a:gd name="connsiteX1" fmla="*/ 195815 w 462342"/>
                <a:gd name="connsiteY1" fmla="*/ 73431 h 677195"/>
                <a:gd name="connsiteX2" fmla="*/ 193096 w 462342"/>
                <a:gd name="connsiteY2" fmla="*/ 125105 h 677195"/>
                <a:gd name="connsiteX3" fmla="*/ 190376 w 462342"/>
                <a:gd name="connsiteY3" fmla="*/ 280125 h 677195"/>
                <a:gd name="connsiteX4" fmla="*/ 190376 w 462342"/>
                <a:gd name="connsiteY4" fmla="*/ 301882 h 677195"/>
                <a:gd name="connsiteX5" fmla="*/ 193096 w 462342"/>
                <a:gd name="connsiteY5" fmla="*/ 342677 h 677195"/>
                <a:gd name="connsiteX6" fmla="*/ 195815 w 462342"/>
                <a:gd name="connsiteY6" fmla="*/ 397070 h 677195"/>
                <a:gd name="connsiteX7" fmla="*/ 195815 w 462342"/>
                <a:gd name="connsiteY7" fmla="*/ 443304 h 677195"/>
                <a:gd name="connsiteX8" fmla="*/ 195815 w 462342"/>
                <a:gd name="connsiteY8" fmla="*/ 530333 h 677195"/>
                <a:gd name="connsiteX9" fmla="*/ 193096 w 462342"/>
                <a:gd name="connsiteY9" fmla="*/ 554810 h 677195"/>
                <a:gd name="connsiteX10" fmla="*/ 190376 w 462342"/>
                <a:gd name="connsiteY10" fmla="*/ 603764 h 677195"/>
                <a:gd name="connsiteX11" fmla="*/ 198535 w 462342"/>
                <a:gd name="connsiteY11" fmla="*/ 611923 h 677195"/>
                <a:gd name="connsiteX12" fmla="*/ 214853 w 462342"/>
                <a:gd name="connsiteY12" fmla="*/ 611923 h 677195"/>
                <a:gd name="connsiteX13" fmla="*/ 236610 w 462342"/>
                <a:gd name="connsiteY13" fmla="*/ 611923 h 677195"/>
                <a:gd name="connsiteX14" fmla="*/ 263807 w 462342"/>
                <a:gd name="connsiteY14" fmla="*/ 598325 h 677195"/>
                <a:gd name="connsiteX15" fmla="*/ 277405 w 462342"/>
                <a:gd name="connsiteY15" fmla="*/ 592885 h 677195"/>
                <a:gd name="connsiteX16" fmla="*/ 291004 w 462342"/>
                <a:gd name="connsiteY16" fmla="*/ 573848 h 677195"/>
                <a:gd name="connsiteX17" fmla="*/ 307322 w 462342"/>
                <a:gd name="connsiteY17" fmla="*/ 543931 h 677195"/>
                <a:gd name="connsiteX18" fmla="*/ 326359 w 462342"/>
                <a:gd name="connsiteY18" fmla="*/ 481379 h 677195"/>
                <a:gd name="connsiteX19" fmla="*/ 337238 w 462342"/>
                <a:gd name="connsiteY19" fmla="*/ 413388 h 677195"/>
                <a:gd name="connsiteX20" fmla="*/ 337238 w 462342"/>
                <a:gd name="connsiteY20" fmla="*/ 350836 h 677195"/>
                <a:gd name="connsiteX21" fmla="*/ 334518 w 462342"/>
                <a:gd name="connsiteY21" fmla="*/ 296443 h 677195"/>
                <a:gd name="connsiteX22" fmla="*/ 329079 w 462342"/>
                <a:gd name="connsiteY22" fmla="*/ 244769 h 677195"/>
                <a:gd name="connsiteX23" fmla="*/ 307322 w 462342"/>
                <a:gd name="connsiteY23" fmla="*/ 135983 h 677195"/>
                <a:gd name="connsiteX24" fmla="*/ 271966 w 462342"/>
                <a:gd name="connsiteY24" fmla="*/ 78870 h 677195"/>
                <a:gd name="connsiteX25" fmla="*/ 214853 w 462342"/>
                <a:gd name="connsiteY25" fmla="*/ 65272 h 677195"/>
                <a:gd name="connsiteX26" fmla="*/ 114226 w 462342"/>
                <a:gd name="connsiteY26" fmla="*/ 0 h 677195"/>
                <a:gd name="connsiteX27" fmla="*/ 127824 w 462342"/>
                <a:gd name="connsiteY27" fmla="*/ 0 h 677195"/>
                <a:gd name="connsiteX28" fmla="*/ 146862 w 462342"/>
                <a:gd name="connsiteY28" fmla="*/ 2720 h 677195"/>
                <a:gd name="connsiteX29" fmla="*/ 174059 w 462342"/>
                <a:gd name="connsiteY29" fmla="*/ 21758 h 677195"/>
                <a:gd name="connsiteX30" fmla="*/ 193096 w 462342"/>
                <a:gd name="connsiteY30" fmla="*/ 21758 h 677195"/>
                <a:gd name="connsiteX31" fmla="*/ 261088 w 462342"/>
                <a:gd name="connsiteY31" fmla="*/ 27197 h 677195"/>
                <a:gd name="connsiteX32" fmla="*/ 310042 w 462342"/>
                <a:gd name="connsiteY32" fmla="*/ 35356 h 677195"/>
                <a:gd name="connsiteX33" fmla="*/ 334518 w 462342"/>
                <a:gd name="connsiteY33" fmla="*/ 40795 h 677195"/>
                <a:gd name="connsiteX34" fmla="*/ 356276 w 462342"/>
                <a:gd name="connsiteY34" fmla="*/ 59833 h 677195"/>
                <a:gd name="connsiteX35" fmla="*/ 372593 w 462342"/>
                <a:gd name="connsiteY35" fmla="*/ 76151 h 677195"/>
                <a:gd name="connsiteX36" fmla="*/ 380752 w 462342"/>
                <a:gd name="connsiteY36" fmla="*/ 95188 h 677195"/>
                <a:gd name="connsiteX37" fmla="*/ 405230 w 462342"/>
                <a:gd name="connsiteY37" fmla="*/ 114226 h 677195"/>
                <a:gd name="connsiteX38" fmla="*/ 416108 w 462342"/>
                <a:gd name="connsiteY38" fmla="*/ 141422 h 677195"/>
                <a:gd name="connsiteX39" fmla="*/ 451464 w 462342"/>
                <a:gd name="connsiteY39" fmla="*/ 201256 h 677195"/>
                <a:gd name="connsiteX40" fmla="*/ 456903 w 462342"/>
                <a:gd name="connsiteY40" fmla="*/ 252929 h 677195"/>
                <a:gd name="connsiteX41" fmla="*/ 456903 w 462342"/>
                <a:gd name="connsiteY41" fmla="*/ 291004 h 677195"/>
                <a:gd name="connsiteX42" fmla="*/ 459623 w 462342"/>
                <a:gd name="connsiteY42" fmla="*/ 318201 h 677195"/>
                <a:gd name="connsiteX43" fmla="*/ 459623 w 462342"/>
                <a:gd name="connsiteY43" fmla="*/ 326360 h 677195"/>
                <a:gd name="connsiteX44" fmla="*/ 459623 w 462342"/>
                <a:gd name="connsiteY44" fmla="*/ 348117 h 677195"/>
                <a:gd name="connsiteX45" fmla="*/ 462342 w 462342"/>
                <a:gd name="connsiteY45" fmla="*/ 367155 h 677195"/>
                <a:gd name="connsiteX46" fmla="*/ 456903 w 462342"/>
                <a:gd name="connsiteY46" fmla="*/ 391632 h 677195"/>
                <a:gd name="connsiteX47" fmla="*/ 456903 w 462342"/>
                <a:gd name="connsiteY47" fmla="*/ 418828 h 677195"/>
                <a:gd name="connsiteX48" fmla="*/ 451464 w 462342"/>
                <a:gd name="connsiteY48" fmla="*/ 437866 h 677195"/>
                <a:gd name="connsiteX49" fmla="*/ 446025 w 462342"/>
                <a:gd name="connsiteY49" fmla="*/ 454184 h 677195"/>
                <a:gd name="connsiteX50" fmla="*/ 440585 w 462342"/>
                <a:gd name="connsiteY50" fmla="*/ 481380 h 677195"/>
                <a:gd name="connsiteX51" fmla="*/ 432426 w 462342"/>
                <a:gd name="connsiteY51" fmla="*/ 508577 h 677195"/>
                <a:gd name="connsiteX52" fmla="*/ 418828 w 462342"/>
                <a:gd name="connsiteY52" fmla="*/ 530334 h 677195"/>
                <a:gd name="connsiteX53" fmla="*/ 410669 w 462342"/>
                <a:gd name="connsiteY53" fmla="*/ 549371 h 677195"/>
                <a:gd name="connsiteX54" fmla="*/ 391631 w 462342"/>
                <a:gd name="connsiteY54" fmla="*/ 579288 h 677195"/>
                <a:gd name="connsiteX55" fmla="*/ 337238 w 462342"/>
                <a:gd name="connsiteY55" fmla="*/ 630961 h 677195"/>
                <a:gd name="connsiteX56" fmla="*/ 301883 w 462342"/>
                <a:gd name="connsiteY56" fmla="*/ 647279 h 677195"/>
                <a:gd name="connsiteX57" fmla="*/ 263807 w 462342"/>
                <a:gd name="connsiteY57" fmla="*/ 652718 h 677195"/>
                <a:gd name="connsiteX58" fmla="*/ 233891 w 462342"/>
                <a:gd name="connsiteY58" fmla="*/ 649999 h 677195"/>
                <a:gd name="connsiteX59" fmla="*/ 187657 w 462342"/>
                <a:gd name="connsiteY59" fmla="*/ 652718 h 677195"/>
                <a:gd name="connsiteX60" fmla="*/ 171339 w 462342"/>
                <a:gd name="connsiteY60" fmla="*/ 669036 h 677195"/>
                <a:gd name="connsiteX61" fmla="*/ 155021 w 462342"/>
                <a:gd name="connsiteY61" fmla="*/ 671756 h 677195"/>
                <a:gd name="connsiteX62" fmla="*/ 138703 w 462342"/>
                <a:gd name="connsiteY62" fmla="*/ 674476 h 677195"/>
                <a:gd name="connsiteX63" fmla="*/ 125105 w 462342"/>
                <a:gd name="connsiteY63" fmla="*/ 677195 h 677195"/>
                <a:gd name="connsiteX64" fmla="*/ 106067 w 462342"/>
                <a:gd name="connsiteY64" fmla="*/ 671756 h 677195"/>
                <a:gd name="connsiteX65" fmla="*/ 87029 w 462342"/>
                <a:gd name="connsiteY65" fmla="*/ 658158 h 677195"/>
                <a:gd name="connsiteX66" fmla="*/ 81590 w 462342"/>
                <a:gd name="connsiteY66" fmla="*/ 652718 h 677195"/>
                <a:gd name="connsiteX67" fmla="*/ 67992 w 462342"/>
                <a:gd name="connsiteY67" fmla="*/ 652718 h 677195"/>
                <a:gd name="connsiteX68" fmla="*/ 43515 w 462342"/>
                <a:gd name="connsiteY68" fmla="*/ 652718 h 677195"/>
                <a:gd name="connsiteX69" fmla="*/ 16318 w 462342"/>
                <a:gd name="connsiteY69" fmla="*/ 647279 h 677195"/>
                <a:gd name="connsiteX70" fmla="*/ 0 w 462342"/>
                <a:gd name="connsiteY70" fmla="*/ 630961 h 677195"/>
                <a:gd name="connsiteX71" fmla="*/ 5439 w 462342"/>
                <a:gd name="connsiteY71" fmla="*/ 620083 h 677195"/>
                <a:gd name="connsiteX72" fmla="*/ 27197 w 462342"/>
                <a:gd name="connsiteY72" fmla="*/ 611924 h 677195"/>
                <a:gd name="connsiteX73" fmla="*/ 65272 w 462342"/>
                <a:gd name="connsiteY73" fmla="*/ 609204 h 677195"/>
                <a:gd name="connsiteX74" fmla="*/ 65272 w 462342"/>
                <a:gd name="connsiteY74" fmla="*/ 584727 h 677195"/>
                <a:gd name="connsiteX75" fmla="*/ 62552 w 462342"/>
                <a:gd name="connsiteY75" fmla="*/ 456903 h 677195"/>
                <a:gd name="connsiteX76" fmla="*/ 65272 w 462342"/>
                <a:gd name="connsiteY76" fmla="*/ 337238 h 677195"/>
                <a:gd name="connsiteX77" fmla="*/ 67992 w 462342"/>
                <a:gd name="connsiteY77" fmla="*/ 203975 h 677195"/>
                <a:gd name="connsiteX78" fmla="*/ 70712 w 462342"/>
                <a:gd name="connsiteY78" fmla="*/ 119665 h 677195"/>
                <a:gd name="connsiteX79" fmla="*/ 73431 w 462342"/>
                <a:gd name="connsiteY79" fmla="*/ 67992 h 677195"/>
                <a:gd name="connsiteX80" fmla="*/ 67992 w 462342"/>
                <a:gd name="connsiteY80" fmla="*/ 67992 h 677195"/>
                <a:gd name="connsiteX81" fmla="*/ 43515 w 462342"/>
                <a:gd name="connsiteY81" fmla="*/ 67992 h 677195"/>
                <a:gd name="connsiteX82" fmla="*/ 16318 w 462342"/>
                <a:gd name="connsiteY82" fmla="*/ 62552 h 677195"/>
                <a:gd name="connsiteX83" fmla="*/ 0 w 462342"/>
                <a:gd name="connsiteY83" fmla="*/ 46234 h 677195"/>
                <a:gd name="connsiteX84" fmla="*/ 5439 w 462342"/>
                <a:gd name="connsiteY84" fmla="*/ 35356 h 677195"/>
                <a:gd name="connsiteX85" fmla="*/ 27197 w 462342"/>
                <a:gd name="connsiteY85" fmla="*/ 27197 h 677195"/>
                <a:gd name="connsiteX86" fmla="*/ 76151 w 462342"/>
                <a:gd name="connsiteY86" fmla="*/ 21758 h 677195"/>
                <a:gd name="connsiteX87" fmla="*/ 81590 w 462342"/>
                <a:gd name="connsiteY87" fmla="*/ 13598 h 677195"/>
                <a:gd name="connsiteX88" fmla="*/ 97908 w 462342"/>
                <a:gd name="connsiteY88" fmla="*/ 5439 h 677195"/>
                <a:gd name="connsiteX89" fmla="*/ 114226 w 462342"/>
                <a:gd name="connsiteY89" fmla="*/ 0 h 6771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</a:cxnLst>
              <a:rect l="l" t="t" r="r" b="b"/>
              <a:pathLst>
                <a:path w="462342" h="677195">
                  <a:moveTo>
                    <a:pt x="214853" y="65272"/>
                  </a:moveTo>
                  <a:cubicBezTo>
                    <a:pt x="203975" y="65272"/>
                    <a:pt x="195815" y="67992"/>
                    <a:pt x="195815" y="73431"/>
                  </a:cubicBezTo>
                  <a:cubicBezTo>
                    <a:pt x="193096" y="78870"/>
                    <a:pt x="193096" y="100628"/>
                    <a:pt x="193096" y="125105"/>
                  </a:cubicBezTo>
                  <a:cubicBezTo>
                    <a:pt x="193096" y="182217"/>
                    <a:pt x="193096" y="266527"/>
                    <a:pt x="190376" y="280125"/>
                  </a:cubicBezTo>
                  <a:cubicBezTo>
                    <a:pt x="190376" y="288284"/>
                    <a:pt x="190376" y="293723"/>
                    <a:pt x="190376" y="301882"/>
                  </a:cubicBezTo>
                  <a:cubicBezTo>
                    <a:pt x="190376" y="315480"/>
                    <a:pt x="190376" y="329079"/>
                    <a:pt x="193096" y="342677"/>
                  </a:cubicBezTo>
                  <a:cubicBezTo>
                    <a:pt x="193096" y="361715"/>
                    <a:pt x="193096" y="378033"/>
                    <a:pt x="195815" y="397070"/>
                  </a:cubicBezTo>
                  <a:cubicBezTo>
                    <a:pt x="195815" y="413388"/>
                    <a:pt x="195815" y="426986"/>
                    <a:pt x="195815" y="443304"/>
                  </a:cubicBezTo>
                  <a:cubicBezTo>
                    <a:pt x="195815" y="465061"/>
                    <a:pt x="198535" y="508576"/>
                    <a:pt x="195815" y="530333"/>
                  </a:cubicBezTo>
                  <a:cubicBezTo>
                    <a:pt x="195815" y="538492"/>
                    <a:pt x="193096" y="546651"/>
                    <a:pt x="193096" y="554810"/>
                  </a:cubicBezTo>
                  <a:cubicBezTo>
                    <a:pt x="193096" y="560249"/>
                    <a:pt x="190376" y="590166"/>
                    <a:pt x="190376" y="603764"/>
                  </a:cubicBezTo>
                  <a:cubicBezTo>
                    <a:pt x="190376" y="609203"/>
                    <a:pt x="190376" y="611923"/>
                    <a:pt x="198535" y="611923"/>
                  </a:cubicBezTo>
                  <a:cubicBezTo>
                    <a:pt x="206694" y="611923"/>
                    <a:pt x="209414" y="611923"/>
                    <a:pt x="214853" y="611923"/>
                  </a:cubicBezTo>
                  <a:cubicBezTo>
                    <a:pt x="223012" y="611923"/>
                    <a:pt x="220293" y="611923"/>
                    <a:pt x="236610" y="611923"/>
                  </a:cubicBezTo>
                  <a:cubicBezTo>
                    <a:pt x="242050" y="611923"/>
                    <a:pt x="258368" y="601044"/>
                    <a:pt x="263807" y="598325"/>
                  </a:cubicBezTo>
                  <a:cubicBezTo>
                    <a:pt x="266527" y="598325"/>
                    <a:pt x="274686" y="592885"/>
                    <a:pt x="277405" y="592885"/>
                  </a:cubicBezTo>
                  <a:cubicBezTo>
                    <a:pt x="285564" y="587446"/>
                    <a:pt x="288284" y="579287"/>
                    <a:pt x="291004" y="573848"/>
                  </a:cubicBezTo>
                  <a:cubicBezTo>
                    <a:pt x="296443" y="562969"/>
                    <a:pt x="301882" y="554810"/>
                    <a:pt x="307322" y="543931"/>
                  </a:cubicBezTo>
                  <a:cubicBezTo>
                    <a:pt x="315481" y="524894"/>
                    <a:pt x="320920" y="524894"/>
                    <a:pt x="326359" y="481379"/>
                  </a:cubicBezTo>
                  <a:cubicBezTo>
                    <a:pt x="329079" y="456903"/>
                    <a:pt x="334518" y="435145"/>
                    <a:pt x="337238" y="413388"/>
                  </a:cubicBezTo>
                  <a:cubicBezTo>
                    <a:pt x="337238" y="391631"/>
                    <a:pt x="337238" y="369873"/>
                    <a:pt x="337238" y="350836"/>
                  </a:cubicBezTo>
                  <a:cubicBezTo>
                    <a:pt x="337238" y="339957"/>
                    <a:pt x="337238" y="320920"/>
                    <a:pt x="334518" y="296443"/>
                  </a:cubicBezTo>
                  <a:cubicBezTo>
                    <a:pt x="331798" y="269246"/>
                    <a:pt x="329079" y="250209"/>
                    <a:pt x="329079" y="244769"/>
                  </a:cubicBezTo>
                  <a:cubicBezTo>
                    <a:pt x="323640" y="206694"/>
                    <a:pt x="318200" y="174058"/>
                    <a:pt x="307322" y="135983"/>
                  </a:cubicBezTo>
                  <a:cubicBezTo>
                    <a:pt x="304602" y="125105"/>
                    <a:pt x="304602" y="108787"/>
                    <a:pt x="271966" y="78870"/>
                  </a:cubicBezTo>
                  <a:cubicBezTo>
                    <a:pt x="263807" y="73431"/>
                    <a:pt x="233891" y="65272"/>
                    <a:pt x="214853" y="65272"/>
                  </a:cubicBezTo>
                  <a:close/>
                  <a:moveTo>
                    <a:pt x="114226" y="0"/>
                  </a:moveTo>
                  <a:cubicBezTo>
                    <a:pt x="119665" y="0"/>
                    <a:pt x="125105" y="0"/>
                    <a:pt x="127824" y="0"/>
                  </a:cubicBezTo>
                  <a:cubicBezTo>
                    <a:pt x="133264" y="0"/>
                    <a:pt x="141422" y="0"/>
                    <a:pt x="146862" y="2720"/>
                  </a:cubicBezTo>
                  <a:cubicBezTo>
                    <a:pt x="157741" y="5439"/>
                    <a:pt x="165900" y="13598"/>
                    <a:pt x="174059" y="21758"/>
                  </a:cubicBezTo>
                  <a:cubicBezTo>
                    <a:pt x="179498" y="21758"/>
                    <a:pt x="187657" y="21758"/>
                    <a:pt x="193096" y="21758"/>
                  </a:cubicBezTo>
                  <a:cubicBezTo>
                    <a:pt x="212134" y="21758"/>
                    <a:pt x="228452" y="27197"/>
                    <a:pt x="261088" y="27197"/>
                  </a:cubicBezTo>
                  <a:cubicBezTo>
                    <a:pt x="277405" y="27197"/>
                    <a:pt x="293723" y="35356"/>
                    <a:pt x="310042" y="35356"/>
                  </a:cubicBezTo>
                  <a:cubicBezTo>
                    <a:pt x="318200" y="35356"/>
                    <a:pt x="329079" y="35356"/>
                    <a:pt x="334518" y="40795"/>
                  </a:cubicBezTo>
                  <a:cubicBezTo>
                    <a:pt x="342677" y="46234"/>
                    <a:pt x="348117" y="54393"/>
                    <a:pt x="356276" y="59833"/>
                  </a:cubicBezTo>
                  <a:cubicBezTo>
                    <a:pt x="361715" y="65272"/>
                    <a:pt x="369874" y="67992"/>
                    <a:pt x="372593" y="76151"/>
                  </a:cubicBezTo>
                  <a:cubicBezTo>
                    <a:pt x="375313" y="81590"/>
                    <a:pt x="378033" y="89749"/>
                    <a:pt x="380752" y="95188"/>
                  </a:cubicBezTo>
                  <a:cubicBezTo>
                    <a:pt x="386192" y="103347"/>
                    <a:pt x="391631" y="106067"/>
                    <a:pt x="405230" y="114226"/>
                  </a:cubicBezTo>
                  <a:cubicBezTo>
                    <a:pt x="413388" y="119665"/>
                    <a:pt x="410669" y="133263"/>
                    <a:pt x="416108" y="141422"/>
                  </a:cubicBezTo>
                  <a:cubicBezTo>
                    <a:pt x="426987" y="160461"/>
                    <a:pt x="446025" y="182218"/>
                    <a:pt x="451464" y="201256"/>
                  </a:cubicBezTo>
                  <a:cubicBezTo>
                    <a:pt x="456903" y="220293"/>
                    <a:pt x="456903" y="236611"/>
                    <a:pt x="456903" y="252929"/>
                  </a:cubicBezTo>
                  <a:cubicBezTo>
                    <a:pt x="456903" y="266527"/>
                    <a:pt x="456903" y="277406"/>
                    <a:pt x="456903" y="291004"/>
                  </a:cubicBezTo>
                  <a:cubicBezTo>
                    <a:pt x="456903" y="299163"/>
                    <a:pt x="456903" y="307322"/>
                    <a:pt x="459623" y="318201"/>
                  </a:cubicBezTo>
                  <a:cubicBezTo>
                    <a:pt x="459623" y="320921"/>
                    <a:pt x="459623" y="323640"/>
                    <a:pt x="459623" y="326360"/>
                  </a:cubicBezTo>
                  <a:cubicBezTo>
                    <a:pt x="462342" y="331799"/>
                    <a:pt x="459623" y="337238"/>
                    <a:pt x="459623" y="348117"/>
                  </a:cubicBezTo>
                  <a:cubicBezTo>
                    <a:pt x="459623" y="350837"/>
                    <a:pt x="462342" y="361715"/>
                    <a:pt x="462342" y="367155"/>
                  </a:cubicBezTo>
                  <a:cubicBezTo>
                    <a:pt x="462342" y="375314"/>
                    <a:pt x="456903" y="383473"/>
                    <a:pt x="456903" y="391632"/>
                  </a:cubicBezTo>
                  <a:cubicBezTo>
                    <a:pt x="456903" y="399790"/>
                    <a:pt x="456903" y="410669"/>
                    <a:pt x="456903" y="418828"/>
                  </a:cubicBezTo>
                  <a:cubicBezTo>
                    <a:pt x="456903" y="421548"/>
                    <a:pt x="454183" y="429707"/>
                    <a:pt x="451464" y="437866"/>
                  </a:cubicBezTo>
                  <a:cubicBezTo>
                    <a:pt x="448744" y="443305"/>
                    <a:pt x="448744" y="451464"/>
                    <a:pt x="446025" y="454184"/>
                  </a:cubicBezTo>
                  <a:cubicBezTo>
                    <a:pt x="443305" y="462343"/>
                    <a:pt x="440585" y="473221"/>
                    <a:pt x="440585" y="481380"/>
                  </a:cubicBezTo>
                  <a:cubicBezTo>
                    <a:pt x="437865" y="489539"/>
                    <a:pt x="437865" y="500418"/>
                    <a:pt x="432426" y="508577"/>
                  </a:cubicBezTo>
                  <a:cubicBezTo>
                    <a:pt x="429706" y="516736"/>
                    <a:pt x="424267" y="522175"/>
                    <a:pt x="418828" y="530334"/>
                  </a:cubicBezTo>
                  <a:cubicBezTo>
                    <a:pt x="416108" y="535773"/>
                    <a:pt x="413388" y="543932"/>
                    <a:pt x="410669" y="549371"/>
                  </a:cubicBezTo>
                  <a:cubicBezTo>
                    <a:pt x="405230" y="557531"/>
                    <a:pt x="397071" y="573848"/>
                    <a:pt x="391631" y="579288"/>
                  </a:cubicBezTo>
                  <a:cubicBezTo>
                    <a:pt x="369874" y="609204"/>
                    <a:pt x="350836" y="620083"/>
                    <a:pt x="337238" y="630961"/>
                  </a:cubicBezTo>
                  <a:cubicBezTo>
                    <a:pt x="326359" y="639120"/>
                    <a:pt x="315481" y="641840"/>
                    <a:pt x="301883" y="647279"/>
                  </a:cubicBezTo>
                  <a:cubicBezTo>
                    <a:pt x="291004" y="649999"/>
                    <a:pt x="277405" y="652718"/>
                    <a:pt x="263807" y="652718"/>
                  </a:cubicBezTo>
                  <a:cubicBezTo>
                    <a:pt x="252929" y="652718"/>
                    <a:pt x="244770" y="649999"/>
                    <a:pt x="233891" y="649999"/>
                  </a:cubicBezTo>
                  <a:cubicBezTo>
                    <a:pt x="206694" y="649999"/>
                    <a:pt x="217573" y="652718"/>
                    <a:pt x="187657" y="652718"/>
                  </a:cubicBezTo>
                  <a:cubicBezTo>
                    <a:pt x="184937" y="660877"/>
                    <a:pt x="179498" y="666317"/>
                    <a:pt x="171339" y="669036"/>
                  </a:cubicBezTo>
                  <a:cubicBezTo>
                    <a:pt x="165900" y="671756"/>
                    <a:pt x="160460" y="671756"/>
                    <a:pt x="155021" y="671756"/>
                  </a:cubicBezTo>
                  <a:cubicBezTo>
                    <a:pt x="149581" y="671756"/>
                    <a:pt x="144142" y="674476"/>
                    <a:pt x="138703" y="674476"/>
                  </a:cubicBezTo>
                  <a:cubicBezTo>
                    <a:pt x="135983" y="674476"/>
                    <a:pt x="127824" y="677195"/>
                    <a:pt x="125105" y="677195"/>
                  </a:cubicBezTo>
                  <a:cubicBezTo>
                    <a:pt x="116946" y="677195"/>
                    <a:pt x="108787" y="671756"/>
                    <a:pt x="106067" y="671756"/>
                  </a:cubicBezTo>
                  <a:cubicBezTo>
                    <a:pt x="100628" y="669036"/>
                    <a:pt x="95188" y="663597"/>
                    <a:pt x="87029" y="658158"/>
                  </a:cubicBezTo>
                  <a:cubicBezTo>
                    <a:pt x="84310" y="655438"/>
                    <a:pt x="81590" y="655438"/>
                    <a:pt x="81590" y="652718"/>
                  </a:cubicBezTo>
                  <a:cubicBezTo>
                    <a:pt x="73431" y="652718"/>
                    <a:pt x="81590" y="652718"/>
                    <a:pt x="67992" y="652718"/>
                  </a:cubicBezTo>
                  <a:cubicBezTo>
                    <a:pt x="59833" y="652718"/>
                    <a:pt x="51674" y="652718"/>
                    <a:pt x="43515" y="652718"/>
                  </a:cubicBezTo>
                  <a:cubicBezTo>
                    <a:pt x="35356" y="652718"/>
                    <a:pt x="24477" y="652718"/>
                    <a:pt x="16318" y="647279"/>
                  </a:cubicBezTo>
                  <a:cubicBezTo>
                    <a:pt x="8159" y="644559"/>
                    <a:pt x="0" y="636401"/>
                    <a:pt x="0" y="630961"/>
                  </a:cubicBezTo>
                  <a:cubicBezTo>
                    <a:pt x="0" y="625522"/>
                    <a:pt x="0" y="622802"/>
                    <a:pt x="5439" y="620083"/>
                  </a:cubicBezTo>
                  <a:cubicBezTo>
                    <a:pt x="10879" y="617363"/>
                    <a:pt x="21758" y="614643"/>
                    <a:pt x="27197" y="611924"/>
                  </a:cubicBezTo>
                  <a:cubicBezTo>
                    <a:pt x="38076" y="609204"/>
                    <a:pt x="54393" y="609204"/>
                    <a:pt x="65272" y="609204"/>
                  </a:cubicBezTo>
                  <a:cubicBezTo>
                    <a:pt x="65272" y="601045"/>
                    <a:pt x="65272" y="592886"/>
                    <a:pt x="65272" y="584727"/>
                  </a:cubicBezTo>
                  <a:cubicBezTo>
                    <a:pt x="65272" y="541213"/>
                    <a:pt x="62552" y="500418"/>
                    <a:pt x="62552" y="456903"/>
                  </a:cubicBezTo>
                  <a:cubicBezTo>
                    <a:pt x="62552" y="440585"/>
                    <a:pt x="65272" y="397071"/>
                    <a:pt x="65272" y="337238"/>
                  </a:cubicBezTo>
                  <a:cubicBezTo>
                    <a:pt x="65272" y="293724"/>
                    <a:pt x="67992" y="247490"/>
                    <a:pt x="67992" y="203975"/>
                  </a:cubicBezTo>
                  <a:cubicBezTo>
                    <a:pt x="67992" y="179498"/>
                    <a:pt x="67992" y="149582"/>
                    <a:pt x="70712" y="119665"/>
                  </a:cubicBezTo>
                  <a:cubicBezTo>
                    <a:pt x="70712" y="103347"/>
                    <a:pt x="73431" y="84309"/>
                    <a:pt x="73431" y="67992"/>
                  </a:cubicBezTo>
                  <a:cubicBezTo>
                    <a:pt x="73431" y="67992"/>
                    <a:pt x="70712" y="67992"/>
                    <a:pt x="67992" y="67992"/>
                  </a:cubicBezTo>
                  <a:cubicBezTo>
                    <a:pt x="59833" y="67992"/>
                    <a:pt x="51674" y="67992"/>
                    <a:pt x="43515" y="67992"/>
                  </a:cubicBezTo>
                  <a:cubicBezTo>
                    <a:pt x="35356" y="67992"/>
                    <a:pt x="24477" y="67992"/>
                    <a:pt x="16318" y="62552"/>
                  </a:cubicBezTo>
                  <a:cubicBezTo>
                    <a:pt x="8159" y="59833"/>
                    <a:pt x="0" y="51674"/>
                    <a:pt x="0" y="46234"/>
                  </a:cubicBezTo>
                  <a:cubicBezTo>
                    <a:pt x="0" y="43515"/>
                    <a:pt x="0" y="38075"/>
                    <a:pt x="5439" y="35356"/>
                  </a:cubicBezTo>
                  <a:cubicBezTo>
                    <a:pt x="10879" y="32636"/>
                    <a:pt x="21758" y="29916"/>
                    <a:pt x="27197" y="27197"/>
                  </a:cubicBezTo>
                  <a:cubicBezTo>
                    <a:pt x="46234" y="24477"/>
                    <a:pt x="65272" y="21758"/>
                    <a:pt x="76151" y="21758"/>
                  </a:cubicBezTo>
                  <a:cubicBezTo>
                    <a:pt x="76151" y="19038"/>
                    <a:pt x="78871" y="16318"/>
                    <a:pt x="81590" y="13598"/>
                  </a:cubicBezTo>
                  <a:cubicBezTo>
                    <a:pt x="84310" y="10879"/>
                    <a:pt x="92469" y="5439"/>
                    <a:pt x="97908" y="5439"/>
                  </a:cubicBezTo>
                  <a:cubicBezTo>
                    <a:pt x="103347" y="2720"/>
                    <a:pt x="108787" y="0"/>
                    <a:pt x="114226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/>
            </a:p>
          </p:txBody>
        </p:sp>
        <p:sp>
          <p:nvSpPr>
            <p:cNvPr id="44" name="Freeform: Shape 43">
              <a:extLst>
                <a:ext uri="{FF2B5EF4-FFF2-40B4-BE49-F238E27FC236}">
                  <a16:creationId xmlns:a16="http://schemas.microsoft.com/office/drawing/2014/main" id="{DACE59F3-2EE9-4012-9B0E-5DB4FD2A2FEB}"/>
                </a:ext>
              </a:extLst>
            </p:cNvPr>
            <p:cNvSpPr/>
            <p:nvPr/>
          </p:nvSpPr>
          <p:spPr>
            <a:xfrm>
              <a:off x="7310622" y="4197597"/>
              <a:ext cx="489539" cy="761503"/>
            </a:xfrm>
            <a:custGeom>
              <a:avLst/>
              <a:gdLst>
                <a:gd name="connsiteX0" fmla="*/ 433491 w 489538"/>
                <a:gd name="connsiteY0" fmla="*/ 651063 h 761503"/>
                <a:gd name="connsiteX1" fmla="*/ 438930 w 489538"/>
                <a:gd name="connsiteY1" fmla="*/ 661942 h 761503"/>
                <a:gd name="connsiteX2" fmla="*/ 425332 w 489538"/>
                <a:gd name="connsiteY2" fmla="*/ 683699 h 761503"/>
                <a:gd name="connsiteX3" fmla="*/ 400855 w 489538"/>
                <a:gd name="connsiteY3" fmla="*/ 691858 h 761503"/>
                <a:gd name="connsiteX4" fmla="*/ 343742 w 489538"/>
                <a:gd name="connsiteY4" fmla="*/ 700017 h 761503"/>
                <a:gd name="connsiteX5" fmla="*/ 316546 w 489538"/>
                <a:gd name="connsiteY5" fmla="*/ 705456 h 761503"/>
                <a:gd name="connsiteX6" fmla="*/ 275751 w 489538"/>
                <a:gd name="connsiteY6" fmla="*/ 705456 h 761503"/>
                <a:gd name="connsiteX7" fmla="*/ 264872 w 489538"/>
                <a:gd name="connsiteY7" fmla="*/ 708176 h 761503"/>
                <a:gd name="connsiteX8" fmla="*/ 253994 w 489538"/>
                <a:gd name="connsiteY8" fmla="*/ 708176 h 761503"/>
                <a:gd name="connsiteX9" fmla="*/ 240395 w 489538"/>
                <a:gd name="connsiteY9" fmla="*/ 719054 h 761503"/>
                <a:gd name="connsiteX10" fmla="*/ 224077 w 489538"/>
                <a:gd name="connsiteY10" fmla="*/ 721774 h 761503"/>
                <a:gd name="connsiteX11" fmla="*/ 205040 w 489538"/>
                <a:gd name="connsiteY11" fmla="*/ 724494 h 761503"/>
                <a:gd name="connsiteX12" fmla="*/ 191441 w 489538"/>
                <a:gd name="connsiteY12" fmla="*/ 727213 h 761503"/>
                <a:gd name="connsiteX13" fmla="*/ 169684 w 489538"/>
                <a:gd name="connsiteY13" fmla="*/ 721774 h 761503"/>
                <a:gd name="connsiteX14" fmla="*/ 150646 w 489538"/>
                <a:gd name="connsiteY14" fmla="*/ 708176 h 761503"/>
                <a:gd name="connsiteX15" fmla="*/ 139768 w 489538"/>
                <a:gd name="connsiteY15" fmla="*/ 708176 h 761503"/>
                <a:gd name="connsiteX16" fmla="*/ 120730 w 489538"/>
                <a:gd name="connsiteY16" fmla="*/ 708176 h 761503"/>
                <a:gd name="connsiteX17" fmla="*/ 98973 w 489538"/>
                <a:gd name="connsiteY17" fmla="*/ 708176 h 761503"/>
                <a:gd name="connsiteX18" fmla="*/ 74496 w 489538"/>
                <a:gd name="connsiteY18" fmla="*/ 702736 h 761503"/>
                <a:gd name="connsiteX19" fmla="*/ 58178 w 489538"/>
                <a:gd name="connsiteY19" fmla="*/ 683699 h 761503"/>
                <a:gd name="connsiteX20" fmla="*/ 63617 w 489538"/>
                <a:gd name="connsiteY20" fmla="*/ 675540 h 761503"/>
                <a:gd name="connsiteX21" fmla="*/ 85375 w 489538"/>
                <a:gd name="connsiteY21" fmla="*/ 667381 h 761503"/>
                <a:gd name="connsiteX22" fmla="*/ 128889 w 489538"/>
                <a:gd name="connsiteY22" fmla="*/ 661942 h 761503"/>
                <a:gd name="connsiteX23" fmla="*/ 128889 w 489538"/>
                <a:gd name="connsiteY23" fmla="*/ 602109 h 761503"/>
                <a:gd name="connsiteX24" fmla="*/ 126170 w 489538"/>
                <a:gd name="connsiteY24" fmla="*/ 523239 h 761503"/>
                <a:gd name="connsiteX25" fmla="*/ 126170 w 489538"/>
                <a:gd name="connsiteY25" fmla="*/ 468846 h 761503"/>
                <a:gd name="connsiteX26" fmla="*/ 123450 w 489538"/>
                <a:gd name="connsiteY26" fmla="*/ 409014 h 761503"/>
                <a:gd name="connsiteX27" fmla="*/ 123450 w 489538"/>
                <a:gd name="connsiteY27" fmla="*/ 384537 h 761503"/>
                <a:gd name="connsiteX28" fmla="*/ 126170 w 489538"/>
                <a:gd name="connsiteY28" fmla="*/ 349181 h 761503"/>
                <a:gd name="connsiteX29" fmla="*/ 126170 w 489538"/>
                <a:gd name="connsiteY29" fmla="*/ 324704 h 761503"/>
                <a:gd name="connsiteX30" fmla="*/ 128889 w 489538"/>
                <a:gd name="connsiteY30" fmla="*/ 292068 h 761503"/>
                <a:gd name="connsiteX31" fmla="*/ 134329 w 489538"/>
                <a:gd name="connsiteY31" fmla="*/ 234956 h 761503"/>
                <a:gd name="connsiteX32" fmla="*/ 134329 w 489538"/>
                <a:gd name="connsiteY32" fmla="*/ 172404 h 761503"/>
                <a:gd name="connsiteX33" fmla="*/ 137048 w 489538"/>
                <a:gd name="connsiteY33" fmla="*/ 123450 h 761503"/>
                <a:gd name="connsiteX34" fmla="*/ 123450 w 489538"/>
                <a:gd name="connsiteY34" fmla="*/ 123450 h 761503"/>
                <a:gd name="connsiteX35" fmla="*/ 101693 w 489538"/>
                <a:gd name="connsiteY35" fmla="*/ 123450 h 761503"/>
                <a:gd name="connsiteX36" fmla="*/ 77216 w 489538"/>
                <a:gd name="connsiteY36" fmla="*/ 118011 h 761503"/>
                <a:gd name="connsiteX37" fmla="*/ 60898 w 489538"/>
                <a:gd name="connsiteY37" fmla="*/ 98973 h 761503"/>
                <a:gd name="connsiteX38" fmla="*/ 66337 w 489538"/>
                <a:gd name="connsiteY38" fmla="*/ 90814 h 761503"/>
                <a:gd name="connsiteX39" fmla="*/ 88094 w 489538"/>
                <a:gd name="connsiteY39" fmla="*/ 82655 h 761503"/>
                <a:gd name="connsiteX40" fmla="*/ 145207 w 489538"/>
                <a:gd name="connsiteY40" fmla="*/ 77216 h 761503"/>
                <a:gd name="connsiteX41" fmla="*/ 145207 w 489538"/>
                <a:gd name="connsiteY41" fmla="*/ 77216 h 761503"/>
                <a:gd name="connsiteX42" fmla="*/ 153366 w 489538"/>
                <a:gd name="connsiteY42" fmla="*/ 69057 h 761503"/>
                <a:gd name="connsiteX43" fmla="*/ 177843 w 489538"/>
                <a:gd name="connsiteY43" fmla="*/ 60898 h 761503"/>
                <a:gd name="connsiteX44" fmla="*/ 196881 w 489538"/>
                <a:gd name="connsiteY44" fmla="*/ 58178 h 761503"/>
                <a:gd name="connsiteX45" fmla="*/ 205040 w 489538"/>
                <a:gd name="connsiteY45" fmla="*/ 58178 h 761503"/>
                <a:gd name="connsiteX46" fmla="*/ 215919 w 489538"/>
                <a:gd name="connsiteY46" fmla="*/ 63617 h 761503"/>
                <a:gd name="connsiteX47" fmla="*/ 229517 w 489538"/>
                <a:gd name="connsiteY47" fmla="*/ 69057 h 761503"/>
                <a:gd name="connsiteX48" fmla="*/ 256713 w 489538"/>
                <a:gd name="connsiteY48" fmla="*/ 77216 h 761503"/>
                <a:gd name="connsiteX49" fmla="*/ 264872 w 489538"/>
                <a:gd name="connsiteY49" fmla="*/ 77216 h 761503"/>
                <a:gd name="connsiteX50" fmla="*/ 281190 w 489538"/>
                <a:gd name="connsiteY50" fmla="*/ 77216 h 761503"/>
                <a:gd name="connsiteX51" fmla="*/ 330144 w 489538"/>
                <a:gd name="connsiteY51" fmla="*/ 77216 h 761503"/>
                <a:gd name="connsiteX52" fmla="*/ 357341 w 489538"/>
                <a:gd name="connsiteY52" fmla="*/ 79935 h 761503"/>
                <a:gd name="connsiteX53" fmla="*/ 387257 w 489538"/>
                <a:gd name="connsiteY53" fmla="*/ 82655 h 761503"/>
                <a:gd name="connsiteX54" fmla="*/ 406295 w 489538"/>
                <a:gd name="connsiteY54" fmla="*/ 85375 h 761503"/>
                <a:gd name="connsiteX55" fmla="*/ 417173 w 489538"/>
                <a:gd name="connsiteY55" fmla="*/ 79935 h 761503"/>
                <a:gd name="connsiteX56" fmla="*/ 425332 w 489538"/>
                <a:gd name="connsiteY56" fmla="*/ 85375 h 761503"/>
                <a:gd name="connsiteX57" fmla="*/ 433491 w 489538"/>
                <a:gd name="connsiteY57" fmla="*/ 104412 h 761503"/>
                <a:gd name="connsiteX58" fmla="*/ 436211 w 489538"/>
                <a:gd name="connsiteY58" fmla="*/ 137048 h 761503"/>
                <a:gd name="connsiteX59" fmla="*/ 438930 w 489538"/>
                <a:gd name="connsiteY59" fmla="*/ 183282 h 761503"/>
                <a:gd name="connsiteX60" fmla="*/ 422612 w 489538"/>
                <a:gd name="connsiteY60" fmla="*/ 218638 h 761503"/>
                <a:gd name="connsiteX61" fmla="*/ 406295 w 489538"/>
                <a:gd name="connsiteY61" fmla="*/ 213198 h 761503"/>
                <a:gd name="connsiteX62" fmla="*/ 398136 w 489538"/>
                <a:gd name="connsiteY62" fmla="*/ 196881 h 761503"/>
                <a:gd name="connsiteX63" fmla="*/ 395416 w 489538"/>
                <a:gd name="connsiteY63" fmla="*/ 175123 h 761503"/>
                <a:gd name="connsiteX64" fmla="*/ 395416 w 489538"/>
                <a:gd name="connsiteY64" fmla="*/ 153366 h 761503"/>
                <a:gd name="connsiteX65" fmla="*/ 395416 w 489538"/>
                <a:gd name="connsiteY65" fmla="*/ 126170 h 761503"/>
                <a:gd name="connsiteX66" fmla="*/ 370939 w 489538"/>
                <a:gd name="connsiteY66" fmla="*/ 128889 h 761503"/>
                <a:gd name="connsiteX67" fmla="*/ 338303 w 489538"/>
                <a:gd name="connsiteY67" fmla="*/ 131609 h 761503"/>
                <a:gd name="connsiteX68" fmla="*/ 286629 w 489538"/>
                <a:gd name="connsiteY68" fmla="*/ 134328 h 761503"/>
                <a:gd name="connsiteX69" fmla="*/ 273031 w 489538"/>
                <a:gd name="connsiteY69" fmla="*/ 137048 h 761503"/>
                <a:gd name="connsiteX70" fmla="*/ 262153 w 489538"/>
                <a:gd name="connsiteY70" fmla="*/ 142487 h 761503"/>
                <a:gd name="connsiteX71" fmla="*/ 259433 w 489538"/>
                <a:gd name="connsiteY71" fmla="*/ 153366 h 761503"/>
                <a:gd name="connsiteX72" fmla="*/ 262153 w 489538"/>
                <a:gd name="connsiteY72" fmla="*/ 166964 h 761503"/>
                <a:gd name="connsiteX73" fmla="*/ 262153 w 489538"/>
                <a:gd name="connsiteY73" fmla="*/ 196881 h 761503"/>
                <a:gd name="connsiteX74" fmla="*/ 262153 w 489538"/>
                <a:gd name="connsiteY74" fmla="*/ 215918 h 761503"/>
                <a:gd name="connsiteX75" fmla="*/ 262153 w 489538"/>
                <a:gd name="connsiteY75" fmla="*/ 251274 h 761503"/>
                <a:gd name="connsiteX76" fmla="*/ 259433 w 489538"/>
                <a:gd name="connsiteY76" fmla="*/ 278470 h 761503"/>
                <a:gd name="connsiteX77" fmla="*/ 259433 w 489538"/>
                <a:gd name="connsiteY77" fmla="*/ 308386 h 761503"/>
                <a:gd name="connsiteX78" fmla="*/ 259433 w 489538"/>
                <a:gd name="connsiteY78" fmla="*/ 321985 h 761503"/>
                <a:gd name="connsiteX79" fmla="*/ 259433 w 489538"/>
                <a:gd name="connsiteY79" fmla="*/ 332863 h 761503"/>
                <a:gd name="connsiteX80" fmla="*/ 267592 w 489538"/>
                <a:gd name="connsiteY80" fmla="*/ 335583 h 761503"/>
                <a:gd name="connsiteX81" fmla="*/ 281190 w 489538"/>
                <a:gd name="connsiteY81" fmla="*/ 335583 h 761503"/>
                <a:gd name="connsiteX82" fmla="*/ 327424 w 489538"/>
                <a:gd name="connsiteY82" fmla="*/ 338303 h 761503"/>
                <a:gd name="connsiteX83" fmla="*/ 351901 w 489538"/>
                <a:gd name="connsiteY83" fmla="*/ 341022 h 761503"/>
                <a:gd name="connsiteX84" fmla="*/ 351901 w 489538"/>
                <a:gd name="connsiteY84" fmla="*/ 335583 h 761503"/>
                <a:gd name="connsiteX85" fmla="*/ 351901 w 489538"/>
                <a:gd name="connsiteY85" fmla="*/ 313826 h 761503"/>
                <a:gd name="connsiteX86" fmla="*/ 357341 w 489538"/>
                <a:gd name="connsiteY86" fmla="*/ 289349 h 761503"/>
                <a:gd name="connsiteX87" fmla="*/ 373658 w 489538"/>
                <a:gd name="connsiteY87" fmla="*/ 273031 h 761503"/>
                <a:gd name="connsiteX88" fmla="*/ 381817 w 489538"/>
                <a:gd name="connsiteY88" fmla="*/ 278470 h 761503"/>
                <a:gd name="connsiteX89" fmla="*/ 389977 w 489538"/>
                <a:gd name="connsiteY89" fmla="*/ 300228 h 761503"/>
                <a:gd name="connsiteX90" fmla="*/ 395416 w 489538"/>
                <a:gd name="connsiteY90" fmla="*/ 351901 h 761503"/>
                <a:gd name="connsiteX91" fmla="*/ 398136 w 489538"/>
                <a:gd name="connsiteY91" fmla="*/ 409014 h 761503"/>
                <a:gd name="connsiteX92" fmla="*/ 381817 w 489538"/>
                <a:gd name="connsiteY92" fmla="*/ 444369 h 761503"/>
                <a:gd name="connsiteX93" fmla="*/ 365500 w 489538"/>
                <a:gd name="connsiteY93" fmla="*/ 438930 h 761503"/>
                <a:gd name="connsiteX94" fmla="*/ 357341 w 489538"/>
                <a:gd name="connsiteY94" fmla="*/ 422612 h 761503"/>
                <a:gd name="connsiteX95" fmla="*/ 354621 w 489538"/>
                <a:gd name="connsiteY95" fmla="*/ 400855 h 761503"/>
                <a:gd name="connsiteX96" fmla="*/ 354621 w 489538"/>
                <a:gd name="connsiteY96" fmla="*/ 381817 h 761503"/>
                <a:gd name="connsiteX97" fmla="*/ 270312 w 489538"/>
                <a:gd name="connsiteY97" fmla="*/ 381817 h 761503"/>
                <a:gd name="connsiteX98" fmla="*/ 256713 w 489538"/>
                <a:gd name="connsiteY98" fmla="*/ 395415 h 761503"/>
                <a:gd name="connsiteX99" fmla="*/ 253994 w 489538"/>
                <a:gd name="connsiteY99" fmla="*/ 422612 h 761503"/>
                <a:gd name="connsiteX100" fmla="*/ 253994 w 489538"/>
                <a:gd name="connsiteY100" fmla="*/ 433490 h 761503"/>
                <a:gd name="connsiteX101" fmla="*/ 253994 w 489538"/>
                <a:gd name="connsiteY101" fmla="*/ 449809 h 761503"/>
                <a:gd name="connsiteX102" fmla="*/ 256713 w 489538"/>
                <a:gd name="connsiteY102" fmla="*/ 474285 h 761503"/>
                <a:gd name="connsiteX103" fmla="*/ 256713 w 489538"/>
                <a:gd name="connsiteY103" fmla="*/ 496043 h 761503"/>
                <a:gd name="connsiteX104" fmla="*/ 259433 w 489538"/>
                <a:gd name="connsiteY104" fmla="*/ 534118 h 761503"/>
                <a:gd name="connsiteX105" fmla="*/ 259433 w 489538"/>
                <a:gd name="connsiteY105" fmla="*/ 591231 h 761503"/>
                <a:gd name="connsiteX106" fmla="*/ 262153 w 489538"/>
                <a:gd name="connsiteY106" fmla="*/ 618427 h 761503"/>
                <a:gd name="connsiteX107" fmla="*/ 267592 w 489538"/>
                <a:gd name="connsiteY107" fmla="*/ 648343 h 761503"/>
                <a:gd name="connsiteX108" fmla="*/ 292069 w 489538"/>
                <a:gd name="connsiteY108" fmla="*/ 651063 h 761503"/>
                <a:gd name="connsiteX109" fmla="*/ 327424 w 489538"/>
                <a:gd name="connsiteY109" fmla="*/ 651063 h 761503"/>
                <a:gd name="connsiteX110" fmla="*/ 362780 w 489538"/>
                <a:gd name="connsiteY110" fmla="*/ 653783 h 761503"/>
                <a:gd name="connsiteX111" fmla="*/ 395416 w 489538"/>
                <a:gd name="connsiteY111" fmla="*/ 648343 h 761503"/>
                <a:gd name="connsiteX112" fmla="*/ 395416 w 489538"/>
                <a:gd name="connsiteY112" fmla="*/ 618427 h 761503"/>
                <a:gd name="connsiteX113" fmla="*/ 395416 w 489538"/>
                <a:gd name="connsiteY113" fmla="*/ 596670 h 761503"/>
                <a:gd name="connsiteX114" fmla="*/ 398136 w 489538"/>
                <a:gd name="connsiteY114" fmla="*/ 574913 h 761503"/>
                <a:gd name="connsiteX115" fmla="*/ 406295 w 489538"/>
                <a:gd name="connsiteY115" fmla="*/ 558595 h 761503"/>
                <a:gd name="connsiteX116" fmla="*/ 422612 w 489538"/>
                <a:gd name="connsiteY116" fmla="*/ 553155 h 761503"/>
                <a:gd name="connsiteX117" fmla="*/ 438930 w 489538"/>
                <a:gd name="connsiteY117" fmla="*/ 588511 h 761503"/>
                <a:gd name="connsiteX118" fmla="*/ 436211 w 489538"/>
                <a:gd name="connsiteY118" fmla="*/ 645624 h 761503"/>
                <a:gd name="connsiteX119" fmla="*/ 433491 w 489538"/>
                <a:gd name="connsiteY119" fmla="*/ 651063 h 761503"/>
                <a:gd name="connsiteX120" fmla="*/ 433491 w 489538"/>
                <a:gd name="connsiteY120" fmla="*/ 651063 h 761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</a:cxnLst>
              <a:rect l="l" t="t" r="r" b="b"/>
              <a:pathLst>
                <a:path w="489538" h="761503">
                  <a:moveTo>
                    <a:pt x="433491" y="651063"/>
                  </a:moveTo>
                  <a:cubicBezTo>
                    <a:pt x="436211" y="653783"/>
                    <a:pt x="438930" y="656502"/>
                    <a:pt x="438930" y="661942"/>
                  </a:cubicBezTo>
                  <a:cubicBezTo>
                    <a:pt x="438930" y="670101"/>
                    <a:pt x="433491" y="678259"/>
                    <a:pt x="425332" y="683699"/>
                  </a:cubicBezTo>
                  <a:cubicBezTo>
                    <a:pt x="417173" y="689138"/>
                    <a:pt x="409014" y="689138"/>
                    <a:pt x="400855" y="691858"/>
                  </a:cubicBezTo>
                  <a:cubicBezTo>
                    <a:pt x="381817" y="694578"/>
                    <a:pt x="362780" y="694578"/>
                    <a:pt x="343742" y="700017"/>
                  </a:cubicBezTo>
                  <a:cubicBezTo>
                    <a:pt x="335583" y="702736"/>
                    <a:pt x="324705" y="702736"/>
                    <a:pt x="316546" y="705456"/>
                  </a:cubicBezTo>
                  <a:cubicBezTo>
                    <a:pt x="308387" y="705456"/>
                    <a:pt x="289349" y="705456"/>
                    <a:pt x="275751" y="705456"/>
                  </a:cubicBezTo>
                  <a:cubicBezTo>
                    <a:pt x="270312" y="705456"/>
                    <a:pt x="267592" y="708176"/>
                    <a:pt x="264872" y="708176"/>
                  </a:cubicBezTo>
                  <a:cubicBezTo>
                    <a:pt x="264872" y="708176"/>
                    <a:pt x="259433" y="708176"/>
                    <a:pt x="253994" y="708176"/>
                  </a:cubicBezTo>
                  <a:cubicBezTo>
                    <a:pt x="251274" y="713615"/>
                    <a:pt x="245835" y="716335"/>
                    <a:pt x="240395" y="719054"/>
                  </a:cubicBezTo>
                  <a:cubicBezTo>
                    <a:pt x="234956" y="721774"/>
                    <a:pt x="229517" y="721774"/>
                    <a:pt x="224077" y="721774"/>
                  </a:cubicBezTo>
                  <a:cubicBezTo>
                    <a:pt x="218638" y="721774"/>
                    <a:pt x="213199" y="724494"/>
                    <a:pt x="205040" y="724494"/>
                  </a:cubicBezTo>
                  <a:cubicBezTo>
                    <a:pt x="202320" y="724494"/>
                    <a:pt x="194161" y="727213"/>
                    <a:pt x="191441" y="727213"/>
                  </a:cubicBezTo>
                  <a:cubicBezTo>
                    <a:pt x="183282" y="727213"/>
                    <a:pt x="172404" y="721774"/>
                    <a:pt x="169684" y="721774"/>
                  </a:cubicBezTo>
                  <a:cubicBezTo>
                    <a:pt x="164245" y="719054"/>
                    <a:pt x="156086" y="713615"/>
                    <a:pt x="150646" y="708176"/>
                  </a:cubicBezTo>
                  <a:cubicBezTo>
                    <a:pt x="145207" y="708176"/>
                    <a:pt x="139768" y="708176"/>
                    <a:pt x="139768" y="708176"/>
                  </a:cubicBezTo>
                  <a:cubicBezTo>
                    <a:pt x="126170" y="708176"/>
                    <a:pt x="137048" y="708176"/>
                    <a:pt x="120730" y="708176"/>
                  </a:cubicBezTo>
                  <a:cubicBezTo>
                    <a:pt x="112571" y="708176"/>
                    <a:pt x="104412" y="708176"/>
                    <a:pt x="98973" y="708176"/>
                  </a:cubicBezTo>
                  <a:cubicBezTo>
                    <a:pt x="90814" y="708176"/>
                    <a:pt x="79936" y="708176"/>
                    <a:pt x="74496" y="702736"/>
                  </a:cubicBezTo>
                  <a:cubicBezTo>
                    <a:pt x="66337" y="700017"/>
                    <a:pt x="58178" y="689138"/>
                    <a:pt x="58178" y="683699"/>
                  </a:cubicBezTo>
                  <a:cubicBezTo>
                    <a:pt x="58178" y="680979"/>
                    <a:pt x="58178" y="678259"/>
                    <a:pt x="63617" y="675540"/>
                  </a:cubicBezTo>
                  <a:cubicBezTo>
                    <a:pt x="69057" y="672820"/>
                    <a:pt x="77216" y="670101"/>
                    <a:pt x="85375" y="667381"/>
                  </a:cubicBezTo>
                  <a:cubicBezTo>
                    <a:pt x="98973" y="664661"/>
                    <a:pt x="115291" y="664661"/>
                    <a:pt x="128889" y="661942"/>
                  </a:cubicBezTo>
                  <a:cubicBezTo>
                    <a:pt x="128889" y="645624"/>
                    <a:pt x="128889" y="623866"/>
                    <a:pt x="128889" y="602109"/>
                  </a:cubicBezTo>
                  <a:cubicBezTo>
                    <a:pt x="128889" y="566754"/>
                    <a:pt x="128889" y="531398"/>
                    <a:pt x="126170" y="523239"/>
                  </a:cubicBezTo>
                  <a:cubicBezTo>
                    <a:pt x="126170" y="517800"/>
                    <a:pt x="126170" y="487884"/>
                    <a:pt x="126170" y="468846"/>
                  </a:cubicBezTo>
                  <a:cubicBezTo>
                    <a:pt x="126170" y="449809"/>
                    <a:pt x="123450" y="430771"/>
                    <a:pt x="123450" y="409014"/>
                  </a:cubicBezTo>
                  <a:cubicBezTo>
                    <a:pt x="123450" y="400855"/>
                    <a:pt x="123450" y="392696"/>
                    <a:pt x="123450" y="384537"/>
                  </a:cubicBezTo>
                  <a:cubicBezTo>
                    <a:pt x="123450" y="373658"/>
                    <a:pt x="126170" y="360060"/>
                    <a:pt x="126170" y="349181"/>
                  </a:cubicBezTo>
                  <a:cubicBezTo>
                    <a:pt x="126170" y="341022"/>
                    <a:pt x="126170" y="332863"/>
                    <a:pt x="126170" y="324704"/>
                  </a:cubicBezTo>
                  <a:cubicBezTo>
                    <a:pt x="126170" y="313826"/>
                    <a:pt x="126170" y="302947"/>
                    <a:pt x="128889" y="292068"/>
                  </a:cubicBezTo>
                  <a:cubicBezTo>
                    <a:pt x="131609" y="273031"/>
                    <a:pt x="134329" y="253993"/>
                    <a:pt x="134329" y="234956"/>
                  </a:cubicBezTo>
                  <a:cubicBezTo>
                    <a:pt x="134329" y="213198"/>
                    <a:pt x="134329" y="191441"/>
                    <a:pt x="134329" y="172404"/>
                  </a:cubicBezTo>
                  <a:cubicBezTo>
                    <a:pt x="134329" y="156086"/>
                    <a:pt x="134329" y="139768"/>
                    <a:pt x="137048" y="123450"/>
                  </a:cubicBezTo>
                  <a:cubicBezTo>
                    <a:pt x="131609" y="123450"/>
                    <a:pt x="134329" y="123450"/>
                    <a:pt x="123450" y="123450"/>
                  </a:cubicBezTo>
                  <a:cubicBezTo>
                    <a:pt x="115291" y="123450"/>
                    <a:pt x="107132" y="123450"/>
                    <a:pt x="101693" y="123450"/>
                  </a:cubicBezTo>
                  <a:cubicBezTo>
                    <a:pt x="93534" y="123450"/>
                    <a:pt x="82655" y="123450"/>
                    <a:pt x="77216" y="118011"/>
                  </a:cubicBezTo>
                  <a:cubicBezTo>
                    <a:pt x="69057" y="115291"/>
                    <a:pt x="60898" y="101693"/>
                    <a:pt x="60898" y="98973"/>
                  </a:cubicBezTo>
                  <a:cubicBezTo>
                    <a:pt x="60898" y="96253"/>
                    <a:pt x="60898" y="93534"/>
                    <a:pt x="66337" y="90814"/>
                  </a:cubicBezTo>
                  <a:cubicBezTo>
                    <a:pt x="71777" y="88094"/>
                    <a:pt x="79936" y="85375"/>
                    <a:pt x="88094" y="82655"/>
                  </a:cubicBezTo>
                  <a:cubicBezTo>
                    <a:pt x="104412" y="79935"/>
                    <a:pt x="131609" y="77216"/>
                    <a:pt x="145207" y="77216"/>
                  </a:cubicBezTo>
                  <a:cubicBezTo>
                    <a:pt x="145207" y="77216"/>
                    <a:pt x="145207" y="77216"/>
                    <a:pt x="145207" y="77216"/>
                  </a:cubicBezTo>
                  <a:cubicBezTo>
                    <a:pt x="145207" y="74496"/>
                    <a:pt x="150646" y="71776"/>
                    <a:pt x="153366" y="69057"/>
                  </a:cubicBezTo>
                  <a:cubicBezTo>
                    <a:pt x="161525" y="63617"/>
                    <a:pt x="169684" y="63617"/>
                    <a:pt x="177843" y="60898"/>
                  </a:cubicBezTo>
                  <a:cubicBezTo>
                    <a:pt x="183282" y="58178"/>
                    <a:pt x="191441" y="58178"/>
                    <a:pt x="196881" y="58178"/>
                  </a:cubicBezTo>
                  <a:cubicBezTo>
                    <a:pt x="199600" y="58178"/>
                    <a:pt x="202320" y="58178"/>
                    <a:pt x="205040" y="58178"/>
                  </a:cubicBezTo>
                  <a:cubicBezTo>
                    <a:pt x="207759" y="58178"/>
                    <a:pt x="213199" y="60898"/>
                    <a:pt x="215919" y="63617"/>
                  </a:cubicBezTo>
                  <a:cubicBezTo>
                    <a:pt x="221358" y="66337"/>
                    <a:pt x="224077" y="66337"/>
                    <a:pt x="229517" y="69057"/>
                  </a:cubicBezTo>
                  <a:cubicBezTo>
                    <a:pt x="237675" y="71776"/>
                    <a:pt x="245835" y="77216"/>
                    <a:pt x="256713" y="77216"/>
                  </a:cubicBezTo>
                  <a:cubicBezTo>
                    <a:pt x="259433" y="77216"/>
                    <a:pt x="262153" y="77216"/>
                    <a:pt x="264872" y="77216"/>
                  </a:cubicBezTo>
                  <a:cubicBezTo>
                    <a:pt x="270312" y="77216"/>
                    <a:pt x="275751" y="77216"/>
                    <a:pt x="281190" y="77216"/>
                  </a:cubicBezTo>
                  <a:cubicBezTo>
                    <a:pt x="292069" y="77216"/>
                    <a:pt x="321985" y="77216"/>
                    <a:pt x="330144" y="77216"/>
                  </a:cubicBezTo>
                  <a:cubicBezTo>
                    <a:pt x="338303" y="77216"/>
                    <a:pt x="349182" y="77216"/>
                    <a:pt x="357341" y="79935"/>
                  </a:cubicBezTo>
                  <a:cubicBezTo>
                    <a:pt x="368219" y="79935"/>
                    <a:pt x="379098" y="82655"/>
                    <a:pt x="387257" y="82655"/>
                  </a:cubicBezTo>
                  <a:cubicBezTo>
                    <a:pt x="392696" y="82655"/>
                    <a:pt x="400855" y="85375"/>
                    <a:pt x="406295" y="85375"/>
                  </a:cubicBezTo>
                  <a:cubicBezTo>
                    <a:pt x="409014" y="82655"/>
                    <a:pt x="414453" y="79935"/>
                    <a:pt x="417173" y="79935"/>
                  </a:cubicBezTo>
                  <a:cubicBezTo>
                    <a:pt x="419893" y="79935"/>
                    <a:pt x="422612" y="79935"/>
                    <a:pt x="425332" y="85375"/>
                  </a:cubicBezTo>
                  <a:cubicBezTo>
                    <a:pt x="428052" y="90814"/>
                    <a:pt x="433491" y="98973"/>
                    <a:pt x="433491" y="104412"/>
                  </a:cubicBezTo>
                  <a:cubicBezTo>
                    <a:pt x="436211" y="131609"/>
                    <a:pt x="436211" y="120730"/>
                    <a:pt x="436211" y="137048"/>
                  </a:cubicBezTo>
                  <a:cubicBezTo>
                    <a:pt x="438930" y="158805"/>
                    <a:pt x="438930" y="158805"/>
                    <a:pt x="438930" y="183282"/>
                  </a:cubicBezTo>
                  <a:cubicBezTo>
                    <a:pt x="438930" y="194161"/>
                    <a:pt x="438930" y="218638"/>
                    <a:pt x="422612" y="218638"/>
                  </a:cubicBezTo>
                  <a:cubicBezTo>
                    <a:pt x="414453" y="218638"/>
                    <a:pt x="411734" y="215918"/>
                    <a:pt x="406295" y="213198"/>
                  </a:cubicBezTo>
                  <a:cubicBezTo>
                    <a:pt x="400855" y="210479"/>
                    <a:pt x="398136" y="202320"/>
                    <a:pt x="398136" y="196881"/>
                  </a:cubicBezTo>
                  <a:cubicBezTo>
                    <a:pt x="395416" y="188722"/>
                    <a:pt x="395416" y="183282"/>
                    <a:pt x="395416" y="175123"/>
                  </a:cubicBezTo>
                  <a:cubicBezTo>
                    <a:pt x="395416" y="169684"/>
                    <a:pt x="395416" y="164245"/>
                    <a:pt x="395416" y="153366"/>
                  </a:cubicBezTo>
                  <a:cubicBezTo>
                    <a:pt x="395416" y="145207"/>
                    <a:pt x="395416" y="134328"/>
                    <a:pt x="395416" y="126170"/>
                  </a:cubicBezTo>
                  <a:cubicBezTo>
                    <a:pt x="387257" y="128889"/>
                    <a:pt x="379098" y="128889"/>
                    <a:pt x="370939" y="128889"/>
                  </a:cubicBezTo>
                  <a:cubicBezTo>
                    <a:pt x="360060" y="128889"/>
                    <a:pt x="349182" y="128889"/>
                    <a:pt x="338303" y="131609"/>
                  </a:cubicBezTo>
                  <a:cubicBezTo>
                    <a:pt x="327424" y="131609"/>
                    <a:pt x="319265" y="134328"/>
                    <a:pt x="286629" y="134328"/>
                  </a:cubicBezTo>
                  <a:cubicBezTo>
                    <a:pt x="281190" y="134328"/>
                    <a:pt x="278470" y="134328"/>
                    <a:pt x="273031" y="137048"/>
                  </a:cubicBezTo>
                  <a:cubicBezTo>
                    <a:pt x="270312" y="137048"/>
                    <a:pt x="264872" y="137048"/>
                    <a:pt x="262153" y="142487"/>
                  </a:cubicBezTo>
                  <a:cubicBezTo>
                    <a:pt x="259433" y="145207"/>
                    <a:pt x="259433" y="150647"/>
                    <a:pt x="259433" y="153366"/>
                  </a:cubicBezTo>
                  <a:cubicBezTo>
                    <a:pt x="259433" y="158805"/>
                    <a:pt x="259433" y="164245"/>
                    <a:pt x="262153" y="166964"/>
                  </a:cubicBezTo>
                  <a:cubicBezTo>
                    <a:pt x="262153" y="177843"/>
                    <a:pt x="262153" y="186002"/>
                    <a:pt x="262153" y="196881"/>
                  </a:cubicBezTo>
                  <a:cubicBezTo>
                    <a:pt x="262153" y="202320"/>
                    <a:pt x="262153" y="210479"/>
                    <a:pt x="262153" y="215918"/>
                  </a:cubicBezTo>
                  <a:cubicBezTo>
                    <a:pt x="262153" y="229516"/>
                    <a:pt x="262153" y="240395"/>
                    <a:pt x="262153" y="251274"/>
                  </a:cubicBezTo>
                  <a:cubicBezTo>
                    <a:pt x="262153" y="259433"/>
                    <a:pt x="259433" y="270311"/>
                    <a:pt x="259433" y="278470"/>
                  </a:cubicBezTo>
                  <a:cubicBezTo>
                    <a:pt x="259433" y="289349"/>
                    <a:pt x="259433" y="297508"/>
                    <a:pt x="259433" y="308386"/>
                  </a:cubicBezTo>
                  <a:cubicBezTo>
                    <a:pt x="259433" y="313826"/>
                    <a:pt x="259433" y="319265"/>
                    <a:pt x="259433" y="321985"/>
                  </a:cubicBezTo>
                  <a:cubicBezTo>
                    <a:pt x="259433" y="324704"/>
                    <a:pt x="259433" y="330144"/>
                    <a:pt x="259433" y="332863"/>
                  </a:cubicBezTo>
                  <a:cubicBezTo>
                    <a:pt x="262153" y="335583"/>
                    <a:pt x="264872" y="335583"/>
                    <a:pt x="267592" y="335583"/>
                  </a:cubicBezTo>
                  <a:cubicBezTo>
                    <a:pt x="273031" y="335583"/>
                    <a:pt x="275751" y="335583"/>
                    <a:pt x="281190" y="335583"/>
                  </a:cubicBezTo>
                  <a:cubicBezTo>
                    <a:pt x="311107" y="335583"/>
                    <a:pt x="319265" y="335583"/>
                    <a:pt x="327424" y="338303"/>
                  </a:cubicBezTo>
                  <a:cubicBezTo>
                    <a:pt x="335583" y="341022"/>
                    <a:pt x="343742" y="341022"/>
                    <a:pt x="351901" y="341022"/>
                  </a:cubicBezTo>
                  <a:cubicBezTo>
                    <a:pt x="351901" y="338303"/>
                    <a:pt x="351901" y="338303"/>
                    <a:pt x="351901" y="335583"/>
                  </a:cubicBezTo>
                  <a:cubicBezTo>
                    <a:pt x="351901" y="327424"/>
                    <a:pt x="351901" y="319265"/>
                    <a:pt x="351901" y="313826"/>
                  </a:cubicBezTo>
                  <a:cubicBezTo>
                    <a:pt x="351901" y="305667"/>
                    <a:pt x="351901" y="294788"/>
                    <a:pt x="357341" y="289349"/>
                  </a:cubicBezTo>
                  <a:cubicBezTo>
                    <a:pt x="360060" y="281190"/>
                    <a:pt x="368219" y="273031"/>
                    <a:pt x="373658" y="273031"/>
                  </a:cubicBezTo>
                  <a:cubicBezTo>
                    <a:pt x="376378" y="273031"/>
                    <a:pt x="379098" y="273031"/>
                    <a:pt x="381817" y="278470"/>
                  </a:cubicBezTo>
                  <a:cubicBezTo>
                    <a:pt x="384537" y="283909"/>
                    <a:pt x="387257" y="292068"/>
                    <a:pt x="389977" y="300228"/>
                  </a:cubicBezTo>
                  <a:cubicBezTo>
                    <a:pt x="392696" y="316545"/>
                    <a:pt x="392696" y="335583"/>
                    <a:pt x="395416" y="351901"/>
                  </a:cubicBezTo>
                  <a:cubicBezTo>
                    <a:pt x="398136" y="373658"/>
                    <a:pt x="398136" y="384537"/>
                    <a:pt x="398136" y="409014"/>
                  </a:cubicBezTo>
                  <a:cubicBezTo>
                    <a:pt x="398136" y="422612"/>
                    <a:pt x="398136" y="444369"/>
                    <a:pt x="381817" y="444369"/>
                  </a:cubicBezTo>
                  <a:cubicBezTo>
                    <a:pt x="373658" y="444369"/>
                    <a:pt x="370939" y="441650"/>
                    <a:pt x="365500" y="438930"/>
                  </a:cubicBezTo>
                  <a:cubicBezTo>
                    <a:pt x="360060" y="436210"/>
                    <a:pt x="357341" y="428051"/>
                    <a:pt x="357341" y="422612"/>
                  </a:cubicBezTo>
                  <a:cubicBezTo>
                    <a:pt x="354621" y="414453"/>
                    <a:pt x="354621" y="409014"/>
                    <a:pt x="354621" y="400855"/>
                  </a:cubicBezTo>
                  <a:cubicBezTo>
                    <a:pt x="354621" y="395415"/>
                    <a:pt x="354621" y="389976"/>
                    <a:pt x="354621" y="381817"/>
                  </a:cubicBezTo>
                  <a:cubicBezTo>
                    <a:pt x="335583" y="381817"/>
                    <a:pt x="308387" y="384537"/>
                    <a:pt x="270312" y="381817"/>
                  </a:cubicBezTo>
                  <a:cubicBezTo>
                    <a:pt x="262153" y="381817"/>
                    <a:pt x="256713" y="387256"/>
                    <a:pt x="256713" y="395415"/>
                  </a:cubicBezTo>
                  <a:cubicBezTo>
                    <a:pt x="256713" y="403574"/>
                    <a:pt x="256713" y="414453"/>
                    <a:pt x="253994" y="422612"/>
                  </a:cubicBezTo>
                  <a:cubicBezTo>
                    <a:pt x="253994" y="425332"/>
                    <a:pt x="253994" y="430771"/>
                    <a:pt x="253994" y="433490"/>
                  </a:cubicBezTo>
                  <a:cubicBezTo>
                    <a:pt x="253994" y="438930"/>
                    <a:pt x="253994" y="444369"/>
                    <a:pt x="253994" y="449809"/>
                  </a:cubicBezTo>
                  <a:cubicBezTo>
                    <a:pt x="253994" y="457967"/>
                    <a:pt x="256713" y="466126"/>
                    <a:pt x="256713" y="474285"/>
                  </a:cubicBezTo>
                  <a:cubicBezTo>
                    <a:pt x="256713" y="482444"/>
                    <a:pt x="256713" y="490603"/>
                    <a:pt x="256713" y="496043"/>
                  </a:cubicBezTo>
                  <a:cubicBezTo>
                    <a:pt x="256713" y="509641"/>
                    <a:pt x="259433" y="520520"/>
                    <a:pt x="259433" y="534118"/>
                  </a:cubicBezTo>
                  <a:cubicBezTo>
                    <a:pt x="259433" y="553155"/>
                    <a:pt x="259433" y="572193"/>
                    <a:pt x="259433" y="591231"/>
                  </a:cubicBezTo>
                  <a:cubicBezTo>
                    <a:pt x="259433" y="602109"/>
                    <a:pt x="262153" y="610268"/>
                    <a:pt x="262153" y="618427"/>
                  </a:cubicBezTo>
                  <a:cubicBezTo>
                    <a:pt x="264872" y="626586"/>
                    <a:pt x="262153" y="642904"/>
                    <a:pt x="267592" y="648343"/>
                  </a:cubicBezTo>
                  <a:cubicBezTo>
                    <a:pt x="270312" y="651063"/>
                    <a:pt x="275751" y="651063"/>
                    <a:pt x="292069" y="651063"/>
                  </a:cubicBezTo>
                  <a:cubicBezTo>
                    <a:pt x="305667" y="651063"/>
                    <a:pt x="319265" y="651063"/>
                    <a:pt x="327424" y="651063"/>
                  </a:cubicBezTo>
                  <a:cubicBezTo>
                    <a:pt x="338303" y="651063"/>
                    <a:pt x="351901" y="653783"/>
                    <a:pt x="362780" y="653783"/>
                  </a:cubicBezTo>
                  <a:cubicBezTo>
                    <a:pt x="376378" y="653783"/>
                    <a:pt x="384537" y="651063"/>
                    <a:pt x="395416" y="648343"/>
                  </a:cubicBezTo>
                  <a:cubicBezTo>
                    <a:pt x="395416" y="637465"/>
                    <a:pt x="395416" y="629306"/>
                    <a:pt x="395416" y="618427"/>
                  </a:cubicBezTo>
                  <a:cubicBezTo>
                    <a:pt x="395416" y="610268"/>
                    <a:pt x="395416" y="602109"/>
                    <a:pt x="395416" y="596670"/>
                  </a:cubicBezTo>
                  <a:cubicBezTo>
                    <a:pt x="395416" y="591231"/>
                    <a:pt x="395416" y="585791"/>
                    <a:pt x="398136" y="574913"/>
                  </a:cubicBezTo>
                  <a:cubicBezTo>
                    <a:pt x="400855" y="569473"/>
                    <a:pt x="400855" y="564034"/>
                    <a:pt x="406295" y="558595"/>
                  </a:cubicBezTo>
                  <a:cubicBezTo>
                    <a:pt x="411734" y="553155"/>
                    <a:pt x="414453" y="553155"/>
                    <a:pt x="422612" y="553155"/>
                  </a:cubicBezTo>
                  <a:cubicBezTo>
                    <a:pt x="436211" y="553155"/>
                    <a:pt x="438930" y="577632"/>
                    <a:pt x="438930" y="588511"/>
                  </a:cubicBezTo>
                  <a:cubicBezTo>
                    <a:pt x="438930" y="612988"/>
                    <a:pt x="438930" y="623866"/>
                    <a:pt x="436211" y="645624"/>
                  </a:cubicBezTo>
                  <a:cubicBezTo>
                    <a:pt x="433491" y="648343"/>
                    <a:pt x="433491" y="648343"/>
                    <a:pt x="433491" y="651063"/>
                  </a:cubicBezTo>
                  <a:lnTo>
                    <a:pt x="433491" y="651063"/>
                  </a:ln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/>
            </a:p>
          </p:txBody>
        </p:sp>
        <p:sp>
          <p:nvSpPr>
            <p:cNvPr id="45" name="Freeform: Shape 44">
              <a:extLst>
                <a:ext uri="{FF2B5EF4-FFF2-40B4-BE49-F238E27FC236}">
                  <a16:creationId xmlns:a16="http://schemas.microsoft.com/office/drawing/2014/main" id="{D787845E-4C98-468A-9220-DFECC42D7793}"/>
                </a:ext>
              </a:extLst>
            </p:cNvPr>
            <p:cNvSpPr/>
            <p:nvPr/>
          </p:nvSpPr>
          <p:spPr>
            <a:xfrm>
              <a:off x="7912732" y="4250336"/>
              <a:ext cx="465062" cy="658157"/>
            </a:xfrm>
            <a:custGeom>
              <a:avLst/>
              <a:gdLst>
                <a:gd name="connsiteX0" fmla="*/ 193096 w 465062"/>
                <a:gd name="connsiteY0" fmla="*/ 59832 h 658157"/>
                <a:gd name="connsiteX1" fmla="*/ 193096 w 465062"/>
                <a:gd name="connsiteY1" fmla="*/ 114226 h 658157"/>
                <a:gd name="connsiteX2" fmla="*/ 198536 w 465062"/>
                <a:gd name="connsiteY2" fmla="*/ 209414 h 658157"/>
                <a:gd name="connsiteX3" fmla="*/ 201255 w 465062"/>
                <a:gd name="connsiteY3" fmla="*/ 282845 h 658157"/>
                <a:gd name="connsiteX4" fmla="*/ 203975 w 465062"/>
                <a:gd name="connsiteY4" fmla="*/ 315481 h 658157"/>
                <a:gd name="connsiteX5" fmla="*/ 203975 w 465062"/>
                <a:gd name="connsiteY5" fmla="*/ 320920 h 658157"/>
                <a:gd name="connsiteX6" fmla="*/ 212134 w 465062"/>
                <a:gd name="connsiteY6" fmla="*/ 329079 h 658157"/>
                <a:gd name="connsiteX7" fmla="*/ 223013 w 465062"/>
                <a:gd name="connsiteY7" fmla="*/ 329079 h 658157"/>
                <a:gd name="connsiteX8" fmla="*/ 239331 w 465062"/>
                <a:gd name="connsiteY8" fmla="*/ 329079 h 658157"/>
                <a:gd name="connsiteX9" fmla="*/ 280126 w 465062"/>
                <a:gd name="connsiteY9" fmla="*/ 312761 h 658157"/>
                <a:gd name="connsiteX10" fmla="*/ 296443 w 465062"/>
                <a:gd name="connsiteY10" fmla="*/ 288284 h 658157"/>
                <a:gd name="connsiteX11" fmla="*/ 304602 w 465062"/>
                <a:gd name="connsiteY11" fmla="*/ 258368 h 658157"/>
                <a:gd name="connsiteX12" fmla="*/ 312761 w 465062"/>
                <a:gd name="connsiteY12" fmla="*/ 225732 h 658157"/>
                <a:gd name="connsiteX13" fmla="*/ 315481 w 465062"/>
                <a:gd name="connsiteY13" fmla="*/ 195816 h 658157"/>
                <a:gd name="connsiteX14" fmla="*/ 318201 w 465062"/>
                <a:gd name="connsiteY14" fmla="*/ 168619 h 658157"/>
                <a:gd name="connsiteX15" fmla="*/ 312761 w 465062"/>
                <a:gd name="connsiteY15" fmla="*/ 135983 h 658157"/>
                <a:gd name="connsiteX16" fmla="*/ 312761 w 465062"/>
                <a:gd name="connsiteY16" fmla="*/ 122385 h 658157"/>
                <a:gd name="connsiteX17" fmla="*/ 293724 w 465062"/>
                <a:gd name="connsiteY17" fmla="*/ 84309 h 658157"/>
                <a:gd name="connsiteX18" fmla="*/ 280126 w 465062"/>
                <a:gd name="connsiteY18" fmla="*/ 73430 h 658157"/>
                <a:gd name="connsiteX19" fmla="*/ 258368 w 465062"/>
                <a:gd name="connsiteY19" fmla="*/ 62552 h 658157"/>
                <a:gd name="connsiteX20" fmla="*/ 217573 w 465062"/>
                <a:gd name="connsiteY20" fmla="*/ 59832 h 658157"/>
                <a:gd name="connsiteX21" fmla="*/ 111506 w 465062"/>
                <a:gd name="connsiteY21" fmla="*/ 0 h 658157"/>
                <a:gd name="connsiteX22" fmla="*/ 127824 w 465062"/>
                <a:gd name="connsiteY22" fmla="*/ 0 h 658157"/>
                <a:gd name="connsiteX23" fmla="*/ 157741 w 465062"/>
                <a:gd name="connsiteY23" fmla="*/ 5440 h 658157"/>
                <a:gd name="connsiteX24" fmla="*/ 179497 w 465062"/>
                <a:gd name="connsiteY24" fmla="*/ 16318 h 658157"/>
                <a:gd name="connsiteX25" fmla="*/ 209414 w 465062"/>
                <a:gd name="connsiteY25" fmla="*/ 16318 h 658157"/>
                <a:gd name="connsiteX26" fmla="*/ 247489 w 465062"/>
                <a:gd name="connsiteY26" fmla="*/ 16318 h 658157"/>
                <a:gd name="connsiteX27" fmla="*/ 266527 w 465062"/>
                <a:gd name="connsiteY27" fmla="*/ 16318 h 658157"/>
                <a:gd name="connsiteX28" fmla="*/ 312761 w 465062"/>
                <a:gd name="connsiteY28" fmla="*/ 27197 h 658157"/>
                <a:gd name="connsiteX29" fmla="*/ 337238 w 465062"/>
                <a:gd name="connsiteY29" fmla="*/ 38075 h 658157"/>
                <a:gd name="connsiteX30" fmla="*/ 364434 w 465062"/>
                <a:gd name="connsiteY30" fmla="*/ 54393 h 658157"/>
                <a:gd name="connsiteX31" fmla="*/ 386192 w 465062"/>
                <a:gd name="connsiteY31" fmla="*/ 73431 h 658157"/>
                <a:gd name="connsiteX32" fmla="*/ 407949 w 465062"/>
                <a:gd name="connsiteY32" fmla="*/ 103347 h 658157"/>
                <a:gd name="connsiteX33" fmla="*/ 416108 w 465062"/>
                <a:gd name="connsiteY33" fmla="*/ 141422 h 658157"/>
                <a:gd name="connsiteX34" fmla="*/ 418828 w 465062"/>
                <a:gd name="connsiteY34" fmla="*/ 163179 h 658157"/>
                <a:gd name="connsiteX35" fmla="*/ 418828 w 465062"/>
                <a:gd name="connsiteY35" fmla="*/ 171339 h 658157"/>
                <a:gd name="connsiteX36" fmla="*/ 421547 w 465062"/>
                <a:gd name="connsiteY36" fmla="*/ 187656 h 658157"/>
                <a:gd name="connsiteX37" fmla="*/ 418828 w 465062"/>
                <a:gd name="connsiteY37" fmla="*/ 206694 h 658157"/>
                <a:gd name="connsiteX38" fmla="*/ 416108 w 465062"/>
                <a:gd name="connsiteY38" fmla="*/ 233891 h 658157"/>
                <a:gd name="connsiteX39" fmla="*/ 405229 w 465062"/>
                <a:gd name="connsiteY39" fmla="*/ 263807 h 658157"/>
                <a:gd name="connsiteX40" fmla="*/ 394351 w 465062"/>
                <a:gd name="connsiteY40" fmla="*/ 274686 h 658157"/>
                <a:gd name="connsiteX41" fmla="*/ 388912 w 465062"/>
                <a:gd name="connsiteY41" fmla="*/ 285564 h 658157"/>
                <a:gd name="connsiteX42" fmla="*/ 369874 w 465062"/>
                <a:gd name="connsiteY42" fmla="*/ 304602 h 658157"/>
                <a:gd name="connsiteX43" fmla="*/ 358995 w 465062"/>
                <a:gd name="connsiteY43" fmla="*/ 310041 h 658157"/>
                <a:gd name="connsiteX44" fmla="*/ 348117 w 465062"/>
                <a:gd name="connsiteY44" fmla="*/ 320920 h 658157"/>
                <a:gd name="connsiteX45" fmla="*/ 326359 w 465062"/>
                <a:gd name="connsiteY45" fmla="*/ 339957 h 658157"/>
                <a:gd name="connsiteX46" fmla="*/ 312761 w 465062"/>
                <a:gd name="connsiteY46" fmla="*/ 353555 h 658157"/>
                <a:gd name="connsiteX47" fmla="*/ 337238 w 465062"/>
                <a:gd name="connsiteY47" fmla="*/ 380752 h 658157"/>
                <a:gd name="connsiteX48" fmla="*/ 358995 w 465062"/>
                <a:gd name="connsiteY48" fmla="*/ 421547 h 658157"/>
                <a:gd name="connsiteX49" fmla="*/ 372593 w 465062"/>
                <a:gd name="connsiteY49" fmla="*/ 459622 h 658157"/>
                <a:gd name="connsiteX50" fmla="*/ 386192 w 465062"/>
                <a:gd name="connsiteY50" fmla="*/ 514015 h 658157"/>
                <a:gd name="connsiteX51" fmla="*/ 407949 w 465062"/>
                <a:gd name="connsiteY51" fmla="*/ 568408 h 658157"/>
                <a:gd name="connsiteX52" fmla="*/ 421547 w 465062"/>
                <a:gd name="connsiteY52" fmla="*/ 598324 h 658157"/>
                <a:gd name="connsiteX53" fmla="*/ 451463 w 465062"/>
                <a:gd name="connsiteY53" fmla="*/ 628241 h 658157"/>
                <a:gd name="connsiteX54" fmla="*/ 465062 w 465062"/>
                <a:gd name="connsiteY54" fmla="*/ 644559 h 658157"/>
                <a:gd name="connsiteX55" fmla="*/ 462342 w 465062"/>
                <a:gd name="connsiteY55" fmla="*/ 649998 h 658157"/>
                <a:gd name="connsiteX56" fmla="*/ 437865 w 465062"/>
                <a:gd name="connsiteY56" fmla="*/ 658157 h 658157"/>
                <a:gd name="connsiteX57" fmla="*/ 361715 w 465062"/>
                <a:gd name="connsiteY57" fmla="*/ 622801 h 658157"/>
                <a:gd name="connsiteX58" fmla="*/ 320920 w 465062"/>
                <a:gd name="connsiteY58" fmla="*/ 565689 h 658157"/>
                <a:gd name="connsiteX59" fmla="*/ 304602 w 465062"/>
                <a:gd name="connsiteY59" fmla="*/ 530333 h 658157"/>
                <a:gd name="connsiteX60" fmla="*/ 293723 w 465062"/>
                <a:gd name="connsiteY60" fmla="*/ 497697 h 658157"/>
                <a:gd name="connsiteX61" fmla="*/ 282845 w 465062"/>
                <a:gd name="connsiteY61" fmla="*/ 462342 h 658157"/>
                <a:gd name="connsiteX62" fmla="*/ 269246 w 465062"/>
                <a:gd name="connsiteY62" fmla="*/ 424267 h 658157"/>
                <a:gd name="connsiteX63" fmla="*/ 255648 w 465062"/>
                <a:gd name="connsiteY63" fmla="*/ 391631 h 658157"/>
                <a:gd name="connsiteX64" fmla="*/ 236610 w 465062"/>
                <a:gd name="connsiteY64" fmla="*/ 367154 h 658157"/>
                <a:gd name="connsiteX65" fmla="*/ 217573 w 465062"/>
                <a:gd name="connsiteY65" fmla="*/ 361714 h 658157"/>
                <a:gd name="connsiteX66" fmla="*/ 201255 w 465062"/>
                <a:gd name="connsiteY66" fmla="*/ 361714 h 658157"/>
                <a:gd name="connsiteX67" fmla="*/ 198535 w 465062"/>
                <a:gd name="connsiteY67" fmla="*/ 367154 h 658157"/>
                <a:gd name="connsiteX68" fmla="*/ 201255 w 465062"/>
                <a:gd name="connsiteY68" fmla="*/ 388911 h 658157"/>
                <a:gd name="connsiteX69" fmla="*/ 198535 w 465062"/>
                <a:gd name="connsiteY69" fmla="*/ 426986 h 658157"/>
                <a:gd name="connsiteX70" fmla="*/ 203975 w 465062"/>
                <a:gd name="connsiteY70" fmla="*/ 478660 h 658157"/>
                <a:gd name="connsiteX71" fmla="*/ 198535 w 465062"/>
                <a:gd name="connsiteY71" fmla="*/ 552090 h 658157"/>
                <a:gd name="connsiteX72" fmla="*/ 195816 w 465062"/>
                <a:gd name="connsiteY72" fmla="*/ 576567 h 658157"/>
                <a:gd name="connsiteX73" fmla="*/ 198535 w 465062"/>
                <a:gd name="connsiteY73" fmla="*/ 592885 h 658157"/>
                <a:gd name="connsiteX74" fmla="*/ 233891 w 465062"/>
                <a:gd name="connsiteY74" fmla="*/ 592885 h 658157"/>
                <a:gd name="connsiteX75" fmla="*/ 271966 w 465062"/>
                <a:gd name="connsiteY75" fmla="*/ 611923 h 658157"/>
                <a:gd name="connsiteX76" fmla="*/ 266527 w 465062"/>
                <a:gd name="connsiteY76" fmla="*/ 628241 h 658157"/>
                <a:gd name="connsiteX77" fmla="*/ 250209 w 465062"/>
                <a:gd name="connsiteY77" fmla="*/ 636400 h 658157"/>
                <a:gd name="connsiteX78" fmla="*/ 228451 w 465062"/>
                <a:gd name="connsiteY78" fmla="*/ 639119 h 658157"/>
                <a:gd name="connsiteX79" fmla="*/ 187657 w 465062"/>
                <a:gd name="connsiteY79" fmla="*/ 639119 h 658157"/>
                <a:gd name="connsiteX80" fmla="*/ 152301 w 465062"/>
                <a:gd name="connsiteY80" fmla="*/ 652717 h 658157"/>
                <a:gd name="connsiteX81" fmla="*/ 133263 w 465062"/>
                <a:gd name="connsiteY81" fmla="*/ 655437 h 658157"/>
                <a:gd name="connsiteX82" fmla="*/ 122385 w 465062"/>
                <a:gd name="connsiteY82" fmla="*/ 652717 h 658157"/>
                <a:gd name="connsiteX83" fmla="*/ 97908 w 465062"/>
                <a:gd name="connsiteY83" fmla="*/ 639119 h 658157"/>
                <a:gd name="connsiteX84" fmla="*/ 70711 w 465062"/>
                <a:gd name="connsiteY84" fmla="*/ 639119 h 658157"/>
                <a:gd name="connsiteX85" fmla="*/ 46234 w 465062"/>
                <a:gd name="connsiteY85" fmla="*/ 639119 h 658157"/>
                <a:gd name="connsiteX86" fmla="*/ 19038 w 465062"/>
                <a:gd name="connsiteY86" fmla="*/ 630960 h 658157"/>
                <a:gd name="connsiteX87" fmla="*/ 2720 w 465062"/>
                <a:gd name="connsiteY87" fmla="*/ 614642 h 658157"/>
                <a:gd name="connsiteX88" fmla="*/ 8159 w 465062"/>
                <a:gd name="connsiteY88" fmla="*/ 606483 h 658157"/>
                <a:gd name="connsiteX89" fmla="*/ 29916 w 465062"/>
                <a:gd name="connsiteY89" fmla="*/ 598324 h 658157"/>
                <a:gd name="connsiteX90" fmla="*/ 76151 w 465062"/>
                <a:gd name="connsiteY90" fmla="*/ 592885 h 658157"/>
                <a:gd name="connsiteX91" fmla="*/ 73431 w 465062"/>
                <a:gd name="connsiteY91" fmla="*/ 573848 h 658157"/>
                <a:gd name="connsiteX92" fmla="*/ 70711 w 465062"/>
                <a:gd name="connsiteY92" fmla="*/ 500417 h 658157"/>
                <a:gd name="connsiteX93" fmla="*/ 73431 w 465062"/>
                <a:gd name="connsiteY93" fmla="*/ 437865 h 658157"/>
                <a:gd name="connsiteX94" fmla="*/ 70711 w 465062"/>
                <a:gd name="connsiteY94" fmla="*/ 369873 h 658157"/>
                <a:gd name="connsiteX95" fmla="*/ 70711 w 465062"/>
                <a:gd name="connsiteY95" fmla="*/ 293723 h 658157"/>
                <a:gd name="connsiteX96" fmla="*/ 73431 w 465062"/>
                <a:gd name="connsiteY96" fmla="*/ 212133 h 658157"/>
                <a:gd name="connsiteX97" fmla="*/ 76151 w 465062"/>
                <a:gd name="connsiteY97" fmla="*/ 155021 h 658157"/>
                <a:gd name="connsiteX98" fmla="*/ 76151 w 465062"/>
                <a:gd name="connsiteY98" fmla="*/ 119665 h 658157"/>
                <a:gd name="connsiteX99" fmla="*/ 78870 w 465062"/>
                <a:gd name="connsiteY99" fmla="*/ 84310 h 658157"/>
                <a:gd name="connsiteX100" fmla="*/ 76151 w 465062"/>
                <a:gd name="connsiteY100" fmla="*/ 62552 h 658157"/>
                <a:gd name="connsiteX101" fmla="*/ 67992 w 465062"/>
                <a:gd name="connsiteY101" fmla="*/ 62552 h 658157"/>
                <a:gd name="connsiteX102" fmla="*/ 43515 w 465062"/>
                <a:gd name="connsiteY102" fmla="*/ 62552 h 658157"/>
                <a:gd name="connsiteX103" fmla="*/ 16318 w 465062"/>
                <a:gd name="connsiteY103" fmla="*/ 57113 h 658157"/>
                <a:gd name="connsiteX104" fmla="*/ 0 w 465062"/>
                <a:gd name="connsiteY104" fmla="*/ 40795 h 658157"/>
                <a:gd name="connsiteX105" fmla="*/ 5439 w 465062"/>
                <a:gd name="connsiteY105" fmla="*/ 32636 h 658157"/>
                <a:gd name="connsiteX106" fmla="*/ 27197 w 465062"/>
                <a:gd name="connsiteY106" fmla="*/ 24477 h 658157"/>
                <a:gd name="connsiteX107" fmla="*/ 76151 w 465062"/>
                <a:gd name="connsiteY107" fmla="*/ 19038 h 658157"/>
                <a:gd name="connsiteX108" fmla="*/ 78870 w 465062"/>
                <a:gd name="connsiteY108" fmla="*/ 13598 h 658157"/>
                <a:gd name="connsiteX109" fmla="*/ 95188 w 465062"/>
                <a:gd name="connsiteY109" fmla="*/ 5440 h 658157"/>
                <a:gd name="connsiteX110" fmla="*/ 111506 w 465062"/>
                <a:gd name="connsiteY110" fmla="*/ 0 h 6581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</a:cxnLst>
              <a:rect l="l" t="t" r="r" b="b"/>
              <a:pathLst>
                <a:path w="465062" h="658157">
                  <a:moveTo>
                    <a:pt x="193096" y="59832"/>
                  </a:moveTo>
                  <a:cubicBezTo>
                    <a:pt x="193096" y="73430"/>
                    <a:pt x="193096" y="89748"/>
                    <a:pt x="193096" y="114226"/>
                  </a:cubicBezTo>
                  <a:cubicBezTo>
                    <a:pt x="193096" y="144142"/>
                    <a:pt x="195816" y="176778"/>
                    <a:pt x="198536" y="209414"/>
                  </a:cubicBezTo>
                  <a:cubicBezTo>
                    <a:pt x="198536" y="247489"/>
                    <a:pt x="201255" y="277406"/>
                    <a:pt x="201255" y="282845"/>
                  </a:cubicBezTo>
                  <a:cubicBezTo>
                    <a:pt x="201255" y="293723"/>
                    <a:pt x="203975" y="304602"/>
                    <a:pt x="203975" y="315481"/>
                  </a:cubicBezTo>
                  <a:cubicBezTo>
                    <a:pt x="203975" y="318200"/>
                    <a:pt x="203975" y="318200"/>
                    <a:pt x="203975" y="320920"/>
                  </a:cubicBezTo>
                  <a:cubicBezTo>
                    <a:pt x="203975" y="326359"/>
                    <a:pt x="206695" y="329079"/>
                    <a:pt x="212134" y="329079"/>
                  </a:cubicBezTo>
                  <a:cubicBezTo>
                    <a:pt x="214854" y="329079"/>
                    <a:pt x="220293" y="329079"/>
                    <a:pt x="223013" y="329079"/>
                  </a:cubicBezTo>
                  <a:cubicBezTo>
                    <a:pt x="228452" y="329079"/>
                    <a:pt x="233891" y="329079"/>
                    <a:pt x="239331" y="329079"/>
                  </a:cubicBezTo>
                  <a:cubicBezTo>
                    <a:pt x="252929" y="329079"/>
                    <a:pt x="271967" y="323640"/>
                    <a:pt x="280126" y="312761"/>
                  </a:cubicBezTo>
                  <a:cubicBezTo>
                    <a:pt x="288284" y="304602"/>
                    <a:pt x="291004" y="299163"/>
                    <a:pt x="296443" y="288284"/>
                  </a:cubicBezTo>
                  <a:cubicBezTo>
                    <a:pt x="299163" y="277406"/>
                    <a:pt x="301883" y="269247"/>
                    <a:pt x="304602" y="258368"/>
                  </a:cubicBezTo>
                  <a:cubicBezTo>
                    <a:pt x="307322" y="244770"/>
                    <a:pt x="310042" y="239330"/>
                    <a:pt x="312761" y="225732"/>
                  </a:cubicBezTo>
                  <a:cubicBezTo>
                    <a:pt x="315481" y="212134"/>
                    <a:pt x="315481" y="209414"/>
                    <a:pt x="315481" y="195816"/>
                  </a:cubicBezTo>
                  <a:cubicBezTo>
                    <a:pt x="315481" y="179498"/>
                    <a:pt x="315481" y="184937"/>
                    <a:pt x="318201" y="168619"/>
                  </a:cubicBezTo>
                  <a:cubicBezTo>
                    <a:pt x="312761" y="152302"/>
                    <a:pt x="312761" y="149582"/>
                    <a:pt x="312761" y="135983"/>
                  </a:cubicBezTo>
                  <a:cubicBezTo>
                    <a:pt x="312761" y="133264"/>
                    <a:pt x="312761" y="127825"/>
                    <a:pt x="312761" y="122385"/>
                  </a:cubicBezTo>
                  <a:cubicBezTo>
                    <a:pt x="312761" y="111507"/>
                    <a:pt x="301883" y="95188"/>
                    <a:pt x="293724" y="84309"/>
                  </a:cubicBezTo>
                  <a:cubicBezTo>
                    <a:pt x="288284" y="78870"/>
                    <a:pt x="285565" y="76150"/>
                    <a:pt x="280126" y="73430"/>
                  </a:cubicBezTo>
                  <a:cubicBezTo>
                    <a:pt x="271967" y="67991"/>
                    <a:pt x="266527" y="65271"/>
                    <a:pt x="258368" y="62552"/>
                  </a:cubicBezTo>
                  <a:cubicBezTo>
                    <a:pt x="244770" y="59832"/>
                    <a:pt x="228452" y="59832"/>
                    <a:pt x="217573" y="59832"/>
                  </a:cubicBezTo>
                  <a:close/>
                  <a:moveTo>
                    <a:pt x="111506" y="0"/>
                  </a:moveTo>
                  <a:cubicBezTo>
                    <a:pt x="114226" y="0"/>
                    <a:pt x="122385" y="0"/>
                    <a:pt x="127824" y="0"/>
                  </a:cubicBezTo>
                  <a:cubicBezTo>
                    <a:pt x="135983" y="0"/>
                    <a:pt x="146862" y="2720"/>
                    <a:pt x="157741" y="5440"/>
                  </a:cubicBezTo>
                  <a:cubicBezTo>
                    <a:pt x="168619" y="8159"/>
                    <a:pt x="176778" y="10879"/>
                    <a:pt x="179497" y="16318"/>
                  </a:cubicBezTo>
                  <a:cubicBezTo>
                    <a:pt x="193096" y="16318"/>
                    <a:pt x="201255" y="16318"/>
                    <a:pt x="209414" y="16318"/>
                  </a:cubicBezTo>
                  <a:cubicBezTo>
                    <a:pt x="220292" y="16318"/>
                    <a:pt x="231171" y="16318"/>
                    <a:pt x="247489" y="16318"/>
                  </a:cubicBezTo>
                  <a:cubicBezTo>
                    <a:pt x="250209" y="16318"/>
                    <a:pt x="258368" y="16318"/>
                    <a:pt x="266527" y="16318"/>
                  </a:cubicBezTo>
                  <a:cubicBezTo>
                    <a:pt x="277405" y="16318"/>
                    <a:pt x="291004" y="21758"/>
                    <a:pt x="312761" y="27197"/>
                  </a:cubicBezTo>
                  <a:cubicBezTo>
                    <a:pt x="320920" y="29917"/>
                    <a:pt x="329079" y="35356"/>
                    <a:pt x="337238" y="38075"/>
                  </a:cubicBezTo>
                  <a:cubicBezTo>
                    <a:pt x="342677" y="40795"/>
                    <a:pt x="353556" y="48954"/>
                    <a:pt x="364434" y="54393"/>
                  </a:cubicBezTo>
                  <a:cubicBezTo>
                    <a:pt x="375313" y="62552"/>
                    <a:pt x="386192" y="67992"/>
                    <a:pt x="386192" y="73431"/>
                  </a:cubicBezTo>
                  <a:cubicBezTo>
                    <a:pt x="391631" y="84310"/>
                    <a:pt x="402510" y="92469"/>
                    <a:pt x="407949" y="103347"/>
                  </a:cubicBezTo>
                  <a:cubicBezTo>
                    <a:pt x="413388" y="116945"/>
                    <a:pt x="416108" y="130544"/>
                    <a:pt x="416108" y="141422"/>
                  </a:cubicBezTo>
                  <a:cubicBezTo>
                    <a:pt x="416108" y="152301"/>
                    <a:pt x="418828" y="157740"/>
                    <a:pt x="418828" y="163179"/>
                  </a:cubicBezTo>
                  <a:cubicBezTo>
                    <a:pt x="418828" y="165899"/>
                    <a:pt x="418828" y="168619"/>
                    <a:pt x="418828" y="171339"/>
                  </a:cubicBezTo>
                  <a:cubicBezTo>
                    <a:pt x="418828" y="174058"/>
                    <a:pt x="421547" y="182217"/>
                    <a:pt x="421547" y="187656"/>
                  </a:cubicBezTo>
                  <a:cubicBezTo>
                    <a:pt x="421547" y="193096"/>
                    <a:pt x="418828" y="201255"/>
                    <a:pt x="418828" y="206694"/>
                  </a:cubicBezTo>
                  <a:cubicBezTo>
                    <a:pt x="418828" y="217573"/>
                    <a:pt x="418828" y="223012"/>
                    <a:pt x="416108" y="233891"/>
                  </a:cubicBezTo>
                  <a:cubicBezTo>
                    <a:pt x="413388" y="244769"/>
                    <a:pt x="410668" y="255648"/>
                    <a:pt x="405229" y="263807"/>
                  </a:cubicBezTo>
                  <a:cubicBezTo>
                    <a:pt x="402510" y="269246"/>
                    <a:pt x="397070" y="269246"/>
                    <a:pt x="394351" y="274686"/>
                  </a:cubicBezTo>
                  <a:cubicBezTo>
                    <a:pt x="391631" y="277405"/>
                    <a:pt x="391631" y="282844"/>
                    <a:pt x="388912" y="285564"/>
                  </a:cubicBezTo>
                  <a:cubicBezTo>
                    <a:pt x="383472" y="291003"/>
                    <a:pt x="375313" y="301882"/>
                    <a:pt x="369874" y="304602"/>
                  </a:cubicBezTo>
                  <a:cubicBezTo>
                    <a:pt x="367154" y="307321"/>
                    <a:pt x="361715" y="307321"/>
                    <a:pt x="358995" y="310041"/>
                  </a:cubicBezTo>
                  <a:cubicBezTo>
                    <a:pt x="356275" y="312761"/>
                    <a:pt x="350836" y="318200"/>
                    <a:pt x="348117" y="320920"/>
                  </a:cubicBezTo>
                  <a:cubicBezTo>
                    <a:pt x="339958" y="326359"/>
                    <a:pt x="334518" y="334518"/>
                    <a:pt x="326359" y="339957"/>
                  </a:cubicBezTo>
                  <a:cubicBezTo>
                    <a:pt x="320920" y="342677"/>
                    <a:pt x="312761" y="342677"/>
                    <a:pt x="312761" y="353555"/>
                  </a:cubicBezTo>
                  <a:cubicBezTo>
                    <a:pt x="312761" y="361714"/>
                    <a:pt x="334518" y="372593"/>
                    <a:pt x="337238" y="380752"/>
                  </a:cubicBezTo>
                  <a:cubicBezTo>
                    <a:pt x="345397" y="394350"/>
                    <a:pt x="353556" y="407948"/>
                    <a:pt x="358995" y="421547"/>
                  </a:cubicBezTo>
                  <a:cubicBezTo>
                    <a:pt x="364434" y="435145"/>
                    <a:pt x="367154" y="446024"/>
                    <a:pt x="372593" y="459622"/>
                  </a:cubicBezTo>
                  <a:cubicBezTo>
                    <a:pt x="378033" y="478660"/>
                    <a:pt x="383472" y="494978"/>
                    <a:pt x="386192" y="514015"/>
                  </a:cubicBezTo>
                  <a:cubicBezTo>
                    <a:pt x="391631" y="533053"/>
                    <a:pt x="402510" y="549371"/>
                    <a:pt x="407949" y="568408"/>
                  </a:cubicBezTo>
                  <a:cubicBezTo>
                    <a:pt x="410668" y="579287"/>
                    <a:pt x="416108" y="590165"/>
                    <a:pt x="421547" y="598324"/>
                  </a:cubicBezTo>
                  <a:cubicBezTo>
                    <a:pt x="435146" y="614642"/>
                    <a:pt x="443305" y="622801"/>
                    <a:pt x="451463" y="628241"/>
                  </a:cubicBezTo>
                  <a:cubicBezTo>
                    <a:pt x="456903" y="630960"/>
                    <a:pt x="465062" y="636400"/>
                    <a:pt x="465062" y="644559"/>
                  </a:cubicBezTo>
                  <a:cubicBezTo>
                    <a:pt x="465062" y="647278"/>
                    <a:pt x="465062" y="647278"/>
                    <a:pt x="462342" y="649998"/>
                  </a:cubicBezTo>
                  <a:cubicBezTo>
                    <a:pt x="456903" y="655437"/>
                    <a:pt x="446024" y="658157"/>
                    <a:pt x="437865" y="658157"/>
                  </a:cubicBezTo>
                  <a:cubicBezTo>
                    <a:pt x="413388" y="658157"/>
                    <a:pt x="378033" y="641839"/>
                    <a:pt x="361715" y="622801"/>
                  </a:cubicBezTo>
                  <a:cubicBezTo>
                    <a:pt x="345397" y="606483"/>
                    <a:pt x="334518" y="584726"/>
                    <a:pt x="320920" y="565689"/>
                  </a:cubicBezTo>
                  <a:cubicBezTo>
                    <a:pt x="315480" y="554810"/>
                    <a:pt x="310041" y="543931"/>
                    <a:pt x="304602" y="530333"/>
                  </a:cubicBezTo>
                  <a:cubicBezTo>
                    <a:pt x="299163" y="519454"/>
                    <a:pt x="296443" y="508576"/>
                    <a:pt x="293723" y="497697"/>
                  </a:cubicBezTo>
                  <a:cubicBezTo>
                    <a:pt x="291004" y="486819"/>
                    <a:pt x="288284" y="473220"/>
                    <a:pt x="282845" y="462342"/>
                  </a:cubicBezTo>
                  <a:cubicBezTo>
                    <a:pt x="280125" y="448743"/>
                    <a:pt x="274686" y="437865"/>
                    <a:pt x="269246" y="424267"/>
                  </a:cubicBezTo>
                  <a:cubicBezTo>
                    <a:pt x="266527" y="416108"/>
                    <a:pt x="261087" y="402509"/>
                    <a:pt x="255648" y="391631"/>
                  </a:cubicBezTo>
                  <a:cubicBezTo>
                    <a:pt x="250209" y="380752"/>
                    <a:pt x="244770" y="375313"/>
                    <a:pt x="236610" y="367154"/>
                  </a:cubicBezTo>
                  <a:cubicBezTo>
                    <a:pt x="231171" y="361714"/>
                    <a:pt x="223012" y="361714"/>
                    <a:pt x="217573" y="361714"/>
                  </a:cubicBezTo>
                  <a:cubicBezTo>
                    <a:pt x="212134" y="361714"/>
                    <a:pt x="206694" y="361714"/>
                    <a:pt x="201255" y="361714"/>
                  </a:cubicBezTo>
                  <a:cubicBezTo>
                    <a:pt x="198535" y="361714"/>
                    <a:pt x="198535" y="364434"/>
                    <a:pt x="198535" y="367154"/>
                  </a:cubicBezTo>
                  <a:cubicBezTo>
                    <a:pt x="198535" y="375313"/>
                    <a:pt x="201255" y="386191"/>
                    <a:pt x="201255" y="388911"/>
                  </a:cubicBezTo>
                  <a:cubicBezTo>
                    <a:pt x="201255" y="402509"/>
                    <a:pt x="198535" y="413388"/>
                    <a:pt x="198535" y="426986"/>
                  </a:cubicBezTo>
                  <a:cubicBezTo>
                    <a:pt x="198535" y="446024"/>
                    <a:pt x="203975" y="456902"/>
                    <a:pt x="203975" y="478660"/>
                  </a:cubicBezTo>
                  <a:cubicBezTo>
                    <a:pt x="203975" y="503136"/>
                    <a:pt x="201255" y="527613"/>
                    <a:pt x="198535" y="552090"/>
                  </a:cubicBezTo>
                  <a:cubicBezTo>
                    <a:pt x="198535" y="560249"/>
                    <a:pt x="195816" y="568408"/>
                    <a:pt x="195816" y="576567"/>
                  </a:cubicBezTo>
                  <a:cubicBezTo>
                    <a:pt x="195816" y="582006"/>
                    <a:pt x="195816" y="587446"/>
                    <a:pt x="198535" y="592885"/>
                  </a:cubicBezTo>
                  <a:cubicBezTo>
                    <a:pt x="212134" y="592885"/>
                    <a:pt x="225732" y="592885"/>
                    <a:pt x="233891" y="592885"/>
                  </a:cubicBezTo>
                  <a:cubicBezTo>
                    <a:pt x="247489" y="592885"/>
                    <a:pt x="271966" y="592885"/>
                    <a:pt x="271966" y="611923"/>
                  </a:cubicBezTo>
                  <a:cubicBezTo>
                    <a:pt x="271966" y="620082"/>
                    <a:pt x="269246" y="622801"/>
                    <a:pt x="266527" y="628241"/>
                  </a:cubicBezTo>
                  <a:cubicBezTo>
                    <a:pt x="261087" y="633680"/>
                    <a:pt x="255648" y="636400"/>
                    <a:pt x="250209" y="636400"/>
                  </a:cubicBezTo>
                  <a:cubicBezTo>
                    <a:pt x="239330" y="639119"/>
                    <a:pt x="233891" y="639119"/>
                    <a:pt x="228451" y="639119"/>
                  </a:cubicBezTo>
                  <a:cubicBezTo>
                    <a:pt x="223012" y="639119"/>
                    <a:pt x="206694" y="639119"/>
                    <a:pt x="187657" y="639119"/>
                  </a:cubicBezTo>
                  <a:cubicBezTo>
                    <a:pt x="176778" y="647278"/>
                    <a:pt x="163180" y="649998"/>
                    <a:pt x="152301" y="652717"/>
                  </a:cubicBezTo>
                  <a:cubicBezTo>
                    <a:pt x="146862" y="652717"/>
                    <a:pt x="138703" y="655437"/>
                    <a:pt x="133263" y="655437"/>
                  </a:cubicBezTo>
                  <a:cubicBezTo>
                    <a:pt x="130544" y="655437"/>
                    <a:pt x="125104" y="655437"/>
                    <a:pt x="122385" y="652717"/>
                  </a:cubicBezTo>
                  <a:cubicBezTo>
                    <a:pt x="114226" y="649998"/>
                    <a:pt x="103347" y="644559"/>
                    <a:pt x="97908" y="639119"/>
                  </a:cubicBezTo>
                  <a:cubicBezTo>
                    <a:pt x="87029" y="639119"/>
                    <a:pt x="78870" y="639119"/>
                    <a:pt x="70711" y="639119"/>
                  </a:cubicBezTo>
                  <a:cubicBezTo>
                    <a:pt x="62552" y="639119"/>
                    <a:pt x="54393" y="639119"/>
                    <a:pt x="46234" y="639119"/>
                  </a:cubicBezTo>
                  <a:cubicBezTo>
                    <a:pt x="38075" y="639119"/>
                    <a:pt x="27197" y="633680"/>
                    <a:pt x="19038" y="630960"/>
                  </a:cubicBezTo>
                  <a:cubicBezTo>
                    <a:pt x="10879" y="628241"/>
                    <a:pt x="2720" y="620082"/>
                    <a:pt x="2720" y="614642"/>
                  </a:cubicBezTo>
                  <a:cubicBezTo>
                    <a:pt x="2720" y="611923"/>
                    <a:pt x="2720" y="609203"/>
                    <a:pt x="8159" y="606483"/>
                  </a:cubicBezTo>
                  <a:cubicBezTo>
                    <a:pt x="13599" y="603764"/>
                    <a:pt x="24477" y="601044"/>
                    <a:pt x="29916" y="598324"/>
                  </a:cubicBezTo>
                  <a:cubicBezTo>
                    <a:pt x="43515" y="595605"/>
                    <a:pt x="62552" y="595605"/>
                    <a:pt x="76151" y="592885"/>
                  </a:cubicBezTo>
                  <a:cubicBezTo>
                    <a:pt x="76151" y="587446"/>
                    <a:pt x="73431" y="582006"/>
                    <a:pt x="73431" y="573848"/>
                  </a:cubicBezTo>
                  <a:cubicBezTo>
                    <a:pt x="73431" y="565689"/>
                    <a:pt x="70711" y="516735"/>
                    <a:pt x="70711" y="500417"/>
                  </a:cubicBezTo>
                  <a:cubicBezTo>
                    <a:pt x="70711" y="481379"/>
                    <a:pt x="73431" y="456902"/>
                    <a:pt x="73431" y="437865"/>
                  </a:cubicBezTo>
                  <a:cubicBezTo>
                    <a:pt x="73431" y="416108"/>
                    <a:pt x="70711" y="391631"/>
                    <a:pt x="70711" y="369873"/>
                  </a:cubicBezTo>
                  <a:cubicBezTo>
                    <a:pt x="70711" y="345397"/>
                    <a:pt x="70711" y="318200"/>
                    <a:pt x="70711" y="293723"/>
                  </a:cubicBezTo>
                  <a:cubicBezTo>
                    <a:pt x="70711" y="266526"/>
                    <a:pt x="73431" y="239330"/>
                    <a:pt x="73431" y="212133"/>
                  </a:cubicBezTo>
                  <a:cubicBezTo>
                    <a:pt x="73431" y="187656"/>
                    <a:pt x="76151" y="179498"/>
                    <a:pt x="76151" y="155021"/>
                  </a:cubicBezTo>
                  <a:cubicBezTo>
                    <a:pt x="76151" y="144142"/>
                    <a:pt x="76151" y="130544"/>
                    <a:pt x="76151" y="119665"/>
                  </a:cubicBezTo>
                  <a:cubicBezTo>
                    <a:pt x="76151" y="106067"/>
                    <a:pt x="78870" y="95188"/>
                    <a:pt x="78870" y="84310"/>
                  </a:cubicBezTo>
                  <a:cubicBezTo>
                    <a:pt x="78870" y="78870"/>
                    <a:pt x="78870" y="70711"/>
                    <a:pt x="76151" y="62552"/>
                  </a:cubicBezTo>
                  <a:cubicBezTo>
                    <a:pt x="76151" y="62552"/>
                    <a:pt x="73431" y="62552"/>
                    <a:pt x="67992" y="62552"/>
                  </a:cubicBezTo>
                  <a:cubicBezTo>
                    <a:pt x="59833" y="62552"/>
                    <a:pt x="51674" y="62552"/>
                    <a:pt x="43515" y="62552"/>
                  </a:cubicBezTo>
                  <a:cubicBezTo>
                    <a:pt x="35356" y="62552"/>
                    <a:pt x="24477" y="59833"/>
                    <a:pt x="16318" y="57113"/>
                  </a:cubicBezTo>
                  <a:cubicBezTo>
                    <a:pt x="8159" y="54393"/>
                    <a:pt x="0" y="43515"/>
                    <a:pt x="0" y="40795"/>
                  </a:cubicBezTo>
                  <a:cubicBezTo>
                    <a:pt x="0" y="38075"/>
                    <a:pt x="0" y="35356"/>
                    <a:pt x="5439" y="32636"/>
                  </a:cubicBezTo>
                  <a:cubicBezTo>
                    <a:pt x="10879" y="29917"/>
                    <a:pt x="21758" y="27197"/>
                    <a:pt x="27197" y="24477"/>
                  </a:cubicBezTo>
                  <a:cubicBezTo>
                    <a:pt x="46234" y="21758"/>
                    <a:pt x="62552" y="19038"/>
                    <a:pt x="76151" y="19038"/>
                  </a:cubicBezTo>
                  <a:cubicBezTo>
                    <a:pt x="76151" y="16318"/>
                    <a:pt x="78870" y="16318"/>
                    <a:pt x="78870" y="13598"/>
                  </a:cubicBezTo>
                  <a:cubicBezTo>
                    <a:pt x="84309" y="10879"/>
                    <a:pt x="89749" y="8159"/>
                    <a:pt x="95188" y="5440"/>
                  </a:cubicBezTo>
                  <a:cubicBezTo>
                    <a:pt x="100628" y="2720"/>
                    <a:pt x="106067" y="0"/>
                    <a:pt x="111506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/>
            </a:p>
          </p:txBody>
        </p:sp>
        <p:sp>
          <p:nvSpPr>
            <p:cNvPr id="46" name="Freeform: Shape 45">
              <a:extLst>
                <a:ext uri="{FF2B5EF4-FFF2-40B4-BE49-F238E27FC236}">
                  <a16:creationId xmlns:a16="http://schemas.microsoft.com/office/drawing/2014/main" id="{F01B5A5D-AC20-4D4A-B5F5-61EADCE4E37B}"/>
                </a:ext>
              </a:extLst>
            </p:cNvPr>
            <p:cNvSpPr/>
            <p:nvPr/>
          </p:nvSpPr>
          <p:spPr>
            <a:xfrm>
              <a:off x="8346812" y="4186718"/>
              <a:ext cx="353556" cy="761503"/>
            </a:xfrm>
            <a:custGeom>
              <a:avLst/>
              <a:gdLst>
                <a:gd name="connsiteX0" fmla="*/ 283910 w 353555"/>
                <a:gd name="connsiteY0" fmla="*/ 672820 h 761503"/>
                <a:gd name="connsiteX1" fmla="*/ 321985 w 353555"/>
                <a:gd name="connsiteY1" fmla="*/ 689138 h 761503"/>
                <a:gd name="connsiteX2" fmla="*/ 316546 w 353555"/>
                <a:gd name="connsiteY2" fmla="*/ 705456 h 761503"/>
                <a:gd name="connsiteX3" fmla="*/ 300228 w 353555"/>
                <a:gd name="connsiteY3" fmla="*/ 713615 h 761503"/>
                <a:gd name="connsiteX4" fmla="*/ 278471 w 353555"/>
                <a:gd name="connsiteY4" fmla="*/ 716335 h 761503"/>
                <a:gd name="connsiteX5" fmla="*/ 237676 w 353555"/>
                <a:gd name="connsiteY5" fmla="*/ 716335 h 761503"/>
                <a:gd name="connsiteX6" fmla="*/ 180563 w 353555"/>
                <a:gd name="connsiteY6" fmla="*/ 719054 h 761503"/>
                <a:gd name="connsiteX7" fmla="*/ 126170 w 353555"/>
                <a:gd name="connsiteY7" fmla="*/ 719054 h 761503"/>
                <a:gd name="connsiteX8" fmla="*/ 101693 w 353555"/>
                <a:gd name="connsiteY8" fmla="*/ 719054 h 761503"/>
                <a:gd name="connsiteX9" fmla="*/ 74496 w 353555"/>
                <a:gd name="connsiteY9" fmla="*/ 713615 h 761503"/>
                <a:gd name="connsiteX10" fmla="*/ 58178 w 353555"/>
                <a:gd name="connsiteY10" fmla="*/ 697297 h 761503"/>
                <a:gd name="connsiteX11" fmla="*/ 63618 w 353555"/>
                <a:gd name="connsiteY11" fmla="*/ 689138 h 761503"/>
                <a:gd name="connsiteX12" fmla="*/ 85375 w 353555"/>
                <a:gd name="connsiteY12" fmla="*/ 680979 h 761503"/>
                <a:gd name="connsiteX13" fmla="*/ 131609 w 353555"/>
                <a:gd name="connsiteY13" fmla="*/ 675540 h 761503"/>
                <a:gd name="connsiteX14" fmla="*/ 142488 w 353555"/>
                <a:gd name="connsiteY14" fmla="*/ 675540 h 761503"/>
                <a:gd name="connsiteX15" fmla="*/ 131609 w 353555"/>
                <a:gd name="connsiteY15" fmla="*/ 653783 h 761503"/>
                <a:gd name="connsiteX16" fmla="*/ 128890 w 353555"/>
                <a:gd name="connsiteY16" fmla="*/ 640184 h 761503"/>
                <a:gd name="connsiteX17" fmla="*/ 128890 w 353555"/>
                <a:gd name="connsiteY17" fmla="*/ 629306 h 761503"/>
                <a:gd name="connsiteX18" fmla="*/ 128890 w 353555"/>
                <a:gd name="connsiteY18" fmla="*/ 621147 h 761503"/>
                <a:gd name="connsiteX19" fmla="*/ 128890 w 353555"/>
                <a:gd name="connsiteY19" fmla="*/ 593950 h 761503"/>
                <a:gd name="connsiteX20" fmla="*/ 128890 w 353555"/>
                <a:gd name="connsiteY20" fmla="*/ 583072 h 761503"/>
                <a:gd name="connsiteX21" fmla="*/ 128890 w 353555"/>
                <a:gd name="connsiteY21" fmla="*/ 436210 h 761503"/>
                <a:gd name="connsiteX22" fmla="*/ 128890 w 353555"/>
                <a:gd name="connsiteY22" fmla="*/ 357340 h 761503"/>
                <a:gd name="connsiteX23" fmla="*/ 131609 w 353555"/>
                <a:gd name="connsiteY23" fmla="*/ 289349 h 761503"/>
                <a:gd name="connsiteX24" fmla="*/ 131609 w 353555"/>
                <a:gd name="connsiteY24" fmla="*/ 251274 h 761503"/>
                <a:gd name="connsiteX25" fmla="*/ 131609 w 353555"/>
                <a:gd name="connsiteY25" fmla="*/ 205040 h 761503"/>
                <a:gd name="connsiteX26" fmla="*/ 131609 w 353555"/>
                <a:gd name="connsiteY26" fmla="*/ 139768 h 761503"/>
                <a:gd name="connsiteX27" fmla="*/ 131609 w 353555"/>
                <a:gd name="connsiteY27" fmla="*/ 128889 h 761503"/>
                <a:gd name="connsiteX28" fmla="*/ 126170 w 353555"/>
                <a:gd name="connsiteY28" fmla="*/ 128889 h 761503"/>
                <a:gd name="connsiteX29" fmla="*/ 101693 w 353555"/>
                <a:gd name="connsiteY29" fmla="*/ 128889 h 761503"/>
                <a:gd name="connsiteX30" fmla="*/ 74496 w 353555"/>
                <a:gd name="connsiteY30" fmla="*/ 123450 h 761503"/>
                <a:gd name="connsiteX31" fmla="*/ 58178 w 353555"/>
                <a:gd name="connsiteY31" fmla="*/ 107132 h 761503"/>
                <a:gd name="connsiteX32" fmla="*/ 60898 w 353555"/>
                <a:gd name="connsiteY32" fmla="*/ 98973 h 761503"/>
                <a:gd name="connsiteX33" fmla="*/ 82655 w 353555"/>
                <a:gd name="connsiteY33" fmla="*/ 93534 h 761503"/>
                <a:gd name="connsiteX34" fmla="*/ 131609 w 353555"/>
                <a:gd name="connsiteY34" fmla="*/ 88094 h 761503"/>
                <a:gd name="connsiteX35" fmla="*/ 131609 w 353555"/>
                <a:gd name="connsiteY35" fmla="*/ 82655 h 761503"/>
                <a:gd name="connsiteX36" fmla="*/ 134329 w 353555"/>
                <a:gd name="connsiteY36" fmla="*/ 71776 h 761503"/>
                <a:gd name="connsiteX37" fmla="*/ 147927 w 353555"/>
                <a:gd name="connsiteY37" fmla="*/ 63617 h 761503"/>
                <a:gd name="connsiteX38" fmla="*/ 164245 w 353555"/>
                <a:gd name="connsiteY38" fmla="*/ 58178 h 761503"/>
                <a:gd name="connsiteX39" fmla="*/ 177843 w 353555"/>
                <a:gd name="connsiteY39" fmla="*/ 58178 h 761503"/>
                <a:gd name="connsiteX40" fmla="*/ 196881 w 353555"/>
                <a:gd name="connsiteY40" fmla="*/ 60898 h 761503"/>
                <a:gd name="connsiteX41" fmla="*/ 232237 w 353555"/>
                <a:gd name="connsiteY41" fmla="*/ 88094 h 761503"/>
                <a:gd name="connsiteX42" fmla="*/ 278471 w 353555"/>
                <a:gd name="connsiteY42" fmla="*/ 88094 h 761503"/>
                <a:gd name="connsiteX43" fmla="*/ 316546 w 353555"/>
                <a:gd name="connsiteY43" fmla="*/ 104412 h 761503"/>
                <a:gd name="connsiteX44" fmla="*/ 311107 w 353555"/>
                <a:gd name="connsiteY44" fmla="*/ 120730 h 761503"/>
                <a:gd name="connsiteX45" fmla="*/ 294789 w 353555"/>
                <a:gd name="connsiteY45" fmla="*/ 128889 h 761503"/>
                <a:gd name="connsiteX46" fmla="*/ 273032 w 353555"/>
                <a:gd name="connsiteY46" fmla="*/ 131609 h 761503"/>
                <a:gd name="connsiteX47" fmla="*/ 243115 w 353555"/>
                <a:gd name="connsiteY47" fmla="*/ 131609 h 761503"/>
                <a:gd name="connsiteX48" fmla="*/ 243115 w 353555"/>
                <a:gd name="connsiteY48" fmla="*/ 134329 h 761503"/>
                <a:gd name="connsiteX49" fmla="*/ 248554 w 353555"/>
                <a:gd name="connsiteY49" fmla="*/ 169684 h 761503"/>
                <a:gd name="connsiteX50" fmla="*/ 251274 w 353555"/>
                <a:gd name="connsiteY50" fmla="*/ 205040 h 761503"/>
                <a:gd name="connsiteX51" fmla="*/ 251274 w 353555"/>
                <a:gd name="connsiteY51" fmla="*/ 240395 h 761503"/>
                <a:gd name="connsiteX52" fmla="*/ 251274 w 353555"/>
                <a:gd name="connsiteY52" fmla="*/ 256713 h 761503"/>
                <a:gd name="connsiteX53" fmla="*/ 253994 w 353555"/>
                <a:gd name="connsiteY53" fmla="*/ 270311 h 761503"/>
                <a:gd name="connsiteX54" fmla="*/ 259433 w 353555"/>
                <a:gd name="connsiteY54" fmla="*/ 343742 h 761503"/>
                <a:gd name="connsiteX55" fmla="*/ 262153 w 353555"/>
                <a:gd name="connsiteY55" fmla="*/ 425332 h 761503"/>
                <a:gd name="connsiteX56" fmla="*/ 264872 w 353555"/>
                <a:gd name="connsiteY56" fmla="*/ 490603 h 761503"/>
                <a:gd name="connsiteX57" fmla="*/ 270312 w 353555"/>
                <a:gd name="connsiteY57" fmla="*/ 564034 h 761503"/>
                <a:gd name="connsiteX58" fmla="*/ 270312 w 353555"/>
                <a:gd name="connsiteY58" fmla="*/ 599390 h 761503"/>
                <a:gd name="connsiteX59" fmla="*/ 270312 w 353555"/>
                <a:gd name="connsiteY59" fmla="*/ 637465 h 761503"/>
                <a:gd name="connsiteX60" fmla="*/ 264872 w 353555"/>
                <a:gd name="connsiteY60" fmla="*/ 670101 h 761503"/>
                <a:gd name="connsiteX61" fmla="*/ 283910 w 353555"/>
                <a:gd name="connsiteY61" fmla="*/ 672820 h 761503"/>
                <a:gd name="connsiteX62" fmla="*/ 283910 w 353555"/>
                <a:gd name="connsiteY62" fmla="*/ 672820 h 761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</a:cxnLst>
              <a:rect l="l" t="t" r="r" b="b"/>
              <a:pathLst>
                <a:path w="353555" h="761503">
                  <a:moveTo>
                    <a:pt x="283910" y="672820"/>
                  </a:moveTo>
                  <a:cubicBezTo>
                    <a:pt x="297508" y="672820"/>
                    <a:pt x="321985" y="672820"/>
                    <a:pt x="321985" y="689138"/>
                  </a:cubicBezTo>
                  <a:cubicBezTo>
                    <a:pt x="321985" y="697297"/>
                    <a:pt x="319266" y="697297"/>
                    <a:pt x="316546" y="705456"/>
                  </a:cubicBezTo>
                  <a:cubicBezTo>
                    <a:pt x="311107" y="710895"/>
                    <a:pt x="305667" y="713615"/>
                    <a:pt x="300228" y="713615"/>
                  </a:cubicBezTo>
                  <a:cubicBezTo>
                    <a:pt x="292069" y="716335"/>
                    <a:pt x="283910" y="716335"/>
                    <a:pt x="278471" y="716335"/>
                  </a:cubicBezTo>
                  <a:cubicBezTo>
                    <a:pt x="275751" y="716335"/>
                    <a:pt x="256713" y="716335"/>
                    <a:pt x="237676" y="716335"/>
                  </a:cubicBezTo>
                  <a:cubicBezTo>
                    <a:pt x="213199" y="716335"/>
                    <a:pt x="186003" y="719054"/>
                    <a:pt x="180563" y="719054"/>
                  </a:cubicBezTo>
                  <a:cubicBezTo>
                    <a:pt x="166965" y="719054"/>
                    <a:pt x="142488" y="719054"/>
                    <a:pt x="126170" y="719054"/>
                  </a:cubicBezTo>
                  <a:cubicBezTo>
                    <a:pt x="118011" y="719054"/>
                    <a:pt x="109852" y="719054"/>
                    <a:pt x="101693" y="719054"/>
                  </a:cubicBezTo>
                  <a:cubicBezTo>
                    <a:pt x="93534" y="719054"/>
                    <a:pt x="82655" y="719054"/>
                    <a:pt x="74496" y="713615"/>
                  </a:cubicBezTo>
                  <a:cubicBezTo>
                    <a:pt x="66337" y="710895"/>
                    <a:pt x="58178" y="702736"/>
                    <a:pt x="58178" y="697297"/>
                  </a:cubicBezTo>
                  <a:cubicBezTo>
                    <a:pt x="58178" y="694578"/>
                    <a:pt x="58178" y="691858"/>
                    <a:pt x="63618" y="689138"/>
                  </a:cubicBezTo>
                  <a:cubicBezTo>
                    <a:pt x="69057" y="686418"/>
                    <a:pt x="79936" y="683699"/>
                    <a:pt x="85375" y="680979"/>
                  </a:cubicBezTo>
                  <a:cubicBezTo>
                    <a:pt x="104413" y="678260"/>
                    <a:pt x="123450" y="675540"/>
                    <a:pt x="131609" y="675540"/>
                  </a:cubicBezTo>
                  <a:cubicBezTo>
                    <a:pt x="134329" y="675540"/>
                    <a:pt x="137049" y="675540"/>
                    <a:pt x="142488" y="675540"/>
                  </a:cubicBezTo>
                  <a:cubicBezTo>
                    <a:pt x="134329" y="670101"/>
                    <a:pt x="131609" y="661942"/>
                    <a:pt x="131609" y="653783"/>
                  </a:cubicBezTo>
                  <a:cubicBezTo>
                    <a:pt x="131609" y="648343"/>
                    <a:pt x="131609" y="642904"/>
                    <a:pt x="128890" y="640184"/>
                  </a:cubicBezTo>
                  <a:cubicBezTo>
                    <a:pt x="128890" y="637465"/>
                    <a:pt x="128890" y="634745"/>
                    <a:pt x="128890" y="629306"/>
                  </a:cubicBezTo>
                  <a:cubicBezTo>
                    <a:pt x="128890" y="626586"/>
                    <a:pt x="128890" y="623867"/>
                    <a:pt x="128890" y="621147"/>
                  </a:cubicBezTo>
                  <a:cubicBezTo>
                    <a:pt x="128890" y="612988"/>
                    <a:pt x="128890" y="604829"/>
                    <a:pt x="128890" y="593950"/>
                  </a:cubicBezTo>
                  <a:cubicBezTo>
                    <a:pt x="128890" y="591231"/>
                    <a:pt x="128890" y="585791"/>
                    <a:pt x="128890" y="583072"/>
                  </a:cubicBezTo>
                  <a:cubicBezTo>
                    <a:pt x="128890" y="534118"/>
                    <a:pt x="131609" y="485164"/>
                    <a:pt x="128890" y="436210"/>
                  </a:cubicBezTo>
                  <a:cubicBezTo>
                    <a:pt x="128890" y="409014"/>
                    <a:pt x="128890" y="384537"/>
                    <a:pt x="128890" y="357340"/>
                  </a:cubicBezTo>
                  <a:cubicBezTo>
                    <a:pt x="128890" y="335583"/>
                    <a:pt x="131609" y="313826"/>
                    <a:pt x="131609" y="289349"/>
                  </a:cubicBezTo>
                  <a:cubicBezTo>
                    <a:pt x="131609" y="275751"/>
                    <a:pt x="131609" y="264872"/>
                    <a:pt x="131609" y="251274"/>
                  </a:cubicBezTo>
                  <a:cubicBezTo>
                    <a:pt x="131609" y="234956"/>
                    <a:pt x="131609" y="221357"/>
                    <a:pt x="131609" y="205040"/>
                  </a:cubicBezTo>
                  <a:cubicBezTo>
                    <a:pt x="131609" y="183282"/>
                    <a:pt x="131609" y="161525"/>
                    <a:pt x="131609" y="139768"/>
                  </a:cubicBezTo>
                  <a:cubicBezTo>
                    <a:pt x="131609" y="137048"/>
                    <a:pt x="131609" y="134329"/>
                    <a:pt x="131609" y="128889"/>
                  </a:cubicBezTo>
                  <a:cubicBezTo>
                    <a:pt x="128890" y="128889"/>
                    <a:pt x="126170" y="128889"/>
                    <a:pt x="126170" y="128889"/>
                  </a:cubicBezTo>
                  <a:cubicBezTo>
                    <a:pt x="118011" y="128889"/>
                    <a:pt x="109852" y="128889"/>
                    <a:pt x="101693" y="128889"/>
                  </a:cubicBezTo>
                  <a:cubicBezTo>
                    <a:pt x="93534" y="128889"/>
                    <a:pt x="82655" y="128889"/>
                    <a:pt x="74496" y="123450"/>
                  </a:cubicBezTo>
                  <a:cubicBezTo>
                    <a:pt x="66337" y="120730"/>
                    <a:pt x="58178" y="112571"/>
                    <a:pt x="58178" y="107132"/>
                  </a:cubicBezTo>
                  <a:cubicBezTo>
                    <a:pt x="58178" y="104412"/>
                    <a:pt x="58178" y="101693"/>
                    <a:pt x="60898" y="98973"/>
                  </a:cubicBezTo>
                  <a:cubicBezTo>
                    <a:pt x="63618" y="96253"/>
                    <a:pt x="77216" y="93534"/>
                    <a:pt x="82655" y="93534"/>
                  </a:cubicBezTo>
                  <a:cubicBezTo>
                    <a:pt x="98973" y="90814"/>
                    <a:pt x="123450" y="88094"/>
                    <a:pt x="131609" y="88094"/>
                  </a:cubicBezTo>
                  <a:cubicBezTo>
                    <a:pt x="131609" y="85375"/>
                    <a:pt x="131609" y="85375"/>
                    <a:pt x="131609" y="82655"/>
                  </a:cubicBezTo>
                  <a:cubicBezTo>
                    <a:pt x="131609" y="77216"/>
                    <a:pt x="131609" y="74496"/>
                    <a:pt x="134329" y="71776"/>
                  </a:cubicBezTo>
                  <a:cubicBezTo>
                    <a:pt x="137049" y="69057"/>
                    <a:pt x="145208" y="66337"/>
                    <a:pt x="147927" y="63617"/>
                  </a:cubicBezTo>
                  <a:cubicBezTo>
                    <a:pt x="153366" y="60898"/>
                    <a:pt x="158806" y="58178"/>
                    <a:pt x="164245" y="58178"/>
                  </a:cubicBezTo>
                  <a:cubicBezTo>
                    <a:pt x="169684" y="58178"/>
                    <a:pt x="175124" y="58178"/>
                    <a:pt x="177843" y="58178"/>
                  </a:cubicBezTo>
                  <a:cubicBezTo>
                    <a:pt x="183283" y="58178"/>
                    <a:pt x="191442" y="58178"/>
                    <a:pt x="196881" y="60898"/>
                  </a:cubicBezTo>
                  <a:cubicBezTo>
                    <a:pt x="213199" y="63617"/>
                    <a:pt x="224078" y="74496"/>
                    <a:pt x="232237" y="88094"/>
                  </a:cubicBezTo>
                  <a:cubicBezTo>
                    <a:pt x="253994" y="88094"/>
                    <a:pt x="270312" y="88094"/>
                    <a:pt x="278471" y="88094"/>
                  </a:cubicBezTo>
                  <a:cubicBezTo>
                    <a:pt x="292069" y="88094"/>
                    <a:pt x="316546" y="88094"/>
                    <a:pt x="316546" y="104412"/>
                  </a:cubicBezTo>
                  <a:cubicBezTo>
                    <a:pt x="316546" y="112571"/>
                    <a:pt x="313826" y="112571"/>
                    <a:pt x="311107" y="120730"/>
                  </a:cubicBezTo>
                  <a:cubicBezTo>
                    <a:pt x="305667" y="126170"/>
                    <a:pt x="300228" y="128889"/>
                    <a:pt x="294789" y="128889"/>
                  </a:cubicBezTo>
                  <a:cubicBezTo>
                    <a:pt x="286630" y="131609"/>
                    <a:pt x="278471" y="131609"/>
                    <a:pt x="273032" y="131609"/>
                  </a:cubicBezTo>
                  <a:cubicBezTo>
                    <a:pt x="270312" y="131609"/>
                    <a:pt x="259433" y="131609"/>
                    <a:pt x="243115" y="131609"/>
                  </a:cubicBezTo>
                  <a:lnTo>
                    <a:pt x="243115" y="134329"/>
                  </a:lnTo>
                  <a:cubicBezTo>
                    <a:pt x="245835" y="145207"/>
                    <a:pt x="245835" y="158805"/>
                    <a:pt x="248554" y="169684"/>
                  </a:cubicBezTo>
                  <a:cubicBezTo>
                    <a:pt x="251274" y="180563"/>
                    <a:pt x="251274" y="194161"/>
                    <a:pt x="251274" y="205040"/>
                  </a:cubicBezTo>
                  <a:cubicBezTo>
                    <a:pt x="251274" y="215918"/>
                    <a:pt x="251274" y="226797"/>
                    <a:pt x="251274" y="240395"/>
                  </a:cubicBezTo>
                  <a:cubicBezTo>
                    <a:pt x="251274" y="245834"/>
                    <a:pt x="251274" y="251274"/>
                    <a:pt x="251274" y="256713"/>
                  </a:cubicBezTo>
                  <a:cubicBezTo>
                    <a:pt x="251274" y="262152"/>
                    <a:pt x="251274" y="267592"/>
                    <a:pt x="253994" y="270311"/>
                  </a:cubicBezTo>
                  <a:cubicBezTo>
                    <a:pt x="256713" y="294788"/>
                    <a:pt x="256713" y="319265"/>
                    <a:pt x="259433" y="343742"/>
                  </a:cubicBezTo>
                  <a:cubicBezTo>
                    <a:pt x="259433" y="370939"/>
                    <a:pt x="262153" y="398135"/>
                    <a:pt x="262153" y="425332"/>
                  </a:cubicBezTo>
                  <a:cubicBezTo>
                    <a:pt x="262153" y="447089"/>
                    <a:pt x="262153" y="468846"/>
                    <a:pt x="264872" y="490603"/>
                  </a:cubicBezTo>
                  <a:cubicBezTo>
                    <a:pt x="264872" y="515080"/>
                    <a:pt x="270312" y="539557"/>
                    <a:pt x="270312" y="564034"/>
                  </a:cubicBezTo>
                  <a:cubicBezTo>
                    <a:pt x="270312" y="574913"/>
                    <a:pt x="270312" y="588511"/>
                    <a:pt x="270312" y="599390"/>
                  </a:cubicBezTo>
                  <a:cubicBezTo>
                    <a:pt x="270312" y="612988"/>
                    <a:pt x="270312" y="623867"/>
                    <a:pt x="270312" y="637465"/>
                  </a:cubicBezTo>
                  <a:cubicBezTo>
                    <a:pt x="270312" y="648343"/>
                    <a:pt x="270312" y="661942"/>
                    <a:pt x="264872" y="670101"/>
                  </a:cubicBezTo>
                  <a:cubicBezTo>
                    <a:pt x="273032" y="672820"/>
                    <a:pt x="278471" y="672820"/>
                    <a:pt x="283910" y="672820"/>
                  </a:cubicBezTo>
                  <a:lnTo>
                    <a:pt x="283910" y="672820"/>
                  </a:ln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/>
            </a:p>
          </p:txBody>
        </p:sp>
        <p:sp>
          <p:nvSpPr>
            <p:cNvPr id="47" name="Freeform: Shape 46">
              <a:extLst>
                <a:ext uri="{FF2B5EF4-FFF2-40B4-BE49-F238E27FC236}">
                  <a16:creationId xmlns:a16="http://schemas.microsoft.com/office/drawing/2014/main" id="{EBB7AA59-7E0F-4BB4-B767-0A6C688AD926}"/>
                </a:ext>
              </a:extLst>
            </p:cNvPr>
            <p:cNvSpPr/>
            <p:nvPr/>
          </p:nvSpPr>
          <p:spPr>
            <a:xfrm>
              <a:off x="8652924" y="4192158"/>
              <a:ext cx="516735" cy="788700"/>
            </a:xfrm>
            <a:custGeom>
              <a:avLst/>
              <a:gdLst>
                <a:gd name="connsiteX0" fmla="*/ 464616 w 516735"/>
                <a:gd name="connsiteY0" fmla="*/ 436210 h 788699"/>
                <a:gd name="connsiteX1" fmla="*/ 445578 w 516735"/>
                <a:gd name="connsiteY1" fmla="*/ 455248 h 788699"/>
                <a:gd name="connsiteX2" fmla="*/ 404783 w 516735"/>
                <a:gd name="connsiteY2" fmla="*/ 466126 h 788699"/>
                <a:gd name="connsiteX3" fmla="*/ 385746 w 516735"/>
                <a:gd name="connsiteY3" fmla="*/ 479725 h 788699"/>
                <a:gd name="connsiteX4" fmla="*/ 388466 w 516735"/>
                <a:gd name="connsiteY4" fmla="*/ 512361 h 788699"/>
                <a:gd name="connsiteX5" fmla="*/ 388466 w 516735"/>
                <a:gd name="connsiteY5" fmla="*/ 544997 h 788699"/>
                <a:gd name="connsiteX6" fmla="*/ 388466 w 516735"/>
                <a:gd name="connsiteY6" fmla="*/ 566754 h 788699"/>
                <a:gd name="connsiteX7" fmla="*/ 391185 w 516735"/>
                <a:gd name="connsiteY7" fmla="*/ 632026 h 788699"/>
                <a:gd name="connsiteX8" fmla="*/ 393905 w 516735"/>
                <a:gd name="connsiteY8" fmla="*/ 683699 h 788699"/>
                <a:gd name="connsiteX9" fmla="*/ 377587 w 516735"/>
                <a:gd name="connsiteY9" fmla="*/ 724494 h 788699"/>
                <a:gd name="connsiteX10" fmla="*/ 361269 w 516735"/>
                <a:gd name="connsiteY10" fmla="*/ 719054 h 788699"/>
                <a:gd name="connsiteX11" fmla="*/ 353110 w 516735"/>
                <a:gd name="connsiteY11" fmla="*/ 702737 h 788699"/>
                <a:gd name="connsiteX12" fmla="*/ 350390 w 516735"/>
                <a:gd name="connsiteY12" fmla="*/ 686419 h 788699"/>
                <a:gd name="connsiteX13" fmla="*/ 353110 w 516735"/>
                <a:gd name="connsiteY13" fmla="*/ 659222 h 788699"/>
                <a:gd name="connsiteX14" fmla="*/ 353110 w 516735"/>
                <a:gd name="connsiteY14" fmla="*/ 656502 h 788699"/>
                <a:gd name="connsiteX15" fmla="*/ 317754 w 516735"/>
                <a:gd name="connsiteY15" fmla="*/ 708176 h 788699"/>
                <a:gd name="connsiteX16" fmla="*/ 241604 w 516735"/>
                <a:gd name="connsiteY16" fmla="*/ 735372 h 788699"/>
                <a:gd name="connsiteX17" fmla="*/ 187211 w 516735"/>
                <a:gd name="connsiteY17" fmla="*/ 727214 h 788699"/>
                <a:gd name="connsiteX18" fmla="*/ 135537 w 516735"/>
                <a:gd name="connsiteY18" fmla="*/ 694578 h 788699"/>
                <a:gd name="connsiteX19" fmla="*/ 86583 w 516735"/>
                <a:gd name="connsiteY19" fmla="*/ 621147 h 788699"/>
                <a:gd name="connsiteX20" fmla="*/ 67546 w 516735"/>
                <a:gd name="connsiteY20" fmla="*/ 555875 h 788699"/>
                <a:gd name="connsiteX21" fmla="*/ 59387 w 516735"/>
                <a:gd name="connsiteY21" fmla="*/ 509641 h 788699"/>
                <a:gd name="connsiteX22" fmla="*/ 59387 w 516735"/>
                <a:gd name="connsiteY22" fmla="*/ 468846 h 788699"/>
                <a:gd name="connsiteX23" fmla="*/ 86583 w 516735"/>
                <a:gd name="connsiteY23" fmla="*/ 302947 h 788699"/>
                <a:gd name="connsiteX24" fmla="*/ 108341 w 516735"/>
                <a:gd name="connsiteY24" fmla="*/ 224077 h 788699"/>
                <a:gd name="connsiteX25" fmla="*/ 146416 w 516735"/>
                <a:gd name="connsiteY25" fmla="*/ 145207 h 788699"/>
                <a:gd name="connsiteX26" fmla="*/ 198090 w 516735"/>
                <a:gd name="connsiteY26" fmla="*/ 85375 h 788699"/>
                <a:gd name="connsiteX27" fmla="*/ 228006 w 516735"/>
                <a:gd name="connsiteY27" fmla="*/ 69057 h 788699"/>
                <a:gd name="connsiteX28" fmla="*/ 268801 w 516735"/>
                <a:gd name="connsiteY28" fmla="*/ 58178 h 788699"/>
                <a:gd name="connsiteX29" fmla="*/ 274240 w 516735"/>
                <a:gd name="connsiteY29" fmla="*/ 58178 h 788699"/>
                <a:gd name="connsiteX30" fmla="*/ 295997 w 516735"/>
                <a:gd name="connsiteY30" fmla="*/ 60898 h 788699"/>
                <a:gd name="connsiteX31" fmla="*/ 331353 w 516735"/>
                <a:gd name="connsiteY31" fmla="*/ 71776 h 788699"/>
                <a:gd name="connsiteX32" fmla="*/ 350390 w 516735"/>
                <a:gd name="connsiteY32" fmla="*/ 93534 h 788699"/>
                <a:gd name="connsiteX33" fmla="*/ 353110 w 516735"/>
                <a:gd name="connsiteY33" fmla="*/ 74496 h 788699"/>
                <a:gd name="connsiteX34" fmla="*/ 358549 w 516735"/>
                <a:gd name="connsiteY34" fmla="*/ 63618 h 788699"/>
                <a:gd name="connsiteX35" fmla="*/ 366708 w 516735"/>
                <a:gd name="connsiteY35" fmla="*/ 58178 h 788699"/>
                <a:gd name="connsiteX36" fmla="*/ 374867 w 516735"/>
                <a:gd name="connsiteY36" fmla="*/ 63618 h 788699"/>
                <a:gd name="connsiteX37" fmla="*/ 383027 w 516735"/>
                <a:gd name="connsiteY37" fmla="*/ 82655 h 788699"/>
                <a:gd name="connsiteX38" fmla="*/ 385746 w 516735"/>
                <a:gd name="connsiteY38" fmla="*/ 126170 h 788699"/>
                <a:gd name="connsiteX39" fmla="*/ 388466 w 516735"/>
                <a:gd name="connsiteY39" fmla="*/ 186002 h 788699"/>
                <a:gd name="connsiteX40" fmla="*/ 391185 w 516735"/>
                <a:gd name="connsiteY40" fmla="*/ 237676 h 788699"/>
                <a:gd name="connsiteX41" fmla="*/ 374867 w 516735"/>
                <a:gd name="connsiteY41" fmla="*/ 278470 h 788699"/>
                <a:gd name="connsiteX42" fmla="*/ 358549 w 516735"/>
                <a:gd name="connsiteY42" fmla="*/ 273031 h 788699"/>
                <a:gd name="connsiteX43" fmla="*/ 350390 w 516735"/>
                <a:gd name="connsiteY43" fmla="*/ 256713 h 788699"/>
                <a:gd name="connsiteX44" fmla="*/ 347671 w 516735"/>
                <a:gd name="connsiteY44" fmla="*/ 240395 h 788699"/>
                <a:gd name="connsiteX45" fmla="*/ 347671 w 516735"/>
                <a:gd name="connsiteY45" fmla="*/ 213199 h 788699"/>
                <a:gd name="connsiteX46" fmla="*/ 344951 w 516735"/>
                <a:gd name="connsiteY46" fmla="*/ 194161 h 788699"/>
                <a:gd name="connsiteX47" fmla="*/ 339512 w 516735"/>
                <a:gd name="connsiteY47" fmla="*/ 150647 h 788699"/>
                <a:gd name="connsiteX48" fmla="*/ 323194 w 516735"/>
                <a:gd name="connsiteY48" fmla="*/ 112571 h 788699"/>
                <a:gd name="connsiteX49" fmla="*/ 293278 w 516735"/>
                <a:gd name="connsiteY49" fmla="*/ 101693 h 788699"/>
                <a:gd name="connsiteX50" fmla="*/ 263361 w 516735"/>
                <a:gd name="connsiteY50" fmla="*/ 120730 h 788699"/>
                <a:gd name="connsiteX51" fmla="*/ 241604 w 516735"/>
                <a:gd name="connsiteY51" fmla="*/ 153366 h 788699"/>
                <a:gd name="connsiteX52" fmla="*/ 233445 w 516735"/>
                <a:gd name="connsiteY52" fmla="*/ 194161 h 788699"/>
                <a:gd name="connsiteX53" fmla="*/ 225286 w 516735"/>
                <a:gd name="connsiteY53" fmla="*/ 232236 h 788699"/>
                <a:gd name="connsiteX54" fmla="*/ 217127 w 516735"/>
                <a:gd name="connsiteY54" fmla="*/ 275751 h 788699"/>
                <a:gd name="connsiteX55" fmla="*/ 211688 w 516735"/>
                <a:gd name="connsiteY55" fmla="*/ 316545 h 788699"/>
                <a:gd name="connsiteX56" fmla="*/ 206249 w 516735"/>
                <a:gd name="connsiteY56" fmla="*/ 354621 h 788699"/>
                <a:gd name="connsiteX57" fmla="*/ 200809 w 516735"/>
                <a:gd name="connsiteY57" fmla="*/ 398135 h 788699"/>
                <a:gd name="connsiteX58" fmla="*/ 195370 w 516735"/>
                <a:gd name="connsiteY58" fmla="*/ 438930 h 788699"/>
                <a:gd name="connsiteX59" fmla="*/ 192650 w 516735"/>
                <a:gd name="connsiteY59" fmla="*/ 474286 h 788699"/>
                <a:gd name="connsiteX60" fmla="*/ 195370 w 516735"/>
                <a:gd name="connsiteY60" fmla="*/ 525959 h 788699"/>
                <a:gd name="connsiteX61" fmla="*/ 208968 w 516735"/>
                <a:gd name="connsiteY61" fmla="*/ 596670 h 788699"/>
                <a:gd name="connsiteX62" fmla="*/ 214407 w 516735"/>
                <a:gd name="connsiteY62" fmla="*/ 623867 h 788699"/>
                <a:gd name="connsiteX63" fmla="*/ 228006 w 516735"/>
                <a:gd name="connsiteY63" fmla="*/ 656502 h 788699"/>
                <a:gd name="connsiteX64" fmla="*/ 271520 w 516735"/>
                <a:gd name="connsiteY64" fmla="*/ 689138 h 788699"/>
                <a:gd name="connsiteX65" fmla="*/ 306876 w 516735"/>
                <a:gd name="connsiteY65" fmla="*/ 664661 h 788699"/>
                <a:gd name="connsiteX66" fmla="*/ 331353 w 516735"/>
                <a:gd name="connsiteY66" fmla="*/ 602109 h 788699"/>
                <a:gd name="connsiteX67" fmla="*/ 336792 w 516735"/>
                <a:gd name="connsiteY67" fmla="*/ 544997 h 788699"/>
                <a:gd name="connsiteX68" fmla="*/ 336792 w 516735"/>
                <a:gd name="connsiteY68" fmla="*/ 498762 h 788699"/>
                <a:gd name="connsiteX69" fmla="*/ 336792 w 516735"/>
                <a:gd name="connsiteY69" fmla="*/ 490603 h 788699"/>
                <a:gd name="connsiteX70" fmla="*/ 320474 w 516735"/>
                <a:gd name="connsiteY70" fmla="*/ 477005 h 788699"/>
                <a:gd name="connsiteX71" fmla="*/ 282399 w 516735"/>
                <a:gd name="connsiteY71" fmla="*/ 479725 h 788699"/>
                <a:gd name="connsiteX72" fmla="*/ 252483 w 516735"/>
                <a:gd name="connsiteY72" fmla="*/ 474286 h 788699"/>
                <a:gd name="connsiteX73" fmla="*/ 247044 w 516735"/>
                <a:gd name="connsiteY73" fmla="*/ 466126 h 788699"/>
                <a:gd name="connsiteX74" fmla="*/ 249763 w 516735"/>
                <a:gd name="connsiteY74" fmla="*/ 457968 h 788699"/>
                <a:gd name="connsiteX75" fmla="*/ 268801 w 516735"/>
                <a:gd name="connsiteY75" fmla="*/ 447089 h 788699"/>
                <a:gd name="connsiteX76" fmla="*/ 312315 w 516735"/>
                <a:gd name="connsiteY76" fmla="*/ 436210 h 788699"/>
                <a:gd name="connsiteX77" fmla="*/ 353110 w 516735"/>
                <a:gd name="connsiteY77" fmla="*/ 430771 h 788699"/>
                <a:gd name="connsiteX78" fmla="*/ 385746 w 516735"/>
                <a:gd name="connsiteY78" fmla="*/ 430771 h 788699"/>
                <a:gd name="connsiteX79" fmla="*/ 437420 w 516735"/>
                <a:gd name="connsiteY79" fmla="*/ 428051 h 788699"/>
                <a:gd name="connsiteX80" fmla="*/ 464616 w 516735"/>
                <a:gd name="connsiteY80" fmla="*/ 436210 h 7886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</a:cxnLst>
              <a:rect l="l" t="t" r="r" b="b"/>
              <a:pathLst>
                <a:path w="516735" h="788699">
                  <a:moveTo>
                    <a:pt x="464616" y="436210"/>
                  </a:moveTo>
                  <a:cubicBezTo>
                    <a:pt x="464616" y="447089"/>
                    <a:pt x="453738" y="452528"/>
                    <a:pt x="445578" y="455248"/>
                  </a:cubicBezTo>
                  <a:cubicBezTo>
                    <a:pt x="434700" y="460687"/>
                    <a:pt x="415662" y="463407"/>
                    <a:pt x="404783" y="466126"/>
                  </a:cubicBezTo>
                  <a:cubicBezTo>
                    <a:pt x="393905" y="466126"/>
                    <a:pt x="385746" y="468846"/>
                    <a:pt x="385746" y="479725"/>
                  </a:cubicBezTo>
                  <a:cubicBezTo>
                    <a:pt x="385746" y="487884"/>
                    <a:pt x="388466" y="506921"/>
                    <a:pt x="388466" y="512361"/>
                  </a:cubicBezTo>
                  <a:cubicBezTo>
                    <a:pt x="388466" y="515080"/>
                    <a:pt x="388466" y="539557"/>
                    <a:pt x="388466" y="544997"/>
                  </a:cubicBezTo>
                  <a:cubicBezTo>
                    <a:pt x="388466" y="550436"/>
                    <a:pt x="388466" y="558595"/>
                    <a:pt x="388466" y="566754"/>
                  </a:cubicBezTo>
                  <a:cubicBezTo>
                    <a:pt x="388466" y="591231"/>
                    <a:pt x="388466" y="621147"/>
                    <a:pt x="391185" y="632026"/>
                  </a:cubicBezTo>
                  <a:cubicBezTo>
                    <a:pt x="393905" y="653783"/>
                    <a:pt x="393905" y="661942"/>
                    <a:pt x="393905" y="683699"/>
                  </a:cubicBezTo>
                  <a:cubicBezTo>
                    <a:pt x="393905" y="694578"/>
                    <a:pt x="393905" y="724494"/>
                    <a:pt x="377587" y="724494"/>
                  </a:cubicBezTo>
                  <a:cubicBezTo>
                    <a:pt x="369428" y="724494"/>
                    <a:pt x="366708" y="721774"/>
                    <a:pt x="361269" y="719054"/>
                  </a:cubicBezTo>
                  <a:cubicBezTo>
                    <a:pt x="355830" y="716335"/>
                    <a:pt x="353110" y="708176"/>
                    <a:pt x="353110" y="702737"/>
                  </a:cubicBezTo>
                  <a:cubicBezTo>
                    <a:pt x="350390" y="694578"/>
                    <a:pt x="350390" y="689138"/>
                    <a:pt x="350390" y="686419"/>
                  </a:cubicBezTo>
                  <a:cubicBezTo>
                    <a:pt x="350390" y="678260"/>
                    <a:pt x="353110" y="672820"/>
                    <a:pt x="353110" y="659222"/>
                  </a:cubicBezTo>
                  <a:lnTo>
                    <a:pt x="353110" y="656502"/>
                  </a:lnTo>
                  <a:cubicBezTo>
                    <a:pt x="347671" y="675540"/>
                    <a:pt x="334073" y="694578"/>
                    <a:pt x="317754" y="708176"/>
                  </a:cubicBezTo>
                  <a:cubicBezTo>
                    <a:pt x="293278" y="727214"/>
                    <a:pt x="274240" y="735372"/>
                    <a:pt x="241604" y="735372"/>
                  </a:cubicBezTo>
                  <a:cubicBezTo>
                    <a:pt x="222566" y="735372"/>
                    <a:pt x="203529" y="732653"/>
                    <a:pt x="187211" y="727214"/>
                  </a:cubicBezTo>
                  <a:cubicBezTo>
                    <a:pt x="165454" y="719054"/>
                    <a:pt x="149136" y="708176"/>
                    <a:pt x="135537" y="694578"/>
                  </a:cubicBezTo>
                  <a:cubicBezTo>
                    <a:pt x="113780" y="672820"/>
                    <a:pt x="100182" y="648343"/>
                    <a:pt x="86583" y="621147"/>
                  </a:cubicBezTo>
                  <a:cubicBezTo>
                    <a:pt x="75705" y="599390"/>
                    <a:pt x="70266" y="580352"/>
                    <a:pt x="67546" y="555875"/>
                  </a:cubicBezTo>
                  <a:cubicBezTo>
                    <a:pt x="64826" y="539557"/>
                    <a:pt x="62107" y="525959"/>
                    <a:pt x="59387" y="509641"/>
                  </a:cubicBezTo>
                  <a:cubicBezTo>
                    <a:pt x="56667" y="493323"/>
                    <a:pt x="59387" y="485164"/>
                    <a:pt x="59387" y="468846"/>
                  </a:cubicBezTo>
                  <a:cubicBezTo>
                    <a:pt x="59387" y="414453"/>
                    <a:pt x="72985" y="362780"/>
                    <a:pt x="86583" y="302947"/>
                  </a:cubicBezTo>
                  <a:cubicBezTo>
                    <a:pt x="92023" y="275751"/>
                    <a:pt x="100182" y="248554"/>
                    <a:pt x="108341" y="224077"/>
                  </a:cubicBezTo>
                  <a:cubicBezTo>
                    <a:pt x="116500" y="196881"/>
                    <a:pt x="130098" y="169684"/>
                    <a:pt x="146416" y="145207"/>
                  </a:cubicBezTo>
                  <a:cubicBezTo>
                    <a:pt x="160014" y="123450"/>
                    <a:pt x="176332" y="101693"/>
                    <a:pt x="198090" y="85375"/>
                  </a:cubicBezTo>
                  <a:cubicBezTo>
                    <a:pt x="206249" y="77216"/>
                    <a:pt x="217127" y="71776"/>
                    <a:pt x="228006" y="69057"/>
                  </a:cubicBezTo>
                  <a:cubicBezTo>
                    <a:pt x="241604" y="63618"/>
                    <a:pt x="255202" y="58178"/>
                    <a:pt x="268801" y="58178"/>
                  </a:cubicBezTo>
                  <a:cubicBezTo>
                    <a:pt x="271520" y="58178"/>
                    <a:pt x="274240" y="58178"/>
                    <a:pt x="274240" y="58178"/>
                  </a:cubicBezTo>
                  <a:cubicBezTo>
                    <a:pt x="279679" y="58178"/>
                    <a:pt x="285119" y="58178"/>
                    <a:pt x="295997" y="60898"/>
                  </a:cubicBezTo>
                  <a:cubicBezTo>
                    <a:pt x="309595" y="63618"/>
                    <a:pt x="320474" y="66337"/>
                    <a:pt x="331353" y="71776"/>
                  </a:cubicBezTo>
                  <a:cubicBezTo>
                    <a:pt x="339512" y="77216"/>
                    <a:pt x="347671" y="85375"/>
                    <a:pt x="350390" y="93534"/>
                  </a:cubicBezTo>
                  <a:cubicBezTo>
                    <a:pt x="350390" y="88095"/>
                    <a:pt x="353110" y="79936"/>
                    <a:pt x="353110" y="74496"/>
                  </a:cubicBezTo>
                  <a:cubicBezTo>
                    <a:pt x="355830" y="71776"/>
                    <a:pt x="355830" y="69057"/>
                    <a:pt x="358549" y="63618"/>
                  </a:cubicBezTo>
                  <a:cubicBezTo>
                    <a:pt x="361269" y="60898"/>
                    <a:pt x="363989" y="58178"/>
                    <a:pt x="366708" y="58178"/>
                  </a:cubicBezTo>
                  <a:cubicBezTo>
                    <a:pt x="369428" y="58178"/>
                    <a:pt x="372148" y="60898"/>
                    <a:pt x="374867" y="63618"/>
                  </a:cubicBezTo>
                  <a:cubicBezTo>
                    <a:pt x="377587" y="69057"/>
                    <a:pt x="380307" y="77216"/>
                    <a:pt x="383027" y="82655"/>
                  </a:cubicBezTo>
                  <a:cubicBezTo>
                    <a:pt x="383027" y="90814"/>
                    <a:pt x="385746" y="107132"/>
                    <a:pt x="385746" y="126170"/>
                  </a:cubicBezTo>
                  <a:cubicBezTo>
                    <a:pt x="385746" y="150647"/>
                    <a:pt x="385746" y="177843"/>
                    <a:pt x="388466" y="186002"/>
                  </a:cubicBezTo>
                  <a:cubicBezTo>
                    <a:pt x="391185" y="207759"/>
                    <a:pt x="391185" y="215918"/>
                    <a:pt x="391185" y="237676"/>
                  </a:cubicBezTo>
                  <a:cubicBezTo>
                    <a:pt x="391185" y="248554"/>
                    <a:pt x="391185" y="278470"/>
                    <a:pt x="374867" y="278470"/>
                  </a:cubicBezTo>
                  <a:cubicBezTo>
                    <a:pt x="366708" y="278470"/>
                    <a:pt x="363989" y="275751"/>
                    <a:pt x="358549" y="273031"/>
                  </a:cubicBezTo>
                  <a:cubicBezTo>
                    <a:pt x="353110" y="270311"/>
                    <a:pt x="350390" y="262152"/>
                    <a:pt x="350390" y="256713"/>
                  </a:cubicBezTo>
                  <a:cubicBezTo>
                    <a:pt x="350390" y="251274"/>
                    <a:pt x="347671" y="245834"/>
                    <a:pt x="347671" y="240395"/>
                  </a:cubicBezTo>
                  <a:cubicBezTo>
                    <a:pt x="347671" y="232236"/>
                    <a:pt x="347671" y="224077"/>
                    <a:pt x="347671" y="213199"/>
                  </a:cubicBezTo>
                  <a:cubicBezTo>
                    <a:pt x="347671" y="207759"/>
                    <a:pt x="347671" y="199600"/>
                    <a:pt x="344951" y="194161"/>
                  </a:cubicBezTo>
                  <a:cubicBezTo>
                    <a:pt x="342232" y="180563"/>
                    <a:pt x="342232" y="164245"/>
                    <a:pt x="339512" y="150647"/>
                  </a:cubicBezTo>
                  <a:cubicBezTo>
                    <a:pt x="336792" y="137048"/>
                    <a:pt x="331353" y="123450"/>
                    <a:pt x="323194" y="112571"/>
                  </a:cubicBezTo>
                  <a:cubicBezTo>
                    <a:pt x="317754" y="104412"/>
                    <a:pt x="304156" y="101693"/>
                    <a:pt x="293278" y="101693"/>
                  </a:cubicBezTo>
                  <a:cubicBezTo>
                    <a:pt x="279679" y="101693"/>
                    <a:pt x="271520" y="109852"/>
                    <a:pt x="263361" y="120730"/>
                  </a:cubicBezTo>
                  <a:cubicBezTo>
                    <a:pt x="257922" y="131609"/>
                    <a:pt x="247044" y="139768"/>
                    <a:pt x="241604" y="153366"/>
                  </a:cubicBezTo>
                  <a:cubicBezTo>
                    <a:pt x="236165" y="166964"/>
                    <a:pt x="233445" y="180563"/>
                    <a:pt x="233445" y="194161"/>
                  </a:cubicBezTo>
                  <a:cubicBezTo>
                    <a:pt x="233445" y="207759"/>
                    <a:pt x="230725" y="218638"/>
                    <a:pt x="225286" y="232236"/>
                  </a:cubicBezTo>
                  <a:cubicBezTo>
                    <a:pt x="219847" y="245834"/>
                    <a:pt x="219847" y="262152"/>
                    <a:pt x="217127" y="275751"/>
                  </a:cubicBezTo>
                  <a:cubicBezTo>
                    <a:pt x="214407" y="289349"/>
                    <a:pt x="214407" y="302947"/>
                    <a:pt x="211688" y="316545"/>
                  </a:cubicBezTo>
                  <a:cubicBezTo>
                    <a:pt x="211688" y="330144"/>
                    <a:pt x="206249" y="341022"/>
                    <a:pt x="206249" y="354621"/>
                  </a:cubicBezTo>
                  <a:cubicBezTo>
                    <a:pt x="203529" y="368219"/>
                    <a:pt x="203529" y="381817"/>
                    <a:pt x="200809" y="398135"/>
                  </a:cubicBezTo>
                  <a:cubicBezTo>
                    <a:pt x="198090" y="411733"/>
                    <a:pt x="198090" y="425332"/>
                    <a:pt x="195370" y="438930"/>
                  </a:cubicBezTo>
                  <a:cubicBezTo>
                    <a:pt x="195370" y="449809"/>
                    <a:pt x="192650" y="463407"/>
                    <a:pt x="192650" y="474286"/>
                  </a:cubicBezTo>
                  <a:cubicBezTo>
                    <a:pt x="192650" y="490603"/>
                    <a:pt x="195370" y="509641"/>
                    <a:pt x="195370" y="525959"/>
                  </a:cubicBezTo>
                  <a:cubicBezTo>
                    <a:pt x="195370" y="550436"/>
                    <a:pt x="203529" y="572193"/>
                    <a:pt x="208968" y="596670"/>
                  </a:cubicBezTo>
                  <a:cubicBezTo>
                    <a:pt x="211688" y="604829"/>
                    <a:pt x="211688" y="615708"/>
                    <a:pt x="214407" y="623867"/>
                  </a:cubicBezTo>
                  <a:cubicBezTo>
                    <a:pt x="217127" y="634745"/>
                    <a:pt x="222566" y="645624"/>
                    <a:pt x="228006" y="656502"/>
                  </a:cubicBezTo>
                  <a:cubicBezTo>
                    <a:pt x="236165" y="670101"/>
                    <a:pt x="252483" y="689138"/>
                    <a:pt x="271520" y="689138"/>
                  </a:cubicBezTo>
                  <a:cubicBezTo>
                    <a:pt x="287838" y="689138"/>
                    <a:pt x="298717" y="675540"/>
                    <a:pt x="306876" y="664661"/>
                  </a:cubicBezTo>
                  <a:cubicBezTo>
                    <a:pt x="320474" y="645624"/>
                    <a:pt x="325914" y="623867"/>
                    <a:pt x="331353" y="602109"/>
                  </a:cubicBezTo>
                  <a:cubicBezTo>
                    <a:pt x="334073" y="583072"/>
                    <a:pt x="336792" y="564034"/>
                    <a:pt x="336792" y="544997"/>
                  </a:cubicBezTo>
                  <a:cubicBezTo>
                    <a:pt x="336792" y="531398"/>
                    <a:pt x="336792" y="512361"/>
                    <a:pt x="336792" y="498762"/>
                  </a:cubicBezTo>
                  <a:cubicBezTo>
                    <a:pt x="336792" y="496043"/>
                    <a:pt x="336792" y="493323"/>
                    <a:pt x="336792" y="490603"/>
                  </a:cubicBezTo>
                  <a:cubicBezTo>
                    <a:pt x="336792" y="479725"/>
                    <a:pt x="336792" y="477005"/>
                    <a:pt x="320474" y="477005"/>
                  </a:cubicBezTo>
                  <a:cubicBezTo>
                    <a:pt x="309595" y="477005"/>
                    <a:pt x="295997" y="479725"/>
                    <a:pt x="282399" y="479725"/>
                  </a:cubicBezTo>
                  <a:cubicBezTo>
                    <a:pt x="271520" y="479725"/>
                    <a:pt x="260642" y="479725"/>
                    <a:pt x="252483" y="474286"/>
                  </a:cubicBezTo>
                  <a:cubicBezTo>
                    <a:pt x="249763" y="471566"/>
                    <a:pt x="247044" y="468846"/>
                    <a:pt x="247044" y="466126"/>
                  </a:cubicBezTo>
                  <a:cubicBezTo>
                    <a:pt x="247044" y="463407"/>
                    <a:pt x="247044" y="460687"/>
                    <a:pt x="249763" y="457968"/>
                  </a:cubicBezTo>
                  <a:cubicBezTo>
                    <a:pt x="255202" y="452528"/>
                    <a:pt x="260642" y="449809"/>
                    <a:pt x="268801" y="447089"/>
                  </a:cubicBezTo>
                  <a:cubicBezTo>
                    <a:pt x="282399" y="441650"/>
                    <a:pt x="295997" y="438930"/>
                    <a:pt x="312315" y="436210"/>
                  </a:cubicBezTo>
                  <a:cubicBezTo>
                    <a:pt x="325914" y="433491"/>
                    <a:pt x="339512" y="433491"/>
                    <a:pt x="353110" y="430771"/>
                  </a:cubicBezTo>
                  <a:cubicBezTo>
                    <a:pt x="363989" y="430771"/>
                    <a:pt x="374867" y="430771"/>
                    <a:pt x="385746" y="430771"/>
                  </a:cubicBezTo>
                  <a:cubicBezTo>
                    <a:pt x="402064" y="430771"/>
                    <a:pt x="426541" y="428051"/>
                    <a:pt x="437420" y="428051"/>
                  </a:cubicBezTo>
                  <a:cubicBezTo>
                    <a:pt x="451018" y="422612"/>
                    <a:pt x="464616" y="425332"/>
                    <a:pt x="464616" y="436210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/>
            </a:p>
          </p:txBody>
        </p:sp>
        <p:sp>
          <p:nvSpPr>
            <p:cNvPr id="48" name="Freeform: Shape 47">
              <a:extLst>
                <a:ext uri="{FF2B5EF4-FFF2-40B4-BE49-F238E27FC236}">
                  <a16:creationId xmlns:a16="http://schemas.microsoft.com/office/drawing/2014/main" id="{F208AE6F-C8BE-4B86-B1BE-7988067A1FC0}"/>
                </a:ext>
              </a:extLst>
            </p:cNvPr>
            <p:cNvSpPr/>
            <p:nvPr/>
          </p:nvSpPr>
          <p:spPr>
            <a:xfrm>
              <a:off x="9053923" y="4178559"/>
              <a:ext cx="625521" cy="788700"/>
            </a:xfrm>
            <a:custGeom>
              <a:avLst/>
              <a:gdLst>
                <a:gd name="connsiteX0" fmla="*/ 536838 w 625521"/>
                <a:gd name="connsiteY0" fmla="*/ 680979 h 788699"/>
                <a:gd name="connsiteX1" fmla="*/ 574913 w 625521"/>
                <a:gd name="connsiteY1" fmla="*/ 697297 h 788699"/>
                <a:gd name="connsiteX2" fmla="*/ 566755 w 625521"/>
                <a:gd name="connsiteY2" fmla="*/ 713615 h 788699"/>
                <a:gd name="connsiteX3" fmla="*/ 550437 w 625521"/>
                <a:gd name="connsiteY3" fmla="*/ 721774 h 788699"/>
                <a:gd name="connsiteX4" fmla="*/ 528680 w 625521"/>
                <a:gd name="connsiteY4" fmla="*/ 724494 h 788699"/>
                <a:gd name="connsiteX5" fmla="*/ 417174 w 625521"/>
                <a:gd name="connsiteY5" fmla="*/ 724494 h 788699"/>
                <a:gd name="connsiteX6" fmla="*/ 398136 w 625521"/>
                <a:gd name="connsiteY6" fmla="*/ 724494 h 788699"/>
                <a:gd name="connsiteX7" fmla="*/ 373659 w 625521"/>
                <a:gd name="connsiteY7" fmla="*/ 724494 h 788699"/>
                <a:gd name="connsiteX8" fmla="*/ 346462 w 625521"/>
                <a:gd name="connsiteY8" fmla="*/ 719054 h 788699"/>
                <a:gd name="connsiteX9" fmla="*/ 330144 w 625521"/>
                <a:gd name="connsiteY9" fmla="*/ 702737 h 788699"/>
                <a:gd name="connsiteX10" fmla="*/ 335584 w 625521"/>
                <a:gd name="connsiteY10" fmla="*/ 694578 h 788699"/>
                <a:gd name="connsiteX11" fmla="*/ 357341 w 625521"/>
                <a:gd name="connsiteY11" fmla="*/ 686419 h 788699"/>
                <a:gd name="connsiteX12" fmla="*/ 395416 w 625521"/>
                <a:gd name="connsiteY12" fmla="*/ 680979 h 788699"/>
                <a:gd name="connsiteX13" fmla="*/ 381817 w 625521"/>
                <a:gd name="connsiteY13" fmla="*/ 656502 h 788699"/>
                <a:gd name="connsiteX14" fmla="*/ 379098 w 625521"/>
                <a:gd name="connsiteY14" fmla="*/ 585791 h 788699"/>
                <a:gd name="connsiteX15" fmla="*/ 379098 w 625521"/>
                <a:gd name="connsiteY15" fmla="*/ 517800 h 788699"/>
                <a:gd name="connsiteX16" fmla="*/ 379098 w 625521"/>
                <a:gd name="connsiteY16" fmla="*/ 474286 h 788699"/>
                <a:gd name="connsiteX17" fmla="*/ 379098 w 625521"/>
                <a:gd name="connsiteY17" fmla="*/ 430771 h 788699"/>
                <a:gd name="connsiteX18" fmla="*/ 381817 w 625521"/>
                <a:gd name="connsiteY18" fmla="*/ 411733 h 788699"/>
                <a:gd name="connsiteX19" fmla="*/ 379098 w 625521"/>
                <a:gd name="connsiteY19" fmla="*/ 400855 h 788699"/>
                <a:gd name="connsiteX20" fmla="*/ 370939 w 625521"/>
                <a:gd name="connsiteY20" fmla="*/ 398135 h 788699"/>
                <a:gd name="connsiteX21" fmla="*/ 338304 w 625521"/>
                <a:gd name="connsiteY21" fmla="*/ 400855 h 788699"/>
                <a:gd name="connsiteX22" fmla="*/ 289349 w 625521"/>
                <a:gd name="connsiteY22" fmla="*/ 403575 h 788699"/>
                <a:gd name="connsiteX23" fmla="*/ 264872 w 625521"/>
                <a:gd name="connsiteY23" fmla="*/ 400855 h 788699"/>
                <a:gd name="connsiteX24" fmla="*/ 259433 w 625521"/>
                <a:gd name="connsiteY24" fmla="*/ 406294 h 788699"/>
                <a:gd name="connsiteX25" fmla="*/ 259433 w 625521"/>
                <a:gd name="connsiteY25" fmla="*/ 425332 h 788699"/>
                <a:gd name="connsiteX26" fmla="*/ 259433 w 625521"/>
                <a:gd name="connsiteY26" fmla="*/ 449809 h 788699"/>
                <a:gd name="connsiteX27" fmla="*/ 259433 w 625521"/>
                <a:gd name="connsiteY27" fmla="*/ 471566 h 788699"/>
                <a:gd name="connsiteX28" fmla="*/ 259433 w 625521"/>
                <a:gd name="connsiteY28" fmla="*/ 504202 h 788699"/>
                <a:gd name="connsiteX29" fmla="*/ 259433 w 625521"/>
                <a:gd name="connsiteY29" fmla="*/ 509641 h 788699"/>
                <a:gd name="connsiteX30" fmla="*/ 256714 w 625521"/>
                <a:gd name="connsiteY30" fmla="*/ 542277 h 788699"/>
                <a:gd name="connsiteX31" fmla="*/ 256714 w 625521"/>
                <a:gd name="connsiteY31" fmla="*/ 577632 h 788699"/>
                <a:gd name="connsiteX32" fmla="*/ 256714 w 625521"/>
                <a:gd name="connsiteY32" fmla="*/ 612988 h 788699"/>
                <a:gd name="connsiteX33" fmla="*/ 253994 w 625521"/>
                <a:gd name="connsiteY33" fmla="*/ 656502 h 788699"/>
                <a:gd name="connsiteX34" fmla="*/ 256714 w 625521"/>
                <a:gd name="connsiteY34" fmla="*/ 678260 h 788699"/>
                <a:gd name="connsiteX35" fmla="*/ 286629 w 625521"/>
                <a:gd name="connsiteY35" fmla="*/ 694578 h 788699"/>
                <a:gd name="connsiteX36" fmla="*/ 281191 w 625521"/>
                <a:gd name="connsiteY36" fmla="*/ 710895 h 788699"/>
                <a:gd name="connsiteX37" fmla="*/ 264872 w 625521"/>
                <a:gd name="connsiteY37" fmla="*/ 719054 h 788699"/>
                <a:gd name="connsiteX38" fmla="*/ 243116 w 625521"/>
                <a:gd name="connsiteY38" fmla="*/ 721774 h 788699"/>
                <a:gd name="connsiteX39" fmla="*/ 243116 w 625521"/>
                <a:gd name="connsiteY39" fmla="*/ 721774 h 788699"/>
                <a:gd name="connsiteX40" fmla="*/ 232236 w 625521"/>
                <a:gd name="connsiteY40" fmla="*/ 727214 h 788699"/>
                <a:gd name="connsiteX41" fmla="*/ 224078 w 625521"/>
                <a:gd name="connsiteY41" fmla="*/ 735372 h 788699"/>
                <a:gd name="connsiteX42" fmla="*/ 213199 w 625521"/>
                <a:gd name="connsiteY42" fmla="*/ 738092 h 788699"/>
                <a:gd name="connsiteX43" fmla="*/ 183283 w 625521"/>
                <a:gd name="connsiteY43" fmla="*/ 727214 h 788699"/>
                <a:gd name="connsiteX44" fmla="*/ 175124 w 625521"/>
                <a:gd name="connsiteY44" fmla="*/ 719054 h 788699"/>
                <a:gd name="connsiteX45" fmla="*/ 145208 w 625521"/>
                <a:gd name="connsiteY45" fmla="*/ 719054 h 788699"/>
                <a:gd name="connsiteX46" fmla="*/ 126170 w 625521"/>
                <a:gd name="connsiteY46" fmla="*/ 719054 h 788699"/>
                <a:gd name="connsiteX47" fmla="*/ 101693 w 625521"/>
                <a:gd name="connsiteY47" fmla="*/ 719054 h 788699"/>
                <a:gd name="connsiteX48" fmla="*/ 74496 w 625521"/>
                <a:gd name="connsiteY48" fmla="*/ 713615 h 788699"/>
                <a:gd name="connsiteX49" fmla="*/ 58178 w 625521"/>
                <a:gd name="connsiteY49" fmla="*/ 697297 h 788699"/>
                <a:gd name="connsiteX50" fmla="*/ 63618 w 625521"/>
                <a:gd name="connsiteY50" fmla="*/ 689138 h 788699"/>
                <a:gd name="connsiteX51" fmla="*/ 85375 w 625521"/>
                <a:gd name="connsiteY51" fmla="*/ 680979 h 788699"/>
                <a:gd name="connsiteX52" fmla="*/ 131609 w 625521"/>
                <a:gd name="connsiteY52" fmla="*/ 675540 h 788699"/>
                <a:gd name="connsiteX53" fmla="*/ 131609 w 625521"/>
                <a:gd name="connsiteY53" fmla="*/ 667381 h 788699"/>
                <a:gd name="connsiteX54" fmla="*/ 131609 w 625521"/>
                <a:gd name="connsiteY54" fmla="*/ 651063 h 788699"/>
                <a:gd name="connsiteX55" fmla="*/ 131609 w 625521"/>
                <a:gd name="connsiteY55" fmla="*/ 618427 h 788699"/>
                <a:gd name="connsiteX56" fmla="*/ 131609 w 625521"/>
                <a:gd name="connsiteY56" fmla="*/ 580352 h 788699"/>
                <a:gd name="connsiteX57" fmla="*/ 131609 w 625521"/>
                <a:gd name="connsiteY57" fmla="*/ 531398 h 788699"/>
                <a:gd name="connsiteX58" fmla="*/ 131609 w 625521"/>
                <a:gd name="connsiteY58" fmla="*/ 466126 h 788699"/>
                <a:gd name="connsiteX59" fmla="*/ 131609 w 625521"/>
                <a:gd name="connsiteY59" fmla="*/ 422612 h 788699"/>
                <a:gd name="connsiteX60" fmla="*/ 131609 w 625521"/>
                <a:gd name="connsiteY60" fmla="*/ 411733 h 788699"/>
                <a:gd name="connsiteX61" fmla="*/ 131609 w 625521"/>
                <a:gd name="connsiteY61" fmla="*/ 398135 h 788699"/>
                <a:gd name="connsiteX62" fmla="*/ 126170 w 625521"/>
                <a:gd name="connsiteY62" fmla="*/ 389976 h 788699"/>
                <a:gd name="connsiteX63" fmla="*/ 101693 w 625521"/>
                <a:gd name="connsiteY63" fmla="*/ 387257 h 788699"/>
                <a:gd name="connsiteX64" fmla="*/ 77216 w 625521"/>
                <a:gd name="connsiteY64" fmla="*/ 376378 h 788699"/>
                <a:gd name="connsiteX65" fmla="*/ 82655 w 625521"/>
                <a:gd name="connsiteY65" fmla="*/ 368219 h 788699"/>
                <a:gd name="connsiteX66" fmla="*/ 98973 w 625521"/>
                <a:gd name="connsiteY66" fmla="*/ 360060 h 788699"/>
                <a:gd name="connsiteX67" fmla="*/ 118011 w 625521"/>
                <a:gd name="connsiteY67" fmla="*/ 357340 h 788699"/>
                <a:gd name="connsiteX68" fmla="*/ 131609 w 625521"/>
                <a:gd name="connsiteY68" fmla="*/ 351901 h 788699"/>
                <a:gd name="connsiteX69" fmla="*/ 131609 w 625521"/>
                <a:gd name="connsiteY69" fmla="*/ 343742 h 788699"/>
                <a:gd name="connsiteX70" fmla="*/ 131609 w 625521"/>
                <a:gd name="connsiteY70" fmla="*/ 270311 h 788699"/>
                <a:gd name="connsiteX71" fmla="*/ 137048 w 625521"/>
                <a:gd name="connsiteY71" fmla="*/ 145207 h 788699"/>
                <a:gd name="connsiteX72" fmla="*/ 139768 w 625521"/>
                <a:gd name="connsiteY72" fmla="*/ 123450 h 788699"/>
                <a:gd name="connsiteX73" fmla="*/ 123450 w 625521"/>
                <a:gd name="connsiteY73" fmla="*/ 123450 h 788699"/>
                <a:gd name="connsiteX74" fmla="*/ 118011 w 625521"/>
                <a:gd name="connsiteY74" fmla="*/ 123450 h 788699"/>
                <a:gd name="connsiteX75" fmla="*/ 101693 w 625521"/>
                <a:gd name="connsiteY75" fmla="*/ 123450 h 788699"/>
                <a:gd name="connsiteX76" fmla="*/ 74496 w 625521"/>
                <a:gd name="connsiteY76" fmla="*/ 118011 h 788699"/>
                <a:gd name="connsiteX77" fmla="*/ 58178 w 625521"/>
                <a:gd name="connsiteY77" fmla="*/ 101693 h 788699"/>
                <a:gd name="connsiteX78" fmla="*/ 63618 w 625521"/>
                <a:gd name="connsiteY78" fmla="*/ 93534 h 788699"/>
                <a:gd name="connsiteX79" fmla="*/ 85375 w 625521"/>
                <a:gd name="connsiteY79" fmla="*/ 85375 h 788699"/>
                <a:gd name="connsiteX80" fmla="*/ 137048 w 625521"/>
                <a:gd name="connsiteY80" fmla="*/ 82655 h 788699"/>
                <a:gd name="connsiteX81" fmla="*/ 147927 w 625521"/>
                <a:gd name="connsiteY81" fmla="*/ 82655 h 788699"/>
                <a:gd name="connsiteX82" fmla="*/ 186003 w 625521"/>
                <a:gd name="connsiteY82" fmla="*/ 58178 h 788699"/>
                <a:gd name="connsiteX83" fmla="*/ 226797 w 625521"/>
                <a:gd name="connsiteY83" fmla="*/ 79936 h 788699"/>
                <a:gd name="connsiteX84" fmla="*/ 253994 w 625521"/>
                <a:gd name="connsiteY84" fmla="*/ 79936 h 788699"/>
                <a:gd name="connsiteX85" fmla="*/ 294789 w 625521"/>
                <a:gd name="connsiteY85" fmla="*/ 96253 h 788699"/>
                <a:gd name="connsiteX86" fmla="*/ 283910 w 625521"/>
                <a:gd name="connsiteY86" fmla="*/ 112571 h 788699"/>
                <a:gd name="connsiteX87" fmla="*/ 267592 w 625521"/>
                <a:gd name="connsiteY87" fmla="*/ 120730 h 788699"/>
                <a:gd name="connsiteX88" fmla="*/ 245835 w 625521"/>
                <a:gd name="connsiteY88" fmla="*/ 123450 h 788699"/>
                <a:gd name="connsiteX89" fmla="*/ 237676 w 625521"/>
                <a:gd name="connsiteY89" fmla="*/ 123450 h 788699"/>
                <a:gd name="connsiteX90" fmla="*/ 240396 w 625521"/>
                <a:gd name="connsiteY90" fmla="*/ 128889 h 788699"/>
                <a:gd name="connsiteX91" fmla="*/ 251274 w 625521"/>
                <a:gd name="connsiteY91" fmla="*/ 177843 h 788699"/>
                <a:gd name="connsiteX92" fmla="*/ 256714 w 625521"/>
                <a:gd name="connsiteY92" fmla="*/ 226797 h 788699"/>
                <a:gd name="connsiteX93" fmla="*/ 262153 w 625521"/>
                <a:gd name="connsiteY93" fmla="*/ 273031 h 788699"/>
                <a:gd name="connsiteX94" fmla="*/ 262153 w 625521"/>
                <a:gd name="connsiteY94" fmla="*/ 289349 h 788699"/>
                <a:gd name="connsiteX95" fmla="*/ 262153 w 625521"/>
                <a:gd name="connsiteY95" fmla="*/ 297508 h 788699"/>
                <a:gd name="connsiteX96" fmla="*/ 264872 w 625521"/>
                <a:gd name="connsiteY96" fmla="*/ 321985 h 788699"/>
                <a:gd name="connsiteX97" fmla="*/ 270312 w 625521"/>
                <a:gd name="connsiteY97" fmla="*/ 335583 h 788699"/>
                <a:gd name="connsiteX98" fmla="*/ 270312 w 625521"/>
                <a:gd name="connsiteY98" fmla="*/ 338303 h 788699"/>
                <a:gd name="connsiteX99" fmla="*/ 270312 w 625521"/>
                <a:gd name="connsiteY99" fmla="*/ 346462 h 788699"/>
                <a:gd name="connsiteX100" fmla="*/ 278471 w 625521"/>
                <a:gd name="connsiteY100" fmla="*/ 354621 h 788699"/>
                <a:gd name="connsiteX101" fmla="*/ 338304 w 625521"/>
                <a:gd name="connsiteY101" fmla="*/ 349181 h 788699"/>
                <a:gd name="connsiteX102" fmla="*/ 365500 w 625521"/>
                <a:gd name="connsiteY102" fmla="*/ 349181 h 788699"/>
                <a:gd name="connsiteX103" fmla="*/ 381817 w 625521"/>
                <a:gd name="connsiteY103" fmla="*/ 349181 h 788699"/>
                <a:gd name="connsiteX104" fmla="*/ 392697 w 625521"/>
                <a:gd name="connsiteY104" fmla="*/ 338303 h 788699"/>
                <a:gd name="connsiteX105" fmla="*/ 389977 w 625521"/>
                <a:gd name="connsiteY105" fmla="*/ 313826 h 788699"/>
                <a:gd name="connsiteX106" fmla="*/ 392697 w 625521"/>
                <a:gd name="connsiteY106" fmla="*/ 262152 h 788699"/>
                <a:gd name="connsiteX107" fmla="*/ 395416 w 625521"/>
                <a:gd name="connsiteY107" fmla="*/ 224077 h 788699"/>
                <a:gd name="connsiteX108" fmla="*/ 398136 w 625521"/>
                <a:gd name="connsiteY108" fmla="*/ 177843 h 788699"/>
                <a:gd name="connsiteX109" fmla="*/ 395416 w 625521"/>
                <a:gd name="connsiteY109" fmla="*/ 153366 h 788699"/>
                <a:gd name="connsiteX110" fmla="*/ 395416 w 625521"/>
                <a:gd name="connsiteY110" fmla="*/ 137048 h 788699"/>
                <a:gd name="connsiteX111" fmla="*/ 379098 w 625521"/>
                <a:gd name="connsiteY111" fmla="*/ 137048 h 788699"/>
                <a:gd name="connsiteX112" fmla="*/ 351902 w 625521"/>
                <a:gd name="connsiteY112" fmla="*/ 131609 h 788699"/>
                <a:gd name="connsiteX113" fmla="*/ 338304 w 625521"/>
                <a:gd name="connsiteY113" fmla="*/ 115291 h 788699"/>
                <a:gd name="connsiteX114" fmla="*/ 343742 w 625521"/>
                <a:gd name="connsiteY114" fmla="*/ 107132 h 788699"/>
                <a:gd name="connsiteX115" fmla="*/ 362780 w 625521"/>
                <a:gd name="connsiteY115" fmla="*/ 98973 h 788699"/>
                <a:gd name="connsiteX116" fmla="*/ 395416 w 625521"/>
                <a:gd name="connsiteY116" fmla="*/ 96253 h 788699"/>
                <a:gd name="connsiteX117" fmla="*/ 403575 w 625521"/>
                <a:gd name="connsiteY117" fmla="*/ 90814 h 788699"/>
                <a:gd name="connsiteX118" fmla="*/ 422612 w 625521"/>
                <a:gd name="connsiteY118" fmla="*/ 88095 h 788699"/>
                <a:gd name="connsiteX119" fmla="*/ 428052 w 625521"/>
                <a:gd name="connsiteY119" fmla="*/ 88095 h 788699"/>
                <a:gd name="connsiteX120" fmla="*/ 447090 w 625521"/>
                <a:gd name="connsiteY120" fmla="*/ 90814 h 788699"/>
                <a:gd name="connsiteX121" fmla="*/ 455249 w 625521"/>
                <a:gd name="connsiteY121" fmla="*/ 96253 h 788699"/>
                <a:gd name="connsiteX122" fmla="*/ 525960 w 625521"/>
                <a:gd name="connsiteY122" fmla="*/ 93534 h 788699"/>
                <a:gd name="connsiteX123" fmla="*/ 561315 w 625521"/>
                <a:gd name="connsiteY123" fmla="*/ 109852 h 788699"/>
                <a:gd name="connsiteX124" fmla="*/ 555876 w 625521"/>
                <a:gd name="connsiteY124" fmla="*/ 126170 h 788699"/>
                <a:gd name="connsiteX125" fmla="*/ 539558 w 625521"/>
                <a:gd name="connsiteY125" fmla="*/ 134329 h 788699"/>
                <a:gd name="connsiteX126" fmla="*/ 517800 w 625521"/>
                <a:gd name="connsiteY126" fmla="*/ 137048 h 788699"/>
                <a:gd name="connsiteX127" fmla="*/ 477006 w 625521"/>
                <a:gd name="connsiteY127" fmla="*/ 137048 h 788699"/>
                <a:gd name="connsiteX128" fmla="*/ 485165 w 625521"/>
                <a:gd name="connsiteY128" fmla="*/ 161525 h 788699"/>
                <a:gd name="connsiteX129" fmla="*/ 496043 w 625521"/>
                <a:gd name="connsiteY129" fmla="*/ 210479 h 788699"/>
                <a:gd name="connsiteX130" fmla="*/ 501483 w 625521"/>
                <a:gd name="connsiteY130" fmla="*/ 251274 h 788699"/>
                <a:gd name="connsiteX131" fmla="*/ 506922 w 625521"/>
                <a:gd name="connsiteY131" fmla="*/ 292069 h 788699"/>
                <a:gd name="connsiteX132" fmla="*/ 506922 w 625521"/>
                <a:gd name="connsiteY132" fmla="*/ 321985 h 788699"/>
                <a:gd name="connsiteX133" fmla="*/ 509642 w 625521"/>
                <a:gd name="connsiteY133" fmla="*/ 341022 h 788699"/>
                <a:gd name="connsiteX134" fmla="*/ 509642 w 625521"/>
                <a:gd name="connsiteY134" fmla="*/ 343742 h 788699"/>
                <a:gd name="connsiteX135" fmla="*/ 517800 w 625521"/>
                <a:gd name="connsiteY135" fmla="*/ 349181 h 788699"/>
                <a:gd name="connsiteX136" fmla="*/ 528680 w 625521"/>
                <a:gd name="connsiteY136" fmla="*/ 349181 h 788699"/>
                <a:gd name="connsiteX137" fmla="*/ 550437 w 625521"/>
                <a:gd name="connsiteY137" fmla="*/ 357340 h 788699"/>
                <a:gd name="connsiteX138" fmla="*/ 550437 w 625521"/>
                <a:gd name="connsiteY138" fmla="*/ 362780 h 788699"/>
                <a:gd name="connsiteX139" fmla="*/ 534119 w 625521"/>
                <a:gd name="connsiteY139" fmla="*/ 384537 h 788699"/>
                <a:gd name="connsiteX140" fmla="*/ 520520 w 625521"/>
                <a:gd name="connsiteY140" fmla="*/ 389976 h 788699"/>
                <a:gd name="connsiteX141" fmla="*/ 512362 w 625521"/>
                <a:gd name="connsiteY141" fmla="*/ 395415 h 788699"/>
                <a:gd name="connsiteX142" fmla="*/ 512362 w 625521"/>
                <a:gd name="connsiteY142" fmla="*/ 398135 h 788699"/>
                <a:gd name="connsiteX143" fmla="*/ 512362 w 625521"/>
                <a:gd name="connsiteY143" fmla="*/ 409014 h 788699"/>
                <a:gd name="connsiteX144" fmla="*/ 512362 w 625521"/>
                <a:gd name="connsiteY144" fmla="*/ 414453 h 788699"/>
                <a:gd name="connsiteX145" fmla="*/ 512362 w 625521"/>
                <a:gd name="connsiteY145" fmla="*/ 438930 h 788699"/>
                <a:gd name="connsiteX146" fmla="*/ 515081 w 625521"/>
                <a:gd name="connsiteY146" fmla="*/ 504202 h 788699"/>
                <a:gd name="connsiteX147" fmla="*/ 520520 w 625521"/>
                <a:gd name="connsiteY147" fmla="*/ 572193 h 788699"/>
                <a:gd name="connsiteX148" fmla="*/ 517800 w 625521"/>
                <a:gd name="connsiteY148" fmla="*/ 604829 h 788699"/>
                <a:gd name="connsiteX149" fmla="*/ 512362 w 625521"/>
                <a:gd name="connsiteY149" fmla="*/ 661942 h 788699"/>
                <a:gd name="connsiteX150" fmla="*/ 509642 w 625521"/>
                <a:gd name="connsiteY150" fmla="*/ 670101 h 788699"/>
                <a:gd name="connsiteX151" fmla="*/ 512362 w 625521"/>
                <a:gd name="connsiteY151" fmla="*/ 680979 h 788699"/>
                <a:gd name="connsiteX152" fmla="*/ 512362 w 625521"/>
                <a:gd name="connsiteY152" fmla="*/ 686419 h 788699"/>
                <a:gd name="connsiteX153" fmla="*/ 536838 w 625521"/>
                <a:gd name="connsiteY153" fmla="*/ 680979 h 788699"/>
                <a:gd name="connsiteX154" fmla="*/ 536838 w 625521"/>
                <a:gd name="connsiteY154" fmla="*/ 680979 h 7886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</a:cxnLst>
              <a:rect l="l" t="t" r="r" b="b"/>
              <a:pathLst>
                <a:path w="625521" h="788699">
                  <a:moveTo>
                    <a:pt x="536838" y="680979"/>
                  </a:moveTo>
                  <a:cubicBezTo>
                    <a:pt x="550437" y="680979"/>
                    <a:pt x="574913" y="680979"/>
                    <a:pt x="574913" y="697297"/>
                  </a:cubicBezTo>
                  <a:cubicBezTo>
                    <a:pt x="574913" y="705456"/>
                    <a:pt x="572194" y="708176"/>
                    <a:pt x="566755" y="713615"/>
                  </a:cubicBezTo>
                  <a:cubicBezTo>
                    <a:pt x="561315" y="719054"/>
                    <a:pt x="555876" y="721774"/>
                    <a:pt x="550437" y="721774"/>
                  </a:cubicBezTo>
                  <a:cubicBezTo>
                    <a:pt x="539558" y="724494"/>
                    <a:pt x="534119" y="724494"/>
                    <a:pt x="528680" y="724494"/>
                  </a:cubicBezTo>
                  <a:cubicBezTo>
                    <a:pt x="517800" y="724494"/>
                    <a:pt x="428052" y="724494"/>
                    <a:pt x="417174" y="724494"/>
                  </a:cubicBezTo>
                  <a:cubicBezTo>
                    <a:pt x="403575" y="724494"/>
                    <a:pt x="414454" y="724494"/>
                    <a:pt x="398136" y="724494"/>
                  </a:cubicBezTo>
                  <a:cubicBezTo>
                    <a:pt x="389977" y="724494"/>
                    <a:pt x="381817" y="724494"/>
                    <a:pt x="373659" y="724494"/>
                  </a:cubicBezTo>
                  <a:cubicBezTo>
                    <a:pt x="365500" y="724494"/>
                    <a:pt x="354621" y="721774"/>
                    <a:pt x="346462" y="719054"/>
                  </a:cubicBezTo>
                  <a:cubicBezTo>
                    <a:pt x="338304" y="716335"/>
                    <a:pt x="330144" y="708176"/>
                    <a:pt x="330144" y="702737"/>
                  </a:cubicBezTo>
                  <a:cubicBezTo>
                    <a:pt x="330144" y="700017"/>
                    <a:pt x="330144" y="697297"/>
                    <a:pt x="335584" y="694578"/>
                  </a:cubicBezTo>
                  <a:cubicBezTo>
                    <a:pt x="341023" y="691858"/>
                    <a:pt x="351902" y="689138"/>
                    <a:pt x="357341" y="686419"/>
                  </a:cubicBezTo>
                  <a:cubicBezTo>
                    <a:pt x="373659" y="683699"/>
                    <a:pt x="387257" y="680979"/>
                    <a:pt x="395416" y="680979"/>
                  </a:cubicBezTo>
                  <a:cubicBezTo>
                    <a:pt x="387257" y="675540"/>
                    <a:pt x="384537" y="670101"/>
                    <a:pt x="381817" y="656502"/>
                  </a:cubicBezTo>
                  <a:cubicBezTo>
                    <a:pt x="379098" y="632026"/>
                    <a:pt x="379098" y="610268"/>
                    <a:pt x="379098" y="585791"/>
                  </a:cubicBezTo>
                  <a:cubicBezTo>
                    <a:pt x="379098" y="564034"/>
                    <a:pt x="379098" y="542277"/>
                    <a:pt x="379098" y="517800"/>
                  </a:cubicBezTo>
                  <a:cubicBezTo>
                    <a:pt x="379098" y="504202"/>
                    <a:pt x="379098" y="487884"/>
                    <a:pt x="379098" y="474286"/>
                  </a:cubicBezTo>
                  <a:cubicBezTo>
                    <a:pt x="379098" y="457968"/>
                    <a:pt x="376379" y="444369"/>
                    <a:pt x="379098" y="430771"/>
                  </a:cubicBezTo>
                  <a:cubicBezTo>
                    <a:pt x="379098" y="425332"/>
                    <a:pt x="381817" y="417173"/>
                    <a:pt x="381817" y="411733"/>
                  </a:cubicBezTo>
                  <a:cubicBezTo>
                    <a:pt x="381817" y="406294"/>
                    <a:pt x="381817" y="403575"/>
                    <a:pt x="379098" y="400855"/>
                  </a:cubicBezTo>
                  <a:cubicBezTo>
                    <a:pt x="376379" y="400855"/>
                    <a:pt x="373659" y="398135"/>
                    <a:pt x="370939" y="398135"/>
                  </a:cubicBezTo>
                  <a:cubicBezTo>
                    <a:pt x="360061" y="398135"/>
                    <a:pt x="343742" y="400855"/>
                    <a:pt x="338304" y="400855"/>
                  </a:cubicBezTo>
                  <a:cubicBezTo>
                    <a:pt x="330144" y="400855"/>
                    <a:pt x="319266" y="403575"/>
                    <a:pt x="289349" y="403575"/>
                  </a:cubicBezTo>
                  <a:cubicBezTo>
                    <a:pt x="275751" y="403575"/>
                    <a:pt x="267592" y="400855"/>
                    <a:pt x="264872" y="400855"/>
                  </a:cubicBezTo>
                  <a:cubicBezTo>
                    <a:pt x="262153" y="400855"/>
                    <a:pt x="259433" y="400855"/>
                    <a:pt x="259433" y="406294"/>
                  </a:cubicBezTo>
                  <a:cubicBezTo>
                    <a:pt x="259433" y="414453"/>
                    <a:pt x="259433" y="419892"/>
                    <a:pt x="259433" y="425332"/>
                  </a:cubicBezTo>
                  <a:cubicBezTo>
                    <a:pt x="259433" y="433491"/>
                    <a:pt x="259433" y="441650"/>
                    <a:pt x="259433" y="449809"/>
                  </a:cubicBezTo>
                  <a:cubicBezTo>
                    <a:pt x="259433" y="457968"/>
                    <a:pt x="259433" y="463407"/>
                    <a:pt x="259433" y="471566"/>
                  </a:cubicBezTo>
                  <a:cubicBezTo>
                    <a:pt x="259433" y="482445"/>
                    <a:pt x="259433" y="493323"/>
                    <a:pt x="259433" y="504202"/>
                  </a:cubicBezTo>
                  <a:cubicBezTo>
                    <a:pt x="259433" y="506921"/>
                    <a:pt x="259433" y="506921"/>
                    <a:pt x="259433" y="509641"/>
                  </a:cubicBezTo>
                  <a:cubicBezTo>
                    <a:pt x="259433" y="520520"/>
                    <a:pt x="256714" y="531398"/>
                    <a:pt x="256714" y="542277"/>
                  </a:cubicBezTo>
                  <a:cubicBezTo>
                    <a:pt x="256714" y="553156"/>
                    <a:pt x="256714" y="566754"/>
                    <a:pt x="256714" y="577632"/>
                  </a:cubicBezTo>
                  <a:cubicBezTo>
                    <a:pt x="256714" y="588511"/>
                    <a:pt x="256714" y="599390"/>
                    <a:pt x="256714" y="612988"/>
                  </a:cubicBezTo>
                  <a:cubicBezTo>
                    <a:pt x="256714" y="629306"/>
                    <a:pt x="253994" y="642904"/>
                    <a:pt x="253994" y="656502"/>
                  </a:cubicBezTo>
                  <a:cubicBezTo>
                    <a:pt x="253994" y="664661"/>
                    <a:pt x="256714" y="672820"/>
                    <a:pt x="256714" y="678260"/>
                  </a:cubicBezTo>
                  <a:cubicBezTo>
                    <a:pt x="270312" y="678260"/>
                    <a:pt x="286629" y="680979"/>
                    <a:pt x="286629" y="694578"/>
                  </a:cubicBezTo>
                  <a:cubicBezTo>
                    <a:pt x="286629" y="702737"/>
                    <a:pt x="283910" y="705456"/>
                    <a:pt x="281191" y="710895"/>
                  </a:cubicBezTo>
                  <a:cubicBezTo>
                    <a:pt x="275751" y="716335"/>
                    <a:pt x="270312" y="719054"/>
                    <a:pt x="264872" y="719054"/>
                  </a:cubicBezTo>
                  <a:cubicBezTo>
                    <a:pt x="256714" y="721774"/>
                    <a:pt x="248554" y="721774"/>
                    <a:pt x="243116" y="721774"/>
                  </a:cubicBezTo>
                  <a:cubicBezTo>
                    <a:pt x="243116" y="721774"/>
                    <a:pt x="243116" y="721774"/>
                    <a:pt x="243116" y="721774"/>
                  </a:cubicBezTo>
                  <a:cubicBezTo>
                    <a:pt x="237676" y="724494"/>
                    <a:pt x="237676" y="724494"/>
                    <a:pt x="232236" y="727214"/>
                  </a:cubicBezTo>
                  <a:cubicBezTo>
                    <a:pt x="229517" y="729933"/>
                    <a:pt x="229517" y="732653"/>
                    <a:pt x="224078" y="735372"/>
                  </a:cubicBezTo>
                  <a:cubicBezTo>
                    <a:pt x="221358" y="738092"/>
                    <a:pt x="215919" y="738092"/>
                    <a:pt x="213199" y="738092"/>
                  </a:cubicBezTo>
                  <a:cubicBezTo>
                    <a:pt x="199601" y="738092"/>
                    <a:pt x="188722" y="735372"/>
                    <a:pt x="183283" y="727214"/>
                  </a:cubicBezTo>
                  <a:cubicBezTo>
                    <a:pt x="180563" y="724494"/>
                    <a:pt x="177843" y="721774"/>
                    <a:pt x="175124" y="719054"/>
                  </a:cubicBezTo>
                  <a:cubicBezTo>
                    <a:pt x="161526" y="719054"/>
                    <a:pt x="150646" y="719054"/>
                    <a:pt x="145208" y="719054"/>
                  </a:cubicBezTo>
                  <a:cubicBezTo>
                    <a:pt x="131609" y="719054"/>
                    <a:pt x="142488" y="719054"/>
                    <a:pt x="126170" y="719054"/>
                  </a:cubicBezTo>
                  <a:cubicBezTo>
                    <a:pt x="118011" y="719054"/>
                    <a:pt x="109852" y="719054"/>
                    <a:pt x="101693" y="719054"/>
                  </a:cubicBezTo>
                  <a:cubicBezTo>
                    <a:pt x="93534" y="719054"/>
                    <a:pt x="82655" y="719054"/>
                    <a:pt x="74496" y="713615"/>
                  </a:cubicBezTo>
                  <a:cubicBezTo>
                    <a:pt x="66338" y="710895"/>
                    <a:pt x="58178" y="702737"/>
                    <a:pt x="58178" y="697297"/>
                  </a:cubicBezTo>
                  <a:cubicBezTo>
                    <a:pt x="58178" y="694578"/>
                    <a:pt x="58178" y="691858"/>
                    <a:pt x="63618" y="689138"/>
                  </a:cubicBezTo>
                  <a:cubicBezTo>
                    <a:pt x="69057" y="686419"/>
                    <a:pt x="79936" y="683699"/>
                    <a:pt x="85375" y="680979"/>
                  </a:cubicBezTo>
                  <a:cubicBezTo>
                    <a:pt x="98973" y="678260"/>
                    <a:pt x="118011" y="678260"/>
                    <a:pt x="131609" y="675540"/>
                  </a:cubicBezTo>
                  <a:cubicBezTo>
                    <a:pt x="131609" y="672820"/>
                    <a:pt x="131609" y="670101"/>
                    <a:pt x="131609" y="667381"/>
                  </a:cubicBezTo>
                  <a:cubicBezTo>
                    <a:pt x="131609" y="661942"/>
                    <a:pt x="131609" y="656502"/>
                    <a:pt x="131609" y="651063"/>
                  </a:cubicBezTo>
                  <a:cubicBezTo>
                    <a:pt x="131609" y="640184"/>
                    <a:pt x="131609" y="629306"/>
                    <a:pt x="131609" y="618427"/>
                  </a:cubicBezTo>
                  <a:cubicBezTo>
                    <a:pt x="131609" y="604829"/>
                    <a:pt x="131609" y="593950"/>
                    <a:pt x="131609" y="580352"/>
                  </a:cubicBezTo>
                  <a:cubicBezTo>
                    <a:pt x="131609" y="564034"/>
                    <a:pt x="131609" y="547716"/>
                    <a:pt x="131609" y="531398"/>
                  </a:cubicBezTo>
                  <a:cubicBezTo>
                    <a:pt x="131609" y="509641"/>
                    <a:pt x="131609" y="487884"/>
                    <a:pt x="131609" y="466126"/>
                  </a:cubicBezTo>
                  <a:cubicBezTo>
                    <a:pt x="131609" y="452528"/>
                    <a:pt x="131609" y="436210"/>
                    <a:pt x="131609" y="422612"/>
                  </a:cubicBezTo>
                  <a:cubicBezTo>
                    <a:pt x="131609" y="419892"/>
                    <a:pt x="131609" y="414453"/>
                    <a:pt x="131609" y="411733"/>
                  </a:cubicBezTo>
                  <a:cubicBezTo>
                    <a:pt x="131609" y="409014"/>
                    <a:pt x="131609" y="400855"/>
                    <a:pt x="131609" y="398135"/>
                  </a:cubicBezTo>
                  <a:cubicBezTo>
                    <a:pt x="131609" y="392696"/>
                    <a:pt x="131609" y="392696"/>
                    <a:pt x="126170" y="389976"/>
                  </a:cubicBezTo>
                  <a:cubicBezTo>
                    <a:pt x="123450" y="389976"/>
                    <a:pt x="109852" y="387257"/>
                    <a:pt x="101693" y="387257"/>
                  </a:cubicBezTo>
                  <a:cubicBezTo>
                    <a:pt x="90814" y="384537"/>
                    <a:pt x="77216" y="381817"/>
                    <a:pt x="77216" y="376378"/>
                  </a:cubicBezTo>
                  <a:cubicBezTo>
                    <a:pt x="77216" y="373658"/>
                    <a:pt x="79936" y="370939"/>
                    <a:pt x="82655" y="368219"/>
                  </a:cubicBezTo>
                  <a:cubicBezTo>
                    <a:pt x="88095" y="365499"/>
                    <a:pt x="93534" y="362780"/>
                    <a:pt x="98973" y="360060"/>
                  </a:cubicBezTo>
                  <a:cubicBezTo>
                    <a:pt x="104413" y="360060"/>
                    <a:pt x="112571" y="357340"/>
                    <a:pt x="118011" y="357340"/>
                  </a:cubicBezTo>
                  <a:cubicBezTo>
                    <a:pt x="126170" y="354621"/>
                    <a:pt x="128890" y="357340"/>
                    <a:pt x="131609" y="351901"/>
                  </a:cubicBezTo>
                  <a:cubicBezTo>
                    <a:pt x="131609" y="349181"/>
                    <a:pt x="131609" y="346462"/>
                    <a:pt x="131609" y="343742"/>
                  </a:cubicBezTo>
                  <a:cubicBezTo>
                    <a:pt x="131609" y="319265"/>
                    <a:pt x="131609" y="294788"/>
                    <a:pt x="131609" y="270311"/>
                  </a:cubicBezTo>
                  <a:cubicBezTo>
                    <a:pt x="131609" y="226797"/>
                    <a:pt x="131609" y="186002"/>
                    <a:pt x="137048" y="145207"/>
                  </a:cubicBezTo>
                  <a:cubicBezTo>
                    <a:pt x="137048" y="139768"/>
                    <a:pt x="137048" y="131609"/>
                    <a:pt x="139768" y="123450"/>
                  </a:cubicBezTo>
                  <a:cubicBezTo>
                    <a:pt x="134329" y="123450"/>
                    <a:pt x="137048" y="123450"/>
                    <a:pt x="123450" y="123450"/>
                  </a:cubicBezTo>
                  <a:cubicBezTo>
                    <a:pt x="120731" y="123450"/>
                    <a:pt x="120731" y="123450"/>
                    <a:pt x="118011" y="123450"/>
                  </a:cubicBezTo>
                  <a:cubicBezTo>
                    <a:pt x="112571" y="123450"/>
                    <a:pt x="107133" y="123450"/>
                    <a:pt x="101693" y="123450"/>
                  </a:cubicBezTo>
                  <a:cubicBezTo>
                    <a:pt x="93534" y="123450"/>
                    <a:pt x="82655" y="120730"/>
                    <a:pt x="74496" y="118011"/>
                  </a:cubicBezTo>
                  <a:cubicBezTo>
                    <a:pt x="66338" y="115291"/>
                    <a:pt x="58178" y="107132"/>
                    <a:pt x="58178" y="101693"/>
                  </a:cubicBezTo>
                  <a:cubicBezTo>
                    <a:pt x="58178" y="98973"/>
                    <a:pt x="58178" y="96253"/>
                    <a:pt x="63618" y="93534"/>
                  </a:cubicBezTo>
                  <a:cubicBezTo>
                    <a:pt x="66338" y="90814"/>
                    <a:pt x="77216" y="88095"/>
                    <a:pt x="85375" y="85375"/>
                  </a:cubicBezTo>
                  <a:cubicBezTo>
                    <a:pt x="104413" y="82655"/>
                    <a:pt x="128890" y="82655"/>
                    <a:pt x="137048" y="82655"/>
                  </a:cubicBezTo>
                  <a:cubicBezTo>
                    <a:pt x="139768" y="82655"/>
                    <a:pt x="142488" y="82655"/>
                    <a:pt x="147927" y="82655"/>
                  </a:cubicBezTo>
                  <a:cubicBezTo>
                    <a:pt x="153366" y="69057"/>
                    <a:pt x="164245" y="58178"/>
                    <a:pt x="186003" y="58178"/>
                  </a:cubicBezTo>
                  <a:cubicBezTo>
                    <a:pt x="202321" y="58178"/>
                    <a:pt x="215919" y="66337"/>
                    <a:pt x="226797" y="79936"/>
                  </a:cubicBezTo>
                  <a:cubicBezTo>
                    <a:pt x="237676" y="79936"/>
                    <a:pt x="248554" y="79936"/>
                    <a:pt x="253994" y="79936"/>
                  </a:cubicBezTo>
                  <a:cubicBezTo>
                    <a:pt x="267592" y="79936"/>
                    <a:pt x="294789" y="79936"/>
                    <a:pt x="294789" y="96253"/>
                  </a:cubicBezTo>
                  <a:cubicBezTo>
                    <a:pt x="294789" y="104412"/>
                    <a:pt x="289349" y="107132"/>
                    <a:pt x="283910" y="112571"/>
                  </a:cubicBezTo>
                  <a:cubicBezTo>
                    <a:pt x="278471" y="118011"/>
                    <a:pt x="273031" y="120730"/>
                    <a:pt x="267592" y="120730"/>
                  </a:cubicBezTo>
                  <a:cubicBezTo>
                    <a:pt x="259433" y="123450"/>
                    <a:pt x="251274" y="123450"/>
                    <a:pt x="245835" y="123450"/>
                  </a:cubicBezTo>
                  <a:cubicBezTo>
                    <a:pt x="245835" y="123450"/>
                    <a:pt x="243116" y="123450"/>
                    <a:pt x="237676" y="123450"/>
                  </a:cubicBezTo>
                  <a:cubicBezTo>
                    <a:pt x="237676" y="126170"/>
                    <a:pt x="237676" y="126170"/>
                    <a:pt x="240396" y="128889"/>
                  </a:cubicBezTo>
                  <a:cubicBezTo>
                    <a:pt x="245835" y="145207"/>
                    <a:pt x="248554" y="161525"/>
                    <a:pt x="251274" y="177843"/>
                  </a:cubicBezTo>
                  <a:cubicBezTo>
                    <a:pt x="253994" y="194161"/>
                    <a:pt x="253994" y="210479"/>
                    <a:pt x="256714" y="226797"/>
                  </a:cubicBezTo>
                  <a:cubicBezTo>
                    <a:pt x="259433" y="243115"/>
                    <a:pt x="262153" y="256713"/>
                    <a:pt x="262153" y="273031"/>
                  </a:cubicBezTo>
                  <a:cubicBezTo>
                    <a:pt x="262153" y="278470"/>
                    <a:pt x="262153" y="283910"/>
                    <a:pt x="262153" y="289349"/>
                  </a:cubicBezTo>
                  <a:lnTo>
                    <a:pt x="262153" y="297508"/>
                  </a:lnTo>
                  <a:cubicBezTo>
                    <a:pt x="262153" y="305667"/>
                    <a:pt x="262153" y="313826"/>
                    <a:pt x="264872" y="321985"/>
                  </a:cubicBezTo>
                  <a:cubicBezTo>
                    <a:pt x="264872" y="327424"/>
                    <a:pt x="270312" y="330144"/>
                    <a:pt x="270312" y="335583"/>
                  </a:cubicBezTo>
                  <a:cubicBezTo>
                    <a:pt x="270312" y="335583"/>
                    <a:pt x="270312" y="338303"/>
                    <a:pt x="270312" y="338303"/>
                  </a:cubicBezTo>
                  <a:cubicBezTo>
                    <a:pt x="270312" y="341022"/>
                    <a:pt x="270312" y="343742"/>
                    <a:pt x="270312" y="346462"/>
                  </a:cubicBezTo>
                  <a:cubicBezTo>
                    <a:pt x="270312" y="351901"/>
                    <a:pt x="273031" y="354621"/>
                    <a:pt x="278471" y="354621"/>
                  </a:cubicBezTo>
                  <a:cubicBezTo>
                    <a:pt x="289349" y="354621"/>
                    <a:pt x="335584" y="351901"/>
                    <a:pt x="338304" y="349181"/>
                  </a:cubicBezTo>
                  <a:cubicBezTo>
                    <a:pt x="346462" y="349181"/>
                    <a:pt x="357341" y="349181"/>
                    <a:pt x="365500" y="349181"/>
                  </a:cubicBezTo>
                  <a:cubicBezTo>
                    <a:pt x="370939" y="349181"/>
                    <a:pt x="376379" y="349181"/>
                    <a:pt x="381817" y="349181"/>
                  </a:cubicBezTo>
                  <a:cubicBezTo>
                    <a:pt x="387257" y="349181"/>
                    <a:pt x="392697" y="346462"/>
                    <a:pt x="392697" y="338303"/>
                  </a:cubicBezTo>
                  <a:cubicBezTo>
                    <a:pt x="392697" y="330144"/>
                    <a:pt x="389977" y="316545"/>
                    <a:pt x="389977" y="313826"/>
                  </a:cubicBezTo>
                  <a:cubicBezTo>
                    <a:pt x="389977" y="294788"/>
                    <a:pt x="389977" y="278470"/>
                    <a:pt x="392697" y="262152"/>
                  </a:cubicBezTo>
                  <a:cubicBezTo>
                    <a:pt x="392697" y="259433"/>
                    <a:pt x="395416" y="243115"/>
                    <a:pt x="395416" y="224077"/>
                  </a:cubicBezTo>
                  <a:cubicBezTo>
                    <a:pt x="395416" y="207759"/>
                    <a:pt x="398136" y="188722"/>
                    <a:pt x="398136" y="177843"/>
                  </a:cubicBezTo>
                  <a:cubicBezTo>
                    <a:pt x="398136" y="169684"/>
                    <a:pt x="395416" y="158806"/>
                    <a:pt x="395416" y="153366"/>
                  </a:cubicBezTo>
                  <a:cubicBezTo>
                    <a:pt x="395416" y="145207"/>
                    <a:pt x="395416" y="142488"/>
                    <a:pt x="395416" y="137048"/>
                  </a:cubicBezTo>
                  <a:cubicBezTo>
                    <a:pt x="389977" y="137048"/>
                    <a:pt x="384537" y="137048"/>
                    <a:pt x="379098" y="137048"/>
                  </a:cubicBezTo>
                  <a:cubicBezTo>
                    <a:pt x="370939" y="137048"/>
                    <a:pt x="360061" y="134329"/>
                    <a:pt x="351902" y="131609"/>
                  </a:cubicBezTo>
                  <a:cubicBezTo>
                    <a:pt x="343742" y="128889"/>
                    <a:pt x="338304" y="120730"/>
                    <a:pt x="338304" y="115291"/>
                  </a:cubicBezTo>
                  <a:cubicBezTo>
                    <a:pt x="338304" y="112571"/>
                    <a:pt x="338304" y="109852"/>
                    <a:pt x="343742" y="107132"/>
                  </a:cubicBezTo>
                  <a:cubicBezTo>
                    <a:pt x="349182" y="104412"/>
                    <a:pt x="357341" y="101693"/>
                    <a:pt x="362780" y="98973"/>
                  </a:cubicBezTo>
                  <a:cubicBezTo>
                    <a:pt x="373659" y="96253"/>
                    <a:pt x="387257" y="96253"/>
                    <a:pt x="395416" y="96253"/>
                  </a:cubicBezTo>
                  <a:cubicBezTo>
                    <a:pt x="398136" y="93534"/>
                    <a:pt x="400855" y="90814"/>
                    <a:pt x="403575" y="90814"/>
                  </a:cubicBezTo>
                  <a:cubicBezTo>
                    <a:pt x="411734" y="90814"/>
                    <a:pt x="419893" y="88095"/>
                    <a:pt x="422612" y="88095"/>
                  </a:cubicBezTo>
                  <a:cubicBezTo>
                    <a:pt x="425332" y="88095"/>
                    <a:pt x="425332" y="88095"/>
                    <a:pt x="428052" y="88095"/>
                  </a:cubicBezTo>
                  <a:cubicBezTo>
                    <a:pt x="433492" y="88095"/>
                    <a:pt x="441650" y="88095"/>
                    <a:pt x="447090" y="90814"/>
                  </a:cubicBezTo>
                  <a:cubicBezTo>
                    <a:pt x="449809" y="90814"/>
                    <a:pt x="452529" y="93534"/>
                    <a:pt x="455249" y="96253"/>
                  </a:cubicBezTo>
                  <a:cubicBezTo>
                    <a:pt x="482445" y="96253"/>
                    <a:pt x="509642" y="93534"/>
                    <a:pt x="525960" y="93534"/>
                  </a:cubicBezTo>
                  <a:cubicBezTo>
                    <a:pt x="539558" y="93534"/>
                    <a:pt x="561315" y="93534"/>
                    <a:pt x="561315" y="109852"/>
                  </a:cubicBezTo>
                  <a:cubicBezTo>
                    <a:pt x="561315" y="118011"/>
                    <a:pt x="561315" y="120730"/>
                    <a:pt x="555876" y="126170"/>
                  </a:cubicBezTo>
                  <a:cubicBezTo>
                    <a:pt x="550437" y="131609"/>
                    <a:pt x="544997" y="134329"/>
                    <a:pt x="539558" y="134329"/>
                  </a:cubicBezTo>
                  <a:cubicBezTo>
                    <a:pt x="531399" y="137048"/>
                    <a:pt x="523240" y="137048"/>
                    <a:pt x="517800" y="137048"/>
                  </a:cubicBezTo>
                  <a:cubicBezTo>
                    <a:pt x="515081" y="137048"/>
                    <a:pt x="498763" y="137048"/>
                    <a:pt x="477006" y="137048"/>
                  </a:cubicBezTo>
                  <a:cubicBezTo>
                    <a:pt x="479725" y="145207"/>
                    <a:pt x="485165" y="153366"/>
                    <a:pt x="485165" y="161525"/>
                  </a:cubicBezTo>
                  <a:cubicBezTo>
                    <a:pt x="487885" y="177843"/>
                    <a:pt x="493324" y="194161"/>
                    <a:pt x="496043" y="210479"/>
                  </a:cubicBezTo>
                  <a:cubicBezTo>
                    <a:pt x="498763" y="224077"/>
                    <a:pt x="498763" y="237676"/>
                    <a:pt x="501483" y="251274"/>
                  </a:cubicBezTo>
                  <a:cubicBezTo>
                    <a:pt x="504202" y="264872"/>
                    <a:pt x="506922" y="275751"/>
                    <a:pt x="506922" y="292069"/>
                  </a:cubicBezTo>
                  <a:cubicBezTo>
                    <a:pt x="506922" y="302947"/>
                    <a:pt x="506922" y="311106"/>
                    <a:pt x="506922" y="321985"/>
                  </a:cubicBezTo>
                  <a:cubicBezTo>
                    <a:pt x="506922" y="327424"/>
                    <a:pt x="509642" y="335583"/>
                    <a:pt x="509642" y="341022"/>
                  </a:cubicBezTo>
                  <a:cubicBezTo>
                    <a:pt x="509642" y="343742"/>
                    <a:pt x="509642" y="343742"/>
                    <a:pt x="509642" y="343742"/>
                  </a:cubicBezTo>
                  <a:cubicBezTo>
                    <a:pt x="509642" y="349181"/>
                    <a:pt x="515081" y="349181"/>
                    <a:pt x="517800" y="349181"/>
                  </a:cubicBezTo>
                  <a:cubicBezTo>
                    <a:pt x="520520" y="349181"/>
                    <a:pt x="523240" y="349181"/>
                    <a:pt x="528680" y="349181"/>
                  </a:cubicBezTo>
                  <a:cubicBezTo>
                    <a:pt x="536838" y="349181"/>
                    <a:pt x="547717" y="349181"/>
                    <a:pt x="550437" y="357340"/>
                  </a:cubicBezTo>
                  <a:cubicBezTo>
                    <a:pt x="550437" y="360060"/>
                    <a:pt x="550437" y="360060"/>
                    <a:pt x="550437" y="362780"/>
                  </a:cubicBezTo>
                  <a:cubicBezTo>
                    <a:pt x="550437" y="370939"/>
                    <a:pt x="539558" y="381817"/>
                    <a:pt x="534119" y="384537"/>
                  </a:cubicBezTo>
                  <a:cubicBezTo>
                    <a:pt x="531399" y="387257"/>
                    <a:pt x="523240" y="387257"/>
                    <a:pt x="520520" y="389976"/>
                  </a:cubicBezTo>
                  <a:cubicBezTo>
                    <a:pt x="515081" y="389976"/>
                    <a:pt x="512362" y="392696"/>
                    <a:pt x="512362" y="395415"/>
                  </a:cubicBezTo>
                  <a:cubicBezTo>
                    <a:pt x="512362" y="395415"/>
                    <a:pt x="512362" y="398135"/>
                    <a:pt x="512362" y="398135"/>
                  </a:cubicBezTo>
                  <a:cubicBezTo>
                    <a:pt x="512362" y="400855"/>
                    <a:pt x="512362" y="406294"/>
                    <a:pt x="512362" y="409014"/>
                  </a:cubicBezTo>
                  <a:cubicBezTo>
                    <a:pt x="512362" y="411733"/>
                    <a:pt x="512362" y="411733"/>
                    <a:pt x="512362" y="414453"/>
                  </a:cubicBezTo>
                  <a:cubicBezTo>
                    <a:pt x="512362" y="422612"/>
                    <a:pt x="512362" y="430771"/>
                    <a:pt x="512362" y="438930"/>
                  </a:cubicBezTo>
                  <a:cubicBezTo>
                    <a:pt x="512362" y="460687"/>
                    <a:pt x="512362" y="482445"/>
                    <a:pt x="515081" y="504202"/>
                  </a:cubicBezTo>
                  <a:cubicBezTo>
                    <a:pt x="517800" y="525959"/>
                    <a:pt x="520520" y="550436"/>
                    <a:pt x="520520" y="572193"/>
                  </a:cubicBezTo>
                  <a:cubicBezTo>
                    <a:pt x="520520" y="583072"/>
                    <a:pt x="520520" y="593950"/>
                    <a:pt x="517800" y="604829"/>
                  </a:cubicBezTo>
                  <a:cubicBezTo>
                    <a:pt x="515081" y="623867"/>
                    <a:pt x="515081" y="642904"/>
                    <a:pt x="512362" y="661942"/>
                  </a:cubicBezTo>
                  <a:cubicBezTo>
                    <a:pt x="512362" y="664661"/>
                    <a:pt x="509642" y="667381"/>
                    <a:pt x="509642" y="670101"/>
                  </a:cubicBezTo>
                  <a:cubicBezTo>
                    <a:pt x="509642" y="672820"/>
                    <a:pt x="512362" y="678260"/>
                    <a:pt x="512362" y="680979"/>
                  </a:cubicBezTo>
                  <a:cubicBezTo>
                    <a:pt x="512362" y="683699"/>
                    <a:pt x="512362" y="686419"/>
                    <a:pt x="512362" y="686419"/>
                  </a:cubicBezTo>
                  <a:cubicBezTo>
                    <a:pt x="517800" y="680979"/>
                    <a:pt x="528680" y="680979"/>
                    <a:pt x="536838" y="680979"/>
                  </a:cubicBezTo>
                  <a:lnTo>
                    <a:pt x="536838" y="680979"/>
                  </a:ln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/>
            </a:p>
          </p:txBody>
        </p:sp>
        <p:sp>
          <p:nvSpPr>
            <p:cNvPr id="49" name="Freeform: Shape 48">
              <a:extLst>
                <a:ext uri="{FF2B5EF4-FFF2-40B4-BE49-F238E27FC236}">
                  <a16:creationId xmlns:a16="http://schemas.microsoft.com/office/drawing/2014/main" id="{9BE78E02-CB57-4CB4-BB07-0110782AEE7D}"/>
                </a:ext>
              </a:extLst>
            </p:cNvPr>
            <p:cNvSpPr/>
            <p:nvPr/>
          </p:nvSpPr>
          <p:spPr>
            <a:xfrm>
              <a:off x="9592416" y="4192158"/>
              <a:ext cx="516735" cy="761503"/>
            </a:xfrm>
            <a:custGeom>
              <a:avLst/>
              <a:gdLst>
                <a:gd name="connsiteX0" fmla="*/ 463407 w 516735"/>
                <a:gd name="connsiteY0" fmla="*/ 194161 h 761503"/>
                <a:gd name="connsiteX1" fmla="*/ 447089 w 516735"/>
                <a:gd name="connsiteY1" fmla="*/ 226797 h 761503"/>
                <a:gd name="connsiteX2" fmla="*/ 430771 w 516735"/>
                <a:gd name="connsiteY2" fmla="*/ 221357 h 761503"/>
                <a:gd name="connsiteX3" fmla="*/ 422612 w 516735"/>
                <a:gd name="connsiteY3" fmla="*/ 207759 h 761503"/>
                <a:gd name="connsiteX4" fmla="*/ 419893 w 516735"/>
                <a:gd name="connsiteY4" fmla="*/ 188722 h 761503"/>
                <a:gd name="connsiteX5" fmla="*/ 419893 w 516735"/>
                <a:gd name="connsiteY5" fmla="*/ 139768 h 761503"/>
                <a:gd name="connsiteX6" fmla="*/ 419893 w 516735"/>
                <a:gd name="connsiteY6" fmla="*/ 120730 h 761503"/>
                <a:gd name="connsiteX7" fmla="*/ 395416 w 516735"/>
                <a:gd name="connsiteY7" fmla="*/ 120730 h 761503"/>
                <a:gd name="connsiteX8" fmla="*/ 370939 w 516735"/>
                <a:gd name="connsiteY8" fmla="*/ 120730 h 761503"/>
                <a:gd name="connsiteX9" fmla="*/ 346461 w 516735"/>
                <a:gd name="connsiteY9" fmla="*/ 123450 h 761503"/>
                <a:gd name="connsiteX10" fmla="*/ 335583 w 516735"/>
                <a:gd name="connsiteY10" fmla="*/ 123450 h 761503"/>
                <a:gd name="connsiteX11" fmla="*/ 335583 w 516735"/>
                <a:gd name="connsiteY11" fmla="*/ 123450 h 761503"/>
                <a:gd name="connsiteX12" fmla="*/ 324704 w 516735"/>
                <a:gd name="connsiteY12" fmla="*/ 128889 h 761503"/>
                <a:gd name="connsiteX13" fmla="*/ 327424 w 516735"/>
                <a:gd name="connsiteY13" fmla="*/ 139768 h 761503"/>
                <a:gd name="connsiteX14" fmla="*/ 330144 w 516735"/>
                <a:gd name="connsiteY14" fmla="*/ 175123 h 761503"/>
                <a:gd name="connsiteX15" fmla="*/ 330144 w 516735"/>
                <a:gd name="connsiteY15" fmla="*/ 199600 h 761503"/>
                <a:gd name="connsiteX16" fmla="*/ 327424 w 516735"/>
                <a:gd name="connsiteY16" fmla="*/ 224077 h 761503"/>
                <a:gd name="connsiteX17" fmla="*/ 330144 w 516735"/>
                <a:gd name="connsiteY17" fmla="*/ 251274 h 761503"/>
                <a:gd name="connsiteX18" fmla="*/ 327424 w 516735"/>
                <a:gd name="connsiteY18" fmla="*/ 278470 h 761503"/>
                <a:gd name="connsiteX19" fmla="*/ 327424 w 516735"/>
                <a:gd name="connsiteY19" fmla="*/ 332864 h 761503"/>
                <a:gd name="connsiteX20" fmla="*/ 330144 w 516735"/>
                <a:gd name="connsiteY20" fmla="*/ 357340 h 761503"/>
                <a:gd name="connsiteX21" fmla="*/ 330144 w 516735"/>
                <a:gd name="connsiteY21" fmla="*/ 368219 h 761503"/>
                <a:gd name="connsiteX22" fmla="*/ 332863 w 516735"/>
                <a:gd name="connsiteY22" fmla="*/ 387257 h 761503"/>
                <a:gd name="connsiteX23" fmla="*/ 332863 w 516735"/>
                <a:gd name="connsiteY23" fmla="*/ 433491 h 761503"/>
                <a:gd name="connsiteX24" fmla="*/ 332863 w 516735"/>
                <a:gd name="connsiteY24" fmla="*/ 487884 h 761503"/>
                <a:gd name="connsiteX25" fmla="*/ 330144 w 516735"/>
                <a:gd name="connsiteY25" fmla="*/ 512361 h 761503"/>
                <a:gd name="connsiteX26" fmla="*/ 330144 w 516735"/>
                <a:gd name="connsiteY26" fmla="*/ 539557 h 761503"/>
                <a:gd name="connsiteX27" fmla="*/ 332863 w 516735"/>
                <a:gd name="connsiteY27" fmla="*/ 593950 h 761503"/>
                <a:gd name="connsiteX28" fmla="*/ 332863 w 516735"/>
                <a:gd name="connsiteY28" fmla="*/ 648343 h 761503"/>
                <a:gd name="connsiteX29" fmla="*/ 332863 w 516735"/>
                <a:gd name="connsiteY29" fmla="*/ 656502 h 761503"/>
                <a:gd name="connsiteX30" fmla="*/ 357341 w 516735"/>
                <a:gd name="connsiteY30" fmla="*/ 656502 h 761503"/>
                <a:gd name="connsiteX31" fmla="*/ 395416 w 516735"/>
                <a:gd name="connsiteY31" fmla="*/ 675540 h 761503"/>
                <a:gd name="connsiteX32" fmla="*/ 389976 w 516735"/>
                <a:gd name="connsiteY32" fmla="*/ 691858 h 761503"/>
                <a:gd name="connsiteX33" fmla="*/ 373658 w 516735"/>
                <a:gd name="connsiteY33" fmla="*/ 700017 h 761503"/>
                <a:gd name="connsiteX34" fmla="*/ 351901 w 516735"/>
                <a:gd name="connsiteY34" fmla="*/ 702737 h 761503"/>
                <a:gd name="connsiteX35" fmla="*/ 319265 w 516735"/>
                <a:gd name="connsiteY35" fmla="*/ 702737 h 761503"/>
                <a:gd name="connsiteX36" fmla="*/ 311106 w 516735"/>
                <a:gd name="connsiteY36" fmla="*/ 708176 h 761503"/>
                <a:gd name="connsiteX37" fmla="*/ 289349 w 516735"/>
                <a:gd name="connsiteY37" fmla="*/ 713615 h 761503"/>
                <a:gd name="connsiteX38" fmla="*/ 270311 w 516735"/>
                <a:gd name="connsiteY38" fmla="*/ 713615 h 761503"/>
                <a:gd name="connsiteX39" fmla="*/ 243115 w 516735"/>
                <a:gd name="connsiteY39" fmla="*/ 705456 h 761503"/>
                <a:gd name="connsiteX40" fmla="*/ 237675 w 516735"/>
                <a:gd name="connsiteY40" fmla="*/ 702737 h 761503"/>
                <a:gd name="connsiteX41" fmla="*/ 199600 w 516735"/>
                <a:gd name="connsiteY41" fmla="*/ 702737 h 761503"/>
                <a:gd name="connsiteX42" fmla="*/ 175123 w 516735"/>
                <a:gd name="connsiteY42" fmla="*/ 702737 h 761503"/>
                <a:gd name="connsiteX43" fmla="*/ 147927 w 516735"/>
                <a:gd name="connsiteY43" fmla="*/ 697297 h 761503"/>
                <a:gd name="connsiteX44" fmla="*/ 131609 w 516735"/>
                <a:gd name="connsiteY44" fmla="*/ 678260 h 761503"/>
                <a:gd name="connsiteX45" fmla="*/ 137048 w 516735"/>
                <a:gd name="connsiteY45" fmla="*/ 670101 h 761503"/>
                <a:gd name="connsiteX46" fmla="*/ 158805 w 516735"/>
                <a:gd name="connsiteY46" fmla="*/ 661942 h 761503"/>
                <a:gd name="connsiteX47" fmla="*/ 199600 w 516735"/>
                <a:gd name="connsiteY47" fmla="*/ 659222 h 761503"/>
                <a:gd name="connsiteX48" fmla="*/ 199600 w 516735"/>
                <a:gd name="connsiteY48" fmla="*/ 659222 h 761503"/>
                <a:gd name="connsiteX49" fmla="*/ 196880 w 516735"/>
                <a:gd name="connsiteY49" fmla="*/ 629306 h 761503"/>
                <a:gd name="connsiteX50" fmla="*/ 199600 w 516735"/>
                <a:gd name="connsiteY50" fmla="*/ 574913 h 761503"/>
                <a:gd name="connsiteX51" fmla="*/ 202320 w 516735"/>
                <a:gd name="connsiteY51" fmla="*/ 523239 h 761503"/>
                <a:gd name="connsiteX52" fmla="*/ 205040 w 516735"/>
                <a:gd name="connsiteY52" fmla="*/ 460687 h 761503"/>
                <a:gd name="connsiteX53" fmla="*/ 205040 w 516735"/>
                <a:gd name="connsiteY53" fmla="*/ 417173 h 761503"/>
                <a:gd name="connsiteX54" fmla="*/ 207759 w 516735"/>
                <a:gd name="connsiteY54" fmla="*/ 392696 h 761503"/>
                <a:gd name="connsiteX55" fmla="*/ 210478 w 516735"/>
                <a:gd name="connsiteY55" fmla="*/ 368219 h 761503"/>
                <a:gd name="connsiteX56" fmla="*/ 210478 w 516735"/>
                <a:gd name="connsiteY56" fmla="*/ 313826 h 761503"/>
                <a:gd name="connsiteX57" fmla="*/ 210478 w 516735"/>
                <a:gd name="connsiteY57" fmla="*/ 259433 h 761503"/>
                <a:gd name="connsiteX58" fmla="*/ 210478 w 516735"/>
                <a:gd name="connsiteY58" fmla="*/ 213199 h 761503"/>
                <a:gd name="connsiteX59" fmla="*/ 210478 w 516735"/>
                <a:gd name="connsiteY59" fmla="*/ 145207 h 761503"/>
                <a:gd name="connsiteX60" fmla="*/ 213198 w 516735"/>
                <a:gd name="connsiteY60" fmla="*/ 131609 h 761503"/>
                <a:gd name="connsiteX61" fmla="*/ 205040 w 516735"/>
                <a:gd name="connsiteY61" fmla="*/ 123450 h 761503"/>
                <a:gd name="connsiteX62" fmla="*/ 161525 w 516735"/>
                <a:gd name="connsiteY62" fmla="*/ 123450 h 761503"/>
                <a:gd name="connsiteX63" fmla="*/ 112571 w 516735"/>
                <a:gd name="connsiteY63" fmla="*/ 120730 h 761503"/>
                <a:gd name="connsiteX64" fmla="*/ 104412 w 516735"/>
                <a:gd name="connsiteY64" fmla="*/ 118011 h 761503"/>
                <a:gd name="connsiteX65" fmla="*/ 107132 w 516735"/>
                <a:gd name="connsiteY65" fmla="*/ 191441 h 761503"/>
                <a:gd name="connsiteX66" fmla="*/ 90814 w 516735"/>
                <a:gd name="connsiteY66" fmla="*/ 224077 h 761503"/>
                <a:gd name="connsiteX67" fmla="*/ 74496 w 516735"/>
                <a:gd name="connsiteY67" fmla="*/ 218638 h 761503"/>
                <a:gd name="connsiteX68" fmla="*/ 66337 w 516735"/>
                <a:gd name="connsiteY68" fmla="*/ 205040 h 761503"/>
                <a:gd name="connsiteX69" fmla="*/ 63617 w 516735"/>
                <a:gd name="connsiteY69" fmla="*/ 186002 h 761503"/>
                <a:gd name="connsiteX70" fmla="*/ 63617 w 516735"/>
                <a:gd name="connsiteY70" fmla="*/ 145207 h 761503"/>
                <a:gd name="connsiteX71" fmla="*/ 63617 w 516735"/>
                <a:gd name="connsiteY71" fmla="*/ 109852 h 761503"/>
                <a:gd name="connsiteX72" fmla="*/ 58178 w 516735"/>
                <a:gd name="connsiteY72" fmla="*/ 96253 h 761503"/>
                <a:gd name="connsiteX73" fmla="*/ 66337 w 516735"/>
                <a:gd name="connsiteY73" fmla="*/ 85375 h 761503"/>
                <a:gd name="connsiteX74" fmla="*/ 93533 w 516735"/>
                <a:gd name="connsiteY74" fmla="*/ 77216 h 761503"/>
                <a:gd name="connsiteX75" fmla="*/ 115290 w 516735"/>
                <a:gd name="connsiteY75" fmla="*/ 77216 h 761503"/>
                <a:gd name="connsiteX76" fmla="*/ 169684 w 516735"/>
                <a:gd name="connsiteY76" fmla="*/ 74496 h 761503"/>
                <a:gd name="connsiteX77" fmla="*/ 194161 w 516735"/>
                <a:gd name="connsiteY77" fmla="*/ 71776 h 761503"/>
                <a:gd name="connsiteX78" fmla="*/ 196880 w 516735"/>
                <a:gd name="connsiteY78" fmla="*/ 71776 h 761503"/>
                <a:gd name="connsiteX79" fmla="*/ 210478 w 516735"/>
                <a:gd name="connsiteY79" fmla="*/ 71776 h 761503"/>
                <a:gd name="connsiteX80" fmla="*/ 218638 w 516735"/>
                <a:gd name="connsiteY80" fmla="*/ 71776 h 761503"/>
                <a:gd name="connsiteX81" fmla="*/ 237675 w 516735"/>
                <a:gd name="connsiteY81" fmla="*/ 60898 h 761503"/>
                <a:gd name="connsiteX82" fmla="*/ 253993 w 516735"/>
                <a:gd name="connsiteY82" fmla="*/ 58178 h 761503"/>
                <a:gd name="connsiteX83" fmla="*/ 283910 w 516735"/>
                <a:gd name="connsiteY83" fmla="*/ 60898 h 761503"/>
                <a:gd name="connsiteX84" fmla="*/ 294788 w 516735"/>
                <a:gd name="connsiteY84" fmla="*/ 66337 h 761503"/>
                <a:gd name="connsiteX85" fmla="*/ 305667 w 516735"/>
                <a:gd name="connsiteY85" fmla="*/ 74496 h 761503"/>
                <a:gd name="connsiteX86" fmla="*/ 313826 w 516735"/>
                <a:gd name="connsiteY86" fmla="*/ 74496 h 761503"/>
                <a:gd name="connsiteX87" fmla="*/ 327424 w 516735"/>
                <a:gd name="connsiteY87" fmla="*/ 74496 h 761503"/>
                <a:gd name="connsiteX88" fmla="*/ 354621 w 516735"/>
                <a:gd name="connsiteY88" fmla="*/ 74496 h 761503"/>
                <a:gd name="connsiteX89" fmla="*/ 422612 w 516735"/>
                <a:gd name="connsiteY89" fmla="*/ 74496 h 761503"/>
                <a:gd name="connsiteX90" fmla="*/ 455248 w 516735"/>
                <a:gd name="connsiteY90" fmla="*/ 79936 h 761503"/>
                <a:gd name="connsiteX91" fmla="*/ 466127 w 516735"/>
                <a:gd name="connsiteY91" fmla="*/ 98973 h 761503"/>
                <a:gd name="connsiteX92" fmla="*/ 463407 w 516735"/>
                <a:gd name="connsiteY92" fmla="*/ 109852 h 761503"/>
                <a:gd name="connsiteX93" fmla="*/ 463407 w 516735"/>
                <a:gd name="connsiteY93" fmla="*/ 120730 h 761503"/>
                <a:gd name="connsiteX94" fmla="*/ 463407 w 516735"/>
                <a:gd name="connsiteY94" fmla="*/ 194161 h 761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</a:cxnLst>
              <a:rect l="l" t="t" r="r" b="b"/>
              <a:pathLst>
                <a:path w="516735" h="761503">
                  <a:moveTo>
                    <a:pt x="463407" y="194161"/>
                  </a:moveTo>
                  <a:cubicBezTo>
                    <a:pt x="463407" y="205040"/>
                    <a:pt x="463407" y="226797"/>
                    <a:pt x="447089" y="226797"/>
                  </a:cubicBezTo>
                  <a:cubicBezTo>
                    <a:pt x="438930" y="226797"/>
                    <a:pt x="436211" y="226797"/>
                    <a:pt x="430771" y="221357"/>
                  </a:cubicBezTo>
                  <a:cubicBezTo>
                    <a:pt x="425332" y="218638"/>
                    <a:pt x="422612" y="210479"/>
                    <a:pt x="422612" y="207759"/>
                  </a:cubicBezTo>
                  <a:cubicBezTo>
                    <a:pt x="419893" y="199600"/>
                    <a:pt x="419893" y="194161"/>
                    <a:pt x="419893" y="188722"/>
                  </a:cubicBezTo>
                  <a:cubicBezTo>
                    <a:pt x="419893" y="183282"/>
                    <a:pt x="419893" y="147927"/>
                    <a:pt x="419893" y="139768"/>
                  </a:cubicBezTo>
                  <a:cubicBezTo>
                    <a:pt x="419893" y="134329"/>
                    <a:pt x="419893" y="128889"/>
                    <a:pt x="419893" y="120730"/>
                  </a:cubicBezTo>
                  <a:cubicBezTo>
                    <a:pt x="411734" y="120730"/>
                    <a:pt x="403574" y="120730"/>
                    <a:pt x="395416" y="120730"/>
                  </a:cubicBezTo>
                  <a:cubicBezTo>
                    <a:pt x="387256" y="120730"/>
                    <a:pt x="379098" y="120730"/>
                    <a:pt x="370939" y="120730"/>
                  </a:cubicBezTo>
                  <a:cubicBezTo>
                    <a:pt x="362780" y="120730"/>
                    <a:pt x="354621" y="123450"/>
                    <a:pt x="346461" y="123450"/>
                  </a:cubicBezTo>
                  <a:cubicBezTo>
                    <a:pt x="343742" y="123450"/>
                    <a:pt x="341023" y="123450"/>
                    <a:pt x="335583" y="123450"/>
                  </a:cubicBezTo>
                  <a:cubicBezTo>
                    <a:pt x="335583" y="123450"/>
                    <a:pt x="335583" y="123450"/>
                    <a:pt x="335583" y="123450"/>
                  </a:cubicBezTo>
                  <a:cubicBezTo>
                    <a:pt x="327424" y="123450"/>
                    <a:pt x="324704" y="126170"/>
                    <a:pt x="324704" y="128889"/>
                  </a:cubicBezTo>
                  <a:cubicBezTo>
                    <a:pt x="324704" y="131609"/>
                    <a:pt x="324704" y="137048"/>
                    <a:pt x="327424" y="139768"/>
                  </a:cubicBezTo>
                  <a:cubicBezTo>
                    <a:pt x="330144" y="147927"/>
                    <a:pt x="330144" y="166964"/>
                    <a:pt x="330144" y="175123"/>
                  </a:cubicBezTo>
                  <a:cubicBezTo>
                    <a:pt x="330144" y="183282"/>
                    <a:pt x="330144" y="191441"/>
                    <a:pt x="330144" y="199600"/>
                  </a:cubicBezTo>
                  <a:cubicBezTo>
                    <a:pt x="330144" y="207759"/>
                    <a:pt x="327424" y="215918"/>
                    <a:pt x="327424" y="224077"/>
                  </a:cubicBezTo>
                  <a:cubicBezTo>
                    <a:pt x="327424" y="232236"/>
                    <a:pt x="330144" y="243115"/>
                    <a:pt x="330144" y="251274"/>
                  </a:cubicBezTo>
                  <a:cubicBezTo>
                    <a:pt x="330144" y="259433"/>
                    <a:pt x="330144" y="267592"/>
                    <a:pt x="327424" y="278470"/>
                  </a:cubicBezTo>
                  <a:cubicBezTo>
                    <a:pt x="327424" y="294788"/>
                    <a:pt x="327424" y="313826"/>
                    <a:pt x="327424" y="332864"/>
                  </a:cubicBezTo>
                  <a:cubicBezTo>
                    <a:pt x="327424" y="341022"/>
                    <a:pt x="327424" y="349181"/>
                    <a:pt x="330144" y="357340"/>
                  </a:cubicBezTo>
                  <a:cubicBezTo>
                    <a:pt x="330144" y="360060"/>
                    <a:pt x="330144" y="365499"/>
                    <a:pt x="330144" y="368219"/>
                  </a:cubicBezTo>
                  <a:cubicBezTo>
                    <a:pt x="330144" y="373658"/>
                    <a:pt x="332863" y="384537"/>
                    <a:pt x="332863" y="387257"/>
                  </a:cubicBezTo>
                  <a:cubicBezTo>
                    <a:pt x="332863" y="406294"/>
                    <a:pt x="332863" y="414453"/>
                    <a:pt x="332863" y="433491"/>
                  </a:cubicBezTo>
                  <a:cubicBezTo>
                    <a:pt x="332863" y="452528"/>
                    <a:pt x="335583" y="468846"/>
                    <a:pt x="332863" y="487884"/>
                  </a:cubicBezTo>
                  <a:cubicBezTo>
                    <a:pt x="332863" y="496043"/>
                    <a:pt x="330144" y="504202"/>
                    <a:pt x="330144" y="512361"/>
                  </a:cubicBezTo>
                  <a:cubicBezTo>
                    <a:pt x="330144" y="520520"/>
                    <a:pt x="330144" y="531398"/>
                    <a:pt x="330144" y="539557"/>
                  </a:cubicBezTo>
                  <a:cubicBezTo>
                    <a:pt x="330144" y="558595"/>
                    <a:pt x="330144" y="574913"/>
                    <a:pt x="332863" y="593950"/>
                  </a:cubicBezTo>
                  <a:cubicBezTo>
                    <a:pt x="332863" y="610268"/>
                    <a:pt x="332863" y="632026"/>
                    <a:pt x="332863" y="648343"/>
                  </a:cubicBezTo>
                  <a:cubicBezTo>
                    <a:pt x="332863" y="651063"/>
                    <a:pt x="332863" y="653783"/>
                    <a:pt x="332863" y="656502"/>
                  </a:cubicBezTo>
                  <a:cubicBezTo>
                    <a:pt x="343742" y="656502"/>
                    <a:pt x="351901" y="656502"/>
                    <a:pt x="357341" y="656502"/>
                  </a:cubicBezTo>
                  <a:cubicBezTo>
                    <a:pt x="370939" y="656502"/>
                    <a:pt x="395416" y="659222"/>
                    <a:pt x="395416" y="675540"/>
                  </a:cubicBezTo>
                  <a:cubicBezTo>
                    <a:pt x="395416" y="683699"/>
                    <a:pt x="392696" y="686419"/>
                    <a:pt x="389976" y="691858"/>
                  </a:cubicBezTo>
                  <a:cubicBezTo>
                    <a:pt x="384537" y="697297"/>
                    <a:pt x="379098" y="700017"/>
                    <a:pt x="373658" y="700017"/>
                  </a:cubicBezTo>
                  <a:cubicBezTo>
                    <a:pt x="365499" y="702737"/>
                    <a:pt x="357341" y="702737"/>
                    <a:pt x="351901" y="702737"/>
                  </a:cubicBezTo>
                  <a:cubicBezTo>
                    <a:pt x="349181" y="702737"/>
                    <a:pt x="335583" y="702737"/>
                    <a:pt x="319265" y="702737"/>
                  </a:cubicBezTo>
                  <a:cubicBezTo>
                    <a:pt x="316546" y="705456"/>
                    <a:pt x="313826" y="705456"/>
                    <a:pt x="311106" y="708176"/>
                  </a:cubicBezTo>
                  <a:cubicBezTo>
                    <a:pt x="302948" y="713615"/>
                    <a:pt x="297508" y="713615"/>
                    <a:pt x="289349" y="713615"/>
                  </a:cubicBezTo>
                  <a:cubicBezTo>
                    <a:pt x="283910" y="713615"/>
                    <a:pt x="278470" y="713615"/>
                    <a:pt x="270311" y="713615"/>
                  </a:cubicBezTo>
                  <a:cubicBezTo>
                    <a:pt x="259433" y="713615"/>
                    <a:pt x="251273" y="710895"/>
                    <a:pt x="243115" y="705456"/>
                  </a:cubicBezTo>
                  <a:cubicBezTo>
                    <a:pt x="240395" y="705456"/>
                    <a:pt x="237675" y="702737"/>
                    <a:pt x="237675" y="702737"/>
                  </a:cubicBezTo>
                  <a:cubicBezTo>
                    <a:pt x="224077" y="702737"/>
                    <a:pt x="213198" y="702737"/>
                    <a:pt x="199600" y="702737"/>
                  </a:cubicBezTo>
                  <a:cubicBezTo>
                    <a:pt x="191441" y="702737"/>
                    <a:pt x="183282" y="702737"/>
                    <a:pt x="175123" y="702737"/>
                  </a:cubicBezTo>
                  <a:cubicBezTo>
                    <a:pt x="166965" y="702737"/>
                    <a:pt x="156085" y="702737"/>
                    <a:pt x="147927" y="697297"/>
                  </a:cubicBezTo>
                  <a:cubicBezTo>
                    <a:pt x="139768" y="694578"/>
                    <a:pt x="131609" y="680979"/>
                    <a:pt x="131609" y="678260"/>
                  </a:cubicBezTo>
                  <a:cubicBezTo>
                    <a:pt x="131609" y="675540"/>
                    <a:pt x="131609" y="672820"/>
                    <a:pt x="137048" y="670101"/>
                  </a:cubicBezTo>
                  <a:cubicBezTo>
                    <a:pt x="142487" y="667381"/>
                    <a:pt x="153366" y="664661"/>
                    <a:pt x="158805" y="661942"/>
                  </a:cubicBezTo>
                  <a:cubicBezTo>
                    <a:pt x="175123" y="659222"/>
                    <a:pt x="191441" y="659222"/>
                    <a:pt x="199600" y="659222"/>
                  </a:cubicBezTo>
                  <a:lnTo>
                    <a:pt x="199600" y="659222"/>
                  </a:lnTo>
                  <a:cubicBezTo>
                    <a:pt x="199600" y="648343"/>
                    <a:pt x="196880" y="640184"/>
                    <a:pt x="196880" y="629306"/>
                  </a:cubicBezTo>
                  <a:cubicBezTo>
                    <a:pt x="196880" y="612988"/>
                    <a:pt x="196880" y="591231"/>
                    <a:pt x="199600" y="574913"/>
                  </a:cubicBezTo>
                  <a:cubicBezTo>
                    <a:pt x="199600" y="558595"/>
                    <a:pt x="199600" y="539557"/>
                    <a:pt x="202320" y="523239"/>
                  </a:cubicBezTo>
                  <a:cubicBezTo>
                    <a:pt x="202320" y="501482"/>
                    <a:pt x="205040" y="482445"/>
                    <a:pt x="205040" y="460687"/>
                  </a:cubicBezTo>
                  <a:cubicBezTo>
                    <a:pt x="205040" y="447089"/>
                    <a:pt x="205040" y="430771"/>
                    <a:pt x="205040" y="417173"/>
                  </a:cubicBezTo>
                  <a:cubicBezTo>
                    <a:pt x="205040" y="409014"/>
                    <a:pt x="207759" y="400855"/>
                    <a:pt x="207759" y="392696"/>
                  </a:cubicBezTo>
                  <a:cubicBezTo>
                    <a:pt x="207759" y="384537"/>
                    <a:pt x="210478" y="376378"/>
                    <a:pt x="210478" y="368219"/>
                  </a:cubicBezTo>
                  <a:cubicBezTo>
                    <a:pt x="210478" y="351901"/>
                    <a:pt x="210478" y="332864"/>
                    <a:pt x="210478" y="313826"/>
                  </a:cubicBezTo>
                  <a:cubicBezTo>
                    <a:pt x="210478" y="294788"/>
                    <a:pt x="210478" y="275751"/>
                    <a:pt x="210478" y="259433"/>
                  </a:cubicBezTo>
                  <a:cubicBezTo>
                    <a:pt x="210478" y="243115"/>
                    <a:pt x="210478" y="226797"/>
                    <a:pt x="210478" y="213199"/>
                  </a:cubicBezTo>
                  <a:cubicBezTo>
                    <a:pt x="210478" y="194161"/>
                    <a:pt x="210478" y="164245"/>
                    <a:pt x="210478" y="145207"/>
                  </a:cubicBezTo>
                  <a:cubicBezTo>
                    <a:pt x="210478" y="139768"/>
                    <a:pt x="213198" y="134329"/>
                    <a:pt x="213198" y="131609"/>
                  </a:cubicBezTo>
                  <a:cubicBezTo>
                    <a:pt x="213198" y="126170"/>
                    <a:pt x="207759" y="123450"/>
                    <a:pt x="205040" y="123450"/>
                  </a:cubicBezTo>
                  <a:cubicBezTo>
                    <a:pt x="199600" y="123450"/>
                    <a:pt x="166965" y="123450"/>
                    <a:pt x="161525" y="123450"/>
                  </a:cubicBezTo>
                  <a:cubicBezTo>
                    <a:pt x="145207" y="123450"/>
                    <a:pt x="128889" y="123450"/>
                    <a:pt x="112571" y="120730"/>
                  </a:cubicBezTo>
                  <a:cubicBezTo>
                    <a:pt x="109852" y="120730"/>
                    <a:pt x="107132" y="120730"/>
                    <a:pt x="104412" y="118011"/>
                  </a:cubicBezTo>
                  <a:cubicBezTo>
                    <a:pt x="107132" y="137048"/>
                    <a:pt x="107132" y="172404"/>
                    <a:pt x="107132" y="191441"/>
                  </a:cubicBezTo>
                  <a:cubicBezTo>
                    <a:pt x="107132" y="202320"/>
                    <a:pt x="107132" y="224077"/>
                    <a:pt x="90814" y="224077"/>
                  </a:cubicBezTo>
                  <a:cubicBezTo>
                    <a:pt x="82655" y="224077"/>
                    <a:pt x="79935" y="221357"/>
                    <a:pt x="74496" y="218638"/>
                  </a:cubicBezTo>
                  <a:cubicBezTo>
                    <a:pt x="69057" y="215918"/>
                    <a:pt x="66337" y="210479"/>
                    <a:pt x="66337" y="205040"/>
                  </a:cubicBezTo>
                  <a:cubicBezTo>
                    <a:pt x="63617" y="196881"/>
                    <a:pt x="63617" y="191441"/>
                    <a:pt x="63617" y="186002"/>
                  </a:cubicBezTo>
                  <a:cubicBezTo>
                    <a:pt x="63617" y="180563"/>
                    <a:pt x="63617" y="153366"/>
                    <a:pt x="63617" y="145207"/>
                  </a:cubicBezTo>
                  <a:cubicBezTo>
                    <a:pt x="63617" y="134329"/>
                    <a:pt x="63617" y="120730"/>
                    <a:pt x="63617" y="109852"/>
                  </a:cubicBezTo>
                  <a:cubicBezTo>
                    <a:pt x="60897" y="104412"/>
                    <a:pt x="58178" y="101693"/>
                    <a:pt x="58178" y="96253"/>
                  </a:cubicBezTo>
                  <a:cubicBezTo>
                    <a:pt x="58178" y="93534"/>
                    <a:pt x="60897" y="88095"/>
                    <a:pt x="66337" y="85375"/>
                  </a:cubicBezTo>
                  <a:cubicBezTo>
                    <a:pt x="74496" y="79936"/>
                    <a:pt x="77215" y="77216"/>
                    <a:pt x="93533" y="77216"/>
                  </a:cubicBezTo>
                  <a:cubicBezTo>
                    <a:pt x="101692" y="77216"/>
                    <a:pt x="109852" y="77216"/>
                    <a:pt x="115290" y="77216"/>
                  </a:cubicBezTo>
                  <a:cubicBezTo>
                    <a:pt x="134328" y="77216"/>
                    <a:pt x="150646" y="77216"/>
                    <a:pt x="169684" y="74496"/>
                  </a:cubicBezTo>
                  <a:cubicBezTo>
                    <a:pt x="177843" y="74496"/>
                    <a:pt x="186002" y="71776"/>
                    <a:pt x="194161" y="71776"/>
                  </a:cubicBezTo>
                  <a:cubicBezTo>
                    <a:pt x="194161" y="71776"/>
                    <a:pt x="196880" y="71776"/>
                    <a:pt x="196880" y="71776"/>
                  </a:cubicBezTo>
                  <a:cubicBezTo>
                    <a:pt x="199600" y="71776"/>
                    <a:pt x="205040" y="71776"/>
                    <a:pt x="210478" y="71776"/>
                  </a:cubicBezTo>
                  <a:cubicBezTo>
                    <a:pt x="213198" y="71776"/>
                    <a:pt x="215918" y="71776"/>
                    <a:pt x="218638" y="71776"/>
                  </a:cubicBezTo>
                  <a:cubicBezTo>
                    <a:pt x="224077" y="69057"/>
                    <a:pt x="229516" y="63618"/>
                    <a:pt x="237675" y="60898"/>
                  </a:cubicBezTo>
                  <a:cubicBezTo>
                    <a:pt x="243115" y="58178"/>
                    <a:pt x="248554" y="58178"/>
                    <a:pt x="253993" y="58178"/>
                  </a:cubicBezTo>
                  <a:cubicBezTo>
                    <a:pt x="264872" y="58178"/>
                    <a:pt x="273031" y="58178"/>
                    <a:pt x="283910" y="60898"/>
                  </a:cubicBezTo>
                  <a:cubicBezTo>
                    <a:pt x="286629" y="60898"/>
                    <a:pt x="292068" y="63618"/>
                    <a:pt x="294788" y="66337"/>
                  </a:cubicBezTo>
                  <a:cubicBezTo>
                    <a:pt x="297508" y="69057"/>
                    <a:pt x="302948" y="71776"/>
                    <a:pt x="305667" y="74496"/>
                  </a:cubicBezTo>
                  <a:cubicBezTo>
                    <a:pt x="308386" y="74496"/>
                    <a:pt x="311106" y="74496"/>
                    <a:pt x="313826" y="74496"/>
                  </a:cubicBezTo>
                  <a:cubicBezTo>
                    <a:pt x="319265" y="74496"/>
                    <a:pt x="321985" y="74496"/>
                    <a:pt x="327424" y="74496"/>
                  </a:cubicBezTo>
                  <a:cubicBezTo>
                    <a:pt x="335583" y="74496"/>
                    <a:pt x="346461" y="74496"/>
                    <a:pt x="354621" y="74496"/>
                  </a:cubicBezTo>
                  <a:cubicBezTo>
                    <a:pt x="376378" y="74496"/>
                    <a:pt x="400855" y="74496"/>
                    <a:pt x="422612" y="74496"/>
                  </a:cubicBezTo>
                  <a:cubicBezTo>
                    <a:pt x="433491" y="74496"/>
                    <a:pt x="447089" y="74496"/>
                    <a:pt x="455248" y="79936"/>
                  </a:cubicBezTo>
                  <a:cubicBezTo>
                    <a:pt x="460687" y="82655"/>
                    <a:pt x="466127" y="90814"/>
                    <a:pt x="466127" y="98973"/>
                  </a:cubicBezTo>
                  <a:cubicBezTo>
                    <a:pt x="466127" y="101693"/>
                    <a:pt x="466127" y="107132"/>
                    <a:pt x="463407" y="109852"/>
                  </a:cubicBezTo>
                  <a:cubicBezTo>
                    <a:pt x="463407" y="112571"/>
                    <a:pt x="463407" y="112571"/>
                    <a:pt x="463407" y="120730"/>
                  </a:cubicBezTo>
                  <a:cubicBezTo>
                    <a:pt x="463407" y="142488"/>
                    <a:pt x="463407" y="172404"/>
                    <a:pt x="463407" y="194161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/>
            </a:p>
          </p:txBody>
        </p:sp>
      </p:grpSp>
      <p:sp>
        <p:nvSpPr>
          <p:cNvPr id="52" name="Title 51">
            <a:extLst>
              <a:ext uri="{FF2B5EF4-FFF2-40B4-BE49-F238E27FC236}">
                <a16:creationId xmlns:a16="http://schemas.microsoft.com/office/drawing/2014/main" id="{A2A18BD8-58F2-477C-8542-F5233F2756F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599" y="457200"/>
            <a:ext cx="11582401" cy="1904999"/>
          </a:xfrm>
        </p:spPr>
        <p:txBody>
          <a:bodyPr/>
          <a:lstStyle>
            <a:lvl1pPr>
              <a:lnSpc>
                <a:spcPct val="82000"/>
              </a:lnSpc>
              <a:defRPr sz="6000">
                <a:solidFill>
                  <a:schemeClr val="bg1"/>
                </a:solidFill>
              </a:defRPr>
            </a:lvl1pPr>
          </a:lstStyle>
          <a:p>
            <a:r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4040979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e Statement Purple">
    <p:bg bwMode="lt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2" name="Picture 51" descr="A picture containing white, purple, animal, hat&#10;&#10;Description automatically generated">
            <a:extLst>
              <a:ext uri="{FF2B5EF4-FFF2-40B4-BE49-F238E27FC236}">
                <a16:creationId xmlns:a16="http://schemas.microsoft.com/office/drawing/2014/main" id="{DEDB105A-1D72-4AB9-8B93-E7040C94DEB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8395" t="23561" r="9131" b="28413"/>
          <a:stretch/>
        </p:blipFill>
        <p:spPr>
          <a:xfrm>
            <a:off x="-1" y="0"/>
            <a:ext cx="12192001" cy="6858000"/>
          </a:xfrm>
          <a:prstGeom prst="rect">
            <a:avLst/>
          </a:prstGeom>
        </p:spPr>
      </p:pic>
      <p:grpSp>
        <p:nvGrpSpPr>
          <p:cNvPr id="54" name="Group 53">
            <a:extLst>
              <a:ext uri="{FF2B5EF4-FFF2-40B4-BE49-F238E27FC236}">
                <a16:creationId xmlns:a16="http://schemas.microsoft.com/office/drawing/2014/main" id="{91EFB6FC-37AE-4840-AFA2-CAA042EDC92C}"/>
              </a:ext>
            </a:extLst>
          </p:cNvPr>
          <p:cNvGrpSpPr>
            <a:grpSpLocks noChangeAspect="1"/>
          </p:cNvGrpSpPr>
          <p:nvPr userDrawn="1"/>
        </p:nvGrpSpPr>
        <p:grpSpPr>
          <a:xfrm rot="19942067">
            <a:off x="6393020" y="785412"/>
            <a:ext cx="5429523" cy="5277329"/>
            <a:chOff x="932788" y="2093333"/>
            <a:chExt cx="2428747" cy="2360667"/>
          </a:xfrm>
          <a:effectLst/>
        </p:grpSpPr>
        <p:sp>
          <p:nvSpPr>
            <p:cNvPr id="55" name="Freeform: Shape 54">
              <a:extLst>
                <a:ext uri="{FF2B5EF4-FFF2-40B4-BE49-F238E27FC236}">
                  <a16:creationId xmlns:a16="http://schemas.microsoft.com/office/drawing/2014/main" id="{C096208D-4876-484E-ACB4-30D92971D562}"/>
                </a:ext>
              </a:extLst>
            </p:cNvPr>
            <p:cNvSpPr/>
            <p:nvPr/>
          </p:nvSpPr>
          <p:spPr>
            <a:xfrm>
              <a:off x="932809" y="2093372"/>
              <a:ext cx="2428726" cy="2360628"/>
            </a:xfrm>
            <a:custGeom>
              <a:avLst/>
              <a:gdLst>
                <a:gd name="connsiteX0" fmla="*/ 1646974 w 2428726"/>
                <a:gd name="connsiteY0" fmla="*/ 2287955 h 2360628"/>
                <a:gd name="connsiteX1" fmla="*/ 2368782 w 2428726"/>
                <a:gd name="connsiteY1" fmla="*/ 899497 h 2360628"/>
                <a:gd name="connsiteX2" fmla="*/ 721561 w 2428726"/>
                <a:gd name="connsiteY2" fmla="*/ 126391 h 2360628"/>
                <a:gd name="connsiteX3" fmla="*/ 65124 w 2428726"/>
                <a:gd name="connsiteY3" fmla="*/ 1543789 h 2360628"/>
                <a:gd name="connsiteX4" fmla="*/ 1646974 w 2428726"/>
                <a:gd name="connsiteY4" fmla="*/ 2287955 h 23606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28726" h="2360628">
                  <a:moveTo>
                    <a:pt x="1646974" y="2287955"/>
                  </a:moveTo>
                  <a:cubicBezTo>
                    <a:pt x="2044763" y="2135081"/>
                    <a:pt x="2594971" y="1803912"/>
                    <a:pt x="2368782" y="899497"/>
                  </a:cubicBezTo>
                  <a:cubicBezTo>
                    <a:pt x="2288997" y="580585"/>
                    <a:pt x="1593633" y="-309531"/>
                    <a:pt x="721561" y="126391"/>
                  </a:cubicBezTo>
                  <a:cubicBezTo>
                    <a:pt x="194278" y="389919"/>
                    <a:pt x="-128266" y="971337"/>
                    <a:pt x="65124" y="1543789"/>
                  </a:cubicBezTo>
                  <a:cubicBezTo>
                    <a:pt x="268161" y="2144728"/>
                    <a:pt x="1031507" y="2524358"/>
                    <a:pt x="1646974" y="2287955"/>
                  </a:cubicBezTo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56" name="Freeform: Shape 55">
              <a:extLst>
                <a:ext uri="{FF2B5EF4-FFF2-40B4-BE49-F238E27FC236}">
                  <a16:creationId xmlns:a16="http://schemas.microsoft.com/office/drawing/2014/main" id="{20A210D0-FF4A-4AA8-9BFA-E15F24DA930C}"/>
                </a:ext>
              </a:extLst>
            </p:cNvPr>
            <p:cNvSpPr/>
            <p:nvPr/>
          </p:nvSpPr>
          <p:spPr>
            <a:xfrm>
              <a:off x="932788" y="2093333"/>
              <a:ext cx="2428726" cy="2360628"/>
            </a:xfrm>
            <a:custGeom>
              <a:avLst/>
              <a:gdLst>
                <a:gd name="connsiteX0" fmla="*/ 1197112 w 2428726"/>
                <a:gd name="connsiteY0" fmla="*/ 8512 h 2360628"/>
                <a:gd name="connsiteX1" fmla="*/ 721581 w 2428726"/>
                <a:gd name="connsiteY1" fmla="*/ 126430 h 2360628"/>
                <a:gd name="connsiteX2" fmla="*/ 8512 w 2428726"/>
                <a:gd name="connsiteY2" fmla="*/ 1203239 h 2360628"/>
                <a:gd name="connsiteX3" fmla="*/ 65144 w 2428726"/>
                <a:gd name="connsiteY3" fmla="*/ 1543828 h 2360628"/>
                <a:gd name="connsiteX4" fmla="*/ 1255107 w 2428726"/>
                <a:gd name="connsiteY4" fmla="*/ 2359039 h 2360628"/>
                <a:gd name="connsiteX5" fmla="*/ 1646994 w 2428726"/>
                <a:gd name="connsiteY5" fmla="*/ 2287880 h 2360628"/>
                <a:gd name="connsiteX6" fmla="*/ 2421576 w 2428726"/>
                <a:gd name="connsiteY6" fmla="*/ 1293579 h 2360628"/>
                <a:gd name="connsiteX7" fmla="*/ 2368803 w 2428726"/>
                <a:gd name="connsiteY7" fmla="*/ 899422 h 2360628"/>
                <a:gd name="connsiteX8" fmla="*/ 1722012 w 2428726"/>
                <a:gd name="connsiteY8" fmla="*/ 153441 h 2360628"/>
                <a:gd name="connsiteX9" fmla="*/ 1534637 w 2428726"/>
                <a:gd name="connsiteY9" fmla="*/ 67755 h 2360628"/>
                <a:gd name="connsiteX10" fmla="*/ 1197112 w 2428726"/>
                <a:gd name="connsiteY10" fmla="*/ 8512 h 23606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428726" h="2360628">
                  <a:moveTo>
                    <a:pt x="1197112" y="8512"/>
                  </a:moveTo>
                  <a:cubicBezTo>
                    <a:pt x="1046963" y="8512"/>
                    <a:pt x="887507" y="43467"/>
                    <a:pt x="721581" y="126430"/>
                  </a:cubicBezTo>
                  <a:cubicBezTo>
                    <a:pt x="299392" y="337411"/>
                    <a:pt x="8398" y="752337"/>
                    <a:pt x="8512" y="1203239"/>
                  </a:cubicBezTo>
                  <a:cubicBezTo>
                    <a:pt x="8512" y="1315369"/>
                    <a:pt x="26557" y="1429769"/>
                    <a:pt x="65144" y="1543828"/>
                  </a:cubicBezTo>
                  <a:cubicBezTo>
                    <a:pt x="226530" y="2021288"/>
                    <a:pt x="741556" y="2359039"/>
                    <a:pt x="1255107" y="2359039"/>
                  </a:cubicBezTo>
                  <a:cubicBezTo>
                    <a:pt x="1387892" y="2359039"/>
                    <a:pt x="1520564" y="2336455"/>
                    <a:pt x="1646994" y="2287880"/>
                  </a:cubicBezTo>
                  <a:cubicBezTo>
                    <a:pt x="1980660" y="2159634"/>
                    <a:pt x="2421690" y="1905980"/>
                    <a:pt x="2421576" y="1293579"/>
                  </a:cubicBezTo>
                  <a:cubicBezTo>
                    <a:pt x="2421576" y="1176001"/>
                    <a:pt x="2405233" y="1045145"/>
                    <a:pt x="2368803" y="899422"/>
                  </a:cubicBezTo>
                  <a:cubicBezTo>
                    <a:pt x="2323746" y="719084"/>
                    <a:pt x="2081555" y="356024"/>
                    <a:pt x="1722012" y="153441"/>
                  </a:cubicBezTo>
                  <a:cubicBezTo>
                    <a:pt x="1662656" y="119961"/>
                    <a:pt x="1600122" y="90907"/>
                    <a:pt x="1534637" y="67755"/>
                  </a:cubicBezTo>
                  <a:cubicBezTo>
                    <a:pt x="1429090" y="30416"/>
                    <a:pt x="1316052" y="8512"/>
                    <a:pt x="1197112" y="8512"/>
                  </a:cubicBezTo>
                </a:path>
              </a:pathLst>
            </a:custGeom>
            <a:solidFill>
              <a:srgbClr val="4F2170"/>
            </a:solidFill>
            <a:ln w="57150" cap="flat">
              <a:noFill/>
              <a:prstDash val="solid"/>
              <a:miter/>
            </a:ln>
            <a:effectLst/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57" name="Freeform: Shape 56">
              <a:extLst>
                <a:ext uri="{FF2B5EF4-FFF2-40B4-BE49-F238E27FC236}">
                  <a16:creationId xmlns:a16="http://schemas.microsoft.com/office/drawing/2014/main" id="{6D386419-067C-4C36-94ED-B3C0BF3C55C7}"/>
                </a:ext>
              </a:extLst>
            </p:cNvPr>
            <p:cNvSpPr/>
            <p:nvPr/>
          </p:nvSpPr>
          <p:spPr>
            <a:xfrm>
              <a:off x="1524624" y="2108113"/>
              <a:ext cx="930633" cy="828490"/>
            </a:xfrm>
            <a:custGeom>
              <a:avLst/>
              <a:gdLst>
                <a:gd name="connsiteX0" fmla="*/ 407120 w 930633"/>
                <a:gd name="connsiteY0" fmla="*/ 39923 h 828489"/>
                <a:gd name="connsiteX1" fmla="*/ 249707 w 930633"/>
                <a:gd name="connsiteY1" fmla="*/ 188937 h 828489"/>
                <a:gd name="connsiteX2" fmla="*/ 94677 w 930633"/>
                <a:gd name="connsiteY2" fmla="*/ 317183 h 828489"/>
                <a:gd name="connsiteX3" fmla="*/ 24539 w 930633"/>
                <a:gd name="connsiteY3" fmla="*/ 465744 h 828489"/>
                <a:gd name="connsiteX4" fmla="*/ 8990 w 930633"/>
                <a:gd name="connsiteY4" fmla="*/ 555062 h 828489"/>
                <a:gd name="connsiteX5" fmla="*/ 26128 w 930633"/>
                <a:gd name="connsiteY5" fmla="*/ 647557 h 828489"/>
                <a:gd name="connsiteX6" fmla="*/ 68347 w 930633"/>
                <a:gd name="connsiteY6" fmla="*/ 830279 h 828489"/>
                <a:gd name="connsiteX7" fmla="*/ 113857 w 930633"/>
                <a:gd name="connsiteY7" fmla="*/ 657204 h 828489"/>
                <a:gd name="connsiteX8" fmla="*/ 168674 w 930633"/>
                <a:gd name="connsiteY8" fmla="*/ 546550 h 828489"/>
                <a:gd name="connsiteX9" fmla="*/ 265823 w 930633"/>
                <a:gd name="connsiteY9" fmla="*/ 610900 h 828489"/>
                <a:gd name="connsiteX10" fmla="*/ 369327 w 930633"/>
                <a:gd name="connsiteY10" fmla="*/ 550295 h 828489"/>
                <a:gd name="connsiteX11" fmla="*/ 496552 w 930633"/>
                <a:gd name="connsiteY11" fmla="*/ 513297 h 828489"/>
                <a:gd name="connsiteX12" fmla="*/ 627635 w 930633"/>
                <a:gd name="connsiteY12" fmla="*/ 507963 h 828489"/>
                <a:gd name="connsiteX13" fmla="*/ 724330 w 930633"/>
                <a:gd name="connsiteY13" fmla="*/ 481179 h 828489"/>
                <a:gd name="connsiteX14" fmla="*/ 799121 w 930633"/>
                <a:gd name="connsiteY14" fmla="*/ 333072 h 828489"/>
                <a:gd name="connsiteX15" fmla="*/ 662023 w 930633"/>
                <a:gd name="connsiteY15" fmla="*/ 256578 h 828489"/>
                <a:gd name="connsiteX16" fmla="*/ 772337 w 930633"/>
                <a:gd name="connsiteY16" fmla="*/ 216402 h 828489"/>
                <a:gd name="connsiteX17" fmla="*/ 865627 w 930633"/>
                <a:gd name="connsiteY17" fmla="*/ 251131 h 828489"/>
                <a:gd name="connsiteX18" fmla="*/ 913748 w 930633"/>
                <a:gd name="connsiteY18" fmla="*/ 185987 h 828489"/>
                <a:gd name="connsiteX19" fmla="*/ 833282 w 930633"/>
                <a:gd name="connsiteY19" fmla="*/ 154663 h 828489"/>
                <a:gd name="connsiteX20" fmla="*/ 622074 w 930633"/>
                <a:gd name="connsiteY20" fmla="*/ 82936 h 828489"/>
                <a:gd name="connsiteX21" fmla="*/ 419491 w 930633"/>
                <a:gd name="connsiteY21" fmla="*/ 30162 h 8284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930633" h="828489">
                  <a:moveTo>
                    <a:pt x="407120" y="39923"/>
                  </a:moveTo>
                  <a:cubicBezTo>
                    <a:pt x="372051" y="121069"/>
                    <a:pt x="318710" y="145357"/>
                    <a:pt x="249707" y="188937"/>
                  </a:cubicBezTo>
                  <a:cubicBezTo>
                    <a:pt x="195117" y="223439"/>
                    <a:pt x="136896" y="269857"/>
                    <a:pt x="94677" y="317183"/>
                  </a:cubicBezTo>
                  <a:cubicBezTo>
                    <a:pt x="60062" y="355770"/>
                    <a:pt x="41109" y="419099"/>
                    <a:pt x="24539" y="465744"/>
                  </a:cubicBezTo>
                  <a:cubicBezTo>
                    <a:pt x="14211" y="494798"/>
                    <a:pt x="11714" y="525100"/>
                    <a:pt x="8990" y="555062"/>
                  </a:cubicBezTo>
                  <a:cubicBezTo>
                    <a:pt x="5472" y="593989"/>
                    <a:pt x="22382" y="611694"/>
                    <a:pt x="26128" y="647557"/>
                  </a:cubicBezTo>
                  <a:cubicBezTo>
                    <a:pt x="32029" y="704530"/>
                    <a:pt x="-18248" y="799750"/>
                    <a:pt x="68347" y="830279"/>
                  </a:cubicBezTo>
                  <a:cubicBezTo>
                    <a:pt x="89683" y="767745"/>
                    <a:pt x="106253" y="727342"/>
                    <a:pt x="113857" y="657204"/>
                  </a:cubicBezTo>
                  <a:cubicBezTo>
                    <a:pt x="118283" y="615666"/>
                    <a:pt x="121120" y="559147"/>
                    <a:pt x="168674" y="546550"/>
                  </a:cubicBezTo>
                  <a:cubicBezTo>
                    <a:pt x="240968" y="527370"/>
                    <a:pt x="211687" y="610446"/>
                    <a:pt x="265823" y="610900"/>
                  </a:cubicBezTo>
                  <a:cubicBezTo>
                    <a:pt x="287613" y="611013"/>
                    <a:pt x="342316" y="557559"/>
                    <a:pt x="369327" y="550295"/>
                  </a:cubicBezTo>
                  <a:cubicBezTo>
                    <a:pt x="413930" y="538378"/>
                    <a:pt x="453198" y="527483"/>
                    <a:pt x="496552" y="513297"/>
                  </a:cubicBezTo>
                  <a:cubicBezTo>
                    <a:pt x="539906" y="499110"/>
                    <a:pt x="582465" y="500813"/>
                    <a:pt x="627635" y="507963"/>
                  </a:cubicBezTo>
                  <a:cubicBezTo>
                    <a:pt x="687558" y="517496"/>
                    <a:pt x="683586" y="521809"/>
                    <a:pt x="724330" y="481179"/>
                  </a:cubicBezTo>
                  <a:cubicBezTo>
                    <a:pt x="767911" y="437598"/>
                    <a:pt x="873685" y="397989"/>
                    <a:pt x="799121" y="333072"/>
                  </a:cubicBezTo>
                  <a:cubicBezTo>
                    <a:pt x="758604" y="297776"/>
                    <a:pt x="609022" y="360991"/>
                    <a:pt x="662023" y="256578"/>
                  </a:cubicBezTo>
                  <a:cubicBezTo>
                    <a:pt x="685856" y="209593"/>
                    <a:pt x="727281" y="210955"/>
                    <a:pt x="772337" y="216402"/>
                  </a:cubicBezTo>
                  <a:cubicBezTo>
                    <a:pt x="813194" y="221282"/>
                    <a:pt x="830558" y="241257"/>
                    <a:pt x="865627" y="251131"/>
                  </a:cubicBezTo>
                  <a:cubicBezTo>
                    <a:pt x="903420" y="261686"/>
                    <a:pt x="941780" y="232405"/>
                    <a:pt x="913748" y="185987"/>
                  </a:cubicBezTo>
                  <a:cubicBezTo>
                    <a:pt x="897291" y="158635"/>
                    <a:pt x="860974" y="161245"/>
                    <a:pt x="833282" y="154663"/>
                  </a:cubicBezTo>
                  <a:cubicBezTo>
                    <a:pt x="758604" y="137072"/>
                    <a:pt x="688239" y="125382"/>
                    <a:pt x="622074" y="82936"/>
                  </a:cubicBezTo>
                  <a:cubicBezTo>
                    <a:pt x="563739" y="45484"/>
                    <a:pt x="486905" y="-28059"/>
                    <a:pt x="419491" y="30162"/>
                  </a:cubicBezTo>
                </a:path>
              </a:pathLst>
            </a:custGeom>
            <a:solidFill>
              <a:srgbClr val="724D8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58" name="Freeform: Shape 57">
              <a:extLst>
                <a:ext uri="{FF2B5EF4-FFF2-40B4-BE49-F238E27FC236}">
                  <a16:creationId xmlns:a16="http://schemas.microsoft.com/office/drawing/2014/main" id="{0F559B0E-CE69-4CDA-B9C3-CF89FD0192B6}"/>
                </a:ext>
              </a:extLst>
            </p:cNvPr>
            <p:cNvSpPr/>
            <p:nvPr/>
          </p:nvSpPr>
          <p:spPr>
            <a:xfrm>
              <a:off x="1267666" y="2926693"/>
              <a:ext cx="658253" cy="987378"/>
            </a:xfrm>
            <a:custGeom>
              <a:avLst/>
              <a:gdLst>
                <a:gd name="connsiteX0" fmla="*/ 428582 w 658252"/>
                <a:gd name="connsiteY0" fmla="*/ 9090 h 987378"/>
                <a:gd name="connsiteX1" fmla="*/ 396691 w 658252"/>
                <a:gd name="connsiteY1" fmla="*/ 22255 h 987378"/>
                <a:gd name="connsiteX2" fmla="*/ 335179 w 658252"/>
                <a:gd name="connsiteY2" fmla="*/ 94549 h 987378"/>
                <a:gd name="connsiteX3" fmla="*/ 235192 w 658252"/>
                <a:gd name="connsiteY3" fmla="*/ 164346 h 987378"/>
                <a:gd name="connsiteX4" fmla="*/ 159607 w 658252"/>
                <a:gd name="connsiteY4" fmla="*/ 351381 h 987378"/>
                <a:gd name="connsiteX5" fmla="*/ 198988 w 658252"/>
                <a:gd name="connsiteY5" fmla="*/ 473271 h 987378"/>
                <a:gd name="connsiteX6" fmla="*/ 150073 w 658252"/>
                <a:gd name="connsiteY6" fmla="*/ 564064 h 987378"/>
                <a:gd name="connsiteX7" fmla="*/ 56216 w 658252"/>
                <a:gd name="connsiteY7" fmla="*/ 741338 h 987378"/>
                <a:gd name="connsiteX8" fmla="*/ 29205 w 658252"/>
                <a:gd name="connsiteY8" fmla="*/ 989885 h 987378"/>
                <a:gd name="connsiteX9" fmla="*/ 78914 w 658252"/>
                <a:gd name="connsiteY9" fmla="*/ 886835 h 987378"/>
                <a:gd name="connsiteX10" fmla="*/ 172204 w 658252"/>
                <a:gd name="connsiteY10" fmla="*/ 792410 h 987378"/>
                <a:gd name="connsiteX11" fmla="*/ 312026 w 658252"/>
                <a:gd name="connsiteY11" fmla="*/ 712284 h 987378"/>
                <a:gd name="connsiteX12" fmla="*/ 429717 w 658252"/>
                <a:gd name="connsiteY12" fmla="*/ 675854 h 987378"/>
                <a:gd name="connsiteX13" fmla="*/ 519263 w 658252"/>
                <a:gd name="connsiteY13" fmla="*/ 592891 h 987378"/>
                <a:gd name="connsiteX14" fmla="*/ 637521 w 658252"/>
                <a:gd name="connsiteY14" fmla="*/ 541252 h 987378"/>
                <a:gd name="connsiteX15" fmla="*/ 620611 w 658252"/>
                <a:gd name="connsiteY15" fmla="*/ 399955 h 987378"/>
                <a:gd name="connsiteX16" fmla="*/ 586223 w 658252"/>
                <a:gd name="connsiteY16" fmla="*/ 339237 h 987378"/>
                <a:gd name="connsiteX17" fmla="*/ 603133 w 658252"/>
                <a:gd name="connsiteY17" fmla="*/ 248671 h 987378"/>
                <a:gd name="connsiteX18" fmla="*/ 572944 w 658252"/>
                <a:gd name="connsiteY18" fmla="*/ 192492 h 987378"/>
                <a:gd name="connsiteX19" fmla="*/ 535378 w 658252"/>
                <a:gd name="connsiteY19" fmla="*/ 104309 h 987378"/>
                <a:gd name="connsiteX20" fmla="*/ 439818 w 658252"/>
                <a:gd name="connsiteY20" fmla="*/ 13402 h 987378"/>
                <a:gd name="connsiteX21" fmla="*/ 429263 w 658252"/>
                <a:gd name="connsiteY21" fmla="*/ 9203 h 987378"/>
                <a:gd name="connsiteX22" fmla="*/ 428582 w 658252"/>
                <a:gd name="connsiteY22" fmla="*/ 9090 h 9873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658252" h="987378">
                  <a:moveTo>
                    <a:pt x="428582" y="9090"/>
                  </a:moveTo>
                  <a:cubicBezTo>
                    <a:pt x="416325" y="6706"/>
                    <a:pt x="403728" y="11813"/>
                    <a:pt x="396691" y="22255"/>
                  </a:cubicBezTo>
                  <a:cubicBezTo>
                    <a:pt x="378646" y="48925"/>
                    <a:pt x="360374" y="73780"/>
                    <a:pt x="335179" y="94549"/>
                  </a:cubicBezTo>
                  <a:cubicBezTo>
                    <a:pt x="303287" y="120765"/>
                    <a:pt x="262771" y="134498"/>
                    <a:pt x="235192" y="164346"/>
                  </a:cubicBezTo>
                  <a:cubicBezTo>
                    <a:pt x="202053" y="200210"/>
                    <a:pt x="146896" y="302125"/>
                    <a:pt x="159607" y="351381"/>
                  </a:cubicBezTo>
                  <a:cubicBezTo>
                    <a:pt x="171977" y="399161"/>
                    <a:pt x="216239" y="410283"/>
                    <a:pt x="198988" y="473271"/>
                  </a:cubicBezTo>
                  <a:cubicBezTo>
                    <a:pt x="190477" y="504595"/>
                    <a:pt x="163919" y="534556"/>
                    <a:pt x="150073" y="564064"/>
                  </a:cubicBezTo>
                  <a:cubicBezTo>
                    <a:pt x="121587" y="624555"/>
                    <a:pt x="88220" y="681074"/>
                    <a:pt x="56216" y="741338"/>
                  </a:cubicBezTo>
                  <a:cubicBezTo>
                    <a:pt x="33177" y="784579"/>
                    <a:pt x="-21072" y="964123"/>
                    <a:pt x="29205" y="989885"/>
                  </a:cubicBezTo>
                  <a:cubicBezTo>
                    <a:pt x="66089" y="962874"/>
                    <a:pt x="67111" y="926784"/>
                    <a:pt x="78914" y="886835"/>
                  </a:cubicBezTo>
                  <a:cubicBezTo>
                    <a:pt x="95484" y="830883"/>
                    <a:pt x="120793" y="816470"/>
                    <a:pt x="172204" y="792410"/>
                  </a:cubicBezTo>
                  <a:cubicBezTo>
                    <a:pt x="218849" y="770619"/>
                    <a:pt x="272531" y="743835"/>
                    <a:pt x="312026" y="712284"/>
                  </a:cubicBezTo>
                  <a:cubicBezTo>
                    <a:pt x="358218" y="675286"/>
                    <a:pt x="362417" y="668704"/>
                    <a:pt x="429717" y="675854"/>
                  </a:cubicBezTo>
                  <a:cubicBezTo>
                    <a:pt x="516993" y="685160"/>
                    <a:pt x="492365" y="654404"/>
                    <a:pt x="519263" y="592891"/>
                  </a:cubicBezTo>
                  <a:cubicBezTo>
                    <a:pt x="546387" y="530811"/>
                    <a:pt x="595075" y="573938"/>
                    <a:pt x="637521" y="541252"/>
                  </a:cubicBezTo>
                  <a:cubicBezTo>
                    <a:pt x="685188" y="504595"/>
                    <a:pt x="640699" y="440699"/>
                    <a:pt x="620611" y="399955"/>
                  </a:cubicBezTo>
                  <a:cubicBezTo>
                    <a:pt x="610850" y="380094"/>
                    <a:pt x="590762" y="362843"/>
                    <a:pt x="586223" y="339237"/>
                  </a:cubicBezTo>
                  <a:cubicBezTo>
                    <a:pt x="579186" y="302920"/>
                    <a:pt x="604495" y="280448"/>
                    <a:pt x="603133" y="248671"/>
                  </a:cubicBezTo>
                  <a:cubicBezTo>
                    <a:pt x="601885" y="218822"/>
                    <a:pt x="586563" y="212921"/>
                    <a:pt x="572944" y="192492"/>
                  </a:cubicBezTo>
                  <a:cubicBezTo>
                    <a:pt x="551721" y="160488"/>
                    <a:pt x="548430" y="141534"/>
                    <a:pt x="535378" y="104309"/>
                  </a:cubicBezTo>
                  <a:cubicBezTo>
                    <a:pt x="518695" y="56529"/>
                    <a:pt x="481697" y="39732"/>
                    <a:pt x="439818" y="13402"/>
                  </a:cubicBezTo>
                  <a:cubicBezTo>
                    <a:pt x="436640" y="11359"/>
                    <a:pt x="433009" y="9884"/>
                    <a:pt x="429263" y="9203"/>
                  </a:cubicBezTo>
                  <a:lnTo>
                    <a:pt x="428582" y="9090"/>
                  </a:lnTo>
                  <a:close/>
                </a:path>
              </a:pathLst>
            </a:custGeom>
            <a:solidFill>
              <a:srgbClr val="724D8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59" name="Freeform: Shape 58">
              <a:extLst>
                <a:ext uri="{FF2B5EF4-FFF2-40B4-BE49-F238E27FC236}">
                  <a16:creationId xmlns:a16="http://schemas.microsoft.com/office/drawing/2014/main" id="{4F9E9822-EBC5-495E-B54D-09E835B362E0}"/>
                </a:ext>
              </a:extLst>
            </p:cNvPr>
            <p:cNvSpPr/>
            <p:nvPr/>
          </p:nvSpPr>
          <p:spPr>
            <a:xfrm>
              <a:off x="2453338" y="2222688"/>
              <a:ext cx="317777" cy="317777"/>
            </a:xfrm>
            <a:custGeom>
              <a:avLst/>
              <a:gdLst>
                <a:gd name="connsiteX0" fmla="*/ 64024 w 317777"/>
                <a:gd name="connsiteY0" fmla="*/ 28285 h 317776"/>
                <a:gd name="connsiteX1" fmla="*/ 71741 w 317777"/>
                <a:gd name="connsiteY1" fmla="*/ 40883 h 317776"/>
                <a:gd name="connsiteX2" fmla="*/ 18968 w 317777"/>
                <a:gd name="connsiteY2" fmla="*/ 240061 h 317776"/>
                <a:gd name="connsiteX3" fmla="*/ 50178 w 317777"/>
                <a:gd name="connsiteY3" fmla="*/ 313717 h 317776"/>
                <a:gd name="connsiteX4" fmla="*/ 119862 w 317777"/>
                <a:gd name="connsiteY4" fmla="*/ 274789 h 317776"/>
                <a:gd name="connsiteX5" fmla="*/ 194880 w 317777"/>
                <a:gd name="connsiteY5" fmla="*/ 269569 h 317776"/>
                <a:gd name="connsiteX6" fmla="*/ 78891 w 317777"/>
                <a:gd name="connsiteY6" fmla="*/ 8538 h 317776"/>
                <a:gd name="connsiteX7" fmla="*/ 63910 w 317777"/>
                <a:gd name="connsiteY7" fmla="*/ 25561 h 317776"/>
                <a:gd name="connsiteX8" fmla="*/ 64024 w 317777"/>
                <a:gd name="connsiteY8" fmla="*/ 28285 h 3177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17777" h="317776">
                  <a:moveTo>
                    <a:pt x="64024" y="28285"/>
                  </a:moveTo>
                  <a:cubicBezTo>
                    <a:pt x="64364" y="33506"/>
                    <a:pt x="67202" y="38500"/>
                    <a:pt x="71741" y="40883"/>
                  </a:cubicBezTo>
                  <a:cubicBezTo>
                    <a:pt x="147554" y="81059"/>
                    <a:pt x="38034" y="193075"/>
                    <a:pt x="18968" y="240061"/>
                  </a:cubicBezTo>
                  <a:cubicBezTo>
                    <a:pt x="4214" y="276492"/>
                    <a:pt x="-2142" y="324272"/>
                    <a:pt x="50178" y="313717"/>
                  </a:cubicBezTo>
                  <a:cubicBezTo>
                    <a:pt x="73784" y="308950"/>
                    <a:pt x="93759" y="282166"/>
                    <a:pt x="119862" y="274789"/>
                  </a:cubicBezTo>
                  <a:cubicBezTo>
                    <a:pt x="144149" y="267866"/>
                    <a:pt x="169798" y="272293"/>
                    <a:pt x="194880" y="269569"/>
                  </a:cubicBezTo>
                  <a:cubicBezTo>
                    <a:pt x="490073" y="237337"/>
                    <a:pt x="171387" y="5700"/>
                    <a:pt x="78891" y="8538"/>
                  </a:cubicBezTo>
                  <a:cubicBezTo>
                    <a:pt x="70039" y="8765"/>
                    <a:pt x="63230" y="16596"/>
                    <a:pt x="63910" y="25561"/>
                  </a:cubicBezTo>
                  <a:lnTo>
                    <a:pt x="64024" y="28285"/>
                  </a:lnTo>
                  <a:close/>
                </a:path>
              </a:pathLst>
            </a:custGeom>
            <a:solidFill>
              <a:srgbClr val="724D8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60" name="Freeform: Shape 59">
              <a:extLst>
                <a:ext uri="{FF2B5EF4-FFF2-40B4-BE49-F238E27FC236}">
                  <a16:creationId xmlns:a16="http://schemas.microsoft.com/office/drawing/2014/main" id="{D56DF6E2-9632-4FD5-B8B7-F52C45B2A944}"/>
                </a:ext>
              </a:extLst>
            </p:cNvPr>
            <p:cNvSpPr/>
            <p:nvPr/>
          </p:nvSpPr>
          <p:spPr>
            <a:xfrm>
              <a:off x="2196308" y="2661420"/>
              <a:ext cx="1134919" cy="1475393"/>
            </a:xfrm>
            <a:custGeom>
              <a:avLst/>
              <a:gdLst>
                <a:gd name="connsiteX0" fmla="*/ 957743 w 1134918"/>
                <a:gd name="connsiteY0" fmla="*/ 59749 h 1475392"/>
                <a:gd name="connsiteX1" fmla="*/ 948437 w 1134918"/>
                <a:gd name="connsiteY1" fmla="*/ 67920 h 1475392"/>
                <a:gd name="connsiteX2" fmla="*/ 861048 w 1134918"/>
                <a:gd name="connsiteY2" fmla="*/ 92889 h 1475392"/>
                <a:gd name="connsiteX3" fmla="*/ 793747 w 1134918"/>
                <a:gd name="connsiteY3" fmla="*/ 43633 h 1475392"/>
                <a:gd name="connsiteX4" fmla="*/ 685590 w 1134918"/>
                <a:gd name="connsiteY4" fmla="*/ 70077 h 1475392"/>
                <a:gd name="connsiteX5" fmla="*/ 693080 w 1134918"/>
                <a:gd name="connsiteY5" fmla="*/ 174716 h 1475392"/>
                <a:gd name="connsiteX6" fmla="*/ 770595 w 1134918"/>
                <a:gd name="connsiteY6" fmla="*/ 195599 h 1475392"/>
                <a:gd name="connsiteX7" fmla="*/ 705451 w 1134918"/>
                <a:gd name="connsiteY7" fmla="*/ 248940 h 1475392"/>
                <a:gd name="connsiteX8" fmla="*/ 546675 w 1134918"/>
                <a:gd name="connsiteY8" fmla="*/ 241563 h 1475392"/>
                <a:gd name="connsiteX9" fmla="*/ 506386 w 1134918"/>
                <a:gd name="connsiteY9" fmla="*/ 293996 h 1475392"/>
                <a:gd name="connsiteX10" fmla="*/ 417181 w 1134918"/>
                <a:gd name="connsiteY10" fmla="*/ 353352 h 1475392"/>
                <a:gd name="connsiteX11" fmla="*/ 573800 w 1134918"/>
                <a:gd name="connsiteY11" fmla="*/ 373327 h 1475392"/>
                <a:gd name="connsiteX12" fmla="*/ 717594 w 1134918"/>
                <a:gd name="connsiteY12" fmla="*/ 476037 h 1475392"/>
                <a:gd name="connsiteX13" fmla="*/ 780582 w 1134918"/>
                <a:gd name="connsiteY13" fmla="*/ 463099 h 1475392"/>
                <a:gd name="connsiteX14" fmla="*/ 826433 w 1134918"/>
                <a:gd name="connsiteY14" fmla="*/ 451296 h 1475392"/>
                <a:gd name="connsiteX15" fmla="*/ 837328 w 1134918"/>
                <a:gd name="connsiteY15" fmla="*/ 522001 h 1475392"/>
                <a:gd name="connsiteX16" fmla="*/ 753912 w 1134918"/>
                <a:gd name="connsiteY16" fmla="*/ 565809 h 1475392"/>
                <a:gd name="connsiteX17" fmla="*/ 746535 w 1134918"/>
                <a:gd name="connsiteY17" fmla="*/ 675782 h 1475392"/>
                <a:gd name="connsiteX18" fmla="*/ 618970 w 1134918"/>
                <a:gd name="connsiteY18" fmla="*/ 596678 h 1475392"/>
                <a:gd name="connsiteX19" fmla="*/ 566990 w 1134918"/>
                <a:gd name="connsiteY19" fmla="*/ 557864 h 1475392"/>
                <a:gd name="connsiteX20" fmla="*/ 541682 w 1134918"/>
                <a:gd name="connsiteY20" fmla="*/ 493855 h 1475392"/>
                <a:gd name="connsiteX21" fmla="*/ 385063 w 1134918"/>
                <a:gd name="connsiteY21" fmla="*/ 474902 h 1475392"/>
                <a:gd name="connsiteX22" fmla="*/ 257952 w 1134918"/>
                <a:gd name="connsiteY22" fmla="*/ 519845 h 1475392"/>
                <a:gd name="connsiteX23" fmla="*/ 133905 w 1134918"/>
                <a:gd name="connsiteY23" fmla="*/ 754772 h 1475392"/>
                <a:gd name="connsiteX24" fmla="*/ 251937 w 1134918"/>
                <a:gd name="connsiteY24" fmla="*/ 851127 h 1475392"/>
                <a:gd name="connsiteX25" fmla="*/ 310045 w 1134918"/>
                <a:gd name="connsiteY25" fmla="*/ 986523 h 1475392"/>
                <a:gd name="connsiteX26" fmla="*/ 247057 w 1134918"/>
                <a:gd name="connsiteY26" fmla="*/ 1099333 h 1475392"/>
                <a:gd name="connsiteX27" fmla="*/ 201774 w 1134918"/>
                <a:gd name="connsiteY27" fmla="*/ 1221337 h 1475392"/>
                <a:gd name="connsiteX28" fmla="*/ 23932 w 1134918"/>
                <a:gd name="connsiteY28" fmla="*/ 1397022 h 1475392"/>
                <a:gd name="connsiteX29" fmla="*/ 83629 w 1134918"/>
                <a:gd name="connsiteY29" fmla="*/ 1461939 h 1475392"/>
                <a:gd name="connsiteX30" fmla="*/ 262378 w 1134918"/>
                <a:gd name="connsiteY30" fmla="*/ 1421083 h 1475392"/>
                <a:gd name="connsiteX31" fmla="*/ 486979 w 1134918"/>
                <a:gd name="connsiteY31" fmla="*/ 1275132 h 1475392"/>
                <a:gd name="connsiteX32" fmla="*/ 558025 w 1134918"/>
                <a:gd name="connsiteY32" fmla="*/ 1175600 h 1475392"/>
                <a:gd name="connsiteX33" fmla="*/ 702954 w 1134918"/>
                <a:gd name="connsiteY33" fmla="*/ 1078338 h 1475392"/>
                <a:gd name="connsiteX34" fmla="*/ 724858 w 1134918"/>
                <a:gd name="connsiteY34" fmla="*/ 1008880 h 1475392"/>
                <a:gd name="connsiteX35" fmla="*/ 783079 w 1134918"/>
                <a:gd name="connsiteY35" fmla="*/ 949524 h 1475392"/>
                <a:gd name="connsiteX36" fmla="*/ 857984 w 1134918"/>
                <a:gd name="connsiteY36" fmla="*/ 904128 h 1475392"/>
                <a:gd name="connsiteX37" fmla="*/ 859799 w 1134918"/>
                <a:gd name="connsiteY37" fmla="*/ 800396 h 1475392"/>
                <a:gd name="connsiteX38" fmla="*/ 859799 w 1134918"/>
                <a:gd name="connsiteY38" fmla="*/ 1079359 h 1475392"/>
                <a:gd name="connsiteX39" fmla="*/ 906218 w 1134918"/>
                <a:gd name="connsiteY39" fmla="*/ 1130090 h 1475392"/>
                <a:gd name="connsiteX40" fmla="*/ 1008474 w 1134918"/>
                <a:gd name="connsiteY40" fmla="*/ 1039069 h 1475392"/>
                <a:gd name="connsiteX41" fmla="*/ 1111978 w 1134918"/>
                <a:gd name="connsiteY41" fmla="*/ 799829 h 1475392"/>
                <a:gd name="connsiteX42" fmla="*/ 1131726 w 1134918"/>
                <a:gd name="connsiteY42" fmla="*/ 445961 h 1475392"/>
                <a:gd name="connsiteX43" fmla="*/ 979760 w 1134918"/>
                <a:gd name="connsiteY43" fmla="*/ 68034 h 1475392"/>
                <a:gd name="connsiteX44" fmla="*/ 957743 w 1134918"/>
                <a:gd name="connsiteY44" fmla="*/ 59749 h 1475392"/>
                <a:gd name="connsiteX45" fmla="*/ 957743 w 1134918"/>
                <a:gd name="connsiteY45" fmla="*/ 59749 h 14753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</a:cxnLst>
              <a:rect l="l" t="t" r="r" b="b"/>
              <a:pathLst>
                <a:path w="1134918" h="1475392">
                  <a:moveTo>
                    <a:pt x="957743" y="59749"/>
                  </a:moveTo>
                  <a:cubicBezTo>
                    <a:pt x="953771" y="61224"/>
                    <a:pt x="950593" y="64289"/>
                    <a:pt x="948437" y="67920"/>
                  </a:cubicBezTo>
                  <a:cubicBezTo>
                    <a:pt x="930505" y="97428"/>
                    <a:pt x="891464" y="96861"/>
                    <a:pt x="861048" y="92889"/>
                  </a:cubicBezTo>
                  <a:cubicBezTo>
                    <a:pt x="814857" y="86987"/>
                    <a:pt x="823255" y="82674"/>
                    <a:pt x="793747" y="43633"/>
                  </a:cubicBezTo>
                  <a:cubicBezTo>
                    <a:pt x="744492" y="-21738"/>
                    <a:pt x="722815" y="14125"/>
                    <a:pt x="685590" y="70077"/>
                  </a:cubicBezTo>
                  <a:cubicBezTo>
                    <a:pt x="661416" y="106394"/>
                    <a:pt x="613976" y="170063"/>
                    <a:pt x="693080" y="174716"/>
                  </a:cubicBezTo>
                  <a:cubicBezTo>
                    <a:pt x="722588" y="176532"/>
                    <a:pt x="777291" y="124212"/>
                    <a:pt x="770595" y="195599"/>
                  </a:cubicBezTo>
                  <a:cubicBezTo>
                    <a:pt x="767758" y="226014"/>
                    <a:pt x="729511" y="244627"/>
                    <a:pt x="705451" y="248940"/>
                  </a:cubicBezTo>
                  <a:cubicBezTo>
                    <a:pt x="643484" y="260062"/>
                    <a:pt x="602854" y="192648"/>
                    <a:pt x="546675" y="241563"/>
                  </a:cubicBezTo>
                  <a:cubicBezTo>
                    <a:pt x="529765" y="256317"/>
                    <a:pt x="524658" y="280377"/>
                    <a:pt x="506386" y="293996"/>
                  </a:cubicBezTo>
                  <a:cubicBezTo>
                    <a:pt x="483914" y="310679"/>
                    <a:pt x="420813" y="315332"/>
                    <a:pt x="417181" y="353352"/>
                  </a:cubicBezTo>
                  <a:cubicBezTo>
                    <a:pt x="409691" y="432002"/>
                    <a:pt x="538504" y="378434"/>
                    <a:pt x="573800" y="373327"/>
                  </a:cubicBezTo>
                  <a:cubicBezTo>
                    <a:pt x="682866" y="357324"/>
                    <a:pt x="646321" y="436655"/>
                    <a:pt x="717594" y="476037"/>
                  </a:cubicBezTo>
                  <a:cubicBezTo>
                    <a:pt x="754366" y="496352"/>
                    <a:pt x="749372" y="477399"/>
                    <a:pt x="780582" y="463099"/>
                  </a:cubicBezTo>
                  <a:cubicBezTo>
                    <a:pt x="801351" y="453679"/>
                    <a:pt x="799876" y="431888"/>
                    <a:pt x="826433" y="451296"/>
                  </a:cubicBezTo>
                  <a:cubicBezTo>
                    <a:pt x="839825" y="461169"/>
                    <a:pt x="842549" y="507928"/>
                    <a:pt x="837328" y="522001"/>
                  </a:cubicBezTo>
                  <a:cubicBezTo>
                    <a:pt x="820872" y="566603"/>
                    <a:pt x="785803" y="545834"/>
                    <a:pt x="753912" y="565809"/>
                  </a:cubicBezTo>
                  <a:cubicBezTo>
                    <a:pt x="700570" y="599175"/>
                    <a:pt x="751528" y="629932"/>
                    <a:pt x="746535" y="675782"/>
                  </a:cubicBezTo>
                  <a:cubicBezTo>
                    <a:pt x="685135" y="678393"/>
                    <a:pt x="659486" y="628570"/>
                    <a:pt x="618970" y="596678"/>
                  </a:cubicBezTo>
                  <a:cubicBezTo>
                    <a:pt x="600811" y="582379"/>
                    <a:pt x="579361" y="576931"/>
                    <a:pt x="566990" y="557864"/>
                  </a:cubicBezTo>
                  <a:cubicBezTo>
                    <a:pt x="550988" y="533237"/>
                    <a:pt x="575502" y="520639"/>
                    <a:pt x="541682" y="493855"/>
                  </a:cubicBezTo>
                  <a:cubicBezTo>
                    <a:pt x="499009" y="459921"/>
                    <a:pt x="436475" y="481371"/>
                    <a:pt x="385063" y="474902"/>
                  </a:cubicBezTo>
                  <a:cubicBezTo>
                    <a:pt x="319805" y="466730"/>
                    <a:pt x="297788" y="473653"/>
                    <a:pt x="257952" y="519845"/>
                  </a:cubicBezTo>
                  <a:cubicBezTo>
                    <a:pt x="205292" y="580903"/>
                    <a:pt x="108483" y="661369"/>
                    <a:pt x="133905" y="754772"/>
                  </a:cubicBezTo>
                  <a:cubicBezTo>
                    <a:pt x="148773" y="809475"/>
                    <a:pt x="206994" y="828315"/>
                    <a:pt x="251937" y="851127"/>
                  </a:cubicBezTo>
                  <a:cubicBezTo>
                    <a:pt x="329112" y="890395"/>
                    <a:pt x="359414" y="913093"/>
                    <a:pt x="310045" y="986523"/>
                  </a:cubicBezTo>
                  <a:cubicBezTo>
                    <a:pt x="285304" y="1023407"/>
                    <a:pt x="258066" y="1057455"/>
                    <a:pt x="247057" y="1099333"/>
                  </a:cubicBezTo>
                  <a:cubicBezTo>
                    <a:pt x="234800" y="1145978"/>
                    <a:pt x="233665" y="1181501"/>
                    <a:pt x="201774" y="1221337"/>
                  </a:cubicBezTo>
                  <a:cubicBezTo>
                    <a:pt x="147184" y="1289659"/>
                    <a:pt x="67513" y="1314968"/>
                    <a:pt x="23932" y="1397022"/>
                  </a:cubicBezTo>
                  <a:cubicBezTo>
                    <a:pt x="-11137" y="1462961"/>
                    <a:pt x="15647" y="1481800"/>
                    <a:pt x="83629" y="1461939"/>
                  </a:cubicBezTo>
                  <a:cubicBezTo>
                    <a:pt x="142985" y="1444575"/>
                    <a:pt x="203022" y="1435609"/>
                    <a:pt x="262378" y="1421083"/>
                  </a:cubicBezTo>
                  <a:cubicBezTo>
                    <a:pt x="336148" y="1402924"/>
                    <a:pt x="438291" y="1330857"/>
                    <a:pt x="486979" y="1275132"/>
                  </a:cubicBezTo>
                  <a:cubicBezTo>
                    <a:pt x="513876" y="1244376"/>
                    <a:pt x="529538" y="1204427"/>
                    <a:pt x="558025" y="1175600"/>
                  </a:cubicBezTo>
                  <a:cubicBezTo>
                    <a:pt x="599790" y="1133267"/>
                    <a:pt x="663686" y="1120556"/>
                    <a:pt x="702954" y="1078338"/>
                  </a:cubicBezTo>
                  <a:cubicBezTo>
                    <a:pt x="732802" y="1046333"/>
                    <a:pt x="713281" y="1043268"/>
                    <a:pt x="724858" y="1008880"/>
                  </a:cubicBezTo>
                  <a:cubicBezTo>
                    <a:pt x="733937" y="981869"/>
                    <a:pt x="761289" y="963257"/>
                    <a:pt x="783079" y="949524"/>
                  </a:cubicBezTo>
                  <a:cubicBezTo>
                    <a:pt x="807139" y="934316"/>
                    <a:pt x="843797" y="932273"/>
                    <a:pt x="857984" y="904128"/>
                  </a:cubicBezTo>
                  <a:cubicBezTo>
                    <a:pt x="873418" y="873598"/>
                    <a:pt x="846408" y="830812"/>
                    <a:pt x="859799" y="800396"/>
                  </a:cubicBezTo>
                  <a:cubicBezTo>
                    <a:pt x="964099" y="818782"/>
                    <a:pt x="885903" y="1025223"/>
                    <a:pt x="859799" y="1079359"/>
                  </a:cubicBezTo>
                  <a:cubicBezTo>
                    <a:pt x="827908" y="1145298"/>
                    <a:pt x="846634" y="1190694"/>
                    <a:pt x="906218" y="1130090"/>
                  </a:cubicBezTo>
                  <a:cubicBezTo>
                    <a:pt x="939471" y="1096383"/>
                    <a:pt x="974540" y="1069031"/>
                    <a:pt x="1008474" y="1039069"/>
                  </a:cubicBezTo>
                  <a:cubicBezTo>
                    <a:pt x="1096544" y="961100"/>
                    <a:pt x="1101878" y="905943"/>
                    <a:pt x="1111978" y="799829"/>
                  </a:cubicBezTo>
                  <a:cubicBezTo>
                    <a:pt x="1122647" y="688266"/>
                    <a:pt x="1140351" y="560134"/>
                    <a:pt x="1131726" y="445961"/>
                  </a:cubicBezTo>
                  <a:cubicBezTo>
                    <a:pt x="1121739" y="313971"/>
                    <a:pt x="1037301" y="185611"/>
                    <a:pt x="979760" y="68034"/>
                  </a:cubicBezTo>
                  <a:cubicBezTo>
                    <a:pt x="975675" y="60430"/>
                    <a:pt x="966255" y="56571"/>
                    <a:pt x="957743" y="59749"/>
                  </a:cubicBezTo>
                  <a:lnTo>
                    <a:pt x="957743" y="59749"/>
                  </a:lnTo>
                  <a:close/>
                </a:path>
              </a:pathLst>
            </a:custGeom>
            <a:solidFill>
              <a:srgbClr val="724D8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61" name="Freeform: Shape 60">
              <a:extLst>
                <a:ext uri="{FF2B5EF4-FFF2-40B4-BE49-F238E27FC236}">
                  <a16:creationId xmlns:a16="http://schemas.microsoft.com/office/drawing/2014/main" id="{81F5A573-8E32-44A3-9152-91FE5ED43320}"/>
                </a:ext>
              </a:extLst>
            </p:cNvPr>
            <p:cNvSpPr/>
            <p:nvPr/>
          </p:nvSpPr>
          <p:spPr>
            <a:xfrm>
              <a:off x="2391318" y="4041758"/>
              <a:ext cx="601507" cy="397221"/>
            </a:xfrm>
            <a:custGeom>
              <a:avLst/>
              <a:gdLst>
                <a:gd name="connsiteX0" fmla="*/ 595786 w 601506"/>
                <a:gd name="connsiteY0" fmla="*/ 18727 h 397221"/>
                <a:gd name="connsiteX1" fmla="*/ 586707 w 601506"/>
                <a:gd name="connsiteY1" fmla="*/ 9081 h 397221"/>
                <a:gd name="connsiteX2" fmla="*/ 521676 w 601506"/>
                <a:gd name="connsiteY2" fmla="*/ 33254 h 397221"/>
                <a:gd name="connsiteX3" fmla="*/ 465157 w 601506"/>
                <a:gd name="connsiteY3" fmla="*/ 98399 h 397221"/>
                <a:gd name="connsiteX4" fmla="*/ 354730 w 601506"/>
                <a:gd name="connsiteY4" fmla="*/ 164224 h 397221"/>
                <a:gd name="connsiteX5" fmla="*/ 216610 w 601506"/>
                <a:gd name="connsiteY5" fmla="*/ 239582 h 397221"/>
                <a:gd name="connsiteX6" fmla="*/ 68730 w 601506"/>
                <a:gd name="connsiteY6" fmla="*/ 276808 h 397221"/>
                <a:gd name="connsiteX7" fmla="*/ 9374 w 601506"/>
                <a:gd name="connsiteY7" fmla="*/ 364196 h 397221"/>
                <a:gd name="connsiteX8" fmla="*/ 127859 w 601506"/>
                <a:gd name="connsiteY8" fmla="*/ 358976 h 397221"/>
                <a:gd name="connsiteX9" fmla="*/ 395814 w 601506"/>
                <a:gd name="connsiteY9" fmla="*/ 225963 h 397221"/>
                <a:gd name="connsiteX10" fmla="*/ 594084 w 601506"/>
                <a:gd name="connsiteY10" fmla="*/ 32687 h 397221"/>
                <a:gd name="connsiteX11" fmla="*/ 595786 w 601506"/>
                <a:gd name="connsiteY11" fmla="*/ 18727 h 3972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601506" h="397221">
                  <a:moveTo>
                    <a:pt x="595786" y="18727"/>
                  </a:moveTo>
                  <a:cubicBezTo>
                    <a:pt x="596468" y="13393"/>
                    <a:pt x="591360" y="6470"/>
                    <a:pt x="586707" y="9081"/>
                  </a:cubicBezTo>
                  <a:cubicBezTo>
                    <a:pt x="556632" y="26331"/>
                    <a:pt x="538927" y="21451"/>
                    <a:pt x="521676" y="33254"/>
                  </a:cubicBezTo>
                  <a:cubicBezTo>
                    <a:pt x="503291" y="45738"/>
                    <a:pt x="481387" y="81488"/>
                    <a:pt x="465157" y="98399"/>
                  </a:cubicBezTo>
                  <a:cubicBezTo>
                    <a:pt x="429294" y="135851"/>
                    <a:pt x="402964" y="143341"/>
                    <a:pt x="354730" y="164224"/>
                  </a:cubicBezTo>
                  <a:cubicBezTo>
                    <a:pt x="306042" y="185333"/>
                    <a:pt x="268476" y="224601"/>
                    <a:pt x="216610" y="239582"/>
                  </a:cubicBezTo>
                  <a:cubicBezTo>
                    <a:pt x="167809" y="253655"/>
                    <a:pt x="110155" y="240377"/>
                    <a:pt x="68730" y="276808"/>
                  </a:cubicBezTo>
                  <a:cubicBezTo>
                    <a:pt x="52841" y="290767"/>
                    <a:pt x="13119" y="343654"/>
                    <a:pt x="9374" y="364196"/>
                  </a:cubicBezTo>
                  <a:cubicBezTo>
                    <a:pt x="-1181" y="422417"/>
                    <a:pt x="87910" y="374524"/>
                    <a:pt x="127859" y="358976"/>
                  </a:cubicBezTo>
                  <a:cubicBezTo>
                    <a:pt x="221831" y="322318"/>
                    <a:pt x="306042" y="269771"/>
                    <a:pt x="395814" y="225963"/>
                  </a:cubicBezTo>
                  <a:cubicBezTo>
                    <a:pt x="486834" y="181588"/>
                    <a:pt x="565484" y="131538"/>
                    <a:pt x="594084" y="32687"/>
                  </a:cubicBezTo>
                  <a:lnTo>
                    <a:pt x="595786" y="18727"/>
                  </a:lnTo>
                  <a:close/>
                </a:path>
              </a:pathLst>
            </a:custGeom>
            <a:solidFill>
              <a:srgbClr val="724D8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801AE889-7B80-4DAF-BFF1-2CAC896A364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26927" y="2081048"/>
            <a:ext cx="5214958" cy="2396359"/>
          </a:xfrm>
        </p:spPr>
        <p:txBody>
          <a:bodyPr/>
          <a:lstStyle>
            <a:lvl1pPr algn="ctr">
              <a:lnSpc>
                <a:spcPts val="7600"/>
              </a:lnSpc>
              <a:defRPr sz="8000">
                <a:solidFill>
                  <a:schemeClr val="tx1"/>
                </a:solidFill>
              </a:defRPr>
            </a:lvl1pPr>
          </a:lstStyle>
          <a:p>
            <a:r>
              <a:rPr dirty="0"/>
              <a:t>Click to ADD title</a:t>
            </a:r>
          </a:p>
        </p:txBody>
      </p:sp>
      <p:sp>
        <p:nvSpPr>
          <p:cNvPr id="50" name="Graphic 2">
            <a:extLst>
              <a:ext uri="{FF2B5EF4-FFF2-40B4-BE49-F238E27FC236}">
                <a16:creationId xmlns:a16="http://schemas.microsoft.com/office/drawing/2014/main" id="{0B54931C-A30D-49FB-882C-44855E24FAE7}"/>
              </a:ext>
            </a:extLst>
          </p:cNvPr>
          <p:cNvSpPr/>
          <p:nvPr userDrawn="1"/>
        </p:nvSpPr>
        <p:spPr>
          <a:xfrm>
            <a:off x="163902" y="6451601"/>
            <a:ext cx="11922081" cy="307007"/>
          </a:xfrm>
          <a:custGeom>
            <a:avLst/>
            <a:gdLst>
              <a:gd name="connsiteX0" fmla="*/ 7391400 w 7391400"/>
              <a:gd name="connsiteY0" fmla="*/ 45500 h 473512"/>
              <a:gd name="connsiteX1" fmla="*/ 7364837 w 7391400"/>
              <a:gd name="connsiteY1" fmla="*/ 40495 h 473512"/>
              <a:gd name="connsiteX2" fmla="*/ 6945606 w 7391400"/>
              <a:gd name="connsiteY2" fmla="*/ 20862 h 473512"/>
              <a:gd name="connsiteX3" fmla="*/ 5507363 w 7391400"/>
              <a:gd name="connsiteY3" fmla="*/ 50889 h 473512"/>
              <a:gd name="connsiteX4" fmla="*/ 4159587 w 7391400"/>
              <a:gd name="connsiteY4" fmla="*/ 73 h 473512"/>
              <a:gd name="connsiteX5" fmla="*/ 1666530 w 7391400"/>
              <a:gd name="connsiteY5" fmla="*/ 30486 h 473512"/>
              <a:gd name="connsiteX6" fmla="*/ 498535 w 7391400"/>
              <a:gd name="connsiteY6" fmla="*/ 31256 h 473512"/>
              <a:gd name="connsiteX7" fmla="*/ 169771 w 7391400"/>
              <a:gd name="connsiteY7" fmla="*/ 17012 h 473512"/>
              <a:gd name="connsiteX8" fmla="*/ 0 w 7391400"/>
              <a:gd name="connsiteY8" fmla="*/ 28561 h 473512"/>
              <a:gd name="connsiteX9" fmla="*/ 0 w 7391400"/>
              <a:gd name="connsiteY9" fmla="*/ 421614 h 473512"/>
              <a:gd name="connsiteX10" fmla="*/ 52741 w 7391400"/>
              <a:gd name="connsiteY10" fmla="*/ 433163 h 473512"/>
              <a:gd name="connsiteX11" fmla="*/ 471972 w 7391400"/>
              <a:gd name="connsiteY11" fmla="*/ 452797 h 473512"/>
              <a:gd name="connsiteX12" fmla="*/ 1910215 w 7391400"/>
              <a:gd name="connsiteY12" fmla="*/ 422769 h 473512"/>
              <a:gd name="connsiteX13" fmla="*/ 3257991 w 7391400"/>
              <a:gd name="connsiteY13" fmla="*/ 473585 h 473512"/>
              <a:gd name="connsiteX14" fmla="*/ 5750664 w 7391400"/>
              <a:gd name="connsiteY14" fmla="*/ 443173 h 473512"/>
              <a:gd name="connsiteX15" fmla="*/ 6918658 w 7391400"/>
              <a:gd name="connsiteY15" fmla="*/ 442403 h 473512"/>
              <a:gd name="connsiteX16" fmla="*/ 7247422 w 7391400"/>
              <a:gd name="connsiteY16" fmla="*/ 456262 h 473512"/>
              <a:gd name="connsiteX17" fmla="*/ 7391400 w 7391400"/>
              <a:gd name="connsiteY17" fmla="*/ 447792 h 473512"/>
              <a:gd name="connsiteX18" fmla="*/ 7391400 w 7391400"/>
              <a:gd name="connsiteY18" fmla="*/ 45500 h 4735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7391400" h="473512">
                <a:moveTo>
                  <a:pt x="7391400" y="45500"/>
                </a:moveTo>
                <a:cubicBezTo>
                  <a:pt x="7382931" y="43575"/>
                  <a:pt x="7374077" y="42035"/>
                  <a:pt x="7364837" y="40495"/>
                </a:cubicBezTo>
                <a:cubicBezTo>
                  <a:pt x="7248192" y="21246"/>
                  <a:pt x="7091125" y="20477"/>
                  <a:pt x="6945606" y="20862"/>
                </a:cubicBezTo>
                <a:cubicBezTo>
                  <a:pt x="6397411" y="21631"/>
                  <a:pt x="6055559" y="50889"/>
                  <a:pt x="5507363" y="50889"/>
                </a:cubicBezTo>
                <a:cubicBezTo>
                  <a:pt x="5113925" y="50889"/>
                  <a:pt x="4553796" y="-2237"/>
                  <a:pt x="4159587" y="73"/>
                </a:cubicBezTo>
                <a:cubicBezTo>
                  <a:pt x="3109393" y="5463"/>
                  <a:pt x="2715955" y="23171"/>
                  <a:pt x="1666530" y="30486"/>
                </a:cubicBezTo>
                <a:cubicBezTo>
                  <a:pt x="1497913" y="31641"/>
                  <a:pt x="665226" y="32411"/>
                  <a:pt x="498535" y="31256"/>
                </a:cubicBezTo>
                <a:cubicBezTo>
                  <a:pt x="393823" y="30486"/>
                  <a:pt x="269093" y="14702"/>
                  <a:pt x="169771" y="17012"/>
                </a:cubicBezTo>
                <a:cubicBezTo>
                  <a:pt x="100477" y="18552"/>
                  <a:pt x="44656" y="22401"/>
                  <a:pt x="0" y="28561"/>
                </a:cubicBezTo>
                <a:lnTo>
                  <a:pt x="0" y="421614"/>
                </a:lnTo>
                <a:cubicBezTo>
                  <a:pt x="16169" y="426234"/>
                  <a:pt x="33492" y="430084"/>
                  <a:pt x="52741" y="433163"/>
                </a:cubicBezTo>
                <a:cubicBezTo>
                  <a:pt x="169386" y="452412"/>
                  <a:pt x="326454" y="453182"/>
                  <a:pt x="471972" y="452797"/>
                </a:cubicBezTo>
                <a:cubicBezTo>
                  <a:pt x="1020167" y="452027"/>
                  <a:pt x="1362019" y="422769"/>
                  <a:pt x="1910215" y="422769"/>
                </a:cubicBezTo>
                <a:cubicBezTo>
                  <a:pt x="2303653" y="422769"/>
                  <a:pt x="2863783" y="475895"/>
                  <a:pt x="3257991" y="473585"/>
                </a:cubicBezTo>
                <a:cubicBezTo>
                  <a:pt x="4307801" y="468196"/>
                  <a:pt x="4701238" y="450102"/>
                  <a:pt x="5750664" y="443173"/>
                </a:cubicBezTo>
                <a:cubicBezTo>
                  <a:pt x="5919280" y="442018"/>
                  <a:pt x="6751967" y="441248"/>
                  <a:pt x="6918658" y="442403"/>
                </a:cubicBezTo>
                <a:cubicBezTo>
                  <a:pt x="7023370" y="443173"/>
                  <a:pt x="7148100" y="458571"/>
                  <a:pt x="7247422" y="456262"/>
                </a:cubicBezTo>
                <a:cubicBezTo>
                  <a:pt x="7304013" y="455107"/>
                  <a:pt x="7351748" y="452027"/>
                  <a:pt x="7391400" y="447792"/>
                </a:cubicBezTo>
                <a:lnTo>
                  <a:pt x="7391400" y="45500"/>
                </a:lnTo>
                <a:close/>
              </a:path>
            </a:pathLst>
          </a:custGeom>
          <a:solidFill>
            <a:srgbClr val="EAAB5E"/>
          </a:solidFill>
          <a:ln w="3850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1350" dirty="0"/>
          </a:p>
        </p:txBody>
      </p:sp>
      <p:sp>
        <p:nvSpPr>
          <p:cNvPr id="51" name="Graphic 2">
            <a:extLst>
              <a:ext uri="{FF2B5EF4-FFF2-40B4-BE49-F238E27FC236}">
                <a16:creationId xmlns:a16="http://schemas.microsoft.com/office/drawing/2014/main" id="{D0E33009-365E-4020-B88D-1C733AC48D67}"/>
              </a:ext>
            </a:extLst>
          </p:cNvPr>
          <p:cNvSpPr/>
          <p:nvPr userDrawn="1"/>
        </p:nvSpPr>
        <p:spPr>
          <a:xfrm>
            <a:off x="112314" y="152401"/>
            <a:ext cx="11922081" cy="307007"/>
          </a:xfrm>
          <a:custGeom>
            <a:avLst/>
            <a:gdLst>
              <a:gd name="connsiteX0" fmla="*/ 7391400 w 7391400"/>
              <a:gd name="connsiteY0" fmla="*/ 45500 h 473512"/>
              <a:gd name="connsiteX1" fmla="*/ 7364837 w 7391400"/>
              <a:gd name="connsiteY1" fmla="*/ 40495 h 473512"/>
              <a:gd name="connsiteX2" fmla="*/ 6945606 w 7391400"/>
              <a:gd name="connsiteY2" fmla="*/ 20862 h 473512"/>
              <a:gd name="connsiteX3" fmla="*/ 5507363 w 7391400"/>
              <a:gd name="connsiteY3" fmla="*/ 50889 h 473512"/>
              <a:gd name="connsiteX4" fmla="*/ 4159587 w 7391400"/>
              <a:gd name="connsiteY4" fmla="*/ 73 h 473512"/>
              <a:gd name="connsiteX5" fmla="*/ 1666530 w 7391400"/>
              <a:gd name="connsiteY5" fmla="*/ 30486 h 473512"/>
              <a:gd name="connsiteX6" fmla="*/ 498535 w 7391400"/>
              <a:gd name="connsiteY6" fmla="*/ 31256 h 473512"/>
              <a:gd name="connsiteX7" fmla="*/ 169771 w 7391400"/>
              <a:gd name="connsiteY7" fmla="*/ 17012 h 473512"/>
              <a:gd name="connsiteX8" fmla="*/ 0 w 7391400"/>
              <a:gd name="connsiteY8" fmla="*/ 28561 h 473512"/>
              <a:gd name="connsiteX9" fmla="*/ 0 w 7391400"/>
              <a:gd name="connsiteY9" fmla="*/ 421614 h 473512"/>
              <a:gd name="connsiteX10" fmla="*/ 52741 w 7391400"/>
              <a:gd name="connsiteY10" fmla="*/ 433163 h 473512"/>
              <a:gd name="connsiteX11" fmla="*/ 471972 w 7391400"/>
              <a:gd name="connsiteY11" fmla="*/ 452797 h 473512"/>
              <a:gd name="connsiteX12" fmla="*/ 1910215 w 7391400"/>
              <a:gd name="connsiteY12" fmla="*/ 422769 h 473512"/>
              <a:gd name="connsiteX13" fmla="*/ 3257991 w 7391400"/>
              <a:gd name="connsiteY13" fmla="*/ 473585 h 473512"/>
              <a:gd name="connsiteX14" fmla="*/ 5750664 w 7391400"/>
              <a:gd name="connsiteY14" fmla="*/ 443173 h 473512"/>
              <a:gd name="connsiteX15" fmla="*/ 6918658 w 7391400"/>
              <a:gd name="connsiteY15" fmla="*/ 442403 h 473512"/>
              <a:gd name="connsiteX16" fmla="*/ 7247422 w 7391400"/>
              <a:gd name="connsiteY16" fmla="*/ 456262 h 473512"/>
              <a:gd name="connsiteX17" fmla="*/ 7391400 w 7391400"/>
              <a:gd name="connsiteY17" fmla="*/ 447792 h 473512"/>
              <a:gd name="connsiteX18" fmla="*/ 7391400 w 7391400"/>
              <a:gd name="connsiteY18" fmla="*/ 45500 h 4735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7391400" h="473512">
                <a:moveTo>
                  <a:pt x="7391400" y="45500"/>
                </a:moveTo>
                <a:cubicBezTo>
                  <a:pt x="7382931" y="43575"/>
                  <a:pt x="7374077" y="42035"/>
                  <a:pt x="7364837" y="40495"/>
                </a:cubicBezTo>
                <a:cubicBezTo>
                  <a:pt x="7248192" y="21246"/>
                  <a:pt x="7091125" y="20477"/>
                  <a:pt x="6945606" y="20862"/>
                </a:cubicBezTo>
                <a:cubicBezTo>
                  <a:pt x="6397411" y="21631"/>
                  <a:pt x="6055559" y="50889"/>
                  <a:pt x="5507363" y="50889"/>
                </a:cubicBezTo>
                <a:cubicBezTo>
                  <a:pt x="5113925" y="50889"/>
                  <a:pt x="4553796" y="-2237"/>
                  <a:pt x="4159587" y="73"/>
                </a:cubicBezTo>
                <a:cubicBezTo>
                  <a:pt x="3109393" y="5463"/>
                  <a:pt x="2715955" y="23171"/>
                  <a:pt x="1666530" y="30486"/>
                </a:cubicBezTo>
                <a:cubicBezTo>
                  <a:pt x="1497913" y="31641"/>
                  <a:pt x="665226" y="32411"/>
                  <a:pt x="498535" y="31256"/>
                </a:cubicBezTo>
                <a:cubicBezTo>
                  <a:pt x="393823" y="30486"/>
                  <a:pt x="269093" y="14702"/>
                  <a:pt x="169771" y="17012"/>
                </a:cubicBezTo>
                <a:cubicBezTo>
                  <a:pt x="100477" y="18552"/>
                  <a:pt x="44656" y="22401"/>
                  <a:pt x="0" y="28561"/>
                </a:cubicBezTo>
                <a:lnTo>
                  <a:pt x="0" y="421614"/>
                </a:lnTo>
                <a:cubicBezTo>
                  <a:pt x="16169" y="426234"/>
                  <a:pt x="33492" y="430084"/>
                  <a:pt x="52741" y="433163"/>
                </a:cubicBezTo>
                <a:cubicBezTo>
                  <a:pt x="169386" y="452412"/>
                  <a:pt x="326454" y="453182"/>
                  <a:pt x="471972" y="452797"/>
                </a:cubicBezTo>
                <a:cubicBezTo>
                  <a:pt x="1020167" y="452027"/>
                  <a:pt x="1362019" y="422769"/>
                  <a:pt x="1910215" y="422769"/>
                </a:cubicBezTo>
                <a:cubicBezTo>
                  <a:pt x="2303653" y="422769"/>
                  <a:pt x="2863783" y="475895"/>
                  <a:pt x="3257991" y="473585"/>
                </a:cubicBezTo>
                <a:cubicBezTo>
                  <a:pt x="4307801" y="468196"/>
                  <a:pt x="4701238" y="450102"/>
                  <a:pt x="5750664" y="443173"/>
                </a:cubicBezTo>
                <a:cubicBezTo>
                  <a:pt x="5919280" y="442018"/>
                  <a:pt x="6751967" y="441248"/>
                  <a:pt x="6918658" y="442403"/>
                </a:cubicBezTo>
                <a:cubicBezTo>
                  <a:pt x="7023370" y="443173"/>
                  <a:pt x="7148100" y="458571"/>
                  <a:pt x="7247422" y="456262"/>
                </a:cubicBezTo>
                <a:cubicBezTo>
                  <a:pt x="7304013" y="455107"/>
                  <a:pt x="7351748" y="452027"/>
                  <a:pt x="7391400" y="447792"/>
                </a:cubicBezTo>
                <a:lnTo>
                  <a:pt x="7391400" y="45500"/>
                </a:lnTo>
                <a:close/>
              </a:path>
            </a:pathLst>
          </a:custGeom>
          <a:solidFill>
            <a:srgbClr val="957AA9"/>
          </a:solidFill>
          <a:ln w="3850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1350" dirty="0"/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61E4B552-A7C8-475E-ABF6-EA41E0D7F940}"/>
              </a:ext>
            </a:extLst>
          </p:cNvPr>
          <p:cNvGrpSpPr>
            <a:grpSpLocks noChangeAspect="1"/>
          </p:cNvGrpSpPr>
          <p:nvPr userDrawn="1"/>
        </p:nvGrpSpPr>
        <p:grpSpPr bwMode="black">
          <a:xfrm>
            <a:off x="10510345" y="5774347"/>
            <a:ext cx="1435758" cy="552879"/>
            <a:chOff x="2078951" y="1888610"/>
            <a:chExt cx="8030200" cy="3092248"/>
          </a:xfrm>
          <a:solidFill>
            <a:srgbClr val="FFFFFF"/>
          </a:solidFill>
        </p:grpSpPr>
        <p:sp>
          <p:nvSpPr>
            <p:cNvPr id="8" name="Freeform: Shape 7">
              <a:extLst>
                <a:ext uri="{FF2B5EF4-FFF2-40B4-BE49-F238E27FC236}">
                  <a16:creationId xmlns:a16="http://schemas.microsoft.com/office/drawing/2014/main" id="{89D3FF31-EDEF-4650-AE41-ABA52308A3B1}"/>
                </a:ext>
              </a:extLst>
            </p:cNvPr>
            <p:cNvSpPr/>
            <p:nvPr/>
          </p:nvSpPr>
          <p:spPr bwMode="black">
            <a:xfrm>
              <a:off x="2078951" y="2872694"/>
              <a:ext cx="951880" cy="652717"/>
            </a:xfrm>
            <a:custGeom>
              <a:avLst/>
              <a:gdLst>
                <a:gd name="connsiteX0" fmla="*/ 903041 w 951880"/>
                <a:gd name="connsiteY0" fmla="*/ 330574 h 652717"/>
                <a:gd name="connsiteX1" fmla="*/ 780656 w 951880"/>
                <a:gd name="connsiteY1" fmla="*/ 379528 h 652717"/>
                <a:gd name="connsiteX2" fmla="*/ 598439 w 951880"/>
                <a:gd name="connsiteY2" fmla="*/ 311537 h 652717"/>
                <a:gd name="connsiteX3" fmla="*/ 505970 w 951880"/>
                <a:gd name="connsiteY3" fmla="*/ 164675 h 652717"/>
                <a:gd name="connsiteX4" fmla="*/ 266640 w 951880"/>
                <a:gd name="connsiteY4" fmla="*/ 61329 h 652717"/>
                <a:gd name="connsiteX5" fmla="*/ 103461 w 951880"/>
                <a:gd name="connsiteY5" fmla="*/ 458398 h 652717"/>
                <a:gd name="connsiteX6" fmla="*/ 756179 w 951880"/>
                <a:gd name="connsiteY6" fmla="*/ 485595 h 652717"/>
                <a:gd name="connsiteX7" fmla="*/ 903041 w 951880"/>
                <a:gd name="connsiteY7" fmla="*/ 330574 h 6527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51880" h="652717">
                  <a:moveTo>
                    <a:pt x="903041" y="330574"/>
                  </a:moveTo>
                  <a:cubicBezTo>
                    <a:pt x="867685" y="363210"/>
                    <a:pt x="813292" y="374089"/>
                    <a:pt x="780656" y="379528"/>
                  </a:cubicBezTo>
                  <a:cubicBezTo>
                    <a:pt x="712664" y="387687"/>
                    <a:pt x="641953" y="365930"/>
                    <a:pt x="598439" y="311537"/>
                  </a:cubicBezTo>
                  <a:cubicBezTo>
                    <a:pt x="563083" y="268022"/>
                    <a:pt x="544046" y="210910"/>
                    <a:pt x="505970" y="164675"/>
                  </a:cubicBezTo>
                  <a:cubicBezTo>
                    <a:pt x="448858" y="93964"/>
                    <a:pt x="359109" y="45011"/>
                    <a:pt x="266640" y="61329"/>
                  </a:cubicBezTo>
                  <a:cubicBezTo>
                    <a:pt x="81704" y="93964"/>
                    <a:pt x="114" y="308817"/>
                    <a:pt x="103461" y="458398"/>
                  </a:cubicBezTo>
                  <a:cubicBezTo>
                    <a:pt x="253042" y="670531"/>
                    <a:pt x="584840" y="635176"/>
                    <a:pt x="756179" y="485595"/>
                  </a:cubicBezTo>
                  <a:cubicBezTo>
                    <a:pt x="813292" y="442080"/>
                    <a:pt x="862246" y="390407"/>
                    <a:pt x="903041" y="330574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/>
            </a:p>
          </p:txBody>
        </p:sp>
        <p:sp>
          <p:nvSpPr>
            <p:cNvPr id="9" name="Freeform: Shape 8">
              <a:extLst>
                <a:ext uri="{FF2B5EF4-FFF2-40B4-BE49-F238E27FC236}">
                  <a16:creationId xmlns:a16="http://schemas.microsoft.com/office/drawing/2014/main" id="{4DFA13CA-5977-42EB-8DC7-3C65CBA63027}"/>
                </a:ext>
              </a:extLst>
            </p:cNvPr>
            <p:cNvSpPr/>
            <p:nvPr/>
          </p:nvSpPr>
          <p:spPr bwMode="black">
            <a:xfrm>
              <a:off x="9151831" y="2872694"/>
              <a:ext cx="951880" cy="652717"/>
            </a:xfrm>
            <a:custGeom>
              <a:avLst/>
              <a:gdLst>
                <a:gd name="connsiteX0" fmla="*/ 58178 w 951880"/>
                <a:gd name="connsiteY0" fmla="*/ 330574 h 652717"/>
                <a:gd name="connsiteX1" fmla="*/ 180563 w 951880"/>
                <a:gd name="connsiteY1" fmla="*/ 379528 h 652717"/>
                <a:gd name="connsiteX2" fmla="*/ 362780 w 951880"/>
                <a:gd name="connsiteY2" fmla="*/ 311537 h 652717"/>
                <a:gd name="connsiteX3" fmla="*/ 455249 w 951880"/>
                <a:gd name="connsiteY3" fmla="*/ 164675 h 652717"/>
                <a:gd name="connsiteX4" fmla="*/ 694578 w 951880"/>
                <a:gd name="connsiteY4" fmla="*/ 61329 h 652717"/>
                <a:gd name="connsiteX5" fmla="*/ 857758 w 951880"/>
                <a:gd name="connsiteY5" fmla="*/ 458398 h 652717"/>
                <a:gd name="connsiteX6" fmla="*/ 205040 w 951880"/>
                <a:gd name="connsiteY6" fmla="*/ 485595 h 652717"/>
                <a:gd name="connsiteX7" fmla="*/ 58178 w 951880"/>
                <a:gd name="connsiteY7" fmla="*/ 330574 h 6527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51880" h="652717">
                  <a:moveTo>
                    <a:pt x="58178" y="330574"/>
                  </a:moveTo>
                  <a:cubicBezTo>
                    <a:pt x="96253" y="363210"/>
                    <a:pt x="147927" y="374089"/>
                    <a:pt x="180563" y="379528"/>
                  </a:cubicBezTo>
                  <a:cubicBezTo>
                    <a:pt x="248554" y="387687"/>
                    <a:pt x="319266" y="365930"/>
                    <a:pt x="362780" y="311537"/>
                  </a:cubicBezTo>
                  <a:cubicBezTo>
                    <a:pt x="398136" y="268022"/>
                    <a:pt x="417174" y="210910"/>
                    <a:pt x="455249" y="164675"/>
                  </a:cubicBezTo>
                  <a:cubicBezTo>
                    <a:pt x="512362" y="93964"/>
                    <a:pt x="602110" y="45011"/>
                    <a:pt x="694578" y="61329"/>
                  </a:cubicBezTo>
                  <a:cubicBezTo>
                    <a:pt x="879515" y="93964"/>
                    <a:pt x="961105" y="308817"/>
                    <a:pt x="857758" y="458398"/>
                  </a:cubicBezTo>
                  <a:cubicBezTo>
                    <a:pt x="708176" y="670531"/>
                    <a:pt x="376379" y="635176"/>
                    <a:pt x="205040" y="485595"/>
                  </a:cubicBezTo>
                  <a:cubicBezTo>
                    <a:pt x="150646" y="442080"/>
                    <a:pt x="101693" y="390407"/>
                    <a:pt x="58178" y="330574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/>
            </a:p>
          </p:txBody>
        </p:sp>
        <p:sp>
          <p:nvSpPr>
            <p:cNvPr id="10" name="Freeform: Shape 9">
              <a:extLst>
                <a:ext uri="{FF2B5EF4-FFF2-40B4-BE49-F238E27FC236}">
                  <a16:creationId xmlns:a16="http://schemas.microsoft.com/office/drawing/2014/main" id="{4C5BD9C0-0E25-49A0-821F-C566F6BAFBD6}"/>
                </a:ext>
              </a:extLst>
            </p:cNvPr>
            <p:cNvSpPr/>
            <p:nvPr/>
          </p:nvSpPr>
          <p:spPr bwMode="black">
            <a:xfrm>
              <a:off x="8001294" y="2010994"/>
              <a:ext cx="734308" cy="299162"/>
            </a:xfrm>
            <a:custGeom>
              <a:avLst/>
              <a:gdLst>
                <a:gd name="connsiteX0" fmla="*/ 596792 w 734307"/>
                <a:gd name="connsiteY0" fmla="*/ 58178 h 299162"/>
                <a:gd name="connsiteX1" fmla="*/ 148048 w 734307"/>
                <a:gd name="connsiteY1" fmla="*/ 58178 h 299162"/>
                <a:gd name="connsiteX2" fmla="*/ 58299 w 734307"/>
                <a:gd name="connsiteY2" fmla="*/ 150646 h 299162"/>
                <a:gd name="connsiteX3" fmla="*/ 148048 w 734307"/>
                <a:gd name="connsiteY3" fmla="*/ 251274 h 299162"/>
                <a:gd name="connsiteX4" fmla="*/ 596792 w 734307"/>
                <a:gd name="connsiteY4" fmla="*/ 251274 h 299162"/>
                <a:gd name="connsiteX5" fmla="*/ 686541 w 734307"/>
                <a:gd name="connsiteY5" fmla="*/ 158805 h 299162"/>
                <a:gd name="connsiteX6" fmla="*/ 596792 w 734307"/>
                <a:gd name="connsiteY6" fmla="*/ 58178 h 2991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34307" h="299162">
                  <a:moveTo>
                    <a:pt x="596792" y="58178"/>
                  </a:moveTo>
                  <a:cubicBezTo>
                    <a:pt x="591353" y="58178"/>
                    <a:pt x="153487" y="58178"/>
                    <a:pt x="148048" y="58178"/>
                  </a:cubicBezTo>
                  <a:cubicBezTo>
                    <a:pt x="99094" y="60898"/>
                    <a:pt x="61019" y="104412"/>
                    <a:pt x="58299" y="150646"/>
                  </a:cubicBezTo>
                  <a:cubicBezTo>
                    <a:pt x="55580" y="199600"/>
                    <a:pt x="99094" y="248554"/>
                    <a:pt x="148048" y="251274"/>
                  </a:cubicBezTo>
                  <a:cubicBezTo>
                    <a:pt x="153487" y="251274"/>
                    <a:pt x="591353" y="251274"/>
                    <a:pt x="596792" y="251274"/>
                  </a:cubicBezTo>
                  <a:cubicBezTo>
                    <a:pt x="645746" y="248554"/>
                    <a:pt x="683821" y="205040"/>
                    <a:pt x="686541" y="158805"/>
                  </a:cubicBezTo>
                  <a:cubicBezTo>
                    <a:pt x="689260" y="109852"/>
                    <a:pt x="648465" y="60898"/>
                    <a:pt x="596792" y="58178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/>
            </a:p>
          </p:txBody>
        </p:sp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24C783BF-E09A-481A-BF19-2EED68A6C733}"/>
                </a:ext>
              </a:extLst>
            </p:cNvPr>
            <p:cNvSpPr/>
            <p:nvPr/>
          </p:nvSpPr>
          <p:spPr bwMode="black">
            <a:xfrm>
              <a:off x="4920042" y="2277520"/>
              <a:ext cx="1006274" cy="951879"/>
            </a:xfrm>
            <a:custGeom>
              <a:avLst/>
              <a:gdLst>
                <a:gd name="connsiteX0" fmla="*/ 884954 w 1006273"/>
                <a:gd name="connsiteY0" fmla="*/ 746251 h 951879"/>
                <a:gd name="connsiteX1" fmla="*/ 874076 w 1006273"/>
                <a:gd name="connsiteY1" fmla="*/ 670101 h 951879"/>
                <a:gd name="connsiteX2" fmla="*/ 874076 w 1006273"/>
                <a:gd name="connsiteY2" fmla="*/ 536837 h 951879"/>
                <a:gd name="connsiteX3" fmla="*/ 689139 w 1006273"/>
                <a:gd name="connsiteY3" fmla="*/ 88094 h 951879"/>
                <a:gd name="connsiteX4" fmla="*/ 428052 w 1006273"/>
                <a:gd name="connsiteY4" fmla="*/ 253993 h 951879"/>
                <a:gd name="connsiteX5" fmla="*/ 196881 w 1006273"/>
                <a:gd name="connsiteY5" fmla="*/ 58178 h 951879"/>
                <a:gd name="connsiteX6" fmla="*/ 58178 w 1006273"/>
                <a:gd name="connsiteY6" fmla="*/ 128889 h 951879"/>
                <a:gd name="connsiteX7" fmla="*/ 142488 w 1006273"/>
                <a:gd name="connsiteY7" fmla="*/ 273031 h 951879"/>
                <a:gd name="connsiteX8" fmla="*/ 142488 w 1006273"/>
                <a:gd name="connsiteY8" fmla="*/ 757130 h 951879"/>
                <a:gd name="connsiteX9" fmla="*/ 283910 w 1006273"/>
                <a:gd name="connsiteY9" fmla="*/ 895832 h 951879"/>
                <a:gd name="connsiteX10" fmla="*/ 428052 w 1006273"/>
                <a:gd name="connsiteY10" fmla="*/ 757130 h 951879"/>
                <a:gd name="connsiteX11" fmla="*/ 428052 w 1006273"/>
                <a:gd name="connsiteY11" fmla="*/ 400855 h 951879"/>
                <a:gd name="connsiteX12" fmla="*/ 523240 w 1006273"/>
                <a:gd name="connsiteY12" fmla="*/ 283910 h 951879"/>
                <a:gd name="connsiteX13" fmla="*/ 591231 w 1006273"/>
                <a:gd name="connsiteY13" fmla="*/ 354621 h 951879"/>
                <a:gd name="connsiteX14" fmla="*/ 591231 w 1006273"/>
                <a:gd name="connsiteY14" fmla="*/ 697297 h 951879"/>
                <a:gd name="connsiteX15" fmla="*/ 593951 w 1006273"/>
                <a:gd name="connsiteY15" fmla="*/ 729933 h 951879"/>
                <a:gd name="connsiteX16" fmla="*/ 610269 w 1006273"/>
                <a:gd name="connsiteY16" fmla="*/ 778887 h 951879"/>
                <a:gd name="connsiteX17" fmla="*/ 822402 w 1006273"/>
                <a:gd name="connsiteY17" fmla="*/ 893112 h 951879"/>
                <a:gd name="connsiteX18" fmla="*/ 961105 w 1006273"/>
                <a:gd name="connsiteY18" fmla="*/ 822401 h 951879"/>
                <a:gd name="connsiteX19" fmla="*/ 884954 w 1006273"/>
                <a:gd name="connsiteY19" fmla="*/ 746251 h 9518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006273" h="951879">
                  <a:moveTo>
                    <a:pt x="884954" y="746251"/>
                  </a:moveTo>
                  <a:cubicBezTo>
                    <a:pt x="879515" y="721774"/>
                    <a:pt x="876795" y="694578"/>
                    <a:pt x="874076" y="670101"/>
                  </a:cubicBezTo>
                  <a:cubicBezTo>
                    <a:pt x="874076" y="634745"/>
                    <a:pt x="874076" y="583072"/>
                    <a:pt x="874076" y="536837"/>
                  </a:cubicBezTo>
                  <a:cubicBezTo>
                    <a:pt x="879515" y="373658"/>
                    <a:pt x="909431" y="88094"/>
                    <a:pt x="689139" y="88094"/>
                  </a:cubicBezTo>
                  <a:cubicBezTo>
                    <a:pt x="539558" y="88094"/>
                    <a:pt x="452529" y="213199"/>
                    <a:pt x="428052" y="253993"/>
                  </a:cubicBezTo>
                  <a:cubicBezTo>
                    <a:pt x="425332" y="139768"/>
                    <a:pt x="335583" y="58178"/>
                    <a:pt x="196881" y="58178"/>
                  </a:cubicBezTo>
                  <a:cubicBezTo>
                    <a:pt x="109852" y="58178"/>
                    <a:pt x="58178" y="128889"/>
                    <a:pt x="58178" y="128889"/>
                  </a:cubicBezTo>
                  <a:cubicBezTo>
                    <a:pt x="58178" y="128889"/>
                    <a:pt x="142488" y="158805"/>
                    <a:pt x="142488" y="273031"/>
                  </a:cubicBezTo>
                  <a:cubicBezTo>
                    <a:pt x="142488" y="354621"/>
                    <a:pt x="142488" y="757130"/>
                    <a:pt x="142488" y="757130"/>
                  </a:cubicBezTo>
                  <a:cubicBezTo>
                    <a:pt x="145207" y="827841"/>
                    <a:pt x="194161" y="895832"/>
                    <a:pt x="283910" y="895832"/>
                  </a:cubicBezTo>
                  <a:cubicBezTo>
                    <a:pt x="373659" y="895832"/>
                    <a:pt x="428052" y="827841"/>
                    <a:pt x="428052" y="757130"/>
                  </a:cubicBezTo>
                  <a:lnTo>
                    <a:pt x="428052" y="400855"/>
                  </a:lnTo>
                  <a:cubicBezTo>
                    <a:pt x="441650" y="343742"/>
                    <a:pt x="474286" y="283910"/>
                    <a:pt x="523240" y="283910"/>
                  </a:cubicBezTo>
                  <a:cubicBezTo>
                    <a:pt x="585792" y="283910"/>
                    <a:pt x="591231" y="354621"/>
                    <a:pt x="591231" y="354621"/>
                  </a:cubicBezTo>
                  <a:lnTo>
                    <a:pt x="591231" y="697297"/>
                  </a:lnTo>
                  <a:cubicBezTo>
                    <a:pt x="591231" y="708176"/>
                    <a:pt x="593951" y="719054"/>
                    <a:pt x="593951" y="729933"/>
                  </a:cubicBezTo>
                  <a:cubicBezTo>
                    <a:pt x="596671" y="748971"/>
                    <a:pt x="602110" y="765289"/>
                    <a:pt x="610269" y="778887"/>
                  </a:cubicBezTo>
                  <a:cubicBezTo>
                    <a:pt x="645624" y="846878"/>
                    <a:pt x="719055" y="893112"/>
                    <a:pt x="822402" y="893112"/>
                  </a:cubicBezTo>
                  <a:cubicBezTo>
                    <a:pt x="909431" y="893112"/>
                    <a:pt x="961105" y="822401"/>
                    <a:pt x="961105" y="822401"/>
                  </a:cubicBezTo>
                  <a:cubicBezTo>
                    <a:pt x="961105" y="822401"/>
                    <a:pt x="909431" y="808803"/>
                    <a:pt x="884954" y="746251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/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5FF7164C-72CA-4242-8777-BCD9BBD68252}"/>
                </a:ext>
              </a:extLst>
            </p:cNvPr>
            <p:cNvSpPr/>
            <p:nvPr/>
          </p:nvSpPr>
          <p:spPr bwMode="black">
            <a:xfrm>
              <a:off x="7552331" y="1888610"/>
              <a:ext cx="489539" cy="1332631"/>
            </a:xfrm>
            <a:custGeom>
              <a:avLst/>
              <a:gdLst>
                <a:gd name="connsiteX0" fmla="*/ 368560 w 489538"/>
                <a:gd name="connsiteY0" fmla="*/ 1135162 h 1332630"/>
                <a:gd name="connsiteX1" fmla="*/ 357681 w 489538"/>
                <a:gd name="connsiteY1" fmla="*/ 1059011 h 1332630"/>
                <a:gd name="connsiteX2" fmla="*/ 357681 w 489538"/>
                <a:gd name="connsiteY2" fmla="*/ 207759 h 1332630"/>
                <a:gd name="connsiteX3" fmla="*/ 208099 w 489538"/>
                <a:gd name="connsiteY3" fmla="*/ 58178 h 1332630"/>
                <a:gd name="connsiteX4" fmla="*/ 58518 w 489538"/>
                <a:gd name="connsiteY4" fmla="*/ 207759 h 1332630"/>
                <a:gd name="connsiteX5" fmla="*/ 58518 w 489538"/>
                <a:gd name="connsiteY5" fmla="*/ 961104 h 1332630"/>
                <a:gd name="connsiteX6" fmla="*/ 85715 w 489538"/>
                <a:gd name="connsiteY6" fmla="*/ 1159639 h 1332630"/>
                <a:gd name="connsiteX7" fmla="*/ 306007 w 489538"/>
                <a:gd name="connsiteY7" fmla="*/ 1282023 h 1332630"/>
                <a:gd name="connsiteX8" fmla="*/ 444710 w 489538"/>
                <a:gd name="connsiteY8" fmla="*/ 1211312 h 1332630"/>
                <a:gd name="connsiteX9" fmla="*/ 368560 w 489538"/>
                <a:gd name="connsiteY9" fmla="*/ 1135162 h 13326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89538" h="1332630">
                  <a:moveTo>
                    <a:pt x="368560" y="1135162"/>
                  </a:moveTo>
                  <a:cubicBezTo>
                    <a:pt x="363120" y="1110685"/>
                    <a:pt x="357681" y="1083488"/>
                    <a:pt x="357681" y="1059011"/>
                  </a:cubicBezTo>
                  <a:lnTo>
                    <a:pt x="357681" y="207759"/>
                  </a:lnTo>
                  <a:cubicBezTo>
                    <a:pt x="357681" y="126170"/>
                    <a:pt x="289689" y="58178"/>
                    <a:pt x="208099" y="58178"/>
                  </a:cubicBezTo>
                  <a:cubicBezTo>
                    <a:pt x="126510" y="58178"/>
                    <a:pt x="58518" y="126170"/>
                    <a:pt x="58518" y="207759"/>
                  </a:cubicBezTo>
                  <a:lnTo>
                    <a:pt x="58518" y="961104"/>
                  </a:lnTo>
                  <a:cubicBezTo>
                    <a:pt x="58518" y="1029095"/>
                    <a:pt x="53079" y="1097086"/>
                    <a:pt x="85715" y="1159639"/>
                  </a:cubicBezTo>
                  <a:cubicBezTo>
                    <a:pt x="118351" y="1227630"/>
                    <a:pt x="202660" y="1282023"/>
                    <a:pt x="306007" y="1282023"/>
                  </a:cubicBezTo>
                  <a:cubicBezTo>
                    <a:pt x="393036" y="1282023"/>
                    <a:pt x="444710" y="1211312"/>
                    <a:pt x="444710" y="1211312"/>
                  </a:cubicBezTo>
                  <a:cubicBezTo>
                    <a:pt x="444710" y="1211312"/>
                    <a:pt x="393036" y="1197714"/>
                    <a:pt x="368560" y="1135162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D3AE7E2A-0F1F-4037-8262-31DBEFCE04A9}"/>
                </a:ext>
              </a:extLst>
            </p:cNvPr>
            <p:cNvSpPr/>
            <p:nvPr/>
          </p:nvSpPr>
          <p:spPr bwMode="black">
            <a:xfrm>
              <a:off x="4162324" y="2357456"/>
              <a:ext cx="815899" cy="815898"/>
            </a:xfrm>
            <a:custGeom>
              <a:avLst/>
              <a:gdLst>
                <a:gd name="connsiteX0" fmla="*/ 407949 w 815899"/>
                <a:gd name="connsiteY0" fmla="*/ 174058 h 815898"/>
                <a:gd name="connsiteX1" fmla="*/ 293723 w 815899"/>
                <a:gd name="connsiteY1" fmla="*/ 407950 h 815898"/>
                <a:gd name="connsiteX2" fmla="*/ 410669 w 815899"/>
                <a:gd name="connsiteY2" fmla="*/ 641840 h 815898"/>
                <a:gd name="connsiteX3" fmla="*/ 522175 w 815899"/>
                <a:gd name="connsiteY3" fmla="*/ 407950 h 815898"/>
                <a:gd name="connsiteX4" fmla="*/ 407949 w 815899"/>
                <a:gd name="connsiteY4" fmla="*/ 174058 h 815898"/>
                <a:gd name="connsiteX5" fmla="*/ 407950 w 815899"/>
                <a:gd name="connsiteY5" fmla="*/ 0 h 815898"/>
                <a:gd name="connsiteX6" fmla="*/ 815899 w 815899"/>
                <a:gd name="connsiteY6" fmla="*/ 407949 h 815898"/>
                <a:gd name="connsiteX7" fmla="*/ 407950 w 815899"/>
                <a:gd name="connsiteY7" fmla="*/ 815898 h 815898"/>
                <a:gd name="connsiteX8" fmla="*/ 0 w 815899"/>
                <a:gd name="connsiteY8" fmla="*/ 407949 h 815898"/>
                <a:gd name="connsiteX9" fmla="*/ 407950 w 815899"/>
                <a:gd name="connsiteY9" fmla="*/ 0 h 815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15899" h="815898">
                  <a:moveTo>
                    <a:pt x="407949" y="174058"/>
                  </a:moveTo>
                  <a:cubicBezTo>
                    <a:pt x="342677" y="174058"/>
                    <a:pt x="293723" y="263807"/>
                    <a:pt x="293723" y="407950"/>
                  </a:cubicBezTo>
                  <a:cubicBezTo>
                    <a:pt x="293723" y="552091"/>
                    <a:pt x="331799" y="639120"/>
                    <a:pt x="410669" y="641840"/>
                  </a:cubicBezTo>
                  <a:cubicBezTo>
                    <a:pt x="489539" y="641840"/>
                    <a:pt x="527614" y="552091"/>
                    <a:pt x="522175" y="407950"/>
                  </a:cubicBezTo>
                  <a:cubicBezTo>
                    <a:pt x="522175" y="263807"/>
                    <a:pt x="473221" y="176778"/>
                    <a:pt x="407949" y="174058"/>
                  </a:cubicBezTo>
                  <a:close/>
                  <a:moveTo>
                    <a:pt x="407950" y="0"/>
                  </a:moveTo>
                  <a:cubicBezTo>
                    <a:pt x="633682" y="0"/>
                    <a:pt x="815899" y="182217"/>
                    <a:pt x="815899" y="407949"/>
                  </a:cubicBezTo>
                  <a:cubicBezTo>
                    <a:pt x="815899" y="633681"/>
                    <a:pt x="633682" y="815898"/>
                    <a:pt x="407950" y="815898"/>
                  </a:cubicBezTo>
                  <a:cubicBezTo>
                    <a:pt x="182218" y="815898"/>
                    <a:pt x="0" y="633681"/>
                    <a:pt x="0" y="407949"/>
                  </a:cubicBezTo>
                  <a:cubicBezTo>
                    <a:pt x="0" y="182217"/>
                    <a:pt x="182218" y="0"/>
                    <a:pt x="407950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F5FB2ED3-D50A-4024-97BB-00DA31480D2E}"/>
                </a:ext>
              </a:extLst>
            </p:cNvPr>
            <p:cNvSpPr/>
            <p:nvPr/>
          </p:nvSpPr>
          <p:spPr bwMode="black">
            <a:xfrm>
              <a:off x="5884871" y="1946788"/>
              <a:ext cx="912802" cy="1223846"/>
            </a:xfrm>
            <a:custGeom>
              <a:avLst/>
              <a:gdLst>
                <a:gd name="connsiteX0" fmla="*/ 387907 w 912802"/>
                <a:gd name="connsiteY0" fmla="*/ 620081 h 1223846"/>
                <a:gd name="connsiteX1" fmla="*/ 273681 w 912802"/>
                <a:gd name="connsiteY1" fmla="*/ 824055 h 1223846"/>
                <a:gd name="connsiteX2" fmla="*/ 390627 w 912802"/>
                <a:gd name="connsiteY2" fmla="*/ 1028029 h 1223846"/>
                <a:gd name="connsiteX3" fmla="*/ 502132 w 912802"/>
                <a:gd name="connsiteY3" fmla="*/ 824055 h 1223846"/>
                <a:gd name="connsiteX4" fmla="*/ 387907 w 912802"/>
                <a:gd name="connsiteY4" fmla="*/ 620081 h 1223846"/>
                <a:gd name="connsiteX5" fmla="*/ 676192 w 912802"/>
                <a:gd name="connsiteY5" fmla="*/ 0 h 1223846"/>
                <a:gd name="connsiteX6" fmla="*/ 825773 w 912802"/>
                <a:gd name="connsiteY6" fmla="*/ 149581 h 1223846"/>
                <a:gd name="connsiteX7" fmla="*/ 825773 w 912802"/>
                <a:gd name="connsiteY7" fmla="*/ 1000834 h 1223846"/>
                <a:gd name="connsiteX8" fmla="*/ 836651 w 912802"/>
                <a:gd name="connsiteY8" fmla="*/ 1076985 h 1223846"/>
                <a:gd name="connsiteX9" fmla="*/ 912802 w 912802"/>
                <a:gd name="connsiteY9" fmla="*/ 1150415 h 1223846"/>
                <a:gd name="connsiteX10" fmla="*/ 774099 w 912802"/>
                <a:gd name="connsiteY10" fmla="*/ 1221126 h 1223846"/>
                <a:gd name="connsiteX11" fmla="*/ 553807 w 912802"/>
                <a:gd name="connsiteY11" fmla="*/ 1098742 h 1223846"/>
                <a:gd name="connsiteX12" fmla="*/ 548367 w 912802"/>
                <a:gd name="connsiteY12" fmla="*/ 1085144 h 1223846"/>
                <a:gd name="connsiteX13" fmla="*/ 398786 w 912802"/>
                <a:gd name="connsiteY13" fmla="*/ 1212967 h 1223846"/>
                <a:gd name="connsiteX14" fmla="*/ 156736 w 912802"/>
                <a:gd name="connsiteY14" fmla="*/ 1180332 h 1223846"/>
                <a:gd name="connsiteX15" fmla="*/ 287280 w 912802"/>
                <a:gd name="connsiteY15" fmla="*/ 416107 h 1223846"/>
                <a:gd name="connsiteX16" fmla="*/ 526611 w 912802"/>
                <a:gd name="connsiteY16" fmla="*/ 552091 h 1223846"/>
                <a:gd name="connsiteX17" fmla="*/ 526611 w 912802"/>
                <a:gd name="connsiteY17" fmla="*/ 149581 h 1223846"/>
                <a:gd name="connsiteX18" fmla="*/ 676192 w 912802"/>
                <a:gd name="connsiteY18" fmla="*/ 0 h 1223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912802" h="1223846">
                  <a:moveTo>
                    <a:pt x="387907" y="620081"/>
                  </a:moveTo>
                  <a:cubicBezTo>
                    <a:pt x="322635" y="620081"/>
                    <a:pt x="273681" y="698951"/>
                    <a:pt x="273681" y="824055"/>
                  </a:cubicBezTo>
                  <a:cubicBezTo>
                    <a:pt x="273681" y="949160"/>
                    <a:pt x="311756" y="1028029"/>
                    <a:pt x="390627" y="1028029"/>
                  </a:cubicBezTo>
                  <a:cubicBezTo>
                    <a:pt x="466777" y="1025310"/>
                    <a:pt x="504852" y="949160"/>
                    <a:pt x="502132" y="824055"/>
                  </a:cubicBezTo>
                  <a:cubicBezTo>
                    <a:pt x="502132" y="698951"/>
                    <a:pt x="455898" y="622801"/>
                    <a:pt x="387907" y="620081"/>
                  </a:cubicBezTo>
                  <a:close/>
                  <a:moveTo>
                    <a:pt x="676192" y="0"/>
                  </a:moveTo>
                  <a:cubicBezTo>
                    <a:pt x="757781" y="0"/>
                    <a:pt x="825773" y="67992"/>
                    <a:pt x="825773" y="149581"/>
                  </a:cubicBezTo>
                  <a:lnTo>
                    <a:pt x="825773" y="1000834"/>
                  </a:lnTo>
                  <a:cubicBezTo>
                    <a:pt x="828492" y="1025311"/>
                    <a:pt x="831212" y="1052508"/>
                    <a:pt x="836651" y="1076985"/>
                  </a:cubicBezTo>
                  <a:cubicBezTo>
                    <a:pt x="861128" y="1139537"/>
                    <a:pt x="912802" y="1150415"/>
                    <a:pt x="912802" y="1150415"/>
                  </a:cubicBezTo>
                  <a:cubicBezTo>
                    <a:pt x="912802" y="1150415"/>
                    <a:pt x="861128" y="1221126"/>
                    <a:pt x="774099" y="1221126"/>
                  </a:cubicBezTo>
                  <a:cubicBezTo>
                    <a:pt x="670752" y="1221126"/>
                    <a:pt x="589162" y="1166733"/>
                    <a:pt x="553807" y="1098742"/>
                  </a:cubicBezTo>
                  <a:cubicBezTo>
                    <a:pt x="551087" y="1093303"/>
                    <a:pt x="551087" y="1090583"/>
                    <a:pt x="548367" y="1085144"/>
                  </a:cubicBezTo>
                  <a:cubicBezTo>
                    <a:pt x="534769" y="1147696"/>
                    <a:pt x="450460" y="1199369"/>
                    <a:pt x="398786" y="1212967"/>
                  </a:cubicBezTo>
                  <a:cubicBezTo>
                    <a:pt x="322636" y="1234725"/>
                    <a:pt x="222008" y="1223846"/>
                    <a:pt x="156736" y="1180332"/>
                  </a:cubicBezTo>
                  <a:cubicBezTo>
                    <a:pt x="-79874" y="1028031"/>
                    <a:pt x="-58117" y="416107"/>
                    <a:pt x="287280" y="416107"/>
                  </a:cubicBezTo>
                  <a:cubicBezTo>
                    <a:pt x="412385" y="416107"/>
                    <a:pt x="491255" y="503137"/>
                    <a:pt x="526611" y="552091"/>
                  </a:cubicBezTo>
                  <a:lnTo>
                    <a:pt x="526611" y="149581"/>
                  </a:lnTo>
                  <a:cubicBezTo>
                    <a:pt x="526611" y="67992"/>
                    <a:pt x="594602" y="0"/>
                    <a:pt x="676192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A9A54BAD-3D86-484D-950F-AF2589F4FE43}"/>
                </a:ext>
              </a:extLst>
            </p:cNvPr>
            <p:cNvSpPr/>
            <p:nvPr/>
          </p:nvSpPr>
          <p:spPr bwMode="black">
            <a:xfrm>
              <a:off x="6789513" y="2362895"/>
              <a:ext cx="747906" cy="810458"/>
            </a:xfrm>
            <a:custGeom>
              <a:avLst/>
              <a:gdLst>
                <a:gd name="connsiteX0" fmla="*/ 394818 w 747906"/>
                <a:gd name="connsiteY0" fmla="*/ 163222 h 810458"/>
                <a:gd name="connsiteX1" fmla="*/ 356275 w 747906"/>
                <a:gd name="connsiteY1" fmla="*/ 174058 h 810458"/>
                <a:gd name="connsiteX2" fmla="*/ 274685 w 747906"/>
                <a:gd name="connsiteY2" fmla="*/ 356275 h 810458"/>
                <a:gd name="connsiteX3" fmla="*/ 375313 w 747906"/>
                <a:gd name="connsiteY3" fmla="*/ 358994 h 810458"/>
                <a:gd name="connsiteX4" fmla="*/ 473220 w 747906"/>
                <a:gd name="connsiteY4" fmla="*/ 239329 h 810458"/>
                <a:gd name="connsiteX5" fmla="*/ 394818 w 747906"/>
                <a:gd name="connsiteY5" fmla="*/ 163222 h 810458"/>
                <a:gd name="connsiteX6" fmla="*/ 386192 w 747906"/>
                <a:gd name="connsiteY6" fmla="*/ 0 h 810458"/>
                <a:gd name="connsiteX7" fmla="*/ 747906 w 747906"/>
                <a:gd name="connsiteY7" fmla="*/ 266526 h 810458"/>
                <a:gd name="connsiteX8" fmla="*/ 291004 w 747906"/>
                <a:gd name="connsiteY8" fmla="*/ 484100 h 810458"/>
                <a:gd name="connsiteX9" fmla="*/ 497698 w 747906"/>
                <a:gd name="connsiteY9" fmla="*/ 617363 h 810458"/>
                <a:gd name="connsiteX10" fmla="*/ 712551 w 747906"/>
                <a:gd name="connsiteY10" fmla="*/ 557530 h 810458"/>
                <a:gd name="connsiteX11" fmla="*/ 388912 w 747906"/>
                <a:gd name="connsiteY11" fmla="*/ 810458 h 810458"/>
                <a:gd name="connsiteX12" fmla="*/ 0 w 747906"/>
                <a:gd name="connsiteY12" fmla="*/ 413389 h 810458"/>
                <a:gd name="connsiteX13" fmla="*/ 386192 w 747906"/>
                <a:gd name="connsiteY13" fmla="*/ 0 h 8104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747906" h="810458">
                  <a:moveTo>
                    <a:pt x="394818" y="163222"/>
                  </a:moveTo>
                  <a:cubicBezTo>
                    <a:pt x="381772" y="163179"/>
                    <a:pt x="368514" y="166579"/>
                    <a:pt x="356275" y="174058"/>
                  </a:cubicBezTo>
                  <a:cubicBezTo>
                    <a:pt x="299162" y="212133"/>
                    <a:pt x="282844" y="291003"/>
                    <a:pt x="274685" y="356275"/>
                  </a:cubicBezTo>
                  <a:cubicBezTo>
                    <a:pt x="274685" y="364434"/>
                    <a:pt x="369873" y="358994"/>
                    <a:pt x="375313" y="358994"/>
                  </a:cubicBezTo>
                  <a:cubicBezTo>
                    <a:pt x="432425" y="345396"/>
                    <a:pt x="473220" y="301881"/>
                    <a:pt x="473220" y="239329"/>
                  </a:cubicBezTo>
                  <a:cubicBezTo>
                    <a:pt x="471181" y="194455"/>
                    <a:pt x="433956" y="163349"/>
                    <a:pt x="394818" y="163222"/>
                  </a:cubicBezTo>
                  <a:close/>
                  <a:moveTo>
                    <a:pt x="386192" y="0"/>
                  </a:moveTo>
                  <a:cubicBezTo>
                    <a:pt x="519455" y="0"/>
                    <a:pt x="747906" y="65272"/>
                    <a:pt x="747906" y="266526"/>
                  </a:cubicBezTo>
                  <a:cubicBezTo>
                    <a:pt x="747906" y="467782"/>
                    <a:pt x="538493" y="484100"/>
                    <a:pt x="291004" y="484100"/>
                  </a:cubicBezTo>
                  <a:cubicBezTo>
                    <a:pt x="291004" y="484100"/>
                    <a:pt x="326359" y="617363"/>
                    <a:pt x="497698" y="617363"/>
                  </a:cubicBezTo>
                  <a:cubicBezTo>
                    <a:pt x="669036" y="617363"/>
                    <a:pt x="712551" y="557530"/>
                    <a:pt x="712551" y="557530"/>
                  </a:cubicBezTo>
                  <a:cubicBezTo>
                    <a:pt x="712551" y="557530"/>
                    <a:pt x="696233" y="810458"/>
                    <a:pt x="388912" y="810458"/>
                  </a:cubicBezTo>
                  <a:cubicBezTo>
                    <a:pt x="212134" y="810458"/>
                    <a:pt x="0" y="677195"/>
                    <a:pt x="0" y="413389"/>
                  </a:cubicBezTo>
                  <a:cubicBezTo>
                    <a:pt x="0" y="176778"/>
                    <a:pt x="163180" y="0"/>
                    <a:pt x="386192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5C3FEFBC-20E6-4962-B0F9-DE919B902949}"/>
                </a:ext>
              </a:extLst>
            </p:cNvPr>
            <p:cNvSpPr/>
            <p:nvPr/>
          </p:nvSpPr>
          <p:spPr bwMode="black">
            <a:xfrm>
              <a:off x="7988882" y="2362895"/>
              <a:ext cx="747906" cy="810458"/>
            </a:xfrm>
            <a:custGeom>
              <a:avLst/>
              <a:gdLst>
                <a:gd name="connsiteX0" fmla="*/ 394818 w 747906"/>
                <a:gd name="connsiteY0" fmla="*/ 163222 h 810458"/>
                <a:gd name="connsiteX1" fmla="*/ 356275 w 747906"/>
                <a:gd name="connsiteY1" fmla="*/ 174058 h 810458"/>
                <a:gd name="connsiteX2" fmla="*/ 274685 w 747906"/>
                <a:gd name="connsiteY2" fmla="*/ 356275 h 810458"/>
                <a:gd name="connsiteX3" fmla="*/ 375313 w 747906"/>
                <a:gd name="connsiteY3" fmla="*/ 358994 h 810458"/>
                <a:gd name="connsiteX4" fmla="*/ 473220 w 747906"/>
                <a:gd name="connsiteY4" fmla="*/ 239329 h 810458"/>
                <a:gd name="connsiteX5" fmla="*/ 394818 w 747906"/>
                <a:gd name="connsiteY5" fmla="*/ 163222 h 810458"/>
                <a:gd name="connsiteX6" fmla="*/ 386192 w 747906"/>
                <a:gd name="connsiteY6" fmla="*/ 0 h 810458"/>
                <a:gd name="connsiteX7" fmla="*/ 747906 w 747906"/>
                <a:gd name="connsiteY7" fmla="*/ 266526 h 810458"/>
                <a:gd name="connsiteX8" fmla="*/ 291004 w 747906"/>
                <a:gd name="connsiteY8" fmla="*/ 484100 h 810458"/>
                <a:gd name="connsiteX9" fmla="*/ 497697 w 747906"/>
                <a:gd name="connsiteY9" fmla="*/ 617363 h 810458"/>
                <a:gd name="connsiteX10" fmla="*/ 712551 w 747906"/>
                <a:gd name="connsiteY10" fmla="*/ 557530 h 810458"/>
                <a:gd name="connsiteX11" fmla="*/ 388911 w 747906"/>
                <a:gd name="connsiteY11" fmla="*/ 810458 h 810458"/>
                <a:gd name="connsiteX12" fmla="*/ 0 w 747906"/>
                <a:gd name="connsiteY12" fmla="*/ 413389 h 810458"/>
                <a:gd name="connsiteX13" fmla="*/ 386192 w 747906"/>
                <a:gd name="connsiteY13" fmla="*/ 0 h 8104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747906" h="810458">
                  <a:moveTo>
                    <a:pt x="394818" y="163222"/>
                  </a:moveTo>
                  <a:cubicBezTo>
                    <a:pt x="381772" y="163179"/>
                    <a:pt x="368514" y="166579"/>
                    <a:pt x="356275" y="174058"/>
                  </a:cubicBezTo>
                  <a:cubicBezTo>
                    <a:pt x="299162" y="212133"/>
                    <a:pt x="282844" y="291003"/>
                    <a:pt x="274685" y="356275"/>
                  </a:cubicBezTo>
                  <a:cubicBezTo>
                    <a:pt x="274685" y="364434"/>
                    <a:pt x="369873" y="358994"/>
                    <a:pt x="375313" y="358994"/>
                  </a:cubicBezTo>
                  <a:cubicBezTo>
                    <a:pt x="432426" y="345396"/>
                    <a:pt x="473220" y="301881"/>
                    <a:pt x="473220" y="239329"/>
                  </a:cubicBezTo>
                  <a:cubicBezTo>
                    <a:pt x="471181" y="194455"/>
                    <a:pt x="433955" y="163349"/>
                    <a:pt x="394818" y="163222"/>
                  </a:cubicBezTo>
                  <a:close/>
                  <a:moveTo>
                    <a:pt x="386192" y="0"/>
                  </a:moveTo>
                  <a:cubicBezTo>
                    <a:pt x="519455" y="0"/>
                    <a:pt x="747906" y="65272"/>
                    <a:pt x="747906" y="266526"/>
                  </a:cubicBezTo>
                  <a:cubicBezTo>
                    <a:pt x="747906" y="467782"/>
                    <a:pt x="538492" y="484100"/>
                    <a:pt x="291004" y="484100"/>
                  </a:cubicBezTo>
                  <a:cubicBezTo>
                    <a:pt x="291004" y="484100"/>
                    <a:pt x="326359" y="617363"/>
                    <a:pt x="497697" y="617363"/>
                  </a:cubicBezTo>
                  <a:cubicBezTo>
                    <a:pt x="669036" y="617363"/>
                    <a:pt x="712551" y="557530"/>
                    <a:pt x="712551" y="557530"/>
                  </a:cubicBezTo>
                  <a:cubicBezTo>
                    <a:pt x="712551" y="557530"/>
                    <a:pt x="696233" y="810458"/>
                    <a:pt x="388911" y="810458"/>
                  </a:cubicBezTo>
                  <a:cubicBezTo>
                    <a:pt x="212133" y="810458"/>
                    <a:pt x="0" y="677195"/>
                    <a:pt x="0" y="413389"/>
                  </a:cubicBezTo>
                  <a:cubicBezTo>
                    <a:pt x="0" y="176778"/>
                    <a:pt x="163180" y="0"/>
                    <a:pt x="386192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8251BBC0-C6D9-4D13-84ED-8CB1A2A11085}"/>
                </a:ext>
              </a:extLst>
            </p:cNvPr>
            <p:cNvSpPr/>
            <p:nvPr/>
          </p:nvSpPr>
          <p:spPr bwMode="black">
            <a:xfrm>
              <a:off x="8683414" y="2274801"/>
              <a:ext cx="897487" cy="951879"/>
            </a:xfrm>
            <a:custGeom>
              <a:avLst/>
              <a:gdLst>
                <a:gd name="connsiteX0" fmla="*/ 580988 w 897487"/>
                <a:gd name="connsiteY0" fmla="*/ 667381 h 951879"/>
                <a:gd name="connsiteX1" fmla="*/ 409649 w 897487"/>
                <a:gd name="connsiteY1" fmla="*/ 667381 h 951879"/>
                <a:gd name="connsiteX2" fmla="*/ 591866 w 897487"/>
                <a:gd name="connsiteY2" fmla="*/ 525959 h 951879"/>
                <a:gd name="connsiteX3" fmla="*/ 842075 w 897487"/>
                <a:gd name="connsiteY3" fmla="*/ 123450 h 951879"/>
                <a:gd name="connsiteX4" fmla="*/ 842075 w 897487"/>
                <a:gd name="connsiteY4" fmla="*/ 123450 h 951879"/>
                <a:gd name="connsiteX5" fmla="*/ 798560 w 897487"/>
                <a:gd name="connsiteY5" fmla="*/ 58178 h 951879"/>
                <a:gd name="connsiteX6" fmla="*/ 746887 w 897487"/>
                <a:gd name="connsiteY6" fmla="*/ 107132 h 951879"/>
                <a:gd name="connsiteX7" fmla="*/ 697933 w 897487"/>
                <a:gd name="connsiteY7" fmla="*/ 115291 h 951879"/>
                <a:gd name="connsiteX8" fmla="*/ 219273 w 897487"/>
                <a:gd name="connsiteY8" fmla="*/ 115291 h 951879"/>
                <a:gd name="connsiteX9" fmla="*/ 102328 w 897487"/>
                <a:gd name="connsiteY9" fmla="*/ 224077 h 951879"/>
                <a:gd name="connsiteX10" fmla="*/ 213834 w 897487"/>
                <a:gd name="connsiteY10" fmla="*/ 332863 h 951879"/>
                <a:gd name="connsiteX11" fmla="*/ 485800 w 897487"/>
                <a:gd name="connsiteY11" fmla="*/ 335583 h 951879"/>
                <a:gd name="connsiteX12" fmla="*/ 134964 w 897487"/>
                <a:gd name="connsiteY12" fmla="*/ 615708 h 951879"/>
                <a:gd name="connsiteX13" fmla="*/ 61533 w 897487"/>
                <a:gd name="connsiteY13" fmla="*/ 884953 h 951879"/>
                <a:gd name="connsiteX14" fmla="*/ 398771 w 897487"/>
                <a:gd name="connsiteY14" fmla="*/ 806083 h 951879"/>
                <a:gd name="connsiteX15" fmla="*/ 529314 w 897487"/>
                <a:gd name="connsiteY15" fmla="*/ 863196 h 951879"/>
                <a:gd name="connsiteX16" fmla="*/ 782242 w 897487"/>
                <a:gd name="connsiteY16" fmla="*/ 607549 h 951879"/>
                <a:gd name="connsiteX17" fmla="*/ 580988 w 897487"/>
                <a:gd name="connsiteY17" fmla="*/ 667381 h 9518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897487" h="951879">
                  <a:moveTo>
                    <a:pt x="580988" y="667381"/>
                  </a:moveTo>
                  <a:lnTo>
                    <a:pt x="409649" y="667381"/>
                  </a:lnTo>
                  <a:cubicBezTo>
                    <a:pt x="423248" y="667381"/>
                    <a:pt x="548352" y="561314"/>
                    <a:pt x="591866" y="525959"/>
                  </a:cubicBezTo>
                  <a:cubicBezTo>
                    <a:pt x="700653" y="433491"/>
                    <a:pt x="899188" y="297508"/>
                    <a:pt x="842075" y="123450"/>
                  </a:cubicBezTo>
                  <a:lnTo>
                    <a:pt x="842075" y="123450"/>
                  </a:lnTo>
                  <a:cubicBezTo>
                    <a:pt x="831197" y="82655"/>
                    <a:pt x="798560" y="58178"/>
                    <a:pt x="798560" y="58178"/>
                  </a:cubicBezTo>
                  <a:cubicBezTo>
                    <a:pt x="798560" y="58178"/>
                    <a:pt x="787682" y="90814"/>
                    <a:pt x="746887" y="107132"/>
                  </a:cubicBezTo>
                  <a:cubicBezTo>
                    <a:pt x="730569" y="109852"/>
                    <a:pt x="714251" y="115291"/>
                    <a:pt x="697933" y="115291"/>
                  </a:cubicBezTo>
                  <a:cubicBezTo>
                    <a:pt x="684334" y="115291"/>
                    <a:pt x="219273" y="115291"/>
                    <a:pt x="219273" y="115291"/>
                  </a:cubicBezTo>
                  <a:cubicBezTo>
                    <a:pt x="156721" y="115291"/>
                    <a:pt x="105048" y="166964"/>
                    <a:pt x="102328" y="224077"/>
                  </a:cubicBezTo>
                  <a:cubicBezTo>
                    <a:pt x="102328" y="283910"/>
                    <a:pt x="151282" y="332863"/>
                    <a:pt x="213834" y="332863"/>
                  </a:cubicBezTo>
                  <a:lnTo>
                    <a:pt x="485800" y="335583"/>
                  </a:lnTo>
                  <a:cubicBezTo>
                    <a:pt x="360695" y="406294"/>
                    <a:pt x="211114" y="487884"/>
                    <a:pt x="134964" y="615708"/>
                  </a:cubicBezTo>
                  <a:cubicBezTo>
                    <a:pt x="91449" y="689138"/>
                    <a:pt x="45215" y="800644"/>
                    <a:pt x="61533" y="884953"/>
                  </a:cubicBezTo>
                  <a:cubicBezTo>
                    <a:pt x="121366" y="830560"/>
                    <a:pt x="279106" y="778887"/>
                    <a:pt x="398771" y="806083"/>
                  </a:cubicBezTo>
                  <a:cubicBezTo>
                    <a:pt x="445005" y="814242"/>
                    <a:pt x="491239" y="838719"/>
                    <a:pt x="529314" y="863196"/>
                  </a:cubicBezTo>
                  <a:cubicBezTo>
                    <a:pt x="755046" y="1004618"/>
                    <a:pt x="891029" y="727213"/>
                    <a:pt x="782242" y="607549"/>
                  </a:cubicBezTo>
                  <a:cubicBezTo>
                    <a:pt x="784962" y="607549"/>
                    <a:pt x="722410" y="667381"/>
                    <a:pt x="580988" y="667381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7017F0B4-5688-4DD3-96EB-44DC0CE007D2}"/>
                </a:ext>
              </a:extLst>
            </p:cNvPr>
            <p:cNvSpPr/>
            <p:nvPr/>
          </p:nvSpPr>
          <p:spPr bwMode="black">
            <a:xfrm>
              <a:off x="2624650" y="1948442"/>
              <a:ext cx="1903761" cy="1577400"/>
            </a:xfrm>
            <a:custGeom>
              <a:avLst/>
              <a:gdLst>
                <a:gd name="connsiteX0" fmla="*/ 1559430 w 1903760"/>
                <a:gd name="connsiteY0" fmla="*/ 1165078 h 1577399"/>
                <a:gd name="connsiteX1" fmla="*/ 1369054 w 1903760"/>
                <a:gd name="connsiteY1" fmla="*/ 593950 h 1577399"/>
                <a:gd name="connsiteX2" fmla="*/ 1483279 w 1903760"/>
                <a:gd name="connsiteY2" fmla="*/ 126170 h 1577399"/>
                <a:gd name="connsiteX3" fmla="*/ 1311941 w 1903760"/>
                <a:gd name="connsiteY3" fmla="*/ 58178 h 1577399"/>
                <a:gd name="connsiteX4" fmla="*/ 1078050 w 1903760"/>
                <a:gd name="connsiteY4" fmla="*/ 205040 h 1577399"/>
                <a:gd name="connsiteX5" fmla="*/ 846879 w 1903760"/>
                <a:gd name="connsiteY5" fmla="*/ 523239 h 1577399"/>
                <a:gd name="connsiteX6" fmla="*/ 645624 w 1903760"/>
                <a:gd name="connsiteY6" fmla="*/ 210479 h 1577399"/>
                <a:gd name="connsiteX7" fmla="*/ 455248 w 1903760"/>
                <a:gd name="connsiteY7" fmla="*/ 63617 h 1577399"/>
                <a:gd name="connsiteX8" fmla="*/ 234956 w 1903760"/>
                <a:gd name="connsiteY8" fmla="*/ 137048 h 1577399"/>
                <a:gd name="connsiteX9" fmla="*/ 316546 w 1903760"/>
                <a:gd name="connsiteY9" fmla="*/ 588511 h 1577399"/>
                <a:gd name="connsiteX10" fmla="*/ 58178 w 1903760"/>
                <a:gd name="connsiteY10" fmla="*/ 1072610 h 1577399"/>
                <a:gd name="connsiteX11" fmla="*/ 474286 w 1903760"/>
                <a:gd name="connsiteY11" fmla="*/ 1020936 h 1577399"/>
                <a:gd name="connsiteX12" fmla="*/ 555876 w 1903760"/>
                <a:gd name="connsiteY12" fmla="*/ 572193 h 1577399"/>
                <a:gd name="connsiteX13" fmla="*/ 830561 w 1903760"/>
                <a:gd name="connsiteY13" fmla="*/ 993740 h 1577399"/>
                <a:gd name="connsiteX14" fmla="*/ 1140602 w 1903760"/>
                <a:gd name="connsiteY14" fmla="*/ 574913 h 1577399"/>
                <a:gd name="connsiteX15" fmla="*/ 1567589 w 1903760"/>
                <a:gd name="connsiteY15" fmla="*/ 1526792 h 1577399"/>
                <a:gd name="connsiteX16" fmla="*/ 1866751 w 1903760"/>
                <a:gd name="connsiteY16" fmla="*/ 1322818 h 1577399"/>
                <a:gd name="connsiteX17" fmla="*/ 1559430 w 1903760"/>
                <a:gd name="connsiteY17" fmla="*/ 1165078 h 15773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903760" h="1577399">
                  <a:moveTo>
                    <a:pt x="1559430" y="1165078"/>
                  </a:moveTo>
                  <a:cubicBezTo>
                    <a:pt x="1420727" y="1012777"/>
                    <a:pt x="1377213" y="762569"/>
                    <a:pt x="1369054" y="593950"/>
                  </a:cubicBezTo>
                  <a:cubicBezTo>
                    <a:pt x="1360895" y="449809"/>
                    <a:pt x="1369054" y="199600"/>
                    <a:pt x="1483279" y="126170"/>
                  </a:cubicBezTo>
                  <a:cubicBezTo>
                    <a:pt x="1445204" y="77216"/>
                    <a:pt x="1369054" y="58178"/>
                    <a:pt x="1311941" y="58178"/>
                  </a:cubicBezTo>
                  <a:cubicBezTo>
                    <a:pt x="1184117" y="58178"/>
                    <a:pt x="1121565" y="142488"/>
                    <a:pt x="1078050" y="205040"/>
                  </a:cubicBezTo>
                  <a:cubicBezTo>
                    <a:pt x="1064452" y="224077"/>
                    <a:pt x="846879" y="523239"/>
                    <a:pt x="846879" y="523239"/>
                  </a:cubicBezTo>
                  <a:cubicBezTo>
                    <a:pt x="846879" y="523239"/>
                    <a:pt x="667382" y="243115"/>
                    <a:pt x="645624" y="210479"/>
                  </a:cubicBezTo>
                  <a:cubicBezTo>
                    <a:pt x="615708" y="164245"/>
                    <a:pt x="555876" y="77216"/>
                    <a:pt x="455248" y="63617"/>
                  </a:cubicBezTo>
                  <a:cubicBezTo>
                    <a:pt x="411734" y="58178"/>
                    <a:pt x="297508" y="52739"/>
                    <a:pt x="234956" y="137048"/>
                  </a:cubicBezTo>
                  <a:cubicBezTo>
                    <a:pt x="341023" y="221357"/>
                    <a:pt x="338303" y="438930"/>
                    <a:pt x="316546" y="588511"/>
                  </a:cubicBezTo>
                  <a:cubicBezTo>
                    <a:pt x="248554" y="1031815"/>
                    <a:pt x="58178" y="1072610"/>
                    <a:pt x="58178" y="1072610"/>
                  </a:cubicBezTo>
                  <a:cubicBezTo>
                    <a:pt x="156086" y="1333696"/>
                    <a:pt x="403575" y="1230350"/>
                    <a:pt x="474286" y="1020936"/>
                  </a:cubicBezTo>
                  <a:cubicBezTo>
                    <a:pt x="520520" y="884953"/>
                    <a:pt x="550436" y="713615"/>
                    <a:pt x="555876" y="572193"/>
                  </a:cubicBezTo>
                  <a:lnTo>
                    <a:pt x="830561" y="993740"/>
                  </a:lnTo>
                  <a:cubicBezTo>
                    <a:pt x="830561" y="993740"/>
                    <a:pt x="1140602" y="574913"/>
                    <a:pt x="1140602" y="574913"/>
                  </a:cubicBezTo>
                  <a:cubicBezTo>
                    <a:pt x="1088929" y="1314659"/>
                    <a:pt x="1344577" y="1526792"/>
                    <a:pt x="1567589" y="1526792"/>
                  </a:cubicBezTo>
                  <a:cubicBezTo>
                    <a:pt x="1790601" y="1526792"/>
                    <a:pt x="1866751" y="1322818"/>
                    <a:pt x="1866751" y="1322818"/>
                  </a:cubicBezTo>
                  <a:cubicBezTo>
                    <a:pt x="1744367" y="1314659"/>
                    <a:pt x="1641019" y="1252107"/>
                    <a:pt x="1559430" y="1165078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2E073736-F168-4A00-9328-646B2C5108E3}"/>
                </a:ext>
              </a:extLst>
            </p:cNvPr>
            <p:cNvSpPr/>
            <p:nvPr/>
          </p:nvSpPr>
          <p:spPr bwMode="black">
            <a:xfrm>
              <a:off x="4792218" y="3234839"/>
              <a:ext cx="271966" cy="652717"/>
            </a:xfrm>
            <a:custGeom>
              <a:avLst/>
              <a:gdLst>
                <a:gd name="connsiteX0" fmla="*/ 88095 w 271965"/>
                <a:gd name="connsiteY0" fmla="*/ 120730 h 652717"/>
                <a:gd name="connsiteX1" fmla="*/ 93534 w 271965"/>
                <a:gd name="connsiteY1" fmla="*/ 153366 h 652717"/>
                <a:gd name="connsiteX2" fmla="*/ 93534 w 271965"/>
                <a:gd name="connsiteY2" fmla="*/ 544997 h 652717"/>
                <a:gd name="connsiteX3" fmla="*/ 156086 w 271965"/>
                <a:gd name="connsiteY3" fmla="*/ 604829 h 652717"/>
                <a:gd name="connsiteX4" fmla="*/ 221358 w 271965"/>
                <a:gd name="connsiteY4" fmla="*/ 544997 h 652717"/>
                <a:gd name="connsiteX5" fmla="*/ 221358 w 271965"/>
                <a:gd name="connsiteY5" fmla="*/ 194161 h 652717"/>
                <a:gd name="connsiteX6" fmla="*/ 210479 w 271965"/>
                <a:gd name="connsiteY6" fmla="*/ 109852 h 652717"/>
                <a:gd name="connsiteX7" fmla="*/ 118011 w 271965"/>
                <a:gd name="connsiteY7" fmla="*/ 58178 h 652717"/>
                <a:gd name="connsiteX8" fmla="*/ 58178 w 271965"/>
                <a:gd name="connsiteY8" fmla="*/ 88094 h 652717"/>
                <a:gd name="connsiteX9" fmla="*/ 88095 w 271965"/>
                <a:gd name="connsiteY9" fmla="*/ 120730 h 6527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71965" h="652717">
                  <a:moveTo>
                    <a:pt x="88095" y="120730"/>
                  </a:moveTo>
                  <a:cubicBezTo>
                    <a:pt x="90814" y="131609"/>
                    <a:pt x="90814" y="142487"/>
                    <a:pt x="93534" y="153366"/>
                  </a:cubicBezTo>
                  <a:cubicBezTo>
                    <a:pt x="93534" y="156086"/>
                    <a:pt x="93534" y="542277"/>
                    <a:pt x="93534" y="544997"/>
                  </a:cubicBezTo>
                  <a:cubicBezTo>
                    <a:pt x="93534" y="577632"/>
                    <a:pt x="123450" y="604829"/>
                    <a:pt x="156086" y="604829"/>
                  </a:cubicBezTo>
                  <a:cubicBezTo>
                    <a:pt x="188722" y="607548"/>
                    <a:pt x="221358" y="577632"/>
                    <a:pt x="221358" y="544997"/>
                  </a:cubicBezTo>
                  <a:cubicBezTo>
                    <a:pt x="221358" y="539557"/>
                    <a:pt x="221358" y="194161"/>
                    <a:pt x="221358" y="194161"/>
                  </a:cubicBezTo>
                  <a:cubicBezTo>
                    <a:pt x="221358" y="164245"/>
                    <a:pt x="224078" y="134329"/>
                    <a:pt x="210479" y="109852"/>
                  </a:cubicBezTo>
                  <a:cubicBezTo>
                    <a:pt x="196881" y="79935"/>
                    <a:pt x="158806" y="58178"/>
                    <a:pt x="118011" y="58178"/>
                  </a:cubicBezTo>
                  <a:cubicBezTo>
                    <a:pt x="79936" y="58178"/>
                    <a:pt x="58178" y="88094"/>
                    <a:pt x="58178" y="88094"/>
                  </a:cubicBezTo>
                  <a:cubicBezTo>
                    <a:pt x="58178" y="88094"/>
                    <a:pt x="77216" y="93534"/>
                    <a:pt x="88095" y="120730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/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1DCFEE5A-C6AC-4333-985E-27608B26E53A}"/>
                </a:ext>
              </a:extLst>
            </p:cNvPr>
            <p:cNvSpPr/>
            <p:nvPr/>
          </p:nvSpPr>
          <p:spPr bwMode="black">
            <a:xfrm>
              <a:off x="8751819" y="3234667"/>
              <a:ext cx="271966" cy="652717"/>
            </a:xfrm>
            <a:custGeom>
              <a:avLst/>
              <a:gdLst>
                <a:gd name="connsiteX0" fmla="*/ 191663 w 271965"/>
                <a:gd name="connsiteY0" fmla="*/ 542449 h 652717"/>
                <a:gd name="connsiteX1" fmla="*/ 186224 w 271965"/>
                <a:gd name="connsiteY1" fmla="*/ 509813 h 652717"/>
                <a:gd name="connsiteX2" fmla="*/ 186224 w 271965"/>
                <a:gd name="connsiteY2" fmla="*/ 118183 h 652717"/>
                <a:gd name="connsiteX3" fmla="*/ 123672 w 271965"/>
                <a:gd name="connsiteY3" fmla="*/ 58350 h 652717"/>
                <a:gd name="connsiteX4" fmla="*/ 58400 w 271965"/>
                <a:gd name="connsiteY4" fmla="*/ 118183 h 652717"/>
                <a:gd name="connsiteX5" fmla="*/ 58400 w 271965"/>
                <a:gd name="connsiteY5" fmla="*/ 469018 h 652717"/>
                <a:gd name="connsiteX6" fmla="*/ 69279 w 271965"/>
                <a:gd name="connsiteY6" fmla="*/ 553328 h 652717"/>
                <a:gd name="connsiteX7" fmla="*/ 161747 w 271965"/>
                <a:gd name="connsiteY7" fmla="*/ 605001 h 652717"/>
                <a:gd name="connsiteX8" fmla="*/ 221580 w 271965"/>
                <a:gd name="connsiteY8" fmla="*/ 575085 h 652717"/>
                <a:gd name="connsiteX9" fmla="*/ 191663 w 271965"/>
                <a:gd name="connsiteY9" fmla="*/ 542449 h 6527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71965" h="652717">
                  <a:moveTo>
                    <a:pt x="191663" y="542449"/>
                  </a:moveTo>
                  <a:cubicBezTo>
                    <a:pt x="188944" y="531570"/>
                    <a:pt x="186224" y="520692"/>
                    <a:pt x="186224" y="509813"/>
                  </a:cubicBezTo>
                  <a:cubicBezTo>
                    <a:pt x="186224" y="507093"/>
                    <a:pt x="186224" y="120902"/>
                    <a:pt x="186224" y="118183"/>
                  </a:cubicBezTo>
                  <a:cubicBezTo>
                    <a:pt x="186224" y="85547"/>
                    <a:pt x="156308" y="58350"/>
                    <a:pt x="123672" y="58350"/>
                  </a:cubicBezTo>
                  <a:cubicBezTo>
                    <a:pt x="91036" y="55631"/>
                    <a:pt x="58400" y="85547"/>
                    <a:pt x="58400" y="118183"/>
                  </a:cubicBezTo>
                  <a:cubicBezTo>
                    <a:pt x="58400" y="123622"/>
                    <a:pt x="58400" y="469018"/>
                    <a:pt x="58400" y="469018"/>
                  </a:cubicBezTo>
                  <a:cubicBezTo>
                    <a:pt x="58400" y="498934"/>
                    <a:pt x="55680" y="528851"/>
                    <a:pt x="69279" y="553328"/>
                  </a:cubicBezTo>
                  <a:cubicBezTo>
                    <a:pt x="82877" y="583244"/>
                    <a:pt x="120953" y="605001"/>
                    <a:pt x="161747" y="605001"/>
                  </a:cubicBezTo>
                  <a:cubicBezTo>
                    <a:pt x="199822" y="605001"/>
                    <a:pt x="221580" y="575085"/>
                    <a:pt x="221580" y="575085"/>
                  </a:cubicBezTo>
                  <a:cubicBezTo>
                    <a:pt x="221580" y="575085"/>
                    <a:pt x="202542" y="566926"/>
                    <a:pt x="191663" y="542449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4563CFDC-9123-44C0-870D-78468C1F63BC}"/>
                </a:ext>
              </a:extLst>
            </p:cNvPr>
            <p:cNvSpPr/>
            <p:nvPr/>
          </p:nvSpPr>
          <p:spPr bwMode="black">
            <a:xfrm>
              <a:off x="6320666" y="3416868"/>
              <a:ext cx="435145" cy="462341"/>
            </a:xfrm>
            <a:custGeom>
              <a:avLst/>
              <a:gdLst>
                <a:gd name="connsiteX0" fmla="*/ 302948 w 435145"/>
                <a:gd name="connsiteY0" fmla="*/ 74684 h 462341"/>
                <a:gd name="connsiteX1" fmla="*/ 186003 w 435145"/>
                <a:gd name="connsiteY1" fmla="*/ 148115 h 462341"/>
                <a:gd name="connsiteX2" fmla="*/ 186003 w 435145"/>
                <a:gd name="connsiteY2" fmla="*/ 148115 h 462341"/>
                <a:gd name="connsiteX3" fmla="*/ 186003 w 435145"/>
                <a:gd name="connsiteY3" fmla="*/ 115479 h 462341"/>
                <a:gd name="connsiteX4" fmla="*/ 123450 w 435145"/>
                <a:gd name="connsiteY4" fmla="*/ 58366 h 462341"/>
                <a:gd name="connsiteX5" fmla="*/ 58178 w 435145"/>
                <a:gd name="connsiteY5" fmla="*/ 115479 h 462341"/>
                <a:gd name="connsiteX6" fmla="*/ 58178 w 435145"/>
                <a:gd name="connsiteY6" fmla="*/ 362967 h 462341"/>
                <a:gd name="connsiteX7" fmla="*/ 120730 w 435145"/>
                <a:gd name="connsiteY7" fmla="*/ 422800 h 462341"/>
                <a:gd name="connsiteX8" fmla="*/ 186003 w 435145"/>
                <a:gd name="connsiteY8" fmla="*/ 362967 h 462341"/>
                <a:gd name="connsiteX9" fmla="*/ 186003 w 435145"/>
                <a:gd name="connsiteY9" fmla="*/ 213386 h 462341"/>
                <a:gd name="connsiteX10" fmla="*/ 186003 w 435145"/>
                <a:gd name="connsiteY10" fmla="*/ 213386 h 462341"/>
                <a:gd name="connsiteX11" fmla="*/ 229517 w 435145"/>
                <a:gd name="connsiteY11" fmla="*/ 161713 h 462341"/>
                <a:gd name="connsiteX12" fmla="*/ 259433 w 435145"/>
                <a:gd name="connsiteY12" fmla="*/ 194349 h 462341"/>
                <a:gd name="connsiteX13" fmla="*/ 259433 w 435145"/>
                <a:gd name="connsiteY13" fmla="*/ 362967 h 462341"/>
                <a:gd name="connsiteX14" fmla="*/ 321985 w 435145"/>
                <a:gd name="connsiteY14" fmla="*/ 422800 h 462341"/>
                <a:gd name="connsiteX15" fmla="*/ 387257 w 435145"/>
                <a:gd name="connsiteY15" fmla="*/ 362967 h 462341"/>
                <a:gd name="connsiteX16" fmla="*/ 387257 w 435145"/>
                <a:gd name="connsiteY16" fmla="*/ 273219 h 462341"/>
                <a:gd name="connsiteX17" fmla="*/ 302948 w 435145"/>
                <a:gd name="connsiteY17" fmla="*/ 74684 h 4623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435145" h="462341">
                  <a:moveTo>
                    <a:pt x="302948" y="74684"/>
                  </a:moveTo>
                  <a:cubicBezTo>
                    <a:pt x="234956" y="74684"/>
                    <a:pt x="196881" y="131797"/>
                    <a:pt x="186003" y="148115"/>
                  </a:cubicBezTo>
                  <a:lnTo>
                    <a:pt x="186003" y="148115"/>
                  </a:lnTo>
                  <a:cubicBezTo>
                    <a:pt x="186003" y="129077"/>
                    <a:pt x="186003" y="115479"/>
                    <a:pt x="186003" y="115479"/>
                  </a:cubicBezTo>
                  <a:cubicBezTo>
                    <a:pt x="186003" y="82843"/>
                    <a:pt x="156086" y="58366"/>
                    <a:pt x="123450" y="58366"/>
                  </a:cubicBezTo>
                  <a:cubicBezTo>
                    <a:pt x="90814" y="55646"/>
                    <a:pt x="58178" y="82843"/>
                    <a:pt x="58178" y="115479"/>
                  </a:cubicBezTo>
                  <a:cubicBezTo>
                    <a:pt x="58178" y="120918"/>
                    <a:pt x="58178" y="360248"/>
                    <a:pt x="58178" y="362967"/>
                  </a:cubicBezTo>
                  <a:cubicBezTo>
                    <a:pt x="58178" y="395603"/>
                    <a:pt x="88095" y="422800"/>
                    <a:pt x="120730" y="422800"/>
                  </a:cubicBezTo>
                  <a:cubicBezTo>
                    <a:pt x="153366" y="425519"/>
                    <a:pt x="186003" y="395603"/>
                    <a:pt x="186003" y="362967"/>
                  </a:cubicBezTo>
                  <a:cubicBezTo>
                    <a:pt x="186003" y="360248"/>
                    <a:pt x="186003" y="281378"/>
                    <a:pt x="186003" y="213386"/>
                  </a:cubicBezTo>
                  <a:lnTo>
                    <a:pt x="186003" y="213386"/>
                  </a:lnTo>
                  <a:cubicBezTo>
                    <a:pt x="191442" y="186190"/>
                    <a:pt x="205040" y="161713"/>
                    <a:pt x="229517" y="161713"/>
                  </a:cubicBezTo>
                  <a:cubicBezTo>
                    <a:pt x="259433" y="161713"/>
                    <a:pt x="259433" y="194349"/>
                    <a:pt x="259433" y="194349"/>
                  </a:cubicBezTo>
                  <a:lnTo>
                    <a:pt x="259433" y="362967"/>
                  </a:lnTo>
                  <a:cubicBezTo>
                    <a:pt x="259433" y="395603"/>
                    <a:pt x="289349" y="422800"/>
                    <a:pt x="321985" y="422800"/>
                  </a:cubicBezTo>
                  <a:cubicBezTo>
                    <a:pt x="354621" y="425519"/>
                    <a:pt x="387257" y="395603"/>
                    <a:pt x="387257" y="362967"/>
                  </a:cubicBezTo>
                  <a:lnTo>
                    <a:pt x="387257" y="273219"/>
                  </a:lnTo>
                  <a:cubicBezTo>
                    <a:pt x="387257" y="183470"/>
                    <a:pt x="395416" y="71964"/>
                    <a:pt x="302948" y="74684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01B8A7E1-2BD7-4F1D-8404-1D408ED84FA7}"/>
                </a:ext>
              </a:extLst>
            </p:cNvPr>
            <p:cNvSpPr/>
            <p:nvPr/>
          </p:nvSpPr>
          <p:spPr bwMode="black">
            <a:xfrm>
              <a:off x="7960620" y="3416868"/>
              <a:ext cx="435145" cy="462341"/>
            </a:xfrm>
            <a:custGeom>
              <a:avLst/>
              <a:gdLst>
                <a:gd name="connsiteX0" fmla="*/ 302948 w 435145"/>
                <a:gd name="connsiteY0" fmla="*/ 74684 h 462341"/>
                <a:gd name="connsiteX1" fmla="*/ 186002 w 435145"/>
                <a:gd name="connsiteY1" fmla="*/ 148115 h 462341"/>
                <a:gd name="connsiteX2" fmla="*/ 186002 w 435145"/>
                <a:gd name="connsiteY2" fmla="*/ 148115 h 462341"/>
                <a:gd name="connsiteX3" fmla="*/ 186002 w 435145"/>
                <a:gd name="connsiteY3" fmla="*/ 115479 h 462341"/>
                <a:gd name="connsiteX4" fmla="*/ 123450 w 435145"/>
                <a:gd name="connsiteY4" fmla="*/ 58366 h 462341"/>
                <a:gd name="connsiteX5" fmla="*/ 58178 w 435145"/>
                <a:gd name="connsiteY5" fmla="*/ 115479 h 462341"/>
                <a:gd name="connsiteX6" fmla="*/ 58178 w 435145"/>
                <a:gd name="connsiteY6" fmla="*/ 362967 h 462341"/>
                <a:gd name="connsiteX7" fmla="*/ 120730 w 435145"/>
                <a:gd name="connsiteY7" fmla="*/ 422800 h 462341"/>
                <a:gd name="connsiteX8" fmla="*/ 186002 w 435145"/>
                <a:gd name="connsiteY8" fmla="*/ 362967 h 462341"/>
                <a:gd name="connsiteX9" fmla="*/ 186002 w 435145"/>
                <a:gd name="connsiteY9" fmla="*/ 213386 h 462341"/>
                <a:gd name="connsiteX10" fmla="*/ 186002 w 435145"/>
                <a:gd name="connsiteY10" fmla="*/ 213386 h 462341"/>
                <a:gd name="connsiteX11" fmla="*/ 229517 w 435145"/>
                <a:gd name="connsiteY11" fmla="*/ 161713 h 462341"/>
                <a:gd name="connsiteX12" fmla="*/ 259433 w 435145"/>
                <a:gd name="connsiteY12" fmla="*/ 194349 h 462341"/>
                <a:gd name="connsiteX13" fmla="*/ 259433 w 435145"/>
                <a:gd name="connsiteY13" fmla="*/ 362967 h 462341"/>
                <a:gd name="connsiteX14" fmla="*/ 321985 w 435145"/>
                <a:gd name="connsiteY14" fmla="*/ 422800 h 462341"/>
                <a:gd name="connsiteX15" fmla="*/ 387257 w 435145"/>
                <a:gd name="connsiteY15" fmla="*/ 362967 h 462341"/>
                <a:gd name="connsiteX16" fmla="*/ 387257 w 435145"/>
                <a:gd name="connsiteY16" fmla="*/ 273219 h 462341"/>
                <a:gd name="connsiteX17" fmla="*/ 302948 w 435145"/>
                <a:gd name="connsiteY17" fmla="*/ 74684 h 4623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435145" h="462341">
                  <a:moveTo>
                    <a:pt x="302948" y="74684"/>
                  </a:moveTo>
                  <a:cubicBezTo>
                    <a:pt x="234956" y="74684"/>
                    <a:pt x="196881" y="131797"/>
                    <a:pt x="186002" y="148115"/>
                  </a:cubicBezTo>
                  <a:lnTo>
                    <a:pt x="186002" y="148115"/>
                  </a:lnTo>
                  <a:cubicBezTo>
                    <a:pt x="186002" y="129077"/>
                    <a:pt x="186002" y="115479"/>
                    <a:pt x="186002" y="115479"/>
                  </a:cubicBezTo>
                  <a:cubicBezTo>
                    <a:pt x="186002" y="82843"/>
                    <a:pt x="156086" y="58366"/>
                    <a:pt x="123450" y="58366"/>
                  </a:cubicBezTo>
                  <a:cubicBezTo>
                    <a:pt x="90814" y="55646"/>
                    <a:pt x="58178" y="82843"/>
                    <a:pt x="58178" y="115479"/>
                  </a:cubicBezTo>
                  <a:cubicBezTo>
                    <a:pt x="58178" y="120918"/>
                    <a:pt x="58178" y="360248"/>
                    <a:pt x="58178" y="362967"/>
                  </a:cubicBezTo>
                  <a:cubicBezTo>
                    <a:pt x="58178" y="395603"/>
                    <a:pt x="88095" y="422800"/>
                    <a:pt x="120730" y="422800"/>
                  </a:cubicBezTo>
                  <a:cubicBezTo>
                    <a:pt x="153366" y="425519"/>
                    <a:pt x="186002" y="395603"/>
                    <a:pt x="186002" y="362967"/>
                  </a:cubicBezTo>
                  <a:cubicBezTo>
                    <a:pt x="186002" y="360248"/>
                    <a:pt x="186002" y="281378"/>
                    <a:pt x="186002" y="213386"/>
                  </a:cubicBezTo>
                  <a:lnTo>
                    <a:pt x="186002" y="213386"/>
                  </a:lnTo>
                  <a:cubicBezTo>
                    <a:pt x="191442" y="186190"/>
                    <a:pt x="205040" y="161713"/>
                    <a:pt x="229517" y="161713"/>
                  </a:cubicBezTo>
                  <a:cubicBezTo>
                    <a:pt x="259433" y="161713"/>
                    <a:pt x="259433" y="194349"/>
                    <a:pt x="259433" y="194349"/>
                  </a:cubicBezTo>
                  <a:lnTo>
                    <a:pt x="259433" y="362967"/>
                  </a:lnTo>
                  <a:cubicBezTo>
                    <a:pt x="259433" y="395603"/>
                    <a:pt x="289349" y="422800"/>
                    <a:pt x="321985" y="422800"/>
                  </a:cubicBezTo>
                  <a:cubicBezTo>
                    <a:pt x="354621" y="425519"/>
                    <a:pt x="387257" y="395603"/>
                    <a:pt x="387257" y="362967"/>
                  </a:cubicBezTo>
                  <a:lnTo>
                    <a:pt x="387257" y="273219"/>
                  </a:lnTo>
                  <a:cubicBezTo>
                    <a:pt x="384537" y="183470"/>
                    <a:pt x="395416" y="71964"/>
                    <a:pt x="302948" y="74684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8ABA0EE5-67D1-4E8F-BF5A-4D9D5D1CAD38}"/>
                </a:ext>
              </a:extLst>
            </p:cNvPr>
            <p:cNvSpPr/>
            <p:nvPr/>
          </p:nvSpPr>
          <p:spPr bwMode="black">
            <a:xfrm>
              <a:off x="5020669" y="3416868"/>
              <a:ext cx="435145" cy="462341"/>
            </a:xfrm>
            <a:custGeom>
              <a:avLst/>
              <a:gdLst>
                <a:gd name="connsiteX0" fmla="*/ 302948 w 435145"/>
                <a:gd name="connsiteY0" fmla="*/ 74684 h 462341"/>
                <a:gd name="connsiteX1" fmla="*/ 186002 w 435145"/>
                <a:gd name="connsiteY1" fmla="*/ 148115 h 462341"/>
                <a:gd name="connsiteX2" fmla="*/ 186002 w 435145"/>
                <a:gd name="connsiteY2" fmla="*/ 148115 h 462341"/>
                <a:gd name="connsiteX3" fmla="*/ 186002 w 435145"/>
                <a:gd name="connsiteY3" fmla="*/ 115479 h 462341"/>
                <a:gd name="connsiteX4" fmla="*/ 123450 w 435145"/>
                <a:gd name="connsiteY4" fmla="*/ 58366 h 462341"/>
                <a:gd name="connsiteX5" fmla="*/ 58178 w 435145"/>
                <a:gd name="connsiteY5" fmla="*/ 115479 h 462341"/>
                <a:gd name="connsiteX6" fmla="*/ 58178 w 435145"/>
                <a:gd name="connsiteY6" fmla="*/ 362967 h 462341"/>
                <a:gd name="connsiteX7" fmla="*/ 120730 w 435145"/>
                <a:gd name="connsiteY7" fmla="*/ 422800 h 462341"/>
                <a:gd name="connsiteX8" fmla="*/ 186002 w 435145"/>
                <a:gd name="connsiteY8" fmla="*/ 362967 h 462341"/>
                <a:gd name="connsiteX9" fmla="*/ 186002 w 435145"/>
                <a:gd name="connsiteY9" fmla="*/ 213386 h 462341"/>
                <a:gd name="connsiteX10" fmla="*/ 186002 w 435145"/>
                <a:gd name="connsiteY10" fmla="*/ 213386 h 462341"/>
                <a:gd name="connsiteX11" fmla="*/ 229517 w 435145"/>
                <a:gd name="connsiteY11" fmla="*/ 161713 h 462341"/>
                <a:gd name="connsiteX12" fmla="*/ 259433 w 435145"/>
                <a:gd name="connsiteY12" fmla="*/ 194349 h 462341"/>
                <a:gd name="connsiteX13" fmla="*/ 259433 w 435145"/>
                <a:gd name="connsiteY13" fmla="*/ 362967 h 462341"/>
                <a:gd name="connsiteX14" fmla="*/ 321985 w 435145"/>
                <a:gd name="connsiteY14" fmla="*/ 422800 h 462341"/>
                <a:gd name="connsiteX15" fmla="*/ 387257 w 435145"/>
                <a:gd name="connsiteY15" fmla="*/ 362967 h 462341"/>
                <a:gd name="connsiteX16" fmla="*/ 387257 w 435145"/>
                <a:gd name="connsiteY16" fmla="*/ 273219 h 462341"/>
                <a:gd name="connsiteX17" fmla="*/ 302948 w 435145"/>
                <a:gd name="connsiteY17" fmla="*/ 74684 h 4623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435145" h="462341">
                  <a:moveTo>
                    <a:pt x="302948" y="74684"/>
                  </a:moveTo>
                  <a:cubicBezTo>
                    <a:pt x="234956" y="74684"/>
                    <a:pt x="196881" y="131797"/>
                    <a:pt x="186002" y="148115"/>
                  </a:cubicBezTo>
                  <a:lnTo>
                    <a:pt x="186002" y="148115"/>
                  </a:lnTo>
                  <a:cubicBezTo>
                    <a:pt x="186002" y="129077"/>
                    <a:pt x="186002" y="115479"/>
                    <a:pt x="186002" y="115479"/>
                  </a:cubicBezTo>
                  <a:cubicBezTo>
                    <a:pt x="186002" y="82843"/>
                    <a:pt x="156086" y="58366"/>
                    <a:pt x="123450" y="58366"/>
                  </a:cubicBezTo>
                  <a:cubicBezTo>
                    <a:pt x="90814" y="55646"/>
                    <a:pt x="58178" y="82843"/>
                    <a:pt x="58178" y="115479"/>
                  </a:cubicBezTo>
                  <a:cubicBezTo>
                    <a:pt x="58178" y="120918"/>
                    <a:pt x="58178" y="360248"/>
                    <a:pt x="58178" y="362967"/>
                  </a:cubicBezTo>
                  <a:cubicBezTo>
                    <a:pt x="58178" y="395603"/>
                    <a:pt x="88094" y="422800"/>
                    <a:pt x="120730" y="422800"/>
                  </a:cubicBezTo>
                  <a:cubicBezTo>
                    <a:pt x="153366" y="425519"/>
                    <a:pt x="186002" y="395603"/>
                    <a:pt x="186002" y="362967"/>
                  </a:cubicBezTo>
                  <a:cubicBezTo>
                    <a:pt x="186002" y="360248"/>
                    <a:pt x="186002" y="281378"/>
                    <a:pt x="186002" y="213386"/>
                  </a:cubicBezTo>
                  <a:lnTo>
                    <a:pt x="186002" y="213386"/>
                  </a:lnTo>
                  <a:cubicBezTo>
                    <a:pt x="191442" y="186190"/>
                    <a:pt x="205040" y="161713"/>
                    <a:pt x="229517" y="161713"/>
                  </a:cubicBezTo>
                  <a:cubicBezTo>
                    <a:pt x="259433" y="161713"/>
                    <a:pt x="259433" y="194349"/>
                    <a:pt x="259433" y="194349"/>
                  </a:cubicBezTo>
                  <a:lnTo>
                    <a:pt x="259433" y="362967"/>
                  </a:lnTo>
                  <a:cubicBezTo>
                    <a:pt x="259433" y="395603"/>
                    <a:pt x="289349" y="422800"/>
                    <a:pt x="321985" y="422800"/>
                  </a:cubicBezTo>
                  <a:cubicBezTo>
                    <a:pt x="354621" y="425519"/>
                    <a:pt x="387257" y="395603"/>
                    <a:pt x="387257" y="362967"/>
                  </a:cubicBezTo>
                  <a:lnTo>
                    <a:pt x="387257" y="273219"/>
                  </a:lnTo>
                  <a:cubicBezTo>
                    <a:pt x="384537" y="183470"/>
                    <a:pt x="395416" y="71964"/>
                    <a:pt x="302948" y="74684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D37F2F5D-5833-44F1-BABE-8832BA2B1A43}"/>
                </a:ext>
              </a:extLst>
            </p:cNvPr>
            <p:cNvSpPr/>
            <p:nvPr/>
          </p:nvSpPr>
          <p:spPr bwMode="black">
            <a:xfrm>
              <a:off x="7616289" y="3475234"/>
              <a:ext cx="364436" cy="364434"/>
            </a:xfrm>
            <a:custGeom>
              <a:avLst/>
              <a:gdLst>
                <a:gd name="connsiteX0" fmla="*/ 182218 w 364436"/>
                <a:gd name="connsiteY0" fmla="*/ 73431 h 364434"/>
                <a:gd name="connsiteX1" fmla="*/ 130544 w 364436"/>
                <a:gd name="connsiteY1" fmla="*/ 179499 h 364434"/>
                <a:gd name="connsiteX2" fmla="*/ 182218 w 364436"/>
                <a:gd name="connsiteY2" fmla="*/ 285565 h 364434"/>
                <a:gd name="connsiteX3" fmla="*/ 233891 w 364436"/>
                <a:gd name="connsiteY3" fmla="*/ 179499 h 364434"/>
                <a:gd name="connsiteX4" fmla="*/ 182218 w 364436"/>
                <a:gd name="connsiteY4" fmla="*/ 73431 h 364434"/>
                <a:gd name="connsiteX5" fmla="*/ 182219 w 364436"/>
                <a:gd name="connsiteY5" fmla="*/ 0 h 364434"/>
                <a:gd name="connsiteX6" fmla="*/ 364436 w 364436"/>
                <a:gd name="connsiteY6" fmla="*/ 182217 h 364434"/>
                <a:gd name="connsiteX7" fmla="*/ 182219 w 364436"/>
                <a:gd name="connsiteY7" fmla="*/ 364434 h 364434"/>
                <a:gd name="connsiteX8" fmla="*/ 0 w 364436"/>
                <a:gd name="connsiteY8" fmla="*/ 182217 h 364434"/>
                <a:gd name="connsiteX9" fmla="*/ 182219 w 364436"/>
                <a:gd name="connsiteY9" fmla="*/ 0 h 3644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64436" h="364434">
                  <a:moveTo>
                    <a:pt x="182218" y="73431"/>
                  </a:moveTo>
                  <a:cubicBezTo>
                    <a:pt x="152302" y="76151"/>
                    <a:pt x="130544" y="114226"/>
                    <a:pt x="130544" y="179499"/>
                  </a:cubicBezTo>
                  <a:cubicBezTo>
                    <a:pt x="130544" y="244770"/>
                    <a:pt x="146862" y="285565"/>
                    <a:pt x="182218" y="285565"/>
                  </a:cubicBezTo>
                  <a:cubicBezTo>
                    <a:pt x="217573" y="285565"/>
                    <a:pt x="233891" y="247490"/>
                    <a:pt x="233891" y="179499"/>
                  </a:cubicBezTo>
                  <a:cubicBezTo>
                    <a:pt x="233891" y="114226"/>
                    <a:pt x="212134" y="73431"/>
                    <a:pt x="182218" y="73431"/>
                  </a:cubicBezTo>
                  <a:close/>
                  <a:moveTo>
                    <a:pt x="182219" y="0"/>
                  </a:moveTo>
                  <a:cubicBezTo>
                    <a:pt x="282846" y="0"/>
                    <a:pt x="364436" y="81590"/>
                    <a:pt x="364436" y="182217"/>
                  </a:cubicBezTo>
                  <a:cubicBezTo>
                    <a:pt x="364436" y="282844"/>
                    <a:pt x="282846" y="364434"/>
                    <a:pt x="182219" y="364434"/>
                  </a:cubicBezTo>
                  <a:cubicBezTo>
                    <a:pt x="81591" y="364434"/>
                    <a:pt x="0" y="282844"/>
                    <a:pt x="0" y="182217"/>
                  </a:cubicBezTo>
                  <a:cubicBezTo>
                    <a:pt x="0" y="81590"/>
                    <a:pt x="81591" y="0"/>
                    <a:pt x="182219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F8640C8F-F66D-4A19-A56A-444FC12E8F3D}"/>
                </a:ext>
              </a:extLst>
            </p:cNvPr>
            <p:cNvSpPr/>
            <p:nvPr/>
          </p:nvSpPr>
          <p:spPr bwMode="black">
            <a:xfrm>
              <a:off x="6743101" y="3464184"/>
              <a:ext cx="372773" cy="375657"/>
            </a:xfrm>
            <a:custGeom>
              <a:avLst/>
              <a:gdLst>
                <a:gd name="connsiteX0" fmla="*/ 176958 w 372773"/>
                <a:gd name="connsiteY0" fmla="*/ 98080 h 375657"/>
                <a:gd name="connsiteX1" fmla="*/ 125284 w 372773"/>
                <a:gd name="connsiteY1" fmla="*/ 190548 h 375657"/>
                <a:gd name="connsiteX2" fmla="*/ 176958 w 372773"/>
                <a:gd name="connsiteY2" fmla="*/ 283017 h 375657"/>
                <a:gd name="connsiteX3" fmla="*/ 228631 w 372773"/>
                <a:gd name="connsiteY3" fmla="*/ 190548 h 375657"/>
                <a:gd name="connsiteX4" fmla="*/ 176958 w 372773"/>
                <a:gd name="connsiteY4" fmla="*/ 98080 h 375657"/>
                <a:gd name="connsiteX5" fmla="*/ 307501 w 372773"/>
                <a:gd name="connsiteY5" fmla="*/ 172 h 375657"/>
                <a:gd name="connsiteX6" fmla="*/ 372773 w 372773"/>
                <a:gd name="connsiteY6" fmla="*/ 62724 h 375657"/>
                <a:gd name="connsiteX7" fmla="*/ 372773 w 372773"/>
                <a:gd name="connsiteY7" fmla="*/ 312934 h 375657"/>
                <a:gd name="connsiteX8" fmla="*/ 302061 w 372773"/>
                <a:gd name="connsiteY8" fmla="*/ 375486 h 375657"/>
                <a:gd name="connsiteX9" fmla="*/ 239509 w 372773"/>
                <a:gd name="connsiteY9" fmla="*/ 326532 h 375657"/>
                <a:gd name="connsiteX10" fmla="*/ 179677 w 372773"/>
                <a:gd name="connsiteY10" fmla="*/ 370046 h 375657"/>
                <a:gd name="connsiteX11" fmla="*/ 70890 w 372773"/>
                <a:gd name="connsiteY11" fmla="*/ 353728 h 375657"/>
                <a:gd name="connsiteX12" fmla="*/ 128003 w 372773"/>
                <a:gd name="connsiteY12" fmla="*/ 11051 h 375657"/>
                <a:gd name="connsiteX13" fmla="*/ 236790 w 372773"/>
                <a:gd name="connsiteY13" fmla="*/ 70883 h 375657"/>
                <a:gd name="connsiteX14" fmla="*/ 236790 w 372773"/>
                <a:gd name="connsiteY14" fmla="*/ 62724 h 375657"/>
                <a:gd name="connsiteX15" fmla="*/ 307501 w 372773"/>
                <a:gd name="connsiteY15" fmla="*/ 172 h 3756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72773" h="375657">
                  <a:moveTo>
                    <a:pt x="176958" y="98080"/>
                  </a:moveTo>
                  <a:cubicBezTo>
                    <a:pt x="147042" y="100800"/>
                    <a:pt x="125284" y="133436"/>
                    <a:pt x="125284" y="190548"/>
                  </a:cubicBezTo>
                  <a:cubicBezTo>
                    <a:pt x="125284" y="247661"/>
                    <a:pt x="141602" y="283017"/>
                    <a:pt x="176958" y="283017"/>
                  </a:cubicBezTo>
                  <a:cubicBezTo>
                    <a:pt x="212314" y="283017"/>
                    <a:pt x="228631" y="247661"/>
                    <a:pt x="228631" y="190548"/>
                  </a:cubicBezTo>
                  <a:cubicBezTo>
                    <a:pt x="228631" y="133436"/>
                    <a:pt x="206874" y="98080"/>
                    <a:pt x="176958" y="98080"/>
                  </a:cubicBezTo>
                  <a:close/>
                  <a:moveTo>
                    <a:pt x="307501" y="172"/>
                  </a:moveTo>
                  <a:cubicBezTo>
                    <a:pt x="340137" y="172"/>
                    <a:pt x="372773" y="30088"/>
                    <a:pt x="372773" y="62724"/>
                  </a:cubicBezTo>
                  <a:cubicBezTo>
                    <a:pt x="372773" y="65444"/>
                    <a:pt x="372773" y="307494"/>
                    <a:pt x="372773" y="312934"/>
                  </a:cubicBezTo>
                  <a:cubicBezTo>
                    <a:pt x="370053" y="348289"/>
                    <a:pt x="337417" y="378205"/>
                    <a:pt x="302061" y="375486"/>
                  </a:cubicBezTo>
                  <a:cubicBezTo>
                    <a:pt x="274865" y="372766"/>
                    <a:pt x="247668" y="353728"/>
                    <a:pt x="239509" y="326532"/>
                  </a:cubicBezTo>
                  <a:cubicBezTo>
                    <a:pt x="225911" y="348289"/>
                    <a:pt x="198715" y="364607"/>
                    <a:pt x="179677" y="370046"/>
                  </a:cubicBezTo>
                  <a:cubicBezTo>
                    <a:pt x="147041" y="378205"/>
                    <a:pt x="100807" y="372766"/>
                    <a:pt x="70890" y="353728"/>
                  </a:cubicBezTo>
                  <a:cubicBezTo>
                    <a:pt x="-35177" y="285737"/>
                    <a:pt x="-27018" y="11051"/>
                    <a:pt x="128003" y="11051"/>
                  </a:cubicBezTo>
                  <a:cubicBezTo>
                    <a:pt x="185116" y="11051"/>
                    <a:pt x="220471" y="49126"/>
                    <a:pt x="236790" y="70883"/>
                  </a:cubicBezTo>
                  <a:cubicBezTo>
                    <a:pt x="236790" y="70883"/>
                    <a:pt x="236790" y="65444"/>
                    <a:pt x="236790" y="62724"/>
                  </a:cubicBezTo>
                  <a:cubicBezTo>
                    <a:pt x="239509" y="27369"/>
                    <a:pt x="272145" y="-2547"/>
                    <a:pt x="307501" y="172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29F3D3D9-0835-4431-AB56-A3669FC05997}"/>
                </a:ext>
              </a:extLst>
            </p:cNvPr>
            <p:cNvSpPr/>
            <p:nvPr/>
          </p:nvSpPr>
          <p:spPr bwMode="black">
            <a:xfrm>
              <a:off x="8380335" y="3464184"/>
              <a:ext cx="372772" cy="375657"/>
            </a:xfrm>
            <a:custGeom>
              <a:avLst/>
              <a:gdLst>
                <a:gd name="connsiteX0" fmla="*/ 176957 w 372772"/>
                <a:gd name="connsiteY0" fmla="*/ 98080 h 375657"/>
                <a:gd name="connsiteX1" fmla="*/ 125282 w 372772"/>
                <a:gd name="connsiteY1" fmla="*/ 190548 h 375657"/>
                <a:gd name="connsiteX2" fmla="*/ 176957 w 372772"/>
                <a:gd name="connsiteY2" fmla="*/ 283017 h 375657"/>
                <a:gd name="connsiteX3" fmla="*/ 228630 w 372772"/>
                <a:gd name="connsiteY3" fmla="*/ 190548 h 375657"/>
                <a:gd name="connsiteX4" fmla="*/ 176957 w 372772"/>
                <a:gd name="connsiteY4" fmla="*/ 98080 h 375657"/>
                <a:gd name="connsiteX5" fmla="*/ 307501 w 372772"/>
                <a:gd name="connsiteY5" fmla="*/ 172 h 375657"/>
                <a:gd name="connsiteX6" fmla="*/ 372772 w 372772"/>
                <a:gd name="connsiteY6" fmla="*/ 62724 h 375657"/>
                <a:gd name="connsiteX7" fmla="*/ 372772 w 372772"/>
                <a:gd name="connsiteY7" fmla="*/ 312934 h 375657"/>
                <a:gd name="connsiteX8" fmla="*/ 302062 w 372772"/>
                <a:gd name="connsiteY8" fmla="*/ 375486 h 375657"/>
                <a:gd name="connsiteX9" fmla="*/ 239509 w 372772"/>
                <a:gd name="connsiteY9" fmla="*/ 326532 h 375657"/>
                <a:gd name="connsiteX10" fmla="*/ 179677 w 372772"/>
                <a:gd name="connsiteY10" fmla="*/ 370046 h 375657"/>
                <a:gd name="connsiteX11" fmla="*/ 70890 w 372772"/>
                <a:gd name="connsiteY11" fmla="*/ 353728 h 375657"/>
                <a:gd name="connsiteX12" fmla="*/ 128002 w 372772"/>
                <a:gd name="connsiteY12" fmla="*/ 11051 h 375657"/>
                <a:gd name="connsiteX13" fmla="*/ 236790 w 372772"/>
                <a:gd name="connsiteY13" fmla="*/ 70883 h 375657"/>
                <a:gd name="connsiteX14" fmla="*/ 236790 w 372772"/>
                <a:gd name="connsiteY14" fmla="*/ 62724 h 375657"/>
                <a:gd name="connsiteX15" fmla="*/ 307501 w 372772"/>
                <a:gd name="connsiteY15" fmla="*/ 172 h 3756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72772" h="375657">
                  <a:moveTo>
                    <a:pt x="176957" y="98080"/>
                  </a:moveTo>
                  <a:cubicBezTo>
                    <a:pt x="147039" y="100800"/>
                    <a:pt x="125282" y="133436"/>
                    <a:pt x="125282" y="190548"/>
                  </a:cubicBezTo>
                  <a:cubicBezTo>
                    <a:pt x="125282" y="247661"/>
                    <a:pt x="141600" y="283017"/>
                    <a:pt x="176957" y="283017"/>
                  </a:cubicBezTo>
                  <a:cubicBezTo>
                    <a:pt x="212312" y="283017"/>
                    <a:pt x="228630" y="247661"/>
                    <a:pt x="228630" y="190548"/>
                  </a:cubicBezTo>
                  <a:cubicBezTo>
                    <a:pt x="228630" y="133436"/>
                    <a:pt x="206873" y="98080"/>
                    <a:pt x="176957" y="98080"/>
                  </a:cubicBezTo>
                  <a:close/>
                  <a:moveTo>
                    <a:pt x="307501" y="172"/>
                  </a:moveTo>
                  <a:cubicBezTo>
                    <a:pt x="340137" y="172"/>
                    <a:pt x="372772" y="30088"/>
                    <a:pt x="372772" y="62724"/>
                  </a:cubicBezTo>
                  <a:cubicBezTo>
                    <a:pt x="372772" y="65444"/>
                    <a:pt x="372772" y="307494"/>
                    <a:pt x="372772" y="312934"/>
                  </a:cubicBezTo>
                  <a:cubicBezTo>
                    <a:pt x="370053" y="348289"/>
                    <a:pt x="337417" y="378205"/>
                    <a:pt x="302062" y="375486"/>
                  </a:cubicBezTo>
                  <a:cubicBezTo>
                    <a:pt x="274865" y="372766"/>
                    <a:pt x="247668" y="353728"/>
                    <a:pt x="239509" y="326532"/>
                  </a:cubicBezTo>
                  <a:cubicBezTo>
                    <a:pt x="228630" y="348289"/>
                    <a:pt x="198714" y="364607"/>
                    <a:pt x="179677" y="370046"/>
                  </a:cubicBezTo>
                  <a:cubicBezTo>
                    <a:pt x="147040" y="378205"/>
                    <a:pt x="100806" y="372766"/>
                    <a:pt x="70890" y="353728"/>
                  </a:cubicBezTo>
                  <a:cubicBezTo>
                    <a:pt x="-35177" y="285737"/>
                    <a:pt x="-27018" y="11051"/>
                    <a:pt x="128002" y="11051"/>
                  </a:cubicBezTo>
                  <a:cubicBezTo>
                    <a:pt x="185116" y="11051"/>
                    <a:pt x="220472" y="49126"/>
                    <a:pt x="236790" y="70883"/>
                  </a:cubicBezTo>
                  <a:cubicBezTo>
                    <a:pt x="236790" y="70883"/>
                    <a:pt x="236790" y="65444"/>
                    <a:pt x="236790" y="62724"/>
                  </a:cubicBezTo>
                  <a:cubicBezTo>
                    <a:pt x="239509" y="27369"/>
                    <a:pt x="272145" y="-2547"/>
                    <a:pt x="307501" y="172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/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5459FF6A-EFB2-4212-B43A-C0336DE9D2CB}"/>
                </a:ext>
              </a:extLst>
            </p:cNvPr>
            <p:cNvSpPr/>
            <p:nvPr/>
          </p:nvSpPr>
          <p:spPr bwMode="black">
            <a:xfrm>
              <a:off x="7389492" y="3444253"/>
              <a:ext cx="217573" cy="435145"/>
            </a:xfrm>
            <a:custGeom>
              <a:avLst/>
              <a:gdLst>
                <a:gd name="connsiteX0" fmla="*/ 186002 w 217572"/>
                <a:gd name="connsiteY0" fmla="*/ 118011 h 435144"/>
                <a:gd name="connsiteX1" fmla="*/ 128890 w 217572"/>
                <a:gd name="connsiteY1" fmla="*/ 58178 h 435144"/>
                <a:gd name="connsiteX2" fmla="*/ 123450 w 217572"/>
                <a:gd name="connsiteY2" fmla="*/ 58178 h 435144"/>
                <a:gd name="connsiteX3" fmla="*/ 58178 w 217572"/>
                <a:gd name="connsiteY3" fmla="*/ 115291 h 435144"/>
                <a:gd name="connsiteX4" fmla="*/ 58178 w 217572"/>
                <a:gd name="connsiteY4" fmla="*/ 232236 h 435144"/>
                <a:gd name="connsiteX5" fmla="*/ 58178 w 217572"/>
                <a:gd name="connsiteY5" fmla="*/ 232236 h 435144"/>
                <a:gd name="connsiteX6" fmla="*/ 58178 w 217572"/>
                <a:gd name="connsiteY6" fmla="*/ 335583 h 435144"/>
                <a:gd name="connsiteX7" fmla="*/ 115291 w 217572"/>
                <a:gd name="connsiteY7" fmla="*/ 395415 h 435144"/>
                <a:gd name="connsiteX8" fmla="*/ 120730 w 217572"/>
                <a:gd name="connsiteY8" fmla="*/ 395415 h 435144"/>
                <a:gd name="connsiteX9" fmla="*/ 186002 w 217572"/>
                <a:gd name="connsiteY9" fmla="*/ 338303 h 435144"/>
                <a:gd name="connsiteX10" fmla="*/ 186002 w 217572"/>
                <a:gd name="connsiteY10" fmla="*/ 240395 h 435144"/>
                <a:gd name="connsiteX11" fmla="*/ 186002 w 217572"/>
                <a:gd name="connsiteY11" fmla="*/ 240395 h 435144"/>
                <a:gd name="connsiteX12" fmla="*/ 186002 w 217572"/>
                <a:gd name="connsiteY12" fmla="*/ 118011 h 4351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17572" h="435144">
                  <a:moveTo>
                    <a:pt x="186002" y="118011"/>
                  </a:moveTo>
                  <a:cubicBezTo>
                    <a:pt x="183283" y="85375"/>
                    <a:pt x="158806" y="60898"/>
                    <a:pt x="128890" y="58178"/>
                  </a:cubicBezTo>
                  <a:cubicBezTo>
                    <a:pt x="126170" y="58178"/>
                    <a:pt x="126170" y="58178"/>
                    <a:pt x="123450" y="58178"/>
                  </a:cubicBezTo>
                  <a:cubicBezTo>
                    <a:pt x="96254" y="58178"/>
                    <a:pt x="58178" y="82655"/>
                    <a:pt x="58178" y="115291"/>
                  </a:cubicBezTo>
                  <a:lnTo>
                    <a:pt x="58178" y="232236"/>
                  </a:lnTo>
                  <a:lnTo>
                    <a:pt x="58178" y="232236"/>
                  </a:lnTo>
                  <a:cubicBezTo>
                    <a:pt x="58178" y="270311"/>
                    <a:pt x="58178" y="335583"/>
                    <a:pt x="58178" y="335583"/>
                  </a:cubicBezTo>
                  <a:cubicBezTo>
                    <a:pt x="60898" y="368219"/>
                    <a:pt x="85375" y="392696"/>
                    <a:pt x="115291" y="395415"/>
                  </a:cubicBezTo>
                  <a:cubicBezTo>
                    <a:pt x="118011" y="395415"/>
                    <a:pt x="118011" y="395415"/>
                    <a:pt x="120730" y="395415"/>
                  </a:cubicBezTo>
                  <a:cubicBezTo>
                    <a:pt x="147927" y="395415"/>
                    <a:pt x="186002" y="370938"/>
                    <a:pt x="186002" y="338303"/>
                  </a:cubicBezTo>
                  <a:lnTo>
                    <a:pt x="186002" y="240395"/>
                  </a:lnTo>
                  <a:lnTo>
                    <a:pt x="186002" y="240395"/>
                  </a:lnTo>
                  <a:cubicBezTo>
                    <a:pt x="186002" y="202320"/>
                    <a:pt x="186002" y="118011"/>
                    <a:pt x="186002" y="118011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74978AB3-2FF3-4E83-A726-15684535659B}"/>
                </a:ext>
              </a:extLst>
            </p:cNvPr>
            <p:cNvSpPr/>
            <p:nvPr/>
          </p:nvSpPr>
          <p:spPr bwMode="black">
            <a:xfrm>
              <a:off x="7392212" y="3280901"/>
              <a:ext cx="217573" cy="217572"/>
            </a:xfrm>
            <a:custGeom>
              <a:avLst/>
              <a:gdLst>
                <a:gd name="connsiteX0" fmla="*/ 183282 w 217572"/>
                <a:gd name="connsiteY0" fmla="*/ 120902 h 217572"/>
                <a:gd name="connsiteX1" fmla="*/ 120730 w 217572"/>
                <a:gd name="connsiteY1" fmla="*/ 183454 h 217572"/>
                <a:gd name="connsiteX2" fmla="*/ 58178 w 217572"/>
                <a:gd name="connsiteY2" fmla="*/ 120902 h 217572"/>
                <a:gd name="connsiteX3" fmla="*/ 120730 w 217572"/>
                <a:gd name="connsiteY3" fmla="*/ 58350 h 217572"/>
                <a:gd name="connsiteX4" fmla="*/ 183282 w 217572"/>
                <a:gd name="connsiteY4" fmla="*/ 120902 h 2175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17572" h="217572">
                  <a:moveTo>
                    <a:pt x="183282" y="120902"/>
                  </a:moveTo>
                  <a:cubicBezTo>
                    <a:pt x="183282" y="156258"/>
                    <a:pt x="156086" y="183454"/>
                    <a:pt x="120730" y="183454"/>
                  </a:cubicBezTo>
                  <a:cubicBezTo>
                    <a:pt x="85375" y="183454"/>
                    <a:pt x="58178" y="156258"/>
                    <a:pt x="58178" y="120902"/>
                  </a:cubicBezTo>
                  <a:cubicBezTo>
                    <a:pt x="58178" y="85547"/>
                    <a:pt x="85375" y="58350"/>
                    <a:pt x="120730" y="58350"/>
                  </a:cubicBezTo>
                  <a:cubicBezTo>
                    <a:pt x="153366" y="55630"/>
                    <a:pt x="183282" y="85547"/>
                    <a:pt x="183282" y="120902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1775C8B2-59D8-4C2D-9845-13B0ECF05750}"/>
                </a:ext>
              </a:extLst>
            </p:cNvPr>
            <p:cNvSpPr/>
            <p:nvPr/>
          </p:nvSpPr>
          <p:spPr bwMode="black">
            <a:xfrm>
              <a:off x="6005186" y="3416884"/>
              <a:ext cx="380752" cy="462341"/>
            </a:xfrm>
            <a:custGeom>
              <a:avLst/>
              <a:gdLst>
                <a:gd name="connsiteX0" fmla="*/ 270312 w 380752"/>
                <a:gd name="connsiteY0" fmla="*/ 69229 h 462341"/>
                <a:gd name="connsiteX1" fmla="*/ 188722 w 380752"/>
                <a:gd name="connsiteY1" fmla="*/ 134501 h 462341"/>
                <a:gd name="connsiteX2" fmla="*/ 188722 w 380752"/>
                <a:gd name="connsiteY2" fmla="*/ 118183 h 462341"/>
                <a:gd name="connsiteX3" fmla="*/ 126170 w 380752"/>
                <a:gd name="connsiteY3" fmla="*/ 58350 h 462341"/>
                <a:gd name="connsiteX4" fmla="*/ 58178 w 380752"/>
                <a:gd name="connsiteY4" fmla="*/ 118183 h 462341"/>
                <a:gd name="connsiteX5" fmla="*/ 58178 w 380752"/>
                <a:gd name="connsiteY5" fmla="*/ 210651 h 462341"/>
                <a:gd name="connsiteX6" fmla="*/ 58178 w 380752"/>
                <a:gd name="connsiteY6" fmla="*/ 365671 h 462341"/>
                <a:gd name="connsiteX7" fmla="*/ 58178 w 380752"/>
                <a:gd name="connsiteY7" fmla="*/ 365671 h 462341"/>
                <a:gd name="connsiteX8" fmla="*/ 120730 w 380752"/>
                <a:gd name="connsiteY8" fmla="*/ 425504 h 462341"/>
                <a:gd name="connsiteX9" fmla="*/ 186002 w 380752"/>
                <a:gd name="connsiteY9" fmla="*/ 365671 h 462341"/>
                <a:gd name="connsiteX10" fmla="*/ 186002 w 380752"/>
                <a:gd name="connsiteY10" fmla="*/ 365671 h 462341"/>
                <a:gd name="connsiteX11" fmla="*/ 186002 w 380752"/>
                <a:gd name="connsiteY11" fmla="*/ 210651 h 462341"/>
                <a:gd name="connsiteX12" fmla="*/ 215919 w 380752"/>
                <a:gd name="connsiteY12" fmla="*/ 158978 h 462341"/>
                <a:gd name="connsiteX13" fmla="*/ 275751 w 380752"/>
                <a:gd name="connsiteY13" fmla="*/ 221530 h 462341"/>
                <a:gd name="connsiteX14" fmla="*/ 270312 w 380752"/>
                <a:gd name="connsiteY14" fmla="*/ 69229 h 4623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80752" h="462341">
                  <a:moveTo>
                    <a:pt x="270312" y="69229"/>
                  </a:moveTo>
                  <a:cubicBezTo>
                    <a:pt x="232236" y="71949"/>
                    <a:pt x="213199" y="99145"/>
                    <a:pt x="188722" y="134501"/>
                  </a:cubicBezTo>
                  <a:cubicBezTo>
                    <a:pt x="188722" y="134501"/>
                    <a:pt x="188722" y="118183"/>
                    <a:pt x="188722" y="118183"/>
                  </a:cubicBezTo>
                  <a:cubicBezTo>
                    <a:pt x="188722" y="85547"/>
                    <a:pt x="158806" y="58350"/>
                    <a:pt x="126170" y="58350"/>
                  </a:cubicBezTo>
                  <a:cubicBezTo>
                    <a:pt x="93534" y="55631"/>
                    <a:pt x="60898" y="85547"/>
                    <a:pt x="58178" y="118183"/>
                  </a:cubicBezTo>
                  <a:lnTo>
                    <a:pt x="58178" y="210651"/>
                  </a:lnTo>
                  <a:lnTo>
                    <a:pt x="58178" y="365671"/>
                  </a:lnTo>
                  <a:lnTo>
                    <a:pt x="58178" y="365671"/>
                  </a:lnTo>
                  <a:cubicBezTo>
                    <a:pt x="58178" y="398307"/>
                    <a:pt x="88094" y="425504"/>
                    <a:pt x="120730" y="425504"/>
                  </a:cubicBezTo>
                  <a:cubicBezTo>
                    <a:pt x="153366" y="428224"/>
                    <a:pt x="186002" y="398307"/>
                    <a:pt x="186002" y="365671"/>
                  </a:cubicBezTo>
                  <a:lnTo>
                    <a:pt x="186002" y="365671"/>
                  </a:lnTo>
                  <a:lnTo>
                    <a:pt x="186002" y="210651"/>
                  </a:lnTo>
                  <a:cubicBezTo>
                    <a:pt x="188722" y="188894"/>
                    <a:pt x="196881" y="158978"/>
                    <a:pt x="215919" y="158978"/>
                  </a:cubicBezTo>
                  <a:cubicBezTo>
                    <a:pt x="243115" y="158978"/>
                    <a:pt x="215919" y="221530"/>
                    <a:pt x="275751" y="221530"/>
                  </a:cubicBezTo>
                  <a:cubicBezTo>
                    <a:pt x="362780" y="221530"/>
                    <a:pt x="373658" y="63790"/>
                    <a:pt x="270312" y="69229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/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29B0A0CC-298A-4DFD-BFEC-A12F873D80B1}"/>
                </a:ext>
              </a:extLst>
            </p:cNvPr>
            <p:cNvSpPr/>
            <p:nvPr/>
          </p:nvSpPr>
          <p:spPr bwMode="black">
            <a:xfrm>
              <a:off x="5693490" y="3475234"/>
              <a:ext cx="337238" cy="364434"/>
            </a:xfrm>
            <a:custGeom>
              <a:avLst/>
              <a:gdLst>
                <a:gd name="connsiteX0" fmla="*/ 180433 w 337238"/>
                <a:gd name="connsiteY0" fmla="*/ 73984 h 364434"/>
                <a:gd name="connsiteX1" fmla="*/ 163180 w 337238"/>
                <a:gd name="connsiteY1" fmla="*/ 78870 h 364434"/>
                <a:gd name="connsiteX2" fmla="*/ 125105 w 337238"/>
                <a:gd name="connsiteY2" fmla="*/ 160461 h 364434"/>
                <a:gd name="connsiteX3" fmla="*/ 171339 w 337238"/>
                <a:gd name="connsiteY3" fmla="*/ 163180 h 364434"/>
                <a:gd name="connsiteX4" fmla="*/ 214854 w 337238"/>
                <a:gd name="connsiteY4" fmla="*/ 108787 h 364434"/>
                <a:gd name="connsiteX5" fmla="*/ 180433 w 337238"/>
                <a:gd name="connsiteY5" fmla="*/ 73984 h 364434"/>
                <a:gd name="connsiteX6" fmla="*/ 174059 w 337238"/>
                <a:gd name="connsiteY6" fmla="*/ 0 h 364434"/>
                <a:gd name="connsiteX7" fmla="*/ 337238 w 337238"/>
                <a:gd name="connsiteY7" fmla="*/ 119665 h 364434"/>
                <a:gd name="connsiteX8" fmla="*/ 133264 w 337238"/>
                <a:gd name="connsiteY8" fmla="*/ 217573 h 364434"/>
                <a:gd name="connsiteX9" fmla="*/ 225732 w 337238"/>
                <a:gd name="connsiteY9" fmla="*/ 277405 h 364434"/>
                <a:gd name="connsiteX10" fmla="*/ 320920 w 337238"/>
                <a:gd name="connsiteY10" fmla="*/ 250208 h 364434"/>
                <a:gd name="connsiteX11" fmla="*/ 174059 w 337238"/>
                <a:gd name="connsiteY11" fmla="*/ 364434 h 364434"/>
                <a:gd name="connsiteX12" fmla="*/ 0 w 337238"/>
                <a:gd name="connsiteY12" fmla="*/ 184937 h 364434"/>
                <a:gd name="connsiteX13" fmla="*/ 174059 w 337238"/>
                <a:gd name="connsiteY13" fmla="*/ 0 h 3644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37238" h="364434">
                  <a:moveTo>
                    <a:pt x="180433" y="73984"/>
                  </a:moveTo>
                  <a:cubicBezTo>
                    <a:pt x="174569" y="73941"/>
                    <a:pt x="168620" y="75471"/>
                    <a:pt x="163180" y="78870"/>
                  </a:cubicBezTo>
                  <a:cubicBezTo>
                    <a:pt x="135984" y="95189"/>
                    <a:pt x="127825" y="130544"/>
                    <a:pt x="125105" y="160461"/>
                  </a:cubicBezTo>
                  <a:cubicBezTo>
                    <a:pt x="125105" y="163180"/>
                    <a:pt x="168620" y="160461"/>
                    <a:pt x="171339" y="163180"/>
                  </a:cubicBezTo>
                  <a:cubicBezTo>
                    <a:pt x="195816" y="157741"/>
                    <a:pt x="214854" y="135984"/>
                    <a:pt x="214854" y="108787"/>
                  </a:cubicBezTo>
                  <a:cubicBezTo>
                    <a:pt x="214854" y="88389"/>
                    <a:pt x="198026" y="74111"/>
                    <a:pt x="180433" y="73984"/>
                  </a:cubicBezTo>
                  <a:close/>
                  <a:moveTo>
                    <a:pt x="174059" y="0"/>
                  </a:moveTo>
                  <a:cubicBezTo>
                    <a:pt x="233891" y="0"/>
                    <a:pt x="337238" y="29916"/>
                    <a:pt x="337238" y="119665"/>
                  </a:cubicBezTo>
                  <a:cubicBezTo>
                    <a:pt x="337238" y="209414"/>
                    <a:pt x="244770" y="217573"/>
                    <a:pt x="133264" y="217573"/>
                  </a:cubicBezTo>
                  <a:cubicBezTo>
                    <a:pt x="133264" y="217573"/>
                    <a:pt x="149581" y="277405"/>
                    <a:pt x="225732" y="277405"/>
                  </a:cubicBezTo>
                  <a:cubicBezTo>
                    <a:pt x="301883" y="277405"/>
                    <a:pt x="320920" y="250208"/>
                    <a:pt x="320920" y="250208"/>
                  </a:cubicBezTo>
                  <a:cubicBezTo>
                    <a:pt x="320920" y="250208"/>
                    <a:pt x="315481" y="364434"/>
                    <a:pt x="174059" y="364434"/>
                  </a:cubicBezTo>
                  <a:cubicBezTo>
                    <a:pt x="95188" y="364434"/>
                    <a:pt x="0" y="304602"/>
                    <a:pt x="0" y="184937"/>
                  </a:cubicBezTo>
                  <a:cubicBezTo>
                    <a:pt x="0" y="78870"/>
                    <a:pt x="73431" y="0"/>
                    <a:pt x="174059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/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12AD854B-D44D-4BEE-B99F-CADCBCD8DCCD}"/>
                </a:ext>
              </a:extLst>
            </p:cNvPr>
            <p:cNvSpPr/>
            <p:nvPr/>
          </p:nvSpPr>
          <p:spPr bwMode="black">
            <a:xfrm>
              <a:off x="5376945" y="3338014"/>
              <a:ext cx="353556" cy="543931"/>
            </a:xfrm>
            <a:custGeom>
              <a:avLst/>
              <a:gdLst>
                <a:gd name="connsiteX0" fmla="*/ 311107 w 353555"/>
                <a:gd name="connsiteY0" fmla="*/ 433663 h 543931"/>
                <a:gd name="connsiteX1" fmla="*/ 215919 w 353555"/>
                <a:gd name="connsiteY1" fmla="*/ 501654 h 543931"/>
                <a:gd name="connsiteX2" fmla="*/ 98973 w 353555"/>
                <a:gd name="connsiteY2" fmla="*/ 392868 h 543931"/>
                <a:gd name="connsiteX3" fmla="*/ 98973 w 353555"/>
                <a:gd name="connsiteY3" fmla="*/ 221530 h 543931"/>
                <a:gd name="connsiteX4" fmla="*/ 82655 w 353555"/>
                <a:gd name="connsiteY4" fmla="*/ 221530 h 543931"/>
                <a:gd name="connsiteX5" fmla="*/ 58178 w 353555"/>
                <a:gd name="connsiteY5" fmla="*/ 191614 h 543931"/>
                <a:gd name="connsiteX6" fmla="*/ 85375 w 353555"/>
                <a:gd name="connsiteY6" fmla="*/ 164417 h 543931"/>
                <a:gd name="connsiteX7" fmla="*/ 101693 w 353555"/>
                <a:gd name="connsiteY7" fmla="*/ 164417 h 543931"/>
                <a:gd name="connsiteX8" fmla="*/ 101693 w 353555"/>
                <a:gd name="connsiteY8" fmla="*/ 118183 h 543931"/>
                <a:gd name="connsiteX9" fmla="*/ 166965 w 353555"/>
                <a:gd name="connsiteY9" fmla="*/ 58350 h 543931"/>
                <a:gd name="connsiteX10" fmla="*/ 229517 w 353555"/>
                <a:gd name="connsiteY10" fmla="*/ 118183 h 543931"/>
                <a:gd name="connsiteX11" fmla="*/ 229517 w 353555"/>
                <a:gd name="connsiteY11" fmla="*/ 118183 h 543931"/>
                <a:gd name="connsiteX12" fmla="*/ 229517 w 353555"/>
                <a:gd name="connsiteY12" fmla="*/ 164417 h 543931"/>
                <a:gd name="connsiteX13" fmla="*/ 283910 w 353555"/>
                <a:gd name="connsiteY13" fmla="*/ 164417 h 543931"/>
                <a:gd name="connsiteX14" fmla="*/ 308387 w 353555"/>
                <a:gd name="connsiteY14" fmla="*/ 194333 h 543931"/>
                <a:gd name="connsiteX15" fmla="*/ 281190 w 353555"/>
                <a:gd name="connsiteY15" fmla="*/ 221530 h 543931"/>
                <a:gd name="connsiteX16" fmla="*/ 229517 w 353555"/>
                <a:gd name="connsiteY16" fmla="*/ 221530 h 543931"/>
                <a:gd name="connsiteX17" fmla="*/ 229517 w 353555"/>
                <a:gd name="connsiteY17" fmla="*/ 365671 h 543931"/>
                <a:gd name="connsiteX18" fmla="*/ 311107 w 353555"/>
                <a:gd name="connsiteY18" fmla="*/ 433663 h 5439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353555" h="543931">
                  <a:moveTo>
                    <a:pt x="311107" y="433663"/>
                  </a:moveTo>
                  <a:cubicBezTo>
                    <a:pt x="311107" y="433663"/>
                    <a:pt x="278471" y="501654"/>
                    <a:pt x="215919" y="501654"/>
                  </a:cubicBezTo>
                  <a:cubicBezTo>
                    <a:pt x="164245" y="501654"/>
                    <a:pt x="101693" y="458140"/>
                    <a:pt x="98973" y="392868"/>
                  </a:cubicBezTo>
                  <a:cubicBezTo>
                    <a:pt x="98973" y="392868"/>
                    <a:pt x="98973" y="297680"/>
                    <a:pt x="98973" y="221530"/>
                  </a:cubicBezTo>
                  <a:lnTo>
                    <a:pt x="82655" y="221530"/>
                  </a:lnTo>
                  <a:cubicBezTo>
                    <a:pt x="74496" y="221530"/>
                    <a:pt x="58178" y="216090"/>
                    <a:pt x="58178" y="191614"/>
                  </a:cubicBezTo>
                  <a:cubicBezTo>
                    <a:pt x="58178" y="167137"/>
                    <a:pt x="77216" y="164417"/>
                    <a:pt x="85375" y="164417"/>
                  </a:cubicBezTo>
                  <a:lnTo>
                    <a:pt x="101693" y="164417"/>
                  </a:lnTo>
                  <a:cubicBezTo>
                    <a:pt x="101693" y="137220"/>
                    <a:pt x="101693" y="118183"/>
                    <a:pt x="101693" y="118183"/>
                  </a:cubicBezTo>
                  <a:cubicBezTo>
                    <a:pt x="104413" y="85547"/>
                    <a:pt x="134329" y="55631"/>
                    <a:pt x="166965" y="58350"/>
                  </a:cubicBezTo>
                  <a:cubicBezTo>
                    <a:pt x="196881" y="61070"/>
                    <a:pt x="229517" y="85547"/>
                    <a:pt x="229517" y="118183"/>
                  </a:cubicBezTo>
                  <a:lnTo>
                    <a:pt x="229517" y="118183"/>
                  </a:lnTo>
                  <a:lnTo>
                    <a:pt x="229517" y="164417"/>
                  </a:lnTo>
                  <a:lnTo>
                    <a:pt x="283910" y="164417"/>
                  </a:lnTo>
                  <a:cubicBezTo>
                    <a:pt x="292069" y="164417"/>
                    <a:pt x="308387" y="169856"/>
                    <a:pt x="308387" y="194333"/>
                  </a:cubicBezTo>
                  <a:cubicBezTo>
                    <a:pt x="308387" y="218810"/>
                    <a:pt x="292069" y="221530"/>
                    <a:pt x="281190" y="221530"/>
                  </a:cubicBezTo>
                  <a:lnTo>
                    <a:pt x="229517" y="221530"/>
                  </a:lnTo>
                  <a:lnTo>
                    <a:pt x="229517" y="365671"/>
                  </a:lnTo>
                  <a:cubicBezTo>
                    <a:pt x="226797" y="409186"/>
                    <a:pt x="267592" y="433663"/>
                    <a:pt x="311107" y="433663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/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5AD3559D-8833-4BC6-8C3E-A7B5F635F904}"/>
                </a:ext>
              </a:extLst>
            </p:cNvPr>
            <p:cNvSpPr/>
            <p:nvPr/>
          </p:nvSpPr>
          <p:spPr bwMode="black">
            <a:xfrm>
              <a:off x="7090329" y="3338014"/>
              <a:ext cx="353556" cy="543931"/>
            </a:xfrm>
            <a:custGeom>
              <a:avLst/>
              <a:gdLst>
                <a:gd name="connsiteX0" fmla="*/ 311107 w 353555"/>
                <a:gd name="connsiteY0" fmla="*/ 433663 h 543931"/>
                <a:gd name="connsiteX1" fmla="*/ 215919 w 353555"/>
                <a:gd name="connsiteY1" fmla="*/ 501654 h 543931"/>
                <a:gd name="connsiteX2" fmla="*/ 98973 w 353555"/>
                <a:gd name="connsiteY2" fmla="*/ 392868 h 543931"/>
                <a:gd name="connsiteX3" fmla="*/ 98973 w 353555"/>
                <a:gd name="connsiteY3" fmla="*/ 221530 h 543931"/>
                <a:gd name="connsiteX4" fmla="*/ 82655 w 353555"/>
                <a:gd name="connsiteY4" fmla="*/ 221530 h 543931"/>
                <a:gd name="connsiteX5" fmla="*/ 58178 w 353555"/>
                <a:gd name="connsiteY5" fmla="*/ 191614 h 543931"/>
                <a:gd name="connsiteX6" fmla="*/ 85375 w 353555"/>
                <a:gd name="connsiteY6" fmla="*/ 164417 h 543931"/>
                <a:gd name="connsiteX7" fmla="*/ 101693 w 353555"/>
                <a:gd name="connsiteY7" fmla="*/ 164417 h 543931"/>
                <a:gd name="connsiteX8" fmla="*/ 101693 w 353555"/>
                <a:gd name="connsiteY8" fmla="*/ 118183 h 543931"/>
                <a:gd name="connsiteX9" fmla="*/ 166965 w 353555"/>
                <a:gd name="connsiteY9" fmla="*/ 58350 h 543931"/>
                <a:gd name="connsiteX10" fmla="*/ 229517 w 353555"/>
                <a:gd name="connsiteY10" fmla="*/ 118183 h 543931"/>
                <a:gd name="connsiteX11" fmla="*/ 229517 w 353555"/>
                <a:gd name="connsiteY11" fmla="*/ 118183 h 543931"/>
                <a:gd name="connsiteX12" fmla="*/ 229517 w 353555"/>
                <a:gd name="connsiteY12" fmla="*/ 164417 h 543931"/>
                <a:gd name="connsiteX13" fmla="*/ 283910 w 353555"/>
                <a:gd name="connsiteY13" fmla="*/ 164417 h 543931"/>
                <a:gd name="connsiteX14" fmla="*/ 308387 w 353555"/>
                <a:gd name="connsiteY14" fmla="*/ 194333 h 543931"/>
                <a:gd name="connsiteX15" fmla="*/ 281190 w 353555"/>
                <a:gd name="connsiteY15" fmla="*/ 221530 h 543931"/>
                <a:gd name="connsiteX16" fmla="*/ 229517 w 353555"/>
                <a:gd name="connsiteY16" fmla="*/ 221530 h 543931"/>
                <a:gd name="connsiteX17" fmla="*/ 229517 w 353555"/>
                <a:gd name="connsiteY17" fmla="*/ 365671 h 543931"/>
                <a:gd name="connsiteX18" fmla="*/ 311107 w 353555"/>
                <a:gd name="connsiteY18" fmla="*/ 433663 h 5439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353555" h="543931">
                  <a:moveTo>
                    <a:pt x="311107" y="433663"/>
                  </a:moveTo>
                  <a:cubicBezTo>
                    <a:pt x="311107" y="433663"/>
                    <a:pt x="278471" y="501654"/>
                    <a:pt x="215919" y="501654"/>
                  </a:cubicBezTo>
                  <a:cubicBezTo>
                    <a:pt x="164245" y="501654"/>
                    <a:pt x="101693" y="458140"/>
                    <a:pt x="98973" y="392868"/>
                  </a:cubicBezTo>
                  <a:cubicBezTo>
                    <a:pt x="98973" y="392868"/>
                    <a:pt x="98973" y="297680"/>
                    <a:pt x="98973" y="221530"/>
                  </a:cubicBezTo>
                  <a:lnTo>
                    <a:pt x="82655" y="221530"/>
                  </a:lnTo>
                  <a:cubicBezTo>
                    <a:pt x="74496" y="221530"/>
                    <a:pt x="58178" y="216090"/>
                    <a:pt x="58178" y="191614"/>
                  </a:cubicBezTo>
                  <a:cubicBezTo>
                    <a:pt x="58178" y="167137"/>
                    <a:pt x="77216" y="164417"/>
                    <a:pt x="85375" y="164417"/>
                  </a:cubicBezTo>
                  <a:lnTo>
                    <a:pt x="101693" y="164417"/>
                  </a:lnTo>
                  <a:cubicBezTo>
                    <a:pt x="101693" y="137220"/>
                    <a:pt x="101693" y="118183"/>
                    <a:pt x="101693" y="118183"/>
                  </a:cubicBezTo>
                  <a:cubicBezTo>
                    <a:pt x="104412" y="85547"/>
                    <a:pt x="134329" y="55631"/>
                    <a:pt x="166965" y="58350"/>
                  </a:cubicBezTo>
                  <a:cubicBezTo>
                    <a:pt x="196881" y="61070"/>
                    <a:pt x="229517" y="85547"/>
                    <a:pt x="229517" y="118183"/>
                  </a:cubicBezTo>
                  <a:lnTo>
                    <a:pt x="229517" y="118183"/>
                  </a:lnTo>
                  <a:lnTo>
                    <a:pt x="229517" y="164417"/>
                  </a:lnTo>
                  <a:lnTo>
                    <a:pt x="283910" y="164417"/>
                  </a:lnTo>
                  <a:cubicBezTo>
                    <a:pt x="292069" y="164417"/>
                    <a:pt x="308387" y="169856"/>
                    <a:pt x="308387" y="194333"/>
                  </a:cubicBezTo>
                  <a:cubicBezTo>
                    <a:pt x="308387" y="218810"/>
                    <a:pt x="292069" y="221530"/>
                    <a:pt x="281190" y="221530"/>
                  </a:cubicBezTo>
                  <a:lnTo>
                    <a:pt x="229517" y="221530"/>
                  </a:lnTo>
                  <a:lnTo>
                    <a:pt x="229517" y="365671"/>
                  </a:lnTo>
                  <a:cubicBezTo>
                    <a:pt x="229517" y="409186"/>
                    <a:pt x="270312" y="433663"/>
                    <a:pt x="311107" y="433663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/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FA52EC1F-21E0-49DD-9664-7D1BF14FC911}"/>
                </a:ext>
              </a:extLst>
            </p:cNvPr>
            <p:cNvSpPr/>
            <p:nvPr/>
          </p:nvSpPr>
          <p:spPr bwMode="black">
            <a:xfrm>
              <a:off x="2080719" y="4178559"/>
              <a:ext cx="462342" cy="788700"/>
            </a:xfrm>
            <a:custGeom>
              <a:avLst/>
              <a:gdLst>
                <a:gd name="connsiteX0" fmla="*/ 403575 w 462341"/>
                <a:gd name="connsiteY0" fmla="*/ 583072 h 788699"/>
                <a:gd name="connsiteX1" fmla="*/ 406295 w 462341"/>
                <a:gd name="connsiteY1" fmla="*/ 596670 h 788699"/>
                <a:gd name="connsiteX2" fmla="*/ 400855 w 462341"/>
                <a:gd name="connsiteY2" fmla="*/ 610268 h 788699"/>
                <a:gd name="connsiteX3" fmla="*/ 389977 w 462341"/>
                <a:gd name="connsiteY3" fmla="*/ 626586 h 788699"/>
                <a:gd name="connsiteX4" fmla="*/ 354621 w 462341"/>
                <a:gd name="connsiteY4" fmla="*/ 675540 h 788699"/>
                <a:gd name="connsiteX5" fmla="*/ 327424 w 462341"/>
                <a:gd name="connsiteY5" fmla="*/ 691858 h 788699"/>
                <a:gd name="connsiteX6" fmla="*/ 292069 w 462341"/>
                <a:gd name="connsiteY6" fmla="*/ 713615 h 788699"/>
                <a:gd name="connsiteX7" fmla="*/ 251274 w 462341"/>
                <a:gd name="connsiteY7" fmla="*/ 724494 h 788699"/>
                <a:gd name="connsiteX8" fmla="*/ 221358 w 462341"/>
                <a:gd name="connsiteY8" fmla="*/ 721774 h 788699"/>
                <a:gd name="connsiteX9" fmla="*/ 191442 w 462341"/>
                <a:gd name="connsiteY9" fmla="*/ 721774 h 788699"/>
                <a:gd name="connsiteX10" fmla="*/ 153366 w 462341"/>
                <a:gd name="connsiteY10" fmla="*/ 713615 h 788699"/>
                <a:gd name="connsiteX11" fmla="*/ 104412 w 462341"/>
                <a:gd name="connsiteY11" fmla="*/ 675540 h 788699"/>
                <a:gd name="connsiteX12" fmla="*/ 104412 w 462341"/>
                <a:gd name="connsiteY12" fmla="*/ 689138 h 788699"/>
                <a:gd name="connsiteX13" fmla="*/ 101693 w 462341"/>
                <a:gd name="connsiteY13" fmla="*/ 710895 h 788699"/>
                <a:gd name="connsiteX14" fmla="*/ 85375 w 462341"/>
                <a:gd name="connsiteY14" fmla="*/ 732653 h 788699"/>
                <a:gd name="connsiteX15" fmla="*/ 69057 w 462341"/>
                <a:gd name="connsiteY15" fmla="*/ 727214 h 788699"/>
                <a:gd name="connsiteX16" fmla="*/ 60898 w 462341"/>
                <a:gd name="connsiteY16" fmla="*/ 710895 h 788699"/>
                <a:gd name="connsiteX17" fmla="*/ 58178 w 462341"/>
                <a:gd name="connsiteY17" fmla="*/ 691858 h 788699"/>
                <a:gd name="connsiteX18" fmla="*/ 60898 w 462341"/>
                <a:gd name="connsiteY18" fmla="*/ 664661 h 788699"/>
                <a:gd name="connsiteX19" fmla="*/ 60898 w 462341"/>
                <a:gd name="connsiteY19" fmla="*/ 607549 h 788699"/>
                <a:gd name="connsiteX20" fmla="*/ 63618 w 462341"/>
                <a:gd name="connsiteY20" fmla="*/ 528679 h 788699"/>
                <a:gd name="connsiteX21" fmla="*/ 69057 w 462341"/>
                <a:gd name="connsiteY21" fmla="*/ 504202 h 788699"/>
                <a:gd name="connsiteX22" fmla="*/ 74496 w 462341"/>
                <a:gd name="connsiteY22" fmla="*/ 493323 h 788699"/>
                <a:gd name="connsiteX23" fmla="*/ 82655 w 462341"/>
                <a:gd name="connsiteY23" fmla="*/ 487884 h 788699"/>
                <a:gd name="connsiteX24" fmla="*/ 90814 w 462341"/>
                <a:gd name="connsiteY24" fmla="*/ 493323 h 788699"/>
                <a:gd name="connsiteX25" fmla="*/ 98973 w 462341"/>
                <a:gd name="connsiteY25" fmla="*/ 512361 h 788699"/>
                <a:gd name="connsiteX26" fmla="*/ 101693 w 462341"/>
                <a:gd name="connsiteY26" fmla="*/ 555875 h 788699"/>
                <a:gd name="connsiteX27" fmla="*/ 101693 w 462341"/>
                <a:gd name="connsiteY27" fmla="*/ 596670 h 788699"/>
                <a:gd name="connsiteX28" fmla="*/ 109852 w 462341"/>
                <a:gd name="connsiteY28" fmla="*/ 626586 h 788699"/>
                <a:gd name="connsiteX29" fmla="*/ 128889 w 462341"/>
                <a:gd name="connsiteY29" fmla="*/ 651063 h 788699"/>
                <a:gd name="connsiteX30" fmla="*/ 153366 w 462341"/>
                <a:gd name="connsiteY30" fmla="*/ 670101 h 788699"/>
                <a:gd name="connsiteX31" fmla="*/ 196881 w 462341"/>
                <a:gd name="connsiteY31" fmla="*/ 678260 h 788699"/>
                <a:gd name="connsiteX32" fmla="*/ 221358 w 462341"/>
                <a:gd name="connsiteY32" fmla="*/ 667381 h 788699"/>
                <a:gd name="connsiteX33" fmla="*/ 253994 w 462341"/>
                <a:gd name="connsiteY33" fmla="*/ 659222 h 788699"/>
                <a:gd name="connsiteX34" fmla="*/ 275751 w 462341"/>
                <a:gd name="connsiteY34" fmla="*/ 637465 h 788699"/>
                <a:gd name="connsiteX35" fmla="*/ 281190 w 462341"/>
                <a:gd name="connsiteY35" fmla="*/ 615708 h 788699"/>
                <a:gd name="connsiteX36" fmla="*/ 278471 w 462341"/>
                <a:gd name="connsiteY36" fmla="*/ 602109 h 788699"/>
                <a:gd name="connsiteX37" fmla="*/ 262153 w 462341"/>
                <a:gd name="connsiteY37" fmla="*/ 572193 h 788699"/>
                <a:gd name="connsiteX38" fmla="*/ 245835 w 462341"/>
                <a:gd name="connsiteY38" fmla="*/ 536838 h 788699"/>
                <a:gd name="connsiteX39" fmla="*/ 196881 w 462341"/>
                <a:gd name="connsiteY39" fmla="*/ 477005 h 788699"/>
                <a:gd name="connsiteX40" fmla="*/ 145207 w 462341"/>
                <a:gd name="connsiteY40" fmla="*/ 419892 h 788699"/>
                <a:gd name="connsiteX41" fmla="*/ 93534 w 462341"/>
                <a:gd name="connsiteY41" fmla="*/ 357340 h 788699"/>
                <a:gd name="connsiteX42" fmla="*/ 66337 w 462341"/>
                <a:gd name="connsiteY42" fmla="*/ 283910 h 788699"/>
                <a:gd name="connsiteX43" fmla="*/ 58178 w 462341"/>
                <a:gd name="connsiteY43" fmla="*/ 224077 h 788699"/>
                <a:gd name="connsiteX44" fmla="*/ 82655 w 462341"/>
                <a:gd name="connsiteY44" fmla="*/ 150647 h 788699"/>
                <a:gd name="connsiteX45" fmla="*/ 137048 w 462341"/>
                <a:gd name="connsiteY45" fmla="*/ 96253 h 788699"/>
                <a:gd name="connsiteX46" fmla="*/ 196881 w 462341"/>
                <a:gd name="connsiteY46" fmla="*/ 77216 h 788699"/>
                <a:gd name="connsiteX47" fmla="*/ 232236 w 462341"/>
                <a:gd name="connsiteY47" fmla="*/ 69057 h 788699"/>
                <a:gd name="connsiteX48" fmla="*/ 262153 w 462341"/>
                <a:gd name="connsiteY48" fmla="*/ 74496 h 788699"/>
                <a:gd name="connsiteX49" fmla="*/ 294789 w 462341"/>
                <a:gd name="connsiteY49" fmla="*/ 85375 h 788699"/>
                <a:gd name="connsiteX50" fmla="*/ 327424 w 462341"/>
                <a:gd name="connsiteY50" fmla="*/ 104412 h 788699"/>
                <a:gd name="connsiteX51" fmla="*/ 332864 w 462341"/>
                <a:gd name="connsiteY51" fmla="*/ 74496 h 788699"/>
                <a:gd name="connsiteX52" fmla="*/ 338303 w 462341"/>
                <a:gd name="connsiteY52" fmla="*/ 63618 h 788699"/>
                <a:gd name="connsiteX53" fmla="*/ 349182 w 462341"/>
                <a:gd name="connsiteY53" fmla="*/ 58178 h 788699"/>
                <a:gd name="connsiteX54" fmla="*/ 357341 w 462341"/>
                <a:gd name="connsiteY54" fmla="*/ 63618 h 788699"/>
                <a:gd name="connsiteX55" fmla="*/ 365500 w 462341"/>
                <a:gd name="connsiteY55" fmla="*/ 82655 h 788699"/>
                <a:gd name="connsiteX56" fmla="*/ 368219 w 462341"/>
                <a:gd name="connsiteY56" fmla="*/ 142488 h 788699"/>
                <a:gd name="connsiteX57" fmla="*/ 368219 w 462341"/>
                <a:gd name="connsiteY57" fmla="*/ 188722 h 788699"/>
                <a:gd name="connsiteX58" fmla="*/ 370939 w 462341"/>
                <a:gd name="connsiteY58" fmla="*/ 245834 h 788699"/>
                <a:gd name="connsiteX59" fmla="*/ 354621 w 462341"/>
                <a:gd name="connsiteY59" fmla="*/ 286629 h 788699"/>
                <a:gd name="connsiteX60" fmla="*/ 338303 w 462341"/>
                <a:gd name="connsiteY60" fmla="*/ 281190 h 788699"/>
                <a:gd name="connsiteX61" fmla="*/ 330144 w 462341"/>
                <a:gd name="connsiteY61" fmla="*/ 264872 h 788699"/>
                <a:gd name="connsiteX62" fmla="*/ 327424 w 462341"/>
                <a:gd name="connsiteY62" fmla="*/ 248554 h 788699"/>
                <a:gd name="connsiteX63" fmla="*/ 330144 w 462341"/>
                <a:gd name="connsiteY63" fmla="*/ 221357 h 788699"/>
                <a:gd name="connsiteX64" fmla="*/ 330144 w 462341"/>
                <a:gd name="connsiteY64" fmla="*/ 188722 h 788699"/>
                <a:gd name="connsiteX65" fmla="*/ 327424 w 462341"/>
                <a:gd name="connsiteY65" fmla="*/ 164245 h 788699"/>
                <a:gd name="connsiteX66" fmla="*/ 311107 w 462341"/>
                <a:gd name="connsiteY66" fmla="*/ 134329 h 788699"/>
                <a:gd name="connsiteX67" fmla="*/ 283910 w 462341"/>
                <a:gd name="connsiteY67" fmla="*/ 118011 h 788699"/>
                <a:gd name="connsiteX68" fmla="*/ 251274 w 462341"/>
                <a:gd name="connsiteY68" fmla="*/ 112571 h 788699"/>
                <a:gd name="connsiteX69" fmla="*/ 215918 w 462341"/>
                <a:gd name="connsiteY69" fmla="*/ 123450 h 788699"/>
                <a:gd name="connsiteX70" fmla="*/ 202320 w 462341"/>
                <a:gd name="connsiteY70" fmla="*/ 147927 h 788699"/>
                <a:gd name="connsiteX71" fmla="*/ 188722 w 462341"/>
                <a:gd name="connsiteY71" fmla="*/ 180563 h 788699"/>
                <a:gd name="connsiteX72" fmla="*/ 183283 w 462341"/>
                <a:gd name="connsiteY72" fmla="*/ 210479 h 788699"/>
                <a:gd name="connsiteX73" fmla="*/ 188722 w 462341"/>
                <a:gd name="connsiteY73" fmla="*/ 226797 h 788699"/>
                <a:gd name="connsiteX74" fmla="*/ 188722 w 462341"/>
                <a:gd name="connsiteY74" fmla="*/ 248554 h 788699"/>
                <a:gd name="connsiteX75" fmla="*/ 210479 w 462341"/>
                <a:gd name="connsiteY75" fmla="*/ 273031 h 788699"/>
                <a:gd name="connsiteX76" fmla="*/ 226797 w 462341"/>
                <a:gd name="connsiteY76" fmla="*/ 300228 h 788699"/>
                <a:gd name="connsiteX77" fmla="*/ 256713 w 462341"/>
                <a:gd name="connsiteY77" fmla="*/ 332864 h 788699"/>
                <a:gd name="connsiteX78" fmla="*/ 275751 w 462341"/>
                <a:gd name="connsiteY78" fmla="*/ 351901 h 788699"/>
                <a:gd name="connsiteX79" fmla="*/ 324705 w 462341"/>
                <a:gd name="connsiteY79" fmla="*/ 400855 h 788699"/>
                <a:gd name="connsiteX80" fmla="*/ 343742 w 462341"/>
                <a:gd name="connsiteY80" fmla="*/ 428051 h 788699"/>
                <a:gd name="connsiteX81" fmla="*/ 351901 w 462341"/>
                <a:gd name="connsiteY81" fmla="*/ 433491 h 788699"/>
                <a:gd name="connsiteX82" fmla="*/ 360060 w 462341"/>
                <a:gd name="connsiteY82" fmla="*/ 447089 h 788699"/>
                <a:gd name="connsiteX83" fmla="*/ 384537 w 462341"/>
                <a:gd name="connsiteY83" fmla="*/ 474286 h 788699"/>
                <a:gd name="connsiteX84" fmla="*/ 395416 w 462341"/>
                <a:gd name="connsiteY84" fmla="*/ 506921 h 788699"/>
                <a:gd name="connsiteX85" fmla="*/ 406295 w 462341"/>
                <a:gd name="connsiteY85" fmla="*/ 536838 h 788699"/>
                <a:gd name="connsiteX86" fmla="*/ 409014 w 462341"/>
                <a:gd name="connsiteY86" fmla="*/ 547716 h 788699"/>
                <a:gd name="connsiteX87" fmla="*/ 406295 w 462341"/>
                <a:gd name="connsiteY87" fmla="*/ 569473 h 788699"/>
                <a:gd name="connsiteX88" fmla="*/ 403575 w 462341"/>
                <a:gd name="connsiteY88" fmla="*/ 583072 h 788699"/>
                <a:gd name="connsiteX89" fmla="*/ 403575 w 462341"/>
                <a:gd name="connsiteY89" fmla="*/ 583072 h 7886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</a:cxnLst>
              <a:rect l="l" t="t" r="r" b="b"/>
              <a:pathLst>
                <a:path w="462341" h="788699">
                  <a:moveTo>
                    <a:pt x="403575" y="583072"/>
                  </a:moveTo>
                  <a:cubicBezTo>
                    <a:pt x="403575" y="588511"/>
                    <a:pt x="406295" y="591231"/>
                    <a:pt x="406295" y="596670"/>
                  </a:cubicBezTo>
                  <a:cubicBezTo>
                    <a:pt x="406295" y="602109"/>
                    <a:pt x="403575" y="604829"/>
                    <a:pt x="400855" y="610268"/>
                  </a:cubicBezTo>
                  <a:cubicBezTo>
                    <a:pt x="398136" y="615708"/>
                    <a:pt x="392696" y="621147"/>
                    <a:pt x="389977" y="626586"/>
                  </a:cubicBezTo>
                  <a:cubicBezTo>
                    <a:pt x="381818" y="645624"/>
                    <a:pt x="368219" y="661942"/>
                    <a:pt x="354621" y="675540"/>
                  </a:cubicBezTo>
                  <a:cubicBezTo>
                    <a:pt x="346462" y="683699"/>
                    <a:pt x="338303" y="686419"/>
                    <a:pt x="327424" y="691858"/>
                  </a:cubicBezTo>
                  <a:cubicBezTo>
                    <a:pt x="316546" y="700017"/>
                    <a:pt x="302948" y="708176"/>
                    <a:pt x="292069" y="713615"/>
                  </a:cubicBezTo>
                  <a:cubicBezTo>
                    <a:pt x="281190" y="719054"/>
                    <a:pt x="264872" y="724494"/>
                    <a:pt x="251274" y="724494"/>
                  </a:cubicBezTo>
                  <a:cubicBezTo>
                    <a:pt x="240395" y="724494"/>
                    <a:pt x="229517" y="721774"/>
                    <a:pt x="221358" y="721774"/>
                  </a:cubicBezTo>
                  <a:cubicBezTo>
                    <a:pt x="213199" y="721774"/>
                    <a:pt x="202320" y="721774"/>
                    <a:pt x="191442" y="721774"/>
                  </a:cubicBezTo>
                  <a:cubicBezTo>
                    <a:pt x="172404" y="721774"/>
                    <a:pt x="172404" y="721774"/>
                    <a:pt x="153366" y="713615"/>
                  </a:cubicBezTo>
                  <a:cubicBezTo>
                    <a:pt x="134329" y="708176"/>
                    <a:pt x="118011" y="691858"/>
                    <a:pt x="104412" y="675540"/>
                  </a:cubicBezTo>
                  <a:cubicBezTo>
                    <a:pt x="104412" y="678260"/>
                    <a:pt x="104412" y="680979"/>
                    <a:pt x="104412" y="689138"/>
                  </a:cubicBezTo>
                  <a:cubicBezTo>
                    <a:pt x="104412" y="694578"/>
                    <a:pt x="104412" y="702737"/>
                    <a:pt x="101693" y="710895"/>
                  </a:cubicBezTo>
                  <a:cubicBezTo>
                    <a:pt x="101693" y="721774"/>
                    <a:pt x="96253" y="732653"/>
                    <a:pt x="85375" y="732653"/>
                  </a:cubicBezTo>
                  <a:cubicBezTo>
                    <a:pt x="77216" y="732653"/>
                    <a:pt x="74496" y="729933"/>
                    <a:pt x="69057" y="727214"/>
                  </a:cubicBezTo>
                  <a:cubicBezTo>
                    <a:pt x="63618" y="724494"/>
                    <a:pt x="60898" y="716335"/>
                    <a:pt x="60898" y="710895"/>
                  </a:cubicBezTo>
                  <a:cubicBezTo>
                    <a:pt x="58178" y="702737"/>
                    <a:pt x="58178" y="697297"/>
                    <a:pt x="58178" y="691858"/>
                  </a:cubicBezTo>
                  <a:cubicBezTo>
                    <a:pt x="58178" y="683699"/>
                    <a:pt x="60898" y="678260"/>
                    <a:pt x="60898" y="664661"/>
                  </a:cubicBezTo>
                  <a:cubicBezTo>
                    <a:pt x="60898" y="656502"/>
                    <a:pt x="60898" y="632026"/>
                    <a:pt x="60898" y="607549"/>
                  </a:cubicBezTo>
                  <a:cubicBezTo>
                    <a:pt x="60898" y="574913"/>
                    <a:pt x="60898" y="542277"/>
                    <a:pt x="63618" y="528679"/>
                  </a:cubicBezTo>
                  <a:cubicBezTo>
                    <a:pt x="63618" y="520520"/>
                    <a:pt x="63618" y="509641"/>
                    <a:pt x="69057" y="504202"/>
                  </a:cubicBezTo>
                  <a:cubicBezTo>
                    <a:pt x="71777" y="501482"/>
                    <a:pt x="71777" y="498762"/>
                    <a:pt x="74496" y="493323"/>
                  </a:cubicBezTo>
                  <a:cubicBezTo>
                    <a:pt x="77216" y="490603"/>
                    <a:pt x="79936" y="487884"/>
                    <a:pt x="82655" y="487884"/>
                  </a:cubicBezTo>
                  <a:cubicBezTo>
                    <a:pt x="85375" y="487884"/>
                    <a:pt x="90814" y="490603"/>
                    <a:pt x="90814" y="493323"/>
                  </a:cubicBezTo>
                  <a:cubicBezTo>
                    <a:pt x="93534" y="498762"/>
                    <a:pt x="98973" y="506921"/>
                    <a:pt x="98973" y="512361"/>
                  </a:cubicBezTo>
                  <a:cubicBezTo>
                    <a:pt x="98973" y="520520"/>
                    <a:pt x="101693" y="536838"/>
                    <a:pt x="101693" y="555875"/>
                  </a:cubicBezTo>
                  <a:cubicBezTo>
                    <a:pt x="101693" y="569473"/>
                    <a:pt x="101693" y="583072"/>
                    <a:pt x="101693" y="596670"/>
                  </a:cubicBezTo>
                  <a:cubicBezTo>
                    <a:pt x="101693" y="607549"/>
                    <a:pt x="104412" y="618427"/>
                    <a:pt x="109852" y="626586"/>
                  </a:cubicBezTo>
                  <a:cubicBezTo>
                    <a:pt x="115291" y="637465"/>
                    <a:pt x="123450" y="642904"/>
                    <a:pt x="128889" y="651063"/>
                  </a:cubicBezTo>
                  <a:cubicBezTo>
                    <a:pt x="137048" y="661942"/>
                    <a:pt x="139768" y="667381"/>
                    <a:pt x="153366" y="670101"/>
                  </a:cubicBezTo>
                  <a:cubicBezTo>
                    <a:pt x="161525" y="670101"/>
                    <a:pt x="183283" y="678260"/>
                    <a:pt x="196881" y="678260"/>
                  </a:cubicBezTo>
                  <a:cubicBezTo>
                    <a:pt x="207759" y="678260"/>
                    <a:pt x="210479" y="672820"/>
                    <a:pt x="221358" y="667381"/>
                  </a:cubicBezTo>
                  <a:cubicBezTo>
                    <a:pt x="232236" y="661942"/>
                    <a:pt x="245835" y="664661"/>
                    <a:pt x="253994" y="659222"/>
                  </a:cubicBezTo>
                  <a:cubicBezTo>
                    <a:pt x="262153" y="653783"/>
                    <a:pt x="273031" y="645624"/>
                    <a:pt x="275751" y="637465"/>
                  </a:cubicBezTo>
                  <a:cubicBezTo>
                    <a:pt x="281190" y="629306"/>
                    <a:pt x="281190" y="621147"/>
                    <a:pt x="281190" y="615708"/>
                  </a:cubicBezTo>
                  <a:cubicBezTo>
                    <a:pt x="281190" y="610268"/>
                    <a:pt x="281190" y="607549"/>
                    <a:pt x="278471" y="602109"/>
                  </a:cubicBezTo>
                  <a:cubicBezTo>
                    <a:pt x="275751" y="591231"/>
                    <a:pt x="267592" y="583072"/>
                    <a:pt x="262153" y="572193"/>
                  </a:cubicBezTo>
                  <a:cubicBezTo>
                    <a:pt x="256713" y="561314"/>
                    <a:pt x="253994" y="547716"/>
                    <a:pt x="245835" y="536838"/>
                  </a:cubicBezTo>
                  <a:cubicBezTo>
                    <a:pt x="232236" y="515080"/>
                    <a:pt x="213199" y="498762"/>
                    <a:pt x="196881" y="477005"/>
                  </a:cubicBezTo>
                  <a:cubicBezTo>
                    <a:pt x="180563" y="457968"/>
                    <a:pt x="164245" y="438930"/>
                    <a:pt x="145207" y="419892"/>
                  </a:cubicBezTo>
                  <a:cubicBezTo>
                    <a:pt x="126170" y="400855"/>
                    <a:pt x="109852" y="379098"/>
                    <a:pt x="93534" y="357340"/>
                  </a:cubicBezTo>
                  <a:cubicBezTo>
                    <a:pt x="77216" y="335583"/>
                    <a:pt x="71777" y="308387"/>
                    <a:pt x="66337" y="283910"/>
                  </a:cubicBezTo>
                  <a:cubicBezTo>
                    <a:pt x="63618" y="267592"/>
                    <a:pt x="58178" y="245834"/>
                    <a:pt x="58178" y="224077"/>
                  </a:cubicBezTo>
                  <a:cubicBezTo>
                    <a:pt x="58178" y="194161"/>
                    <a:pt x="69057" y="175123"/>
                    <a:pt x="82655" y="150647"/>
                  </a:cubicBezTo>
                  <a:cubicBezTo>
                    <a:pt x="96253" y="128889"/>
                    <a:pt x="115291" y="109852"/>
                    <a:pt x="137048" y="96253"/>
                  </a:cubicBezTo>
                  <a:cubicBezTo>
                    <a:pt x="158806" y="82655"/>
                    <a:pt x="172404" y="79936"/>
                    <a:pt x="196881" y="77216"/>
                  </a:cubicBezTo>
                  <a:cubicBezTo>
                    <a:pt x="210479" y="77216"/>
                    <a:pt x="215918" y="69057"/>
                    <a:pt x="232236" y="69057"/>
                  </a:cubicBezTo>
                  <a:cubicBezTo>
                    <a:pt x="243115" y="69057"/>
                    <a:pt x="251274" y="71776"/>
                    <a:pt x="262153" y="74496"/>
                  </a:cubicBezTo>
                  <a:cubicBezTo>
                    <a:pt x="273031" y="77216"/>
                    <a:pt x="283910" y="82655"/>
                    <a:pt x="294789" y="85375"/>
                  </a:cubicBezTo>
                  <a:cubicBezTo>
                    <a:pt x="308387" y="90814"/>
                    <a:pt x="319265" y="96253"/>
                    <a:pt x="327424" y="104412"/>
                  </a:cubicBezTo>
                  <a:cubicBezTo>
                    <a:pt x="327424" y="90814"/>
                    <a:pt x="327424" y="79936"/>
                    <a:pt x="332864" y="74496"/>
                  </a:cubicBezTo>
                  <a:cubicBezTo>
                    <a:pt x="335583" y="71776"/>
                    <a:pt x="335583" y="69057"/>
                    <a:pt x="338303" y="63618"/>
                  </a:cubicBezTo>
                  <a:cubicBezTo>
                    <a:pt x="341023" y="60898"/>
                    <a:pt x="346462" y="58178"/>
                    <a:pt x="349182" y="58178"/>
                  </a:cubicBezTo>
                  <a:cubicBezTo>
                    <a:pt x="351901" y="58178"/>
                    <a:pt x="357341" y="60898"/>
                    <a:pt x="357341" y="63618"/>
                  </a:cubicBezTo>
                  <a:cubicBezTo>
                    <a:pt x="360060" y="69057"/>
                    <a:pt x="365500" y="77216"/>
                    <a:pt x="365500" y="82655"/>
                  </a:cubicBezTo>
                  <a:cubicBezTo>
                    <a:pt x="365500" y="90814"/>
                    <a:pt x="368219" y="123450"/>
                    <a:pt x="368219" y="142488"/>
                  </a:cubicBezTo>
                  <a:cubicBezTo>
                    <a:pt x="368219" y="158806"/>
                    <a:pt x="368219" y="177843"/>
                    <a:pt x="368219" y="188722"/>
                  </a:cubicBezTo>
                  <a:cubicBezTo>
                    <a:pt x="368219" y="213199"/>
                    <a:pt x="370939" y="224077"/>
                    <a:pt x="370939" y="245834"/>
                  </a:cubicBezTo>
                  <a:cubicBezTo>
                    <a:pt x="370939" y="256713"/>
                    <a:pt x="370939" y="286629"/>
                    <a:pt x="354621" y="286629"/>
                  </a:cubicBezTo>
                  <a:cubicBezTo>
                    <a:pt x="346462" y="286629"/>
                    <a:pt x="343742" y="283910"/>
                    <a:pt x="338303" y="281190"/>
                  </a:cubicBezTo>
                  <a:cubicBezTo>
                    <a:pt x="332864" y="278470"/>
                    <a:pt x="330144" y="270311"/>
                    <a:pt x="330144" y="264872"/>
                  </a:cubicBezTo>
                  <a:cubicBezTo>
                    <a:pt x="327424" y="256713"/>
                    <a:pt x="327424" y="251274"/>
                    <a:pt x="327424" y="248554"/>
                  </a:cubicBezTo>
                  <a:cubicBezTo>
                    <a:pt x="327424" y="240395"/>
                    <a:pt x="330144" y="234956"/>
                    <a:pt x="330144" y="221357"/>
                  </a:cubicBezTo>
                  <a:cubicBezTo>
                    <a:pt x="330144" y="213199"/>
                    <a:pt x="330144" y="202320"/>
                    <a:pt x="330144" y="188722"/>
                  </a:cubicBezTo>
                  <a:cubicBezTo>
                    <a:pt x="330144" y="180563"/>
                    <a:pt x="327424" y="172404"/>
                    <a:pt x="327424" y="164245"/>
                  </a:cubicBezTo>
                  <a:cubicBezTo>
                    <a:pt x="324705" y="153366"/>
                    <a:pt x="319265" y="142488"/>
                    <a:pt x="311107" y="134329"/>
                  </a:cubicBezTo>
                  <a:cubicBezTo>
                    <a:pt x="302948" y="126170"/>
                    <a:pt x="294789" y="120730"/>
                    <a:pt x="283910" y="118011"/>
                  </a:cubicBezTo>
                  <a:cubicBezTo>
                    <a:pt x="275751" y="115291"/>
                    <a:pt x="262153" y="112571"/>
                    <a:pt x="251274" y="112571"/>
                  </a:cubicBezTo>
                  <a:cubicBezTo>
                    <a:pt x="237676" y="112571"/>
                    <a:pt x="224077" y="115291"/>
                    <a:pt x="215918" y="123450"/>
                  </a:cubicBezTo>
                  <a:cubicBezTo>
                    <a:pt x="207759" y="128889"/>
                    <a:pt x="205040" y="139768"/>
                    <a:pt x="202320" y="147927"/>
                  </a:cubicBezTo>
                  <a:cubicBezTo>
                    <a:pt x="196881" y="158806"/>
                    <a:pt x="191442" y="166964"/>
                    <a:pt x="188722" y="180563"/>
                  </a:cubicBezTo>
                  <a:cubicBezTo>
                    <a:pt x="186002" y="191441"/>
                    <a:pt x="183283" y="199600"/>
                    <a:pt x="183283" y="210479"/>
                  </a:cubicBezTo>
                  <a:cubicBezTo>
                    <a:pt x="183283" y="215918"/>
                    <a:pt x="186002" y="221357"/>
                    <a:pt x="188722" y="226797"/>
                  </a:cubicBezTo>
                  <a:cubicBezTo>
                    <a:pt x="191442" y="234956"/>
                    <a:pt x="188722" y="243115"/>
                    <a:pt x="188722" y="248554"/>
                  </a:cubicBezTo>
                  <a:cubicBezTo>
                    <a:pt x="191442" y="259433"/>
                    <a:pt x="202320" y="264872"/>
                    <a:pt x="210479" y="273031"/>
                  </a:cubicBezTo>
                  <a:cubicBezTo>
                    <a:pt x="218638" y="281190"/>
                    <a:pt x="221358" y="292069"/>
                    <a:pt x="226797" y="300228"/>
                  </a:cubicBezTo>
                  <a:cubicBezTo>
                    <a:pt x="234956" y="311106"/>
                    <a:pt x="245835" y="321985"/>
                    <a:pt x="256713" y="332864"/>
                  </a:cubicBezTo>
                  <a:cubicBezTo>
                    <a:pt x="259433" y="338303"/>
                    <a:pt x="267592" y="343742"/>
                    <a:pt x="275751" y="351901"/>
                  </a:cubicBezTo>
                  <a:cubicBezTo>
                    <a:pt x="292069" y="368219"/>
                    <a:pt x="311107" y="384537"/>
                    <a:pt x="324705" y="400855"/>
                  </a:cubicBezTo>
                  <a:cubicBezTo>
                    <a:pt x="332864" y="409014"/>
                    <a:pt x="335583" y="419892"/>
                    <a:pt x="343742" y="428051"/>
                  </a:cubicBezTo>
                  <a:cubicBezTo>
                    <a:pt x="346462" y="430771"/>
                    <a:pt x="349182" y="430771"/>
                    <a:pt x="351901" y="433491"/>
                  </a:cubicBezTo>
                  <a:cubicBezTo>
                    <a:pt x="354621" y="436210"/>
                    <a:pt x="357341" y="441650"/>
                    <a:pt x="360060" y="447089"/>
                  </a:cubicBezTo>
                  <a:cubicBezTo>
                    <a:pt x="368219" y="455248"/>
                    <a:pt x="376378" y="463407"/>
                    <a:pt x="384537" y="474286"/>
                  </a:cubicBezTo>
                  <a:cubicBezTo>
                    <a:pt x="389977" y="482445"/>
                    <a:pt x="392696" y="496043"/>
                    <a:pt x="395416" y="506921"/>
                  </a:cubicBezTo>
                  <a:cubicBezTo>
                    <a:pt x="400855" y="517800"/>
                    <a:pt x="400855" y="528679"/>
                    <a:pt x="406295" y="536838"/>
                  </a:cubicBezTo>
                  <a:cubicBezTo>
                    <a:pt x="409014" y="539557"/>
                    <a:pt x="409014" y="544997"/>
                    <a:pt x="409014" y="547716"/>
                  </a:cubicBezTo>
                  <a:cubicBezTo>
                    <a:pt x="409014" y="555875"/>
                    <a:pt x="406295" y="561314"/>
                    <a:pt x="406295" y="569473"/>
                  </a:cubicBezTo>
                  <a:cubicBezTo>
                    <a:pt x="406295" y="574913"/>
                    <a:pt x="403575" y="577632"/>
                    <a:pt x="403575" y="583072"/>
                  </a:cubicBezTo>
                  <a:lnTo>
                    <a:pt x="403575" y="583072"/>
                  </a:ln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/>
            </a:p>
          </p:txBody>
        </p:sp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id="{C7A329B7-F1EE-466B-B334-BF678B1E5861}"/>
                </a:ext>
              </a:extLst>
            </p:cNvPr>
            <p:cNvSpPr/>
            <p:nvPr/>
          </p:nvSpPr>
          <p:spPr bwMode="black">
            <a:xfrm>
              <a:off x="2456032" y="4192158"/>
              <a:ext cx="571128" cy="761503"/>
            </a:xfrm>
            <a:custGeom>
              <a:avLst/>
              <a:gdLst>
                <a:gd name="connsiteX0" fmla="*/ 512361 w 571128"/>
                <a:gd name="connsiteY0" fmla="*/ 79936 h 761503"/>
                <a:gd name="connsiteX1" fmla="*/ 539558 w 571128"/>
                <a:gd name="connsiteY1" fmla="*/ 96253 h 761503"/>
                <a:gd name="connsiteX2" fmla="*/ 534118 w 571128"/>
                <a:gd name="connsiteY2" fmla="*/ 112571 h 761503"/>
                <a:gd name="connsiteX3" fmla="*/ 523240 w 571128"/>
                <a:gd name="connsiteY3" fmla="*/ 120730 h 761503"/>
                <a:gd name="connsiteX4" fmla="*/ 506922 w 571128"/>
                <a:gd name="connsiteY4" fmla="*/ 123450 h 761503"/>
                <a:gd name="connsiteX5" fmla="*/ 477006 w 571128"/>
                <a:gd name="connsiteY5" fmla="*/ 123450 h 761503"/>
                <a:gd name="connsiteX6" fmla="*/ 479725 w 571128"/>
                <a:gd name="connsiteY6" fmla="*/ 145207 h 761503"/>
                <a:gd name="connsiteX7" fmla="*/ 477006 w 571128"/>
                <a:gd name="connsiteY7" fmla="*/ 180563 h 761503"/>
                <a:gd name="connsiteX8" fmla="*/ 482445 w 571128"/>
                <a:gd name="connsiteY8" fmla="*/ 232236 h 761503"/>
                <a:gd name="connsiteX9" fmla="*/ 485165 w 571128"/>
                <a:gd name="connsiteY9" fmla="*/ 283910 h 761503"/>
                <a:gd name="connsiteX10" fmla="*/ 485165 w 571128"/>
                <a:gd name="connsiteY10" fmla="*/ 327424 h 761503"/>
                <a:gd name="connsiteX11" fmla="*/ 487884 w 571128"/>
                <a:gd name="connsiteY11" fmla="*/ 373658 h 761503"/>
                <a:gd name="connsiteX12" fmla="*/ 485165 w 571128"/>
                <a:gd name="connsiteY12" fmla="*/ 419892 h 761503"/>
                <a:gd name="connsiteX13" fmla="*/ 485165 w 571128"/>
                <a:gd name="connsiteY13" fmla="*/ 463407 h 761503"/>
                <a:gd name="connsiteX14" fmla="*/ 482445 w 571128"/>
                <a:gd name="connsiteY14" fmla="*/ 515080 h 761503"/>
                <a:gd name="connsiteX15" fmla="*/ 482445 w 571128"/>
                <a:gd name="connsiteY15" fmla="*/ 558595 h 761503"/>
                <a:gd name="connsiteX16" fmla="*/ 479725 w 571128"/>
                <a:gd name="connsiteY16" fmla="*/ 602109 h 761503"/>
                <a:gd name="connsiteX17" fmla="*/ 485165 w 571128"/>
                <a:gd name="connsiteY17" fmla="*/ 648343 h 761503"/>
                <a:gd name="connsiteX18" fmla="*/ 474286 w 571128"/>
                <a:gd name="connsiteY18" fmla="*/ 675540 h 761503"/>
                <a:gd name="connsiteX19" fmla="*/ 428052 w 571128"/>
                <a:gd name="connsiteY19" fmla="*/ 691858 h 761503"/>
                <a:gd name="connsiteX20" fmla="*/ 387257 w 571128"/>
                <a:gd name="connsiteY20" fmla="*/ 683699 h 761503"/>
                <a:gd name="connsiteX21" fmla="*/ 351901 w 571128"/>
                <a:gd name="connsiteY21" fmla="*/ 664661 h 761503"/>
                <a:gd name="connsiteX22" fmla="*/ 305667 w 571128"/>
                <a:gd name="connsiteY22" fmla="*/ 596670 h 761503"/>
                <a:gd name="connsiteX23" fmla="*/ 270312 w 571128"/>
                <a:gd name="connsiteY23" fmla="*/ 509641 h 761503"/>
                <a:gd name="connsiteX24" fmla="*/ 251274 w 571128"/>
                <a:gd name="connsiteY24" fmla="*/ 460687 h 761503"/>
                <a:gd name="connsiteX25" fmla="*/ 224077 w 571128"/>
                <a:gd name="connsiteY25" fmla="*/ 381817 h 761503"/>
                <a:gd name="connsiteX26" fmla="*/ 207759 w 571128"/>
                <a:gd name="connsiteY26" fmla="*/ 330144 h 761503"/>
                <a:gd name="connsiteX27" fmla="*/ 191442 w 571128"/>
                <a:gd name="connsiteY27" fmla="*/ 286629 h 761503"/>
                <a:gd name="connsiteX28" fmla="*/ 183283 w 571128"/>
                <a:gd name="connsiteY28" fmla="*/ 278470 h 761503"/>
                <a:gd name="connsiteX29" fmla="*/ 180563 w 571128"/>
                <a:gd name="connsiteY29" fmla="*/ 292069 h 761503"/>
                <a:gd name="connsiteX30" fmla="*/ 180563 w 571128"/>
                <a:gd name="connsiteY30" fmla="*/ 305667 h 761503"/>
                <a:gd name="connsiteX31" fmla="*/ 183283 w 571128"/>
                <a:gd name="connsiteY31" fmla="*/ 354621 h 761503"/>
                <a:gd name="connsiteX32" fmla="*/ 188722 w 571128"/>
                <a:gd name="connsiteY32" fmla="*/ 449809 h 761503"/>
                <a:gd name="connsiteX33" fmla="*/ 188722 w 571128"/>
                <a:gd name="connsiteY33" fmla="*/ 479725 h 761503"/>
                <a:gd name="connsiteX34" fmla="*/ 188722 w 571128"/>
                <a:gd name="connsiteY34" fmla="*/ 542277 h 761503"/>
                <a:gd name="connsiteX35" fmla="*/ 186002 w 571128"/>
                <a:gd name="connsiteY35" fmla="*/ 615708 h 761503"/>
                <a:gd name="connsiteX36" fmla="*/ 186002 w 571128"/>
                <a:gd name="connsiteY36" fmla="*/ 637465 h 761503"/>
                <a:gd name="connsiteX37" fmla="*/ 183283 w 571128"/>
                <a:gd name="connsiteY37" fmla="*/ 664661 h 761503"/>
                <a:gd name="connsiteX38" fmla="*/ 226797 w 571128"/>
                <a:gd name="connsiteY38" fmla="*/ 664661 h 761503"/>
                <a:gd name="connsiteX39" fmla="*/ 253994 w 571128"/>
                <a:gd name="connsiteY39" fmla="*/ 680979 h 761503"/>
                <a:gd name="connsiteX40" fmla="*/ 248554 w 571128"/>
                <a:gd name="connsiteY40" fmla="*/ 697297 h 761503"/>
                <a:gd name="connsiteX41" fmla="*/ 234956 w 571128"/>
                <a:gd name="connsiteY41" fmla="*/ 705456 h 761503"/>
                <a:gd name="connsiteX42" fmla="*/ 218638 w 571128"/>
                <a:gd name="connsiteY42" fmla="*/ 708176 h 761503"/>
                <a:gd name="connsiteX43" fmla="*/ 183283 w 571128"/>
                <a:gd name="connsiteY43" fmla="*/ 708176 h 761503"/>
                <a:gd name="connsiteX44" fmla="*/ 150647 w 571128"/>
                <a:gd name="connsiteY44" fmla="*/ 708176 h 761503"/>
                <a:gd name="connsiteX45" fmla="*/ 107132 w 571128"/>
                <a:gd name="connsiteY45" fmla="*/ 708176 h 761503"/>
                <a:gd name="connsiteX46" fmla="*/ 88094 w 571128"/>
                <a:gd name="connsiteY46" fmla="*/ 708176 h 761503"/>
                <a:gd name="connsiteX47" fmla="*/ 69057 w 571128"/>
                <a:gd name="connsiteY47" fmla="*/ 702737 h 761503"/>
                <a:gd name="connsiteX48" fmla="*/ 58178 w 571128"/>
                <a:gd name="connsiteY48" fmla="*/ 686419 h 761503"/>
                <a:gd name="connsiteX49" fmla="*/ 60898 w 571128"/>
                <a:gd name="connsiteY49" fmla="*/ 678260 h 761503"/>
                <a:gd name="connsiteX50" fmla="*/ 77216 w 571128"/>
                <a:gd name="connsiteY50" fmla="*/ 670101 h 761503"/>
                <a:gd name="connsiteX51" fmla="*/ 120730 w 571128"/>
                <a:gd name="connsiteY51" fmla="*/ 664661 h 761503"/>
                <a:gd name="connsiteX52" fmla="*/ 131609 w 571128"/>
                <a:gd name="connsiteY52" fmla="*/ 664661 h 761503"/>
                <a:gd name="connsiteX53" fmla="*/ 134329 w 571128"/>
                <a:gd name="connsiteY53" fmla="*/ 539557 h 761503"/>
                <a:gd name="connsiteX54" fmla="*/ 134329 w 571128"/>
                <a:gd name="connsiteY54" fmla="*/ 504202 h 761503"/>
                <a:gd name="connsiteX55" fmla="*/ 131609 w 571128"/>
                <a:gd name="connsiteY55" fmla="*/ 376378 h 761503"/>
                <a:gd name="connsiteX56" fmla="*/ 131609 w 571128"/>
                <a:gd name="connsiteY56" fmla="*/ 302947 h 761503"/>
                <a:gd name="connsiteX57" fmla="*/ 134329 w 571128"/>
                <a:gd name="connsiteY57" fmla="*/ 221357 h 761503"/>
                <a:gd name="connsiteX58" fmla="*/ 137048 w 571128"/>
                <a:gd name="connsiteY58" fmla="*/ 123450 h 761503"/>
                <a:gd name="connsiteX59" fmla="*/ 107132 w 571128"/>
                <a:gd name="connsiteY59" fmla="*/ 123450 h 761503"/>
                <a:gd name="connsiteX60" fmla="*/ 88094 w 571128"/>
                <a:gd name="connsiteY60" fmla="*/ 123450 h 761503"/>
                <a:gd name="connsiteX61" fmla="*/ 69057 w 571128"/>
                <a:gd name="connsiteY61" fmla="*/ 118011 h 761503"/>
                <a:gd name="connsiteX62" fmla="*/ 58178 w 571128"/>
                <a:gd name="connsiteY62" fmla="*/ 101693 h 761503"/>
                <a:gd name="connsiteX63" fmla="*/ 60898 w 571128"/>
                <a:gd name="connsiteY63" fmla="*/ 93534 h 761503"/>
                <a:gd name="connsiteX64" fmla="*/ 77216 w 571128"/>
                <a:gd name="connsiteY64" fmla="*/ 85375 h 761503"/>
                <a:gd name="connsiteX65" fmla="*/ 131609 w 571128"/>
                <a:gd name="connsiteY65" fmla="*/ 79936 h 761503"/>
                <a:gd name="connsiteX66" fmla="*/ 161525 w 571128"/>
                <a:gd name="connsiteY66" fmla="*/ 79936 h 761503"/>
                <a:gd name="connsiteX67" fmla="*/ 177843 w 571128"/>
                <a:gd name="connsiteY67" fmla="*/ 66337 h 761503"/>
                <a:gd name="connsiteX68" fmla="*/ 202320 w 571128"/>
                <a:gd name="connsiteY68" fmla="*/ 58178 h 761503"/>
                <a:gd name="connsiteX69" fmla="*/ 234956 w 571128"/>
                <a:gd name="connsiteY69" fmla="*/ 77216 h 761503"/>
                <a:gd name="connsiteX70" fmla="*/ 251274 w 571128"/>
                <a:gd name="connsiteY70" fmla="*/ 107132 h 761503"/>
                <a:gd name="connsiteX71" fmla="*/ 267592 w 571128"/>
                <a:gd name="connsiteY71" fmla="*/ 147927 h 761503"/>
                <a:gd name="connsiteX72" fmla="*/ 281190 w 571128"/>
                <a:gd name="connsiteY72" fmla="*/ 183282 h 761503"/>
                <a:gd name="connsiteX73" fmla="*/ 297508 w 571128"/>
                <a:gd name="connsiteY73" fmla="*/ 224077 h 761503"/>
                <a:gd name="connsiteX74" fmla="*/ 308387 w 571128"/>
                <a:gd name="connsiteY74" fmla="*/ 264872 h 761503"/>
                <a:gd name="connsiteX75" fmla="*/ 319265 w 571128"/>
                <a:gd name="connsiteY75" fmla="*/ 300228 h 761503"/>
                <a:gd name="connsiteX76" fmla="*/ 351901 w 571128"/>
                <a:gd name="connsiteY76" fmla="*/ 379098 h 761503"/>
                <a:gd name="connsiteX77" fmla="*/ 365500 w 571128"/>
                <a:gd name="connsiteY77" fmla="*/ 417173 h 761503"/>
                <a:gd name="connsiteX78" fmla="*/ 379098 w 571128"/>
                <a:gd name="connsiteY78" fmla="*/ 457968 h 761503"/>
                <a:gd name="connsiteX79" fmla="*/ 395416 w 571128"/>
                <a:gd name="connsiteY79" fmla="*/ 496043 h 761503"/>
                <a:gd name="connsiteX80" fmla="*/ 406295 w 571128"/>
                <a:gd name="connsiteY80" fmla="*/ 512361 h 761503"/>
                <a:gd name="connsiteX81" fmla="*/ 411734 w 571128"/>
                <a:gd name="connsiteY81" fmla="*/ 531398 h 761503"/>
                <a:gd name="connsiteX82" fmla="*/ 419893 w 571128"/>
                <a:gd name="connsiteY82" fmla="*/ 558595 h 761503"/>
                <a:gd name="connsiteX83" fmla="*/ 425332 w 571128"/>
                <a:gd name="connsiteY83" fmla="*/ 564034 h 761503"/>
                <a:gd name="connsiteX84" fmla="*/ 430771 w 571128"/>
                <a:gd name="connsiteY84" fmla="*/ 558595 h 761503"/>
                <a:gd name="connsiteX85" fmla="*/ 430771 w 571128"/>
                <a:gd name="connsiteY85" fmla="*/ 550436 h 761503"/>
                <a:gd name="connsiteX86" fmla="*/ 430771 w 571128"/>
                <a:gd name="connsiteY86" fmla="*/ 501482 h 761503"/>
                <a:gd name="connsiteX87" fmla="*/ 430771 w 571128"/>
                <a:gd name="connsiteY87" fmla="*/ 403575 h 761503"/>
                <a:gd name="connsiteX88" fmla="*/ 425332 w 571128"/>
                <a:gd name="connsiteY88" fmla="*/ 313826 h 761503"/>
                <a:gd name="connsiteX89" fmla="*/ 425332 w 571128"/>
                <a:gd name="connsiteY89" fmla="*/ 248554 h 761503"/>
                <a:gd name="connsiteX90" fmla="*/ 425332 w 571128"/>
                <a:gd name="connsiteY90" fmla="*/ 210479 h 761503"/>
                <a:gd name="connsiteX91" fmla="*/ 422613 w 571128"/>
                <a:gd name="connsiteY91" fmla="*/ 153366 h 761503"/>
                <a:gd name="connsiteX92" fmla="*/ 425332 w 571128"/>
                <a:gd name="connsiteY92" fmla="*/ 123450 h 761503"/>
                <a:gd name="connsiteX93" fmla="*/ 398136 w 571128"/>
                <a:gd name="connsiteY93" fmla="*/ 123450 h 761503"/>
                <a:gd name="connsiteX94" fmla="*/ 379098 w 571128"/>
                <a:gd name="connsiteY94" fmla="*/ 123450 h 761503"/>
                <a:gd name="connsiteX95" fmla="*/ 360060 w 571128"/>
                <a:gd name="connsiteY95" fmla="*/ 118011 h 761503"/>
                <a:gd name="connsiteX96" fmla="*/ 349182 w 571128"/>
                <a:gd name="connsiteY96" fmla="*/ 101693 h 761503"/>
                <a:gd name="connsiteX97" fmla="*/ 351901 w 571128"/>
                <a:gd name="connsiteY97" fmla="*/ 93534 h 761503"/>
                <a:gd name="connsiteX98" fmla="*/ 368219 w 571128"/>
                <a:gd name="connsiteY98" fmla="*/ 85375 h 761503"/>
                <a:gd name="connsiteX99" fmla="*/ 422613 w 571128"/>
                <a:gd name="connsiteY99" fmla="*/ 79936 h 761503"/>
                <a:gd name="connsiteX100" fmla="*/ 444370 w 571128"/>
                <a:gd name="connsiteY100" fmla="*/ 79936 h 761503"/>
                <a:gd name="connsiteX101" fmla="*/ 463407 w 571128"/>
                <a:gd name="connsiteY101" fmla="*/ 71776 h 761503"/>
                <a:gd name="connsiteX102" fmla="*/ 477006 w 571128"/>
                <a:gd name="connsiteY102" fmla="*/ 79936 h 761503"/>
                <a:gd name="connsiteX103" fmla="*/ 512361 w 571128"/>
                <a:gd name="connsiteY103" fmla="*/ 79936 h 761503"/>
                <a:gd name="connsiteX104" fmla="*/ 512361 w 571128"/>
                <a:gd name="connsiteY104" fmla="*/ 79936 h 761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</a:cxnLst>
              <a:rect l="l" t="t" r="r" b="b"/>
              <a:pathLst>
                <a:path w="571128" h="761503">
                  <a:moveTo>
                    <a:pt x="512361" y="79936"/>
                  </a:moveTo>
                  <a:cubicBezTo>
                    <a:pt x="520520" y="79936"/>
                    <a:pt x="539558" y="79936"/>
                    <a:pt x="539558" y="96253"/>
                  </a:cubicBezTo>
                  <a:cubicBezTo>
                    <a:pt x="539558" y="104412"/>
                    <a:pt x="539558" y="107132"/>
                    <a:pt x="534118" y="112571"/>
                  </a:cubicBezTo>
                  <a:cubicBezTo>
                    <a:pt x="531399" y="118011"/>
                    <a:pt x="525960" y="120730"/>
                    <a:pt x="523240" y="120730"/>
                  </a:cubicBezTo>
                  <a:cubicBezTo>
                    <a:pt x="515081" y="123450"/>
                    <a:pt x="512361" y="123450"/>
                    <a:pt x="506922" y="123450"/>
                  </a:cubicBezTo>
                  <a:cubicBezTo>
                    <a:pt x="504202" y="123450"/>
                    <a:pt x="490604" y="123450"/>
                    <a:pt x="477006" y="123450"/>
                  </a:cubicBezTo>
                  <a:cubicBezTo>
                    <a:pt x="477006" y="131609"/>
                    <a:pt x="479725" y="137048"/>
                    <a:pt x="479725" y="145207"/>
                  </a:cubicBezTo>
                  <a:cubicBezTo>
                    <a:pt x="479725" y="156086"/>
                    <a:pt x="477006" y="166964"/>
                    <a:pt x="477006" y="180563"/>
                  </a:cubicBezTo>
                  <a:cubicBezTo>
                    <a:pt x="477006" y="196881"/>
                    <a:pt x="479725" y="215918"/>
                    <a:pt x="482445" y="232236"/>
                  </a:cubicBezTo>
                  <a:cubicBezTo>
                    <a:pt x="485165" y="248554"/>
                    <a:pt x="485165" y="267592"/>
                    <a:pt x="485165" y="283910"/>
                  </a:cubicBezTo>
                  <a:cubicBezTo>
                    <a:pt x="485165" y="297508"/>
                    <a:pt x="485165" y="313826"/>
                    <a:pt x="485165" y="327424"/>
                  </a:cubicBezTo>
                  <a:cubicBezTo>
                    <a:pt x="485165" y="343742"/>
                    <a:pt x="487884" y="357340"/>
                    <a:pt x="487884" y="373658"/>
                  </a:cubicBezTo>
                  <a:cubicBezTo>
                    <a:pt x="487884" y="389976"/>
                    <a:pt x="485165" y="403575"/>
                    <a:pt x="485165" y="419892"/>
                  </a:cubicBezTo>
                  <a:cubicBezTo>
                    <a:pt x="485165" y="436210"/>
                    <a:pt x="485165" y="449809"/>
                    <a:pt x="485165" y="463407"/>
                  </a:cubicBezTo>
                  <a:cubicBezTo>
                    <a:pt x="485165" y="479725"/>
                    <a:pt x="485165" y="498762"/>
                    <a:pt x="482445" y="515080"/>
                  </a:cubicBezTo>
                  <a:cubicBezTo>
                    <a:pt x="482445" y="528679"/>
                    <a:pt x="482445" y="542277"/>
                    <a:pt x="482445" y="558595"/>
                  </a:cubicBezTo>
                  <a:cubicBezTo>
                    <a:pt x="482445" y="572193"/>
                    <a:pt x="479725" y="588511"/>
                    <a:pt x="479725" y="602109"/>
                  </a:cubicBezTo>
                  <a:cubicBezTo>
                    <a:pt x="479725" y="615708"/>
                    <a:pt x="485165" y="632026"/>
                    <a:pt x="485165" y="648343"/>
                  </a:cubicBezTo>
                  <a:cubicBezTo>
                    <a:pt x="485165" y="659222"/>
                    <a:pt x="482445" y="670101"/>
                    <a:pt x="474286" y="675540"/>
                  </a:cubicBezTo>
                  <a:cubicBezTo>
                    <a:pt x="460688" y="686419"/>
                    <a:pt x="444370" y="691858"/>
                    <a:pt x="428052" y="691858"/>
                  </a:cubicBezTo>
                  <a:cubicBezTo>
                    <a:pt x="414454" y="691858"/>
                    <a:pt x="400855" y="689138"/>
                    <a:pt x="387257" y="683699"/>
                  </a:cubicBezTo>
                  <a:cubicBezTo>
                    <a:pt x="373659" y="678260"/>
                    <a:pt x="360060" y="672820"/>
                    <a:pt x="351901" y="664661"/>
                  </a:cubicBezTo>
                  <a:cubicBezTo>
                    <a:pt x="330144" y="645624"/>
                    <a:pt x="316546" y="621147"/>
                    <a:pt x="305667" y="596670"/>
                  </a:cubicBezTo>
                  <a:cubicBezTo>
                    <a:pt x="292069" y="569473"/>
                    <a:pt x="281190" y="539557"/>
                    <a:pt x="270312" y="509641"/>
                  </a:cubicBezTo>
                  <a:cubicBezTo>
                    <a:pt x="264872" y="493323"/>
                    <a:pt x="256713" y="477005"/>
                    <a:pt x="251274" y="460687"/>
                  </a:cubicBezTo>
                  <a:cubicBezTo>
                    <a:pt x="240395" y="433491"/>
                    <a:pt x="232236" y="409014"/>
                    <a:pt x="224077" y="381817"/>
                  </a:cubicBezTo>
                  <a:cubicBezTo>
                    <a:pt x="218638" y="365499"/>
                    <a:pt x="213199" y="346462"/>
                    <a:pt x="207759" y="330144"/>
                  </a:cubicBezTo>
                  <a:cubicBezTo>
                    <a:pt x="202320" y="316545"/>
                    <a:pt x="196881" y="300228"/>
                    <a:pt x="191442" y="286629"/>
                  </a:cubicBezTo>
                  <a:cubicBezTo>
                    <a:pt x="188722" y="281190"/>
                    <a:pt x="186002" y="278470"/>
                    <a:pt x="183283" y="278470"/>
                  </a:cubicBezTo>
                  <a:cubicBezTo>
                    <a:pt x="180563" y="278470"/>
                    <a:pt x="180563" y="286629"/>
                    <a:pt x="180563" y="292069"/>
                  </a:cubicBezTo>
                  <a:cubicBezTo>
                    <a:pt x="180563" y="297508"/>
                    <a:pt x="180563" y="302947"/>
                    <a:pt x="180563" y="305667"/>
                  </a:cubicBezTo>
                  <a:cubicBezTo>
                    <a:pt x="180563" y="321985"/>
                    <a:pt x="183283" y="338303"/>
                    <a:pt x="183283" y="354621"/>
                  </a:cubicBezTo>
                  <a:cubicBezTo>
                    <a:pt x="183283" y="387257"/>
                    <a:pt x="186002" y="417173"/>
                    <a:pt x="188722" y="449809"/>
                  </a:cubicBezTo>
                  <a:cubicBezTo>
                    <a:pt x="188722" y="460687"/>
                    <a:pt x="188722" y="468846"/>
                    <a:pt x="188722" y="479725"/>
                  </a:cubicBezTo>
                  <a:cubicBezTo>
                    <a:pt x="188722" y="501482"/>
                    <a:pt x="188722" y="523239"/>
                    <a:pt x="188722" y="542277"/>
                  </a:cubicBezTo>
                  <a:cubicBezTo>
                    <a:pt x="188722" y="566754"/>
                    <a:pt x="186002" y="591231"/>
                    <a:pt x="186002" y="615708"/>
                  </a:cubicBezTo>
                  <a:cubicBezTo>
                    <a:pt x="186002" y="623867"/>
                    <a:pt x="186002" y="632026"/>
                    <a:pt x="186002" y="637465"/>
                  </a:cubicBezTo>
                  <a:cubicBezTo>
                    <a:pt x="186002" y="645624"/>
                    <a:pt x="183283" y="656502"/>
                    <a:pt x="183283" y="664661"/>
                  </a:cubicBezTo>
                  <a:cubicBezTo>
                    <a:pt x="202320" y="664661"/>
                    <a:pt x="218638" y="664661"/>
                    <a:pt x="226797" y="664661"/>
                  </a:cubicBezTo>
                  <a:cubicBezTo>
                    <a:pt x="234956" y="664661"/>
                    <a:pt x="253994" y="664661"/>
                    <a:pt x="253994" y="680979"/>
                  </a:cubicBezTo>
                  <a:cubicBezTo>
                    <a:pt x="253994" y="689138"/>
                    <a:pt x="253994" y="691858"/>
                    <a:pt x="248554" y="697297"/>
                  </a:cubicBezTo>
                  <a:cubicBezTo>
                    <a:pt x="245835" y="702737"/>
                    <a:pt x="240395" y="705456"/>
                    <a:pt x="234956" y="705456"/>
                  </a:cubicBezTo>
                  <a:cubicBezTo>
                    <a:pt x="226797" y="708176"/>
                    <a:pt x="224077" y="708176"/>
                    <a:pt x="218638" y="708176"/>
                  </a:cubicBezTo>
                  <a:cubicBezTo>
                    <a:pt x="215918" y="708176"/>
                    <a:pt x="199600" y="708176"/>
                    <a:pt x="183283" y="708176"/>
                  </a:cubicBezTo>
                  <a:cubicBezTo>
                    <a:pt x="166965" y="708176"/>
                    <a:pt x="153366" y="708176"/>
                    <a:pt x="150647" y="708176"/>
                  </a:cubicBezTo>
                  <a:cubicBezTo>
                    <a:pt x="139768" y="708176"/>
                    <a:pt x="120730" y="708176"/>
                    <a:pt x="107132" y="708176"/>
                  </a:cubicBezTo>
                  <a:cubicBezTo>
                    <a:pt x="101693" y="708176"/>
                    <a:pt x="96253" y="708176"/>
                    <a:pt x="88094" y="708176"/>
                  </a:cubicBezTo>
                  <a:cubicBezTo>
                    <a:pt x="82655" y="708176"/>
                    <a:pt x="74496" y="708176"/>
                    <a:pt x="69057" y="702737"/>
                  </a:cubicBezTo>
                  <a:cubicBezTo>
                    <a:pt x="63618" y="700017"/>
                    <a:pt x="58178" y="691858"/>
                    <a:pt x="58178" y="686419"/>
                  </a:cubicBezTo>
                  <a:cubicBezTo>
                    <a:pt x="58178" y="683699"/>
                    <a:pt x="58178" y="680979"/>
                    <a:pt x="60898" y="678260"/>
                  </a:cubicBezTo>
                  <a:cubicBezTo>
                    <a:pt x="63618" y="675540"/>
                    <a:pt x="71777" y="672820"/>
                    <a:pt x="77216" y="670101"/>
                  </a:cubicBezTo>
                  <a:cubicBezTo>
                    <a:pt x="90814" y="667381"/>
                    <a:pt x="115291" y="664661"/>
                    <a:pt x="120730" y="664661"/>
                  </a:cubicBezTo>
                  <a:cubicBezTo>
                    <a:pt x="123450" y="664661"/>
                    <a:pt x="126170" y="664661"/>
                    <a:pt x="131609" y="664661"/>
                  </a:cubicBezTo>
                  <a:cubicBezTo>
                    <a:pt x="131609" y="623867"/>
                    <a:pt x="134329" y="583072"/>
                    <a:pt x="134329" y="539557"/>
                  </a:cubicBezTo>
                  <a:cubicBezTo>
                    <a:pt x="134329" y="528679"/>
                    <a:pt x="134329" y="515080"/>
                    <a:pt x="134329" y="504202"/>
                  </a:cubicBezTo>
                  <a:cubicBezTo>
                    <a:pt x="131609" y="460687"/>
                    <a:pt x="131609" y="417173"/>
                    <a:pt x="131609" y="376378"/>
                  </a:cubicBezTo>
                  <a:cubicBezTo>
                    <a:pt x="131609" y="351901"/>
                    <a:pt x="131609" y="327424"/>
                    <a:pt x="131609" y="302947"/>
                  </a:cubicBezTo>
                  <a:cubicBezTo>
                    <a:pt x="131609" y="275751"/>
                    <a:pt x="131609" y="248554"/>
                    <a:pt x="134329" y="221357"/>
                  </a:cubicBezTo>
                  <a:cubicBezTo>
                    <a:pt x="134329" y="188722"/>
                    <a:pt x="137048" y="156086"/>
                    <a:pt x="137048" y="123450"/>
                  </a:cubicBezTo>
                  <a:cubicBezTo>
                    <a:pt x="126170" y="123450"/>
                    <a:pt x="115291" y="123450"/>
                    <a:pt x="107132" y="123450"/>
                  </a:cubicBezTo>
                  <a:cubicBezTo>
                    <a:pt x="101693" y="123450"/>
                    <a:pt x="96253" y="123450"/>
                    <a:pt x="88094" y="123450"/>
                  </a:cubicBezTo>
                  <a:cubicBezTo>
                    <a:pt x="82655" y="123450"/>
                    <a:pt x="74496" y="120730"/>
                    <a:pt x="69057" y="118011"/>
                  </a:cubicBezTo>
                  <a:cubicBezTo>
                    <a:pt x="63618" y="115291"/>
                    <a:pt x="58178" y="107132"/>
                    <a:pt x="58178" y="101693"/>
                  </a:cubicBezTo>
                  <a:cubicBezTo>
                    <a:pt x="58178" y="98973"/>
                    <a:pt x="58178" y="96253"/>
                    <a:pt x="60898" y="93534"/>
                  </a:cubicBezTo>
                  <a:cubicBezTo>
                    <a:pt x="63618" y="90814"/>
                    <a:pt x="71777" y="88095"/>
                    <a:pt x="77216" y="85375"/>
                  </a:cubicBezTo>
                  <a:cubicBezTo>
                    <a:pt x="90814" y="82655"/>
                    <a:pt x="126170" y="79936"/>
                    <a:pt x="131609" y="79936"/>
                  </a:cubicBezTo>
                  <a:cubicBezTo>
                    <a:pt x="137048" y="79936"/>
                    <a:pt x="147927" y="79936"/>
                    <a:pt x="161525" y="79936"/>
                  </a:cubicBezTo>
                  <a:cubicBezTo>
                    <a:pt x="166965" y="74496"/>
                    <a:pt x="172404" y="71776"/>
                    <a:pt x="177843" y="66337"/>
                  </a:cubicBezTo>
                  <a:cubicBezTo>
                    <a:pt x="186002" y="60898"/>
                    <a:pt x="194161" y="58178"/>
                    <a:pt x="202320" y="58178"/>
                  </a:cubicBezTo>
                  <a:cubicBezTo>
                    <a:pt x="215918" y="58178"/>
                    <a:pt x="226797" y="63618"/>
                    <a:pt x="234956" y="77216"/>
                  </a:cubicBezTo>
                  <a:cubicBezTo>
                    <a:pt x="240395" y="88095"/>
                    <a:pt x="248554" y="96253"/>
                    <a:pt x="251274" y="107132"/>
                  </a:cubicBezTo>
                  <a:cubicBezTo>
                    <a:pt x="256713" y="120730"/>
                    <a:pt x="259433" y="134329"/>
                    <a:pt x="267592" y="147927"/>
                  </a:cubicBezTo>
                  <a:cubicBezTo>
                    <a:pt x="273031" y="158806"/>
                    <a:pt x="275751" y="172404"/>
                    <a:pt x="281190" y="183282"/>
                  </a:cubicBezTo>
                  <a:cubicBezTo>
                    <a:pt x="286630" y="196881"/>
                    <a:pt x="292069" y="210479"/>
                    <a:pt x="297508" y="224077"/>
                  </a:cubicBezTo>
                  <a:cubicBezTo>
                    <a:pt x="300228" y="237676"/>
                    <a:pt x="305667" y="251274"/>
                    <a:pt x="308387" y="264872"/>
                  </a:cubicBezTo>
                  <a:cubicBezTo>
                    <a:pt x="311107" y="278470"/>
                    <a:pt x="311107" y="289349"/>
                    <a:pt x="319265" y="300228"/>
                  </a:cubicBezTo>
                  <a:cubicBezTo>
                    <a:pt x="332864" y="324704"/>
                    <a:pt x="346462" y="351901"/>
                    <a:pt x="351901" y="379098"/>
                  </a:cubicBezTo>
                  <a:cubicBezTo>
                    <a:pt x="354621" y="392696"/>
                    <a:pt x="360060" y="403575"/>
                    <a:pt x="365500" y="417173"/>
                  </a:cubicBezTo>
                  <a:cubicBezTo>
                    <a:pt x="373659" y="430771"/>
                    <a:pt x="373659" y="444369"/>
                    <a:pt x="379098" y="457968"/>
                  </a:cubicBezTo>
                  <a:cubicBezTo>
                    <a:pt x="381818" y="471566"/>
                    <a:pt x="387257" y="482445"/>
                    <a:pt x="395416" y="496043"/>
                  </a:cubicBezTo>
                  <a:cubicBezTo>
                    <a:pt x="398136" y="501482"/>
                    <a:pt x="403575" y="506921"/>
                    <a:pt x="406295" y="512361"/>
                  </a:cubicBezTo>
                  <a:cubicBezTo>
                    <a:pt x="409014" y="517800"/>
                    <a:pt x="409014" y="525959"/>
                    <a:pt x="411734" y="531398"/>
                  </a:cubicBezTo>
                  <a:cubicBezTo>
                    <a:pt x="414454" y="539557"/>
                    <a:pt x="417173" y="550436"/>
                    <a:pt x="419893" y="558595"/>
                  </a:cubicBezTo>
                  <a:cubicBezTo>
                    <a:pt x="422613" y="561314"/>
                    <a:pt x="422613" y="564034"/>
                    <a:pt x="425332" y="564034"/>
                  </a:cubicBezTo>
                  <a:cubicBezTo>
                    <a:pt x="428052" y="564034"/>
                    <a:pt x="428052" y="561314"/>
                    <a:pt x="430771" y="558595"/>
                  </a:cubicBezTo>
                  <a:cubicBezTo>
                    <a:pt x="430771" y="555875"/>
                    <a:pt x="430771" y="553156"/>
                    <a:pt x="430771" y="550436"/>
                  </a:cubicBezTo>
                  <a:cubicBezTo>
                    <a:pt x="430771" y="534118"/>
                    <a:pt x="430771" y="517800"/>
                    <a:pt x="430771" y="501482"/>
                  </a:cubicBezTo>
                  <a:cubicBezTo>
                    <a:pt x="430771" y="468846"/>
                    <a:pt x="433491" y="436210"/>
                    <a:pt x="430771" y="403575"/>
                  </a:cubicBezTo>
                  <a:cubicBezTo>
                    <a:pt x="430771" y="373658"/>
                    <a:pt x="425332" y="343742"/>
                    <a:pt x="425332" y="313826"/>
                  </a:cubicBezTo>
                  <a:cubicBezTo>
                    <a:pt x="425332" y="292069"/>
                    <a:pt x="425332" y="270311"/>
                    <a:pt x="425332" y="248554"/>
                  </a:cubicBezTo>
                  <a:cubicBezTo>
                    <a:pt x="425332" y="234956"/>
                    <a:pt x="425332" y="224077"/>
                    <a:pt x="425332" y="210479"/>
                  </a:cubicBezTo>
                  <a:cubicBezTo>
                    <a:pt x="425332" y="191441"/>
                    <a:pt x="422613" y="172404"/>
                    <a:pt x="422613" y="153366"/>
                  </a:cubicBezTo>
                  <a:cubicBezTo>
                    <a:pt x="422613" y="142488"/>
                    <a:pt x="422613" y="134329"/>
                    <a:pt x="425332" y="123450"/>
                  </a:cubicBezTo>
                  <a:cubicBezTo>
                    <a:pt x="417173" y="123450"/>
                    <a:pt x="406295" y="123450"/>
                    <a:pt x="398136" y="123450"/>
                  </a:cubicBezTo>
                  <a:cubicBezTo>
                    <a:pt x="392696" y="123450"/>
                    <a:pt x="387257" y="123450"/>
                    <a:pt x="379098" y="123450"/>
                  </a:cubicBezTo>
                  <a:cubicBezTo>
                    <a:pt x="373659" y="123450"/>
                    <a:pt x="365500" y="120730"/>
                    <a:pt x="360060" y="118011"/>
                  </a:cubicBezTo>
                  <a:cubicBezTo>
                    <a:pt x="354621" y="115291"/>
                    <a:pt x="349182" y="107132"/>
                    <a:pt x="349182" y="101693"/>
                  </a:cubicBezTo>
                  <a:cubicBezTo>
                    <a:pt x="349182" y="98973"/>
                    <a:pt x="349182" y="96253"/>
                    <a:pt x="351901" y="93534"/>
                  </a:cubicBezTo>
                  <a:cubicBezTo>
                    <a:pt x="354621" y="90814"/>
                    <a:pt x="362780" y="88095"/>
                    <a:pt x="368219" y="85375"/>
                  </a:cubicBezTo>
                  <a:cubicBezTo>
                    <a:pt x="381818" y="82655"/>
                    <a:pt x="417173" y="79936"/>
                    <a:pt x="422613" y="79936"/>
                  </a:cubicBezTo>
                  <a:cubicBezTo>
                    <a:pt x="428052" y="79936"/>
                    <a:pt x="433491" y="79936"/>
                    <a:pt x="444370" y="79936"/>
                  </a:cubicBezTo>
                  <a:cubicBezTo>
                    <a:pt x="449809" y="74496"/>
                    <a:pt x="455248" y="71776"/>
                    <a:pt x="463407" y="71776"/>
                  </a:cubicBezTo>
                  <a:cubicBezTo>
                    <a:pt x="471566" y="71776"/>
                    <a:pt x="477006" y="74496"/>
                    <a:pt x="477006" y="79936"/>
                  </a:cubicBezTo>
                  <a:cubicBezTo>
                    <a:pt x="490604" y="82655"/>
                    <a:pt x="504202" y="79936"/>
                    <a:pt x="512361" y="79936"/>
                  </a:cubicBezTo>
                  <a:lnTo>
                    <a:pt x="512361" y="79936"/>
                  </a:ln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/>
            </a:p>
          </p:txBody>
        </p:sp>
        <p:sp>
          <p:nvSpPr>
            <p:cNvPr id="35" name="Freeform: Shape 34">
              <a:extLst>
                <a:ext uri="{FF2B5EF4-FFF2-40B4-BE49-F238E27FC236}">
                  <a16:creationId xmlns:a16="http://schemas.microsoft.com/office/drawing/2014/main" id="{2F4008BD-B3CD-43DB-8BF6-4628F7BB2E8D}"/>
                </a:ext>
              </a:extLst>
            </p:cNvPr>
            <p:cNvSpPr/>
            <p:nvPr/>
          </p:nvSpPr>
          <p:spPr bwMode="black">
            <a:xfrm>
              <a:off x="2987430" y="4242177"/>
              <a:ext cx="494979" cy="674476"/>
            </a:xfrm>
            <a:custGeom>
              <a:avLst/>
              <a:gdLst>
                <a:gd name="connsiteX0" fmla="*/ 228453 w 494979"/>
                <a:gd name="connsiteY0" fmla="*/ 97907 h 674476"/>
                <a:gd name="connsiteX1" fmla="*/ 212135 w 494979"/>
                <a:gd name="connsiteY1" fmla="*/ 119665 h 674476"/>
                <a:gd name="connsiteX2" fmla="*/ 203976 w 494979"/>
                <a:gd name="connsiteY2" fmla="*/ 152300 h 674476"/>
                <a:gd name="connsiteX3" fmla="*/ 201256 w 494979"/>
                <a:gd name="connsiteY3" fmla="*/ 168618 h 674476"/>
                <a:gd name="connsiteX4" fmla="*/ 198537 w 494979"/>
                <a:gd name="connsiteY4" fmla="*/ 184936 h 674476"/>
                <a:gd name="connsiteX5" fmla="*/ 190378 w 494979"/>
                <a:gd name="connsiteY5" fmla="*/ 220292 h 674476"/>
                <a:gd name="connsiteX6" fmla="*/ 171340 w 494979"/>
                <a:gd name="connsiteY6" fmla="*/ 291003 h 674476"/>
                <a:gd name="connsiteX7" fmla="*/ 163180 w 494979"/>
                <a:gd name="connsiteY7" fmla="*/ 323639 h 674476"/>
                <a:gd name="connsiteX8" fmla="*/ 152302 w 494979"/>
                <a:gd name="connsiteY8" fmla="*/ 361714 h 674476"/>
                <a:gd name="connsiteX9" fmla="*/ 146862 w 494979"/>
                <a:gd name="connsiteY9" fmla="*/ 388910 h 674476"/>
                <a:gd name="connsiteX10" fmla="*/ 152302 w 494979"/>
                <a:gd name="connsiteY10" fmla="*/ 391630 h 674476"/>
                <a:gd name="connsiteX11" fmla="*/ 174060 w 494979"/>
                <a:gd name="connsiteY11" fmla="*/ 391630 h 674476"/>
                <a:gd name="connsiteX12" fmla="*/ 195817 w 494979"/>
                <a:gd name="connsiteY12" fmla="*/ 388910 h 674476"/>
                <a:gd name="connsiteX13" fmla="*/ 214855 w 494979"/>
                <a:gd name="connsiteY13" fmla="*/ 388910 h 674476"/>
                <a:gd name="connsiteX14" fmla="*/ 239332 w 494979"/>
                <a:gd name="connsiteY14" fmla="*/ 388910 h 674476"/>
                <a:gd name="connsiteX15" fmla="*/ 252930 w 494979"/>
                <a:gd name="connsiteY15" fmla="*/ 386191 h 674476"/>
                <a:gd name="connsiteX16" fmla="*/ 261089 w 494979"/>
                <a:gd name="connsiteY16" fmla="*/ 386191 h 674476"/>
                <a:gd name="connsiteX17" fmla="*/ 258369 w 494979"/>
                <a:gd name="connsiteY17" fmla="*/ 367153 h 674476"/>
                <a:gd name="connsiteX18" fmla="*/ 252930 w 494979"/>
                <a:gd name="connsiteY18" fmla="*/ 331797 h 674476"/>
                <a:gd name="connsiteX19" fmla="*/ 250210 w 494979"/>
                <a:gd name="connsiteY19" fmla="*/ 244769 h 674476"/>
                <a:gd name="connsiteX20" fmla="*/ 244771 w 494979"/>
                <a:gd name="connsiteY20" fmla="*/ 203974 h 674476"/>
                <a:gd name="connsiteX21" fmla="*/ 239332 w 494979"/>
                <a:gd name="connsiteY21" fmla="*/ 157740 h 674476"/>
                <a:gd name="connsiteX22" fmla="*/ 236612 w 494979"/>
                <a:gd name="connsiteY22" fmla="*/ 119665 h 674476"/>
                <a:gd name="connsiteX23" fmla="*/ 228453 w 494979"/>
                <a:gd name="connsiteY23" fmla="*/ 97907 h 674476"/>
                <a:gd name="connsiteX24" fmla="*/ 274687 w 494979"/>
                <a:gd name="connsiteY24" fmla="*/ 0 h 674476"/>
                <a:gd name="connsiteX25" fmla="*/ 304603 w 494979"/>
                <a:gd name="connsiteY25" fmla="*/ 5439 h 674476"/>
                <a:gd name="connsiteX26" fmla="*/ 320921 w 494979"/>
                <a:gd name="connsiteY26" fmla="*/ 24477 h 674476"/>
                <a:gd name="connsiteX27" fmla="*/ 334519 w 494979"/>
                <a:gd name="connsiteY27" fmla="*/ 43515 h 674476"/>
                <a:gd name="connsiteX28" fmla="*/ 339959 w 494979"/>
                <a:gd name="connsiteY28" fmla="*/ 65272 h 674476"/>
                <a:gd name="connsiteX29" fmla="*/ 348118 w 494979"/>
                <a:gd name="connsiteY29" fmla="*/ 114226 h 674476"/>
                <a:gd name="connsiteX30" fmla="*/ 361716 w 494979"/>
                <a:gd name="connsiteY30" fmla="*/ 163180 h 674476"/>
                <a:gd name="connsiteX31" fmla="*/ 369875 w 494979"/>
                <a:gd name="connsiteY31" fmla="*/ 220293 h 674476"/>
                <a:gd name="connsiteX32" fmla="*/ 378034 w 494979"/>
                <a:gd name="connsiteY32" fmla="*/ 274686 h 674476"/>
                <a:gd name="connsiteX33" fmla="*/ 383473 w 494979"/>
                <a:gd name="connsiteY33" fmla="*/ 301883 h 674476"/>
                <a:gd name="connsiteX34" fmla="*/ 391632 w 494979"/>
                <a:gd name="connsiteY34" fmla="*/ 337238 h 674476"/>
                <a:gd name="connsiteX35" fmla="*/ 397071 w 494979"/>
                <a:gd name="connsiteY35" fmla="*/ 364435 h 674476"/>
                <a:gd name="connsiteX36" fmla="*/ 405230 w 494979"/>
                <a:gd name="connsiteY36" fmla="*/ 383473 h 674476"/>
                <a:gd name="connsiteX37" fmla="*/ 416109 w 494979"/>
                <a:gd name="connsiteY37" fmla="*/ 386192 h 674476"/>
                <a:gd name="connsiteX38" fmla="*/ 426988 w 494979"/>
                <a:gd name="connsiteY38" fmla="*/ 386192 h 674476"/>
                <a:gd name="connsiteX39" fmla="*/ 454184 w 494979"/>
                <a:gd name="connsiteY39" fmla="*/ 397071 h 674476"/>
                <a:gd name="connsiteX40" fmla="*/ 456904 w 494979"/>
                <a:gd name="connsiteY40" fmla="*/ 405230 h 674476"/>
                <a:gd name="connsiteX41" fmla="*/ 451465 w 494979"/>
                <a:gd name="connsiteY41" fmla="*/ 416108 h 674476"/>
                <a:gd name="connsiteX42" fmla="*/ 432427 w 494979"/>
                <a:gd name="connsiteY42" fmla="*/ 429707 h 674476"/>
                <a:gd name="connsiteX43" fmla="*/ 421548 w 494979"/>
                <a:gd name="connsiteY43" fmla="*/ 432426 h 674476"/>
                <a:gd name="connsiteX44" fmla="*/ 413389 w 494979"/>
                <a:gd name="connsiteY44" fmla="*/ 435146 h 674476"/>
                <a:gd name="connsiteX45" fmla="*/ 413389 w 494979"/>
                <a:gd name="connsiteY45" fmla="*/ 440585 h 674476"/>
                <a:gd name="connsiteX46" fmla="*/ 416109 w 494979"/>
                <a:gd name="connsiteY46" fmla="*/ 451464 h 674476"/>
                <a:gd name="connsiteX47" fmla="*/ 418829 w 494979"/>
                <a:gd name="connsiteY47" fmla="*/ 465062 h 674476"/>
                <a:gd name="connsiteX48" fmla="*/ 418829 w 494979"/>
                <a:gd name="connsiteY48" fmla="*/ 475941 h 674476"/>
                <a:gd name="connsiteX49" fmla="*/ 418829 w 494979"/>
                <a:gd name="connsiteY49" fmla="*/ 486820 h 674476"/>
                <a:gd name="connsiteX50" fmla="*/ 426988 w 494979"/>
                <a:gd name="connsiteY50" fmla="*/ 516736 h 674476"/>
                <a:gd name="connsiteX51" fmla="*/ 432427 w 494979"/>
                <a:gd name="connsiteY51" fmla="*/ 543932 h 674476"/>
                <a:gd name="connsiteX52" fmla="*/ 437866 w 494979"/>
                <a:gd name="connsiteY52" fmla="*/ 573848 h 674476"/>
                <a:gd name="connsiteX53" fmla="*/ 443306 w 494979"/>
                <a:gd name="connsiteY53" fmla="*/ 606484 h 674476"/>
                <a:gd name="connsiteX54" fmla="*/ 446025 w 494979"/>
                <a:gd name="connsiteY54" fmla="*/ 617363 h 674476"/>
                <a:gd name="connsiteX55" fmla="*/ 470502 w 494979"/>
                <a:gd name="connsiteY55" fmla="*/ 617363 h 674476"/>
                <a:gd name="connsiteX56" fmla="*/ 494979 w 494979"/>
                <a:gd name="connsiteY56" fmla="*/ 641840 h 674476"/>
                <a:gd name="connsiteX57" fmla="*/ 486820 w 494979"/>
                <a:gd name="connsiteY57" fmla="*/ 655438 h 674476"/>
                <a:gd name="connsiteX58" fmla="*/ 470502 w 494979"/>
                <a:gd name="connsiteY58" fmla="*/ 663597 h 674476"/>
                <a:gd name="connsiteX59" fmla="*/ 446025 w 494979"/>
                <a:gd name="connsiteY59" fmla="*/ 666317 h 674476"/>
                <a:gd name="connsiteX60" fmla="*/ 424268 w 494979"/>
                <a:gd name="connsiteY60" fmla="*/ 666317 h 674476"/>
                <a:gd name="connsiteX61" fmla="*/ 416109 w 494979"/>
                <a:gd name="connsiteY61" fmla="*/ 666317 h 674476"/>
                <a:gd name="connsiteX62" fmla="*/ 402511 w 494979"/>
                <a:gd name="connsiteY62" fmla="*/ 671756 h 674476"/>
                <a:gd name="connsiteX63" fmla="*/ 386193 w 494979"/>
                <a:gd name="connsiteY63" fmla="*/ 674476 h 674476"/>
                <a:gd name="connsiteX64" fmla="*/ 350837 w 494979"/>
                <a:gd name="connsiteY64" fmla="*/ 669036 h 674476"/>
                <a:gd name="connsiteX65" fmla="*/ 329080 w 494979"/>
                <a:gd name="connsiteY65" fmla="*/ 669036 h 674476"/>
                <a:gd name="connsiteX66" fmla="*/ 280126 w 494979"/>
                <a:gd name="connsiteY66" fmla="*/ 669036 h 674476"/>
                <a:gd name="connsiteX67" fmla="*/ 255649 w 494979"/>
                <a:gd name="connsiteY67" fmla="*/ 663597 h 674476"/>
                <a:gd name="connsiteX68" fmla="*/ 239331 w 494979"/>
                <a:gd name="connsiteY68" fmla="*/ 647279 h 674476"/>
                <a:gd name="connsiteX69" fmla="*/ 263808 w 494979"/>
                <a:gd name="connsiteY69" fmla="*/ 630961 h 674476"/>
                <a:gd name="connsiteX70" fmla="*/ 291005 w 494979"/>
                <a:gd name="connsiteY70" fmla="*/ 628241 h 674476"/>
                <a:gd name="connsiteX71" fmla="*/ 288285 w 494979"/>
                <a:gd name="connsiteY71" fmla="*/ 609204 h 674476"/>
                <a:gd name="connsiteX72" fmla="*/ 285565 w 494979"/>
                <a:gd name="connsiteY72" fmla="*/ 582007 h 674476"/>
                <a:gd name="connsiteX73" fmla="*/ 282846 w 494979"/>
                <a:gd name="connsiteY73" fmla="*/ 568409 h 674476"/>
                <a:gd name="connsiteX74" fmla="*/ 285565 w 494979"/>
                <a:gd name="connsiteY74" fmla="*/ 554811 h 674476"/>
                <a:gd name="connsiteX75" fmla="*/ 280126 w 494979"/>
                <a:gd name="connsiteY75" fmla="*/ 538493 h 674476"/>
                <a:gd name="connsiteX76" fmla="*/ 274687 w 494979"/>
                <a:gd name="connsiteY76" fmla="*/ 505857 h 674476"/>
                <a:gd name="connsiteX77" fmla="*/ 271967 w 494979"/>
                <a:gd name="connsiteY77" fmla="*/ 478660 h 674476"/>
                <a:gd name="connsiteX78" fmla="*/ 269247 w 494979"/>
                <a:gd name="connsiteY78" fmla="*/ 446025 h 674476"/>
                <a:gd name="connsiteX79" fmla="*/ 263808 w 494979"/>
                <a:gd name="connsiteY79" fmla="*/ 437866 h 674476"/>
                <a:gd name="connsiteX80" fmla="*/ 252929 w 494979"/>
                <a:gd name="connsiteY80" fmla="*/ 437866 h 674476"/>
                <a:gd name="connsiteX81" fmla="*/ 223013 w 494979"/>
                <a:gd name="connsiteY81" fmla="*/ 440585 h 674476"/>
                <a:gd name="connsiteX82" fmla="*/ 193097 w 494979"/>
                <a:gd name="connsiteY82" fmla="*/ 443305 h 674476"/>
                <a:gd name="connsiteX83" fmla="*/ 168620 w 494979"/>
                <a:gd name="connsiteY83" fmla="*/ 443305 h 674476"/>
                <a:gd name="connsiteX84" fmla="*/ 146862 w 494979"/>
                <a:gd name="connsiteY84" fmla="*/ 440585 h 674476"/>
                <a:gd name="connsiteX85" fmla="*/ 138703 w 494979"/>
                <a:gd name="connsiteY85" fmla="*/ 454184 h 674476"/>
                <a:gd name="connsiteX86" fmla="*/ 133263 w 494979"/>
                <a:gd name="connsiteY86" fmla="*/ 486820 h 674476"/>
                <a:gd name="connsiteX87" fmla="*/ 122385 w 494979"/>
                <a:gd name="connsiteY87" fmla="*/ 541213 h 674476"/>
                <a:gd name="connsiteX88" fmla="*/ 106067 w 494979"/>
                <a:gd name="connsiteY88" fmla="*/ 614643 h 674476"/>
                <a:gd name="connsiteX89" fmla="*/ 135983 w 494979"/>
                <a:gd name="connsiteY89" fmla="*/ 614643 h 674476"/>
                <a:gd name="connsiteX90" fmla="*/ 171340 w 494979"/>
                <a:gd name="connsiteY90" fmla="*/ 630961 h 674476"/>
                <a:gd name="connsiteX91" fmla="*/ 165900 w 494979"/>
                <a:gd name="connsiteY91" fmla="*/ 647279 h 674476"/>
                <a:gd name="connsiteX92" fmla="*/ 149581 w 494979"/>
                <a:gd name="connsiteY92" fmla="*/ 655438 h 674476"/>
                <a:gd name="connsiteX93" fmla="*/ 127824 w 494979"/>
                <a:gd name="connsiteY93" fmla="*/ 658158 h 674476"/>
                <a:gd name="connsiteX94" fmla="*/ 106067 w 494979"/>
                <a:gd name="connsiteY94" fmla="*/ 658158 h 674476"/>
                <a:gd name="connsiteX95" fmla="*/ 62552 w 494979"/>
                <a:gd name="connsiteY95" fmla="*/ 658158 h 674476"/>
                <a:gd name="connsiteX96" fmla="*/ 40795 w 494979"/>
                <a:gd name="connsiteY96" fmla="*/ 658158 h 674476"/>
                <a:gd name="connsiteX97" fmla="*/ 16318 w 494979"/>
                <a:gd name="connsiteY97" fmla="*/ 652718 h 674476"/>
                <a:gd name="connsiteX98" fmla="*/ 0 w 494979"/>
                <a:gd name="connsiteY98" fmla="*/ 636401 h 674476"/>
                <a:gd name="connsiteX99" fmla="*/ 2720 w 494979"/>
                <a:gd name="connsiteY99" fmla="*/ 628241 h 674476"/>
                <a:gd name="connsiteX100" fmla="*/ 24477 w 494979"/>
                <a:gd name="connsiteY100" fmla="*/ 620082 h 674476"/>
                <a:gd name="connsiteX101" fmla="*/ 62552 w 494979"/>
                <a:gd name="connsiteY101" fmla="*/ 617363 h 674476"/>
                <a:gd name="connsiteX102" fmla="*/ 62552 w 494979"/>
                <a:gd name="connsiteY102" fmla="*/ 614643 h 674476"/>
                <a:gd name="connsiteX103" fmla="*/ 65272 w 494979"/>
                <a:gd name="connsiteY103" fmla="*/ 587447 h 674476"/>
                <a:gd name="connsiteX104" fmla="*/ 76151 w 494979"/>
                <a:gd name="connsiteY104" fmla="*/ 522175 h 674476"/>
                <a:gd name="connsiteX105" fmla="*/ 87029 w 494979"/>
                <a:gd name="connsiteY105" fmla="*/ 470501 h 674476"/>
                <a:gd name="connsiteX106" fmla="*/ 92469 w 494979"/>
                <a:gd name="connsiteY106" fmla="*/ 446025 h 674476"/>
                <a:gd name="connsiteX107" fmla="*/ 65272 w 494979"/>
                <a:gd name="connsiteY107" fmla="*/ 432426 h 674476"/>
                <a:gd name="connsiteX108" fmla="*/ 54393 w 494979"/>
                <a:gd name="connsiteY108" fmla="*/ 421548 h 674476"/>
                <a:gd name="connsiteX109" fmla="*/ 73431 w 494979"/>
                <a:gd name="connsiteY109" fmla="*/ 407949 h 674476"/>
                <a:gd name="connsiteX110" fmla="*/ 100628 w 494979"/>
                <a:gd name="connsiteY110" fmla="*/ 399790 h 674476"/>
                <a:gd name="connsiteX111" fmla="*/ 108787 w 494979"/>
                <a:gd name="connsiteY111" fmla="*/ 369874 h 674476"/>
                <a:gd name="connsiteX112" fmla="*/ 125105 w 494979"/>
                <a:gd name="connsiteY112" fmla="*/ 307322 h 674476"/>
                <a:gd name="connsiteX113" fmla="*/ 141423 w 494979"/>
                <a:gd name="connsiteY113" fmla="*/ 242051 h 674476"/>
                <a:gd name="connsiteX114" fmla="*/ 155021 w 494979"/>
                <a:gd name="connsiteY114" fmla="*/ 179498 h 674476"/>
                <a:gd name="connsiteX115" fmla="*/ 168620 w 494979"/>
                <a:gd name="connsiteY115" fmla="*/ 119665 h 674476"/>
                <a:gd name="connsiteX116" fmla="*/ 193097 w 494979"/>
                <a:gd name="connsiteY116" fmla="*/ 57113 h 674476"/>
                <a:gd name="connsiteX117" fmla="*/ 201256 w 494979"/>
                <a:gd name="connsiteY117" fmla="*/ 38075 h 674476"/>
                <a:gd name="connsiteX118" fmla="*/ 217574 w 494979"/>
                <a:gd name="connsiteY118" fmla="*/ 13598 h 674476"/>
                <a:gd name="connsiteX119" fmla="*/ 274687 w 494979"/>
                <a:gd name="connsiteY119" fmla="*/ 0 h 6744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</a:cxnLst>
              <a:rect l="l" t="t" r="r" b="b"/>
              <a:pathLst>
                <a:path w="494979" h="674476">
                  <a:moveTo>
                    <a:pt x="228453" y="97907"/>
                  </a:moveTo>
                  <a:cubicBezTo>
                    <a:pt x="220294" y="97907"/>
                    <a:pt x="212135" y="114225"/>
                    <a:pt x="212135" y="119665"/>
                  </a:cubicBezTo>
                  <a:cubicBezTo>
                    <a:pt x="209415" y="130543"/>
                    <a:pt x="206696" y="144141"/>
                    <a:pt x="203976" y="152300"/>
                  </a:cubicBezTo>
                  <a:cubicBezTo>
                    <a:pt x="201256" y="157740"/>
                    <a:pt x="201256" y="163179"/>
                    <a:pt x="201256" y="168618"/>
                  </a:cubicBezTo>
                  <a:cubicBezTo>
                    <a:pt x="201256" y="174058"/>
                    <a:pt x="198537" y="179497"/>
                    <a:pt x="198537" y="184936"/>
                  </a:cubicBezTo>
                  <a:cubicBezTo>
                    <a:pt x="195817" y="195815"/>
                    <a:pt x="193097" y="209413"/>
                    <a:pt x="190378" y="220292"/>
                  </a:cubicBezTo>
                  <a:cubicBezTo>
                    <a:pt x="187658" y="244769"/>
                    <a:pt x="179499" y="269246"/>
                    <a:pt x="171340" y="291003"/>
                  </a:cubicBezTo>
                  <a:cubicBezTo>
                    <a:pt x="168620" y="301881"/>
                    <a:pt x="165900" y="312760"/>
                    <a:pt x="163180" y="323639"/>
                  </a:cubicBezTo>
                  <a:cubicBezTo>
                    <a:pt x="160461" y="337237"/>
                    <a:pt x="157741" y="348115"/>
                    <a:pt x="152302" y="361714"/>
                  </a:cubicBezTo>
                  <a:cubicBezTo>
                    <a:pt x="149582" y="367153"/>
                    <a:pt x="146862" y="383471"/>
                    <a:pt x="146862" y="388910"/>
                  </a:cubicBezTo>
                  <a:cubicBezTo>
                    <a:pt x="146862" y="391630"/>
                    <a:pt x="149582" y="391630"/>
                    <a:pt x="152302" y="391630"/>
                  </a:cubicBezTo>
                  <a:cubicBezTo>
                    <a:pt x="157741" y="391630"/>
                    <a:pt x="171340" y="391630"/>
                    <a:pt x="174060" y="391630"/>
                  </a:cubicBezTo>
                  <a:cubicBezTo>
                    <a:pt x="182219" y="391630"/>
                    <a:pt x="190378" y="391630"/>
                    <a:pt x="195817" y="388910"/>
                  </a:cubicBezTo>
                  <a:cubicBezTo>
                    <a:pt x="201256" y="388910"/>
                    <a:pt x="206696" y="388910"/>
                    <a:pt x="214855" y="388910"/>
                  </a:cubicBezTo>
                  <a:cubicBezTo>
                    <a:pt x="220294" y="388910"/>
                    <a:pt x="228453" y="388910"/>
                    <a:pt x="239332" y="388910"/>
                  </a:cubicBezTo>
                  <a:cubicBezTo>
                    <a:pt x="244771" y="388910"/>
                    <a:pt x="250210" y="388910"/>
                    <a:pt x="252930" y="386191"/>
                  </a:cubicBezTo>
                  <a:cubicBezTo>
                    <a:pt x="258369" y="391630"/>
                    <a:pt x="261089" y="388910"/>
                    <a:pt x="261089" y="386191"/>
                  </a:cubicBezTo>
                  <a:cubicBezTo>
                    <a:pt x="261089" y="380751"/>
                    <a:pt x="258369" y="372592"/>
                    <a:pt x="258369" y="367153"/>
                  </a:cubicBezTo>
                  <a:cubicBezTo>
                    <a:pt x="255650" y="353555"/>
                    <a:pt x="252930" y="342676"/>
                    <a:pt x="252930" y="331797"/>
                  </a:cubicBezTo>
                  <a:cubicBezTo>
                    <a:pt x="252930" y="301881"/>
                    <a:pt x="252930" y="274685"/>
                    <a:pt x="250210" y="244769"/>
                  </a:cubicBezTo>
                  <a:cubicBezTo>
                    <a:pt x="250210" y="231170"/>
                    <a:pt x="247491" y="217572"/>
                    <a:pt x="244771" y="203974"/>
                  </a:cubicBezTo>
                  <a:cubicBezTo>
                    <a:pt x="242051" y="187656"/>
                    <a:pt x="239332" y="174058"/>
                    <a:pt x="239332" y="157740"/>
                  </a:cubicBezTo>
                  <a:cubicBezTo>
                    <a:pt x="239332" y="152300"/>
                    <a:pt x="239332" y="133263"/>
                    <a:pt x="236612" y="119665"/>
                  </a:cubicBezTo>
                  <a:cubicBezTo>
                    <a:pt x="236612" y="106066"/>
                    <a:pt x="233892" y="97907"/>
                    <a:pt x="228453" y="97907"/>
                  </a:cubicBezTo>
                  <a:close/>
                  <a:moveTo>
                    <a:pt x="274687" y="0"/>
                  </a:moveTo>
                  <a:cubicBezTo>
                    <a:pt x="288285" y="0"/>
                    <a:pt x="293724" y="2720"/>
                    <a:pt x="304603" y="5439"/>
                  </a:cubicBezTo>
                  <a:cubicBezTo>
                    <a:pt x="315482" y="10879"/>
                    <a:pt x="315482" y="16318"/>
                    <a:pt x="320921" y="24477"/>
                  </a:cubicBezTo>
                  <a:cubicBezTo>
                    <a:pt x="326360" y="29916"/>
                    <a:pt x="331800" y="35356"/>
                    <a:pt x="334519" y="43515"/>
                  </a:cubicBezTo>
                  <a:cubicBezTo>
                    <a:pt x="337239" y="51674"/>
                    <a:pt x="337239" y="57113"/>
                    <a:pt x="339959" y="65272"/>
                  </a:cubicBezTo>
                  <a:cubicBezTo>
                    <a:pt x="345398" y="78870"/>
                    <a:pt x="342678" y="97908"/>
                    <a:pt x="348118" y="114226"/>
                  </a:cubicBezTo>
                  <a:cubicBezTo>
                    <a:pt x="350837" y="130544"/>
                    <a:pt x="358996" y="146863"/>
                    <a:pt x="361716" y="163180"/>
                  </a:cubicBezTo>
                  <a:cubicBezTo>
                    <a:pt x="364435" y="182218"/>
                    <a:pt x="364435" y="201256"/>
                    <a:pt x="369875" y="220293"/>
                  </a:cubicBezTo>
                  <a:cubicBezTo>
                    <a:pt x="375314" y="239331"/>
                    <a:pt x="378034" y="255649"/>
                    <a:pt x="378034" y="274686"/>
                  </a:cubicBezTo>
                  <a:cubicBezTo>
                    <a:pt x="378034" y="282845"/>
                    <a:pt x="380753" y="293724"/>
                    <a:pt x="383473" y="301883"/>
                  </a:cubicBezTo>
                  <a:cubicBezTo>
                    <a:pt x="386193" y="312762"/>
                    <a:pt x="388912" y="326360"/>
                    <a:pt x="391632" y="337238"/>
                  </a:cubicBezTo>
                  <a:cubicBezTo>
                    <a:pt x="391632" y="342678"/>
                    <a:pt x="394352" y="353556"/>
                    <a:pt x="397071" y="364435"/>
                  </a:cubicBezTo>
                  <a:cubicBezTo>
                    <a:pt x="399791" y="372594"/>
                    <a:pt x="402511" y="380753"/>
                    <a:pt x="405230" y="383473"/>
                  </a:cubicBezTo>
                  <a:cubicBezTo>
                    <a:pt x="407950" y="386192"/>
                    <a:pt x="413389" y="386192"/>
                    <a:pt x="416109" y="386192"/>
                  </a:cubicBezTo>
                  <a:cubicBezTo>
                    <a:pt x="418829" y="386192"/>
                    <a:pt x="424268" y="386192"/>
                    <a:pt x="426988" y="386192"/>
                  </a:cubicBezTo>
                  <a:cubicBezTo>
                    <a:pt x="437866" y="386192"/>
                    <a:pt x="448745" y="388912"/>
                    <a:pt x="454184" y="397071"/>
                  </a:cubicBezTo>
                  <a:cubicBezTo>
                    <a:pt x="456904" y="399790"/>
                    <a:pt x="456904" y="402510"/>
                    <a:pt x="456904" y="405230"/>
                  </a:cubicBezTo>
                  <a:cubicBezTo>
                    <a:pt x="456904" y="407949"/>
                    <a:pt x="454184" y="410669"/>
                    <a:pt x="451465" y="416108"/>
                  </a:cubicBezTo>
                  <a:cubicBezTo>
                    <a:pt x="446025" y="421548"/>
                    <a:pt x="440586" y="426987"/>
                    <a:pt x="432427" y="429707"/>
                  </a:cubicBezTo>
                  <a:cubicBezTo>
                    <a:pt x="429707" y="429707"/>
                    <a:pt x="426988" y="432426"/>
                    <a:pt x="421548" y="432426"/>
                  </a:cubicBezTo>
                  <a:cubicBezTo>
                    <a:pt x="418829" y="432426"/>
                    <a:pt x="416109" y="432426"/>
                    <a:pt x="413389" y="435146"/>
                  </a:cubicBezTo>
                  <a:cubicBezTo>
                    <a:pt x="413389" y="435146"/>
                    <a:pt x="413389" y="437866"/>
                    <a:pt x="413389" y="440585"/>
                  </a:cubicBezTo>
                  <a:cubicBezTo>
                    <a:pt x="413389" y="443305"/>
                    <a:pt x="413389" y="448744"/>
                    <a:pt x="416109" y="451464"/>
                  </a:cubicBezTo>
                  <a:cubicBezTo>
                    <a:pt x="416109" y="456903"/>
                    <a:pt x="418829" y="462343"/>
                    <a:pt x="418829" y="465062"/>
                  </a:cubicBezTo>
                  <a:lnTo>
                    <a:pt x="418829" y="475941"/>
                  </a:lnTo>
                  <a:cubicBezTo>
                    <a:pt x="418829" y="481380"/>
                    <a:pt x="418829" y="484100"/>
                    <a:pt x="418829" y="486820"/>
                  </a:cubicBezTo>
                  <a:cubicBezTo>
                    <a:pt x="421548" y="497698"/>
                    <a:pt x="424268" y="505857"/>
                    <a:pt x="426988" y="516736"/>
                  </a:cubicBezTo>
                  <a:cubicBezTo>
                    <a:pt x="426988" y="524895"/>
                    <a:pt x="429707" y="535773"/>
                    <a:pt x="432427" y="543932"/>
                  </a:cubicBezTo>
                  <a:cubicBezTo>
                    <a:pt x="435147" y="554811"/>
                    <a:pt x="437866" y="562970"/>
                    <a:pt x="437866" y="573848"/>
                  </a:cubicBezTo>
                  <a:cubicBezTo>
                    <a:pt x="437866" y="587447"/>
                    <a:pt x="440586" y="595606"/>
                    <a:pt x="443306" y="606484"/>
                  </a:cubicBezTo>
                  <a:cubicBezTo>
                    <a:pt x="443306" y="609204"/>
                    <a:pt x="446025" y="614643"/>
                    <a:pt x="446025" y="617363"/>
                  </a:cubicBezTo>
                  <a:cubicBezTo>
                    <a:pt x="454184" y="617363"/>
                    <a:pt x="462343" y="617363"/>
                    <a:pt x="470502" y="617363"/>
                  </a:cubicBezTo>
                  <a:cubicBezTo>
                    <a:pt x="478661" y="625522"/>
                    <a:pt x="492259" y="630961"/>
                    <a:pt x="494979" y="641840"/>
                  </a:cubicBezTo>
                  <a:cubicBezTo>
                    <a:pt x="494979" y="647279"/>
                    <a:pt x="489540" y="649999"/>
                    <a:pt x="486820" y="655438"/>
                  </a:cubicBezTo>
                  <a:cubicBezTo>
                    <a:pt x="484100" y="660877"/>
                    <a:pt x="475942" y="663597"/>
                    <a:pt x="470502" y="663597"/>
                  </a:cubicBezTo>
                  <a:cubicBezTo>
                    <a:pt x="459623" y="666317"/>
                    <a:pt x="454184" y="666317"/>
                    <a:pt x="446025" y="666317"/>
                  </a:cubicBezTo>
                  <a:cubicBezTo>
                    <a:pt x="440586" y="666317"/>
                    <a:pt x="432427" y="666317"/>
                    <a:pt x="424268" y="666317"/>
                  </a:cubicBezTo>
                  <a:cubicBezTo>
                    <a:pt x="421548" y="666317"/>
                    <a:pt x="418829" y="666317"/>
                    <a:pt x="416109" y="666317"/>
                  </a:cubicBezTo>
                  <a:cubicBezTo>
                    <a:pt x="410670" y="669036"/>
                    <a:pt x="407950" y="669036"/>
                    <a:pt x="402511" y="671756"/>
                  </a:cubicBezTo>
                  <a:cubicBezTo>
                    <a:pt x="397071" y="671756"/>
                    <a:pt x="391632" y="674476"/>
                    <a:pt x="386193" y="674476"/>
                  </a:cubicBezTo>
                  <a:cubicBezTo>
                    <a:pt x="375314" y="674476"/>
                    <a:pt x="361716" y="671756"/>
                    <a:pt x="350837" y="669036"/>
                  </a:cubicBezTo>
                  <a:cubicBezTo>
                    <a:pt x="342678" y="669036"/>
                    <a:pt x="334519" y="669036"/>
                    <a:pt x="329080" y="669036"/>
                  </a:cubicBezTo>
                  <a:cubicBezTo>
                    <a:pt x="307323" y="669036"/>
                    <a:pt x="288285" y="669036"/>
                    <a:pt x="280126" y="669036"/>
                  </a:cubicBezTo>
                  <a:cubicBezTo>
                    <a:pt x="271967" y="669036"/>
                    <a:pt x="261088" y="669036"/>
                    <a:pt x="255649" y="663597"/>
                  </a:cubicBezTo>
                  <a:cubicBezTo>
                    <a:pt x="250210" y="660877"/>
                    <a:pt x="239331" y="655438"/>
                    <a:pt x="239331" y="647279"/>
                  </a:cubicBezTo>
                  <a:cubicBezTo>
                    <a:pt x="239331" y="636401"/>
                    <a:pt x="255649" y="633681"/>
                    <a:pt x="263808" y="630961"/>
                  </a:cubicBezTo>
                  <a:cubicBezTo>
                    <a:pt x="269247" y="630961"/>
                    <a:pt x="277406" y="630961"/>
                    <a:pt x="291005" y="628241"/>
                  </a:cubicBezTo>
                  <a:cubicBezTo>
                    <a:pt x="291005" y="620082"/>
                    <a:pt x="291005" y="614643"/>
                    <a:pt x="288285" y="609204"/>
                  </a:cubicBezTo>
                  <a:cubicBezTo>
                    <a:pt x="288285" y="601045"/>
                    <a:pt x="285565" y="590166"/>
                    <a:pt x="285565" y="582007"/>
                  </a:cubicBezTo>
                  <a:cubicBezTo>
                    <a:pt x="285565" y="576568"/>
                    <a:pt x="282846" y="573848"/>
                    <a:pt x="282846" y="568409"/>
                  </a:cubicBezTo>
                  <a:cubicBezTo>
                    <a:pt x="282846" y="562970"/>
                    <a:pt x="285565" y="557531"/>
                    <a:pt x="285565" y="554811"/>
                  </a:cubicBezTo>
                  <a:cubicBezTo>
                    <a:pt x="285565" y="549371"/>
                    <a:pt x="282846" y="546652"/>
                    <a:pt x="280126" y="538493"/>
                  </a:cubicBezTo>
                  <a:cubicBezTo>
                    <a:pt x="280126" y="527614"/>
                    <a:pt x="274687" y="516736"/>
                    <a:pt x="274687" y="505857"/>
                  </a:cubicBezTo>
                  <a:cubicBezTo>
                    <a:pt x="274687" y="494978"/>
                    <a:pt x="274687" y="486820"/>
                    <a:pt x="271967" y="478660"/>
                  </a:cubicBezTo>
                  <a:cubicBezTo>
                    <a:pt x="269247" y="467782"/>
                    <a:pt x="269247" y="456903"/>
                    <a:pt x="269247" y="446025"/>
                  </a:cubicBezTo>
                  <a:cubicBezTo>
                    <a:pt x="269247" y="440585"/>
                    <a:pt x="266528" y="437866"/>
                    <a:pt x="263808" y="437866"/>
                  </a:cubicBezTo>
                  <a:cubicBezTo>
                    <a:pt x="261088" y="437866"/>
                    <a:pt x="258369" y="437866"/>
                    <a:pt x="252929" y="437866"/>
                  </a:cubicBezTo>
                  <a:cubicBezTo>
                    <a:pt x="242051" y="437866"/>
                    <a:pt x="231172" y="437866"/>
                    <a:pt x="223013" y="440585"/>
                  </a:cubicBezTo>
                  <a:cubicBezTo>
                    <a:pt x="212135" y="440585"/>
                    <a:pt x="203976" y="443305"/>
                    <a:pt x="193097" y="443305"/>
                  </a:cubicBezTo>
                  <a:cubicBezTo>
                    <a:pt x="184938" y="443305"/>
                    <a:pt x="176779" y="443305"/>
                    <a:pt x="168620" y="443305"/>
                  </a:cubicBezTo>
                  <a:cubicBezTo>
                    <a:pt x="165900" y="443305"/>
                    <a:pt x="155021" y="440585"/>
                    <a:pt x="146862" y="440585"/>
                  </a:cubicBezTo>
                  <a:cubicBezTo>
                    <a:pt x="138703" y="440585"/>
                    <a:pt x="138703" y="448744"/>
                    <a:pt x="138703" y="454184"/>
                  </a:cubicBezTo>
                  <a:cubicBezTo>
                    <a:pt x="138703" y="465062"/>
                    <a:pt x="135983" y="475941"/>
                    <a:pt x="133263" y="486820"/>
                  </a:cubicBezTo>
                  <a:cubicBezTo>
                    <a:pt x="130544" y="505857"/>
                    <a:pt x="125105" y="522175"/>
                    <a:pt x="122385" y="541213"/>
                  </a:cubicBezTo>
                  <a:cubicBezTo>
                    <a:pt x="119665" y="560250"/>
                    <a:pt x="111506" y="595606"/>
                    <a:pt x="106067" y="614643"/>
                  </a:cubicBezTo>
                  <a:cubicBezTo>
                    <a:pt x="114226" y="614643"/>
                    <a:pt x="125105" y="614643"/>
                    <a:pt x="135983" y="614643"/>
                  </a:cubicBezTo>
                  <a:cubicBezTo>
                    <a:pt x="149581" y="614643"/>
                    <a:pt x="171340" y="614643"/>
                    <a:pt x="171340" y="630961"/>
                  </a:cubicBezTo>
                  <a:cubicBezTo>
                    <a:pt x="171340" y="639120"/>
                    <a:pt x="168620" y="639120"/>
                    <a:pt x="165900" y="647279"/>
                  </a:cubicBezTo>
                  <a:cubicBezTo>
                    <a:pt x="163181" y="652718"/>
                    <a:pt x="155021" y="655438"/>
                    <a:pt x="149581" y="655438"/>
                  </a:cubicBezTo>
                  <a:cubicBezTo>
                    <a:pt x="141423" y="658158"/>
                    <a:pt x="135983" y="658158"/>
                    <a:pt x="127824" y="658158"/>
                  </a:cubicBezTo>
                  <a:cubicBezTo>
                    <a:pt x="122385" y="658158"/>
                    <a:pt x="116946" y="658158"/>
                    <a:pt x="106067" y="658158"/>
                  </a:cubicBezTo>
                  <a:cubicBezTo>
                    <a:pt x="92469" y="658158"/>
                    <a:pt x="78870" y="658158"/>
                    <a:pt x="62552" y="658158"/>
                  </a:cubicBezTo>
                  <a:cubicBezTo>
                    <a:pt x="54393" y="658158"/>
                    <a:pt x="46234" y="658158"/>
                    <a:pt x="40795" y="658158"/>
                  </a:cubicBezTo>
                  <a:cubicBezTo>
                    <a:pt x="32636" y="658158"/>
                    <a:pt x="21758" y="658158"/>
                    <a:pt x="16318" y="652718"/>
                  </a:cubicBezTo>
                  <a:cubicBezTo>
                    <a:pt x="8159" y="649999"/>
                    <a:pt x="0" y="641840"/>
                    <a:pt x="0" y="636401"/>
                  </a:cubicBezTo>
                  <a:cubicBezTo>
                    <a:pt x="0" y="633681"/>
                    <a:pt x="0" y="630961"/>
                    <a:pt x="2720" y="628241"/>
                  </a:cubicBezTo>
                  <a:cubicBezTo>
                    <a:pt x="8159" y="625522"/>
                    <a:pt x="16318" y="622802"/>
                    <a:pt x="24477" y="620082"/>
                  </a:cubicBezTo>
                  <a:cubicBezTo>
                    <a:pt x="38075" y="617363"/>
                    <a:pt x="48954" y="617363"/>
                    <a:pt x="62552" y="617363"/>
                  </a:cubicBezTo>
                  <a:cubicBezTo>
                    <a:pt x="62552" y="617363"/>
                    <a:pt x="62552" y="614643"/>
                    <a:pt x="62552" y="614643"/>
                  </a:cubicBezTo>
                  <a:cubicBezTo>
                    <a:pt x="62552" y="603765"/>
                    <a:pt x="65272" y="590166"/>
                    <a:pt x="65272" y="587447"/>
                  </a:cubicBezTo>
                  <a:cubicBezTo>
                    <a:pt x="67992" y="565689"/>
                    <a:pt x="73431" y="543932"/>
                    <a:pt x="76151" y="522175"/>
                  </a:cubicBezTo>
                  <a:cubicBezTo>
                    <a:pt x="78870" y="505857"/>
                    <a:pt x="81590" y="486820"/>
                    <a:pt x="87029" y="470501"/>
                  </a:cubicBezTo>
                  <a:cubicBezTo>
                    <a:pt x="87029" y="465062"/>
                    <a:pt x="92469" y="451464"/>
                    <a:pt x="92469" y="446025"/>
                  </a:cubicBezTo>
                  <a:cubicBezTo>
                    <a:pt x="92469" y="437866"/>
                    <a:pt x="73431" y="437866"/>
                    <a:pt x="65272" y="432426"/>
                  </a:cubicBezTo>
                  <a:cubicBezTo>
                    <a:pt x="59833" y="429707"/>
                    <a:pt x="54393" y="426987"/>
                    <a:pt x="54393" y="421548"/>
                  </a:cubicBezTo>
                  <a:cubicBezTo>
                    <a:pt x="54393" y="413389"/>
                    <a:pt x="62552" y="410669"/>
                    <a:pt x="73431" y="407949"/>
                  </a:cubicBezTo>
                  <a:cubicBezTo>
                    <a:pt x="78870" y="407949"/>
                    <a:pt x="92469" y="405230"/>
                    <a:pt x="100628" y="399790"/>
                  </a:cubicBezTo>
                  <a:cubicBezTo>
                    <a:pt x="106067" y="394351"/>
                    <a:pt x="106067" y="378033"/>
                    <a:pt x="108787" y="369874"/>
                  </a:cubicBezTo>
                  <a:cubicBezTo>
                    <a:pt x="114226" y="348117"/>
                    <a:pt x="119665" y="326360"/>
                    <a:pt x="125105" y="307322"/>
                  </a:cubicBezTo>
                  <a:cubicBezTo>
                    <a:pt x="130544" y="285565"/>
                    <a:pt x="135983" y="263808"/>
                    <a:pt x="141423" y="242051"/>
                  </a:cubicBezTo>
                  <a:cubicBezTo>
                    <a:pt x="146862" y="220293"/>
                    <a:pt x="152301" y="198536"/>
                    <a:pt x="155021" y="179498"/>
                  </a:cubicBezTo>
                  <a:cubicBezTo>
                    <a:pt x="157740" y="160461"/>
                    <a:pt x="163181" y="138703"/>
                    <a:pt x="168620" y="119665"/>
                  </a:cubicBezTo>
                  <a:cubicBezTo>
                    <a:pt x="176779" y="100627"/>
                    <a:pt x="182218" y="76150"/>
                    <a:pt x="193097" y="57113"/>
                  </a:cubicBezTo>
                  <a:lnTo>
                    <a:pt x="201256" y="38075"/>
                  </a:lnTo>
                  <a:cubicBezTo>
                    <a:pt x="206695" y="29916"/>
                    <a:pt x="209415" y="19038"/>
                    <a:pt x="217574" y="13598"/>
                  </a:cubicBezTo>
                  <a:cubicBezTo>
                    <a:pt x="231172" y="2720"/>
                    <a:pt x="255649" y="0"/>
                    <a:pt x="274687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/>
            </a:p>
          </p:txBody>
        </p:sp>
        <p:sp>
          <p:nvSpPr>
            <p:cNvPr id="36" name="Freeform: Shape 35">
              <a:extLst>
                <a:ext uri="{FF2B5EF4-FFF2-40B4-BE49-F238E27FC236}">
                  <a16:creationId xmlns:a16="http://schemas.microsoft.com/office/drawing/2014/main" id="{5E3E964E-5E45-4AE1-B85D-9C9841E9BE8E}"/>
                </a:ext>
              </a:extLst>
            </p:cNvPr>
            <p:cNvSpPr/>
            <p:nvPr/>
          </p:nvSpPr>
          <p:spPr bwMode="black">
            <a:xfrm>
              <a:off x="3443268" y="4186718"/>
              <a:ext cx="435145" cy="761503"/>
            </a:xfrm>
            <a:custGeom>
              <a:avLst/>
              <a:gdLst>
                <a:gd name="connsiteX0" fmla="*/ 400855 w 435145"/>
                <a:gd name="connsiteY0" fmla="*/ 678260 h 761503"/>
                <a:gd name="connsiteX1" fmla="*/ 384537 w 435145"/>
                <a:gd name="connsiteY1" fmla="*/ 719054 h 761503"/>
                <a:gd name="connsiteX2" fmla="*/ 368219 w 435145"/>
                <a:gd name="connsiteY2" fmla="*/ 713615 h 761503"/>
                <a:gd name="connsiteX3" fmla="*/ 360060 w 435145"/>
                <a:gd name="connsiteY3" fmla="*/ 697297 h 761503"/>
                <a:gd name="connsiteX4" fmla="*/ 360060 w 435145"/>
                <a:gd name="connsiteY4" fmla="*/ 651063 h 761503"/>
                <a:gd name="connsiteX5" fmla="*/ 332864 w 435145"/>
                <a:gd name="connsiteY5" fmla="*/ 686418 h 761503"/>
                <a:gd name="connsiteX6" fmla="*/ 251274 w 435145"/>
                <a:gd name="connsiteY6" fmla="*/ 721774 h 761503"/>
                <a:gd name="connsiteX7" fmla="*/ 229517 w 435145"/>
                <a:gd name="connsiteY7" fmla="*/ 719054 h 761503"/>
                <a:gd name="connsiteX8" fmla="*/ 158806 w 435145"/>
                <a:gd name="connsiteY8" fmla="*/ 694578 h 761503"/>
                <a:gd name="connsiteX9" fmla="*/ 112571 w 435145"/>
                <a:gd name="connsiteY9" fmla="*/ 659222 h 761503"/>
                <a:gd name="connsiteX10" fmla="*/ 79936 w 435145"/>
                <a:gd name="connsiteY10" fmla="*/ 607548 h 761503"/>
                <a:gd name="connsiteX11" fmla="*/ 63618 w 435145"/>
                <a:gd name="connsiteY11" fmla="*/ 542277 h 761503"/>
                <a:gd name="connsiteX12" fmla="*/ 58178 w 435145"/>
                <a:gd name="connsiteY12" fmla="*/ 471566 h 761503"/>
                <a:gd name="connsiteX13" fmla="*/ 60898 w 435145"/>
                <a:gd name="connsiteY13" fmla="*/ 400855 h 761503"/>
                <a:gd name="connsiteX14" fmla="*/ 66337 w 435145"/>
                <a:gd name="connsiteY14" fmla="*/ 335583 h 761503"/>
                <a:gd name="connsiteX15" fmla="*/ 85375 w 435145"/>
                <a:gd name="connsiteY15" fmla="*/ 267592 h 761503"/>
                <a:gd name="connsiteX16" fmla="*/ 109852 w 435145"/>
                <a:gd name="connsiteY16" fmla="*/ 199600 h 761503"/>
                <a:gd name="connsiteX17" fmla="*/ 145207 w 435145"/>
                <a:gd name="connsiteY17" fmla="*/ 145207 h 761503"/>
                <a:gd name="connsiteX18" fmla="*/ 188722 w 435145"/>
                <a:gd name="connsiteY18" fmla="*/ 96253 h 761503"/>
                <a:gd name="connsiteX19" fmla="*/ 243115 w 435145"/>
                <a:gd name="connsiteY19" fmla="*/ 71776 h 761503"/>
                <a:gd name="connsiteX20" fmla="*/ 286630 w 435145"/>
                <a:gd name="connsiteY20" fmla="*/ 63617 h 761503"/>
                <a:gd name="connsiteX21" fmla="*/ 305667 w 435145"/>
                <a:gd name="connsiteY21" fmla="*/ 66337 h 761503"/>
                <a:gd name="connsiteX22" fmla="*/ 324705 w 435145"/>
                <a:gd name="connsiteY22" fmla="*/ 79936 h 761503"/>
                <a:gd name="connsiteX23" fmla="*/ 341023 w 435145"/>
                <a:gd name="connsiteY23" fmla="*/ 101693 h 761503"/>
                <a:gd name="connsiteX24" fmla="*/ 354621 w 435145"/>
                <a:gd name="connsiteY24" fmla="*/ 123450 h 761503"/>
                <a:gd name="connsiteX25" fmla="*/ 354621 w 435145"/>
                <a:gd name="connsiteY25" fmla="*/ 98973 h 761503"/>
                <a:gd name="connsiteX26" fmla="*/ 360060 w 435145"/>
                <a:gd name="connsiteY26" fmla="*/ 74496 h 761503"/>
                <a:gd name="connsiteX27" fmla="*/ 365500 w 435145"/>
                <a:gd name="connsiteY27" fmla="*/ 63617 h 761503"/>
                <a:gd name="connsiteX28" fmla="*/ 373659 w 435145"/>
                <a:gd name="connsiteY28" fmla="*/ 58178 h 761503"/>
                <a:gd name="connsiteX29" fmla="*/ 381818 w 435145"/>
                <a:gd name="connsiteY29" fmla="*/ 63617 h 761503"/>
                <a:gd name="connsiteX30" fmla="*/ 389977 w 435145"/>
                <a:gd name="connsiteY30" fmla="*/ 82655 h 761503"/>
                <a:gd name="connsiteX31" fmla="*/ 392696 w 435145"/>
                <a:gd name="connsiteY31" fmla="*/ 126170 h 761503"/>
                <a:gd name="connsiteX32" fmla="*/ 395416 w 435145"/>
                <a:gd name="connsiteY32" fmla="*/ 186002 h 761503"/>
                <a:gd name="connsiteX33" fmla="*/ 398136 w 435145"/>
                <a:gd name="connsiteY33" fmla="*/ 237675 h 761503"/>
                <a:gd name="connsiteX34" fmla="*/ 398136 w 435145"/>
                <a:gd name="connsiteY34" fmla="*/ 243115 h 761503"/>
                <a:gd name="connsiteX35" fmla="*/ 395416 w 435145"/>
                <a:gd name="connsiteY35" fmla="*/ 256713 h 761503"/>
                <a:gd name="connsiteX36" fmla="*/ 379098 w 435145"/>
                <a:gd name="connsiteY36" fmla="*/ 278470 h 761503"/>
                <a:gd name="connsiteX37" fmla="*/ 362780 w 435145"/>
                <a:gd name="connsiteY37" fmla="*/ 273031 h 761503"/>
                <a:gd name="connsiteX38" fmla="*/ 354621 w 435145"/>
                <a:gd name="connsiteY38" fmla="*/ 256713 h 761503"/>
                <a:gd name="connsiteX39" fmla="*/ 354621 w 435145"/>
                <a:gd name="connsiteY39" fmla="*/ 213198 h 761503"/>
                <a:gd name="connsiteX40" fmla="*/ 354621 w 435145"/>
                <a:gd name="connsiteY40" fmla="*/ 205040 h 761503"/>
                <a:gd name="connsiteX41" fmla="*/ 338303 w 435145"/>
                <a:gd name="connsiteY41" fmla="*/ 147927 h 761503"/>
                <a:gd name="connsiteX42" fmla="*/ 292069 w 435145"/>
                <a:gd name="connsiteY42" fmla="*/ 107132 h 761503"/>
                <a:gd name="connsiteX43" fmla="*/ 262153 w 435145"/>
                <a:gd name="connsiteY43" fmla="*/ 120730 h 761503"/>
                <a:gd name="connsiteX44" fmla="*/ 251274 w 435145"/>
                <a:gd name="connsiteY44" fmla="*/ 131609 h 761503"/>
                <a:gd name="connsiteX45" fmla="*/ 240395 w 435145"/>
                <a:gd name="connsiteY45" fmla="*/ 139768 h 761503"/>
                <a:gd name="connsiteX46" fmla="*/ 237676 w 435145"/>
                <a:gd name="connsiteY46" fmla="*/ 164245 h 761503"/>
                <a:gd name="connsiteX47" fmla="*/ 226797 w 435145"/>
                <a:gd name="connsiteY47" fmla="*/ 196881 h 761503"/>
                <a:gd name="connsiteX48" fmla="*/ 213199 w 435145"/>
                <a:gd name="connsiteY48" fmla="*/ 259433 h 761503"/>
                <a:gd name="connsiteX49" fmla="*/ 207759 w 435145"/>
                <a:gd name="connsiteY49" fmla="*/ 324704 h 761503"/>
                <a:gd name="connsiteX50" fmla="*/ 207759 w 435145"/>
                <a:gd name="connsiteY50" fmla="*/ 335583 h 761503"/>
                <a:gd name="connsiteX51" fmla="*/ 205040 w 435145"/>
                <a:gd name="connsiteY51" fmla="*/ 349181 h 761503"/>
                <a:gd name="connsiteX52" fmla="*/ 207759 w 435145"/>
                <a:gd name="connsiteY52" fmla="*/ 368219 h 761503"/>
                <a:gd name="connsiteX53" fmla="*/ 207759 w 435145"/>
                <a:gd name="connsiteY53" fmla="*/ 376378 h 761503"/>
                <a:gd name="connsiteX54" fmla="*/ 205040 w 435145"/>
                <a:gd name="connsiteY54" fmla="*/ 387256 h 761503"/>
                <a:gd name="connsiteX55" fmla="*/ 205040 w 435145"/>
                <a:gd name="connsiteY55" fmla="*/ 395415 h 761503"/>
                <a:gd name="connsiteX56" fmla="*/ 205040 w 435145"/>
                <a:gd name="connsiteY56" fmla="*/ 406294 h 761503"/>
                <a:gd name="connsiteX57" fmla="*/ 205040 w 435145"/>
                <a:gd name="connsiteY57" fmla="*/ 425332 h 761503"/>
                <a:gd name="connsiteX58" fmla="*/ 213199 w 435145"/>
                <a:gd name="connsiteY58" fmla="*/ 493323 h 761503"/>
                <a:gd name="connsiteX59" fmla="*/ 221358 w 435145"/>
                <a:gd name="connsiteY59" fmla="*/ 561314 h 761503"/>
                <a:gd name="connsiteX60" fmla="*/ 226797 w 435145"/>
                <a:gd name="connsiteY60" fmla="*/ 591231 h 761503"/>
                <a:gd name="connsiteX61" fmla="*/ 240395 w 435145"/>
                <a:gd name="connsiteY61" fmla="*/ 618427 h 761503"/>
                <a:gd name="connsiteX62" fmla="*/ 283910 w 435145"/>
                <a:gd name="connsiteY62" fmla="*/ 651063 h 761503"/>
                <a:gd name="connsiteX63" fmla="*/ 338303 w 435145"/>
                <a:gd name="connsiteY63" fmla="*/ 612988 h 761503"/>
                <a:gd name="connsiteX64" fmla="*/ 354621 w 435145"/>
                <a:gd name="connsiteY64" fmla="*/ 577632 h 761503"/>
                <a:gd name="connsiteX65" fmla="*/ 357341 w 435145"/>
                <a:gd name="connsiteY65" fmla="*/ 509641 h 761503"/>
                <a:gd name="connsiteX66" fmla="*/ 362780 w 435145"/>
                <a:gd name="connsiteY66" fmla="*/ 485164 h 761503"/>
                <a:gd name="connsiteX67" fmla="*/ 368219 w 435145"/>
                <a:gd name="connsiteY67" fmla="*/ 474286 h 761503"/>
                <a:gd name="connsiteX68" fmla="*/ 376378 w 435145"/>
                <a:gd name="connsiteY68" fmla="*/ 468846 h 761503"/>
                <a:gd name="connsiteX69" fmla="*/ 384537 w 435145"/>
                <a:gd name="connsiteY69" fmla="*/ 474286 h 761503"/>
                <a:gd name="connsiteX70" fmla="*/ 392696 w 435145"/>
                <a:gd name="connsiteY70" fmla="*/ 493323 h 761503"/>
                <a:gd name="connsiteX71" fmla="*/ 395416 w 435145"/>
                <a:gd name="connsiteY71" fmla="*/ 558595 h 761503"/>
                <a:gd name="connsiteX72" fmla="*/ 398136 w 435145"/>
                <a:gd name="connsiteY72" fmla="*/ 618427 h 761503"/>
                <a:gd name="connsiteX73" fmla="*/ 400855 w 435145"/>
                <a:gd name="connsiteY73" fmla="*/ 678260 h 761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</a:cxnLst>
              <a:rect l="l" t="t" r="r" b="b"/>
              <a:pathLst>
                <a:path w="435145" h="761503">
                  <a:moveTo>
                    <a:pt x="400855" y="678260"/>
                  </a:moveTo>
                  <a:cubicBezTo>
                    <a:pt x="400855" y="689138"/>
                    <a:pt x="400855" y="719054"/>
                    <a:pt x="384537" y="719054"/>
                  </a:cubicBezTo>
                  <a:cubicBezTo>
                    <a:pt x="376378" y="719054"/>
                    <a:pt x="373659" y="716335"/>
                    <a:pt x="368219" y="713615"/>
                  </a:cubicBezTo>
                  <a:cubicBezTo>
                    <a:pt x="362780" y="710895"/>
                    <a:pt x="360060" y="702736"/>
                    <a:pt x="360060" y="697297"/>
                  </a:cubicBezTo>
                  <a:cubicBezTo>
                    <a:pt x="357341" y="680979"/>
                    <a:pt x="357341" y="664661"/>
                    <a:pt x="360060" y="651063"/>
                  </a:cubicBezTo>
                  <a:cubicBezTo>
                    <a:pt x="354621" y="659222"/>
                    <a:pt x="341023" y="678260"/>
                    <a:pt x="332864" y="686418"/>
                  </a:cubicBezTo>
                  <a:cubicBezTo>
                    <a:pt x="311107" y="708176"/>
                    <a:pt x="283910" y="721774"/>
                    <a:pt x="251274" y="721774"/>
                  </a:cubicBezTo>
                  <a:cubicBezTo>
                    <a:pt x="243115" y="721774"/>
                    <a:pt x="237676" y="721774"/>
                    <a:pt x="229517" y="719054"/>
                  </a:cubicBezTo>
                  <a:cubicBezTo>
                    <a:pt x="207759" y="716335"/>
                    <a:pt x="183283" y="708176"/>
                    <a:pt x="158806" y="694578"/>
                  </a:cubicBezTo>
                  <a:cubicBezTo>
                    <a:pt x="142488" y="686418"/>
                    <a:pt x="126170" y="672820"/>
                    <a:pt x="112571" y="659222"/>
                  </a:cubicBezTo>
                  <a:cubicBezTo>
                    <a:pt x="98973" y="642904"/>
                    <a:pt x="88095" y="626586"/>
                    <a:pt x="79936" y="607548"/>
                  </a:cubicBezTo>
                  <a:cubicBezTo>
                    <a:pt x="71777" y="585791"/>
                    <a:pt x="66337" y="566754"/>
                    <a:pt x="63618" y="542277"/>
                  </a:cubicBezTo>
                  <a:cubicBezTo>
                    <a:pt x="60898" y="517800"/>
                    <a:pt x="58178" y="493323"/>
                    <a:pt x="58178" y="471566"/>
                  </a:cubicBezTo>
                  <a:cubicBezTo>
                    <a:pt x="58178" y="447089"/>
                    <a:pt x="58178" y="425332"/>
                    <a:pt x="60898" y="400855"/>
                  </a:cubicBezTo>
                  <a:cubicBezTo>
                    <a:pt x="63618" y="379098"/>
                    <a:pt x="60898" y="357340"/>
                    <a:pt x="66337" y="335583"/>
                  </a:cubicBezTo>
                  <a:cubicBezTo>
                    <a:pt x="69057" y="313826"/>
                    <a:pt x="77216" y="289349"/>
                    <a:pt x="85375" y="267592"/>
                  </a:cubicBezTo>
                  <a:cubicBezTo>
                    <a:pt x="93534" y="243115"/>
                    <a:pt x="98973" y="221357"/>
                    <a:pt x="109852" y="199600"/>
                  </a:cubicBezTo>
                  <a:cubicBezTo>
                    <a:pt x="118011" y="177843"/>
                    <a:pt x="131609" y="161525"/>
                    <a:pt x="145207" y="145207"/>
                  </a:cubicBezTo>
                  <a:cubicBezTo>
                    <a:pt x="158806" y="128889"/>
                    <a:pt x="172404" y="109852"/>
                    <a:pt x="188722" y="96253"/>
                  </a:cubicBezTo>
                  <a:cubicBezTo>
                    <a:pt x="205040" y="82655"/>
                    <a:pt x="224077" y="77216"/>
                    <a:pt x="243115" y="71776"/>
                  </a:cubicBezTo>
                  <a:cubicBezTo>
                    <a:pt x="256713" y="69057"/>
                    <a:pt x="273031" y="63617"/>
                    <a:pt x="286630" y="63617"/>
                  </a:cubicBezTo>
                  <a:cubicBezTo>
                    <a:pt x="292069" y="63617"/>
                    <a:pt x="297508" y="63617"/>
                    <a:pt x="305667" y="66337"/>
                  </a:cubicBezTo>
                  <a:cubicBezTo>
                    <a:pt x="313826" y="69057"/>
                    <a:pt x="319266" y="74496"/>
                    <a:pt x="324705" y="79936"/>
                  </a:cubicBezTo>
                  <a:cubicBezTo>
                    <a:pt x="332864" y="85375"/>
                    <a:pt x="332864" y="93534"/>
                    <a:pt x="341023" y="101693"/>
                  </a:cubicBezTo>
                  <a:cubicBezTo>
                    <a:pt x="346462" y="107132"/>
                    <a:pt x="349182" y="118011"/>
                    <a:pt x="354621" y="123450"/>
                  </a:cubicBezTo>
                  <a:cubicBezTo>
                    <a:pt x="354621" y="115291"/>
                    <a:pt x="354621" y="101693"/>
                    <a:pt x="354621" y="98973"/>
                  </a:cubicBezTo>
                  <a:cubicBezTo>
                    <a:pt x="354621" y="90814"/>
                    <a:pt x="354621" y="79936"/>
                    <a:pt x="360060" y="74496"/>
                  </a:cubicBezTo>
                  <a:cubicBezTo>
                    <a:pt x="362780" y="71776"/>
                    <a:pt x="362780" y="69057"/>
                    <a:pt x="365500" y="63617"/>
                  </a:cubicBezTo>
                  <a:cubicBezTo>
                    <a:pt x="368219" y="60898"/>
                    <a:pt x="370939" y="58178"/>
                    <a:pt x="373659" y="58178"/>
                  </a:cubicBezTo>
                  <a:cubicBezTo>
                    <a:pt x="376378" y="58178"/>
                    <a:pt x="379098" y="60898"/>
                    <a:pt x="381818" y="63617"/>
                  </a:cubicBezTo>
                  <a:cubicBezTo>
                    <a:pt x="384537" y="69057"/>
                    <a:pt x="387257" y="77216"/>
                    <a:pt x="389977" y="82655"/>
                  </a:cubicBezTo>
                  <a:cubicBezTo>
                    <a:pt x="389977" y="90814"/>
                    <a:pt x="392696" y="107132"/>
                    <a:pt x="392696" y="126170"/>
                  </a:cubicBezTo>
                  <a:cubicBezTo>
                    <a:pt x="392696" y="150647"/>
                    <a:pt x="392696" y="177843"/>
                    <a:pt x="395416" y="186002"/>
                  </a:cubicBezTo>
                  <a:cubicBezTo>
                    <a:pt x="398136" y="205040"/>
                    <a:pt x="398136" y="215918"/>
                    <a:pt x="398136" y="237675"/>
                  </a:cubicBezTo>
                  <a:cubicBezTo>
                    <a:pt x="398136" y="240395"/>
                    <a:pt x="398136" y="243115"/>
                    <a:pt x="398136" y="243115"/>
                  </a:cubicBezTo>
                  <a:cubicBezTo>
                    <a:pt x="398136" y="248554"/>
                    <a:pt x="398136" y="251274"/>
                    <a:pt x="395416" y="256713"/>
                  </a:cubicBezTo>
                  <a:cubicBezTo>
                    <a:pt x="392696" y="267592"/>
                    <a:pt x="389977" y="278470"/>
                    <a:pt x="379098" y="278470"/>
                  </a:cubicBezTo>
                  <a:cubicBezTo>
                    <a:pt x="370939" y="278470"/>
                    <a:pt x="368219" y="275751"/>
                    <a:pt x="362780" y="273031"/>
                  </a:cubicBezTo>
                  <a:cubicBezTo>
                    <a:pt x="357341" y="270311"/>
                    <a:pt x="354621" y="262152"/>
                    <a:pt x="354621" y="256713"/>
                  </a:cubicBezTo>
                  <a:cubicBezTo>
                    <a:pt x="349182" y="237675"/>
                    <a:pt x="354621" y="232236"/>
                    <a:pt x="354621" y="213198"/>
                  </a:cubicBezTo>
                  <a:cubicBezTo>
                    <a:pt x="354621" y="210479"/>
                    <a:pt x="354621" y="207759"/>
                    <a:pt x="354621" y="205040"/>
                  </a:cubicBezTo>
                  <a:cubicBezTo>
                    <a:pt x="349182" y="186002"/>
                    <a:pt x="343742" y="169684"/>
                    <a:pt x="338303" y="147927"/>
                  </a:cubicBezTo>
                  <a:cubicBezTo>
                    <a:pt x="332864" y="131609"/>
                    <a:pt x="311107" y="107132"/>
                    <a:pt x="292069" y="107132"/>
                  </a:cubicBezTo>
                  <a:cubicBezTo>
                    <a:pt x="281190" y="107132"/>
                    <a:pt x="270312" y="115291"/>
                    <a:pt x="262153" y="120730"/>
                  </a:cubicBezTo>
                  <a:cubicBezTo>
                    <a:pt x="259433" y="123450"/>
                    <a:pt x="256713" y="126170"/>
                    <a:pt x="251274" y="131609"/>
                  </a:cubicBezTo>
                  <a:cubicBezTo>
                    <a:pt x="248554" y="134329"/>
                    <a:pt x="243115" y="137048"/>
                    <a:pt x="240395" y="139768"/>
                  </a:cubicBezTo>
                  <a:cubicBezTo>
                    <a:pt x="237676" y="145207"/>
                    <a:pt x="240395" y="156086"/>
                    <a:pt x="237676" y="164245"/>
                  </a:cubicBezTo>
                  <a:cubicBezTo>
                    <a:pt x="232236" y="175123"/>
                    <a:pt x="229517" y="186002"/>
                    <a:pt x="226797" y="196881"/>
                  </a:cubicBezTo>
                  <a:cubicBezTo>
                    <a:pt x="221358" y="218638"/>
                    <a:pt x="218638" y="237675"/>
                    <a:pt x="213199" y="259433"/>
                  </a:cubicBezTo>
                  <a:cubicBezTo>
                    <a:pt x="210479" y="281190"/>
                    <a:pt x="207759" y="302947"/>
                    <a:pt x="207759" y="324704"/>
                  </a:cubicBezTo>
                  <a:cubicBezTo>
                    <a:pt x="207759" y="327424"/>
                    <a:pt x="207759" y="332863"/>
                    <a:pt x="207759" y="335583"/>
                  </a:cubicBezTo>
                  <a:cubicBezTo>
                    <a:pt x="207759" y="341022"/>
                    <a:pt x="205040" y="343742"/>
                    <a:pt x="205040" y="349181"/>
                  </a:cubicBezTo>
                  <a:cubicBezTo>
                    <a:pt x="205040" y="354621"/>
                    <a:pt x="207759" y="362779"/>
                    <a:pt x="207759" y="368219"/>
                  </a:cubicBezTo>
                  <a:cubicBezTo>
                    <a:pt x="207759" y="370939"/>
                    <a:pt x="207759" y="373658"/>
                    <a:pt x="207759" y="376378"/>
                  </a:cubicBezTo>
                  <a:cubicBezTo>
                    <a:pt x="205040" y="381817"/>
                    <a:pt x="205040" y="384537"/>
                    <a:pt x="205040" y="387256"/>
                  </a:cubicBezTo>
                  <a:cubicBezTo>
                    <a:pt x="205040" y="389976"/>
                    <a:pt x="205040" y="392696"/>
                    <a:pt x="205040" y="395415"/>
                  </a:cubicBezTo>
                  <a:cubicBezTo>
                    <a:pt x="205040" y="398135"/>
                    <a:pt x="205040" y="403574"/>
                    <a:pt x="205040" y="406294"/>
                  </a:cubicBezTo>
                  <a:cubicBezTo>
                    <a:pt x="205040" y="411733"/>
                    <a:pt x="205040" y="417173"/>
                    <a:pt x="205040" y="425332"/>
                  </a:cubicBezTo>
                  <a:cubicBezTo>
                    <a:pt x="205040" y="449809"/>
                    <a:pt x="213199" y="471566"/>
                    <a:pt x="213199" y="493323"/>
                  </a:cubicBezTo>
                  <a:cubicBezTo>
                    <a:pt x="213199" y="517800"/>
                    <a:pt x="215919" y="539557"/>
                    <a:pt x="221358" y="561314"/>
                  </a:cubicBezTo>
                  <a:cubicBezTo>
                    <a:pt x="224077" y="572193"/>
                    <a:pt x="224077" y="580352"/>
                    <a:pt x="226797" y="591231"/>
                  </a:cubicBezTo>
                  <a:cubicBezTo>
                    <a:pt x="229517" y="599390"/>
                    <a:pt x="237676" y="607548"/>
                    <a:pt x="240395" y="618427"/>
                  </a:cubicBezTo>
                  <a:cubicBezTo>
                    <a:pt x="248554" y="637465"/>
                    <a:pt x="262153" y="651063"/>
                    <a:pt x="283910" y="651063"/>
                  </a:cubicBezTo>
                  <a:cubicBezTo>
                    <a:pt x="302948" y="651063"/>
                    <a:pt x="330144" y="629306"/>
                    <a:pt x="338303" y="612988"/>
                  </a:cubicBezTo>
                  <a:cubicBezTo>
                    <a:pt x="346462" y="599390"/>
                    <a:pt x="351901" y="591231"/>
                    <a:pt x="354621" y="577632"/>
                  </a:cubicBezTo>
                  <a:cubicBezTo>
                    <a:pt x="354621" y="550436"/>
                    <a:pt x="354621" y="517800"/>
                    <a:pt x="357341" y="509641"/>
                  </a:cubicBezTo>
                  <a:cubicBezTo>
                    <a:pt x="357341" y="501482"/>
                    <a:pt x="357341" y="490603"/>
                    <a:pt x="362780" y="485164"/>
                  </a:cubicBezTo>
                  <a:cubicBezTo>
                    <a:pt x="365500" y="482444"/>
                    <a:pt x="365500" y="479725"/>
                    <a:pt x="368219" y="474286"/>
                  </a:cubicBezTo>
                  <a:cubicBezTo>
                    <a:pt x="370939" y="471566"/>
                    <a:pt x="373659" y="468846"/>
                    <a:pt x="376378" y="468846"/>
                  </a:cubicBezTo>
                  <a:cubicBezTo>
                    <a:pt x="379098" y="468846"/>
                    <a:pt x="381818" y="471566"/>
                    <a:pt x="384537" y="474286"/>
                  </a:cubicBezTo>
                  <a:cubicBezTo>
                    <a:pt x="387257" y="479725"/>
                    <a:pt x="389977" y="487884"/>
                    <a:pt x="392696" y="493323"/>
                  </a:cubicBezTo>
                  <a:cubicBezTo>
                    <a:pt x="392696" y="501482"/>
                    <a:pt x="395416" y="539557"/>
                    <a:pt x="395416" y="558595"/>
                  </a:cubicBezTo>
                  <a:cubicBezTo>
                    <a:pt x="395416" y="583072"/>
                    <a:pt x="395416" y="610268"/>
                    <a:pt x="398136" y="618427"/>
                  </a:cubicBezTo>
                  <a:cubicBezTo>
                    <a:pt x="398136" y="648343"/>
                    <a:pt x="400855" y="659222"/>
                    <a:pt x="400855" y="678260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/>
            </a:p>
          </p:txBody>
        </p:sp>
        <p:sp>
          <p:nvSpPr>
            <p:cNvPr id="37" name="Freeform: Shape 36">
              <a:extLst>
                <a:ext uri="{FF2B5EF4-FFF2-40B4-BE49-F238E27FC236}">
                  <a16:creationId xmlns:a16="http://schemas.microsoft.com/office/drawing/2014/main" id="{79BF7026-C859-48A0-8D54-CBF4AFDA68FE}"/>
                </a:ext>
              </a:extLst>
            </p:cNvPr>
            <p:cNvSpPr/>
            <p:nvPr/>
          </p:nvSpPr>
          <p:spPr bwMode="black">
            <a:xfrm>
              <a:off x="3829459" y="4200317"/>
              <a:ext cx="598325" cy="761503"/>
            </a:xfrm>
            <a:custGeom>
              <a:avLst/>
              <a:gdLst>
                <a:gd name="connsiteX0" fmla="*/ 360060 w 598324"/>
                <a:gd name="connsiteY0" fmla="*/ 332863 h 761503"/>
                <a:gd name="connsiteX1" fmla="*/ 341023 w 598324"/>
                <a:gd name="connsiteY1" fmla="*/ 370939 h 761503"/>
                <a:gd name="connsiteX2" fmla="*/ 376378 w 598324"/>
                <a:gd name="connsiteY2" fmla="*/ 389976 h 761503"/>
                <a:gd name="connsiteX3" fmla="*/ 425332 w 598324"/>
                <a:gd name="connsiteY3" fmla="*/ 433491 h 761503"/>
                <a:gd name="connsiteX4" fmla="*/ 438930 w 598324"/>
                <a:gd name="connsiteY4" fmla="*/ 463407 h 761503"/>
                <a:gd name="connsiteX5" fmla="*/ 449809 w 598324"/>
                <a:gd name="connsiteY5" fmla="*/ 498762 h 761503"/>
                <a:gd name="connsiteX6" fmla="*/ 457968 w 598324"/>
                <a:gd name="connsiteY6" fmla="*/ 528679 h 761503"/>
                <a:gd name="connsiteX7" fmla="*/ 466127 w 598324"/>
                <a:gd name="connsiteY7" fmla="*/ 564034 h 761503"/>
                <a:gd name="connsiteX8" fmla="*/ 471566 w 598324"/>
                <a:gd name="connsiteY8" fmla="*/ 593950 h 761503"/>
                <a:gd name="connsiteX9" fmla="*/ 479725 w 598324"/>
                <a:gd name="connsiteY9" fmla="*/ 607548 h 761503"/>
                <a:gd name="connsiteX10" fmla="*/ 487884 w 598324"/>
                <a:gd name="connsiteY10" fmla="*/ 623867 h 761503"/>
                <a:gd name="connsiteX11" fmla="*/ 501482 w 598324"/>
                <a:gd name="connsiteY11" fmla="*/ 651063 h 761503"/>
                <a:gd name="connsiteX12" fmla="*/ 523240 w 598324"/>
                <a:gd name="connsiteY12" fmla="*/ 670101 h 761503"/>
                <a:gd name="connsiteX13" fmla="*/ 534119 w 598324"/>
                <a:gd name="connsiteY13" fmla="*/ 686418 h 761503"/>
                <a:gd name="connsiteX14" fmla="*/ 531399 w 598324"/>
                <a:gd name="connsiteY14" fmla="*/ 694578 h 761503"/>
                <a:gd name="connsiteX15" fmla="*/ 498763 w 598324"/>
                <a:gd name="connsiteY15" fmla="*/ 708176 h 761503"/>
                <a:gd name="connsiteX16" fmla="*/ 449809 w 598324"/>
                <a:gd name="connsiteY16" fmla="*/ 700017 h 761503"/>
                <a:gd name="connsiteX17" fmla="*/ 400855 w 598324"/>
                <a:gd name="connsiteY17" fmla="*/ 667381 h 761503"/>
                <a:gd name="connsiteX18" fmla="*/ 381817 w 598324"/>
                <a:gd name="connsiteY18" fmla="*/ 642904 h 761503"/>
                <a:gd name="connsiteX19" fmla="*/ 368219 w 598324"/>
                <a:gd name="connsiteY19" fmla="*/ 610268 h 761503"/>
                <a:gd name="connsiteX20" fmla="*/ 349182 w 598324"/>
                <a:gd name="connsiteY20" fmla="*/ 550436 h 761503"/>
                <a:gd name="connsiteX21" fmla="*/ 338303 w 598324"/>
                <a:gd name="connsiteY21" fmla="*/ 504202 h 761503"/>
                <a:gd name="connsiteX22" fmla="*/ 330144 w 598324"/>
                <a:gd name="connsiteY22" fmla="*/ 477005 h 761503"/>
                <a:gd name="connsiteX23" fmla="*/ 321985 w 598324"/>
                <a:gd name="connsiteY23" fmla="*/ 455248 h 761503"/>
                <a:gd name="connsiteX24" fmla="*/ 305667 w 598324"/>
                <a:gd name="connsiteY24" fmla="*/ 436210 h 761503"/>
                <a:gd name="connsiteX25" fmla="*/ 294788 w 598324"/>
                <a:gd name="connsiteY25" fmla="*/ 441650 h 761503"/>
                <a:gd name="connsiteX26" fmla="*/ 278471 w 598324"/>
                <a:gd name="connsiteY26" fmla="*/ 463407 h 761503"/>
                <a:gd name="connsiteX27" fmla="*/ 264872 w 598324"/>
                <a:gd name="connsiteY27" fmla="*/ 496043 h 761503"/>
                <a:gd name="connsiteX28" fmla="*/ 262153 w 598324"/>
                <a:gd name="connsiteY28" fmla="*/ 517800 h 761503"/>
                <a:gd name="connsiteX29" fmla="*/ 262153 w 598324"/>
                <a:gd name="connsiteY29" fmla="*/ 523239 h 761503"/>
                <a:gd name="connsiteX30" fmla="*/ 262153 w 598324"/>
                <a:gd name="connsiteY30" fmla="*/ 553155 h 761503"/>
                <a:gd name="connsiteX31" fmla="*/ 262153 w 598324"/>
                <a:gd name="connsiteY31" fmla="*/ 629306 h 761503"/>
                <a:gd name="connsiteX32" fmla="*/ 259433 w 598324"/>
                <a:gd name="connsiteY32" fmla="*/ 659222 h 761503"/>
                <a:gd name="connsiteX33" fmla="*/ 283910 w 598324"/>
                <a:gd name="connsiteY33" fmla="*/ 659222 h 761503"/>
                <a:gd name="connsiteX34" fmla="*/ 321985 w 598324"/>
                <a:gd name="connsiteY34" fmla="*/ 675540 h 761503"/>
                <a:gd name="connsiteX35" fmla="*/ 316546 w 598324"/>
                <a:gd name="connsiteY35" fmla="*/ 691858 h 761503"/>
                <a:gd name="connsiteX36" fmla="*/ 300228 w 598324"/>
                <a:gd name="connsiteY36" fmla="*/ 700017 h 761503"/>
                <a:gd name="connsiteX37" fmla="*/ 278471 w 598324"/>
                <a:gd name="connsiteY37" fmla="*/ 702736 h 761503"/>
                <a:gd name="connsiteX38" fmla="*/ 243115 w 598324"/>
                <a:gd name="connsiteY38" fmla="*/ 702736 h 761503"/>
                <a:gd name="connsiteX39" fmla="*/ 221358 w 598324"/>
                <a:gd name="connsiteY39" fmla="*/ 710895 h 761503"/>
                <a:gd name="connsiteX40" fmla="*/ 194161 w 598324"/>
                <a:gd name="connsiteY40" fmla="*/ 702736 h 761503"/>
                <a:gd name="connsiteX41" fmla="*/ 177843 w 598324"/>
                <a:gd name="connsiteY41" fmla="*/ 702736 h 761503"/>
                <a:gd name="connsiteX42" fmla="*/ 126170 w 598324"/>
                <a:gd name="connsiteY42" fmla="*/ 702736 h 761503"/>
                <a:gd name="connsiteX43" fmla="*/ 101693 w 598324"/>
                <a:gd name="connsiteY43" fmla="*/ 702736 h 761503"/>
                <a:gd name="connsiteX44" fmla="*/ 74496 w 598324"/>
                <a:gd name="connsiteY44" fmla="*/ 697297 h 761503"/>
                <a:gd name="connsiteX45" fmla="*/ 58178 w 598324"/>
                <a:gd name="connsiteY45" fmla="*/ 680979 h 761503"/>
                <a:gd name="connsiteX46" fmla="*/ 63617 w 598324"/>
                <a:gd name="connsiteY46" fmla="*/ 672820 h 761503"/>
                <a:gd name="connsiteX47" fmla="*/ 85375 w 598324"/>
                <a:gd name="connsiteY47" fmla="*/ 664661 h 761503"/>
                <a:gd name="connsiteX48" fmla="*/ 128889 w 598324"/>
                <a:gd name="connsiteY48" fmla="*/ 659222 h 761503"/>
                <a:gd name="connsiteX49" fmla="*/ 147927 w 598324"/>
                <a:gd name="connsiteY49" fmla="*/ 659222 h 761503"/>
                <a:gd name="connsiteX50" fmla="*/ 145207 w 598324"/>
                <a:gd name="connsiteY50" fmla="*/ 653783 h 761503"/>
                <a:gd name="connsiteX51" fmla="*/ 131609 w 598324"/>
                <a:gd name="connsiteY51" fmla="*/ 585791 h 761503"/>
                <a:gd name="connsiteX52" fmla="*/ 134329 w 598324"/>
                <a:gd name="connsiteY52" fmla="*/ 498762 h 761503"/>
                <a:gd name="connsiteX53" fmla="*/ 137048 w 598324"/>
                <a:gd name="connsiteY53" fmla="*/ 406294 h 761503"/>
                <a:gd name="connsiteX54" fmla="*/ 134329 w 598324"/>
                <a:gd name="connsiteY54" fmla="*/ 327424 h 761503"/>
                <a:gd name="connsiteX55" fmla="*/ 137048 w 598324"/>
                <a:gd name="connsiteY55" fmla="*/ 253993 h 761503"/>
                <a:gd name="connsiteX56" fmla="*/ 139768 w 598324"/>
                <a:gd name="connsiteY56" fmla="*/ 207759 h 761503"/>
                <a:gd name="connsiteX57" fmla="*/ 137048 w 598324"/>
                <a:gd name="connsiteY57" fmla="*/ 172404 h 761503"/>
                <a:gd name="connsiteX58" fmla="*/ 137048 w 598324"/>
                <a:gd name="connsiteY58" fmla="*/ 112571 h 761503"/>
                <a:gd name="connsiteX59" fmla="*/ 126170 w 598324"/>
                <a:gd name="connsiteY59" fmla="*/ 112571 h 761503"/>
                <a:gd name="connsiteX60" fmla="*/ 101693 w 598324"/>
                <a:gd name="connsiteY60" fmla="*/ 112571 h 761503"/>
                <a:gd name="connsiteX61" fmla="*/ 74496 w 598324"/>
                <a:gd name="connsiteY61" fmla="*/ 107132 h 761503"/>
                <a:gd name="connsiteX62" fmla="*/ 58178 w 598324"/>
                <a:gd name="connsiteY62" fmla="*/ 90814 h 761503"/>
                <a:gd name="connsiteX63" fmla="*/ 63617 w 598324"/>
                <a:gd name="connsiteY63" fmla="*/ 82655 h 761503"/>
                <a:gd name="connsiteX64" fmla="*/ 85375 w 598324"/>
                <a:gd name="connsiteY64" fmla="*/ 74496 h 761503"/>
                <a:gd name="connsiteX65" fmla="*/ 137048 w 598324"/>
                <a:gd name="connsiteY65" fmla="*/ 69057 h 761503"/>
                <a:gd name="connsiteX66" fmla="*/ 145207 w 598324"/>
                <a:gd name="connsiteY66" fmla="*/ 69057 h 761503"/>
                <a:gd name="connsiteX67" fmla="*/ 169684 w 598324"/>
                <a:gd name="connsiteY67" fmla="*/ 58178 h 761503"/>
                <a:gd name="connsiteX68" fmla="*/ 177843 w 598324"/>
                <a:gd name="connsiteY68" fmla="*/ 58178 h 761503"/>
                <a:gd name="connsiteX69" fmla="*/ 205040 w 598324"/>
                <a:gd name="connsiteY69" fmla="*/ 66337 h 761503"/>
                <a:gd name="connsiteX70" fmla="*/ 286629 w 598324"/>
                <a:gd name="connsiteY70" fmla="*/ 63617 h 761503"/>
                <a:gd name="connsiteX71" fmla="*/ 324705 w 598324"/>
                <a:gd name="connsiteY71" fmla="*/ 79936 h 761503"/>
                <a:gd name="connsiteX72" fmla="*/ 319265 w 598324"/>
                <a:gd name="connsiteY72" fmla="*/ 96253 h 761503"/>
                <a:gd name="connsiteX73" fmla="*/ 302948 w 598324"/>
                <a:gd name="connsiteY73" fmla="*/ 104412 h 761503"/>
                <a:gd name="connsiteX74" fmla="*/ 278471 w 598324"/>
                <a:gd name="connsiteY74" fmla="*/ 112571 h 761503"/>
                <a:gd name="connsiteX75" fmla="*/ 232236 w 598324"/>
                <a:gd name="connsiteY75" fmla="*/ 112571 h 761503"/>
                <a:gd name="connsiteX76" fmla="*/ 240395 w 598324"/>
                <a:gd name="connsiteY76" fmla="*/ 137048 h 761503"/>
                <a:gd name="connsiteX77" fmla="*/ 240395 w 598324"/>
                <a:gd name="connsiteY77" fmla="*/ 150647 h 761503"/>
                <a:gd name="connsiteX78" fmla="*/ 243115 w 598324"/>
                <a:gd name="connsiteY78" fmla="*/ 158805 h 761503"/>
                <a:gd name="connsiteX79" fmla="*/ 248554 w 598324"/>
                <a:gd name="connsiteY79" fmla="*/ 188722 h 761503"/>
                <a:gd name="connsiteX80" fmla="*/ 248554 w 598324"/>
                <a:gd name="connsiteY80" fmla="*/ 199600 h 761503"/>
                <a:gd name="connsiteX81" fmla="*/ 248554 w 598324"/>
                <a:gd name="connsiteY81" fmla="*/ 221357 h 761503"/>
                <a:gd name="connsiteX82" fmla="*/ 253994 w 598324"/>
                <a:gd name="connsiteY82" fmla="*/ 264872 h 761503"/>
                <a:gd name="connsiteX83" fmla="*/ 262153 w 598324"/>
                <a:gd name="connsiteY83" fmla="*/ 297508 h 761503"/>
                <a:gd name="connsiteX84" fmla="*/ 264872 w 598324"/>
                <a:gd name="connsiteY84" fmla="*/ 324704 h 761503"/>
                <a:gd name="connsiteX85" fmla="*/ 264872 w 598324"/>
                <a:gd name="connsiteY85" fmla="*/ 332863 h 761503"/>
                <a:gd name="connsiteX86" fmla="*/ 264872 w 598324"/>
                <a:gd name="connsiteY86" fmla="*/ 351901 h 761503"/>
                <a:gd name="connsiteX87" fmla="*/ 262153 w 598324"/>
                <a:gd name="connsiteY87" fmla="*/ 370939 h 761503"/>
                <a:gd name="connsiteX88" fmla="*/ 267592 w 598324"/>
                <a:gd name="connsiteY88" fmla="*/ 384537 h 761503"/>
                <a:gd name="connsiteX89" fmla="*/ 278471 w 598324"/>
                <a:gd name="connsiteY89" fmla="*/ 370939 h 761503"/>
                <a:gd name="connsiteX90" fmla="*/ 297508 w 598324"/>
                <a:gd name="connsiteY90" fmla="*/ 332863 h 761503"/>
                <a:gd name="connsiteX91" fmla="*/ 311106 w 598324"/>
                <a:gd name="connsiteY91" fmla="*/ 305667 h 761503"/>
                <a:gd name="connsiteX92" fmla="*/ 335583 w 598324"/>
                <a:gd name="connsiteY92" fmla="*/ 259433 h 761503"/>
                <a:gd name="connsiteX93" fmla="*/ 354621 w 598324"/>
                <a:gd name="connsiteY93" fmla="*/ 224077 h 761503"/>
                <a:gd name="connsiteX94" fmla="*/ 381817 w 598324"/>
                <a:gd name="connsiteY94" fmla="*/ 172404 h 761503"/>
                <a:gd name="connsiteX95" fmla="*/ 409014 w 598324"/>
                <a:gd name="connsiteY95" fmla="*/ 118011 h 761503"/>
                <a:gd name="connsiteX96" fmla="*/ 411734 w 598324"/>
                <a:gd name="connsiteY96" fmla="*/ 115291 h 761503"/>
                <a:gd name="connsiteX97" fmla="*/ 398136 w 598324"/>
                <a:gd name="connsiteY97" fmla="*/ 115291 h 761503"/>
                <a:gd name="connsiteX98" fmla="*/ 379098 w 598324"/>
                <a:gd name="connsiteY98" fmla="*/ 109852 h 761503"/>
                <a:gd name="connsiteX99" fmla="*/ 368219 w 598324"/>
                <a:gd name="connsiteY99" fmla="*/ 93534 h 761503"/>
                <a:gd name="connsiteX100" fmla="*/ 370939 w 598324"/>
                <a:gd name="connsiteY100" fmla="*/ 85375 h 761503"/>
                <a:gd name="connsiteX101" fmla="*/ 387257 w 598324"/>
                <a:gd name="connsiteY101" fmla="*/ 77216 h 761503"/>
                <a:gd name="connsiteX102" fmla="*/ 422612 w 598324"/>
                <a:gd name="connsiteY102" fmla="*/ 71776 h 761503"/>
                <a:gd name="connsiteX103" fmla="*/ 436211 w 598324"/>
                <a:gd name="connsiteY103" fmla="*/ 71776 h 761503"/>
                <a:gd name="connsiteX104" fmla="*/ 438930 w 598324"/>
                <a:gd name="connsiteY104" fmla="*/ 69057 h 761503"/>
                <a:gd name="connsiteX105" fmla="*/ 452529 w 598324"/>
                <a:gd name="connsiteY105" fmla="*/ 66337 h 761503"/>
                <a:gd name="connsiteX106" fmla="*/ 466127 w 598324"/>
                <a:gd name="connsiteY106" fmla="*/ 69057 h 761503"/>
                <a:gd name="connsiteX107" fmla="*/ 471566 w 598324"/>
                <a:gd name="connsiteY107" fmla="*/ 71776 h 761503"/>
                <a:gd name="connsiteX108" fmla="*/ 515081 w 598324"/>
                <a:gd name="connsiteY108" fmla="*/ 71776 h 761503"/>
                <a:gd name="connsiteX109" fmla="*/ 542277 w 598324"/>
                <a:gd name="connsiteY109" fmla="*/ 88094 h 761503"/>
                <a:gd name="connsiteX110" fmla="*/ 536838 w 598324"/>
                <a:gd name="connsiteY110" fmla="*/ 104412 h 761503"/>
                <a:gd name="connsiteX111" fmla="*/ 525959 w 598324"/>
                <a:gd name="connsiteY111" fmla="*/ 112571 h 761503"/>
                <a:gd name="connsiteX112" fmla="*/ 509642 w 598324"/>
                <a:gd name="connsiteY112" fmla="*/ 115291 h 761503"/>
                <a:gd name="connsiteX113" fmla="*/ 468847 w 598324"/>
                <a:gd name="connsiteY113" fmla="*/ 115291 h 761503"/>
                <a:gd name="connsiteX114" fmla="*/ 457968 w 598324"/>
                <a:gd name="connsiteY114" fmla="*/ 137048 h 761503"/>
                <a:gd name="connsiteX115" fmla="*/ 430771 w 598324"/>
                <a:gd name="connsiteY115" fmla="*/ 194161 h 761503"/>
                <a:gd name="connsiteX116" fmla="*/ 400855 w 598324"/>
                <a:gd name="connsiteY116" fmla="*/ 262152 h 761503"/>
                <a:gd name="connsiteX117" fmla="*/ 360060 w 598324"/>
                <a:gd name="connsiteY117" fmla="*/ 332863 h 761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</a:cxnLst>
              <a:rect l="l" t="t" r="r" b="b"/>
              <a:pathLst>
                <a:path w="598324" h="761503">
                  <a:moveTo>
                    <a:pt x="360060" y="332863"/>
                  </a:moveTo>
                  <a:cubicBezTo>
                    <a:pt x="351901" y="343742"/>
                    <a:pt x="341023" y="357340"/>
                    <a:pt x="341023" y="370939"/>
                  </a:cubicBezTo>
                  <a:cubicBezTo>
                    <a:pt x="341023" y="379098"/>
                    <a:pt x="357341" y="381817"/>
                    <a:pt x="376378" y="389976"/>
                  </a:cubicBezTo>
                  <a:cubicBezTo>
                    <a:pt x="395416" y="398135"/>
                    <a:pt x="417173" y="417173"/>
                    <a:pt x="425332" y="433491"/>
                  </a:cubicBezTo>
                  <a:cubicBezTo>
                    <a:pt x="430771" y="444369"/>
                    <a:pt x="436211" y="452528"/>
                    <a:pt x="438930" y="463407"/>
                  </a:cubicBezTo>
                  <a:cubicBezTo>
                    <a:pt x="444370" y="474286"/>
                    <a:pt x="447089" y="487884"/>
                    <a:pt x="449809" y="498762"/>
                  </a:cubicBezTo>
                  <a:cubicBezTo>
                    <a:pt x="452529" y="512361"/>
                    <a:pt x="452529" y="517800"/>
                    <a:pt x="457968" y="528679"/>
                  </a:cubicBezTo>
                  <a:cubicBezTo>
                    <a:pt x="463407" y="539557"/>
                    <a:pt x="463407" y="553155"/>
                    <a:pt x="466127" y="564034"/>
                  </a:cubicBezTo>
                  <a:cubicBezTo>
                    <a:pt x="468847" y="572193"/>
                    <a:pt x="468847" y="585791"/>
                    <a:pt x="471566" y="593950"/>
                  </a:cubicBezTo>
                  <a:cubicBezTo>
                    <a:pt x="474286" y="599390"/>
                    <a:pt x="477006" y="602109"/>
                    <a:pt x="479725" y="607548"/>
                  </a:cubicBezTo>
                  <a:cubicBezTo>
                    <a:pt x="482445" y="612988"/>
                    <a:pt x="487884" y="618427"/>
                    <a:pt x="487884" y="623867"/>
                  </a:cubicBezTo>
                  <a:cubicBezTo>
                    <a:pt x="490604" y="634745"/>
                    <a:pt x="496043" y="642904"/>
                    <a:pt x="501482" y="651063"/>
                  </a:cubicBezTo>
                  <a:cubicBezTo>
                    <a:pt x="506922" y="661942"/>
                    <a:pt x="512361" y="664661"/>
                    <a:pt x="523240" y="670101"/>
                  </a:cubicBezTo>
                  <a:cubicBezTo>
                    <a:pt x="528679" y="672820"/>
                    <a:pt x="534119" y="680979"/>
                    <a:pt x="534119" y="686418"/>
                  </a:cubicBezTo>
                  <a:cubicBezTo>
                    <a:pt x="534119" y="689138"/>
                    <a:pt x="534119" y="691858"/>
                    <a:pt x="531399" y="694578"/>
                  </a:cubicBezTo>
                  <a:cubicBezTo>
                    <a:pt x="525959" y="702736"/>
                    <a:pt x="512361" y="708176"/>
                    <a:pt x="498763" y="708176"/>
                  </a:cubicBezTo>
                  <a:cubicBezTo>
                    <a:pt x="485165" y="708176"/>
                    <a:pt x="466127" y="705456"/>
                    <a:pt x="449809" y="700017"/>
                  </a:cubicBezTo>
                  <a:cubicBezTo>
                    <a:pt x="430771" y="694578"/>
                    <a:pt x="409014" y="675540"/>
                    <a:pt x="400855" y="667381"/>
                  </a:cubicBezTo>
                  <a:cubicBezTo>
                    <a:pt x="392696" y="659222"/>
                    <a:pt x="387257" y="651063"/>
                    <a:pt x="381817" y="642904"/>
                  </a:cubicBezTo>
                  <a:cubicBezTo>
                    <a:pt x="376378" y="632025"/>
                    <a:pt x="370939" y="623867"/>
                    <a:pt x="368219" y="610268"/>
                  </a:cubicBezTo>
                  <a:cubicBezTo>
                    <a:pt x="360060" y="588511"/>
                    <a:pt x="357341" y="574913"/>
                    <a:pt x="349182" y="550436"/>
                  </a:cubicBezTo>
                  <a:cubicBezTo>
                    <a:pt x="343742" y="534118"/>
                    <a:pt x="341023" y="520520"/>
                    <a:pt x="338303" y="504202"/>
                  </a:cubicBezTo>
                  <a:cubicBezTo>
                    <a:pt x="335583" y="493323"/>
                    <a:pt x="332864" y="485164"/>
                    <a:pt x="330144" y="477005"/>
                  </a:cubicBezTo>
                  <a:cubicBezTo>
                    <a:pt x="327424" y="471566"/>
                    <a:pt x="324705" y="463407"/>
                    <a:pt x="321985" y="455248"/>
                  </a:cubicBezTo>
                  <a:cubicBezTo>
                    <a:pt x="316546" y="444369"/>
                    <a:pt x="311106" y="436210"/>
                    <a:pt x="305667" y="436210"/>
                  </a:cubicBezTo>
                  <a:cubicBezTo>
                    <a:pt x="302948" y="436210"/>
                    <a:pt x="300228" y="438930"/>
                    <a:pt x="294788" y="441650"/>
                  </a:cubicBezTo>
                  <a:cubicBezTo>
                    <a:pt x="289349" y="447089"/>
                    <a:pt x="283910" y="455248"/>
                    <a:pt x="278471" y="463407"/>
                  </a:cubicBezTo>
                  <a:cubicBezTo>
                    <a:pt x="270312" y="474286"/>
                    <a:pt x="267592" y="485164"/>
                    <a:pt x="264872" y="496043"/>
                  </a:cubicBezTo>
                  <a:cubicBezTo>
                    <a:pt x="264872" y="504202"/>
                    <a:pt x="262153" y="512361"/>
                    <a:pt x="262153" y="517800"/>
                  </a:cubicBezTo>
                  <a:cubicBezTo>
                    <a:pt x="262153" y="520520"/>
                    <a:pt x="262153" y="520520"/>
                    <a:pt x="262153" y="523239"/>
                  </a:cubicBezTo>
                  <a:cubicBezTo>
                    <a:pt x="262153" y="528679"/>
                    <a:pt x="262153" y="544997"/>
                    <a:pt x="262153" y="553155"/>
                  </a:cubicBezTo>
                  <a:cubicBezTo>
                    <a:pt x="262153" y="583072"/>
                    <a:pt x="264872" y="599390"/>
                    <a:pt x="262153" y="629306"/>
                  </a:cubicBezTo>
                  <a:cubicBezTo>
                    <a:pt x="262153" y="640184"/>
                    <a:pt x="262153" y="648343"/>
                    <a:pt x="259433" y="659222"/>
                  </a:cubicBezTo>
                  <a:cubicBezTo>
                    <a:pt x="270312" y="659222"/>
                    <a:pt x="278471" y="659222"/>
                    <a:pt x="283910" y="659222"/>
                  </a:cubicBezTo>
                  <a:cubicBezTo>
                    <a:pt x="297508" y="659222"/>
                    <a:pt x="321985" y="659222"/>
                    <a:pt x="321985" y="675540"/>
                  </a:cubicBezTo>
                  <a:cubicBezTo>
                    <a:pt x="321985" y="683699"/>
                    <a:pt x="319265" y="686418"/>
                    <a:pt x="316546" y="691858"/>
                  </a:cubicBezTo>
                  <a:cubicBezTo>
                    <a:pt x="311106" y="697297"/>
                    <a:pt x="305667" y="700017"/>
                    <a:pt x="300228" y="700017"/>
                  </a:cubicBezTo>
                  <a:cubicBezTo>
                    <a:pt x="292069" y="702736"/>
                    <a:pt x="283910" y="702736"/>
                    <a:pt x="278471" y="702736"/>
                  </a:cubicBezTo>
                  <a:cubicBezTo>
                    <a:pt x="275751" y="702736"/>
                    <a:pt x="259433" y="702736"/>
                    <a:pt x="243115" y="702736"/>
                  </a:cubicBezTo>
                  <a:cubicBezTo>
                    <a:pt x="237676" y="708176"/>
                    <a:pt x="229517" y="710895"/>
                    <a:pt x="221358" y="710895"/>
                  </a:cubicBezTo>
                  <a:cubicBezTo>
                    <a:pt x="213199" y="710895"/>
                    <a:pt x="202320" y="708176"/>
                    <a:pt x="194161" y="702736"/>
                  </a:cubicBezTo>
                  <a:cubicBezTo>
                    <a:pt x="186002" y="702736"/>
                    <a:pt x="180563" y="702736"/>
                    <a:pt x="177843" y="702736"/>
                  </a:cubicBezTo>
                  <a:cubicBezTo>
                    <a:pt x="164245" y="702736"/>
                    <a:pt x="139768" y="702736"/>
                    <a:pt x="126170" y="702736"/>
                  </a:cubicBezTo>
                  <a:cubicBezTo>
                    <a:pt x="118011" y="702736"/>
                    <a:pt x="109852" y="702736"/>
                    <a:pt x="101693" y="702736"/>
                  </a:cubicBezTo>
                  <a:cubicBezTo>
                    <a:pt x="93534" y="702736"/>
                    <a:pt x="82655" y="702736"/>
                    <a:pt x="74496" y="697297"/>
                  </a:cubicBezTo>
                  <a:cubicBezTo>
                    <a:pt x="66337" y="694578"/>
                    <a:pt x="58178" y="686418"/>
                    <a:pt x="58178" y="680979"/>
                  </a:cubicBezTo>
                  <a:cubicBezTo>
                    <a:pt x="58178" y="678260"/>
                    <a:pt x="58178" y="675540"/>
                    <a:pt x="63617" y="672820"/>
                  </a:cubicBezTo>
                  <a:cubicBezTo>
                    <a:pt x="69057" y="670101"/>
                    <a:pt x="79935" y="667381"/>
                    <a:pt x="85375" y="664661"/>
                  </a:cubicBezTo>
                  <a:cubicBezTo>
                    <a:pt x="104412" y="661942"/>
                    <a:pt x="123450" y="659222"/>
                    <a:pt x="128889" y="659222"/>
                  </a:cubicBezTo>
                  <a:cubicBezTo>
                    <a:pt x="134329" y="659222"/>
                    <a:pt x="139768" y="659222"/>
                    <a:pt x="147927" y="659222"/>
                  </a:cubicBezTo>
                  <a:cubicBezTo>
                    <a:pt x="147927" y="656502"/>
                    <a:pt x="145207" y="653783"/>
                    <a:pt x="145207" y="653783"/>
                  </a:cubicBezTo>
                  <a:cubicBezTo>
                    <a:pt x="131609" y="632025"/>
                    <a:pt x="131609" y="610268"/>
                    <a:pt x="131609" y="585791"/>
                  </a:cubicBezTo>
                  <a:cubicBezTo>
                    <a:pt x="131609" y="555875"/>
                    <a:pt x="131609" y="528679"/>
                    <a:pt x="134329" y="498762"/>
                  </a:cubicBezTo>
                  <a:cubicBezTo>
                    <a:pt x="134329" y="468846"/>
                    <a:pt x="137048" y="436210"/>
                    <a:pt x="137048" y="406294"/>
                  </a:cubicBezTo>
                  <a:cubicBezTo>
                    <a:pt x="137048" y="379098"/>
                    <a:pt x="134329" y="354621"/>
                    <a:pt x="134329" y="327424"/>
                  </a:cubicBezTo>
                  <a:cubicBezTo>
                    <a:pt x="134329" y="302947"/>
                    <a:pt x="137048" y="278470"/>
                    <a:pt x="137048" y="253993"/>
                  </a:cubicBezTo>
                  <a:cubicBezTo>
                    <a:pt x="137048" y="237675"/>
                    <a:pt x="139768" y="224077"/>
                    <a:pt x="139768" y="207759"/>
                  </a:cubicBezTo>
                  <a:cubicBezTo>
                    <a:pt x="139768" y="196881"/>
                    <a:pt x="137048" y="183282"/>
                    <a:pt x="137048" y="172404"/>
                  </a:cubicBezTo>
                  <a:cubicBezTo>
                    <a:pt x="137048" y="150647"/>
                    <a:pt x="137048" y="131609"/>
                    <a:pt x="137048" y="112571"/>
                  </a:cubicBezTo>
                  <a:cubicBezTo>
                    <a:pt x="134329" y="112571"/>
                    <a:pt x="137048" y="112571"/>
                    <a:pt x="126170" y="112571"/>
                  </a:cubicBezTo>
                  <a:cubicBezTo>
                    <a:pt x="118011" y="112571"/>
                    <a:pt x="109852" y="112571"/>
                    <a:pt x="101693" y="112571"/>
                  </a:cubicBezTo>
                  <a:cubicBezTo>
                    <a:pt x="93534" y="112571"/>
                    <a:pt x="82655" y="109852"/>
                    <a:pt x="74496" y="107132"/>
                  </a:cubicBezTo>
                  <a:cubicBezTo>
                    <a:pt x="66337" y="104412"/>
                    <a:pt x="58178" y="96253"/>
                    <a:pt x="58178" y="90814"/>
                  </a:cubicBezTo>
                  <a:cubicBezTo>
                    <a:pt x="58178" y="88094"/>
                    <a:pt x="58178" y="85375"/>
                    <a:pt x="63617" y="82655"/>
                  </a:cubicBezTo>
                  <a:cubicBezTo>
                    <a:pt x="69057" y="79936"/>
                    <a:pt x="79935" y="77216"/>
                    <a:pt x="85375" y="74496"/>
                  </a:cubicBezTo>
                  <a:cubicBezTo>
                    <a:pt x="104412" y="71776"/>
                    <a:pt x="128889" y="69057"/>
                    <a:pt x="137048" y="69057"/>
                  </a:cubicBezTo>
                  <a:cubicBezTo>
                    <a:pt x="137048" y="69057"/>
                    <a:pt x="139768" y="69057"/>
                    <a:pt x="145207" y="69057"/>
                  </a:cubicBezTo>
                  <a:cubicBezTo>
                    <a:pt x="150646" y="60898"/>
                    <a:pt x="158806" y="58178"/>
                    <a:pt x="169684" y="58178"/>
                  </a:cubicBezTo>
                  <a:cubicBezTo>
                    <a:pt x="172404" y="58178"/>
                    <a:pt x="175123" y="58178"/>
                    <a:pt x="177843" y="58178"/>
                  </a:cubicBezTo>
                  <a:cubicBezTo>
                    <a:pt x="186002" y="58178"/>
                    <a:pt x="196881" y="63617"/>
                    <a:pt x="205040" y="66337"/>
                  </a:cubicBezTo>
                  <a:cubicBezTo>
                    <a:pt x="237676" y="66337"/>
                    <a:pt x="273031" y="63617"/>
                    <a:pt x="286629" y="63617"/>
                  </a:cubicBezTo>
                  <a:cubicBezTo>
                    <a:pt x="300228" y="63617"/>
                    <a:pt x="324705" y="63617"/>
                    <a:pt x="324705" y="79936"/>
                  </a:cubicBezTo>
                  <a:cubicBezTo>
                    <a:pt x="324705" y="88094"/>
                    <a:pt x="321985" y="90814"/>
                    <a:pt x="319265" y="96253"/>
                  </a:cubicBezTo>
                  <a:cubicBezTo>
                    <a:pt x="313826" y="101693"/>
                    <a:pt x="308387" y="104412"/>
                    <a:pt x="302948" y="104412"/>
                  </a:cubicBezTo>
                  <a:cubicBezTo>
                    <a:pt x="289349" y="112571"/>
                    <a:pt x="283910" y="112571"/>
                    <a:pt x="278471" y="112571"/>
                  </a:cubicBezTo>
                  <a:cubicBezTo>
                    <a:pt x="273031" y="112571"/>
                    <a:pt x="253994" y="112571"/>
                    <a:pt x="232236" y="112571"/>
                  </a:cubicBezTo>
                  <a:cubicBezTo>
                    <a:pt x="237676" y="120730"/>
                    <a:pt x="240395" y="128889"/>
                    <a:pt x="240395" y="137048"/>
                  </a:cubicBezTo>
                  <a:cubicBezTo>
                    <a:pt x="240395" y="142487"/>
                    <a:pt x="240395" y="145207"/>
                    <a:pt x="240395" y="150647"/>
                  </a:cubicBezTo>
                  <a:cubicBezTo>
                    <a:pt x="240395" y="153366"/>
                    <a:pt x="240395" y="156086"/>
                    <a:pt x="243115" y="158805"/>
                  </a:cubicBezTo>
                  <a:cubicBezTo>
                    <a:pt x="245835" y="169684"/>
                    <a:pt x="245835" y="180563"/>
                    <a:pt x="248554" y="188722"/>
                  </a:cubicBezTo>
                  <a:cubicBezTo>
                    <a:pt x="248554" y="191441"/>
                    <a:pt x="248554" y="194161"/>
                    <a:pt x="248554" y="199600"/>
                  </a:cubicBezTo>
                  <a:cubicBezTo>
                    <a:pt x="248554" y="207759"/>
                    <a:pt x="248554" y="213198"/>
                    <a:pt x="248554" y="221357"/>
                  </a:cubicBezTo>
                  <a:cubicBezTo>
                    <a:pt x="248554" y="234956"/>
                    <a:pt x="251274" y="248554"/>
                    <a:pt x="253994" y="264872"/>
                  </a:cubicBezTo>
                  <a:cubicBezTo>
                    <a:pt x="256713" y="275751"/>
                    <a:pt x="259433" y="286629"/>
                    <a:pt x="262153" y="297508"/>
                  </a:cubicBezTo>
                  <a:cubicBezTo>
                    <a:pt x="264872" y="305667"/>
                    <a:pt x="264872" y="313826"/>
                    <a:pt x="264872" y="324704"/>
                  </a:cubicBezTo>
                  <a:cubicBezTo>
                    <a:pt x="264872" y="327424"/>
                    <a:pt x="264872" y="330144"/>
                    <a:pt x="264872" y="332863"/>
                  </a:cubicBezTo>
                  <a:cubicBezTo>
                    <a:pt x="264872" y="338303"/>
                    <a:pt x="264872" y="346462"/>
                    <a:pt x="264872" y="351901"/>
                  </a:cubicBezTo>
                  <a:cubicBezTo>
                    <a:pt x="264872" y="357340"/>
                    <a:pt x="262153" y="365499"/>
                    <a:pt x="262153" y="370939"/>
                  </a:cubicBezTo>
                  <a:cubicBezTo>
                    <a:pt x="262153" y="376378"/>
                    <a:pt x="264872" y="384537"/>
                    <a:pt x="267592" y="384537"/>
                  </a:cubicBezTo>
                  <a:cubicBezTo>
                    <a:pt x="273031" y="384537"/>
                    <a:pt x="275751" y="376378"/>
                    <a:pt x="278471" y="370939"/>
                  </a:cubicBezTo>
                  <a:cubicBezTo>
                    <a:pt x="283910" y="360060"/>
                    <a:pt x="289349" y="346462"/>
                    <a:pt x="297508" y="332863"/>
                  </a:cubicBezTo>
                  <a:cubicBezTo>
                    <a:pt x="302948" y="324704"/>
                    <a:pt x="305667" y="313826"/>
                    <a:pt x="311106" y="305667"/>
                  </a:cubicBezTo>
                  <a:cubicBezTo>
                    <a:pt x="319265" y="289349"/>
                    <a:pt x="327424" y="275751"/>
                    <a:pt x="335583" y="259433"/>
                  </a:cubicBezTo>
                  <a:cubicBezTo>
                    <a:pt x="341023" y="248554"/>
                    <a:pt x="349182" y="234956"/>
                    <a:pt x="354621" y="224077"/>
                  </a:cubicBezTo>
                  <a:cubicBezTo>
                    <a:pt x="362780" y="207759"/>
                    <a:pt x="370939" y="191441"/>
                    <a:pt x="381817" y="172404"/>
                  </a:cubicBezTo>
                  <a:cubicBezTo>
                    <a:pt x="389977" y="153366"/>
                    <a:pt x="400855" y="134329"/>
                    <a:pt x="409014" y="118011"/>
                  </a:cubicBezTo>
                  <a:cubicBezTo>
                    <a:pt x="409014" y="115291"/>
                    <a:pt x="409014" y="115291"/>
                    <a:pt x="411734" y="115291"/>
                  </a:cubicBezTo>
                  <a:cubicBezTo>
                    <a:pt x="406294" y="115291"/>
                    <a:pt x="400855" y="115291"/>
                    <a:pt x="398136" y="115291"/>
                  </a:cubicBezTo>
                  <a:cubicBezTo>
                    <a:pt x="392696" y="115291"/>
                    <a:pt x="384537" y="115291"/>
                    <a:pt x="379098" y="109852"/>
                  </a:cubicBezTo>
                  <a:cubicBezTo>
                    <a:pt x="373659" y="107132"/>
                    <a:pt x="368219" y="98973"/>
                    <a:pt x="368219" y="93534"/>
                  </a:cubicBezTo>
                  <a:cubicBezTo>
                    <a:pt x="368219" y="90814"/>
                    <a:pt x="368219" y="88094"/>
                    <a:pt x="370939" y="85375"/>
                  </a:cubicBezTo>
                  <a:cubicBezTo>
                    <a:pt x="373659" y="82655"/>
                    <a:pt x="381817" y="79936"/>
                    <a:pt x="387257" y="77216"/>
                  </a:cubicBezTo>
                  <a:cubicBezTo>
                    <a:pt x="400855" y="74496"/>
                    <a:pt x="414453" y="71776"/>
                    <a:pt x="422612" y="71776"/>
                  </a:cubicBezTo>
                  <a:cubicBezTo>
                    <a:pt x="425332" y="71776"/>
                    <a:pt x="430771" y="71776"/>
                    <a:pt x="436211" y="71776"/>
                  </a:cubicBezTo>
                  <a:cubicBezTo>
                    <a:pt x="436211" y="71776"/>
                    <a:pt x="438930" y="69057"/>
                    <a:pt x="438930" y="69057"/>
                  </a:cubicBezTo>
                  <a:cubicBezTo>
                    <a:pt x="444370" y="66337"/>
                    <a:pt x="447089" y="66337"/>
                    <a:pt x="452529" y="66337"/>
                  </a:cubicBezTo>
                  <a:cubicBezTo>
                    <a:pt x="457968" y="66337"/>
                    <a:pt x="460688" y="66337"/>
                    <a:pt x="466127" y="69057"/>
                  </a:cubicBezTo>
                  <a:cubicBezTo>
                    <a:pt x="468847" y="69057"/>
                    <a:pt x="471566" y="71776"/>
                    <a:pt x="471566" y="71776"/>
                  </a:cubicBezTo>
                  <a:cubicBezTo>
                    <a:pt x="490604" y="71776"/>
                    <a:pt x="506922" y="71776"/>
                    <a:pt x="515081" y="71776"/>
                  </a:cubicBezTo>
                  <a:cubicBezTo>
                    <a:pt x="523240" y="71776"/>
                    <a:pt x="542277" y="71776"/>
                    <a:pt x="542277" y="88094"/>
                  </a:cubicBezTo>
                  <a:cubicBezTo>
                    <a:pt x="542277" y="96253"/>
                    <a:pt x="542277" y="98973"/>
                    <a:pt x="536838" y="104412"/>
                  </a:cubicBezTo>
                  <a:cubicBezTo>
                    <a:pt x="534119" y="109852"/>
                    <a:pt x="528679" y="112571"/>
                    <a:pt x="525959" y="112571"/>
                  </a:cubicBezTo>
                  <a:cubicBezTo>
                    <a:pt x="520520" y="115291"/>
                    <a:pt x="515081" y="115291"/>
                    <a:pt x="509642" y="115291"/>
                  </a:cubicBezTo>
                  <a:cubicBezTo>
                    <a:pt x="506922" y="115291"/>
                    <a:pt x="487884" y="115291"/>
                    <a:pt x="468847" y="115291"/>
                  </a:cubicBezTo>
                  <a:cubicBezTo>
                    <a:pt x="466127" y="123450"/>
                    <a:pt x="460688" y="128889"/>
                    <a:pt x="457968" y="137048"/>
                  </a:cubicBezTo>
                  <a:cubicBezTo>
                    <a:pt x="447089" y="156086"/>
                    <a:pt x="438930" y="175123"/>
                    <a:pt x="430771" y="194161"/>
                  </a:cubicBezTo>
                  <a:cubicBezTo>
                    <a:pt x="419893" y="215918"/>
                    <a:pt x="411734" y="240395"/>
                    <a:pt x="400855" y="262152"/>
                  </a:cubicBezTo>
                  <a:cubicBezTo>
                    <a:pt x="387257" y="289349"/>
                    <a:pt x="373659" y="311106"/>
                    <a:pt x="360060" y="332863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/>
            </a:p>
          </p:txBody>
        </p:sp>
        <p:sp>
          <p:nvSpPr>
            <p:cNvPr id="38" name="Freeform: Shape 37">
              <a:extLst>
                <a:ext uri="{FF2B5EF4-FFF2-40B4-BE49-F238E27FC236}">
                  <a16:creationId xmlns:a16="http://schemas.microsoft.com/office/drawing/2014/main" id="{421064C4-9BA9-4097-9624-A9F336226345}"/>
                </a:ext>
              </a:extLst>
            </p:cNvPr>
            <p:cNvSpPr/>
            <p:nvPr/>
          </p:nvSpPr>
          <p:spPr bwMode="black">
            <a:xfrm>
              <a:off x="4335316" y="4186718"/>
              <a:ext cx="353556" cy="761503"/>
            </a:xfrm>
            <a:custGeom>
              <a:avLst/>
              <a:gdLst>
                <a:gd name="connsiteX0" fmla="*/ 283910 w 353555"/>
                <a:gd name="connsiteY0" fmla="*/ 672820 h 761503"/>
                <a:gd name="connsiteX1" fmla="*/ 321985 w 353555"/>
                <a:gd name="connsiteY1" fmla="*/ 689138 h 761503"/>
                <a:gd name="connsiteX2" fmla="*/ 316546 w 353555"/>
                <a:gd name="connsiteY2" fmla="*/ 705456 h 761503"/>
                <a:gd name="connsiteX3" fmla="*/ 300228 w 353555"/>
                <a:gd name="connsiteY3" fmla="*/ 713615 h 761503"/>
                <a:gd name="connsiteX4" fmla="*/ 278471 w 353555"/>
                <a:gd name="connsiteY4" fmla="*/ 716335 h 761503"/>
                <a:gd name="connsiteX5" fmla="*/ 237676 w 353555"/>
                <a:gd name="connsiteY5" fmla="*/ 716335 h 761503"/>
                <a:gd name="connsiteX6" fmla="*/ 180563 w 353555"/>
                <a:gd name="connsiteY6" fmla="*/ 719054 h 761503"/>
                <a:gd name="connsiteX7" fmla="*/ 126170 w 353555"/>
                <a:gd name="connsiteY7" fmla="*/ 719054 h 761503"/>
                <a:gd name="connsiteX8" fmla="*/ 101693 w 353555"/>
                <a:gd name="connsiteY8" fmla="*/ 719054 h 761503"/>
                <a:gd name="connsiteX9" fmla="*/ 74496 w 353555"/>
                <a:gd name="connsiteY9" fmla="*/ 713615 h 761503"/>
                <a:gd name="connsiteX10" fmla="*/ 58178 w 353555"/>
                <a:gd name="connsiteY10" fmla="*/ 697297 h 761503"/>
                <a:gd name="connsiteX11" fmla="*/ 63617 w 353555"/>
                <a:gd name="connsiteY11" fmla="*/ 689138 h 761503"/>
                <a:gd name="connsiteX12" fmla="*/ 85375 w 353555"/>
                <a:gd name="connsiteY12" fmla="*/ 680979 h 761503"/>
                <a:gd name="connsiteX13" fmla="*/ 131609 w 353555"/>
                <a:gd name="connsiteY13" fmla="*/ 675540 h 761503"/>
                <a:gd name="connsiteX14" fmla="*/ 142488 w 353555"/>
                <a:gd name="connsiteY14" fmla="*/ 675540 h 761503"/>
                <a:gd name="connsiteX15" fmla="*/ 131609 w 353555"/>
                <a:gd name="connsiteY15" fmla="*/ 653783 h 761503"/>
                <a:gd name="connsiteX16" fmla="*/ 128889 w 353555"/>
                <a:gd name="connsiteY16" fmla="*/ 640184 h 761503"/>
                <a:gd name="connsiteX17" fmla="*/ 128889 w 353555"/>
                <a:gd name="connsiteY17" fmla="*/ 629306 h 761503"/>
                <a:gd name="connsiteX18" fmla="*/ 128889 w 353555"/>
                <a:gd name="connsiteY18" fmla="*/ 621147 h 761503"/>
                <a:gd name="connsiteX19" fmla="*/ 128889 w 353555"/>
                <a:gd name="connsiteY19" fmla="*/ 593950 h 761503"/>
                <a:gd name="connsiteX20" fmla="*/ 128889 w 353555"/>
                <a:gd name="connsiteY20" fmla="*/ 583072 h 761503"/>
                <a:gd name="connsiteX21" fmla="*/ 128889 w 353555"/>
                <a:gd name="connsiteY21" fmla="*/ 436210 h 761503"/>
                <a:gd name="connsiteX22" fmla="*/ 128889 w 353555"/>
                <a:gd name="connsiteY22" fmla="*/ 357340 h 761503"/>
                <a:gd name="connsiteX23" fmla="*/ 131609 w 353555"/>
                <a:gd name="connsiteY23" fmla="*/ 289349 h 761503"/>
                <a:gd name="connsiteX24" fmla="*/ 131609 w 353555"/>
                <a:gd name="connsiteY24" fmla="*/ 251274 h 761503"/>
                <a:gd name="connsiteX25" fmla="*/ 131609 w 353555"/>
                <a:gd name="connsiteY25" fmla="*/ 205040 h 761503"/>
                <a:gd name="connsiteX26" fmla="*/ 131609 w 353555"/>
                <a:gd name="connsiteY26" fmla="*/ 139768 h 761503"/>
                <a:gd name="connsiteX27" fmla="*/ 131609 w 353555"/>
                <a:gd name="connsiteY27" fmla="*/ 128889 h 761503"/>
                <a:gd name="connsiteX28" fmla="*/ 126170 w 353555"/>
                <a:gd name="connsiteY28" fmla="*/ 128889 h 761503"/>
                <a:gd name="connsiteX29" fmla="*/ 101693 w 353555"/>
                <a:gd name="connsiteY29" fmla="*/ 128889 h 761503"/>
                <a:gd name="connsiteX30" fmla="*/ 74496 w 353555"/>
                <a:gd name="connsiteY30" fmla="*/ 123450 h 761503"/>
                <a:gd name="connsiteX31" fmla="*/ 58178 w 353555"/>
                <a:gd name="connsiteY31" fmla="*/ 107132 h 761503"/>
                <a:gd name="connsiteX32" fmla="*/ 60898 w 353555"/>
                <a:gd name="connsiteY32" fmla="*/ 98973 h 761503"/>
                <a:gd name="connsiteX33" fmla="*/ 82655 w 353555"/>
                <a:gd name="connsiteY33" fmla="*/ 93534 h 761503"/>
                <a:gd name="connsiteX34" fmla="*/ 131609 w 353555"/>
                <a:gd name="connsiteY34" fmla="*/ 88094 h 761503"/>
                <a:gd name="connsiteX35" fmla="*/ 131609 w 353555"/>
                <a:gd name="connsiteY35" fmla="*/ 82655 h 761503"/>
                <a:gd name="connsiteX36" fmla="*/ 134329 w 353555"/>
                <a:gd name="connsiteY36" fmla="*/ 71776 h 761503"/>
                <a:gd name="connsiteX37" fmla="*/ 147927 w 353555"/>
                <a:gd name="connsiteY37" fmla="*/ 63617 h 761503"/>
                <a:gd name="connsiteX38" fmla="*/ 164245 w 353555"/>
                <a:gd name="connsiteY38" fmla="*/ 58178 h 761503"/>
                <a:gd name="connsiteX39" fmla="*/ 177843 w 353555"/>
                <a:gd name="connsiteY39" fmla="*/ 58178 h 761503"/>
                <a:gd name="connsiteX40" fmla="*/ 196881 w 353555"/>
                <a:gd name="connsiteY40" fmla="*/ 60898 h 761503"/>
                <a:gd name="connsiteX41" fmla="*/ 232236 w 353555"/>
                <a:gd name="connsiteY41" fmla="*/ 88094 h 761503"/>
                <a:gd name="connsiteX42" fmla="*/ 278471 w 353555"/>
                <a:gd name="connsiteY42" fmla="*/ 88094 h 761503"/>
                <a:gd name="connsiteX43" fmla="*/ 316546 w 353555"/>
                <a:gd name="connsiteY43" fmla="*/ 104412 h 761503"/>
                <a:gd name="connsiteX44" fmla="*/ 311106 w 353555"/>
                <a:gd name="connsiteY44" fmla="*/ 120730 h 761503"/>
                <a:gd name="connsiteX45" fmla="*/ 294788 w 353555"/>
                <a:gd name="connsiteY45" fmla="*/ 128889 h 761503"/>
                <a:gd name="connsiteX46" fmla="*/ 273031 w 353555"/>
                <a:gd name="connsiteY46" fmla="*/ 131609 h 761503"/>
                <a:gd name="connsiteX47" fmla="*/ 243115 w 353555"/>
                <a:gd name="connsiteY47" fmla="*/ 131609 h 761503"/>
                <a:gd name="connsiteX48" fmla="*/ 243115 w 353555"/>
                <a:gd name="connsiteY48" fmla="*/ 134329 h 761503"/>
                <a:gd name="connsiteX49" fmla="*/ 248554 w 353555"/>
                <a:gd name="connsiteY49" fmla="*/ 169684 h 761503"/>
                <a:gd name="connsiteX50" fmla="*/ 251274 w 353555"/>
                <a:gd name="connsiteY50" fmla="*/ 205040 h 761503"/>
                <a:gd name="connsiteX51" fmla="*/ 251274 w 353555"/>
                <a:gd name="connsiteY51" fmla="*/ 240395 h 761503"/>
                <a:gd name="connsiteX52" fmla="*/ 251274 w 353555"/>
                <a:gd name="connsiteY52" fmla="*/ 256713 h 761503"/>
                <a:gd name="connsiteX53" fmla="*/ 253994 w 353555"/>
                <a:gd name="connsiteY53" fmla="*/ 270311 h 761503"/>
                <a:gd name="connsiteX54" fmla="*/ 259433 w 353555"/>
                <a:gd name="connsiteY54" fmla="*/ 343742 h 761503"/>
                <a:gd name="connsiteX55" fmla="*/ 262153 w 353555"/>
                <a:gd name="connsiteY55" fmla="*/ 425332 h 761503"/>
                <a:gd name="connsiteX56" fmla="*/ 264872 w 353555"/>
                <a:gd name="connsiteY56" fmla="*/ 490603 h 761503"/>
                <a:gd name="connsiteX57" fmla="*/ 270312 w 353555"/>
                <a:gd name="connsiteY57" fmla="*/ 564034 h 761503"/>
                <a:gd name="connsiteX58" fmla="*/ 270312 w 353555"/>
                <a:gd name="connsiteY58" fmla="*/ 599390 h 761503"/>
                <a:gd name="connsiteX59" fmla="*/ 270312 w 353555"/>
                <a:gd name="connsiteY59" fmla="*/ 637465 h 761503"/>
                <a:gd name="connsiteX60" fmla="*/ 264872 w 353555"/>
                <a:gd name="connsiteY60" fmla="*/ 670101 h 761503"/>
                <a:gd name="connsiteX61" fmla="*/ 283910 w 353555"/>
                <a:gd name="connsiteY61" fmla="*/ 672820 h 761503"/>
                <a:gd name="connsiteX62" fmla="*/ 283910 w 353555"/>
                <a:gd name="connsiteY62" fmla="*/ 672820 h 761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</a:cxnLst>
              <a:rect l="l" t="t" r="r" b="b"/>
              <a:pathLst>
                <a:path w="353555" h="761503">
                  <a:moveTo>
                    <a:pt x="283910" y="672820"/>
                  </a:moveTo>
                  <a:cubicBezTo>
                    <a:pt x="297508" y="672820"/>
                    <a:pt x="321985" y="672820"/>
                    <a:pt x="321985" y="689138"/>
                  </a:cubicBezTo>
                  <a:cubicBezTo>
                    <a:pt x="321985" y="697297"/>
                    <a:pt x="319265" y="697297"/>
                    <a:pt x="316546" y="705456"/>
                  </a:cubicBezTo>
                  <a:cubicBezTo>
                    <a:pt x="311106" y="710895"/>
                    <a:pt x="305667" y="713615"/>
                    <a:pt x="300228" y="713615"/>
                  </a:cubicBezTo>
                  <a:cubicBezTo>
                    <a:pt x="292069" y="716335"/>
                    <a:pt x="283910" y="716335"/>
                    <a:pt x="278471" y="716335"/>
                  </a:cubicBezTo>
                  <a:cubicBezTo>
                    <a:pt x="275751" y="716335"/>
                    <a:pt x="256713" y="716335"/>
                    <a:pt x="237676" y="716335"/>
                  </a:cubicBezTo>
                  <a:cubicBezTo>
                    <a:pt x="213199" y="716335"/>
                    <a:pt x="186002" y="719054"/>
                    <a:pt x="180563" y="719054"/>
                  </a:cubicBezTo>
                  <a:cubicBezTo>
                    <a:pt x="166965" y="719054"/>
                    <a:pt x="142488" y="719054"/>
                    <a:pt x="126170" y="719054"/>
                  </a:cubicBezTo>
                  <a:cubicBezTo>
                    <a:pt x="118011" y="719054"/>
                    <a:pt x="109852" y="719054"/>
                    <a:pt x="101693" y="719054"/>
                  </a:cubicBezTo>
                  <a:cubicBezTo>
                    <a:pt x="93534" y="719054"/>
                    <a:pt x="82655" y="719054"/>
                    <a:pt x="74496" y="713615"/>
                  </a:cubicBezTo>
                  <a:cubicBezTo>
                    <a:pt x="66337" y="710895"/>
                    <a:pt x="58178" y="702736"/>
                    <a:pt x="58178" y="697297"/>
                  </a:cubicBezTo>
                  <a:cubicBezTo>
                    <a:pt x="58178" y="694578"/>
                    <a:pt x="58178" y="691858"/>
                    <a:pt x="63617" y="689138"/>
                  </a:cubicBezTo>
                  <a:cubicBezTo>
                    <a:pt x="69057" y="686418"/>
                    <a:pt x="79935" y="683699"/>
                    <a:pt x="85375" y="680979"/>
                  </a:cubicBezTo>
                  <a:cubicBezTo>
                    <a:pt x="104412" y="678260"/>
                    <a:pt x="123450" y="675540"/>
                    <a:pt x="131609" y="675540"/>
                  </a:cubicBezTo>
                  <a:cubicBezTo>
                    <a:pt x="134329" y="675540"/>
                    <a:pt x="137048" y="675540"/>
                    <a:pt x="142488" y="675540"/>
                  </a:cubicBezTo>
                  <a:cubicBezTo>
                    <a:pt x="134329" y="670101"/>
                    <a:pt x="131609" y="661942"/>
                    <a:pt x="131609" y="653783"/>
                  </a:cubicBezTo>
                  <a:cubicBezTo>
                    <a:pt x="131609" y="648343"/>
                    <a:pt x="131609" y="642904"/>
                    <a:pt x="128889" y="640184"/>
                  </a:cubicBezTo>
                  <a:cubicBezTo>
                    <a:pt x="128889" y="637465"/>
                    <a:pt x="128889" y="634745"/>
                    <a:pt x="128889" y="629306"/>
                  </a:cubicBezTo>
                  <a:cubicBezTo>
                    <a:pt x="128889" y="626586"/>
                    <a:pt x="128889" y="623867"/>
                    <a:pt x="128889" y="621147"/>
                  </a:cubicBezTo>
                  <a:cubicBezTo>
                    <a:pt x="128889" y="612988"/>
                    <a:pt x="128889" y="604829"/>
                    <a:pt x="128889" y="593950"/>
                  </a:cubicBezTo>
                  <a:cubicBezTo>
                    <a:pt x="128889" y="591231"/>
                    <a:pt x="128889" y="585791"/>
                    <a:pt x="128889" y="583072"/>
                  </a:cubicBezTo>
                  <a:cubicBezTo>
                    <a:pt x="128889" y="534118"/>
                    <a:pt x="131609" y="485164"/>
                    <a:pt x="128889" y="436210"/>
                  </a:cubicBezTo>
                  <a:cubicBezTo>
                    <a:pt x="128889" y="409014"/>
                    <a:pt x="128889" y="384537"/>
                    <a:pt x="128889" y="357340"/>
                  </a:cubicBezTo>
                  <a:cubicBezTo>
                    <a:pt x="128889" y="335583"/>
                    <a:pt x="131609" y="313826"/>
                    <a:pt x="131609" y="289349"/>
                  </a:cubicBezTo>
                  <a:cubicBezTo>
                    <a:pt x="131609" y="275751"/>
                    <a:pt x="131609" y="264872"/>
                    <a:pt x="131609" y="251274"/>
                  </a:cubicBezTo>
                  <a:cubicBezTo>
                    <a:pt x="131609" y="234956"/>
                    <a:pt x="131609" y="221357"/>
                    <a:pt x="131609" y="205040"/>
                  </a:cubicBezTo>
                  <a:cubicBezTo>
                    <a:pt x="131609" y="183282"/>
                    <a:pt x="131609" y="161525"/>
                    <a:pt x="131609" y="139768"/>
                  </a:cubicBezTo>
                  <a:cubicBezTo>
                    <a:pt x="131609" y="137048"/>
                    <a:pt x="131609" y="134329"/>
                    <a:pt x="131609" y="128889"/>
                  </a:cubicBezTo>
                  <a:cubicBezTo>
                    <a:pt x="128889" y="128889"/>
                    <a:pt x="126170" y="128889"/>
                    <a:pt x="126170" y="128889"/>
                  </a:cubicBezTo>
                  <a:cubicBezTo>
                    <a:pt x="118011" y="128889"/>
                    <a:pt x="109852" y="128889"/>
                    <a:pt x="101693" y="128889"/>
                  </a:cubicBezTo>
                  <a:cubicBezTo>
                    <a:pt x="93534" y="128889"/>
                    <a:pt x="82655" y="128889"/>
                    <a:pt x="74496" y="123450"/>
                  </a:cubicBezTo>
                  <a:cubicBezTo>
                    <a:pt x="66337" y="120730"/>
                    <a:pt x="58178" y="112571"/>
                    <a:pt x="58178" y="107132"/>
                  </a:cubicBezTo>
                  <a:cubicBezTo>
                    <a:pt x="58178" y="104412"/>
                    <a:pt x="58178" y="101693"/>
                    <a:pt x="60898" y="98973"/>
                  </a:cubicBezTo>
                  <a:cubicBezTo>
                    <a:pt x="63617" y="96253"/>
                    <a:pt x="77216" y="93534"/>
                    <a:pt x="82655" y="93534"/>
                  </a:cubicBezTo>
                  <a:cubicBezTo>
                    <a:pt x="98973" y="90814"/>
                    <a:pt x="123450" y="88094"/>
                    <a:pt x="131609" y="88094"/>
                  </a:cubicBezTo>
                  <a:cubicBezTo>
                    <a:pt x="131609" y="85375"/>
                    <a:pt x="131609" y="85375"/>
                    <a:pt x="131609" y="82655"/>
                  </a:cubicBezTo>
                  <a:cubicBezTo>
                    <a:pt x="131609" y="77216"/>
                    <a:pt x="131609" y="74496"/>
                    <a:pt x="134329" y="71776"/>
                  </a:cubicBezTo>
                  <a:cubicBezTo>
                    <a:pt x="137048" y="69057"/>
                    <a:pt x="145207" y="66337"/>
                    <a:pt x="147927" y="63617"/>
                  </a:cubicBezTo>
                  <a:cubicBezTo>
                    <a:pt x="153366" y="60898"/>
                    <a:pt x="158806" y="58178"/>
                    <a:pt x="164245" y="58178"/>
                  </a:cubicBezTo>
                  <a:cubicBezTo>
                    <a:pt x="169684" y="58178"/>
                    <a:pt x="175123" y="58178"/>
                    <a:pt x="177843" y="58178"/>
                  </a:cubicBezTo>
                  <a:cubicBezTo>
                    <a:pt x="183283" y="58178"/>
                    <a:pt x="191442" y="58178"/>
                    <a:pt x="196881" y="60898"/>
                  </a:cubicBezTo>
                  <a:cubicBezTo>
                    <a:pt x="213199" y="63617"/>
                    <a:pt x="224077" y="74496"/>
                    <a:pt x="232236" y="88094"/>
                  </a:cubicBezTo>
                  <a:cubicBezTo>
                    <a:pt x="253994" y="88094"/>
                    <a:pt x="270312" y="88094"/>
                    <a:pt x="278471" y="88094"/>
                  </a:cubicBezTo>
                  <a:cubicBezTo>
                    <a:pt x="292069" y="88094"/>
                    <a:pt x="316546" y="88094"/>
                    <a:pt x="316546" y="104412"/>
                  </a:cubicBezTo>
                  <a:cubicBezTo>
                    <a:pt x="316546" y="112571"/>
                    <a:pt x="313826" y="112571"/>
                    <a:pt x="311106" y="120730"/>
                  </a:cubicBezTo>
                  <a:cubicBezTo>
                    <a:pt x="305667" y="126170"/>
                    <a:pt x="300228" y="128889"/>
                    <a:pt x="294788" y="128889"/>
                  </a:cubicBezTo>
                  <a:cubicBezTo>
                    <a:pt x="286630" y="131609"/>
                    <a:pt x="278471" y="131609"/>
                    <a:pt x="273031" y="131609"/>
                  </a:cubicBezTo>
                  <a:cubicBezTo>
                    <a:pt x="270312" y="131609"/>
                    <a:pt x="259433" y="131609"/>
                    <a:pt x="243115" y="131609"/>
                  </a:cubicBezTo>
                  <a:lnTo>
                    <a:pt x="243115" y="134329"/>
                  </a:lnTo>
                  <a:cubicBezTo>
                    <a:pt x="245835" y="145207"/>
                    <a:pt x="245835" y="158805"/>
                    <a:pt x="248554" y="169684"/>
                  </a:cubicBezTo>
                  <a:cubicBezTo>
                    <a:pt x="251274" y="180563"/>
                    <a:pt x="251274" y="194161"/>
                    <a:pt x="251274" y="205040"/>
                  </a:cubicBezTo>
                  <a:cubicBezTo>
                    <a:pt x="251274" y="215918"/>
                    <a:pt x="251274" y="226797"/>
                    <a:pt x="251274" y="240395"/>
                  </a:cubicBezTo>
                  <a:cubicBezTo>
                    <a:pt x="251274" y="245834"/>
                    <a:pt x="251274" y="251274"/>
                    <a:pt x="251274" y="256713"/>
                  </a:cubicBezTo>
                  <a:cubicBezTo>
                    <a:pt x="251274" y="262152"/>
                    <a:pt x="251274" y="267592"/>
                    <a:pt x="253994" y="270311"/>
                  </a:cubicBezTo>
                  <a:cubicBezTo>
                    <a:pt x="256713" y="294788"/>
                    <a:pt x="256713" y="319265"/>
                    <a:pt x="259433" y="343742"/>
                  </a:cubicBezTo>
                  <a:cubicBezTo>
                    <a:pt x="259433" y="370939"/>
                    <a:pt x="262153" y="398135"/>
                    <a:pt x="262153" y="425332"/>
                  </a:cubicBezTo>
                  <a:cubicBezTo>
                    <a:pt x="262153" y="447089"/>
                    <a:pt x="262153" y="468846"/>
                    <a:pt x="264872" y="490603"/>
                  </a:cubicBezTo>
                  <a:cubicBezTo>
                    <a:pt x="264872" y="515080"/>
                    <a:pt x="270312" y="539557"/>
                    <a:pt x="270312" y="564034"/>
                  </a:cubicBezTo>
                  <a:cubicBezTo>
                    <a:pt x="270312" y="574913"/>
                    <a:pt x="270312" y="588511"/>
                    <a:pt x="270312" y="599390"/>
                  </a:cubicBezTo>
                  <a:cubicBezTo>
                    <a:pt x="270312" y="612988"/>
                    <a:pt x="270312" y="623867"/>
                    <a:pt x="270312" y="637465"/>
                  </a:cubicBezTo>
                  <a:cubicBezTo>
                    <a:pt x="270312" y="648343"/>
                    <a:pt x="270312" y="661942"/>
                    <a:pt x="264872" y="670101"/>
                  </a:cubicBezTo>
                  <a:cubicBezTo>
                    <a:pt x="273031" y="672820"/>
                    <a:pt x="278471" y="672820"/>
                    <a:pt x="283910" y="672820"/>
                  </a:cubicBezTo>
                  <a:lnTo>
                    <a:pt x="283910" y="672820"/>
                  </a:ln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/>
            </a:p>
          </p:txBody>
        </p:sp>
        <p:sp>
          <p:nvSpPr>
            <p:cNvPr id="39" name="Freeform: Shape 38">
              <a:extLst>
                <a:ext uri="{FF2B5EF4-FFF2-40B4-BE49-F238E27FC236}">
                  <a16:creationId xmlns:a16="http://schemas.microsoft.com/office/drawing/2014/main" id="{9DFBDE94-76F1-410B-B7E6-39A2976E1794}"/>
                </a:ext>
              </a:extLst>
            </p:cNvPr>
            <p:cNvSpPr/>
            <p:nvPr/>
          </p:nvSpPr>
          <p:spPr bwMode="black">
            <a:xfrm>
              <a:off x="4620880" y="4194877"/>
              <a:ext cx="598325" cy="761503"/>
            </a:xfrm>
            <a:custGeom>
              <a:avLst/>
              <a:gdLst>
                <a:gd name="connsiteX0" fmla="*/ 515081 w 598324"/>
                <a:gd name="connsiteY0" fmla="*/ 79935 h 761503"/>
                <a:gd name="connsiteX1" fmla="*/ 542277 w 598324"/>
                <a:gd name="connsiteY1" fmla="*/ 96253 h 761503"/>
                <a:gd name="connsiteX2" fmla="*/ 536838 w 598324"/>
                <a:gd name="connsiteY2" fmla="*/ 112571 h 761503"/>
                <a:gd name="connsiteX3" fmla="*/ 523240 w 598324"/>
                <a:gd name="connsiteY3" fmla="*/ 120730 h 761503"/>
                <a:gd name="connsiteX4" fmla="*/ 506922 w 598324"/>
                <a:gd name="connsiteY4" fmla="*/ 123450 h 761503"/>
                <a:gd name="connsiteX5" fmla="*/ 477006 w 598324"/>
                <a:gd name="connsiteY5" fmla="*/ 123450 h 761503"/>
                <a:gd name="connsiteX6" fmla="*/ 479725 w 598324"/>
                <a:gd name="connsiteY6" fmla="*/ 145207 h 761503"/>
                <a:gd name="connsiteX7" fmla="*/ 477006 w 598324"/>
                <a:gd name="connsiteY7" fmla="*/ 180563 h 761503"/>
                <a:gd name="connsiteX8" fmla="*/ 482445 w 598324"/>
                <a:gd name="connsiteY8" fmla="*/ 232236 h 761503"/>
                <a:gd name="connsiteX9" fmla="*/ 485165 w 598324"/>
                <a:gd name="connsiteY9" fmla="*/ 283909 h 761503"/>
                <a:gd name="connsiteX10" fmla="*/ 485165 w 598324"/>
                <a:gd name="connsiteY10" fmla="*/ 327424 h 761503"/>
                <a:gd name="connsiteX11" fmla="*/ 487884 w 598324"/>
                <a:gd name="connsiteY11" fmla="*/ 373658 h 761503"/>
                <a:gd name="connsiteX12" fmla="*/ 485165 w 598324"/>
                <a:gd name="connsiteY12" fmla="*/ 419892 h 761503"/>
                <a:gd name="connsiteX13" fmla="*/ 485165 w 598324"/>
                <a:gd name="connsiteY13" fmla="*/ 463407 h 761503"/>
                <a:gd name="connsiteX14" fmla="*/ 482445 w 598324"/>
                <a:gd name="connsiteY14" fmla="*/ 515080 h 761503"/>
                <a:gd name="connsiteX15" fmla="*/ 482445 w 598324"/>
                <a:gd name="connsiteY15" fmla="*/ 558595 h 761503"/>
                <a:gd name="connsiteX16" fmla="*/ 479725 w 598324"/>
                <a:gd name="connsiteY16" fmla="*/ 602109 h 761503"/>
                <a:gd name="connsiteX17" fmla="*/ 485165 w 598324"/>
                <a:gd name="connsiteY17" fmla="*/ 648343 h 761503"/>
                <a:gd name="connsiteX18" fmla="*/ 474286 w 598324"/>
                <a:gd name="connsiteY18" fmla="*/ 675540 h 761503"/>
                <a:gd name="connsiteX19" fmla="*/ 428052 w 598324"/>
                <a:gd name="connsiteY19" fmla="*/ 691858 h 761503"/>
                <a:gd name="connsiteX20" fmla="*/ 387257 w 598324"/>
                <a:gd name="connsiteY20" fmla="*/ 683699 h 761503"/>
                <a:gd name="connsiteX21" fmla="*/ 351901 w 598324"/>
                <a:gd name="connsiteY21" fmla="*/ 664661 h 761503"/>
                <a:gd name="connsiteX22" fmla="*/ 305667 w 598324"/>
                <a:gd name="connsiteY22" fmla="*/ 596670 h 761503"/>
                <a:gd name="connsiteX23" fmla="*/ 270312 w 598324"/>
                <a:gd name="connsiteY23" fmla="*/ 509641 h 761503"/>
                <a:gd name="connsiteX24" fmla="*/ 251274 w 598324"/>
                <a:gd name="connsiteY24" fmla="*/ 460687 h 761503"/>
                <a:gd name="connsiteX25" fmla="*/ 224077 w 598324"/>
                <a:gd name="connsiteY25" fmla="*/ 381817 h 761503"/>
                <a:gd name="connsiteX26" fmla="*/ 207759 w 598324"/>
                <a:gd name="connsiteY26" fmla="*/ 330144 h 761503"/>
                <a:gd name="connsiteX27" fmla="*/ 191442 w 598324"/>
                <a:gd name="connsiteY27" fmla="*/ 286629 h 761503"/>
                <a:gd name="connsiteX28" fmla="*/ 183283 w 598324"/>
                <a:gd name="connsiteY28" fmla="*/ 278470 h 761503"/>
                <a:gd name="connsiteX29" fmla="*/ 180563 w 598324"/>
                <a:gd name="connsiteY29" fmla="*/ 292068 h 761503"/>
                <a:gd name="connsiteX30" fmla="*/ 180563 w 598324"/>
                <a:gd name="connsiteY30" fmla="*/ 305667 h 761503"/>
                <a:gd name="connsiteX31" fmla="*/ 183283 w 598324"/>
                <a:gd name="connsiteY31" fmla="*/ 354620 h 761503"/>
                <a:gd name="connsiteX32" fmla="*/ 188722 w 598324"/>
                <a:gd name="connsiteY32" fmla="*/ 449808 h 761503"/>
                <a:gd name="connsiteX33" fmla="*/ 188722 w 598324"/>
                <a:gd name="connsiteY33" fmla="*/ 479725 h 761503"/>
                <a:gd name="connsiteX34" fmla="*/ 188722 w 598324"/>
                <a:gd name="connsiteY34" fmla="*/ 542277 h 761503"/>
                <a:gd name="connsiteX35" fmla="*/ 186002 w 598324"/>
                <a:gd name="connsiteY35" fmla="*/ 615708 h 761503"/>
                <a:gd name="connsiteX36" fmla="*/ 186002 w 598324"/>
                <a:gd name="connsiteY36" fmla="*/ 637465 h 761503"/>
                <a:gd name="connsiteX37" fmla="*/ 183283 w 598324"/>
                <a:gd name="connsiteY37" fmla="*/ 664661 h 761503"/>
                <a:gd name="connsiteX38" fmla="*/ 226797 w 598324"/>
                <a:gd name="connsiteY38" fmla="*/ 664661 h 761503"/>
                <a:gd name="connsiteX39" fmla="*/ 253994 w 598324"/>
                <a:gd name="connsiteY39" fmla="*/ 680979 h 761503"/>
                <a:gd name="connsiteX40" fmla="*/ 248554 w 598324"/>
                <a:gd name="connsiteY40" fmla="*/ 697297 h 761503"/>
                <a:gd name="connsiteX41" fmla="*/ 234956 w 598324"/>
                <a:gd name="connsiteY41" fmla="*/ 705456 h 761503"/>
                <a:gd name="connsiteX42" fmla="*/ 218638 w 598324"/>
                <a:gd name="connsiteY42" fmla="*/ 708176 h 761503"/>
                <a:gd name="connsiteX43" fmla="*/ 183283 w 598324"/>
                <a:gd name="connsiteY43" fmla="*/ 708176 h 761503"/>
                <a:gd name="connsiteX44" fmla="*/ 150647 w 598324"/>
                <a:gd name="connsiteY44" fmla="*/ 708176 h 761503"/>
                <a:gd name="connsiteX45" fmla="*/ 107132 w 598324"/>
                <a:gd name="connsiteY45" fmla="*/ 708176 h 761503"/>
                <a:gd name="connsiteX46" fmla="*/ 88094 w 598324"/>
                <a:gd name="connsiteY46" fmla="*/ 708176 h 761503"/>
                <a:gd name="connsiteX47" fmla="*/ 69057 w 598324"/>
                <a:gd name="connsiteY47" fmla="*/ 702736 h 761503"/>
                <a:gd name="connsiteX48" fmla="*/ 58178 w 598324"/>
                <a:gd name="connsiteY48" fmla="*/ 686418 h 761503"/>
                <a:gd name="connsiteX49" fmla="*/ 60898 w 598324"/>
                <a:gd name="connsiteY49" fmla="*/ 678259 h 761503"/>
                <a:gd name="connsiteX50" fmla="*/ 77216 w 598324"/>
                <a:gd name="connsiteY50" fmla="*/ 670101 h 761503"/>
                <a:gd name="connsiteX51" fmla="*/ 120730 w 598324"/>
                <a:gd name="connsiteY51" fmla="*/ 664661 h 761503"/>
                <a:gd name="connsiteX52" fmla="*/ 131609 w 598324"/>
                <a:gd name="connsiteY52" fmla="*/ 664661 h 761503"/>
                <a:gd name="connsiteX53" fmla="*/ 134329 w 598324"/>
                <a:gd name="connsiteY53" fmla="*/ 539557 h 761503"/>
                <a:gd name="connsiteX54" fmla="*/ 134329 w 598324"/>
                <a:gd name="connsiteY54" fmla="*/ 504201 h 761503"/>
                <a:gd name="connsiteX55" fmla="*/ 131609 w 598324"/>
                <a:gd name="connsiteY55" fmla="*/ 376378 h 761503"/>
                <a:gd name="connsiteX56" fmla="*/ 131609 w 598324"/>
                <a:gd name="connsiteY56" fmla="*/ 302947 h 761503"/>
                <a:gd name="connsiteX57" fmla="*/ 134329 w 598324"/>
                <a:gd name="connsiteY57" fmla="*/ 221357 h 761503"/>
                <a:gd name="connsiteX58" fmla="*/ 137048 w 598324"/>
                <a:gd name="connsiteY58" fmla="*/ 123450 h 761503"/>
                <a:gd name="connsiteX59" fmla="*/ 107132 w 598324"/>
                <a:gd name="connsiteY59" fmla="*/ 123450 h 761503"/>
                <a:gd name="connsiteX60" fmla="*/ 88094 w 598324"/>
                <a:gd name="connsiteY60" fmla="*/ 123450 h 761503"/>
                <a:gd name="connsiteX61" fmla="*/ 69057 w 598324"/>
                <a:gd name="connsiteY61" fmla="*/ 118011 h 761503"/>
                <a:gd name="connsiteX62" fmla="*/ 58178 w 598324"/>
                <a:gd name="connsiteY62" fmla="*/ 101693 h 761503"/>
                <a:gd name="connsiteX63" fmla="*/ 60898 w 598324"/>
                <a:gd name="connsiteY63" fmla="*/ 93534 h 761503"/>
                <a:gd name="connsiteX64" fmla="*/ 77216 w 598324"/>
                <a:gd name="connsiteY64" fmla="*/ 85375 h 761503"/>
                <a:gd name="connsiteX65" fmla="*/ 131609 w 598324"/>
                <a:gd name="connsiteY65" fmla="*/ 79935 h 761503"/>
                <a:gd name="connsiteX66" fmla="*/ 161525 w 598324"/>
                <a:gd name="connsiteY66" fmla="*/ 79935 h 761503"/>
                <a:gd name="connsiteX67" fmla="*/ 177843 w 598324"/>
                <a:gd name="connsiteY67" fmla="*/ 66337 h 761503"/>
                <a:gd name="connsiteX68" fmla="*/ 202320 w 598324"/>
                <a:gd name="connsiteY68" fmla="*/ 58178 h 761503"/>
                <a:gd name="connsiteX69" fmla="*/ 234956 w 598324"/>
                <a:gd name="connsiteY69" fmla="*/ 77216 h 761503"/>
                <a:gd name="connsiteX70" fmla="*/ 251274 w 598324"/>
                <a:gd name="connsiteY70" fmla="*/ 107132 h 761503"/>
                <a:gd name="connsiteX71" fmla="*/ 267592 w 598324"/>
                <a:gd name="connsiteY71" fmla="*/ 147927 h 761503"/>
                <a:gd name="connsiteX72" fmla="*/ 281190 w 598324"/>
                <a:gd name="connsiteY72" fmla="*/ 183282 h 761503"/>
                <a:gd name="connsiteX73" fmla="*/ 297508 w 598324"/>
                <a:gd name="connsiteY73" fmla="*/ 224077 h 761503"/>
                <a:gd name="connsiteX74" fmla="*/ 308387 w 598324"/>
                <a:gd name="connsiteY74" fmla="*/ 264872 h 761503"/>
                <a:gd name="connsiteX75" fmla="*/ 319265 w 598324"/>
                <a:gd name="connsiteY75" fmla="*/ 300227 h 761503"/>
                <a:gd name="connsiteX76" fmla="*/ 351901 w 598324"/>
                <a:gd name="connsiteY76" fmla="*/ 379097 h 761503"/>
                <a:gd name="connsiteX77" fmla="*/ 365500 w 598324"/>
                <a:gd name="connsiteY77" fmla="*/ 417173 h 761503"/>
                <a:gd name="connsiteX78" fmla="*/ 379098 w 598324"/>
                <a:gd name="connsiteY78" fmla="*/ 457967 h 761503"/>
                <a:gd name="connsiteX79" fmla="*/ 395416 w 598324"/>
                <a:gd name="connsiteY79" fmla="*/ 496043 h 761503"/>
                <a:gd name="connsiteX80" fmla="*/ 406294 w 598324"/>
                <a:gd name="connsiteY80" fmla="*/ 512361 h 761503"/>
                <a:gd name="connsiteX81" fmla="*/ 411734 w 598324"/>
                <a:gd name="connsiteY81" fmla="*/ 531398 h 761503"/>
                <a:gd name="connsiteX82" fmla="*/ 419893 w 598324"/>
                <a:gd name="connsiteY82" fmla="*/ 558595 h 761503"/>
                <a:gd name="connsiteX83" fmla="*/ 425332 w 598324"/>
                <a:gd name="connsiteY83" fmla="*/ 564034 h 761503"/>
                <a:gd name="connsiteX84" fmla="*/ 430771 w 598324"/>
                <a:gd name="connsiteY84" fmla="*/ 558595 h 761503"/>
                <a:gd name="connsiteX85" fmla="*/ 430771 w 598324"/>
                <a:gd name="connsiteY85" fmla="*/ 550436 h 761503"/>
                <a:gd name="connsiteX86" fmla="*/ 430771 w 598324"/>
                <a:gd name="connsiteY86" fmla="*/ 501482 h 761503"/>
                <a:gd name="connsiteX87" fmla="*/ 430771 w 598324"/>
                <a:gd name="connsiteY87" fmla="*/ 403574 h 761503"/>
                <a:gd name="connsiteX88" fmla="*/ 425332 w 598324"/>
                <a:gd name="connsiteY88" fmla="*/ 313826 h 761503"/>
                <a:gd name="connsiteX89" fmla="*/ 425332 w 598324"/>
                <a:gd name="connsiteY89" fmla="*/ 248554 h 761503"/>
                <a:gd name="connsiteX90" fmla="*/ 425332 w 598324"/>
                <a:gd name="connsiteY90" fmla="*/ 210479 h 761503"/>
                <a:gd name="connsiteX91" fmla="*/ 422613 w 598324"/>
                <a:gd name="connsiteY91" fmla="*/ 153366 h 761503"/>
                <a:gd name="connsiteX92" fmla="*/ 425332 w 598324"/>
                <a:gd name="connsiteY92" fmla="*/ 123450 h 761503"/>
                <a:gd name="connsiteX93" fmla="*/ 398136 w 598324"/>
                <a:gd name="connsiteY93" fmla="*/ 123450 h 761503"/>
                <a:gd name="connsiteX94" fmla="*/ 379098 w 598324"/>
                <a:gd name="connsiteY94" fmla="*/ 123450 h 761503"/>
                <a:gd name="connsiteX95" fmla="*/ 360060 w 598324"/>
                <a:gd name="connsiteY95" fmla="*/ 118011 h 761503"/>
                <a:gd name="connsiteX96" fmla="*/ 349182 w 598324"/>
                <a:gd name="connsiteY96" fmla="*/ 101693 h 761503"/>
                <a:gd name="connsiteX97" fmla="*/ 351901 w 598324"/>
                <a:gd name="connsiteY97" fmla="*/ 93534 h 761503"/>
                <a:gd name="connsiteX98" fmla="*/ 368219 w 598324"/>
                <a:gd name="connsiteY98" fmla="*/ 85375 h 761503"/>
                <a:gd name="connsiteX99" fmla="*/ 422613 w 598324"/>
                <a:gd name="connsiteY99" fmla="*/ 79935 h 761503"/>
                <a:gd name="connsiteX100" fmla="*/ 444370 w 598324"/>
                <a:gd name="connsiteY100" fmla="*/ 79935 h 761503"/>
                <a:gd name="connsiteX101" fmla="*/ 463407 w 598324"/>
                <a:gd name="connsiteY101" fmla="*/ 71776 h 761503"/>
                <a:gd name="connsiteX102" fmla="*/ 477006 w 598324"/>
                <a:gd name="connsiteY102" fmla="*/ 79935 h 761503"/>
                <a:gd name="connsiteX103" fmla="*/ 515081 w 598324"/>
                <a:gd name="connsiteY103" fmla="*/ 79935 h 761503"/>
                <a:gd name="connsiteX104" fmla="*/ 515081 w 598324"/>
                <a:gd name="connsiteY104" fmla="*/ 79935 h 761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</a:cxnLst>
              <a:rect l="l" t="t" r="r" b="b"/>
              <a:pathLst>
                <a:path w="598324" h="761503">
                  <a:moveTo>
                    <a:pt x="515081" y="79935"/>
                  </a:moveTo>
                  <a:cubicBezTo>
                    <a:pt x="523240" y="79935"/>
                    <a:pt x="542277" y="79935"/>
                    <a:pt x="542277" y="96253"/>
                  </a:cubicBezTo>
                  <a:cubicBezTo>
                    <a:pt x="542277" y="104412"/>
                    <a:pt x="542277" y="107132"/>
                    <a:pt x="536838" y="112571"/>
                  </a:cubicBezTo>
                  <a:cubicBezTo>
                    <a:pt x="534119" y="118011"/>
                    <a:pt x="528679" y="120730"/>
                    <a:pt x="523240" y="120730"/>
                  </a:cubicBezTo>
                  <a:cubicBezTo>
                    <a:pt x="515081" y="123450"/>
                    <a:pt x="512361" y="123450"/>
                    <a:pt x="506922" y="123450"/>
                  </a:cubicBezTo>
                  <a:cubicBezTo>
                    <a:pt x="504202" y="123450"/>
                    <a:pt x="490604" y="123450"/>
                    <a:pt x="477006" y="123450"/>
                  </a:cubicBezTo>
                  <a:cubicBezTo>
                    <a:pt x="477006" y="131609"/>
                    <a:pt x="479725" y="137048"/>
                    <a:pt x="479725" y="145207"/>
                  </a:cubicBezTo>
                  <a:cubicBezTo>
                    <a:pt x="479725" y="156086"/>
                    <a:pt x="477006" y="166964"/>
                    <a:pt x="477006" y="180563"/>
                  </a:cubicBezTo>
                  <a:cubicBezTo>
                    <a:pt x="477006" y="196881"/>
                    <a:pt x="479725" y="215918"/>
                    <a:pt x="482445" y="232236"/>
                  </a:cubicBezTo>
                  <a:cubicBezTo>
                    <a:pt x="485165" y="248554"/>
                    <a:pt x="485165" y="267592"/>
                    <a:pt x="485165" y="283909"/>
                  </a:cubicBezTo>
                  <a:cubicBezTo>
                    <a:pt x="485165" y="297508"/>
                    <a:pt x="485165" y="313826"/>
                    <a:pt x="485165" y="327424"/>
                  </a:cubicBezTo>
                  <a:cubicBezTo>
                    <a:pt x="485165" y="343742"/>
                    <a:pt x="487884" y="357340"/>
                    <a:pt x="487884" y="373658"/>
                  </a:cubicBezTo>
                  <a:cubicBezTo>
                    <a:pt x="487884" y="389976"/>
                    <a:pt x="485165" y="403574"/>
                    <a:pt x="485165" y="419892"/>
                  </a:cubicBezTo>
                  <a:cubicBezTo>
                    <a:pt x="485165" y="436210"/>
                    <a:pt x="485165" y="449808"/>
                    <a:pt x="485165" y="463407"/>
                  </a:cubicBezTo>
                  <a:cubicBezTo>
                    <a:pt x="485165" y="479725"/>
                    <a:pt x="485165" y="498762"/>
                    <a:pt x="482445" y="515080"/>
                  </a:cubicBezTo>
                  <a:cubicBezTo>
                    <a:pt x="482445" y="528678"/>
                    <a:pt x="482445" y="542277"/>
                    <a:pt x="482445" y="558595"/>
                  </a:cubicBezTo>
                  <a:cubicBezTo>
                    <a:pt x="482445" y="572193"/>
                    <a:pt x="479725" y="588511"/>
                    <a:pt x="479725" y="602109"/>
                  </a:cubicBezTo>
                  <a:cubicBezTo>
                    <a:pt x="479725" y="615708"/>
                    <a:pt x="485165" y="632025"/>
                    <a:pt x="485165" y="648343"/>
                  </a:cubicBezTo>
                  <a:cubicBezTo>
                    <a:pt x="485165" y="659222"/>
                    <a:pt x="482445" y="670101"/>
                    <a:pt x="474286" y="675540"/>
                  </a:cubicBezTo>
                  <a:cubicBezTo>
                    <a:pt x="460688" y="686418"/>
                    <a:pt x="444370" y="691858"/>
                    <a:pt x="428052" y="691858"/>
                  </a:cubicBezTo>
                  <a:cubicBezTo>
                    <a:pt x="414453" y="691858"/>
                    <a:pt x="400855" y="689138"/>
                    <a:pt x="387257" y="683699"/>
                  </a:cubicBezTo>
                  <a:cubicBezTo>
                    <a:pt x="373659" y="678259"/>
                    <a:pt x="360060" y="672820"/>
                    <a:pt x="351901" y="664661"/>
                  </a:cubicBezTo>
                  <a:cubicBezTo>
                    <a:pt x="330144" y="645624"/>
                    <a:pt x="316546" y="621147"/>
                    <a:pt x="305667" y="596670"/>
                  </a:cubicBezTo>
                  <a:cubicBezTo>
                    <a:pt x="292069" y="569473"/>
                    <a:pt x="281190" y="539557"/>
                    <a:pt x="270312" y="509641"/>
                  </a:cubicBezTo>
                  <a:cubicBezTo>
                    <a:pt x="264872" y="493323"/>
                    <a:pt x="256713" y="477005"/>
                    <a:pt x="251274" y="460687"/>
                  </a:cubicBezTo>
                  <a:cubicBezTo>
                    <a:pt x="240395" y="433490"/>
                    <a:pt x="232236" y="409014"/>
                    <a:pt x="224077" y="381817"/>
                  </a:cubicBezTo>
                  <a:cubicBezTo>
                    <a:pt x="218638" y="365499"/>
                    <a:pt x="213199" y="346462"/>
                    <a:pt x="207759" y="330144"/>
                  </a:cubicBezTo>
                  <a:cubicBezTo>
                    <a:pt x="202320" y="316545"/>
                    <a:pt x="196881" y="300227"/>
                    <a:pt x="191442" y="286629"/>
                  </a:cubicBezTo>
                  <a:cubicBezTo>
                    <a:pt x="188722" y="281190"/>
                    <a:pt x="186002" y="278470"/>
                    <a:pt x="183283" y="278470"/>
                  </a:cubicBezTo>
                  <a:cubicBezTo>
                    <a:pt x="180563" y="278470"/>
                    <a:pt x="180563" y="286629"/>
                    <a:pt x="180563" y="292068"/>
                  </a:cubicBezTo>
                  <a:cubicBezTo>
                    <a:pt x="180563" y="297508"/>
                    <a:pt x="180563" y="302947"/>
                    <a:pt x="180563" y="305667"/>
                  </a:cubicBezTo>
                  <a:cubicBezTo>
                    <a:pt x="180563" y="321985"/>
                    <a:pt x="183283" y="338303"/>
                    <a:pt x="183283" y="354620"/>
                  </a:cubicBezTo>
                  <a:cubicBezTo>
                    <a:pt x="183283" y="387256"/>
                    <a:pt x="186002" y="417173"/>
                    <a:pt x="188722" y="449808"/>
                  </a:cubicBezTo>
                  <a:cubicBezTo>
                    <a:pt x="188722" y="460687"/>
                    <a:pt x="188722" y="468846"/>
                    <a:pt x="188722" y="479725"/>
                  </a:cubicBezTo>
                  <a:cubicBezTo>
                    <a:pt x="188722" y="501482"/>
                    <a:pt x="188722" y="523239"/>
                    <a:pt x="188722" y="542277"/>
                  </a:cubicBezTo>
                  <a:cubicBezTo>
                    <a:pt x="188722" y="566754"/>
                    <a:pt x="186002" y="591231"/>
                    <a:pt x="186002" y="615708"/>
                  </a:cubicBezTo>
                  <a:cubicBezTo>
                    <a:pt x="186002" y="623866"/>
                    <a:pt x="186002" y="632025"/>
                    <a:pt x="186002" y="637465"/>
                  </a:cubicBezTo>
                  <a:cubicBezTo>
                    <a:pt x="186002" y="645624"/>
                    <a:pt x="183283" y="656502"/>
                    <a:pt x="183283" y="664661"/>
                  </a:cubicBezTo>
                  <a:cubicBezTo>
                    <a:pt x="202320" y="664661"/>
                    <a:pt x="218638" y="664661"/>
                    <a:pt x="226797" y="664661"/>
                  </a:cubicBezTo>
                  <a:cubicBezTo>
                    <a:pt x="234956" y="664661"/>
                    <a:pt x="253994" y="664661"/>
                    <a:pt x="253994" y="680979"/>
                  </a:cubicBezTo>
                  <a:cubicBezTo>
                    <a:pt x="253994" y="689138"/>
                    <a:pt x="253994" y="691858"/>
                    <a:pt x="248554" y="697297"/>
                  </a:cubicBezTo>
                  <a:cubicBezTo>
                    <a:pt x="245835" y="702736"/>
                    <a:pt x="240395" y="705456"/>
                    <a:pt x="234956" y="705456"/>
                  </a:cubicBezTo>
                  <a:cubicBezTo>
                    <a:pt x="226797" y="708176"/>
                    <a:pt x="224077" y="708176"/>
                    <a:pt x="218638" y="708176"/>
                  </a:cubicBezTo>
                  <a:cubicBezTo>
                    <a:pt x="215918" y="708176"/>
                    <a:pt x="199600" y="708176"/>
                    <a:pt x="183283" y="708176"/>
                  </a:cubicBezTo>
                  <a:cubicBezTo>
                    <a:pt x="166965" y="708176"/>
                    <a:pt x="153366" y="708176"/>
                    <a:pt x="150647" y="708176"/>
                  </a:cubicBezTo>
                  <a:cubicBezTo>
                    <a:pt x="139768" y="708176"/>
                    <a:pt x="120730" y="708176"/>
                    <a:pt x="107132" y="708176"/>
                  </a:cubicBezTo>
                  <a:cubicBezTo>
                    <a:pt x="101693" y="708176"/>
                    <a:pt x="96254" y="708176"/>
                    <a:pt x="88094" y="708176"/>
                  </a:cubicBezTo>
                  <a:cubicBezTo>
                    <a:pt x="82655" y="708176"/>
                    <a:pt x="74496" y="708176"/>
                    <a:pt x="69057" y="702736"/>
                  </a:cubicBezTo>
                  <a:cubicBezTo>
                    <a:pt x="63617" y="700017"/>
                    <a:pt x="58178" y="691858"/>
                    <a:pt x="58178" y="686418"/>
                  </a:cubicBezTo>
                  <a:cubicBezTo>
                    <a:pt x="58178" y="683699"/>
                    <a:pt x="58178" y="680979"/>
                    <a:pt x="60898" y="678259"/>
                  </a:cubicBezTo>
                  <a:cubicBezTo>
                    <a:pt x="63617" y="675540"/>
                    <a:pt x="71777" y="672820"/>
                    <a:pt x="77216" y="670101"/>
                  </a:cubicBezTo>
                  <a:cubicBezTo>
                    <a:pt x="90814" y="667381"/>
                    <a:pt x="115291" y="664661"/>
                    <a:pt x="120730" y="664661"/>
                  </a:cubicBezTo>
                  <a:cubicBezTo>
                    <a:pt x="123450" y="664661"/>
                    <a:pt x="126170" y="664661"/>
                    <a:pt x="131609" y="664661"/>
                  </a:cubicBezTo>
                  <a:cubicBezTo>
                    <a:pt x="131609" y="623866"/>
                    <a:pt x="134329" y="583072"/>
                    <a:pt x="134329" y="539557"/>
                  </a:cubicBezTo>
                  <a:cubicBezTo>
                    <a:pt x="134329" y="528678"/>
                    <a:pt x="134329" y="515080"/>
                    <a:pt x="134329" y="504201"/>
                  </a:cubicBezTo>
                  <a:cubicBezTo>
                    <a:pt x="131609" y="460687"/>
                    <a:pt x="131609" y="417173"/>
                    <a:pt x="131609" y="376378"/>
                  </a:cubicBezTo>
                  <a:cubicBezTo>
                    <a:pt x="131609" y="351901"/>
                    <a:pt x="131609" y="327424"/>
                    <a:pt x="131609" y="302947"/>
                  </a:cubicBezTo>
                  <a:cubicBezTo>
                    <a:pt x="131609" y="275751"/>
                    <a:pt x="131609" y="248554"/>
                    <a:pt x="134329" y="221357"/>
                  </a:cubicBezTo>
                  <a:cubicBezTo>
                    <a:pt x="134329" y="188722"/>
                    <a:pt x="137048" y="156086"/>
                    <a:pt x="137048" y="123450"/>
                  </a:cubicBezTo>
                  <a:cubicBezTo>
                    <a:pt x="126170" y="123450"/>
                    <a:pt x="115291" y="123450"/>
                    <a:pt x="107132" y="123450"/>
                  </a:cubicBezTo>
                  <a:cubicBezTo>
                    <a:pt x="101693" y="123450"/>
                    <a:pt x="96254" y="123450"/>
                    <a:pt x="88094" y="123450"/>
                  </a:cubicBezTo>
                  <a:cubicBezTo>
                    <a:pt x="82655" y="123450"/>
                    <a:pt x="74496" y="120730"/>
                    <a:pt x="69057" y="118011"/>
                  </a:cubicBezTo>
                  <a:cubicBezTo>
                    <a:pt x="63617" y="115291"/>
                    <a:pt x="58178" y="107132"/>
                    <a:pt x="58178" y="101693"/>
                  </a:cubicBezTo>
                  <a:cubicBezTo>
                    <a:pt x="58178" y="98973"/>
                    <a:pt x="58178" y="96253"/>
                    <a:pt x="60898" y="93534"/>
                  </a:cubicBezTo>
                  <a:cubicBezTo>
                    <a:pt x="63617" y="90814"/>
                    <a:pt x="71777" y="88094"/>
                    <a:pt x="77216" y="85375"/>
                  </a:cubicBezTo>
                  <a:cubicBezTo>
                    <a:pt x="90814" y="82655"/>
                    <a:pt x="126170" y="79935"/>
                    <a:pt x="131609" y="79935"/>
                  </a:cubicBezTo>
                  <a:cubicBezTo>
                    <a:pt x="137048" y="79935"/>
                    <a:pt x="147927" y="79935"/>
                    <a:pt x="161525" y="79935"/>
                  </a:cubicBezTo>
                  <a:cubicBezTo>
                    <a:pt x="166965" y="74496"/>
                    <a:pt x="172404" y="71776"/>
                    <a:pt x="177843" y="66337"/>
                  </a:cubicBezTo>
                  <a:cubicBezTo>
                    <a:pt x="186002" y="60898"/>
                    <a:pt x="194161" y="58178"/>
                    <a:pt x="202320" y="58178"/>
                  </a:cubicBezTo>
                  <a:cubicBezTo>
                    <a:pt x="215918" y="58178"/>
                    <a:pt x="226797" y="63617"/>
                    <a:pt x="234956" y="77216"/>
                  </a:cubicBezTo>
                  <a:cubicBezTo>
                    <a:pt x="240395" y="88094"/>
                    <a:pt x="248554" y="96253"/>
                    <a:pt x="251274" y="107132"/>
                  </a:cubicBezTo>
                  <a:cubicBezTo>
                    <a:pt x="256713" y="120730"/>
                    <a:pt x="259433" y="134328"/>
                    <a:pt x="267592" y="147927"/>
                  </a:cubicBezTo>
                  <a:cubicBezTo>
                    <a:pt x="273031" y="158805"/>
                    <a:pt x="275751" y="172404"/>
                    <a:pt x="281190" y="183282"/>
                  </a:cubicBezTo>
                  <a:cubicBezTo>
                    <a:pt x="286630" y="196881"/>
                    <a:pt x="292069" y="210479"/>
                    <a:pt x="297508" y="224077"/>
                  </a:cubicBezTo>
                  <a:cubicBezTo>
                    <a:pt x="300228" y="237675"/>
                    <a:pt x="305667" y="251274"/>
                    <a:pt x="308387" y="264872"/>
                  </a:cubicBezTo>
                  <a:cubicBezTo>
                    <a:pt x="311106" y="278470"/>
                    <a:pt x="311106" y="289349"/>
                    <a:pt x="319265" y="300227"/>
                  </a:cubicBezTo>
                  <a:cubicBezTo>
                    <a:pt x="332864" y="324704"/>
                    <a:pt x="346462" y="351901"/>
                    <a:pt x="351901" y="379097"/>
                  </a:cubicBezTo>
                  <a:cubicBezTo>
                    <a:pt x="354621" y="392696"/>
                    <a:pt x="360060" y="403574"/>
                    <a:pt x="365500" y="417173"/>
                  </a:cubicBezTo>
                  <a:cubicBezTo>
                    <a:pt x="373659" y="430771"/>
                    <a:pt x="373659" y="444369"/>
                    <a:pt x="379098" y="457967"/>
                  </a:cubicBezTo>
                  <a:cubicBezTo>
                    <a:pt x="381818" y="471566"/>
                    <a:pt x="387257" y="482444"/>
                    <a:pt x="395416" y="496043"/>
                  </a:cubicBezTo>
                  <a:cubicBezTo>
                    <a:pt x="398136" y="501482"/>
                    <a:pt x="403575" y="506921"/>
                    <a:pt x="406294" y="512361"/>
                  </a:cubicBezTo>
                  <a:cubicBezTo>
                    <a:pt x="409014" y="517800"/>
                    <a:pt x="409014" y="525959"/>
                    <a:pt x="411734" y="531398"/>
                  </a:cubicBezTo>
                  <a:cubicBezTo>
                    <a:pt x="414453" y="539557"/>
                    <a:pt x="417173" y="550436"/>
                    <a:pt x="419893" y="558595"/>
                  </a:cubicBezTo>
                  <a:cubicBezTo>
                    <a:pt x="422613" y="561314"/>
                    <a:pt x="422613" y="564034"/>
                    <a:pt x="425332" y="564034"/>
                  </a:cubicBezTo>
                  <a:cubicBezTo>
                    <a:pt x="428052" y="564034"/>
                    <a:pt x="428052" y="561314"/>
                    <a:pt x="430771" y="558595"/>
                  </a:cubicBezTo>
                  <a:cubicBezTo>
                    <a:pt x="430771" y="555875"/>
                    <a:pt x="430771" y="553155"/>
                    <a:pt x="430771" y="550436"/>
                  </a:cubicBezTo>
                  <a:cubicBezTo>
                    <a:pt x="430771" y="534118"/>
                    <a:pt x="430771" y="517800"/>
                    <a:pt x="430771" y="501482"/>
                  </a:cubicBezTo>
                  <a:cubicBezTo>
                    <a:pt x="430771" y="468846"/>
                    <a:pt x="433491" y="436210"/>
                    <a:pt x="430771" y="403574"/>
                  </a:cubicBezTo>
                  <a:cubicBezTo>
                    <a:pt x="430771" y="373658"/>
                    <a:pt x="425332" y="343742"/>
                    <a:pt x="425332" y="313826"/>
                  </a:cubicBezTo>
                  <a:cubicBezTo>
                    <a:pt x="425332" y="292068"/>
                    <a:pt x="425332" y="270311"/>
                    <a:pt x="425332" y="248554"/>
                  </a:cubicBezTo>
                  <a:cubicBezTo>
                    <a:pt x="425332" y="234956"/>
                    <a:pt x="425332" y="224077"/>
                    <a:pt x="425332" y="210479"/>
                  </a:cubicBezTo>
                  <a:cubicBezTo>
                    <a:pt x="425332" y="191441"/>
                    <a:pt x="422613" y="172404"/>
                    <a:pt x="422613" y="153366"/>
                  </a:cubicBezTo>
                  <a:cubicBezTo>
                    <a:pt x="422613" y="142487"/>
                    <a:pt x="422613" y="134328"/>
                    <a:pt x="425332" y="123450"/>
                  </a:cubicBezTo>
                  <a:cubicBezTo>
                    <a:pt x="417173" y="123450"/>
                    <a:pt x="406294" y="123450"/>
                    <a:pt x="398136" y="123450"/>
                  </a:cubicBezTo>
                  <a:cubicBezTo>
                    <a:pt x="392696" y="123450"/>
                    <a:pt x="387257" y="123450"/>
                    <a:pt x="379098" y="123450"/>
                  </a:cubicBezTo>
                  <a:cubicBezTo>
                    <a:pt x="373659" y="123450"/>
                    <a:pt x="365500" y="120730"/>
                    <a:pt x="360060" y="118011"/>
                  </a:cubicBezTo>
                  <a:cubicBezTo>
                    <a:pt x="354621" y="115291"/>
                    <a:pt x="349182" y="107132"/>
                    <a:pt x="349182" y="101693"/>
                  </a:cubicBezTo>
                  <a:cubicBezTo>
                    <a:pt x="349182" y="98973"/>
                    <a:pt x="349182" y="96253"/>
                    <a:pt x="351901" y="93534"/>
                  </a:cubicBezTo>
                  <a:cubicBezTo>
                    <a:pt x="354621" y="90814"/>
                    <a:pt x="362780" y="88094"/>
                    <a:pt x="368219" y="85375"/>
                  </a:cubicBezTo>
                  <a:cubicBezTo>
                    <a:pt x="381818" y="82655"/>
                    <a:pt x="417173" y="79935"/>
                    <a:pt x="422613" y="79935"/>
                  </a:cubicBezTo>
                  <a:cubicBezTo>
                    <a:pt x="428052" y="79935"/>
                    <a:pt x="433491" y="79935"/>
                    <a:pt x="444370" y="79935"/>
                  </a:cubicBezTo>
                  <a:cubicBezTo>
                    <a:pt x="449809" y="74496"/>
                    <a:pt x="455248" y="71776"/>
                    <a:pt x="463407" y="71776"/>
                  </a:cubicBezTo>
                  <a:cubicBezTo>
                    <a:pt x="471566" y="71776"/>
                    <a:pt x="477006" y="74496"/>
                    <a:pt x="477006" y="79935"/>
                  </a:cubicBezTo>
                  <a:cubicBezTo>
                    <a:pt x="493324" y="79935"/>
                    <a:pt x="506922" y="79935"/>
                    <a:pt x="515081" y="79935"/>
                  </a:cubicBezTo>
                  <a:lnTo>
                    <a:pt x="515081" y="79935"/>
                  </a:ln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/>
            </a:p>
          </p:txBody>
        </p:sp>
        <p:sp>
          <p:nvSpPr>
            <p:cNvPr id="40" name="Freeform: Shape 39">
              <a:extLst>
                <a:ext uri="{FF2B5EF4-FFF2-40B4-BE49-F238E27FC236}">
                  <a16:creationId xmlns:a16="http://schemas.microsoft.com/office/drawing/2014/main" id="{DC8BB322-F966-4625-AAF1-D76FB9843DF1}"/>
                </a:ext>
              </a:extLst>
            </p:cNvPr>
            <p:cNvSpPr/>
            <p:nvPr/>
          </p:nvSpPr>
          <p:spPr bwMode="black">
            <a:xfrm>
              <a:off x="5139126" y="4192158"/>
              <a:ext cx="516735" cy="788700"/>
            </a:xfrm>
            <a:custGeom>
              <a:avLst/>
              <a:gdLst>
                <a:gd name="connsiteX0" fmla="*/ 464616 w 516735"/>
                <a:gd name="connsiteY0" fmla="*/ 436210 h 788699"/>
                <a:gd name="connsiteX1" fmla="*/ 445578 w 516735"/>
                <a:gd name="connsiteY1" fmla="*/ 455248 h 788699"/>
                <a:gd name="connsiteX2" fmla="*/ 404784 w 516735"/>
                <a:gd name="connsiteY2" fmla="*/ 466126 h 788699"/>
                <a:gd name="connsiteX3" fmla="*/ 385746 w 516735"/>
                <a:gd name="connsiteY3" fmla="*/ 479725 h 788699"/>
                <a:gd name="connsiteX4" fmla="*/ 388466 w 516735"/>
                <a:gd name="connsiteY4" fmla="*/ 512361 h 788699"/>
                <a:gd name="connsiteX5" fmla="*/ 388466 w 516735"/>
                <a:gd name="connsiteY5" fmla="*/ 544997 h 788699"/>
                <a:gd name="connsiteX6" fmla="*/ 388466 w 516735"/>
                <a:gd name="connsiteY6" fmla="*/ 566754 h 788699"/>
                <a:gd name="connsiteX7" fmla="*/ 391185 w 516735"/>
                <a:gd name="connsiteY7" fmla="*/ 632026 h 788699"/>
                <a:gd name="connsiteX8" fmla="*/ 393905 w 516735"/>
                <a:gd name="connsiteY8" fmla="*/ 683699 h 788699"/>
                <a:gd name="connsiteX9" fmla="*/ 377587 w 516735"/>
                <a:gd name="connsiteY9" fmla="*/ 724494 h 788699"/>
                <a:gd name="connsiteX10" fmla="*/ 361269 w 516735"/>
                <a:gd name="connsiteY10" fmla="*/ 719054 h 788699"/>
                <a:gd name="connsiteX11" fmla="*/ 353110 w 516735"/>
                <a:gd name="connsiteY11" fmla="*/ 702737 h 788699"/>
                <a:gd name="connsiteX12" fmla="*/ 350390 w 516735"/>
                <a:gd name="connsiteY12" fmla="*/ 686419 h 788699"/>
                <a:gd name="connsiteX13" fmla="*/ 353110 w 516735"/>
                <a:gd name="connsiteY13" fmla="*/ 659222 h 788699"/>
                <a:gd name="connsiteX14" fmla="*/ 353110 w 516735"/>
                <a:gd name="connsiteY14" fmla="*/ 656502 h 788699"/>
                <a:gd name="connsiteX15" fmla="*/ 317755 w 516735"/>
                <a:gd name="connsiteY15" fmla="*/ 708176 h 788699"/>
                <a:gd name="connsiteX16" fmla="*/ 241604 w 516735"/>
                <a:gd name="connsiteY16" fmla="*/ 735372 h 788699"/>
                <a:gd name="connsiteX17" fmla="*/ 187211 w 516735"/>
                <a:gd name="connsiteY17" fmla="*/ 727214 h 788699"/>
                <a:gd name="connsiteX18" fmla="*/ 135538 w 516735"/>
                <a:gd name="connsiteY18" fmla="*/ 694578 h 788699"/>
                <a:gd name="connsiteX19" fmla="*/ 86584 w 516735"/>
                <a:gd name="connsiteY19" fmla="*/ 621147 h 788699"/>
                <a:gd name="connsiteX20" fmla="*/ 67546 w 516735"/>
                <a:gd name="connsiteY20" fmla="*/ 555875 h 788699"/>
                <a:gd name="connsiteX21" fmla="*/ 59387 w 516735"/>
                <a:gd name="connsiteY21" fmla="*/ 509641 h 788699"/>
                <a:gd name="connsiteX22" fmla="*/ 59387 w 516735"/>
                <a:gd name="connsiteY22" fmla="*/ 468846 h 788699"/>
                <a:gd name="connsiteX23" fmla="*/ 86584 w 516735"/>
                <a:gd name="connsiteY23" fmla="*/ 302947 h 788699"/>
                <a:gd name="connsiteX24" fmla="*/ 108341 w 516735"/>
                <a:gd name="connsiteY24" fmla="*/ 224077 h 788699"/>
                <a:gd name="connsiteX25" fmla="*/ 146416 w 516735"/>
                <a:gd name="connsiteY25" fmla="*/ 145207 h 788699"/>
                <a:gd name="connsiteX26" fmla="*/ 198090 w 516735"/>
                <a:gd name="connsiteY26" fmla="*/ 85375 h 788699"/>
                <a:gd name="connsiteX27" fmla="*/ 228006 w 516735"/>
                <a:gd name="connsiteY27" fmla="*/ 69057 h 788699"/>
                <a:gd name="connsiteX28" fmla="*/ 268801 w 516735"/>
                <a:gd name="connsiteY28" fmla="*/ 58178 h 788699"/>
                <a:gd name="connsiteX29" fmla="*/ 274240 w 516735"/>
                <a:gd name="connsiteY29" fmla="*/ 58178 h 788699"/>
                <a:gd name="connsiteX30" fmla="*/ 295997 w 516735"/>
                <a:gd name="connsiteY30" fmla="*/ 60898 h 788699"/>
                <a:gd name="connsiteX31" fmla="*/ 331353 w 516735"/>
                <a:gd name="connsiteY31" fmla="*/ 71776 h 788699"/>
                <a:gd name="connsiteX32" fmla="*/ 350390 w 516735"/>
                <a:gd name="connsiteY32" fmla="*/ 93534 h 788699"/>
                <a:gd name="connsiteX33" fmla="*/ 353110 w 516735"/>
                <a:gd name="connsiteY33" fmla="*/ 74496 h 788699"/>
                <a:gd name="connsiteX34" fmla="*/ 358549 w 516735"/>
                <a:gd name="connsiteY34" fmla="*/ 63618 h 788699"/>
                <a:gd name="connsiteX35" fmla="*/ 366708 w 516735"/>
                <a:gd name="connsiteY35" fmla="*/ 58178 h 788699"/>
                <a:gd name="connsiteX36" fmla="*/ 374867 w 516735"/>
                <a:gd name="connsiteY36" fmla="*/ 63618 h 788699"/>
                <a:gd name="connsiteX37" fmla="*/ 383026 w 516735"/>
                <a:gd name="connsiteY37" fmla="*/ 82655 h 788699"/>
                <a:gd name="connsiteX38" fmla="*/ 385746 w 516735"/>
                <a:gd name="connsiteY38" fmla="*/ 126170 h 788699"/>
                <a:gd name="connsiteX39" fmla="*/ 388466 w 516735"/>
                <a:gd name="connsiteY39" fmla="*/ 186002 h 788699"/>
                <a:gd name="connsiteX40" fmla="*/ 391185 w 516735"/>
                <a:gd name="connsiteY40" fmla="*/ 237676 h 788699"/>
                <a:gd name="connsiteX41" fmla="*/ 374867 w 516735"/>
                <a:gd name="connsiteY41" fmla="*/ 278470 h 788699"/>
                <a:gd name="connsiteX42" fmla="*/ 358549 w 516735"/>
                <a:gd name="connsiteY42" fmla="*/ 273031 h 788699"/>
                <a:gd name="connsiteX43" fmla="*/ 350390 w 516735"/>
                <a:gd name="connsiteY43" fmla="*/ 256713 h 788699"/>
                <a:gd name="connsiteX44" fmla="*/ 347671 w 516735"/>
                <a:gd name="connsiteY44" fmla="*/ 240395 h 788699"/>
                <a:gd name="connsiteX45" fmla="*/ 347671 w 516735"/>
                <a:gd name="connsiteY45" fmla="*/ 213199 h 788699"/>
                <a:gd name="connsiteX46" fmla="*/ 344951 w 516735"/>
                <a:gd name="connsiteY46" fmla="*/ 194161 h 788699"/>
                <a:gd name="connsiteX47" fmla="*/ 339512 w 516735"/>
                <a:gd name="connsiteY47" fmla="*/ 150647 h 788699"/>
                <a:gd name="connsiteX48" fmla="*/ 323194 w 516735"/>
                <a:gd name="connsiteY48" fmla="*/ 112571 h 788699"/>
                <a:gd name="connsiteX49" fmla="*/ 293278 w 516735"/>
                <a:gd name="connsiteY49" fmla="*/ 101693 h 788699"/>
                <a:gd name="connsiteX50" fmla="*/ 263361 w 516735"/>
                <a:gd name="connsiteY50" fmla="*/ 120730 h 788699"/>
                <a:gd name="connsiteX51" fmla="*/ 241604 w 516735"/>
                <a:gd name="connsiteY51" fmla="*/ 153366 h 788699"/>
                <a:gd name="connsiteX52" fmla="*/ 233445 w 516735"/>
                <a:gd name="connsiteY52" fmla="*/ 194161 h 788699"/>
                <a:gd name="connsiteX53" fmla="*/ 225286 w 516735"/>
                <a:gd name="connsiteY53" fmla="*/ 232236 h 788699"/>
                <a:gd name="connsiteX54" fmla="*/ 217127 w 516735"/>
                <a:gd name="connsiteY54" fmla="*/ 275751 h 788699"/>
                <a:gd name="connsiteX55" fmla="*/ 211688 w 516735"/>
                <a:gd name="connsiteY55" fmla="*/ 316545 h 788699"/>
                <a:gd name="connsiteX56" fmla="*/ 206249 w 516735"/>
                <a:gd name="connsiteY56" fmla="*/ 354621 h 788699"/>
                <a:gd name="connsiteX57" fmla="*/ 200809 w 516735"/>
                <a:gd name="connsiteY57" fmla="*/ 398135 h 788699"/>
                <a:gd name="connsiteX58" fmla="*/ 195370 w 516735"/>
                <a:gd name="connsiteY58" fmla="*/ 438930 h 788699"/>
                <a:gd name="connsiteX59" fmla="*/ 192650 w 516735"/>
                <a:gd name="connsiteY59" fmla="*/ 474286 h 788699"/>
                <a:gd name="connsiteX60" fmla="*/ 195370 w 516735"/>
                <a:gd name="connsiteY60" fmla="*/ 525959 h 788699"/>
                <a:gd name="connsiteX61" fmla="*/ 208968 w 516735"/>
                <a:gd name="connsiteY61" fmla="*/ 596670 h 788699"/>
                <a:gd name="connsiteX62" fmla="*/ 214407 w 516735"/>
                <a:gd name="connsiteY62" fmla="*/ 623867 h 788699"/>
                <a:gd name="connsiteX63" fmla="*/ 228006 w 516735"/>
                <a:gd name="connsiteY63" fmla="*/ 656502 h 788699"/>
                <a:gd name="connsiteX64" fmla="*/ 271520 w 516735"/>
                <a:gd name="connsiteY64" fmla="*/ 689138 h 788699"/>
                <a:gd name="connsiteX65" fmla="*/ 306876 w 516735"/>
                <a:gd name="connsiteY65" fmla="*/ 664661 h 788699"/>
                <a:gd name="connsiteX66" fmla="*/ 331353 w 516735"/>
                <a:gd name="connsiteY66" fmla="*/ 602109 h 788699"/>
                <a:gd name="connsiteX67" fmla="*/ 336792 w 516735"/>
                <a:gd name="connsiteY67" fmla="*/ 544997 h 788699"/>
                <a:gd name="connsiteX68" fmla="*/ 336792 w 516735"/>
                <a:gd name="connsiteY68" fmla="*/ 498762 h 788699"/>
                <a:gd name="connsiteX69" fmla="*/ 336792 w 516735"/>
                <a:gd name="connsiteY69" fmla="*/ 490603 h 788699"/>
                <a:gd name="connsiteX70" fmla="*/ 320474 w 516735"/>
                <a:gd name="connsiteY70" fmla="*/ 477005 h 788699"/>
                <a:gd name="connsiteX71" fmla="*/ 282399 w 516735"/>
                <a:gd name="connsiteY71" fmla="*/ 479725 h 788699"/>
                <a:gd name="connsiteX72" fmla="*/ 252483 w 516735"/>
                <a:gd name="connsiteY72" fmla="*/ 474286 h 788699"/>
                <a:gd name="connsiteX73" fmla="*/ 247043 w 516735"/>
                <a:gd name="connsiteY73" fmla="*/ 466126 h 788699"/>
                <a:gd name="connsiteX74" fmla="*/ 249763 w 516735"/>
                <a:gd name="connsiteY74" fmla="*/ 457968 h 788699"/>
                <a:gd name="connsiteX75" fmla="*/ 268801 w 516735"/>
                <a:gd name="connsiteY75" fmla="*/ 447089 h 788699"/>
                <a:gd name="connsiteX76" fmla="*/ 312315 w 516735"/>
                <a:gd name="connsiteY76" fmla="*/ 436210 h 788699"/>
                <a:gd name="connsiteX77" fmla="*/ 353110 w 516735"/>
                <a:gd name="connsiteY77" fmla="*/ 430771 h 788699"/>
                <a:gd name="connsiteX78" fmla="*/ 385746 w 516735"/>
                <a:gd name="connsiteY78" fmla="*/ 430771 h 788699"/>
                <a:gd name="connsiteX79" fmla="*/ 437420 w 516735"/>
                <a:gd name="connsiteY79" fmla="*/ 428051 h 788699"/>
                <a:gd name="connsiteX80" fmla="*/ 464616 w 516735"/>
                <a:gd name="connsiteY80" fmla="*/ 436210 h 7886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</a:cxnLst>
              <a:rect l="l" t="t" r="r" b="b"/>
              <a:pathLst>
                <a:path w="516735" h="788699">
                  <a:moveTo>
                    <a:pt x="464616" y="436210"/>
                  </a:moveTo>
                  <a:cubicBezTo>
                    <a:pt x="464616" y="447089"/>
                    <a:pt x="453737" y="452528"/>
                    <a:pt x="445578" y="455248"/>
                  </a:cubicBezTo>
                  <a:cubicBezTo>
                    <a:pt x="434700" y="460687"/>
                    <a:pt x="415662" y="463407"/>
                    <a:pt x="404784" y="466126"/>
                  </a:cubicBezTo>
                  <a:cubicBezTo>
                    <a:pt x="393905" y="466126"/>
                    <a:pt x="385746" y="468846"/>
                    <a:pt x="385746" y="479725"/>
                  </a:cubicBezTo>
                  <a:cubicBezTo>
                    <a:pt x="385746" y="487884"/>
                    <a:pt x="388466" y="506921"/>
                    <a:pt x="388466" y="512361"/>
                  </a:cubicBezTo>
                  <a:cubicBezTo>
                    <a:pt x="388466" y="515080"/>
                    <a:pt x="388466" y="539557"/>
                    <a:pt x="388466" y="544997"/>
                  </a:cubicBezTo>
                  <a:cubicBezTo>
                    <a:pt x="388466" y="550436"/>
                    <a:pt x="388466" y="558595"/>
                    <a:pt x="388466" y="566754"/>
                  </a:cubicBezTo>
                  <a:cubicBezTo>
                    <a:pt x="388466" y="591231"/>
                    <a:pt x="388466" y="621147"/>
                    <a:pt x="391185" y="632026"/>
                  </a:cubicBezTo>
                  <a:cubicBezTo>
                    <a:pt x="393905" y="653783"/>
                    <a:pt x="393905" y="661942"/>
                    <a:pt x="393905" y="683699"/>
                  </a:cubicBezTo>
                  <a:cubicBezTo>
                    <a:pt x="393905" y="694578"/>
                    <a:pt x="393905" y="724494"/>
                    <a:pt x="377587" y="724494"/>
                  </a:cubicBezTo>
                  <a:cubicBezTo>
                    <a:pt x="369428" y="724494"/>
                    <a:pt x="366708" y="721774"/>
                    <a:pt x="361269" y="719054"/>
                  </a:cubicBezTo>
                  <a:cubicBezTo>
                    <a:pt x="355830" y="716335"/>
                    <a:pt x="353110" y="708176"/>
                    <a:pt x="353110" y="702737"/>
                  </a:cubicBezTo>
                  <a:cubicBezTo>
                    <a:pt x="350390" y="694578"/>
                    <a:pt x="350390" y="689138"/>
                    <a:pt x="350390" y="686419"/>
                  </a:cubicBezTo>
                  <a:cubicBezTo>
                    <a:pt x="350390" y="678260"/>
                    <a:pt x="353110" y="672820"/>
                    <a:pt x="353110" y="659222"/>
                  </a:cubicBezTo>
                  <a:lnTo>
                    <a:pt x="353110" y="656502"/>
                  </a:lnTo>
                  <a:cubicBezTo>
                    <a:pt x="347671" y="675540"/>
                    <a:pt x="334072" y="694578"/>
                    <a:pt x="317755" y="708176"/>
                  </a:cubicBezTo>
                  <a:cubicBezTo>
                    <a:pt x="293278" y="727214"/>
                    <a:pt x="274240" y="735372"/>
                    <a:pt x="241604" y="735372"/>
                  </a:cubicBezTo>
                  <a:cubicBezTo>
                    <a:pt x="222566" y="735372"/>
                    <a:pt x="203529" y="732653"/>
                    <a:pt x="187211" y="727214"/>
                  </a:cubicBezTo>
                  <a:cubicBezTo>
                    <a:pt x="165454" y="719054"/>
                    <a:pt x="149136" y="708176"/>
                    <a:pt x="135538" y="694578"/>
                  </a:cubicBezTo>
                  <a:cubicBezTo>
                    <a:pt x="113780" y="672820"/>
                    <a:pt x="100182" y="648343"/>
                    <a:pt x="86584" y="621147"/>
                  </a:cubicBezTo>
                  <a:cubicBezTo>
                    <a:pt x="75705" y="599390"/>
                    <a:pt x="70266" y="580352"/>
                    <a:pt x="67546" y="555875"/>
                  </a:cubicBezTo>
                  <a:cubicBezTo>
                    <a:pt x="64826" y="539557"/>
                    <a:pt x="62107" y="525959"/>
                    <a:pt x="59387" y="509641"/>
                  </a:cubicBezTo>
                  <a:cubicBezTo>
                    <a:pt x="56667" y="493323"/>
                    <a:pt x="59387" y="485164"/>
                    <a:pt x="59387" y="468846"/>
                  </a:cubicBezTo>
                  <a:cubicBezTo>
                    <a:pt x="59387" y="414453"/>
                    <a:pt x="72985" y="362780"/>
                    <a:pt x="86584" y="302947"/>
                  </a:cubicBezTo>
                  <a:cubicBezTo>
                    <a:pt x="92023" y="275751"/>
                    <a:pt x="100182" y="248554"/>
                    <a:pt x="108341" y="224077"/>
                  </a:cubicBezTo>
                  <a:cubicBezTo>
                    <a:pt x="116500" y="196881"/>
                    <a:pt x="130098" y="169684"/>
                    <a:pt x="146416" y="145207"/>
                  </a:cubicBezTo>
                  <a:cubicBezTo>
                    <a:pt x="160014" y="123450"/>
                    <a:pt x="176332" y="101693"/>
                    <a:pt x="198090" y="85375"/>
                  </a:cubicBezTo>
                  <a:cubicBezTo>
                    <a:pt x="206249" y="77216"/>
                    <a:pt x="217127" y="71776"/>
                    <a:pt x="228006" y="69057"/>
                  </a:cubicBezTo>
                  <a:cubicBezTo>
                    <a:pt x="241604" y="63618"/>
                    <a:pt x="255202" y="58178"/>
                    <a:pt x="268801" y="58178"/>
                  </a:cubicBezTo>
                  <a:cubicBezTo>
                    <a:pt x="271520" y="58178"/>
                    <a:pt x="274240" y="58178"/>
                    <a:pt x="274240" y="58178"/>
                  </a:cubicBezTo>
                  <a:cubicBezTo>
                    <a:pt x="279679" y="58178"/>
                    <a:pt x="285119" y="58178"/>
                    <a:pt x="295997" y="60898"/>
                  </a:cubicBezTo>
                  <a:cubicBezTo>
                    <a:pt x="309595" y="63618"/>
                    <a:pt x="320474" y="66337"/>
                    <a:pt x="331353" y="71776"/>
                  </a:cubicBezTo>
                  <a:cubicBezTo>
                    <a:pt x="339512" y="77216"/>
                    <a:pt x="347671" y="85375"/>
                    <a:pt x="350390" y="93534"/>
                  </a:cubicBezTo>
                  <a:cubicBezTo>
                    <a:pt x="350390" y="88095"/>
                    <a:pt x="353110" y="79936"/>
                    <a:pt x="353110" y="74496"/>
                  </a:cubicBezTo>
                  <a:cubicBezTo>
                    <a:pt x="355830" y="71776"/>
                    <a:pt x="355830" y="69057"/>
                    <a:pt x="358549" y="63618"/>
                  </a:cubicBezTo>
                  <a:cubicBezTo>
                    <a:pt x="361269" y="60898"/>
                    <a:pt x="363989" y="58178"/>
                    <a:pt x="366708" y="58178"/>
                  </a:cubicBezTo>
                  <a:cubicBezTo>
                    <a:pt x="369428" y="58178"/>
                    <a:pt x="372148" y="60898"/>
                    <a:pt x="374867" y="63618"/>
                  </a:cubicBezTo>
                  <a:cubicBezTo>
                    <a:pt x="377587" y="69057"/>
                    <a:pt x="380307" y="77216"/>
                    <a:pt x="383026" y="82655"/>
                  </a:cubicBezTo>
                  <a:cubicBezTo>
                    <a:pt x="383026" y="90814"/>
                    <a:pt x="385746" y="107132"/>
                    <a:pt x="385746" y="126170"/>
                  </a:cubicBezTo>
                  <a:cubicBezTo>
                    <a:pt x="385746" y="150647"/>
                    <a:pt x="385746" y="177843"/>
                    <a:pt x="388466" y="186002"/>
                  </a:cubicBezTo>
                  <a:cubicBezTo>
                    <a:pt x="391185" y="207759"/>
                    <a:pt x="391185" y="215918"/>
                    <a:pt x="391185" y="237676"/>
                  </a:cubicBezTo>
                  <a:cubicBezTo>
                    <a:pt x="391185" y="248554"/>
                    <a:pt x="391185" y="278470"/>
                    <a:pt x="374867" y="278470"/>
                  </a:cubicBezTo>
                  <a:cubicBezTo>
                    <a:pt x="366708" y="278470"/>
                    <a:pt x="363989" y="275751"/>
                    <a:pt x="358549" y="273031"/>
                  </a:cubicBezTo>
                  <a:cubicBezTo>
                    <a:pt x="353110" y="270311"/>
                    <a:pt x="350390" y="262152"/>
                    <a:pt x="350390" y="256713"/>
                  </a:cubicBezTo>
                  <a:cubicBezTo>
                    <a:pt x="350390" y="251274"/>
                    <a:pt x="347671" y="245834"/>
                    <a:pt x="347671" y="240395"/>
                  </a:cubicBezTo>
                  <a:cubicBezTo>
                    <a:pt x="347671" y="232236"/>
                    <a:pt x="347671" y="224077"/>
                    <a:pt x="347671" y="213199"/>
                  </a:cubicBezTo>
                  <a:cubicBezTo>
                    <a:pt x="347671" y="207759"/>
                    <a:pt x="347671" y="199600"/>
                    <a:pt x="344951" y="194161"/>
                  </a:cubicBezTo>
                  <a:cubicBezTo>
                    <a:pt x="342232" y="180563"/>
                    <a:pt x="342232" y="164245"/>
                    <a:pt x="339512" y="150647"/>
                  </a:cubicBezTo>
                  <a:cubicBezTo>
                    <a:pt x="336792" y="137048"/>
                    <a:pt x="331353" y="123450"/>
                    <a:pt x="323194" y="112571"/>
                  </a:cubicBezTo>
                  <a:cubicBezTo>
                    <a:pt x="317755" y="104412"/>
                    <a:pt x="304156" y="101693"/>
                    <a:pt x="293278" y="101693"/>
                  </a:cubicBezTo>
                  <a:cubicBezTo>
                    <a:pt x="279679" y="101693"/>
                    <a:pt x="271520" y="109852"/>
                    <a:pt x="263361" y="120730"/>
                  </a:cubicBezTo>
                  <a:cubicBezTo>
                    <a:pt x="257922" y="131609"/>
                    <a:pt x="247043" y="139768"/>
                    <a:pt x="241604" y="153366"/>
                  </a:cubicBezTo>
                  <a:cubicBezTo>
                    <a:pt x="236165" y="166964"/>
                    <a:pt x="233445" y="180563"/>
                    <a:pt x="233445" y="194161"/>
                  </a:cubicBezTo>
                  <a:cubicBezTo>
                    <a:pt x="233445" y="207759"/>
                    <a:pt x="230726" y="218638"/>
                    <a:pt x="225286" y="232236"/>
                  </a:cubicBezTo>
                  <a:cubicBezTo>
                    <a:pt x="219847" y="245834"/>
                    <a:pt x="219847" y="262152"/>
                    <a:pt x="217127" y="275751"/>
                  </a:cubicBezTo>
                  <a:cubicBezTo>
                    <a:pt x="214407" y="289349"/>
                    <a:pt x="214407" y="302947"/>
                    <a:pt x="211688" y="316545"/>
                  </a:cubicBezTo>
                  <a:cubicBezTo>
                    <a:pt x="211688" y="330144"/>
                    <a:pt x="206249" y="341022"/>
                    <a:pt x="206249" y="354621"/>
                  </a:cubicBezTo>
                  <a:cubicBezTo>
                    <a:pt x="203529" y="368219"/>
                    <a:pt x="203529" y="381817"/>
                    <a:pt x="200809" y="398135"/>
                  </a:cubicBezTo>
                  <a:cubicBezTo>
                    <a:pt x="198090" y="411733"/>
                    <a:pt x="198090" y="425332"/>
                    <a:pt x="195370" y="438930"/>
                  </a:cubicBezTo>
                  <a:cubicBezTo>
                    <a:pt x="195370" y="449809"/>
                    <a:pt x="192650" y="463407"/>
                    <a:pt x="192650" y="474286"/>
                  </a:cubicBezTo>
                  <a:cubicBezTo>
                    <a:pt x="192650" y="490603"/>
                    <a:pt x="195370" y="509641"/>
                    <a:pt x="195370" y="525959"/>
                  </a:cubicBezTo>
                  <a:cubicBezTo>
                    <a:pt x="195370" y="550436"/>
                    <a:pt x="203529" y="572193"/>
                    <a:pt x="208968" y="596670"/>
                  </a:cubicBezTo>
                  <a:cubicBezTo>
                    <a:pt x="211688" y="604829"/>
                    <a:pt x="211688" y="615708"/>
                    <a:pt x="214407" y="623867"/>
                  </a:cubicBezTo>
                  <a:cubicBezTo>
                    <a:pt x="217127" y="634745"/>
                    <a:pt x="222566" y="645624"/>
                    <a:pt x="228006" y="656502"/>
                  </a:cubicBezTo>
                  <a:cubicBezTo>
                    <a:pt x="236165" y="670101"/>
                    <a:pt x="252483" y="689138"/>
                    <a:pt x="271520" y="689138"/>
                  </a:cubicBezTo>
                  <a:cubicBezTo>
                    <a:pt x="287838" y="689138"/>
                    <a:pt x="298717" y="675540"/>
                    <a:pt x="306876" y="664661"/>
                  </a:cubicBezTo>
                  <a:cubicBezTo>
                    <a:pt x="320474" y="645624"/>
                    <a:pt x="325914" y="623867"/>
                    <a:pt x="331353" y="602109"/>
                  </a:cubicBezTo>
                  <a:cubicBezTo>
                    <a:pt x="334072" y="583072"/>
                    <a:pt x="336792" y="564034"/>
                    <a:pt x="336792" y="544997"/>
                  </a:cubicBezTo>
                  <a:cubicBezTo>
                    <a:pt x="336792" y="531398"/>
                    <a:pt x="336792" y="512361"/>
                    <a:pt x="336792" y="498762"/>
                  </a:cubicBezTo>
                  <a:cubicBezTo>
                    <a:pt x="336792" y="496043"/>
                    <a:pt x="336792" y="493323"/>
                    <a:pt x="336792" y="490603"/>
                  </a:cubicBezTo>
                  <a:cubicBezTo>
                    <a:pt x="336792" y="479725"/>
                    <a:pt x="336792" y="477005"/>
                    <a:pt x="320474" y="477005"/>
                  </a:cubicBezTo>
                  <a:cubicBezTo>
                    <a:pt x="309595" y="477005"/>
                    <a:pt x="295997" y="479725"/>
                    <a:pt x="282399" y="479725"/>
                  </a:cubicBezTo>
                  <a:cubicBezTo>
                    <a:pt x="271520" y="479725"/>
                    <a:pt x="260642" y="479725"/>
                    <a:pt x="252483" y="474286"/>
                  </a:cubicBezTo>
                  <a:cubicBezTo>
                    <a:pt x="249763" y="471566"/>
                    <a:pt x="247043" y="468846"/>
                    <a:pt x="247043" y="466126"/>
                  </a:cubicBezTo>
                  <a:cubicBezTo>
                    <a:pt x="247043" y="463407"/>
                    <a:pt x="247043" y="460687"/>
                    <a:pt x="249763" y="457968"/>
                  </a:cubicBezTo>
                  <a:cubicBezTo>
                    <a:pt x="255202" y="452528"/>
                    <a:pt x="260642" y="449809"/>
                    <a:pt x="268801" y="447089"/>
                  </a:cubicBezTo>
                  <a:cubicBezTo>
                    <a:pt x="282399" y="441650"/>
                    <a:pt x="295997" y="438930"/>
                    <a:pt x="312315" y="436210"/>
                  </a:cubicBezTo>
                  <a:cubicBezTo>
                    <a:pt x="325914" y="433491"/>
                    <a:pt x="339512" y="433491"/>
                    <a:pt x="353110" y="430771"/>
                  </a:cubicBezTo>
                  <a:cubicBezTo>
                    <a:pt x="363989" y="430771"/>
                    <a:pt x="374867" y="430771"/>
                    <a:pt x="385746" y="430771"/>
                  </a:cubicBezTo>
                  <a:cubicBezTo>
                    <a:pt x="402064" y="430771"/>
                    <a:pt x="426541" y="428051"/>
                    <a:pt x="437420" y="428051"/>
                  </a:cubicBezTo>
                  <a:cubicBezTo>
                    <a:pt x="451018" y="419892"/>
                    <a:pt x="464616" y="425332"/>
                    <a:pt x="464616" y="436210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/>
            </a:p>
          </p:txBody>
        </p:sp>
        <p:sp>
          <p:nvSpPr>
            <p:cNvPr id="41" name="Freeform: Shape 40">
              <a:extLst>
                <a:ext uri="{FF2B5EF4-FFF2-40B4-BE49-F238E27FC236}">
                  <a16:creationId xmlns:a16="http://schemas.microsoft.com/office/drawing/2014/main" id="{540E2F7A-EA88-4EB9-8C39-19197CE756C6}"/>
                </a:ext>
              </a:extLst>
            </p:cNvPr>
            <p:cNvSpPr/>
            <p:nvPr/>
          </p:nvSpPr>
          <p:spPr bwMode="black">
            <a:xfrm>
              <a:off x="5651630" y="4181279"/>
              <a:ext cx="734308" cy="788700"/>
            </a:xfrm>
            <a:custGeom>
              <a:avLst/>
              <a:gdLst>
                <a:gd name="connsiteX0" fmla="*/ 653783 w 734307"/>
                <a:gd name="connsiteY0" fmla="*/ 678259 h 788699"/>
                <a:gd name="connsiteX1" fmla="*/ 691859 w 734307"/>
                <a:gd name="connsiteY1" fmla="*/ 694577 h 788699"/>
                <a:gd name="connsiteX2" fmla="*/ 686419 w 734307"/>
                <a:gd name="connsiteY2" fmla="*/ 710895 h 788699"/>
                <a:gd name="connsiteX3" fmla="*/ 670101 w 734307"/>
                <a:gd name="connsiteY3" fmla="*/ 719054 h 788699"/>
                <a:gd name="connsiteX4" fmla="*/ 648344 w 734307"/>
                <a:gd name="connsiteY4" fmla="*/ 721774 h 788699"/>
                <a:gd name="connsiteX5" fmla="*/ 618428 w 734307"/>
                <a:gd name="connsiteY5" fmla="*/ 721774 h 788699"/>
                <a:gd name="connsiteX6" fmla="*/ 572194 w 734307"/>
                <a:gd name="connsiteY6" fmla="*/ 735372 h 788699"/>
                <a:gd name="connsiteX7" fmla="*/ 544997 w 734307"/>
                <a:gd name="connsiteY7" fmla="*/ 729933 h 788699"/>
                <a:gd name="connsiteX8" fmla="*/ 534119 w 734307"/>
                <a:gd name="connsiteY8" fmla="*/ 721774 h 788699"/>
                <a:gd name="connsiteX9" fmla="*/ 496043 w 734307"/>
                <a:gd name="connsiteY9" fmla="*/ 721774 h 788699"/>
                <a:gd name="connsiteX10" fmla="*/ 471566 w 734307"/>
                <a:gd name="connsiteY10" fmla="*/ 721774 h 788699"/>
                <a:gd name="connsiteX11" fmla="*/ 444370 w 734307"/>
                <a:gd name="connsiteY11" fmla="*/ 716335 h 788699"/>
                <a:gd name="connsiteX12" fmla="*/ 428052 w 734307"/>
                <a:gd name="connsiteY12" fmla="*/ 700017 h 788699"/>
                <a:gd name="connsiteX13" fmla="*/ 433491 w 734307"/>
                <a:gd name="connsiteY13" fmla="*/ 691858 h 788699"/>
                <a:gd name="connsiteX14" fmla="*/ 455248 w 734307"/>
                <a:gd name="connsiteY14" fmla="*/ 683699 h 788699"/>
                <a:gd name="connsiteX15" fmla="*/ 506922 w 734307"/>
                <a:gd name="connsiteY15" fmla="*/ 678259 h 788699"/>
                <a:gd name="connsiteX16" fmla="*/ 509641 w 734307"/>
                <a:gd name="connsiteY16" fmla="*/ 678259 h 788699"/>
                <a:gd name="connsiteX17" fmla="*/ 506922 w 734307"/>
                <a:gd name="connsiteY17" fmla="*/ 664661 h 788699"/>
                <a:gd name="connsiteX18" fmla="*/ 498763 w 734307"/>
                <a:gd name="connsiteY18" fmla="*/ 580352 h 788699"/>
                <a:gd name="connsiteX19" fmla="*/ 496043 w 734307"/>
                <a:gd name="connsiteY19" fmla="*/ 479725 h 788699"/>
                <a:gd name="connsiteX20" fmla="*/ 493324 w 734307"/>
                <a:gd name="connsiteY20" fmla="*/ 389976 h 788699"/>
                <a:gd name="connsiteX21" fmla="*/ 490604 w 734307"/>
                <a:gd name="connsiteY21" fmla="*/ 302947 h 788699"/>
                <a:gd name="connsiteX22" fmla="*/ 487884 w 734307"/>
                <a:gd name="connsiteY22" fmla="*/ 229516 h 788699"/>
                <a:gd name="connsiteX23" fmla="*/ 485165 w 734307"/>
                <a:gd name="connsiteY23" fmla="*/ 221357 h 788699"/>
                <a:gd name="connsiteX24" fmla="*/ 482445 w 734307"/>
                <a:gd name="connsiteY24" fmla="*/ 226797 h 788699"/>
                <a:gd name="connsiteX25" fmla="*/ 477006 w 734307"/>
                <a:gd name="connsiteY25" fmla="*/ 262152 h 788699"/>
                <a:gd name="connsiteX26" fmla="*/ 460688 w 734307"/>
                <a:gd name="connsiteY26" fmla="*/ 341022 h 788699"/>
                <a:gd name="connsiteX27" fmla="*/ 444370 w 734307"/>
                <a:gd name="connsiteY27" fmla="*/ 417173 h 788699"/>
                <a:gd name="connsiteX28" fmla="*/ 436211 w 734307"/>
                <a:gd name="connsiteY28" fmla="*/ 455248 h 788699"/>
                <a:gd name="connsiteX29" fmla="*/ 425332 w 734307"/>
                <a:gd name="connsiteY29" fmla="*/ 493323 h 788699"/>
                <a:gd name="connsiteX30" fmla="*/ 411734 w 734307"/>
                <a:gd name="connsiteY30" fmla="*/ 531398 h 788699"/>
                <a:gd name="connsiteX31" fmla="*/ 376378 w 734307"/>
                <a:gd name="connsiteY31" fmla="*/ 547716 h 788699"/>
                <a:gd name="connsiteX32" fmla="*/ 319265 w 734307"/>
                <a:gd name="connsiteY32" fmla="*/ 525959 h 788699"/>
                <a:gd name="connsiteX33" fmla="*/ 289349 w 734307"/>
                <a:gd name="connsiteY33" fmla="*/ 455248 h 788699"/>
                <a:gd name="connsiteX34" fmla="*/ 273031 w 734307"/>
                <a:gd name="connsiteY34" fmla="*/ 373658 h 788699"/>
                <a:gd name="connsiteX35" fmla="*/ 262153 w 734307"/>
                <a:gd name="connsiteY35" fmla="*/ 316545 h 788699"/>
                <a:gd name="connsiteX36" fmla="*/ 245835 w 734307"/>
                <a:gd name="connsiteY36" fmla="*/ 237675 h 788699"/>
                <a:gd name="connsiteX37" fmla="*/ 234956 w 734307"/>
                <a:gd name="connsiteY37" fmla="*/ 196881 h 788699"/>
                <a:gd name="connsiteX38" fmla="*/ 232236 w 734307"/>
                <a:gd name="connsiteY38" fmla="*/ 191441 h 788699"/>
                <a:gd name="connsiteX39" fmla="*/ 226797 w 734307"/>
                <a:gd name="connsiteY39" fmla="*/ 207759 h 788699"/>
                <a:gd name="connsiteX40" fmla="*/ 226797 w 734307"/>
                <a:gd name="connsiteY40" fmla="*/ 232236 h 788699"/>
                <a:gd name="connsiteX41" fmla="*/ 224077 w 734307"/>
                <a:gd name="connsiteY41" fmla="*/ 267592 h 788699"/>
                <a:gd name="connsiteX42" fmla="*/ 221358 w 734307"/>
                <a:gd name="connsiteY42" fmla="*/ 311106 h 788699"/>
                <a:gd name="connsiteX43" fmla="*/ 218638 w 734307"/>
                <a:gd name="connsiteY43" fmla="*/ 360060 h 788699"/>
                <a:gd name="connsiteX44" fmla="*/ 215919 w 734307"/>
                <a:gd name="connsiteY44" fmla="*/ 398135 h 788699"/>
                <a:gd name="connsiteX45" fmla="*/ 213199 w 734307"/>
                <a:gd name="connsiteY45" fmla="*/ 430771 h 788699"/>
                <a:gd name="connsiteX46" fmla="*/ 213199 w 734307"/>
                <a:gd name="connsiteY46" fmla="*/ 455248 h 788699"/>
                <a:gd name="connsiteX47" fmla="*/ 213199 w 734307"/>
                <a:gd name="connsiteY47" fmla="*/ 477005 h 788699"/>
                <a:gd name="connsiteX48" fmla="*/ 207759 w 734307"/>
                <a:gd name="connsiteY48" fmla="*/ 520520 h 788699"/>
                <a:gd name="connsiteX49" fmla="*/ 196881 w 734307"/>
                <a:gd name="connsiteY49" fmla="*/ 610268 h 788699"/>
                <a:gd name="connsiteX50" fmla="*/ 194161 w 734307"/>
                <a:gd name="connsiteY50" fmla="*/ 653783 h 788699"/>
                <a:gd name="connsiteX51" fmla="*/ 191441 w 734307"/>
                <a:gd name="connsiteY51" fmla="*/ 667381 h 788699"/>
                <a:gd name="connsiteX52" fmla="*/ 243115 w 734307"/>
                <a:gd name="connsiteY52" fmla="*/ 667381 h 788699"/>
                <a:gd name="connsiteX53" fmla="*/ 273031 w 734307"/>
                <a:gd name="connsiteY53" fmla="*/ 683699 h 788699"/>
                <a:gd name="connsiteX54" fmla="*/ 262153 w 734307"/>
                <a:gd name="connsiteY54" fmla="*/ 697297 h 788699"/>
                <a:gd name="connsiteX55" fmla="*/ 248554 w 734307"/>
                <a:gd name="connsiteY55" fmla="*/ 705456 h 788699"/>
                <a:gd name="connsiteX56" fmla="*/ 232236 w 734307"/>
                <a:gd name="connsiteY56" fmla="*/ 708176 h 788699"/>
                <a:gd name="connsiteX57" fmla="*/ 166965 w 734307"/>
                <a:gd name="connsiteY57" fmla="*/ 708176 h 788699"/>
                <a:gd name="connsiteX58" fmla="*/ 109852 w 734307"/>
                <a:gd name="connsiteY58" fmla="*/ 708176 h 788699"/>
                <a:gd name="connsiteX59" fmla="*/ 90814 w 734307"/>
                <a:gd name="connsiteY59" fmla="*/ 708176 h 788699"/>
                <a:gd name="connsiteX60" fmla="*/ 69057 w 734307"/>
                <a:gd name="connsiteY60" fmla="*/ 702736 h 788699"/>
                <a:gd name="connsiteX61" fmla="*/ 58178 w 734307"/>
                <a:gd name="connsiteY61" fmla="*/ 686418 h 788699"/>
                <a:gd name="connsiteX62" fmla="*/ 60898 w 734307"/>
                <a:gd name="connsiteY62" fmla="*/ 678259 h 788699"/>
                <a:gd name="connsiteX63" fmla="*/ 77216 w 734307"/>
                <a:gd name="connsiteY63" fmla="*/ 670101 h 788699"/>
                <a:gd name="connsiteX64" fmla="*/ 126170 w 734307"/>
                <a:gd name="connsiteY64" fmla="*/ 664661 h 788699"/>
                <a:gd name="connsiteX65" fmla="*/ 142487 w 734307"/>
                <a:gd name="connsiteY65" fmla="*/ 664661 h 788699"/>
                <a:gd name="connsiteX66" fmla="*/ 147927 w 734307"/>
                <a:gd name="connsiteY66" fmla="*/ 588511 h 788699"/>
                <a:gd name="connsiteX67" fmla="*/ 153366 w 734307"/>
                <a:gd name="connsiteY67" fmla="*/ 493323 h 788699"/>
                <a:gd name="connsiteX68" fmla="*/ 156086 w 734307"/>
                <a:gd name="connsiteY68" fmla="*/ 411733 h 788699"/>
                <a:gd name="connsiteX69" fmla="*/ 161525 w 734307"/>
                <a:gd name="connsiteY69" fmla="*/ 297508 h 788699"/>
                <a:gd name="connsiteX70" fmla="*/ 166965 w 734307"/>
                <a:gd name="connsiteY70" fmla="*/ 240395 h 788699"/>
                <a:gd name="connsiteX71" fmla="*/ 177843 w 734307"/>
                <a:gd name="connsiteY71" fmla="*/ 161525 h 788699"/>
                <a:gd name="connsiteX72" fmla="*/ 183282 w 734307"/>
                <a:gd name="connsiteY72" fmla="*/ 118011 h 788699"/>
                <a:gd name="connsiteX73" fmla="*/ 183282 w 734307"/>
                <a:gd name="connsiteY73" fmla="*/ 115291 h 788699"/>
                <a:gd name="connsiteX74" fmla="*/ 161525 w 734307"/>
                <a:gd name="connsiteY74" fmla="*/ 115291 h 788699"/>
                <a:gd name="connsiteX75" fmla="*/ 137048 w 734307"/>
                <a:gd name="connsiteY75" fmla="*/ 115291 h 788699"/>
                <a:gd name="connsiteX76" fmla="*/ 109852 w 734307"/>
                <a:gd name="connsiteY76" fmla="*/ 109851 h 788699"/>
                <a:gd name="connsiteX77" fmla="*/ 93534 w 734307"/>
                <a:gd name="connsiteY77" fmla="*/ 93534 h 788699"/>
                <a:gd name="connsiteX78" fmla="*/ 98973 w 734307"/>
                <a:gd name="connsiteY78" fmla="*/ 85375 h 788699"/>
                <a:gd name="connsiteX79" fmla="*/ 120730 w 734307"/>
                <a:gd name="connsiteY79" fmla="*/ 77216 h 788699"/>
                <a:gd name="connsiteX80" fmla="*/ 172404 w 734307"/>
                <a:gd name="connsiteY80" fmla="*/ 71776 h 788699"/>
                <a:gd name="connsiteX81" fmla="*/ 234956 w 734307"/>
                <a:gd name="connsiteY81" fmla="*/ 69057 h 788699"/>
                <a:gd name="connsiteX82" fmla="*/ 243115 w 734307"/>
                <a:gd name="connsiteY82" fmla="*/ 69057 h 788699"/>
                <a:gd name="connsiteX83" fmla="*/ 270312 w 734307"/>
                <a:gd name="connsiteY83" fmla="*/ 74496 h 788699"/>
                <a:gd name="connsiteX84" fmla="*/ 308387 w 734307"/>
                <a:gd name="connsiteY84" fmla="*/ 123450 h 788699"/>
                <a:gd name="connsiteX85" fmla="*/ 332864 w 734307"/>
                <a:gd name="connsiteY85" fmla="*/ 202320 h 788699"/>
                <a:gd name="connsiteX86" fmla="*/ 338303 w 734307"/>
                <a:gd name="connsiteY86" fmla="*/ 237675 h 788699"/>
                <a:gd name="connsiteX87" fmla="*/ 349182 w 734307"/>
                <a:gd name="connsiteY87" fmla="*/ 281190 h 788699"/>
                <a:gd name="connsiteX88" fmla="*/ 357341 w 734307"/>
                <a:gd name="connsiteY88" fmla="*/ 316545 h 788699"/>
                <a:gd name="connsiteX89" fmla="*/ 365500 w 734307"/>
                <a:gd name="connsiteY89" fmla="*/ 351901 h 788699"/>
                <a:gd name="connsiteX90" fmla="*/ 376378 w 734307"/>
                <a:gd name="connsiteY90" fmla="*/ 389976 h 788699"/>
                <a:gd name="connsiteX91" fmla="*/ 387257 w 734307"/>
                <a:gd name="connsiteY91" fmla="*/ 414453 h 788699"/>
                <a:gd name="connsiteX92" fmla="*/ 398136 w 734307"/>
                <a:gd name="connsiteY92" fmla="*/ 376378 h 788699"/>
                <a:gd name="connsiteX93" fmla="*/ 406295 w 734307"/>
                <a:gd name="connsiteY93" fmla="*/ 332863 h 788699"/>
                <a:gd name="connsiteX94" fmla="*/ 425332 w 734307"/>
                <a:gd name="connsiteY94" fmla="*/ 243115 h 788699"/>
                <a:gd name="connsiteX95" fmla="*/ 444370 w 734307"/>
                <a:gd name="connsiteY95" fmla="*/ 150646 h 788699"/>
                <a:gd name="connsiteX96" fmla="*/ 477006 w 734307"/>
                <a:gd name="connsiteY96" fmla="*/ 79935 h 788699"/>
                <a:gd name="connsiteX97" fmla="*/ 523240 w 734307"/>
                <a:gd name="connsiteY97" fmla="*/ 58178 h 788699"/>
                <a:gd name="connsiteX98" fmla="*/ 544997 w 734307"/>
                <a:gd name="connsiteY98" fmla="*/ 63617 h 788699"/>
                <a:gd name="connsiteX99" fmla="*/ 612988 w 734307"/>
                <a:gd name="connsiteY99" fmla="*/ 63617 h 788699"/>
                <a:gd name="connsiteX100" fmla="*/ 651064 w 734307"/>
                <a:gd name="connsiteY100" fmla="*/ 79935 h 788699"/>
                <a:gd name="connsiteX101" fmla="*/ 645624 w 734307"/>
                <a:gd name="connsiteY101" fmla="*/ 96253 h 788699"/>
                <a:gd name="connsiteX102" fmla="*/ 629307 w 734307"/>
                <a:gd name="connsiteY102" fmla="*/ 104412 h 788699"/>
                <a:gd name="connsiteX103" fmla="*/ 607549 w 734307"/>
                <a:gd name="connsiteY103" fmla="*/ 107132 h 788699"/>
                <a:gd name="connsiteX104" fmla="*/ 580353 w 734307"/>
                <a:gd name="connsiteY104" fmla="*/ 107132 h 788699"/>
                <a:gd name="connsiteX105" fmla="*/ 583072 w 734307"/>
                <a:gd name="connsiteY105" fmla="*/ 115291 h 788699"/>
                <a:gd name="connsiteX106" fmla="*/ 588512 w 734307"/>
                <a:gd name="connsiteY106" fmla="*/ 156086 h 788699"/>
                <a:gd name="connsiteX107" fmla="*/ 593951 w 734307"/>
                <a:gd name="connsiteY107" fmla="*/ 196881 h 788699"/>
                <a:gd name="connsiteX108" fmla="*/ 599390 w 734307"/>
                <a:gd name="connsiteY108" fmla="*/ 226797 h 788699"/>
                <a:gd name="connsiteX109" fmla="*/ 599390 w 734307"/>
                <a:gd name="connsiteY109" fmla="*/ 232236 h 788699"/>
                <a:gd name="connsiteX110" fmla="*/ 599390 w 734307"/>
                <a:gd name="connsiteY110" fmla="*/ 240395 h 788699"/>
                <a:gd name="connsiteX111" fmla="*/ 602110 w 734307"/>
                <a:gd name="connsiteY111" fmla="*/ 270311 h 788699"/>
                <a:gd name="connsiteX112" fmla="*/ 607549 w 734307"/>
                <a:gd name="connsiteY112" fmla="*/ 308386 h 788699"/>
                <a:gd name="connsiteX113" fmla="*/ 607549 w 734307"/>
                <a:gd name="connsiteY113" fmla="*/ 319265 h 788699"/>
                <a:gd name="connsiteX114" fmla="*/ 612988 w 734307"/>
                <a:gd name="connsiteY114" fmla="*/ 335583 h 788699"/>
                <a:gd name="connsiteX115" fmla="*/ 612988 w 734307"/>
                <a:gd name="connsiteY115" fmla="*/ 346462 h 788699"/>
                <a:gd name="connsiteX116" fmla="*/ 612988 w 734307"/>
                <a:gd name="connsiteY116" fmla="*/ 370939 h 788699"/>
                <a:gd name="connsiteX117" fmla="*/ 612988 w 734307"/>
                <a:gd name="connsiteY117" fmla="*/ 395415 h 788699"/>
                <a:gd name="connsiteX118" fmla="*/ 615708 w 734307"/>
                <a:gd name="connsiteY118" fmla="*/ 422612 h 788699"/>
                <a:gd name="connsiteX119" fmla="*/ 618428 w 734307"/>
                <a:gd name="connsiteY119" fmla="*/ 441650 h 788699"/>
                <a:gd name="connsiteX120" fmla="*/ 618428 w 734307"/>
                <a:gd name="connsiteY120" fmla="*/ 455248 h 788699"/>
                <a:gd name="connsiteX121" fmla="*/ 621147 w 734307"/>
                <a:gd name="connsiteY121" fmla="*/ 463407 h 788699"/>
                <a:gd name="connsiteX122" fmla="*/ 626587 w 734307"/>
                <a:gd name="connsiteY122" fmla="*/ 482444 h 788699"/>
                <a:gd name="connsiteX123" fmla="*/ 629307 w 734307"/>
                <a:gd name="connsiteY123" fmla="*/ 517800 h 788699"/>
                <a:gd name="connsiteX124" fmla="*/ 634746 w 734307"/>
                <a:gd name="connsiteY124" fmla="*/ 561314 h 788699"/>
                <a:gd name="connsiteX125" fmla="*/ 634746 w 734307"/>
                <a:gd name="connsiteY125" fmla="*/ 566754 h 788699"/>
                <a:gd name="connsiteX126" fmla="*/ 634746 w 734307"/>
                <a:gd name="connsiteY126" fmla="*/ 583072 h 788699"/>
                <a:gd name="connsiteX127" fmla="*/ 637466 w 734307"/>
                <a:gd name="connsiteY127" fmla="*/ 607548 h 788699"/>
                <a:gd name="connsiteX128" fmla="*/ 640185 w 734307"/>
                <a:gd name="connsiteY128" fmla="*/ 618427 h 788699"/>
                <a:gd name="connsiteX129" fmla="*/ 640185 w 734307"/>
                <a:gd name="connsiteY129" fmla="*/ 632025 h 788699"/>
                <a:gd name="connsiteX130" fmla="*/ 640185 w 734307"/>
                <a:gd name="connsiteY130" fmla="*/ 640184 h 788699"/>
                <a:gd name="connsiteX131" fmla="*/ 642905 w 734307"/>
                <a:gd name="connsiteY131" fmla="*/ 659222 h 788699"/>
                <a:gd name="connsiteX132" fmla="*/ 642905 w 734307"/>
                <a:gd name="connsiteY132" fmla="*/ 664661 h 788699"/>
                <a:gd name="connsiteX133" fmla="*/ 653783 w 734307"/>
                <a:gd name="connsiteY133" fmla="*/ 678259 h 788699"/>
                <a:gd name="connsiteX134" fmla="*/ 653783 w 734307"/>
                <a:gd name="connsiteY134" fmla="*/ 678259 h 7886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</a:cxnLst>
              <a:rect l="l" t="t" r="r" b="b"/>
              <a:pathLst>
                <a:path w="734307" h="788699">
                  <a:moveTo>
                    <a:pt x="653783" y="678259"/>
                  </a:moveTo>
                  <a:cubicBezTo>
                    <a:pt x="667382" y="678259"/>
                    <a:pt x="691859" y="678259"/>
                    <a:pt x="691859" y="694577"/>
                  </a:cubicBezTo>
                  <a:cubicBezTo>
                    <a:pt x="691859" y="702736"/>
                    <a:pt x="689139" y="705456"/>
                    <a:pt x="686419" y="710895"/>
                  </a:cubicBezTo>
                  <a:cubicBezTo>
                    <a:pt x="683700" y="716335"/>
                    <a:pt x="675541" y="719054"/>
                    <a:pt x="670101" y="719054"/>
                  </a:cubicBezTo>
                  <a:cubicBezTo>
                    <a:pt x="661942" y="721774"/>
                    <a:pt x="653783" y="721774"/>
                    <a:pt x="648344" y="721774"/>
                  </a:cubicBezTo>
                  <a:cubicBezTo>
                    <a:pt x="645624" y="721774"/>
                    <a:pt x="634746" y="721774"/>
                    <a:pt x="618428" y="721774"/>
                  </a:cubicBezTo>
                  <a:cubicBezTo>
                    <a:pt x="604829" y="729933"/>
                    <a:pt x="588512" y="735372"/>
                    <a:pt x="572194" y="735372"/>
                  </a:cubicBezTo>
                  <a:cubicBezTo>
                    <a:pt x="564035" y="735372"/>
                    <a:pt x="553156" y="732653"/>
                    <a:pt x="544997" y="729933"/>
                  </a:cubicBezTo>
                  <a:cubicBezTo>
                    <a:pt x="539558" y="727213"/>
                    <a:pt x="536838" y="724494"/>
                    <a:pt x="534119" y="721774"/>
                  </a:cubicBezTo>
                  <a:cubicBezTo>
                    <a:pt x="520520" y="721774"/>
                    <a:pt x="509641" y="721774"/>
                    <a:pt x="496043" y="721774"/>
                  </a:cubicBezTo>
                  <a:cubicBezTo>
                    <a:pt x="487884" y="721774"/>
                    <a:pt x="479725" y="721774"/>
                    <a:pt x="471566" y="721774"/>
                  </a:cubicBezTo>
                  <a:cubicBezTo>
                    <a:pt x="463407" y="721774"/>
                    <a:pt x="452529" y="721774"/>
                    <a:pt x="444370" y="716335"/>
                  </a:cubicBezTo>
                  <a:cubicBezTo>
                    <a:pt x="436211" y="713615"/>
                    <a:pt x="428052" y="705456"/>
                    <a:pt x="428052" y="700017"/>
                  </a:cubicBezTo>
                  <a:cubicBezTo>
                    <a:pt x="428052" y="697297"/>
                    <a:pt x="428052" y="694577"/>
                    <a:pt x="433491" y="691858"/>
                  </a:cubicBezTo>
                  <a:cubicBezTo>
                    <a:pt x="438930" y="689138"/>
                    <a:pt x="449809" y="686418"/>
                    <a:pt x="455248" y="683699"/>
                  </a:cubicBezTo>
                  <a:cubicBezTo>
                    <a:pt x="474286" y="680979"/>
                    <a:pt x="498763" y="678259"/>
                    <a:pt x="506922" y="678259"/>
                  </a:cubicBezTo>
                  <a:cubicBezTo>
                    <a:pt x="506922" y="678259"/>
                    <a:pt x="509641" y="678259"/>
                    <a:pt x="509641" y="678259"/>
                  </a:cubicBezTo>
                  <a:cubicBezTo>
                    <a:pt x="509641" y="672820"/>
                    <a:pt x="506922" y="670101"/>
                    <a:pt x="506922" y="664661"/>
                  </a:cubicBezTo>
                  <a:cubicBezTo>
                    <a:pt x="501483" y="640184"/>
                    <a:pt x="501483" y="612988"/>
                    <a:pt x="498763" y="580352"/>
                  </a:cubicBezTo>
                  <a:cubicBezTo>
                    <a:pt x="496043" y="547716"/>
                    <a:pt x="498763" y="512361"/>
                    <a:pt x="496043" y="479725"/>
                  </a:cubicBezTo>
                  <a:cubicBezTo>
                    <a:pt x="493324" y="449808"/>
                    <a:pt x="493324" y="419892"/>
                    <a:pt x="493324" y="389976"/>
                  </a:cubicBezTo>
                  <a:cubicBezTo>
                    <a:pt x="493324" y="360060"/>
                    <a:pt x="490604" y="332863"/>
                    <a:pt x="490604" y="302947"/>
                  </a:cubicBezTo>
                  <a:cubicBezTo>
                    <a:pt x="487884" y="275751"/>
                    <a:pt x="487884" y="240395"/>
                    <a:pt x="487884" y="229516"/>
                  </a:cubicBezTo>
                  <a:cubicBezTo>
                    <a:pt x="487884" y="224077"/>
                    <a:pt x="487884" y="221357"/>
                    <a:pt x="485165" y="221357"/>
                  </a:cubicBezTo>
                  <a:cubicBezTo>
                    <a:pt x="485165" y="221357"/>
                    <a:pt x="482445" y="224077"/>
                    <a:pt x="482445" y="226797"/>
                  </a:cubicBezTo>
                  <a:cubicBezTo>
                    <a:pt x="479725" y="237675"/>
                    <a:pt x="479725" y="251274"/>
                    <a:pt x="477006" y="262152"/>
                  </a:cubicBezTo>
                  <a:cubicBezTo>
                    <a:pt x="471566" y="289349"/>
                    <a:pt x="466127" y="316545"/>
                    <a:pt x="460688" y="341022"/>
                  </a:cubicBezTo>
                  <a:cubicBezTo>
                    <a:pt x="455248" y="365499"/>
                    <a:pt x="447090" y="392696"/>
                    <a:pt x="444370" y="417173"/>
                  </a:cubicBezTo>
                  <a:cubicBezTo>
                    <a:pt x="441650" y="430771"/>
                    <a:pt x="438930" y="441650"/>
                    <a:pt x="436211" y="455248"/>
                  </a:cubicBezTo>
                  <a:cubicBezTo>
                    <a:pt x="433491" y="468846"/>
                    <a:pt x="428052" y="479725"/>
                    <a:pt x="425332" y="493323"/>
                  </a:cubicBezTo>
                  <a:cubicBezTo>
                    <a:pt x="422612" y="506921"/>
                    <a:pt x="419893" y="520520"/>
                    <a:pt x="411734" y="531398"/>
                  </a:cubicBezTo>
                  <a:cubicBezTo>
                    <a:pt x="406295" y="539557"/>
                    <a:pt x="395416" y="547716"/>
                    <a:pt x="376378" y="547716"/>
                  </a:cubicBezTo>
                  <a:cubicBezTo>
                    <a:pt x="357341" y="547716"/>
                    <a:pt x="335583" y="539557"/>
                    <a:pt x="319265" y="525959"/>
                  </a:cubicBezTo>
                  <a:cubicBezTo>
                    <a:pt x="300228" y="506921"/>
                    <a:pt x="294788" y="479725"/>
                    <a:pt x="289349" y="455248"/>
                  </a:cubicBezTo>
                  <a:cubicBezTo>
                    <a:pt x="283910" y="428051"/>
                    <a:pt x="278470" y="400855"/>
                    <a:pt x="273031" y="373658"/>
                  </a:cubicBezTo>
                  <a:cubicBezTo>
                    <a:pt x="273031" y="368219"/>
                    <a:pt x="267592" y="346462"/>
                    <a:pt x="262153" y="316545"/>
                  </a:cubicBezTo>
                  <a:cubicBezTo>
                    <a:pt x="256713" y="292068"/>
                    <a:pt x="251274" y="262152"/>
                    <a:pt x="245835" y="237675"/>
                  </a:cubicBezTo>
                  <a:cubicBezTo>
                    <a:pt x="240395" y="218638"/>
                    <a:pt x="237675" y="205039"/>
                    <a:pt x="234956" y="196881"/>
                  </a:cubicBezTo>
                  <a:cubicBezTo>
                    <a:pt x="232236" y="191441"/>
                    <a:pt x="232236" y="191441"/>
                    <a:pt x="232236" y="191441"/>
                  </a:cubicBezTo>
                  <a:cubicBezTo>
                    <a:pt x="229517" y="191441"/>
                    <a:pt x="229517" y="196881"/>
                    <a:pt x="226797" y="207759"/>
                  </a:cubicBezTo>
                  <a:cubicBezTo>
                    <a:pt x="226797" y="215918"/>
                    <a:pt x="226797" y="229516"/>
                    <a:pt x="226797" y="232236"/>
                  </a:cubicBezTo>
                  <a:cubicBezTo>
                    <a:pt x="226797" y="243115"/>
                    <a:pt x="224077" y="256713"/>
                    <a:pt x="224077" y="267592"/>
                  </a:cubicBezTo>
                  <a:cubicBezTo>
                    <a:pt x="224077" y="278470"/>
                    <a:pt x="224077" y="294788"/>
                    <a:pt x="221358" y="311106"/>
                  </a:cubicBezTo>
                  <a:cubicBezTo>
                    <a:pt x="221358" y="327424"/>
                    <a:pt x="218638" y="343742"/>
                    <a:pt x="218638" y="360060"/>
                  </a:cubicBezTo>
                  <a:cubicBezTo>
                    <a:pt x="218638" y="373658"/>
                    <a:pt x="215919" y="384537"/>
                    <a:pt x="215919" y="398135"/>
                  </a:cubicBezTo>
                  <a:cubicBezTo>
                    <a:pt x="215919" y="409014"/>
                    <a:pt x="213199" y="419892"/>
                    <a:pt x="213199" y="430771"/>
                  </a:cubicBezTo>
                  <a:cubicBezTo>
                    <a:pt x="213199" y="438930"/>
                    <a:pt x="213199" y="447089"/>
                    <a:pt x="213199" y="455248"/>
                  </a:cubicBezTo>
                  <a:cubicBezTo>
                    <a:pt x="213199" y="463407"/>
                    <a:pt x="213199" y="471566"/>
                    <a:pt x="213199" y="477005"/>
                  </a:cubicBezTo>
                  <a:cubicBezTo>
                    <a:pt x="210479" y="490603"/>
                    <a:pt x="207759" y="506921"/>
                    <a:pt x="207759" y="520520"/>
                  </a:cubicBezTo>
                  <a:cubicBezTo>
                    <a:pt x="202320" y="550436"/>
                    <a:pt x="199600" y="580352"/>
                    <a:pt x="196881" y="610268"/>
                  </a:cubicBezTo>
                  <a:cubicBezTo>
                    <a:pt x="196881" y="623866"/>
                    <a:pt x="196881" y="640184"/>
                    <a:pt x="194161" y="653783"/>
                  </a:cubicBezTo>
                  <a:cubicBezTo>
                    <a:pt x="194161" y="659222"/>
                    <a:pt x="194161" y="661942"/>
                    <a:pt x="191441" y="667381"/>
                  </a:cubicBezTo>
                  <a:cubicBezTo>
                    <a:pt x="213199" y="667381"/>
                    <a:pt x="232236" y="667381"/>
                    <a:pt x="243115" y="667381"/>
                  </a:cubicBezTo>
                  <a:cubicBezTo>
                    <a:pt x="253994" y="667381"/>
                    <a:pt x="273031" y="670101"/>
                    <a:pt x="273031" y="683699"/>
                  </a:cubicBezTo>
                  <a:cubicBezTo>
                    <a:pt x="273031" y="691858"/>
                    <a:pt x="267592" y="691858"/>
                    <a:pt x="262153" y="697297"/>
                  </a:cubicBezTo>
                  <a:cubicBezTo>
                    <a:pt x="259433" y="702736"/>
                    <a:pt x="253994" y="705456"/>
                    <a:pt x="248554" y="705456"/>
                  </a:cubicBezTo>
                  <a:cubicBezTo>
                    <a:pt x="240395" y="708176"/>
                    <a:pt x="234956" y="708176"/>
                    <a:pt x="232236" y="708176"/>
                  </a:cubicBezTo>
                  <a:cubicBezTo>
                    <a:pt x="226797" y="708176"/>
                    <a:pt x="175124" y="708176"/>
                    <a:pt x="166965" y="708176"/>
                  </a:cubicBezTo>
                  <a:cubicBezTo>
                    <a:pt x="156086" y="708176"/>
                    <a:pt x="120730" y="708176"/>
                    <a:pt x="109852" y="708176"/>
                  </a:cubicBezTo>
                  <a:cubicBezTo>
                    <a:pt x="104412" y="708176"/>
                    <a:pt x="96253" y="708176"/>
                    <a:pt x="90814" y="708176"/>
                  </a:cubicBezTo>
                  <a:cubicBezTo>
                    <a:pt x="85375" y="708176"/>
                    <a:pt x="77216" y="705456"/>
                    <a:pt x="69057" y="702736"/>
                  </a:cubicBezTo>
                  <a:cubicBezTo>
                    <a:pt x="63617" y="700017"/>
                    <a:pt x="58178" y="691858"/>
                    <a:pt x="58178" y="686418"/>
                  </a:cubicBezTo>
                  <a:cubicBezTo>
                    <a:pt x="58178" y="683699"/>
                    <a:pt x="58178" y="680979"/>
                    <a:pt x="60898" y="678259"/>
                  </a:cubicBezTo>
                  <a:cubicBezTo>
                    <a:pt x="63617" y="675540"/>
                    <a:pt x="71777" y="672820"/>
                    <a:pt x="77216" y="670101"/>
                  </a:cubicBezTo>
                  <a:cubicBezTo>
                    <a:pt x="90814" y="667381"/>
                    <a:pt x="120730" y="664661"/>
                    <a:pt x="126170" y="664661"/>
                  </a:cubicBezTo>
                  <a:cubicBezTo>
                    <a:pt x="128889" y="664661"/>
                    <a:pt x="134329" y="664661"/>
                    <a:pt x="142487" y="664661"/>
                  </a:cubicBezTo>
                  <a:cubicBezTo>
                    <a:pt x="142487" y="640184"/>
                    <a:pt x="147927" y="612988"/>
                    <a:pt x="147927" y="588511"/>
                  </a:cubicBezTo>
                  <a:cubicBezTo>
                    <a:pt x="150646" y="555875"/>
                    <a:pt x="153366" y="523239"/>
                    <a:pt x="153366" y="493323"/>
                  </a:cubicBezTo>
                  <a:cubicBezTo>
                    <a:pt x="153366" y="466126"/>
                    <a:pt x="156086" y="438930"/>
                    <a:pt x="156086" y="411733"/>
                  </a:cubicBezTo>
                  <a:cubicBezTo>
                    <a:pt x="158806" y="373658"/>
                    <a:pt x="158806" y="335583"/>
                    <a:pt x="161525" y="297508"/>
                  </a:cubicBezTo>
                  <a:cubicBezTo>
                    <a:pt x="161525" y="278470"/>
                    <a:pt x="164245" y="259433"/>
                    <a:pt x="166965" y="240395"/>
                  </a:cubicBezTo>
                  <a:cubicBezTo>
                    <a:pt x="169684" y="210479"/>
                    <a:pt x="172404" y="191441"/>
                    <a:pt x="177843" y="161525"/>
                  </a:cubicBezTo>
                  <a:cubicBezTo>
                    <a:pt x="180563" y="147927"/>
                    <a:pt x="180563" y="131609"/>
                    <a:pt x="183282" y="118011"/>
                  </a:cubicBezTo>
                  <a:cubicBezTo>
                    <a:pt x="183282" y="118011"/>
                    <a:pt x="183282" y="115291"/>
                    <a:pt x="183282" y="115291"/>
                  </a:cubicBezTo>
                  <a:cubicBezTo>
                    <a:pt x="177843" y="115291"/>
                    <a:pt x="172404" y="115291"/>
                    <a:pt x="161525" y="115291"/>
                  </a:cubicBezTo>
                  <a:cubicBezTo>
                    <a:pt x="153366" y="115291"/>
                    <a:pt x="145207" y="115291"/>
                    <a:pt x="137048" y="115291"/>
                  </a:cubicBezTo>
                  <a:cubicBezTo>
                    <a:pt x="128889" y="115291"/>
                    <a:pt x="118011" y="115291"/>
                    <a:pt x="109852" y="109851"/>
                  </a:cubicBezTo>
                  <a:cubicBezTo>
                    <a:pt x="101693" y="107132"/>
                    <a:pt x="93534" y="98973"/>
                    <a:pt x="93534" y="93534"/>
                  </a:cubicBezTo>
                  <a:cubicBezTo>
                    <a:pt x="93534" y="90814"/>
                    <a:pt x="93534" y="88094"/>
                    <a:pt x="98973" y="85375"/>
                  </a:cubicBezTo>
                  <a:cubicBezTo>
                    <a:pt x="104412" y="82655"/>
                    <a:pt x="115291" y="79935"/>
                    <a:pt x="120730" y="77216"/>
                  </a:cubicBezTo>
                  <a:cubicBezTo>
                    <a:pt x="139768" y="74496"/>
                    <a:pt x="164245" y="71776"/>
                    <a:pt x="172404" y="71776"/>
                  </a:cubicBezTo>
                  <a:cubicBezTo>
                    <a:pt x="194161" y="71776"/>
                    <a:pt x="210479" y="69057"/>
                    <a:pt x="234956" y="69057"/>
                  </a:cubicBezTo>
                  <a:cubicBezTo>
                    <a:pt x="237675" y="69057"/>
                    <a:pt x="240395" y="69057"/>
                    <a:pt x="243115" y="69057"/>
                  </a:cubicBezTo>
                  <a:cubicBezTo>
                    <a:pt x="251274" y="69057"/>
                    <a:pt x="262153" y="69057"/>
                    <a:pt x="270312" y="74496"/>
                  </a:cubicBezTo>
                  <a:cubicBezTo>
                    <a:pt x="283910" y="82655"/>
                    <a:pt x="300228" y="96253"/>
                    <a:pt x="308387" y="123450"/>
                  </a:cubicBezTo>
                  <a:cubicBezTo>
                    <a:pt x="316546" y="147927"/>
                    <a:pt x="327424" y="175123"/>
                    <a:pt x="332864" y="202320"/>
                  </a:cubicBezTo>
                  <a:cubicBezTo>
                    <a:pt x="335583" y="213198"/>
                    <a:pt x="335583" y="226797"/>
                    <a:pt x="338303" y="237675"/>
                  </a:cubicBezTo>
                  <a:cubicBezTo>
                    <a:pt x="343742" y="251274"/>
                    <a:pt x="346462" y="264872"/>
                    <a:pt x="349182" y="281190"/>
                  </a:cubicBezTo>
                  <a:cubicBezTo>
                    <a:pt x="351901" y="292068"/>
                    <a:pt x="351901" y="305667"/>
                    <a:pt x="357341" y="316545"/>
                  </a:cubicBezTo>
                  <a:cubicBezTo>
                    <a:pt x="362780" y="327424"/>
                    <a:pt x="362780" y="338303"/>
                    <a:pt x="365500" y="351901"/>
                  </a:cubicBezTo>
                  <a:cubicBezTo>
                    <a:pt x="365500" y="357340"/>
                    <a:pt x="373658" y="373658"/>
                    <a:pt x="376378" y="389976"/>
                  </a:cubicBezTo>
                  <a:cubicBezTo>
                    <a:pt x="381817" y="403574"/>
                    <a:pt x="384537" y="414453"/>
                    <a:pt x="387257" y="414453"/>
                  </a:cubicBezTo>
                  <a:cubicBezTo>
                    <a:pt x="392696" y="414453"/>
                    <a:pt x="395416" y="381817"/>
                    <a:pt x="398136" y="376378"/>
                  </a:cubicBezTo>
                  <a:cubicBezTo>
                    <a:pt x="400855" y="362779"/>
                    <a:pt x="403575" y="346462"/>
                    <a:pt x="406295" y="332863"/>
                  </a:cubicBezTo>
                  <a:cubicBezTo>
                    <a:pt x="411734" y="302947"/>
                    <a:pt x="417173" y="273031"/>
                    <a:pt x="425332" y="243115"/>
                  </a:cubicBezTo>
                  <a:cubicBezTo>
                    <a:pt x="430771" y="213198"/>
                    <a:pt x="436211" y="180563"/>
                    <a:pt x="444370" y="150646"/>
                  </a:cubicBezTo>
                  <a:cubicBezTo>
                    <a:pt x="449809" y="126170"/>
                    <a:pt x="460688" y="98973"/>
                    <a:pt x="477006" y="79935"/>
                  </a:cubicBezTo>
                  <a:cubicBezTo>
                    <a:pt x="487884" y="66337"/>
                    <a:pt x="506922" y="58178"/>
                    <a:pt x="523240" y="58178"/>
                  </a:cubicBezTo>
                  <a:cubicBezTo>
                    <a:pt x="528679" y="58178"/>
                    <a:pt x="539558" y="58178"/>
                    <a:pt x="544997" y="63617"/>
                  </a:cubicBezTo>
                  <a:lnTo>
                    <a:pt x="612988" y="63617"/>
                  </a:lnTo>
                  <a:cubicBezTo>
                    <a:pt x="626587" y="63617"/>
                    <a:pt x="651064" y="63617"/>
                    <a:pt x="651064" y="79935"/>
                  </a:cubicBezTo>
                  <a:cubicBezTo>
                    <a:pt x="651064" y="88094"/>
                    <a:pt x="648344" y="88094"/>
                    <a:pt x="645624" y="96253"/>
                  </a:cubicBezTo>
                  <a:cubicBezTo>
                    <a:pt x="640185" y="101693"/>
                    <a:pt x="634746" y="104412"/>
                    <a:pt x="629307" y="104412"/>
                  </a:cubicBezTo>
                  <a:cubicBezTo>
                    <a:pt x="621147" y="107132"/>
                    <a:pt x="612988" y="107132"/>
                    <a:pt x="607549" y="107132"/>
                  </a:cubicBezTo>
                  <a:cubicBezTo>
                    <a:pt x="604829" y="107132"/>
                    <a:pt x="591231" y="107132"/>
                    <a:pt x="580353" y="107132"/>
                  </a:cubicBezTo>
                  <a:cubicBezTo>
                    <a:pt x="580353" y="109851"/>
                    <a:pt x="583072" y="112571"/>
                    <a:pt x="583072" y="115291"/>
                  </a:cubicBezTo>
                  <a:cubicBezTo>
                    <a:pt x="585792" y="128889"/>
                    <a:pt x="585792" y="142487"/>
                    <a:pt x="588512" y="156086"/>
                  </a:cubicBezTo>
                  <a:cubicBezTo>
                    <a:pt x="591231" y="169684"/>
                    <a:pt x="591231" y="183282"/>
                    <a:pt x="593951" y="196881"/>
                  </a:cubicBezTo>
                  <a:cubicBezTo>
                    <a:pt x="593951" y="207759"/>
                    <a:pt x="599390" y="215918"/>
                    <a:pt x="599390" y="226797"/>
                  </a:cubicBezTo>
                  <a:cubicBezTo>
                    <a:pt x="599390" y="229516"/>
                    <a:pt x="599390" y="229516"/>
                    <a:pt x="599390" y="232236"/>
                  </a:cubicBezTo>
                  <a:cubicBezTo>
                    <a:pt x="599390" y="234956"/>
                    <a:pt x="599390" y="237675"/>
                    <a:pt x="599390" y="240395"/>
                  </a:cubicBezTo>
                  <a:cubicBezTo>
                    <a:pt x="599390" y="251274"/>
                    <a:pt x="599390" y="259433"/>
                    <a:pt x="602110" y="270311"/>
                  </a:cubicBezTo>
                  <a:cubicBezTo>
                    <a:pt x="604829" y="283909"/>
                    <a:pt x="607549" y="294788"/>
                    <a:pt x="607549" y="308386"/>
                  </a:cubicBezTo>
                  <a:cubicBezTo>
                    <a:pt x="607549" y="311106"/>
                    <a:pt x="607549" y="316545"/>
                    <a:pt x="607549" y="319265"/>
                  </a:cubicBezTo>
                  <a:cubicBezTo>
                    <a:pt x="607549" y="324704"/>
                    <a:pt x="610269" y="330144"/>
                    <a:pt x="612988" y="335583"/>
                  </a:cubicBezTo>
                  <a:cubicBezTo>
                    <a:pt x="612988" y="338303"/>
                    <a:pt x="612988" y="343742"/>
                    <a:pt x="612988" y="346462"/>
                  </a:cubicBezTo>
                  <a:cubicBezTo>
                    <a:pt x="612988" y="354620"/>
                    <a:pt x="612988" y="362779"/>
                    <a:pt x="612988" y="370939"/>
                  </a:cubicBezTo>
                  <a:cubicBezTo>
                    <a:pt x="612988" y="379097"/>
                    <a:pt x="612988" y="387256"/>
                    <a:pt x="612988" y="395415"/>
                  </a:cubicBezTo>
                  <a:cubicBezTo>
                    <a:pt x="612988" y="403574"/>
                    <a:pt x="615708" y="414453"/>
                    <a:pt x="615708" y="422612"/>
                  </a:cubicBezTo>
                  <a:cubicBezTo>
                    <a:pt x="618428" y="430771"/>
                    <a:pt x="618428" y="436210"/>
                    <a:pt x="618428" y="441650"/>
                  </a:cubicBezTo>
                  <a:cubicBezTo>
                    <a:pt x="618428" y="444369"/>
                    <a:pt x="618428" y="449808"/>
                    <a:pt x="618428" y="455248"/>
                  </a:cubicBezTo>
                  <a:cubicBezTo>
                    <a:pt x="618428" y="460687"/>
                    <a:pt x="618428" y="460687"/>
                    <a:pt x="621147" y="463407"/>
                  </a:cubicBezTo>
                  <a:cubicBezTo>
                    <a:pt x="623867" y="471566"/>
                    <a:pt x="623867" y="477005"/>
                    <a:pt x="626587" y="482444"/>
                  </a:cubicBezTo>
                  <a:cubicBezTo>
                    <a:pt x="629307" y="493323"/>
                    <a:pt x="629307" y="506921"/>
                    <a:pt x="629307" y="517800"/>
                  </a:cubicBezTo>
                  <a:cubicBezTo>
                    <a:pt x="632026" y="534118"/>
                    <a:pt x="632026" y="547716"/>
                    <a:pt x="634746" y="561314"/>
                  </a:cubicBezTo>
                  <a:cubicBezTo>
                    <a:pt x="634746" y="564034"/>
                    <a:pt x="634746" y="564034"/>
                    <a:pt x="634746" y="566754"/>
                  </a:cubicBezTo>
                  <a:cubicBezTo>
                    <a:pt x="634746" y="572193"/>
                    <a:pt x="634746" y="577632"/>
                    <a:pt x="634746" y="583072"/>
                  </a:cubicBezTo>
                  <a:cubicBezTo>
                    <a:pt x="634746" y="596670"/>
                    <a:pt x="637466" y="602109"/>
                    <a:pt x="637466" y="607548"/>
                  </a:cubicBezTo>
                  <a:cubicBezTo>
                    <a:pt x="637466" y="610268"/>
                    <a:pt x="640185" y="615708"/>
                    <a:pt x="640185" y="618427"/>
                  </a:cubicBezTo>
                  <a:cubicBezTo>
                    <a:pt x="640185" y="623866"/>
                    <a:pt x="640185" y="629306"/>
                    <a:pt x="640185" y="632025"/>
                  </a:cubicBezTo>
                  <a:cubicBezTo>
                    <a:pt x="640185" y="634745"/>
                    <a:pt x="640185" y="637465"/>
                    <a:pt x="640185" y="640184"/>
                  </a:cubicBezTo>
                  <a:cubicBezTo>
                    <a:pt x="640185" y="645624"/>
                    <a:pt x="642905" y="653783"/>
                    <a:pt x="642905" y="659222"/>
                  </a:cubicBezTo>
                  <a:cubicBezTo>
                    <a:pt x="642905" y="661942"/>
                    <a:pt x="642905" y="661942"/>
                    <a:pt x="642905" y="664661"/>
                  </a:cubicBezTo>
                  <a:cubicBezTo>
                    <a:pt x="645624" y="678259"/>
                    <a:pt x="651064" y="678259"/>
                    <a:pt x="653783" y="678259"/>
                  </a:cubicBezTo>
                  <a:lnTo>
                    <a:pt x="653783" y="678259"/>
                  </a:ln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/>
            </a:p>
          </p:txBody>
        </p:sp>
        <p:sp>
          <p:nvSpPr>
            <p:cNvPr id="42" name="Freeform: Shape 41">
              <a:extLst>
                <a:ext uri="{FF2B5EF4-FFF2-40B4-BE49-F238E27FC236}">
                  <a16:creationId xmlns:a16="http://schemas.microsoft.com/office/drawing/2014/main" id="{8922BC46-061C-4F86-8A09-EA54172EEA2E}"/>
                </a:ext>
              </a:extLst>
            </p:cNvPr>
            <p:cNvSpPr/>
            <p:nvPr/>
          </p:nvSpPr>
          <p:spPr bwMode="black">
            <a:xfrm>
              <a:off x="6362526" y="4242177"/>
              <a:ext cx="492259" cy="674476"/>
            </a:xfrm>
            <a:custGeom>
              <a:avLst/>
              <a:gdLst>
                <a:gd name="connsiteX0" fmla="*/ 225733 w 492259"/>
                <a:gd name="connsiteY0" fmla="*/ 97907 h 674476"/>
                <a:gd name="connsiteX1" fmla="*/ 209415 w 492259"/>
                <a:gd name="connsiteY1" fmla="*/ 119665 h 674476"/>
                <a:gd name="connsiteX2" fmla="*/ 201256 w 492259"/>
                <a:gd name="connsiteY2" fmla="*/ 152300 h 674476"/>
                <a:gd name="connsiteX3" fmla="*/ 198536 w 492259"/>
                <a:gd name="connsiteY3" fmla="*/ 168618 h 674476"/>
                <a:gd name="connsiteX4" fmla="*/ 195817 w 492259"/>
                <a:gd name="connsiteY4" fmla="*/ 184936 h 674476"/>
                <a:gd name="connsiteX5" fmla="*/ 187658 w 492259"/>
                <a:gd name="connsiteY5" fmla="*/ 220292 h 674476"/>
                <a:gd name="connsiteX6" fmla="*/ 168620 w 492259"/>
                <a:gd name="connsiteY6" fmla="*/ 291003 h 674476"/>
                <a:gd name="connsiteX7" fmla="*/ 160461 w 492259"/>
                <a:gd name="connsiteY7" fmla="*/ 323639 h 674476"/>
                <a:gd name="connsiteX8" fmla="*/ 149582 w 492259"/>
                <a:gd name="connsiteY8" fmla="*/ 361714 h 674476"/>
                <a:gd name="connsiteX9" fmla="*/ 144143 w 492259"/>
                <a:gd name="connsiteY9" fmla="*/ 388910 h 674476"/>
                <a:gd name="connsiteX10" fmla="*/ 149582 w 492259"/>
                <a:gd name="connsiteY10" fmla="*/ 391630 h 674476"/>
                <a:gd name="connsiteX11" fmla="*/ 171340 w 492259"/>
                <a:gd name="connsiteY11" fmla="*/ 391630 h 674476"/>
                <a:gd name="connsiteX12" fmla="*/ 193097 w 492259"/>
                <a:gd name="connsiteY12" fmla="*/ 388910 h 674476"/>
                <a:gd name="connsiteX13" fmla="*/ 212135 w 492259"/>
                <a:gd name="connsiteY13" fmla="*/ 388910 h 674476"/>
                <a:gd name="connsiteX14" fmla="*/ 236611 w 492259"/>
                <a:gd name="connsiteY14" fmla="*/ 388910 h 674476"/>
                <a:gd name="connsiteX15" fmla="*/ 250210 w 492259"/>
                <a:gd name="connsiteY15" fmla="*/ 386191 h 674476"/>
                <a:gd name="connsiteX16" fmla="*/ 258369 w 492259"/>
                <a:gd name="connsiteY16" fmla="*/ 386191 h 674476"/>
                <a:gd name="connsiteX17" fmla="*/ 255649 w 492259"/>
                <a:gd name="connsiteY17" fmla="*/ 367153 h 674476"/>
                <a:gd name="connsiteX18" fmla="*/ 250210 w 492259"/>
                <a:gd name="connsiteY18" fmla="*/ 331797 h 674476"/>
                <a:gd name="connsiteX19" fmla="*/ 247490 w 492259"/>
                <a:gd name="connsiteY19" fmla="*/ 244769 h 674476"/>
                <a:gd name="connsiteX20" fmla="*/ 242051 w 492259"/>
                <a:gd name="connsiteY20" fmla="*/ 203974 h 674476"/>
                <a:gd name="connsiteX21" fmla="*/ 236611 w 492259"/>
                <a:gd name="connsiteY21" fmla="*/ 157740 h 674476"/>
                <a:gd name="connsiteX22" fmla="*/ 233892 w 492259"/>
                <a:gd name="connsiteY22" fmla="*/ 119665 h 674476"/>
                <a:gd name="connsiteX23" fmla="*/ 225733 w 492259"/>
                <a:gd name="connsiteY23" fmla="*/ 97907 h 674476"/>
                <a:gd name="connsiteX24" fmla="*/ 274687 w 492259"/>
                <a:gd name="connsiteY24" fmla="*/ 0 h 674476"/>
                <a:gd name="connsiteX25" fmla="*/ 304603 w 492259"/>
                <a:gd name="connsiteY25" fmla="*/ 5439 h 674476"/>
                <a:gd name="connsiteX26" fmla="*/ 320921 w 492259"/>
                <a:gd name="connsiteY26" fmla="*/ 24477 h 674476"/>
                <a:gd name="connsiteX27" fmla="*/ 334519 w 492259"/>
                <a:gd name="connsiteY27" fmla="*/ 43515 h 674476"/>
                <a:gd name="connsiteX28" fmla="*/ 339959 w 492259"/>
                <a:gd name="connsiteY28" fmla="*/ 65272 h 674476"/>
                <a:gd name="connsiteX29" fmla="*/ 348118 w 492259"/>
                <a:gd name="connsiteY29" fmla="*/ 114226 h 674476"/>
                <a:gd name="connsiteX30" fmla="*/ 361716 w 492259"/>
                <a:gd name="connsiteY30" fmla="*/ 163180 h 674476"/>
                <a:gd name="connsiteX31" fmla="*/ 369875 w 492259"/>
                <a:gd name="connsiteY31" fmla="*/ 220293 h 674476"/>
                <a:gd name="connsiteX32" fmla="*/ 378034 w 492259"/>
                <a:gd name="connsiteY32" fmla="*/ 274686 h 674476"/>
                <a:gd name="connsiteX33" fmla="*/ 383473 w 492259"/>
                <a:gd name="connsiteY33" fmla="*/ 301883 h 674476"/>
                <a:gd name="connsiteX34" fmla="*/ 391632 w 492259"/>
                <a:gd name="connsiteY34" fmla="*/ 337238 h 674476"/>
                <a:gd name="connsiteX35" fmla="*/ 397071 w 492259"/>
                <a:gd name="connsiteY35" fmla="*/ 364435 h 674476"/>
                <a:gd name="connsiteX36" fmla="*/ 405230 w 492259"/>
                <a:gd name="connsiteY36" fmla="*/ 383473 h 674476"/>
                <a:gd name="connsiteX37" fmla="*/ 416109 w 492259"/>
                <a:gd name="connsiteY37" fmla="*/ 386192 h 674476"/>
                <a:gd name="connsiteX38" fmla="*/ 426988 w 492259"/>
                <a:gd name="connsiteY38" fmla="*/ 386192 h 674476"/>
                <a:gd name="connsiteX39" fmla="*/ 454184 w 492259"/>
                <a:gd name="connsiteY39" fmla="*/ 397071 h 674476"/>
                <a:gd name="connsiteX40" fmla="*/ 456904 w 492259"/>
                <a:gd name="connsiteY40" fmla="*/ 405230 h 674476"/>
                <a:gd name="connsiteX41" fmla="*/ 451464 w 492259"/>
                <a:gd name="connsiteY41" fmla="*/ 416108 h 674476"/>
                <a:gd name="connsiteX42" fmla="*/ 432427 w 492259"/>
                <a:gd name="connsiteY42" fmla="*/ 429707 h 674476"/>
                <a:gd name="connsiteX43" fmla="*/ 421548 w 492259"/>
                <a:gd name="connsiteY43" fmla="*/ 432426 h 674476"/>
                <a:gd name="connsiteX44" fmla="*/ 413389 w 492259"/>
                <a:gd name="connsiteY44" fmla="*/ 435146 h 674476"/>
                <a:gd name="connsiteX45" fmla="*/ 413389 w 492259"/>
                <a:gd name="connsiteY45" fmla="*/ 440585 h 674476"/>
                <a:gd name="connsiteX46" fmla="*/ 416109 w 492259"/>
                <a:gd name="connsiteY46" fmla="*/ 451464 h 674476"/>
                <a:gd name="connsiteX47" fmla="*/ 418829 w 492259"/>
                <a:gd name="connsiteY47" fmla="*/ 465062 h 674476"/>
                <a:gd name="connsiteX48" fmla="*/ 418829 w 492259"/>
                <a:gd name="connsiteY48" fmla="*/ 475941 h 674476"/>
                <a:gd name="connsiteX49" fmla="*/ 418829 w 492259"/>
                <a:gd name="connsiteY49" fmla="*/ 486820 h 674476"/>
                <a:gd name="connsiteX50" fmla="*/ 426988 w 492259"/>
                <a:gd name="connsiteY50" fmla="*/ 516736 h 674476"/>
                <a:gd name="connsiteX51" fmla="*/ 432427 w 492259"/>
                <a:gd name="connsiteY51" fmla="*/ 543932 h 674476"/>
                <a:gd name="connsiteX52" fmla="*/ 437866 w 492259"/>
                <a:gd name="connsiteY52" fmla="*/ 573848 h 674476"/>
                <a:gd name="connsiteX53" fmla="*/ 443306 w 492259"/>
                <a:gd name="connsiteY53" fmla="*/ 606484 h 674476"/>
                <a:gd name="connsiteX54" fmla="*/ 446025 w 492259"/>
                <a:gd name="connsiteY54" fmla="*/ 617363 h 674476"/>
                <a:gd name="connsiteX55" fmla="*/ 470502 w 492259"/>
                <a:gd name="connsiteY55" fmla="*/ 617363 h 674476"/>
                <a:gd name="connsiteX56" fmla="*/ 492259 w 492259"/>
                <a:gd name="connsiteY56" fmla="*/ 641840 h 674476"/>
                <a:gd name="connsiteX57" fmla="*/ 484101 w 492259"/>
                <a:gd name="connsiteY57" fmla="*/ 655438 h 674476"/>
                <a:gd name="connsiteX58" fmla="*/ 467782 w 492259"/>
                <a:gd name="connsiteY58" fmla="*/ 663597 h 674476"/>
                <a:gd name="connsiteX59" fmla="*/ 443306 w 492259"/>
                <a:gd name="connsiteY59" fmla="*/ 666317 h 674476"/>
                <a:gd name="connsiteX60" fmla="*/ 421548 w 492259"/>
                <a:gd name="connsiteY60" fmla="*/ 666317 h 674476"/>
                <a:gd name="connsiteX61" fmla="*/ 413389 w 492259"/>
                <a:gd name="connsiteY61" fmla="*/ 666317 h 674476"/>
                <a:gd name="connsiteX62" fmla="*/ 399791 w 492259"/>
                <a:gd name="connsiteY62" fmla="*/ 671756 h 674476"/>
                <a:gd name="connsiteX63" fmla="*/ 383473 w 492259"/>
                <a:gd name="connsiteY63" fmla="*/ 674476 h 674476"/>
                <a:gd name="connsiteX64" fmla="*/ 348118 w 492259"/>
                <a:gd name="connsiteY64" fmla="*/ 669036 h 674476"/>
                <a:gd name="connsiteX65" fmla="*/ 326360 w 492259"/>
                <a:gd name="connsiteY65" fmla="*/ 669036 h 674476"/>
                <a:gd name="connsiteX66" fmla="*/ 277406 w 492259"/>
                <a:gd name="connsiteY66" fmla="*/ 669036 h 674476"/>
                <a:gd name="connsiteX67" fmla="*/ 252930 w 492259"/>
                <a:gd name="connsiteY67" fmla="*/ 663597 h 674476"/>
                <a:gd name="connsiteX68" fmla="*/ 236611 w 492259"/>
                <a:gd name="connsiteY68" fmla="*/ 647279 h 674476"/>
                <a:gd name="connsiteX69" fmla="*/ 261088 w 492259"/>
                <a:gd name="connsiteY69" fmla="*/ 630961 h 674476"/>
                <a:gd name="connsiteX70" fmla="*/ 288285 w 492259"/>
                <a:gd name="connsiteY70" fmla="*/ 628241 h 674476"/>
                <a:gd name="connsiteX71" fmla="*/ 285565 w 492259"/>
                <a:gd name="connsiteY71" fmla="*/ 609204 h 674476"/>
                <a:gd name="connsiteX72" fmla="*/ 282846 w 492259"/>
                <a:gd name="connsiteY72" fmla="*/ 582007 h 674476"/>
                <a:gd name="connsiteX73" fmla="*/ 280126 w 492259"/>
                <a:gd name="connsiteY73" fmla="*/ 568409 h 674476"/>
                <a:gd name="connsiteX74" fmla="*/ 282846 w 492259"/>
                <a:gd name="connsiteY74" fmla="*/ 554811 h 674476"/>
                <a:gd name="connsiteX75" fmla="*/ 277406 w 492259"/>
                <a:gd name="connsiteY75" fmla="*/ 538493 h 674476"/>
                <a:gd name="connsiteX76" fmla="*/ 271967 w 492259"/>
                <a:gd name="connsiteY76" fmla="*/ 505857 h 674476"/>
                <a:gd name="connsiteX77" fmla="*/ 269247 w 492259"/>
                <a:gd name="connsiteY77" fmla="*/ 478660 h 674476"/>
                <a:gd name="connsiteX78" fmla="*/ 266528 w 492259"/>
                <a:gd name="connsiteY78" fmla="*/ 446025 h 674476"/>
                <a:gd name="connsiteX79" fmla="*/ 261088 w 492259"/>
                <a:gd name="connsiteY79" fmla="*/ 437866 h 674476"/>
                <a:gd name="connsiteX80" fmla="*/ 250210 w 492259"/>
                <a:gd name="connsiteY80" fmla="*/ 437866 h 674476"/>
                <a:gd name="connsiteX81" fmla="*/ 220293 w 492259"/>
                <a:gd name="connsiteY81" fmla="*/ 440585 h 674476"/>
                <a:gd name="connsiteX82" fmla="*/ 190377 w 492259"/>
                <a:gd name="connsiteY82" fmla="*/ 443305 h 674476"/>
                <a:gd name="connsiteX83" fmla="*/ 165900 w 492259"/>
                <a:gd name="connsiteY83" fmla="*/ 443305 h 674476"/>
                <a:gd name="connsiteX84" fmla="*/ 144143 w 492259"/>
                <a:gd name="connsiteY84" fmla="*/ 440585 h 674476"/>
                <a:gd name="connsiteX85" fmla="*/ 135984 w 492259"/>
                <a:gd name="connsiteY85" fmla="*/ 454184 h 674476"/>
                <a:gd name="connsiteX86" fmla="*/ 130545 w 492259"/>
                <a:gd name="connsiteY86" fmla="*/ 486820 h 674476"/>
                <a:gd name="connsiteX87" fmla="*/ 119666 w 492259"/>
                <a:gd name="connsiteY87" fmla="*/ 541213 h 674476"/>
                <a:gd name="connsiteX88" fmla="*/ 103348 w 492259"/>
                <a:gd name="connsiteY88" fmla="*/ 614643 h 674476"/>
                <a:gd name="connsiteX89" fmla="*/ 133264 w 492259"/>
                <a:gd name="connsiteY89" fmla="*/ 614643 h 674476"/>
                <a:gd name="connsiteX90" fmla="*/ 168620 w 492259"/>
                <a:gd name="connsiteY90" fmla="*/ 630961 h 674476"/>
                <a:gd name="connsiteX91" fmla="*/ 163181 w 492259"/>
                <a:gd name="connsiteY91" fmla="*/ 647279 h 674476"/>
                <a:gd name="connsiteX92" fmla="*/ 146863 w 492259"/>
                <a:gd name="connsiteY92" fmla="*/ 655438 h 674476"/>
                <a:gd name="connsiteX93" fmla="*/ 127825 w 492259"/>
                <a:gd name="connsiteY93" fmla="*/ 658158 h 674476"/>
                <a:gd name="connsiteX94" fmla="*/ 106068 w 492259"/>
                <a:gd name="connsiteY94" fmla="*/ 658158 h 674476"/>
                <a:gd name="connsiteX95" fmla="*/ 62552 w 492259"/>
                <a:gd name="connsiteY95" fmla="*/ 658158 h 674476"/>
                <a:gd name="connsiteX96" fmla="*/ 40795 w 492259"/>
                <a:gd name="connsiteY96" fmla="*/ 658158 h 674476"/>
                <a:gd name="connsiteX97" fmla="*/ 16318 w 492259"/>
                <a:gd name="connsiteY97" fmla="*/ 652718 h 674476"/>
                <a:gd name="connsiteX98" fmla="*/ 0 w 492259"/>
                <a:gd name="connsiteY98" fmla="*/ 636401 h 674476"/>
                <a:gd name="connsiteX99" fmla="*/ 2720 w 492259"/>
                <a:gd name="connsiteY99" fmla="*/ 628241 h 674476"/>
                <a:gd name="connsiteX100" fmla="*/ 24477 w 492259"/>
                <a:gd name="connsiteY100" fmla="*/ 620082 h 674476"/>
                <a:gd name="connsiteX101" fmla="*/ 62552 w 492259"/>
                <a:gd name="connsiteY101" fmla="*/ 617363 h 674476"/>
                <a:gd name="connsiteX102" fmla="*/ 62552 w 492259"/>
                <a:gd name="connsiteY102" fmla="*/ 614643 h 674476"/>
                <a:gd name="connsiteX103" fmla="*/ 65272 w 492259"/>
                <a:gd name="connsiteY103" fmla="*/ 587447 h 674476"/>
                <a:gd name="connsiteX104" fmla="*/ 76151 w 492259"/>
                <a:gd name="connsiteY104" fmla="*/ 522175 h 674476"/>
                <a:gd name="connsiteX105" fmla="*/ 87029 w 492259"/>
                <a:gd name="connsiteY105" fmla="*/ 470501 h 674476"/>
                <a:gd name="connsiteX106" fmla="*/ 92468 w 492259"/>
                <a:gd name="connsiteY106" fmla="*/ 446025 h 674476"/>
                <a:gd name="connsiteX107" fmla="*/ 65272 w 492259"/>
                <a:gd name="connsiteY107" fmla="*/ 432426 h 674476"/>
                <a:gd name="connsiteX108" fmla="*/ 54393 w 492259"/>
                <a:gd name="connsiteY108" fmla="*/ 421548 h 674476"/>
                <a:gd name="connsiteX109" fmla="*/ 73431 w 492259"/>
                <a:gd name="connsiteY109" fmla="*/ 407949 h 674476"/>
                <a:gd name="connsiteX110" fmla="*/ 100629 w 492259"/>
                <a:gd name="connsiteY110" fmla="*/ 399790 h 674476"/>
                <a:gd name="connsiteX111" fmla="*/ 108788 w 492259"/>
                <a:gd name="connsiteY111" fmla="*/ 369874 h 674476"/>
                <a:gd name="connsiteX112" fmla="*/ 125105 w 492259"/>
                <a:gd name="connsiteY112" fmla="*/ 307322 h 674476"/>
                <a:gd name="connsiteX113" fmla="*/ 141423 w 492259"/>
                <a:gd name="connsiteY113" fmla="*/ 242051 h 674476"/>
                <a:gd name="connsiteX114" fmla="*/ 155022 w 492259"/>
                <a:gd name="connsiteY114" fmla="*/ 179498 h 674476"/>
                <a:gd name="connsiteX115" fmla="*/ 168620 w 492259"/>
                <a:gd name="connsiteY115" fmla="*/ 119665 h 674476"/>
                <a:gd name="connsiteX116" fmla="*/ 193097 w 492259"/>
                <a:gd name="connsiteY116" fmla="*/ 57113 h 674476"/>
                <a:gd name="connsiteX117" fmla="*/ 201256 w 492259"/>
                <a:gd name="connsiteY117" fmla="*/ 38075 h 674476"/>
                <a:gd name="connsiteX118" fmla="*/ 217574 w 492259"/>
                <a:gd name="connsiteY118" fmla="*/ 13598 h 674476"/>
                <a:gd name="connsiteX119" fmla="*/ 274687 w 492259"/>
                <a:gd name="connsiteY119" fmla="*/ 0 h 6744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</a:cxnLst>
              <a:rect l="l" t="t" r="r" b="b"/>
              <a:pathLst>
                <a:path w="492259" h="674476">
                  <a:moveTo>
                    <a:pt x="225733" y="97907"/>
                  </a:moveTo>
                  <a:cubicBezTo>
                    <a:pt x="217574" y="97907"/>
                    <a:pt x="209415" y="114225"/>
                    <a:pt x="209415" y="119665"/>
                  </a:cubicBezTo>
                  <a:cubicBezTo>
                    <a:pt x="206695" y="130543"/>
                    <a:pt x="203976" y="144141"/>
                    <a:pt x="201256" y="152300"/>
                  </a:cubicBezTo>
                  <a:cubicBezTo>
                    <a:pt x="198536" y="157740"/>
                    <a:pt x="198536" y="163179"/>
                    <a:pt x="198536" y="168618"/>
                  </a:cubicBezTo>
                  <a:cubicBezTo>
                    <a:pt x="198536" y="174058"/>
                    <a:pt x="195817" y="179497"/>
                    <a:pt x="195817" y="184936"/>
                  </a:cubicBezTo>
                  <a:cubicBezTo>
                    <a:pt x="193097" y="195815"/>
                    <a:pt x="190377" y="209413"/>
                    <a:pt x="187658" y="220292"/>
                  </a:cubicBezTo>
                  <a:cubicBezTo>
                    <a:pt x="184938" y="244769"/>
                    <a:pt x="176779" y="269246"/>
                    <a:pt x="168620" y="291003"/>
                  </a:cubicBezTo>
                  <a:cubicBezTo>
                    <a:pt x="165900" y="301881"/>
                    <a:pt x="163181" y="312760"/>
                    <a:pt x="160461" y="323639"/>
                  </a:cubicBezTo>
                  <a:cubicBezTo>
                    <a:pt x="157742" y="337237"/>
                    <a:pt x="155022" y="348115"/>
                    <a:pt x="149582" y="361714"/>
                  </a:cubicBezTo>
                  <a:cubicBezTo>
                    <a:pt x="146863" y="367153"/>
                    <a:pt x="144143" y="383471"/>
                    <a:pt x="144143" y="388910"/>
                  </a:cubicBezTo>
                  <a:cubicBezTo>
                    <a:pt x="144143" y="391630"/>
                    <a:pt x="146863" y="391630"/>
                    <a:pt x="149582" y="391630"/>
                  </a:cubicBezTo>
                  <a:cubicBezTo>
                    <a:pt x="155022" y="391630"/>
                    <a:pt x="168620" y="391630"/>
                    <a:pt x="171340" y="391630"/>
                  </a:cubicBezTo>
                  <a:cubicBezTo>
                    <a:pt x="179498" y="391630"/>
                    <a:pt x="187658" y="391630"/>
                    <a:pt x="193097" y="388910"/>
                  </a:cubicBezTo>
                  <a:cubicBezTo>
                    <a:pt x="198536" y="388910"/>
                    <a:pt x="203976" y="388910"/>
                    <a:pt x="212135" y="388910"/>
                  </a:cubicBezTo>
                  <a:cubicBezTo>
                    <a:pt x="217574" y="388910"/>
                    <a:pt x="225733" y="388910"/>
                    <a:pt x="236611" y="388910"/>
                  </a:cubicBezTo>
                  <a:cubicBezTo>
                    <a:pt x="242051" y="388910"/>
                    <a:pt x="247490" y="388910"/>
                    <a:pt x="250210" y="386191"/>
                  </a:cubicBezTo>
                  <a:cubicBezTo>
                    <a:pt x="255649" y="391630"/>
                    <a:pt x="258369" y="388910"/>
                    <a:pt x="258369" y="386191"/>
                  </a:cubicBezTo>
                  <a:cubicBezTo>
                    <a:pt x="258369" y="380751"/>
                    <a:pt x="255649" y="372592"/>
                    <a:pt x="255649" y="367153"/>
                  </a:cubicBezTo>
                  <a:cubicBezTo>
                    <a:pt x="252930" y="353555"/>
                    <a:pt x="250210" y="342676"/>
                    <a:pt x="250210" y="331797"/>
                  </a:cubicBezTo>
                  <a:cubicBezTo>
                    <a:pt x="250210" y="301881"/>
                    <a:pt x="250210" y="274685"/>
                    <a:pt x="247490" y="244769"/>
                  </a:cubicBezTo>
                  <a:cubicBezTo>
                    <a:pt x="247490" y="231170"/>
                    <a:pt x="244771" y="217572"/>
                    <a:pt x="242051" y="203974"/>
                  </a:cubicBezTo>
                  <a:cubicBezTo>
                    <a:pt x="239331" y="187656"/>
                    <a:pt x="236611" y="174058"/>
                    <a:pt x="236611" y="157740"/>
                  </a:cubicBezTo>
                  <a:cubicBezTo>
                    <a:pt x="236611" y="152300"/>
                    <a:pt x="236611" y="133263"/>
                    <a:pt x="233892" y="119665"/>
                  </a:cubicBezTo>
                  <a:cubicBezTo>
                    <a:pt x="233892" y="106066"/>
                    <a:pt x="231172" y="97907"/>
                    <a:pt x="225733" y="97907"/>
                  </a:cubicBezTo>
                  <a:close/>
                  <a:moveTo>
                    <a:pt x="274687" y="0"/>
                  </a:moveTo>
                  <a:cubicBezTo>
                    <a:pt x="288285" y="0"/>
                    <a:pt x="293724" y="2720"/>
                    <a:pt x="304603" y="5439"/>
                  </a:cubicBezTo>
                  <a:cubicBezTo>
                    <a:pt x="315481" y="10879"/>
                    <a:pt x="315481" y="16318"/>
                    <a:pt x="320921" y="24477"/>
                  </a:cubicBezTo>
                  <a:cubicBezTo>
                    <a:pt x="326360" y="29916"/>
                    <a:pt x="331800" y="35356"/>
                    <a:pt x="334519" y="43515"/>
                  </a:cubicBezTo>
                  <a:cubicBezTo>
                    <a:pt x="337239" y="51674"/>
                    <a:pt x="337239" y="57113"/>
                    <a:pt x="339959" y="65272"/>
                  </a:cubicBezTo>
                  <a:cubicBezTo>
                    <a:pt x="345398" y="78870"/>
                    <a:pt x="342678" y="97908"/>
                    <a:pt x="348118" y="114226"/>
                  </a:cubicBezTo>
                  <a:cubicBezTo>
                    <a:pt x="350837" y="130544"/>
                    <a:pt x="358996" y="146863"/>
                    <a:pt x="361716" y="163180"/>
                  </a:cubicBezTo>
                  <a:cubicBezTo>
                    <a:pt x="364435" y="182218"/>
                    <a:pt x="364435" y="201256"/>
                    <a:pt x="369875" y="220293"/>
                  </a:cubicBezTo>
                  <a:cubicBezTo>
                    <a:pt x="375314" y="239331"/>
                    <a:pt x="378034" y="255649"/>
                    <a:pt x="378034" y="274686"/>
                  </a:cubicBezTo>
                  <a:cubicBezTo>
                    <a:pt x="378034" y="282845"/>
                    <a:pt x="380753" y="293724"/>
                    <a:pt x="383473" y="301883"/>
                  </a:cubicBezTo>
                  <a:cubicBezTo>
                    <a:pt x="386193" y="312762"/>
                    <a:pt x="388913" y="326360"/>
                    <a:pt x="391632" y="337238"/>
                  </a:cubicBezTo>
                  <a:cubicBezTo>
                    <a:pt x="391632" y="342678"/>
                    <a:pt x="394352" y="353556"/>
                    <a:pt x="397071" y="364435"/>
                  </a:cubicBezTo>
                  <a:cubicBezTo>
                    <a:pt x="399791" y="372594"/>
                    <a:pt x="402511" y="380753"/>
                    <a:pt x="405230" y="383473"/>
                  </a:cubicBezTo>
                  <a:cubicBezTo>
                    <a:pt x="407950" y="386192"/>
                    <a:pt x="413389" y="386192"/>
                    <a:pt x="416109" y="386192"/>
                  </a:cubicBezTo>
                  <a:cubicBezTo>
                    <a:pt x="418829" y="386192"/>
                    <a:pt x="424268" y="386192"/>
                    <a:pt x="426988" y="386192"/>
                  </a:cubicBezTo>
                  <a:cubicBezTo>
                    <a:pt x="437866" y="386192"/>
                    <a:pt x="448745" y="388912"/>
                    <a:pt x="454184" y="397071"/>
                  </a:cubicBezTo>
                  <a:cubicBezTo>
                    <a:pt x="456904" y="399790"/>
                    <a:pt x="456904" y="402510"/>
                    <a:pt x="456904" y="405230"/>
                  </a:cubicBezTo>
                  <a:cubicBezTo>
                    <a:pt x="456904" y="407949"/>
                    <a:pt x="454184" y="410669"/>
                    <a:pt x="451464" y="416108"/>
                  </a:cubicBezTo>
                  <a:cubicBezTo>
                    <a:pt x="446025" y="421548"/>
                    <a:pt x="440586" y="426987"/>
                    <a:pt x="432427" y="429707"/>
                  </a:cubicBezTo>
                  <a:cubicBezTo>
                    <a:pt x="429707" y="429707"/>
                    <a:pt x="426988" y="432426"/>
                    <a:pt x="421548" y="432426"/>
                  </a:cubicBezTo>
                  <a:cubicBezTo>
                    <a:pt x="418829" y="432426"/>
                    <a:pt x="416109" y="432426"/>
                    <a:pt x="413389" y="435146"/>
                  </a:cubicBezTo>
                  <a:cubicBezTo>
                    <a:pt x="413389" y="435146"/>
                    <a:pt x="413389" y="437866"/>
                    <a:pt x="413389" y="440585"/>
                  </a:cubicBezTo>
                  <a:cubicBezTo>
                    <a:pt x="413389" y="443305"/>
                    <a:pt x="413389" y="448744"/>
                    <a:pt x="416109" y="451464"/>
                  </a:cubicBezTo>
                  <a:cubicBezTo>
                    <a:pt x="416109" y="456903"/>
                    <a:pt x="418829" y="462343"/>
                    <a:pt x="418829" y="465062"/>
                  </a:cubicBezTo>
                  <a:lnTo>
                    <a:pt x="418829" y="475941"/>
                  </a:lnTo>
                  <a:cubicBezTo>
                    <a:pt x="418829" y="481380"/>
                    <a:pt x="418829" y="484100"/>
                    <a:pt x="418829" y="486820"/>
                  </a:cubicBezTo>
                  <a:cubicBezTo>
                    <a:pt x="421548" y="497698"/>
                    <a:pt x="424268" y="505857"/>
                    <a:pt x="426988" y="516736"/>
                  </a:cubicBezTo>
                  <a:cubicBezTo>
                    <a:pt x="426988" y="524895"/>
                    <a:pt x="429707" y="535773"/>
                    <a:pt x="432427" y="543932"/>
                  </a:cubicBezTo>
                  <a:cubicBezTo>
                    <a:pt x="435147" y="554811"/>
                    <a:pt x="437866" y="562970"/>
                    <a:pt x="437866" y="573848"/>
                  </a:cubicBezTo>
                  <a:cubicBezTo>
                    <a:pt x="437866" y="587447"/>
                    <a:pt x="440586" y="595606"/>
                    <a:pt x="443306" y="606484"/>
                  </a:cubicBezTo>
                  <a:cubicBezTo>
                    <a:pt x="443306" y="609204"/>
                    <a:pt x="446025" y="614643"/>
                    <a:pt x="446025" y="617363"/>
                  </a:cubicBezTo>
                  <a:cubicBezTo>
                    <a:pt x="454184" y="617363"/>
                    <a:pt x="462343" y="617363"/>
                    <a:pt x="470502" y="617363"/>
                  </a:cubicBezTo>
                  <a:cubicBezTo>
                    <a:pt x="475942" y="625522"/>
                    <a:pt x="492259" y="630961"/>
                    <a:pt x="492259" y="641840"/>
                  </a:cubicBezTo>
                  <a:cubicBezTo>
                    <a:pt x="492259" y="647279"/>
                    <a:pt x="486820" y="649999"/>
                    <a:pt x="484101" y="655438"/>
                  </a:cubicBezTo>
                  <a:cubicBezTo>
                    <a:pt x="481381" y="660877"/>
                    <a:pt x="473222" y="663597"/>
                    <a:pt x="467782" y="663597"/>
                  </a:cubicBezTo>
                  <a:cubicBezTo>
                    <a:pt x="456904" y="666317"/>
                    <a:pt x="451464" y="666317"/>
                    <a:pt x="443306" y="666317"/>
                  </a:cubicBezTo>
                  <a:cubicBezTo>
                    <a:pt x="437866" y="666317"/>
                    <a:pt x="429707" y="666317"/>
                    <a:pt x="421548" y="666317"/>
                  </a:cubicBezTo>
                  <a:cubicBezTo>
                    <a:pt x="418829" y="666317"/>
                    <a:pt x="416109" y="666317"/>
                    <a:pt x="413389" y="666317"/>
                  </a:cubicBezTo>
                  <a:cubicBezTo>
                    <a:pt x="407950" y="669036"/>
                    <a:pt x="405230" y="669036"/>
                    <a:pt x="399791" y="671756"/>
                  </a:cubicBezTo>
                  <a:cubicBezTo>
                    <a:pt x="394352" y="671756"/>
                    <a:pt x="388913" y="674476"/>
                    <a:pt x="383473" y="674476"/>
                  </a:cubicBezTo>
                  <a:cubicBezTo>
                    <a:pt x="372594" y="674476"/>
                    <a:pt x="358996" y="671756"/>
                    <a:pt x="348118" y="669036"/>
                  </a:cubicBezTo>
                  <a:cubicBezTo>
                    <a:pt x="339959" y="669036"/>
                    <a:pt x="331800" y="669036"/>
                    <a:pt x="326360" y="669036"/>
                  </a:cubicBezTo>
                  <a:cubicBezTo>
                    <a:pt x="304603" y="669036"/>
                    <a:pt x="285565" y="669036"/>
                    <a:pt x="277406" y="669036"/>
                  </a:cubicBezTo>
                  <a:cubicBezTo>
                    <a:pt x="269247" y="669036"/>
                    <a:pt x="258369" y="669036"/>
                    <a:pt x="252930" y="663597"/>
                  </a:cubicBezTo>
                  <a:cubicBezTo>
                    <a:pt x="247490" y="660877"/>
                    <a:pt x="236611" y="655438"/>
                    <a:pt x="236611" y="647279"/>
                  </a:cubicBezTo>
                  <a:cubicBezTo>
                    <a:pt x="236611" y="636401"/>
                    <a:pt x="252930" y="633681"/>
                    <a:pt x="261088" y="630961"/>
                  </a:cubicBezTo>
                  <a:cubicBezTo>
                    <a:pt x="266528" y="630961"/>
                    <a:pt x="274687" y="630961"/>
                    <a:pt x="288285" y="628241"/>
                  </a:cubicBezTo>
                  <a:cubicBezTo>
                    <a:pt x="288285" y="620082"/>
                    <a:pt x="288285" y="614643"/>
                    <a:pt x="285565" y="609204"/>
                  </a:cubicBezTo>
                  <a:cubicBezTo>
                    <a:pt x="285565" y="601045"/>
                    <a:pt x="282846" y="590166"/>
                    <a:pt x="282846" y="582007"/>
                  </a:cubicBezTo>
                  <a:cubicBezTo>
                    <a:pt x="282846" y="576568"/>
                    <a:pt x="280126" y="573848"/>
                    <a:pt x="280126" y="568409"/>
                  </a:cubicBezTo>
                  <a:cubicBezTo>
                    <a:pt x="280126" y="562970"/>
                    <a:pt x="282846" y="557531"/>
                    <a:pt x="282846" y="554811"/>
                  </a:cubicBezTo>
                  <a:cubicBezTo>
                    <a:pt x="282846" y="549371"/>
                    <a:pt x="280126" y="546652"/>
                    <a:pt x="277406" y="538493"/>
                  </a:cubicBezTo>
                  <a:cubicBezTo>
                    <a:pt x="277406" y="527614"/>
                    <a:pt x="271967" y="516736"/>
                    <a:pt x="271967" y="505857"/>
                  </a:cubicBezTo>
                  <a:cubicBezTo>
                    <a:pt x="271967" y="494978"/>
                    <a:pt x="271967" y="486820"/>
                    <a:pt x="269247" y="478660"/>
                  </a:cubicBezTo>
                  <a:cubicBezTo>
                    <a:pt x="266528" y="467782"/>
                    <a:pt x="266528" y="456903"/>
                    <a:pt x="266528" y="446025"/>
                  </a:cubicBezTo>
                  <a:cubicBezTo>
                    <a:pt x="266528" y="440585"/>
                    <a:pt x="263808" y="437866"/>
                    <a:pt x="261088" y="437866"/>
                  </a:cubicBezTo>
                  <a:cubicBezTo>
                    <a:pt x="258369" y="437866"/>
                    <a:pt x="255649" y="437866"/>
                    <a:pt x="250210" y="437866"/>
                  </a:cubicBezTo>
                  <a:cubicBezTo>
                    <a:pt x="239331" y="437866"/>
                    <a:pt x="228452" y="437866"/>
                    <a:pt x="220293" y="440585"/>
                  </a:cubicBezTo>
                  <a:cubicBezTo>
                    <a:pt x="209415" y="440585"/>
                    <a:pt x="201256" y="443305"/>
                    <a:pt x="190377" y="443305"/>
                  </a:cubicBezTo>
                  <a:cubicBezTo>
                    <a:pt x="182218" y="443305"/>
                    <a:pt x="174059" y="443305"/>
                    <a:pt x="165900" y="443305"/>
                  </a:cubicBezTo>
                  <a:cubicBezTo>
                    <a:pt x="163181" y="443305"/>
                    <a:pt x="152302" y="440585"/>
                    <a:pt x="144143" y="440585"/>
                  </a:cubicBezTo>
                  <a:cubicBezTo>
                    <a:pt x="135984" y="440585"/>
                    <a:pt x="135984" y="448744"/>
                    <a:pt x="135984" y="454184"/>
                  </a:cubicBezTo>
                  <a:cubicBezTo>
                    <a:pt x="135984" y="465062"/>
                    <a:pt x="133264" y="475941"/>
                    <a:pt x="130545" y="486820"/>
                  </a:cubicBezTo>
                  <a:cubicBezTo>
                    <a:pt x="127825" y="505857"/>
                    <a:pt x="122386" y="522175"/>
                    <a:pt x="119666" y="541213"/>
                  </a:cubicBezTo>
                  <a:cubicBezTo>
                    <a:pt x="116947" y="560250"/>
                    <a:pt x="108788" y="595606"/>
                    <a:pt x="103348" y="614643"/>
                  </a:cubicBezTo>
                  <a:cubicBezTo>
                    <a:pt x="111507" y="614643"/>
                    <a:pt x="122386" y="614643"/>
                    <a:pt x="133264" y="614643"/>
                  </a:cubicBezTo>
                  <a:cubicBezTo>
                    <a:pt x="146863" y="614643"/>
                    <a:pt x="168620" y="614643"/>
                    <a:pt x="168620" y="630961"/>
                  </a:cubicBezTo>
                  <a:cubicBezTo>
                    <a:pt x="168620" y="639120"/>
                    <a:pt x="165900" y="639120"/>
                    <a:pt x="163181" y="647279"/>
                  </a:cubicBezTo>
                  <a:cubicBezTo>
                    <a:pt x="160461" y="652718"/>
                    <a:pt x="152302" y="655438"/>
                    <a:pt x="146863" y="655438"/>
                  </a:cubicBezTo>
                  <a:cubicBezTo>
                    <a:pt x="138704" y="658158"/>
                    <a:pt x="133264" y="658158"/>
                    <a:pt x="127825" y="658158"/>
                  </a:cubicBezTo>
                  <a:cubicBezTo>
                    <a:pt x="122386" y="658158"/>
                    <a:pt x="116947" y="658158"/>
                    <a:pt x="106068" y="658158"/>
                  </a:cubicBezTo>
                  <a:cubicBezTo>
                    <a:pt x="92468" y="658158"/>
                    <a:pt x="78870" y="658158"/>
                    <a:pt x="62552" y="658158"/>
                  </a:cubicBezTo>
                  <a:cubicBezTo>
                    <a:pt x="54393" y="658158"/>
                    <a:pt x="46234" y="658158"/>
                    <a:pt x="40795" y="658158"/>
                  </a:cubicBezTo>
                  <a:cubicBezTo>
                    <a:pt x="32636" y="658158"/>
                    <a:pt x="21758" y="658158"/>
                    <a:pt x="16318" y="652718"/>
                  </a:cubicBezTo>
                  <a:cubicBezTo>
                    <a:pt x="8159" y="649999"/>
                    <a:pt x="0" y="641840"/>
                    <a:pt x="0" y="636401"/>
                  </a:cubicBezTo>
                  <a:cubicBezTo>
                    <a:pt x="0" y="633681"/>
                    <a:pt x="0" y="630961"/>
                    <a:pt x="2720" y="628241"/>
                  </a:cubicBezTo>
                  <a:cubicBezTo>
                    <a:pt x="8159" y="625522"/>
                    <a:pt x="16318" y="622802"/>
                    <a:pt x="24477" y="620082"/>
                  </a:cubicBezTo>
                  <a:cubicBezTo>
                    <a:pt x="38075" y="617363"/>
                    <a:pt x="48954" y="617363"/>
                    <a:pt x="62552" y="617363"/>
                  </a:cubicBezTo>
                  <a:cubicBezTo>
                    <a:pt x="62552" y="617363"/>
                    <a:pt x="62552" y="614643"/>
                    <a:pt x="62552" y="614643"/>
                  </a:cubicBezTo>
                  <a:cubicBezTo>
                    <a:pt x="62552" y="603765"/>
                    <a:pt x="65272" y="590166"/>
                    <a:pt x="65272" y="587447"/>
                  </a:cubicBezTo>
                  <a:cubicBezTo>
                    <a:pt x="67992" y="565689"/>
                    <a:pt x="73431" y="543932"/>
                    <a:pt x="76151" y="522175"/>
                  </a:cubicBezTo>
                  <a:cubicBezTo>
                    <a:pt x="78870" y="505857"/>
                    <a:pt x="81590" y="486820"/>
                    <a:pt x="87029" y="470501"/>
                  </a:cubicBezTo>
                  <a:cubicBezTo>
                    <a:pt x="87029" y="465062"/>
                    <a:pt x="92468" y="451464"/>
                    <a:pt x="92468" y="446025"/>
                  </a:cubicBezTo>
                  <a:cubicBezTo>
                    <a:pt x="92468" y="437866"/>
                    <a:pt x="73431" y="437866"/>
                    <a:pt x="65272" y="432426"/>
                  </a:cubicBezTo>
                  <a:cubicBezTo>
                    <a:pt x="59833" y="429707"/>
                    <a:pt x="54393" y="426987"/>
                    <a:pt x="54393" y="421548"/>
                  </a:cubicBezTo>
                  <a:cubicBezTo>
                    <a:pt x="54393" y="413389"/>
                    <a:pt x="62552" y="410669"/>
                    <a:pt x="73431" y="407949"/>
                  </a:cubicBezTo>
                  <a:cubicBezTo>
                    <a:pt x="78870" y="407949"/>
                    <a:pt x="92468" y="405230"/>
                    <a:pt x="100629" y="399790"/>
                  </a:cubicBezTo>
                  <a:cubicBezTo>
                    <a:pt x="106068" y="394351"/>
                    <a:pt x="106068" y="378033"/>
                    <a:pt x="108788" y="369874"/>
                  </a:cubicBezTo>
                  <a:cubicBezTo>
                    <a:pt x="114227" y="348117"/>
                    <a:pt x="119666" y="326360"/>
                    <a:pt x="125105" y="307322"/>
                  </a:cubicBezTo>
                  <a:cubicBezTo>
                    <a:pt x="130545" y="285565"/>
                    <a:pt x="135984" y="263808"/>
                    <a:pt x="141423" y="242051"/>
                  </a:cubicBezTo>
                  <a:cubicBezTo>
                    <a:pt x="146863" y="220293"/>
                    <a:pt x="152302" y="198536"/>
                    <a:pt x="155022" y="179498"/>
                  </a:cubicBezTo>
                  <a:cubicBezTo>
                    <a:pt x="157742" y="160461"/>
                    <a:pt x="163181" y="138703"/>
                    <a:pt x="168620" y="119665"/>
                  </a:cubicBezTo>
                  <a:cubicBezTo>
                    <a:pt x="176779" y="100627"/>
                    <a:pt x="182218" y="76150"/>
                    <a:pt x="193097" y="57113"/>
                  </a:cubicBezTo>
                  <a:lnTo>
                    <a:pt x="201256" y="38075"/>
                  </a:lnTo>
                  <a:cubicBezTo>
                    <a:pt x="206695" y="29916"/>
                    <a:pt x="209415" y="19038"/>
                    <a:pt x="217574" y="13598"/>
                  </a:cubicBezTo>
                  <a:cubicBezTo>
                    <a:pt x="231172" y="2720"/>
                    <a:pt x="255649" y="0"/>
                    <a:pt x="274687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/>
            </a:p>
          </p:txBody>
        </p:sp>
        <p:sp>
          <p:nvSpPr>
            <p:cNvPr id="43" name="Freeform: Shape 42">
              <a:extLst>
                <a:ext uri="{FF2B5EF4-FFF2-40B4-BE49-F238E27FC236}">
                  <a16:creationId xmlns:a16="http://schemas.microsoft.com/office/drawing/2014/main" id="{BC4DE23A-1E7D-4126-8F7E-C0E775A752EA}"/>
                </a:ext>
              </a:extLst>
            </p:cNvPr>
            <p:cNvSpPr/>
            <p:nvPr/>
          </p:nvSpPr>
          <p:spPr bwMode="black">
            <a:xfrm>
              <a:off x="6876542" y="4244897"/>
              <a:ext cx="462342" cy="677195"/>
            </a:xfrm>
            <a:custGeom>
              <a:avLst/>
              <a:gdLst>
                <a:gd name="connsiteX0" fmla="*/ 214853 w 462342"/>
                <a:gd name="connsiteY0" fmla="*/ 65272 h 677195"/>
                <a:gd name="connsiteX1" fmla="*/ 195815 w 462342"/>
                <a:gd name="connsiteY1" fmla="*/ 73431 h 677195"/>
                <a:gd name="connsiteX2" fmla="*/ 193096 w 462342"/>
                <a:gd name="connsiteY2" fmla="*/ 125105 h 677195"/>
                <a:gd name="connsiteX3" fmla="*/ 190376 w 462342"/>
                <a:gd name="connsiteY3" fmla="*/ 280125 h 677195"/>
                <a:gd name="connsiteX4" fmla="*/ 190376 w 462342"/>
                <a:gd name="connsiteY4" fmla="*/ 301882 h 677195"/>
                <a:gd name="connsiteX5" fmla="*/ 193096 w 462342"/>
                <a:gd name="connsiteY5" fmla="*/ 342677 h 677195"/>
                <a:gd name="connsiteX6" fmla="*/ 195815 w 462342"/>
                <a:gd name="connsiteY6" fmla="*/ 397070 h 677195"/>
                <a:gd name="connsiteX7" fmla="*/ 195815 w 462342"/>
                <a:gd name="connsiteY7" fmla="*/ 443304 h 677195"/>
                <a:gd name="connsiteX8" fmla="*/ 195815 w 462342"/>
                <a:gd name="connsiteY8" fmla="*/ 530333 h 677195"/>
                <a:gd name="connsiteX9" fmla="*/ 193096 w 462342"/>
                <a:gd name="connsiteY9" fmla="*/ 554810 h 677195"/>
                <a:gd name="connsiteX10" fmla="*/ 190376 w 462342"/>
                <a:gd name="connsiteY10" fmla="*/ 603764 h 677195"/>
                <a:gd name="connsiteX11" fmla="*/ 198535 w 462342"/>
                <a:gd name="connsiteY11" fmla="*/ 611923 h 677195"/>
                <a:gd name="connsiteX12" fmla="*/ 214853 w 462342"/>
                <a:gd name="connsiteY12" fmla="*/ 611923 h 677195"/>
                <a:gd name="connsiteX13" fmla="*/ 236610 w 462342"/>
                <a:gd name="connsiteY13" fmla="*/ 611923 h 677195"/>
                <a:gd name="connsiteX14" fmla="*/ 263807 w 462342"/>
                <a:gd name="connsiteY14" fmla="*/ 598325 h 677195"/>
                <a:gd name="connsiteX15" fmla="*/ 277405 w 462342"/>
                <a:gd name="connsiteY15" fmla="*/ 592885 h 677195"/>
                <a:gd name="connsiteX16" fmla="*/ 291004 w 462342"/>
                <a:gd name="connsiteY16" fmla="*/ 573848 h 677195"/>
                <a:gd name="connsiteX17" fmla="*/ 307322 w 462342"/>
                <a:gd name="connsiteY17" fmla="*/ 543931 h 677195"/>
                <a:gd name="connsiteX18" fmla="*/ 326359 w 462342"/>
                <a:gd name="connsiteY18" fmla="*/ 481379 h 677195"/>
                <a:gd name="connsiteX19" fmla="*/ 337238 w 462342"/>
                <a:gd name="connsiteY19" fmla="*/ 413388 h 677195"/>
                <a:gd name="connsiteX20" fmla="*/ 337238 w 462342"/>
                <a:gd name="connsiteY20" fmla="*/ 350836 h 677195"/>
                <a:gd name="connsiteX21" fmla="*/ 334518 w 462342"/>
                <a:gd name="connsiteY21" fmla="*/ 296443 h 677195"/>
                <a:gd name="connsiteX22" fmla="*/ 329079 w 462342"/>
                <a:gd name="connsiteY22" fmla="*/ 244769 h 677195"/>
                <a:gd name="connsiteX23" fmla="*/ 307322 w 462342"/>
                <a:gd name="connsiteY23" fmla="*/ 135983 h 677195"/>
                <a:gd name="connsiteX24" fmla="*/ 271966 w 462342"/>
                <a:gd name="connsiteY24" fmla="*/ 78870 h 677195"/>
                <a:gd name="connsiteX25" fmla="*/ 214853 w 462342"/>
                <a:gd name="connsiteY25" fmla="*/ 65272 h 677195"/>
                <a:gd name="connsiteX26" fmla="*/ 114226 w 462342"/>
                <a:gd name="connsiteY26" fmla="*/ 0 h 677195"/>
                <a:gd name="connsiteX27" fmla="*/ 127824 w 462342"/>
                <a:gd name="connsiteY27" fmla="*/ 0 h 677195"/>
                <a:gd name="connsiteX28" fmla="*/ 146862 w 462342"/>
                <a:gd name="connsiteY28" fmla="*/ 2720 h 677195"/>
                <a:gd name="connsiteX29" fmla="*/ 174059 w 462342"/>
                <a:gd name="connsiteY29" fmla="*/ 21758 h 677195"/>
                <a:gd name="connsiteX30" fmla="*/ 193096 w 462342"/>
                <a:gd name="connsiteY30" fmla="*/ 21758 h 677195"/>
                <a:gd name="connsiteX31" fmla="*/ 261088 w 462342"/>
                <a:gd name="connsiteY31" fmla="*/ 27197 h 677195"/>
                <a:gd name="connsiteX32" fmla="*/ 310042 w 462342"/>
                <a:gd name="connsiteY32" fmla="*/ 35356 h 677195"/>
                <a:gd name="connsiteX33" fmla="*/ 334518 w 462342"/>
                <a:gd name="connsiteY33" fmla="*/ 40795 h 677195"/>
                <a:gd name="connsiteX34" fmla="*/ 356276 w 462342"/>
                <a:gd name="connsiteY34" fmla="*/ 59833 h 677195"/>
                <a:gd name="connsiteX35" fmla="*/ 372593 w 462342"/>
                <a:gd name="connsiteY35" fmla="*/ 76151 h 677195"/>
                <a:gd name="connsiteX36" fmla="*/ 380752 w 462342"/>
                <a:gd name="connsiteY36" fmla="*/ 95188 h 677195"/>
                <a:gd name="connsiteX37" fmla="*/ 405230 w 462342"/>
                <a:gd name="connsiteY37" fmla="*/ 114226 h 677195"/>
                <a:gd name="connsiteX38" fmla="*/ 416108 w 462342"/>
                <a:gd name="connsiteY38" fmla="*/ 141422 h 677195"/>
                <a:gd name="connsiteX39" fmla="*/ 451464 w 462342"/>
                <a:gd name="connsiteY39" fmla="*/ 201256 h 677195"/>
                <a:gd name="connsiteX40" fmla="*/ 456903 w 462342"/>
                <a:gd name="connsiteY40" fmla="*/ 252929 h 677195"/>
                <a:gd name="connsiteX41" fmla="*/ 456903 w 462342"/>
                <a:gd name="connsiteY41" fmla="*/ 291004 h 677195"/>
                <a:gd name="connsiteX42" fmla="*/ 459623 w 462342"/>
                <a:gd name="connsiteY42" fmla="*/ 318201 h 677195"/>
                <a:gd name="connsiteX43" fmla="*/ 459623 w 462342"/>
                <a:gd name="connsiteY43" fmla="*/ 326360 h 677195"/>
                <a:gd name="connsiteX44" fmla="*/ 459623 w 462342"/>
                <a:gd name="connsiteY44" fmla="*/ 348117 h 677195"/>
                <a:gd name="connsiteX45" fmla="*/ 462342 w 462342"/>
                <a:gd name="connsiteY45" fmla="*/ 367155 h 677195"/>
                <a:gd name="connsiteX46" fmla="*/ 456903 w 462342"/>
                <a:gd name="connsiteY46" fmla="*/ 391632 h 677195"/>
                <a:gd name="connsiteX47" fmla="*/ 456903 w 462342"/>
                <a:gd name="connsiteY47" fmla="*/ 418828 h 677195"/>
                <a:gd name="connsiteX48" fmla="*/ 451464 w 462342"/>
                <a:gd name="connsiteY48" fmla="*/ 437866 h 677195"/>
                <a:gd name="connsiteX49" fmla="*/ 446025 w 462342"/>
                <a:gd name="connsiteY49" fmla="*/ 454184 h 677195"/>
                <a:gd name="connsiteX50" fmla="*/ 440585 w 462342"/>
                <a:gd name="connsiteY50" fmla="*/ 481380 h 677195"/>
                <a:gd name="connsiteX51" fmla="*/ 432426 w 462342"/>
                <a:gd name="connsiteY51" fmla="*/ 508577 h 677195"/>
                <a:gd name="connsiteX52" fmla="*/ 418828 w 462342"/>
                <a:gd name="connsiteY52" fmla="*/ 530334 h 677195"/>
                <a:gd name="connsiteX53" fmla="*/ 410669 w 462342"/>
                <a:gd name="connsiteY53" fmla="*/ 549371 h 677195"/>
                <a:gd name="connsiteX54" fmla="*/ 391631 w 462342"/>
                <a:gd name="connsiteY54" fmla="*/ 579288 h 677195"/>
                <a:gd name="connsiteX55" fmla="*/ 337238 w 462342"/>
                <a:gd name="connsiteY55" fmla="*/ 630961 h 677195"/>
                <a:gd name="connsiteX56" fmla="*/ 301883 w 462342"/>
                <a:gd name="connsiteY56" fmla="*/ 647279 h 677195"/>
                <a:gd name="connsiteX57" fmla="*/ 263807 w 462342"/>
                <a:gd name="connsiteY57" fmla="*/ 652718 h 677195"/>
                <a:gd name="connsiteX58" fmla="*/ 233891 w 462342"/>
                <a:gd name="connsiteY58" fmla="*/ 649999 h 677195"/>
                <a:gd name="connsiteX59" fmla="*/ 187657 w 462342"/>
                <a:gd name="connsiteY59" fmla="*/ 652718 h 677195"/>
                <a:gd name="connsiteX60" fmla="*/ 171339 w 462342"/>
                <a:gd name="connsiteY60" fmla="*/ 669036 h 677195"/>
                <a:gd name="connsiteX61" fmla="*/ 155021 w 462342"/>
                <a:gd name="connsiteY61" fmla="*/ 671756 h 677195"/>
                <a:gd name="connsiteX62" fmla="*/ 138703 w 462342"/>
                <a:gd name="connsiteY62" fmla="*/ 674476 h 677195"/>
                <a:gd name="connsiteX63" fmla="*/ 125105 w 462342"/>
                <a:gd name="connsiteY63" fmla="*/ 677195 h 677195"/>
                <a:gd name="connsiteX64" fmla="*/ 106067 w 462342"/>
                <a:gd name="connsiteY64" fmla="*/ 671756 h 677195"/>
                <a:gd name="connsiteX65" fmla="*/ 87029 w 462342"/>
                <a:gd name="connsiteY65" fmla="*/ 658158 h 677195"/>
                <a:gd name="connsiteX66" fmla="*/ 81590 w 462342"/>
                <a:gd name="connsiteY66" fmla="*/ 652718 h 677195"/>
                <a:gd name="connsiteX67" fmla="*/ 67992 w 462342"/>
                <a:gd name="connsiteY67" fmla="*/ 652718 h 677195"/>
                <a:gd name="connsiteX68" fmla="*/ 43515 w 462342"/>
                <a:gd name="connsiteY68" fmla="*/ 652718 h 677195"/>
                <a:gd name="connsiteX69" fmla="*/ 16318 w 462342"/>
                <a:gd name="connsiteY69" fmla="*/ 647279 h 677195"/>
                <a:gd name="connsiteX70" fmla="*/ 0 w 462342"/>
                <a:gd name="connsiteY70" fmla="*/ 630961 h 677195"/>
                <a:gd name="connsiteX71" fmla="*/ 5439 w 462342"/>
                <a:gd name="connsiteY71" fmla="*/ 620083 h 677195"/>
                <a:gd name="connsiteX72" fmla="*/ 27197 w 462342"/>
                <a:gd name="connsiteY72" fmla="*/ 611924 h 677195"/>
                <a:gd name="connsiteX73" fmla="*/ 65272 w 462342"/>
                <a:gd name="connsiteY73" fmla="*/ 609204 h 677195"/>
                <a:gd name="connsiteX74" fmla="*/ 65272 w 462342"/>
                <a:gd name="connsiteY74" fmla="*/ 584727 h 677195"/>
                <a:gd name="connsiteX75" fmla="*/ 62552 w 462342"/>
                <a:gd name="connsiteY75" fmla="*/ 456903 h 677195"/>
                <a:gd name="connsiteX76" fmla="*/ 65272 w 462342"/>
                <a:gd name="connsiteY76" fmla="*/ 337238 h 677195"/>
                <a:gd name="connsiteX77" fmla="*/ 67992 w 462342"/>
                <a:gd name="connsiteY77" fmla="*/ 203975 h 677195"/>
                <a:gd name="connsiteX78" fmla="*/ 70712 w 462342"/>
                <a:gd name="connsiteY78" fmla="*/ 119665 h 677195"/>
                <a:gd name="connsiteX79" fmla="*/ 73431 w 462342"/>
                <a:gd name="connsiteY79" fmla="*/ 67992 h 677195"/>
                <a:gd name="connsiteX80" fmla="*/ 67992 w 462342"/>
                <a:gd name="connsiteY80" fmla="*/ 67992 h 677195"/>
                <a:gd name="connsiteX81" fmla="*/ 43515 w 462342"/>
                <a:gd name="connsiteY81" fmla="*/ 67992 h 677195"/>
                <a:gd name="connsiteX82" fmla="*/ 16318 w 462342"/>
                <a:gd name="connsiteY82" fmla="*/ 62552 h 677195"/>
                <a:gd name="connsiteX83" fmla="*/ 0 w 462342"/>
                <a:gd name="connsiteY83" fmla="*/ 46234 h 677195"/>
                <a:gd name="connsiteX84" fmla="*/ 5439 w 462342"/>
                <a:gd name="connsiteY84" fmla="*/ 35356 h 677195"/>
                <a:gd name="connsiteX85" fmla="*/ 27197 w 462342"/>
                <a:gd name="connsiteY85" fmla="*/ 27197 h 677195"/>
                <a:gd name="connsiteX86" fmla="*/ 76151 w 462342"/>
                <a:gd name="connsiteY86" fmla="*/ 21758 h 677195"/>
                <a:gd name="connsiteX87" fmla="*/ 81590 w 462342"/>
                <a:gd name="connsiteY87" fmla="*/ 13598 h 677195"/>
                <a:gd name="connsiteX88" fmla="*/ 97908 w 462342"/>
                <a:gd name="connsiteY88" fmla="*/ 5439 h 677195"/>
                <a:gd name="connsiteX89" fmla="*/ 114226 w 462342"/>
                <a:gd name="connsiteY89" fmla="*/ 0 h 6771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</a:cxnLst>
              <a:rect l="l" t="t" r="r" b="b"/>
              <a:pathLst>
                <a:path w="462342" h="677195">
                  <a:moveTo>
                    <a:pt x="214853" y="65272"/>
                  </a:moveTo>
                  <a:cubicBezTo>
                    <a:pt x="203975" y="65272"/>
                    <a:pt x="195815" y="67992"/>
                    <a:pt x="195815" y="73431"/>
                  </a:cubicBezTo>
                  <a:cubicBezTo>
                    <a:pt x="193096" y="78870"/>
                    <a:pt x="193096" y="100628"/>
                    <a:pt x="193096" y="125105"/>
                  </a:cubicBezTo>
                  <a:cubicBezTo>
                    <a:pt x="193096" y="182217"/>
                    <a:pt x="193096" y="266527"/>
                    <a:pt x="190376" y="280125"/>
                  </a:cubicBezTo>
                  <a:cubicBezTo>
                    <a:pt x="190376" y="288284"/>
                    <a:pt x="190376" y="293723"/>
                    <a:pt x="190376" y="301882"/>
                  </a:cubicBezTo>
                  <a:cubicBezTo>
                    <a:pt x="190376" y="315480"/>
                    <a:pt x="190376" y="329079"/>
                    <a:pt x="193096" y="342677"/>
                  </a:cubicBezTo>
                  <a:cubicBezTo>
                    <a:pt x="193096" y="361715"/>
                    <a:pt x="193096" y="378033"/>
                    <a:pt x="195815" y="397070"/>
                  </a:cubicBezTo>
                  <a:cubicBezTo>
                    <a:pt x="195815" y="413388"/>
                    <a:pt x="195815" y="426986"/>
                    <a:pt x="195815" y="443304"/>
                  </a:cubicBezTo>
                  <a:cubicBezTo>
                    <a:pt x="195815" y="465061"/>
                    <a:pt x="198535" y="508576"/>
                    <a:pt x="195815" y="530333"/>
                  </a:cubicBezTo>
                  <a:cubicBezTo>
                    <a:pt x="195815" y="538492"/>
                    <a:pt x="193096" y="546651"/>
                    <a:pt x="193096" y="554810"/>
                  </a:cubicBezTo>
                  <a:cubicBezTo>
                    <a:pt x="193096" y="560249"/>
                    <a:pt x="190376" y="590166"/>
                    <a:pt x="190376" y="603764"/>
                  </a:cubicBezTo>
                  <a:cubicBezTo>
                    <a:pt x="190376" y="609203"/>
                    <a:pt x="190376" y="611923"/>
                    <a:pt x="198535" y="611923"/>
                  </a:cubicBezTo>
                  <a:cubicBezTo>
                    <a:pt x="206694" y="611923"/>
                    <a:pt x="209414" y="611923"/>
                    <a:pt x="214853" y="611923"/>
                  </a:cubicBezTo>
                  <a:cubicBezTo>
                    <a:pt x="223012" y="611923"/>
                    <a:pt x="220293" y="611923"/>
                    <a:pt x="236610" y="611923"/>
                  </a:cubicBezTo>
                  <a:cubicBezTo>
                    <a:pt x="242050" y="611923"/>
                    <a:pt x="258368" y="601044"/>
                    <a:pt x="263807" y="598325"/>
                  </a:cubicBezTo>
                  <a:cubicBezTo>
                    <a:pt x="266527" y="598325"/>
                    <a:pt x="274686" y="592885"/>
                    <a:pt x="277405" y="592885"/>
                  </a:cubicBezTo>
                  <a:cubicBezTo>
                    <a:pt x="285564" y="587446"/>
                    <a:pt x="288284" y="579287"/>
                    <a:pt x="291004" y="573848"/>
                  </a:cubicBezTo>
                  <a:cubicBezTo>
                    <a:pt x="296443" y="562969"/>
                    <a:pt x="301882" y="554810"/>
                    <a:pt x="307322" y="543931"/>
                  </a:cubicBezTo>
                  <a:cubicBezTo>
                    <a:pt x="315481" y="524894"/>
                    <a:pt x="320920" y="524894"/>
                    <a:pt x="326359" y="481379"/>
                  </a:cubicBezTo>
                  <a:cubicBezTo>
                    <a:pt x="329079" y="456903"/>
                    <a:pt x="334518" y="435145"/>
                    <a:pt x="337238" y="413388"/>
                  </a:cubicBezTo>
                  <a:cubicBezTo>
                    <a:pt x="337238" y="391631"/>
                    <a:pt x="337238" y="369873"/>
                    <a:pt x="337238" y="350836"/>
                  </a:cubicBezTo>
                  <a:cubicBezTo>
                    <a:pt x="337238" y="339957"/>
                    <a:pt x="337238" y="320920"/>
                    <a:pt x="334518" y="296443"/>
                  </a:cubicBezTo>
                  <a:cubicBezTo>
                    <a:pt x="331798" y="269246"/>
                    <a:pt x="329079" y="250209"/>
                    <a:pt x="329079" y="244769"/>
                  </a:cubicBezTo>
                  <a:cubicBezTo>
                    <a:pt x="323640" y="206694"/>
                    <a:pt x="318200" y="174058"/>
                    <a:pt x="307322" y="135983"/>
                  </a:cubicBezTo>
                  <a:cubicBezTo>
                    <a:pt x="304602" y="125105"/>
                    <a:pt x="304602" y="108787"/>
                    <a:pt x="271966" y="78870"/>
                  </a:cubicBezTo>
                  <a:cubicBezTo>
                    <a:pt x="263807" y="73431"/>
                    <a:pt x="233891" y="65272"/>
                    <a:pt x="214853" y="65272"/>
                  </a:cubicBezTo>
                  <a:close/>
                  <a:moveTo>
                    <a:pt x="114226" y="0"/>
                  </a:moveTo>
                  <a:cubicBezTo>
                    <a:pt x="119665" y="0"/>
                    <a:pt x="125105" y="0"/>
                    <a:pt x="127824" y="0"/>
                  </a:cubicBezTo>
                  <a:cubicBezTo>
                    <a:pt x="133264" y="0"/>
                    <a:pt x="141422" y="0"/>
                    <a:pt x="146862" y="2720"/>
                  </a:cubicBezTo>
                  <a:cubicBezTo>
                    <a:pt x="157741" y="5439"/>
                    <a:pt x="165900" y="13598"/>
                    <a:pt x="174059" y="21758"/>
                  </a:cubicBezTo>
                  <a:cubicBezTo>
                    <a:pt x="179498" y="21758"/>
                    <a:pt x="187657" y="21758"/>
                    <a:pt x="193096" y="21758"/>
                  </a:cubicBezTo>
                  <a:cubicBezTo>
                    <a:pt x="212134" y="21758"/>
                    <a:pt x="228452" y="27197"/>
                    <a:pt x="261088" y="27197"/>
                  </a:cubicBezTo>
                  <a:cubicBezTo>
                    <a:pt x="277405" y="27197"/>
                    <a:pt x="293723" y="35356"/>
                    <a:pt x="310042" y="35356"/>
                  </a:cubicBezTo>
                  <a:cubicBezTo>
                    <a:pt x="318200" y="35356"/>
                    <a:pt x="329079" y="35356"/>
                    <a:pt x="334518" y="40795"/>
                  </a:cubicBezTo>
                  <a:cubicBezTo>
                    <a:pt x="342677" y="46234"/>
                    <a:pt x="348117" y="54393"/>
                    <a:pt x="356276" y="59833"/>
                  </a:cubicBezTo>
                  <a:cubicBezTo>
                    <a:pt x="361715" y="65272"/>
                    <a:pt x="369874" y="67992"/>
                    <a:pt x="372593" y="76151"/>
                  </a:cubicBezTo>
                  <a:cubicBezTo>
                    <a:pt x="375313" y="81590"/>
                    <a:pt x="378033" y="89749"/>
                    <a:pt x="380752" y="95188"/>
                  </a:cubicBezTo>
                  <a:cubicBezTo>
                    <a:pt x="386192" y="103347"/>
                    <a:pt x="391631" y="106067"/>
                    <a:pt x="405230" y="114226"/>
                  </a:cubicBezTo>
                  <a:cubicBezTo>
                    <a:pt x="413388" y="119665"/>
                    <a:pt x="410669" y="133263"/>
                    <a:pt x="416108" y="141422"/>
                  </a:cubicBezTo>
                  <a:cubicBezTo>
                    <a:pt x="426987" y="160461"/>
                    <a:pt x="446025" y="182218"/>
                    <a:pt x="451464" y="201256"/>
                  </a:cubicBezTo>
                  <a:cubicBezTo>
                    <a:pt x="456903" y="220293"/>
                    <a:pt x="456903" y="236611"/>
                    <a:pt x="456903" y="252929"/>
                  </a:cubicBezTo>
                  <a:cubicBezTo>
                    <a:pt x="456903" y="266527"/>
                    <a:pt x="456903" y="277406"/>
                    <a:pt x="456903" y="291004"/>
                  </a:cubicBezTo>
                  <a:cubicBezTo>
                    <a:pt x="456903" y="299163"/>
                    <a:pt x="456903" y="307322"/>
                    <a:pt x="459623" y="318201"/>
                  </a:cubicBezTo>
                  <a:cubicBezTo>
                    <a:pt x="459623" y="320921"/>
                    <a:pt x="459623" y="323640"/>
                    <a:pt x="459623" y="326360"/>
                  </a:cubicBezTo>
                  <a:cubicBezTo>
                    <a:pt x="462342" y="331799"/>
                    <a:pt x="459623" y="337238"/>
                    <a:pt x="459623" y="348117"/>
                  </a:cubicBezTo>
                  <a:cubicBezTo>
                    <a:pt x="459623" y="350837"/>
                    <a:pt x="462342" y="361715"/>
                    <a:pt x="462342" y="367155"/>
                  </a:cubicBezTo>
                  <a:cubicBezTo>
                    <a:pt x="462342" y="375314"/>
                    <a:pt x="456903" y="383473"/>
                    <a:pt x="456903" y="391632"/>
                  </a:cubicBezTo>
                  <a:cubicBezTo>
                    <a:pt x="456903" y="399790"/>
                    <a:pt x="456903" y="410669"/>
                    <a:pt x="456903" y="418828"/>
                  </a:cubicBezTo>
                  <a:cubicBezTo>
                    <a:pt x="456903" y="421548"/>
                    <a:pt x="454183" y="429707"/>
                    <a:pt x="451464" y="437866"/>
                  </a:cubicBezTo>
                  <a:cubicBezTo>
                    <a:pt x="448744" y="443305"/>
                    <a:pt x="448744" y="451464"/>
                    <a:pt x="446025" y="454184"/>
                  </a:cubicBezTo>
                  <a:cubicBezTo>
                    <a:pt x="443305" y="462343"/>
                    <a:pt x="440585" y="473221"/>
                    <a:pt x="440585" y="481380"/>
                  </a:cubicBezTo>
                  <a:cubicBezTo>
                    <a:pt x="437865" y="489539"/>
                    <a:pt x="437865" y="500418"/>
                    <a:pt x="432426" y="508577"/>
                  </a:cubicBezTo>
                  <a:cubicBezTo>
                    <a:pt x="429706" y="516736"/>
                    <a:pt x="424267" y="522175"/>
                    <a:pt x="418828" y="530334"/>
                  </a:cubicBezTo>
                  <a:cubicBezTo>
                    <a:pt x="416108" y="535773"/>
                    <a:pt x="413388" y="543932"/>
                    <a:pt x="410669" y="549371"/>
                  </a:cubicBezTo>
                  <a:cubicBezTo>
                    <a:pt x="405230" y="557531"/>
                    <a:pt x="397071" y="573848"/>
                    <a:pt x="391631" y="579288"/>
                  </a:cubicBezTo>
                  <a:cubicBezTo>
                    <a:pt x="369874" y="609204"/>
                    <a:pt x="350836" y="620083"/>
                    <a:pt x="337238" y="630961"/>
                  </a:cubicBezTo>
                  <a:cubicBezTo>
                    <a:pt x="326359" y="639120"/>
                    <a:pt x="315481" y="641840"/>
                    <a:pt x="301883" y="647279"/>
                  </a:cubicBezTo>
                  <a:cubicBezTo>
                    <a:pt x="291004" y="649999"/>
                    <a:pt x="277405" y="652718"/>
                    <a:pt x="263807" y="652718"/>
                  </a:cubicBezTo>
                  <a:cubicBezTo>
                    <a:pt x="252929" y="652718"/>
                    <a:pt x="244770" y="649999"/>
                    <a:pt x="233891" y="649999"/>
                  </a:cubicBezTo>
                  <a:cubicBezTo>
                    <a:pt x="206694" y="649999"/>
                    <a:pt x="217573" y="652718"/>
                    <a:pt x="187657" y="652718"/>
                  </a:cubicBezTo>
                  <a:cubicBezTo>
                    <a:pt x="184937" y="660877"/>
                    <a:pt x="179498" y="666317"/>
                    <a:pt x="171339" y="669036"/>
                  </a:cubicBezTo>
                  <a:cubicBezTo>
                    <a:pt x="165900" y="671756"/>
                    <a:pt x="160460" y="671756"/>
                    <a:pt x="155021" y="671756"/>
                  </a:cubicBezTo>
                  <a:cubicBezTo>
                    <a:pt x="149581" y="671756"/>
                    <a:pt x="144142" y="674476"/>
                    <a:pt x="138703" y="674476"/>
                  </a:cubicBezTo>
                  <a:cubicBezTo>
                    <a:pt x="135983" y="674476"/>
                    <a:pt x="127824" y="677195"/>
                    <a:pt x="125105" y="677195"/>
                  </a:cubicBezTo>
                  <a:cubicBezTo>
                    <a:pt x="116946" y="677195"/>
                    <a:pt x="108787" y="671756"/>
                    <a:pt x="106067" y="671756"/>
                  </a:cubicBezTo>
                  <a:cubicBezTo>
                    <a:pt x="100628" y="669036"/>
                    <a:pt x="95188" y="663597"/>
                    <a:pt x="87029" y="658158"/>
                  </a:cubicBezTo>
                  <a:cubicBezTo>
                    <a:pt x="84310" y="655438"/>
                    <a:pt x="81590" y="655438"/>
                    <a:pt x="81590" y="652718"/>
                  </a:cubicBezTo>
                  <a:cubicBezTo>
                    <a:pt x="73431" y="652718"/>
                    <a:pt x="81590" y="652718"/>
                    <a:pt x="67992" y="652718"/>
                  </a:cubicBezTo>
                  <a:cubicBezTo>
                    <a:pt x="59833" y="652718"/>
                    <a:pt x="51674" y="652718"/>
                    <a:pt x="43515" y="652718"/>
                  </a:cubicBezTo>
                  <a:cubicBezTo>
                    <a:pt x="35356" y="652718"/>
                    <a:pt x="24477" y="652718"/>
                    <a:pt x="16318" y="647279"/>
                  </a:cubicBezTo>
                  <a:cubicBezTo>
                    <a:pt x="8159" y="644559"/>
                    <a:pt x="0" y="636401"/>
                    <a:pt x="0" y="630961"/>
                  </a:cubicBezTo>
                  <a:cubicBezTo>
                    <a:pt x="0" y="625522"/>
                    <a:pt x="0" y="622802"/>
                    <a:pt x="5439" y="620083"/>
                  </a:cubicBezTo>
                  <a:cubicBezTo>
                    <a:pt x="10879" y="617363"/>
                    <a:pt x="21758" y="614643"/>
                    <a:pt x="27197" y="611924"/>
                  </a:cubicBezTo>
                  <a:cubicBezTo>
                    <a:pt x="38076" y="609204"/>
                    <a:pt x="54393" y="609204"/>
                    <a:pt x="65272" y="609204"/>
                  </a:cubicBezTo>
                  <a:cubicBezTo>
                    <a:pt x="65272" y="601045"/>
                    <a:pt x="65272" y="592886"/>
                    <a:pt x="65272" y="584727"/>
                  </a:cubicBezTo>
                  <a:cubicBezTo>
                    <a:pt x="65272" y="541213"/>
                    <a:pt x="62552" y="500418"/>
                    <a:pt x="62552" y="456903"/>
                  </a:cubicBezTo>
                  <a:cubicBezTo>
                    <a:pt x="62552" y="440585"/>
                    <a:pt x="65272" y="397071"/>
                    <a:pt x="65272" y="337238"/>
                  </a:cubicBezTo>
                  <a:cubicBezTo>
                    <a:pt x="65272" y="293724"/>
                    <a:pt x="67992" y="247490"/>
                    <a:pt x="67992" y="203975"/>
                  </a:cubicBezTo>
                  <a:cubicBezTo>
                    <a:pt x="67992" y="179498"/>
                    <a:pt x="67992" y="149582"/>
                    <a:pt x="70712" y="119665"/>
                  </a:cubicBezTo>
                  <a:cubicBezTo>
                    <a:pt x="70712" y="103347"/>
                    <a:pt x="73431" y="84309"/>
                    <a:pt x="73431" y="67992"/>
                  </a:cubicBezTo>
                  <a:cubicBezTo>
                    <a:pt x="73431" y="67992"/>
                    <a:pt x="70712" y="67992"/>
                    <a:pt x="67992" y="67992"/>
                  </a:cubicBezTo>
                  <a:cubicBezTo>
                    <a:pt x="59833" y="67992"/>
                    <a:pt x="51674" y="67992"/>
                    <a:pt x="43515" y="67992"/>
                  </a:cubicBezTo>
                  <a:cubicBezTo>
                    <a:pt x="35356" y="67992"/>
                    <a:pt x="24477" y="67992"/>
                    <a:pt x="16318" y="62552"/>
                  </a:cubicBezTo>
                  <a:cubicBezTo>
                    <a:pt x="8159" y="59833"/>
                    <a:pt x="0" y="51674"/>
                    <a:pt x="0" y="46234"/>
                  </a:cubicBezTo>
                  <a:cubicBezTo>
                    <a:pt x="0" y="43515"/>
                    <a:pt x="0" y="38075"/>
                    <a:pt x="5439" y="35356"/>
                  </a:cubicBezTo>
                  <a:cubicBezTo>
                    <a:pt x="10879" y="32636"/>
                    <a:pt x="21758" y="29916"/>
                    <a:pt x="27197" y="27197"/>
                  </a:cubicBezTo>
                  <a:cubicBezTo>
                    <a:pt x="46234" y="24477"/>
                    <a:pt x="65272" y="21758"/>
                    <a:pt x="76151" y="21758"/>
                  </a:cubicBezTo>
                  <a:cubicBezTo>
                    <a:pt x="76151" y="19038"/>
                    <a:pt x="78871" y="16318"/>
                    <a:pt x="81590" y="13598"/>
                  </a:cubicBezTo>
                  <a:cubicBezTo>
                    <a:pt x="84310" y="10879"/>
                    <a:pt x="92469" y="5439"/>
                    <a:pt x="97908" y="5439"/>
                  </a:cubicBezTo>
                  <a:cubicBezTo>
                    <a:pt x="103347" y="2720"/>
                    <a:pt x="108787" y="0"/>
                    <a:pt x="114226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/>
            </a:p>
          </p:txBody>
        </p:sp>
        <p:sp>
          <p:nvSpPr>
            <p:cNvPr id="44" name="Freeform: Shape 43">
              <a:extLst>
                <a:ext uri="{FF2B5EF4-FFF2-40B4-BE49-F238E27FC236}">
                  <a16:creationId xmlns:a16="http://schemas.microsoft.com/office/drawing/2014/main" id="{568BB7FF-CDCD-4853-9103-77AA86D4B729}"/>
                </a:ext>
              </a:extLst>
            </p:cNvPr>
            <p:cNvSpPr/>
            <p:nvPr/>
          </p:nvSpPr>
          <p:spPr bwMode="black">
            <a:xfrm>
              <a:off x="7310622" y="4197597"/>
              <a:ext cx="489539" cy="761503"/>
            </a:xfrm>
            <a:custGeom>
              <a:avLst/>
              <a:gdLst>
                <a:gd name="connsiteX0" fmla="*/ 433491 w 489538"/>
                <a:gd name="connsiteY0" fmla="*/ 651063 h 761503"/>
                <a:gd name="connsiteX1" fmla="*/ 438930 w 489538"/>
                <a:gd name="connsiteY1" fmla="*/ 661942 h 761503"/>
                <a:gd name="connsiteX2" fmla="*/ 425332 w 489538"/>
                <a:gd name="connsiteY2" fmla="*/ 683699 h 761503"/>
                <a:gd name="connsiteX3" fmla="*/ 400855 w 489538"/>
                <a:gd name="connsiteY3" fmla="*/ 691858 h 761503"/>
                <a:gd name="connsiteX4" fmla="*/ 343742 w 489538"/>
                <a:gd name="connsiteY4" fmla="*/ 700017 h 761503"/>
                <a:gd name="connsiteX5" fmla="*/ 316546 w 489538"/>
                <a:gd name="connsiteY5" fmla="*/ 705456 h 761503"/>
                <a:gd name="connsiteX6" fmla="*/ 275751 w 489538"/>
                <a:gd name="connsiteY6" fmla="*/ 705456 h 761503"/>
                <a:gd name="connsiteX7" fmla="*/ 264872 w 489538"/>
                <a:gd name="connsiteY7" fmla="*/ 708176 h 761503"/>
                <a:gd name="connsiteX8" fmla="*/ 253994 w 489538"/>
                <a:gd name="connsiteY8" fmla="*/ 708176 h 761503"/>
                <a:gd name="connsiteX9" fmla="*/ 240395 w 489538"/>
                <a:gd name="connsiteY9" fmla="*/ 719054 h 761503"/>
                <a:gd name="connsiteX10" fmla="*/ 224077 w 489538"/>
                <a:gd name="connsiteY10" fmla="*/ 721774 h 761503"/>
                <a:gd name="connsiteX11" fmla="*/ 205040 w 489538"/>
                <a:gd name="connsiteY11" fmla="*/ 724494 h 761503"/>
                <a:gd name="connsiteX12" fmla="*/ 191441 w 489538"/>
                <a:gd name="connsiteY12" fmla="*/ 727213 h 761503"/>
                <a:gd name="connsiteX13" fmla="*/ 169684 w 489538"/>
                <a:gd name="connsiteY13" fmla="*/ 721774 h 761503"/>
                <a:gd name="connsiteX14" fmla="*/ 150646 w 489538"/>
                <a:gd name="connsiteY14" fmla="*/ 708176 h 761503"/>
                <a:gd name="connsiteX15" fmla="*/ 139768 w 489538"/>
                <a:gd name="connsiteY15" fmla="*/ 708176 h 761503"/>
                <a:gd name="connsiteX16" fmla="*/ 120730 w 489538"/>
                <a:gd name="connsiteY16" fmla="*/ 708176 h 761503"/>
                <a:gd name="connsiteX17" fmla="*/ 98973 w 489538"/>
                <a:gd name="connsiteY17" fmla="*/ 708176 h 761503"/>
                <a:gd name="connsiteX18" fmla="*/ 74496 w 489538"/>
                <a:gd name="connsiteY18" fmla="*/ 702736 h 761503"/>
                <a:gd name="connsiteX19" fmla="*/ 58178 w 489538"/>
                <a:gd name="connsiteY19" fmla="*/ 683699 h 761503"/>
                <a:gd name="connsiteX20" fmla="*/ 63617 w 489538"/>
                <a:gd name="connsiteY20" fmla="*/ 675540 h 761503"/>
                <a:gd name="connsiteX21" fmla="*/ 85375 w 489538"/>
                <a:gd name="connsiteY21" fmla="*/ 667381 h 761503"/>
                <a:gd name="connsiteX22" fmla="*/ 128889 w 489538"/>
                <a:gd name="connsiteY22" fmla="*/ 661942 h 761503"/>
                <a:gd name="connsiteX23" fmla="*/ 128889 w 489538"/>
                <a:gd name="connsiteY23" fmla="*/ 602109 h 761503"/>
                <a:gd name="connsiteX24" fmla="*/ 126170 w 489538"/>
                <a:gd name="connsiteY24" fmla="*/ 523239 h 761503"/>
                <a:gd name="connsiteX25" fmla="*/ 126170 w 489538"/>
                <a:gd name="connsiteY25" fmla="*/ 468846 h 761503"/>
                <a:gd name="connsiteX26" fmla="*/ 123450 w 489538"/>
                <a:gd name="connsiteY26" fmla="*/ 409014 h 761503"/>
                <a:gd name="connsiteX27" fmla="*/ 123450 w 489538"/>
                <a:gd name="connsiteY27" fmla="*/ 384537 h 761503"/>
                <a:gd name="connsiteX28" fmla="*/ 126170 w 489538"/>
                <a:gd name="connsiteY28" fmla="*/ 349181 h 761503"/>
                <a:gd name="connsiteX29" fmla="*/ 126170 w 489538"/>
                <a:gd name="connsiteY29" fmla="*/ 324704 h 761503"/>
                <a:gd name="connsiteX30" fmla="*/ 128889 w 489538"/>
                <a:gd name="connsiteY30" fmla="*/ 292068 h 761503"/>
                <a:gd name="connsiteX31" fmla="*/ 134329 w 489538"/>
                <a:gd name="connsiteY31" fmla="*/ 234956 h 761503"/>
                <a:gd name="connsiteX32" fmla="*/ 134329 w 489538"/>
                <a:gd name="connsiteY32" fmla="*/ 172404 h 761503"/>
                <a:gd name="connsiteX33" fmla="*/ 137048 w 489538"/>
                <a:gd name="connsiteY33" fmla="*/ 123450 h 761503"/>
                <a:gd name="connsiteX34" fmla="*/ 123450 w 489538"/>
                <a:gd name="connsiteY34" fmla="*/ 123450 h 761503"/>
                <a:gd name="connsiteX35" fmla="*/ 101693 w 489538"/>
                <a:gd name="connsiteY35" fmla="*/ 123450 h 761503"/>
                <a:gd name="connsiteX36" fmla="*/ 77216 w 489538"/>
                <a:gd name="connsiteY36" fmla="*/ 118011 h 761503"/>
                <a:gd name="connsiteX37" fmla="*/ 60898 w 489538"/>
                <a:gd name="connsiteY37" fmla="*/ 98973 h 761503"/>
                <a:gd name="connsiteX38" fmla="*/ 66337 w 489538"/>
                <a:gd name="connsiteY38" fmla="*/ 90814 h 761503"/>
                <a:gd name="connsiteX39" fmla="*/ 88094 w 489538"/>
                <a:gd name="connsiteY39" fmla="*/ 82655 h 761503"/>
                <a:gd name="connsiteX40" fmla="*/ 145207 w 489538"/>
                <a:gd name="connsiteY40" fmla="*/ 77216 h 761503"/>
                <a:gd name="connsiteX41" fmla="*/ 145207 w 489538"/>
                <a:gd name="connsiteY41" fmla="*/ 77216 h 761503"/>
                <a:gd name="connsiteX42" fmla="*/ 153366 w 489538"/>
                <a:gd name="connsiteY42" fmla="*/ 69057 h 761503"/>
                <a:gd name="connsiteX43" fmla="*/ 177843 w 489538"/>
                <a:gd name="connsiteY43" fmla="*/ 60898 h 761503"/>
                <a:gd name="connsiteX44" fmla="*/ 196881 w 489538"/>
                <a:gd name="connsiteY44" fmla="*/ 58178 h 761503"/>
                <a:gd name="connsiteX45" fmla="*/ 205040 w 489538"/>
                <a:gd name="connsiteY45" fmla="*/ 58178 h 761503"/>
                <a:gd name="connsiteX46" fmla="*/ 215919 w 489538"/>
                <a:gd name="connsiteY46" fmla="*/ 63617 h 761503"/>
                <a:gd name="connsiteX47" fmla="*/ 229517 w 489538"/>
                <a:gd name="connsiteY47" fmla="*/ 69057 h 761503"/>
                <a:gd name="connsiteX48" fmla="*/ 256713 w 489538"/>
                <a:gd name="connsiteY48" fmla="*/ 77216 h 761503"/>
                <a:gd name="connsiteX49" fmla="*/ 264872 w 489538"/>
                <a:gd name="connsiteY49" fmla="*/ 77216 h 761503"/>
                <a:gd name="connsiteX50" fmla="*/ 281190 w 489538"/>
                <a:gd name="connsiteY50" fmla="*/ 77216 h 761503"/>
                <a:gd name="connsiteX51" fmla="*/ 330144 w 489538"/>
                <a:gd name="connsiteY51" fmla="*/ 77216 h 761503"/>
                <a:gd name="connsiteX52" fmla="*/ 357341 w 489538"/>
                <a:gd name="connsiteY52" fmla="*/ 79935 h 761503"/>
                <a:gd name="connsiteX53" fmla="*/ 387257 w 489538"/>
                <a:gd name="connsiteY53" fmla="*/ 82655 h 761503"/>
                <a:gd name="connsiteX54" fmla="*/ 406295 w 489538"/>
                <a:gd name="connsiteY54" fmla="*/ 85375 h 761503"/>
                <a:gd name="connsiteX55" fmla="*/ 417173 w 489538"/>
                <a:gd name="connsiteY55" fmla="*/ 79935 h 761503"/>
                <a:gd name="connsiteX56" fmla="*/ 425332 w 489538"/>
                <a:gd name="connsiteY56" fmla="*/ 85375 h 761503"/>
                <a:gd name="connsiteX57" fmla="*/ 433491 w 489538"/>
                <a:gd name="connsiteY57" fmla="*/ 104412 h 761503"/>
                <a:gd name="connsiteX58" fmla="*/ 436211 w 489538"/>
                <a:gd name="connsiteY58" fmla="*/ 137048 h 761503"/>
                <a:gd name="connsiteX59" fmla="*/ 438930 w 489538"/>
                <a:gd name="connsiteY59" fmla="*/ 183282 h 761503"/>
                <a:gd name="connsiteX60" fmla="*/ 422612 w 489538"/>
                <a:gd name="connsiteY60" fmla="*/ 218638 h 761503"/>
                <a:gd name="connsiteX61" fmla="*/ 406295 w 489538"/>
                <a:gd name="connsiteY61" fmla="*/ 213198 h 761503"/>
                <a:gd name="connsiteX62" fmla="*/ 398136 w 489538"/>
                <a:gd name="connsiteY62" fmla="*/ 196881 h 761503"/>
                <a:gd name="connsiteX63" fmla="*/ 395416 w 489538"/>
                <a:gd name="connsiteY63" fmla="*/ 175123 h 761503"/>
                <a:gd name="connsiteX64" fmla="*/ 395416 w 489538"/>
                <a:gd name="connsiteY64" fmla="*/ 153366 h 761503"/>
                <a:gd name="connsiteX65" fmla="*/ 395416 w 489538"/>
                <a:gd name="connsiteY65" fmla="*/ 126170 h 761503"/>
                <a:gd name="connsiteX66" fmla="*/ 370939 w 489538"/>
                <a:gd name="connsiteY66" fmla="*/ 128889 h 761503"/>
                <a:gd name="connsiteX67" fmla="*/ 338303 w 489538"/>
                <a:gd name="connsiteY67" fmla="*/ 131609 h 761503"/>
                <a:gd name="connsiteX68" fmla="*/ 286629 w 489538"/>
                <a:gd name="connsiteY68" fmla="*/ 134328 h 761503"/>
                <a:gd name="connsiteX69" fmla="*/ 273031 w 489538"/>
                <a:gd name="connsiteY69" fmla="*/ 137048 h 761503"/>
                <a:gd name="connsiteX70" fmla="*/ 262153 w 489538"/>
                <a:gd name="connsiteY70" fmla="*/ 142487 h 761503"/>
                <a:gd name="connsiteX71" fmla="*/ 259433 w 489538"/>
                <a:gd name="connsiteY71" fmla="*/ 153366 h 761503"/>
                <a:gd name="connsiteX72" fmla="*/ 262153 w 489538"/>
                <a:gd name="connsiteY72" fmla="*/ 166964 h 761503"/>
                <a:gd name="connsiteX73" fmla="*/ 262153 w 489538"/>
                <a:gd name="connsiteY73" fmla="*/ 196881 h 761503"/>
                <a:gd name="connsiteX74" fmla="*/ 262153 w 489538"/>
                <a:gd name="connsiteY74" fmla="*/ 215918 h 761503"/>
                <a:gd name="connsiteX75" fmla="*/ 262153 w 489538"/>
                <a:gd name="connsiteY75" fmla="*/ 251274 h 761503"/>
                <a:gd name="connsiteX76" fmla="*/ 259433 w 489538"/>
                <a:gd name="connsiteY76" fmla="*/ 278470 h 761503"/>
                <a:gd name="connsiteX77" fmla="*/ 259433 w 489538"/>
                <a:gd name="connsiteY77" fmla="*/ 308386 h 761503"/>
                <a:gd name="connsiteX78" fmla="*/ 259433 w 489538"/>
                <a:gd name="connsiteY78" fmla="*/ 321985 h 761503"/>
                <a:gd name="connsiteX79" fmla="*/ 259433 w 489538"/>
                <a:gd name="connsiteY79" fmla="*/ 332863 h 761503"/>
                <a:gd name="connsiteX80" fmla="*/ 267592 w 489538"/>
                <a:gd name="connsiteY80" fmla="*/ 335583 h 761503"/>
                <a:gd name="connsiteX81" fmla="*/ 281190 w 489538"/>
                <a:gd name="connsiteY81" fmla="*/ 335583 h 761503"/>
                <a:gd name="connsiteX82" fmla="*/ 327424 w 489538"/>
                <a:gd name="connsiteY82" fmla="*/ 338303 h 761503"/>
                <a:gd name="connsiteX83" fmla="*/ 351901 w 489538"/>
                <a:gd name="connsiteY83" fmla="*/ 341022 h 761503"/>
                <a:gd name="connsiteX84" fmla="*/ 351901 w 489538"/>
                <a:gd name="connsiteY84" fmla="*/ 335583 h 761503"/>
                <a:gd name="connsiteX85" fmla="*/ 351901 w 489538"/>
                <a:gd name="connsiteY85" fmla="*/ 313826 h 761503"/>
                <a:gd name="connsiteX86" fmla="*/ 357341 w 489538"/>
                <a:gd name="connsiteY86" fmla="*/ 289349 h 761503"/>
                <a:gd name="connsiteX87" fmla="*/ 373658 w 489538"/>
                <a:gd name="connsiteY87" fmla="*/ 273031 h 761503"/>
                <a:gd name="connsiteX88" fmla="*/ 381817 w 489538"/>
                <a:gd name="connsiteY88" fmla="*/ 278470 h 761503"/>
                <a:gd name="connsiteX89" fmla="*/ 389977 w 489538"/>
                <a:gd name="connsiteY89" fmla="*/ 300228 h 761503"/>
                <a:gd name="connsiteX90" fmla="*/ 395416 w 489538"/>
                <a:gd name="connsiteY90" fmla="*/ 351901 h 761503"/>
                <a:gd name="connsiteX91" fmla="*/ 398136 w 489538"/>
                <a:gd name="connsiteY91" fmla="*/ 409014 h 761503"/>
                <a:gd name="connsiteX92" fmla="*/ 381817 w 489538"/>
                <a:gd name="connsiteY92" fmla="*/ 444369 h 761503"/>
                <a:gd name="connsiteX93" fmla="*/ 365500 w 489538"/>
                <a:gd name="connsiteY93" fmla="*/ 438930 h 761503"/>
                <a:gd name="connsiteX94" fmla="*/ 357341 w 489538"/>
                <a:gd name="connsiteY94" fmla="*/ 422612 h 761503"/>
                <a:gd name="connsiteX95" fmla="*/ 354621 w 489538"/>
                <a:gd name="connsiteY95" fmla="*/ 400855 h 761503"/>
                <a:gd name="connsiteX96" fmla="*/ 354621 w 489538"/>
                <a:gd name="connsiteY96" fmla="*/ 381817 h 761503"/>
                <a:gd name="connsiteX97" fmla="*/ 270312 w 489538"/>
                <a:gd name="connsiteY97" fmla="*/ 381817 h 761503"/>
                <a:gd name="connsiteX98" fmla="*/ 256713 w 489538"/>
                <a:gd name="connsiteY98" fmla="*/ 395415 h 761503"/>
                <a:gd name="connsiteX99" fmla="*/ 253994 w 489538"/>
                <a:gd name="connsiteY99" fmla="*/ 422612 h 761503"/>
                <a:gd name="connsiteX100" fmla="*/ 253994 w 489538"/>
                <a:gd name="connsiteY100" fmla="*/ 433490 h 761503"/>
                <a:gd name="connsiteX101" fmla="*/ 253994 w 489538"/>
                <a:gd name="connsiteY101" fmla="*/ 449809 h 761503"/>
                <a:gd name="connsiteX102" fmla="*/ 256713 w 489538"/>
                <a:gd name="connsiteY102" fmla="*/ 474285 h 761503"/>
                <a:gd name="connsiteX103" fmla="*/ 256713 w 489538"/>
                <a:gd name="connsiteY103" fmla="*/ 496043 h 761503"/>
                <a:gd name="connsiteX104" fmla="*/ 259433 w 489538"/>
                <a:gd name="connsiteY104" fmla="*/ 534118 h 761503"/>
                <a:gd name="connsiteX105" fmla="*/ 259433 w 489538"/>
                <a:gd name="connsiteY105" fmla="*/ 591231 h 761503"/>
                <a:gd name="connsiteX106" fmla="*/ 262153 w 489538"/>
                <a:gd name="connsiteY106" fmla="*/ 618427 h 761503"/>
                <a:gd name="connsiteX107" fmla="*/ 267592 w 489538"/>
                <a:gd name="connsiteY107" fmla="*/ 648343 h 761503"/>
                <a:gd name="connsiteX108" fmla="*/ 292069 w 489538"/>
                <a:gd name="connsiteY108" fmla="*/ 651063 h 761503"/>
                <a:gd name="connsiteX109" fmla="*/ 327424 w 489538"/>
                <a:gd name="connsiteY109" fmla="*/ 651063 h 761503"/>
                <a:gd name="connsiteX110" fmla="*/ 362780 w 489538"/>
                <a:gd name="connsiteY110" fmla="*/ 653783 h 761503"/>
                <a:gd name="connsiteX111" fmla="*/ 395416 w 489538"/>
                <a:gd name="connsiteY111" fmla="*/ 648343 h 761503"/>
                <a:gd name="connsiteX112" fmla="*/ 395416 w 489538"/>
                <a:gd name="connsiteY112" fmla="*/ 618427 h 761503"/>
                <a:gd name="connsiteX113" fmla="*/ 395416 w 489538"/>
                <a:gd name="connsiteY113" fmla="*/ 596670 h 761503"/>
                <a:gd name="connsiteX114" fmla="*/ 398136 w 489538"/>
                <a:gd name="connsiteY114" fmla="*/ 574913 h 761503"/>
                <a:gd name="connsiteX115" fmla="*/ 406295 w 489538"/>
                <a:gd name="connsiteY115" fmla="*/ 558595 h 761503"/>
                <a:gd name="connsiteX116" fmla="*/ 422612 w 489538"/>
                <a:gd name="connsiteY116" fmla="*/ 553155 h 761503"/>
                <a:gd name="connsiteX117" fmla="*/ 438930 w 489538"/>
                <a:gd name="connsiteY117" fmla="*/ 588511 h 761503"/>
                <a:gd name="connsiteX118" fmla="*/ 436211 w 489538"/>
                <a:gd name="connsiteY118" fmla="*/ 645624 h 761503"/>
                <a:gd name="connsiteX119" fmla="*/ 433491 w 489538"/>
                <a:gd name="connsiteY119" fmla="*/ 651063 h 761503"/>
                <a:gd name="connsiteX120" fmla="*/ 433491 w 489538"/>
                <a:gd name="connsiteY120" fmla="*/ 651063 h 761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</a:cxnLst>
              <a:rect l="l" t="t" r="r" b="b"/>
              <a:pathLst>
                <a:path w="489538" h="761503">
                  <a:moveTo>
                    <a:pt x="433491" y="651063"/>
                  </a:moveTo>
                  <a:cubicBezTo>
                    <a:pt x="436211" y="653783"/>
                    <a:pt x="438930" y="656502"/>
                    <a:pt x="438930" y="661942"/>
                  </a:cubicBezTo>
                  <a:cubicBezTo>
                    <a:pt x="438930" y="670101"/>
                    <a:pt x="433491" y="678259"/>
                    <a:pt x="425332" y="683699"/>
                  </a:cubicBezTo>
                  <a:cubicBezTo>
                    <a:pt x="417173" y="689138"/>
                    <a:pt x="409014" y="689138"/>
                    <a:pt x="400855" y="691858"/>
                  </a:cubicBezTo>
                  <a:cubicBezTo>
                    <a:pt x="381817" y="694578"/>
                    <a:pt x="362780" y="694578"/>
                    <a:pt x="343742" y="700017"/>
                  </a:cubicBezTo>
                  <a:cubicBezTo>
                    <a:pt x="335583" y="702736"/>
                    <a:pt x="324705" y="702736"/>
                    <a:pt x="316546" y="705456"/>
                  </a:cubicBezTo>
                  <a:cubicBezTo>
                    <a:pt x="308387" y="705456"/>
                    <a:pt x="289349" y="705456"/>
                    <a:pt x="275751" y="705456"/>
                  </a:cubicBezTo>
                  <a:cubicBezTo>
                    <a:pt x="270312" y="705456"/>
                    <a:pt x="267592" y="708176"/>
                    <a:pt x="264872" y="708176"/>
                  </a:cubicBezTo>
                  <a:cubicBezTo>
                    <a:pt x="264872" y="708176"/>
                    <a:pt x="259433" y="708176"/>
                    <a:pt x="253994" y="708176"/>
                  </a:cubicBezTo>
                  <a:cubicBezTo>
                    <a:pt x="251274" y="713615"/>
                    <a:pt x="245835" y="716335"/>
                    <a:pt x="240395" y="719054"/>
                  </a:cubicBezTo>
                  <a:cubicBezTo>
                    <a:pt x="234956" y="721774"/>
                    <a:pt x="229517" y="721774"/>
                    <a:pt x="224077" y="721774"/>
                  </a:cubicBezTo>
                  <a:cubicBezTo>
                    <a:pt x="218638" y="721774"/>
                    <a:pt x="213199" y="724494"/>
                    <a:pt x="205040" y="724494"/>
                  </a:cubicBezTo>
                  <a:cubicBezTo>
                    <a:pt x="202320" y="724494"/>
                    <a:pt x="194161" y="727213"/>
                    <a:pt x="191441" y="727213"/>
                  </a:cubicBezTo>
                  <a:cubicBezTo>
                    <a:pt x="183282" y="727213"/>
                    <a:pt x="172404" y="721774"/>
                    <a:pt x="169684" y="721774"/>
                  </a:cubicBezTo>
                  <a:cubicBezTo>
                    <a:pt x="164245" y="719054"/>
                    <a:pt x="156086" y="713615"/>
                    <a:pt x="150646" y="708176"/>
                  </a:cubicBezTo>
                  <a:cubicBezTo>
                    <a:pt x="145207" y="708176"/>
                    <a:pt x="139768" y="708176"/>
                    <a:pt x="139768" y="708176"/>
                  </a:cubicBezTo>
                  <a:cubicBezTo>
                    <a:pt x="126170" y="708176"/>
                    <a:pt x="137048" y="708176"/>
                    <a:pt x="120730" y="708176"/>
                  </a:cubicBezTo>
                  <a:cubicBezTo>
                    <a:pt x="112571" y="708176"/>
                    <a:pt x="104412" y="708176"/>
                    <a:pt x="98973" y="708176"/>
                  </a:cubicBezTo>
                  <a:cubicBezTo>
                    <a:pt x="90814" y="708176"/>
                    <a:pt x="79936" y="708176"/>
                    <a:pt x="74496" y="702736"/>
                  </a:cubicBezTo>
                  <a:cubicBezTo>
                    <a:pt x="66337" y="700017"/>
                    <a:pt x="58178" y="689138"/>
                    <a:pt x="58178" y="683699"/>
                  </a:cubicBezTo>
                  <a:cubicBezTo>
                    <a:pt x="58178" y="680979"/>
                    <a:pt x="58178" y="678259"/>
                    <a:pt x="63617" y="675540"/>
                  </a:cubicBezTo>
                  <a:cubicBezTo>
                    <a:pt x="69057" y="672820"/>
                    <a:pt x="77216" y="670101"/>
                    <a:pt x="85375" y="667381"/>
                  </a:cubicBezTo>
                  <a:cubicBezTo>
                    <a:pt x="98973" y="664661"/>
                    <a:pt x="115291" y="664661"/>
                    <a:pt x="128889" y="661942"/>
                  </a:cubicBezTo>
                  <a:cubicBezTo>
                    <a:pt x="128889" y="645624"/>
                    <a:pt x="128889" y="623866"/>
                    <a:pt x="128889" y="602109"/>
                  </a:cubicBezTo>
                  <a:cubicBezTo>
                    <a:pt x="128889" y="566754"/>
                    <a:pt x="128889" y="531398"/>
                    <a:pt x="126170" y="523239"/>
                  </a:cubicBezTo>
                  <a:cubicBezTo>
                    <a:pt x="126170" y="517800"/>
                    <a:pt x="126170" y="487884"/>
                    <a:pt x="126170" y="468846"/>
                  </a:cubicBezTo>
                  <a:cubicBezTo>
                    <a:pt x="126170" y="449809"/>
                    <a:pt x="123450" y="430771"/>
                    <a:pt x="123450" y="409014"/>
                  </a:cubicBezTo>
                  <a:cubicBezTo>
                    <a:pt x="123450" y="400855"/>
                    <a:pt x="123450" y="392696"/>
                    <a:pt x="123450" y="384537"/>
                  </a:cubicBezTo>
                  <a:cubicBezTo>
                    <a:pt x="123450" y="373658"/>
                    <a:pt x="126170" y="360060"/>
                    <a:pt x="126170" y="349181"/>
                  </a:cubicBezTo>
                  <a:cubicBezTo>
                    <a:pt x="126170" y="341022"/>
                    <a:pt x="126170" y="332863"/>
                    <a:pt x="126170" y="324704"/>
                  </a:cubicBezTo>
                  <a:cubicBezTo>
                    <a:pt x="126170" y="313826"/>
                    <a:pt x="126170" y="302947"/>
                    <a:pt x="128889" y="292068"/>
                  </a:cubicBezTo>
                  <a:cubicBezTo>
                    <a:pt x="131609" y="273031"/>
                    <a:pt x="134329" y="253993"/>
                    <a:pt x="134329" y="234956"/>
                  </a:cubicBezTo>
                  <a:cubicBezTo>
                    <a:pt x="134329" y="213198"/>
                    <a:pt x="134329" y="191441"/>
                    <a:pt x="134329" y="172404"/>
                  </a:cubicBezTo>
                  <a:cubicBezTo>
                    <a:pt x="134329" y="156086"/>
                    <a:pt x="134329" y="139768"/>
                    <a:pt x="137048" y="123450"/>
                  </a:cubicBezTo>
                  <a:cubicBezTo>
                    <a:pt x="131609" y="123450"/>
                    <a:pt x="134329" y="123450"/>
                    <a:pt x="123450" y="123450"/>
                  </a:cubicBezTo>
                  <a:cubicBezTo>
                    <a:pt x="115291" y="123450"/>
                    <a:pt x="107132" y="123450"/>
                    <a:pt x="101693" y="123450"/>
                  </a:cubicBezTo>
                  <a:cubicBezTo>
                    <a:pt x="93534" y="123450"/>
                    <a:pt x="82655" y="123450"/>
                    <a:pt x="77216" y="118011"/>
                  </a:cubicBezTo>
                  <a:cubicBezTo>
                    <a:pt x="69057" y="115291"/>
                    <a:pt x="60898" y="101693"/>
                    <a:pt x="60898" y="98973"/>
                  </a:cubicBezTo>
                  <a:cubicBezTo>
                    <a:pt x="60898" y="96253"/>
                    <a:pt x="60898" y="93534"/>
                    <a:pt x="66337" y="90814"/>
                  </a:cubicBezTo>
                  <a:cubicBezTo>
                    <a:pt x="71777" y="88094"/>
                    <a:pt x="79936" y="85375"/>
                    <a:pt x="88094" y="82655"/>
                  </a:cubicBezTo>
                  <a:cubicBezTo>
                    <a:pt x="104412" y="79935"/>
                    <a:pt x="131609" y="77216"/>
                    <a:pt x="145207" y="77216"/>
                  </a:cubicBezTo>
                  <a:cubicBezTo>
                    <a:pt x="145207" y="77216"/>
                    <a:pt x="145207" y="77216"/>
                    <a:pt x="145207" y="77216"/>
                  </a:cubicBezTo>
                  <a:cubicBezTo>
                    <a:pt x="145207" y="74496"/>
                    <a:pt x="150646" y="71776"/>
                    <a:pt x="153366" y="69057"/>
                  </a:cubicBezTo>
                  <a:cubicBezTo>
                    <a:pt x="161525" y="63617"/>
                    <a:pt x="169684" y="63617"/>
                    <a:pt x="177843" y="60898"/>
                  </a:cubicBezTo>
                  <a:cubicBezTo>
                    <a:pt x="183282" y="58178"/>
                    <a:pt x="191441" y="58178"/>
                    <a:pt x="196881" y="58178"/>
                  </a:cubicBezTo>
                  <a:cubicBezTo>
                    <a:pt x="199600" y="58178"/>
                    <a:pt x="202320" y="58178"/>
                    <a:pt x="205040" y="58178"/>
                  </a:cubicBezTo>
                  <a:cubicBezTo>
                    <a:pt x="207759" y="58178"/>
                    <a:pt x="213199" y="60898"/>
                    <a:pt x="215919" y="63617"/>
                  </a:cubicBezTo>
                  <a:cubicBezTo>
                    <a:pt x="221358" y="66337"/>
                    <a:pt x="224077" y="66337"/>
                    <a:pt x="229517" y="69057"/>
                  </a:cubicBezTo>
                  <a:cubicBezTo>
                    <a:pt x="237675" y="71776"/>
                    <a:pt x="245835" y="77216"/>
                    <a:pt x="256713" y="77216"/>
                  </a:cubicBezTo>
                  <a:cubicBezTo>
                    <a:pt x="259433" y="77216"/>
                    <a:pt x="262153" y="77216"/>
                    <a:pt x="264872" y="77216"/>
                  </a:cubicBezTo>
                  <a:cubicBezTo>
                    <a:pt x="270312" y="77216"/>
                    <a:pt x="275751" y="77216"/>
                    <a:pt x="281190" y="77216"/>
                  </a:cubicBezTo>
                  <a:cubicBezTo>
                    <a:pt x="292069" y="77216"/>
                    <a:pt x="321985" y="77216"/>
                    <a:pt x="330144" y="77216"/>
                  </a:cubicBezTo>
                  <a:cubicBezTo>
                    <a:pt x="338303" y="77216"/>
                    <a:pt x="349182" y="77216"/>
                    <a:pt x="357341" y="79935"/>
                  </a:cubicBezTo>
                  <a:cubicBezTo>
                    <a:pt x="368219" y="79935"/>
                    <a:pt x="379098" y="82655"/>
                    <a:pt x="387257" y="82655"/>
                  </a:cubicBezTo>
                  <a:cubicBezTo>
                    <a:pt x="392696" y="82655"/>
                    <a:pt x="400855" y="85375"/>
                    <a:pt x="406295" y="85375"/>
                  </a:cubicBezTo>
                  <a:cubicBezTo>
                    <a:pt x="409014" y="82655"/>
                    <a:pt x="414453" y="79935"/>
                    <a:pt x="417173" y="79935"/>
                  </a:cubicBezTo>
                  <a:cubicBezTo>
                    <a:pt x="419893" y="79935"/>
                    <a:pt x="422612" y="79935"/>
                    <a:pt x="425332" y="85375"/>
                  </a:cubicBezTo>
                  <a:cubicBezTo>
                    <a:pt x="428052" y="90814"/>
                    <a:pt x="433491" y="98973"/>
                    <a:pt x="433491" y="104412"/>
                  </a:cubicBezTo>
                  <a:cubicBezTo>
                    <a:pt x="436211" y="131609"/>
                    <a:pt x="436211" y="120730"/>
                    <a:pt x="436211" y="137048"/>
                  </a:cubicBezTo>
                  <a:cubicBezTo>
                    <a:pt x="438930" y="158805"/>
                    <a:pt x="438930" y="158805"/>
                    <a:pt x="438930" y="183282"/>
                  </a:cubicBezTo>
                  <a:cubicBezTo>
                    <a:pt x="438930" y="194161"/>
                    <a:pt x="438930" y="218638"/>
                    <a:pt x="422612" y="218638"/>
                  </a:cubicBezTo>
                  <a:cubicBezTo>
                    <a:pt x="414453" y="218638"/>
                    <a:pt x="411734" y="215918"/>
                    <a:pt x="406295" y="213198"/>
                  </a:cubicBezTo>
                  <a:cubicBezTo>
                    <a:pt x="400855" y="210479"/>
                    <a:pt x="398136" y="202320"/>
                    <a:pt x="398136" y="196881"/>
                  </a:cubicBezTo>
                  <a:cubicBezTo>
                    <a:pt x="395416" y="188722"/>
                    <a:pt x="395416" y="183282"/>
                    <a:pt x="395416" y="175123"/>
                  </a:cubicBezTo>
                  <a:cubicBezTo>
                    <a:pt x="395416" y="169684"/>
                    <a:pt x="395416" y="164245"/>
                    <a:pt x="395416" y="153366"/>
                  </a:cubicBezTo>
                  <a:cubicBezTo>
                    <a:pt x="395416" y="145207"/>
                    <a:pt x="395416" y="134328"/>
                    <a:pt x="395416" y="126170"/>
                  </a:cubicBezTo>
                  <a:cubicBezTo>
                    <a:pt x="387257" y="128889"/>
                    <a:pt x="379098" y="128889"/>
                    <a:pt x="370939" y="128889"/>
                  </a:cubicBezTo>
                  <a:cubicBezTo>
                    <a:pt x="360060" y="128889"/>
                    <a:pt x="349182" y="128889"/>
                    <a:pt x="338303" y="131609"/>
                  </a:cubicBezTo>
                  <a:cubicBezTo>
                    <a:pt x="327424" y="131609"/>
                    <a:pt x="319265" y="134328"/>
                    <a:pt x="286629" y="134328"/>
                  </a:cubicBezTo>
                  <a:cubicBezTo>
                    <a:pt x="281190" y="134328"/>
                    <a:pt x="278470" y="134328"/>
                    <a:pt x="273031" y="137048"/>
                  </a:cubicBezTo>
                  <a:cubicBezTo>
                    <a:pt x="270312" y="137048"/>
                    <a:pt x="264872" y="137048"/>
                    <a:pt x="262153" y="142487"/>
                  </a:cubicBezTo>
                  <a:cubicBezTo>
                    <a:pt x="259433" y="145207"/>
                    <a:pt x="259433" y="150647"/>
                    <a:pt x="259433" y="153366"/>
                  </a:cubicBezTo>
                  <a:cubicBezTo>
                    <a:pt x="259433" y="158805"/>
                    <a:pt x="259433" y="164245"/>
                    <a:pt x="262153" y="166964"/>
                  </a:cubicBezTo>
                  <a:cubicBezTo>
                    <a:pt x="262153" y="177843"/>
                    <a:pt x="262153" y="186002"/>
                    <a:pt x="262153" y="196881"/>
                  </a:cubicBezTo>
                  <a:cubicBezTo>
                    <a:pt x="262153" y="202320"/>
                    <a:pt x="262153" y="210479"/>
                    <a:pt x="262153" y="215918"/>
                  </a:cubicBezTo>
                  <a:cubicBezTo>
                    <a:pt x="262153" y="229516"/>
                    <a:pt x="262153" y="240395"/>
                    <a:pt x="262153" y="251274"/>
                  </a:cubicBezTo>
                  <a:cubicBezTo>
                    <a:pt x="262153" y="259433"/>
                    <a:pt x="259433" y="270311"/>
                    <a:pt x="259433" y="278470"/>
                  </a:cubicBezTo>
                  <a:cubicBezTo>
                    <a:pt x="259433" y="289349"/>
                    <a:pt x="259433" y="297508"/>
                    <a:pt x="259433" y="308386"/>
                  </a:cubicBezTo>
                  <a:cubicBezTo>
                    <a:pt x="259433" y="313826"/>
                    <a:pt x="259433" y="319265"/>
                    <a:pt x="259433" y="321985"/>
                  </a:cubicBezTo>
                  <a:cubicBezTo>
                    <a:pt x="259433" y="324704"/>
                    <a:pt x="259433" y="330144"/>
                    <a:pt x="259433" y="332863"/>
                  </a:cubicBezTo>
                  <a:cubicBezTo>
                    <a:pt x="262153" y="335583"/>
                    <a:pt x="264872" y="335583"/>
                    <a:pt x="267592" y="335583"/>
                  </a:cubicBezTo>
                  <a:cubicBezTo>
                    <a:pt x="273031" y="335583"/>
                    <a:pt x="275751" y="335583"/>
                    <a:pt x="281190" y="335583"/>
                  </a:cubicBezTo>
                  <a:cubicBezTo>
                    <a:pt x="311107" y="335583"/>
                    <a:pt x="319265" y="335583"/>
                    <a:pt x="327424" y="338303"/>
                  </a:cubicBezTo>
                  <a:cubicBezTo>
                    <a:pt x="335583" y="341022"/>
                    <a:pt x="343742" y="341022"/>
                    <a:pt x="351901" y="341022"/>
                  </a:cubicBezTo>
                  <a:cubicBezTo>
                    <a:pt x="351901" y="338303"/>
                    <a:pt x="351901" y="338303"/>
                    <a:pt x="351901" y="335583"/>
                  </a:cubicBezTo>
                  <a:cubicBezTo>
                    <a:pt x="351901" y="327424"/>
                    <a:pt x="351901" y="319265"/>
                    <a:pt x="351901" y="313826"/>
                  </a:cubicBezTo>
                  <a:cubicBezTo>
                    <a:pt x="351901" y="305667"/>
                    <a:pt x="351901" y="294788"/>
                    <a:pt x="357341" y="289349"/>
                  </a:cubicBezTo>
                  <a:cubicBezTo>
                    <a:pt x="360060" y="281190"/>
                    <a:pt x="368219" y="273031"/>
                    <a:pt x="373658" y="273031"/>
                  </a:cubicBezTo>
                  <a:cubicBezTo>
                    <a:pt x="376378" y="273031"/>
                    <a:pt x="379098" y="273031"/>
                    <a:pt x="381817" y="278470"/>
                  </a:cubicBezTo>
                  <a:cubicBezTo>
                    <a:pt x="384537" y="283909"/>
                    <a:pt x="387257" y="292068"/>
                    <a:pt x="389977" y="300228"/>
                  </a:cubicBezTo>
                  <a:cubicBezTo>
                    <a:pt x="392696" y="316545"/>
                    <a:pt x="392696" y="335583"/>
                    <a:pt x="395416" y="351901"/>
                  </a:cubicBezTo>
                  <a:cubicBezTo>
                    <a:pt x="398136" y="373658"/>
                    <a:pt x="398136" y="384537"/>
                    <a:pt x="398136" y="409014"/>
                  </a:cubicBezTo>
                  <a:cubicBezTo>
                    <a:pt x="398136" y="422612"/>
                    <a:pt x="398136" y="444369"/>
                    <a:pt x="381817" y="444369"/>
                  </a:cubicBezTo>
                  <a:cubicBezTo>
                    <a:pt x="373658" y="444369"/>
                    <a:pt x="370939" y="441650"/>
                    <a:pt x="365500" y="438930"/>
                  </a:cubicBezTo>
                  <a:cubicBezTo>
                    <a:pt x="360060" y="436210"/>
                    <a:pt x="357341" y="428051"/>
                    <a:pt x="357341" y="422612"/>
                  </a:cubicBezTo>
                  <a:cubicBezTo>
                    <a:pt x="354621" y="414453"/>
                    <a:pt x="354621" y="409014"/>
                    <a:pt x="354621" y="400855"/>
                  </a:cubicBezTo>
                  <a:cubicBezTo>
                    <a:pt x="354621" y="395415"/>
                    <a:pt x="354621" y="389976"/>
                    <a:pt x="354621" y="381817"/>
                  </a:cubicBezTo>
                  <a:cubicBezTo>
                    <a:pt x="335583" y="381817"/>
                    <a:pt x="308387" y="384537"/>
                    <a:pt x="270312" y="381817"/>
                  </a:cubicBezTo>
                  <a:cubicBezTo>
                    <a:pt x="262153" y="381817"/>
                    <a:pt x="256713" y="387256"/>
                    <a:pt x="256713" y="395415"/>
                  </a:cubicBezTo>
                  <a:cubicBezTo>
                    <a:pt x="256713" y="403574"/>
                    <a:pt x="256713" y="414453"/>
                    <a:pt x="253994" y="422612"/>
                  </a:cubicBezTo>
                  <a:cubicBezTo>
                    <a:pt x="253994" y="425332"/>
                    <a:pt x="253994" y="430771"/>
                    <a:pt x="253994" y="433490"/>
                  </a:cubicBezTo>
                  <a:cubicBezTo>
                    <a:pt x="253994" y="438930"/>
                    <a:pt x="253994" y="444369"/>
                    <a:pt x="253994" y="449809"/>
                  </a:cubicBezTo>
                  <a:cubicBezTo>
                    <a:pt x="253994" y="457967"/>
                    <a:pt x="256713" y="466126"/>
                    <a:pt x="256713" y="474285"/>
                  </a:cubicBezTo>
                  <a:cubicBezTo>
                    <a:pt x="256713" y="482444"/>
                    <a:pt x="256713" y="490603"/>
                    <a:pt x="256713" y="496043"/>
                  </a:cubicBezTo>
                  <a:cubicBezTo>
                    <a:pt x="256713" y="509641"/>
                    <a:pt x="259433" y="520520"/>
                    <a:pt x="259433" y="534118"/>
                  </a:cubicBezTo>
                  <a:cubicBezTo>
                    <a:pt x="259433" y="553155"/>
                    <a:pt x="259433" y="572193"/>
                    <a:pt x="259433" y="591231"/>
                  </a:cubicBezTo>
                  <a:cubicBezTo>
                    <a:pt x="259433" y="602109"/>
                    <a:pt x="262153" y="610268"/>
                    <a:pt x="262153" y="618427"/>
                  </a:cubicBezTo>
                  <a:cubicBezTo>
                    <a:pt x="264872" y="626586"/>
                    <a:pt x="262153" y="642904"/>
                    <a:pt x="267592" y="648343"/>
                  </a:cubicBezTo>
                  <a:cubicBezTo>
                    <a:pt x="270312" y="651063"/>
                    <a:pt x="275751" y="651063"/>
                    <a:pt x="292069" y="651063"/>
                  </a:cubicBezTo>
                  <a:cubicBezTo>
                    <a:pt x="305667" y="651063"/>
                    <a:pt x="319265" y="651063"/>
                    <a:pt x="327424" y="651063"/>
                  </a:cubicBezTo>
                  <a:cubicBezTo>
                    <a:pt x="338303" y="651063"/>
                    <a:pt x="351901" y="653783"/>
                    <a:pt x="362780" y="653783"/>
                  </a:cubicBezTo>
                  <a:cubicBezTo>
                    <a:pt x="376378" y="653783"/>
                    <a:pt x="384537" y="651063"/>
                    <a:pt x="395416" y="648343"/>
                  </a:cubicBezTo>
                  <a:cubicBezTo>
                    <a:pt x="395416" y="637465"/>
                    <a:pt x="395416" y="629306"/>
                    <a:pt x="395416" y="618427"/>
                  </a:cubicBezTo>
                  <a:cubicBezTo>
                    <a:pt x="395416" y="610268"/>
                    <a:pt x="395416" y="602109"/>
                    <a:pt x="395416" y="596670"/>
                  </a:cubicBezTo>
                  <a:cubicBezTo>
                    <a:pt x="395416" y="591231"/>
                    <a:pt x="395416" y="585791"/>
                    <a:pt x="398136" y="574913"/>
                  </a:cubicBezTo>
                  <a:cubicBezTo>
                    <a:pt x="400855" y="569473"/>
                    <a:pt x="400855" y="564034"/>
                    <a:pt x="406295" y="558595"/>
                  </a:cubicBezTo>
                  <a:cubicBezTo>
                    <a:pt x="411734" y="553155"/>
                    <a:pt x="414453" y="553155"/>
                    <a:pt x="422612" y="553155"/>
                  </a:cubicBezTo>
                  <a:cubicBezTo>
                    <a:pt x="436211" y="553155"/>
                    <a:pt x="438930" y="577632"/>
                    <a:pt x="438930" y="588511"/>
                  </a:cubicBezTo>
                  <a:cubicBezTo>
                    <a:pt x="438930" y="612988"/>
                    <a:pt x="438930" y="623866"/>
                    <a:pt x="436211" y="645624"/>
                  </a:cubicBezTo>
                  <a:cubicBezTo>
                    <a:pt x="433491" y="648343"/>
                    <a:pt x="433491" y="648343"/>
                    <a:pt x="433491" y="651063"/>
                  </a:cubicBezTo>
                  <a:lnTo>
                    <a:pt x="433491" y="651063"/>
                  </a:ln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/>
            </a:p>
          </p:txBody>
        </p:sp>
        <p:sp>
          <p:nvSpPr>
            <p:cNvPr id="45" name="Freeform: Shape 44">
              <a:extLst>
                <a:ext uri="{FF2B5EF4-FFF2-40B4-BE49-F238E27FC236}">
                  <a16:creationId xmlns:a16="http://schemas.microsoft.com/office/drawing/2014/main" id="{09DD6EF6-A4E3-4383-B590-F3C24B760A4F}"/>
                </a:ext>
              </a:extLst>
            </p:cNvPr>
            <p:cNvSpPr/>
            <p:nvPr/>
          </p:nvSpPr>
          <p:spPr bwMode="black">
            <a:xfrm>
              <a:off x="7912732" y="4250336"/>
              <a:ext cx="465062" cy="658157"/>
            </a:xfrm>
            <a:custGeom>
              <a:avLst/>
              <a:gdLst>
                <a:gd name="connsiteX0" fmla="*/ 193096 w 465062"/>
                <a:gd name="connsiteY0" fmla="*/ 59832 h 658157"/>
                <a:gd name="connsiteX1" fmla="*/ 193096 w 465062"/>
                <a:gd name="connsiteY1" fmla="*/ 114226 h 658157"/>
                <a:gd name="connsiteX2" fmla="*/ 198536 w 465062"/>
                <a:gd name="connsiteY2" fmla="*/ 209414 h 658157"/>
                <a:gd name="connsiteX3" fmla="*/ 201255 w 465062"/>
                <a:gd name="connsiteY3" fmla="*/ 282845 h 658157"/>
                <a:gd name="connsiteX4" fmla="*/ 203975 w 465062"/>
                <a:gd name="connsiteY4" fmla="*/ 315481 h 658157"/>
                <a:gd name="connsiteX5" fmla="*/ 203975 w 465062"/>
                <a:gd name="connsiteY5" fmla="*/ 320920 h 658157"/>
                <a:gd name="connsiteX6" fmla="*/ 212134 w 465062"/>
                <a:gd name="connsiteY6" fmla="*/ 329079 h 658157"/>
                <a:gd name="connsiteX7" fmla="*/ 223013 w 465062"/>
                <a:gd name="connsiteY7" fmla="*/ 329079 h 658157"/>
                <a:gd name="connsiteX8" fmla="*/ 239331 w 465062"/>
                <a:gd name="connsiteY8" fmla="*/ 329079 h 658157"/>
                <a:gd name="connsiteX9" fmla="*/ 280126 w 465062"/>
                <a:gd name="connsiteY9" fmla="*/ 312761 h 658157"/>
                <a:gd name="connsiteX10" fmla="*/ 296443 w 465062"/>
                <a:gd name="connsiteY10" fmla="*/ 288284 h 658157"/>
                <a:gd name="connsiteX11" fmla="*/ 304602 w 465062"/>
                <a:gd name="connsiteY11" fmla="*/ 258368 h 658157"/>
                <a:gd name="connsiteX12" fmla="*/ 312761 w 465062"/>
                <a:gd name="connsiteY12" fmla="*/ 225732 h 658157"/>
                <a:gd name="connsiteX13" fmla="*/ 315481 w 465062"/>
                <a:gd name="connsiteY13" fmla="*/ 195816 h 658157"/>
                <a:gd name="connsiteX14" fmla="*/ 318201 w 465062"/>
                <a:gd name="connsiteY14" fmla="*/ 168619 h 658157"/>
                <a:gd name="connsiteX15" fmla="*/ 312761 w 465062"/>
                <a:gd name="connsiteY15" fmla="*/ 135983 h 658157"/>
                <a:gd name="connsiteX16" fmla="*/ 312761 w 465062"/>
                <a:gd name="connsiteY16" fmla="*/ 122385 h 658157"/>
                <a:gd name="connsiteX17" fmla="*/ 293724 w 465062"/>
                <a:gd name="connsiteY17" fmla="*/ 84309 h 658157"/>
                <a:gd name="connsiteX18" fmla="*/ 280126 w 465062"/>
                <a:gd name="connsiteY18" fmla="*/ 73430 h 658157"/>
                <a:gd name="connsiteX19" fmla="*/ 258368 w 465062"/>
                <a:gd name="connsiteY19" fmla="*/ 62552 h 658157"/>
                <a:gd name="connsiteX20" fmla="*/ 217573 w 465062"/>
                <a:gd name="connsiteY20" fmla="*/ 59832 h 658157"/>
                <a:gd name="connsiteX21" fmla="*/ 111506 w 465062"/>
                <a:gd name="connsiteY21" fmla="*/ 0 h 658157"/>
                <a:gd name="connsiteX22" fmla="*/ 127824 w 465062"/>
                <a:gd name="connsiteY22" fmla="*/ 0 h 658157"/>
                <a:gd name="connsiteX23" fmla="*/ 157741 w 465062"/>
                <a:gd name="connsiteY23" fmla="*/ 5440 h 658157"/>
                <a:gd name="connsiteX24" fmla="*/ 179497 w 465062"/>
                <a:gd name="connsiteY24" fmla="*/ 16318 h 658157"/>
                <a:gd name="connsiteX25" fmla="*/ 209414 w 465062"/>
                <a:gd name="connsiteY25" fmla="*/ 16318 h 658157"/>
                <a:gd name="connsiteX26" fmla="*/ 247489 w 465062"/>
                <a:gd name="connsiteY26" fmla="*/ 16318 h 658157"/>
                <a:gd name="connsiteX27" fmla="*/ 266527 w 465062"/>
                <a:gd name="connsiteY27" fmla="*/ 16318 h 658157"/>
                <a:gd name="connsiteX28" fmla="*/ 312761 w 465062"/>
                <a:gd name="connsiteY28" fmla="*/ 27197 h 658157"/>
                <a:gd name="connsiteX29" fmla="*/ 337238 w 465062"/>
                <a:gd name="connsiteY29" fmla="*/ 38075 h 658157"/>
                <a:gd name="connsiteX30" fmla="*/ 364434 w 465062"/>
                <a:gd name="connsiteY30" fmla="*/ 54393 h 658157"/>
                <a:gd name="connsiteX31" fmla="*/ 386192 w 465062"/>
                <a:gd name="connsiteY31" fmla="*/ 73431 h 658157"/>
                <a:gd name="connsiteX32" fmla="*/ 407949 w 465062"/>
                <a:gd name="connsiteY32" fmla="*/ 103347 h 658157"/>
                <a:gd name="connsiteX33" fmla="*/ 416108 w 465062"/>
                <a:gd name="connsiteY33" fmla="*/ 141422 h 658157"/>
                <a:gd name="connsiteX34" fmla="*/ 418828 w 465062"/>
                <a:gd name="connsiteY34" fmla="*/ 163179 h 658157"/>
                <a:gd name="connsiteX35" fmla="*/ 418828 w 465062"/>
                <a:gd name="connsiteY35" fmla="*/ 171339 h 658157"/>
                <a:gd name="connsiteX36" fmla="*/ 421547 w 465062"/>
                <a:gd name="connsiteY36" fmla="*/ 187656 h 658157"/>
                <a:gd name="connsiteX37" fmla="*/ 418828 w 465062"/>
                <a:gd name="connsiteY37" fmla="*/ 206694 h 658157"/>
                <a:gd name="connsiteX38" fmla="*/ 416108 w 465062"/>
                <a:gd name="connsiteY38" fmla="*/ 233891 h 658157"/>
                <a:gd name="connsiteX39" fmla="*/ 405229 w 465062"/>
                <a:gd name="connsiteY39" fmla="*/ 263807 h 658157"/>
                <a:gd name="connsiteX40" fmla="*/ 394351 w 465062"/>
                <a:gd name="connsiteY40" fmla="*/ 274686 h 658157"/>
                <a:gd name="connsiteX41" fmla="*/ 388912 w 465062"/>
                <a:gd name="connsiteY41" fmla="*/ 285564 h 658157"/>
                <a:gd name="connsiteX42" fmla="*/ 369874 w 465062"/>
                <a:gd name="connsiteY42" fmla="*/ 304602 h 658157"/>
                <a:gd name="connsiteX43" fmla="*/ 358995 w 465062"/>
                <a:gd name="connsiteY43" fmla="*/ 310041 h 658157"/>
                <a:gd name="connsiteX44" fmla="*/ 348117 w 465062"/>
                <a:gd name="connsiteY44" fmla="*/ 320920 h 658157"/>
                <a:gd name="connsiteX45" fmla="*/ 326359 w 465062"/>
                <a:gd name="connsiteY45" fmla="*/ 339957 h 658157"/>
                <a:gd name="connsiteX46" fmla="*/ 312761 w 465062"/>
                <a:gd name="connsiteY46" fmla="*/ 353555 h 658157"/>
                <a:gd name="connsiteX47" fmla="*/ 337238 w 465062"/>
                <a:gd name="connsiteY47" fmla="*/ 380752 h 658157"/>
                <a:gd name="connsiteX48" fmla="*/ 358995 w 465062"/>
                <a:gd name="connsiteY48" fmla="*/ 421547 h 658157"/>
                <a:gd name="connsiteX49" fmla="*/ 372593 w 465062"/>
                <a:gd name="connsiteY49" fmla="*/ 459622 h 658157"/>
                <a:gd name="connsiteX50" fmla="*/ 386192 w 465062"/>
                <a:gd name="connsiteY50" fmla="*/ 514015 h 658157"/>
                <a:gd name="connsiteX51" fmla="*/ 407949 w 465062"/>
                <a:gd name="connsiteY51" fmla="*/ 568408 h 658157"/>
                <a:gd name="connsiteX52" fmla="*/ 421547 w 465062"/>
                <a:gd name="connsiteY52" fmla="*/ 598324 h 658157"/>
                <a:gd name="connsiteX53" fmla="*/ 451463 w 465062"/>
                <a:gd name="connsiteY53" fmla="*/ 628241 h 658157"/>
                <a:gd name="connsiteX54" fmla="*/ 465062 w 465062"/>
                <a:gd name="connsiteY54" fmla="*/ 644559 h 658157"/>
                <a:gd name="connsiteX55" fmla="*/ 462342 w 465062"/>
                <a:gd name="connsiteY55" fmla="*/ 649998 h 658157"/>
                <a:gd name="connsiteX56" fmla="*/ 437865 w 465062"/>
                <a:gd name="connsiteY56" fmla="*/ 658157 h 658157"/>
                <a:gd name="connsiteX57" fmla="*/ 361715 w 465062"/>
                <a:gd name="connsiteY57" fmla="*/ 622801 h 658157"/>
                <a:gd name="connsiteX58" fmla="*/ 320920 w 465062"/>
                <a:gd name="connsiteY58" fmla="*/ 565689 h 658157"/>
                <a:gd name="connsiteX59" fmla="*/ 304602 w 465062"/>
                <a:gd name="connsiteY59" fmla="*/ 530333 h 658157"/>
                <a:gd name="connsiteX60" fmla="*/ 293723 w 465062"/>
                <a:gd name="connsiteY60" fmla="*/ 497697 h 658157"/>
                <a:gd name="connsiteX61" fmla="*/ 282845 w 465062"/>
                <a:gd name="connsiteY61" fmla="*/ 462342 h 658157"/>
                <a:gd name="connsiteX62" fmla="*/ 269246 w 465062"/>
                <a:gd name="connsiteY62" fmla="*/ 424267 h 658157"/>
                <a:gd name="connsiteX63" fmla="*/ 255648 w 465062"/>
                <a:gd name="connsiteY63" fmla="*/ 391631 h 658157"/>
                <a:gd name="connsiteX64" fmla="*/ 236610 w 465062"/>
                <a:gd name="connsiteY64" fmla="*/ 367154 h 658157"/>
                <a:gd name="connsiteX65" fmla="*/ 217573 w 465062"/>
                <a:gd name="connsiteY65" fmla="*/ 361714 h 658157"/>
                <a:gd name="connsiteX66" fmla="*/ 201255 w 465062"/>
                <a:gd name="connsiteY66" fmla="*/ 361714 h 658157"/>
                <a:gd name="connsiteX67" fmla="*/ 198535 w 465062"/>
                <a:gd name="connsiteY67" fmla="*/ 367154 h 658157"/>
                <a:gd name="connsiteX68" fmla="*/ 201255 w 465062"/>
                <a:gd name="connsiteY68" fmla="*/ 388911 h 658157"/>
                <a:gd name="connsiteX69" fmla="*/ 198535 w 465062"/>
                <a:gd name="connsiteY69" fmla="*/ 426986 h 658157"/>
                <a:gd name="connsiteX70" fmla="*/ 203975 w 465062"/>
                <a:gd name="connsiteY70" fmla="*/ 478660 h 658157"/>
                <a:gd name="connsiteX71" fmla="*/ 198535 w 465062"/>
                <a:gd name="connsiteY71" fmla="*/ 552090 h 658157"/>
                <a:gd name="connsiteX72" fmla="*/ 195816 w 465062"/>
                <a:gd name="connsiteY72" fmla="*/ 576567 h 658157"/>
                <a:gd name="connsiteX73" fmla="*/ 198535 w 465062"/>
                <a:gd name="connsiteY73" fmla="*/ 592885 h 658157"/>
                <a:gd name="connsiteX74" fmla="*/ 233891 w 465062"/>
                <a:gd name="connsiteY74" fmla="*/ 592885 h 658157"/>
                <a:gd name="connsiteX75" fmla="*/ 271966 w 465062"/>
                <a:gd name="connsiteY75" fmla="*/ 611923 h 658157"/>
                <a:gd name="connsiteX76" fmla="*/ 266527 w 465062"/>
                <a:gd name="connsiteY76" fmla="*/ 628241 h 658157"/>
                <a:gd name="connsiteX77" fmla="*/ 250209 w 465062"/>
                <a:gd name="connsiteY77" fmla="*/ 636400 h 658157"/>
                <a:gd name="connsiteX78" fmla="*/ 228451 w 465062"/>
                <a:gd name="connsiteY78" fmla="*/ 639119 h 658157"/>
                <a:gd name="connsiteX79" fmla="*/ 187657 w 465062"/>
                <a:gd name="connsiteY79" fmla="*/ 639119 h 658157"/>
                <a:gd name="connsiteX80" fmla="*/ 152301 w 465062"/>
                <a:gd name="connsiteY80" fmla="*/ 652717 h 658157"/>
                <a:gd name="connsiteX81" fmla="*/ 133263 w 465062"/>
                <a:gd name="connsiteY81" fmla="*/ 655437 h 658157"/>
                <a:gd name="connsiteX82" fmla="*/ 122385 w 465062"/>
                <a:gd name="connsiteY82" fmla="*/ 652717 h 658157"/>
                <a:gd name="connsiteX83" fmla="*/ 97908 w 465062"/>
                <a:gd name="connsiteY83" fmla="*/ 639119 h 658157"/>
                <a:gd name="connsiteX84" fmla="*/ 70711 w 465062"/>
                <a:gd name="connsiteY84" fmla="*/ 639119 h 658157"/>
                <a:gd name="connsiteX85" fmla="*/ 46234 w 465062"/>
                <a:gd name="connsiteY85" fmla="*/ 639119 h 658157"/>
                <a:gd name="connsiteX86" fmla="*/ 19038 w 465062"/>
                <a:gd name="connsiteY86" fmla="*/ 630960 h 658157"/>
                <a:gd name="connsiteX87" fmla="*/ 2720 w 465062"/>
                <a:gd name="connsiteY87" fmla="*/ 614642 h 658157"/>
                <a:gd name="connsiteX88" fmla="*/ 8159 w 465062"/>
                <a:gd name="connsiteY88" fmla="*/ 606483 h 658157"/>
                <a:gd name="connsiteX89" fmla="*/ 29916 w 465062"/>
                <a:gd name="connsiteY89" fmla="*/ 598324 h 658157"/>
                <a:gd name="connsiteX90" fmla="*/ 76151 w 465062"/>
                <a:gd name="connsiteY90" fmla="*/ 592885 h 658157"/>
                <a:gd name="connsiteX91" fmla="*/ 73431 w 465062"/>
                <a:gd name="connsiteY91" fmla="*/ 573848 h 658157"/>
                <a:gd name="connsiteX92" fmla="*/ 70711 w 465062"/>
                <a:gd name="connsiteY92" fmla="*/ 500417 h 658157"/>
                <a:gd name="connsiteX93" fmla="*/ 73431 w 465062"/>
                <a:gd name="connsiteY93" fmla="*/ 437865 h 658157"/>
                <a:gd name="connsiteX94" fmla="*/ 70711 w 465062"/>
                <a:gd name="connsiteY94" fmla="*/ 369873 h 658157"/>
                <a:gd name="connsiteX95" fmla="*/ 70711 w 465062"/>
                <a:gd name="connsiteY95" fmla="*/ 293723 h 658157"/>
                <a:gd name="connsiteX96" fmla="*/ 73431 w 465062"/>
                <a:gd name="connsiteY96" fmla="*/ 212133 h 658157"/>
                <a:gd name="connsiteX97" fmla="*/ 76151 w 465062"/>
                <a:gd name="connsiteY97" fmla="*/ 155021 h 658157"/>
                <a:gd name="connsiteX98" fmla="*/ 76151 w 465062"/>
                <a:gd name="connsiteY98" fmla="*/ 119665 h 658157"/>
                <a:gd name="connsiteX99" fmla="*/ 78870 w 465062"/>
                <a:gd name="connsiteY99" fmla="*/ 84310 h 658157"/>
                <a:gd name="connsiteX100" fmla="*/ 76151 w 465062"/>
                <a:gd name="connsiteY100" fmla="*/ 62552 h 658157"/>
                <a:gd name="connsiteX101" fmla="*/ 67992 w 465062"/>
                <a:gd name="connsiteY101" fmla="*/ 62552 h 658157"/>
                <a:gd name="connsiteX102" fmla="*/ 43515 w 465062"/>
                <a:gd name="connsiteY102" fmla="*/ 62552 h 658157"/>
                <a:gd name="connsiteX103" fmla="*/ 16318 w 465062"/>
                <a:gd name="connsiteY103" fmla="*/ 57113 h 658157"/>
                <a:gd name="connsiteX104" fmla="*/ 0 w 465062"/>
                <a:gd name="connsiteY104" fmla="*/ 40795 h 658157"/>
                <a:gd name="connsiteX105" fmla="*/ 5439 w 465062"/>
                <a:gd name="connsiteY105" fmla="*/ 32636 h 658157"/>
                <a:gd name="connsiteX106" fmla="*/ 27197 w 465062"/>
                <a:gd name="connsiteY106" fmla="*/ 24477 h 658157"/>
                <a:gd name="connsiteX107" fmla="*/ 76151 w 465062"/>
                <a:gd name="connsiteY107" fmla="*/ 19038 h 658157"/>
                <a:gd name="connsiteX108" fmla="*/ 78870 w 465062"/>
                <a:gd name="connsiteY108" fmla="*/ 13598 h 658157"/>
                <a:gd name="connsiteX109" fmla="*/ 95188 w 465062"/>
                <a:gd name="connsiteY109" fmla="*/ 5440 h 658157"/>
                <a:gd name="connsiteX110" fmla="*/ 111506 w 465062"/>
                <a:gd name="connsiteY110" fmla="*/ 0 h 6581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</a:cxnLst>
              <a:rect l="l" t="t" r="r" b="b"/>
              <a:pathLst>
                <a:path w="465062" h="658157">
                  <a:moveTo>
                    <a:pt x="193096" y="59832"/>
                  </a:moveTo>
                  <a:cubicBezTo>
                    <a:pt x="193096" y="73430"/>
                    <a:pt x="193096" y="89748"/>
                    <a:pt x="193096" y="114226"/>
                  </a:cubicBezTo>
                  <a:cubicBezTo>
                    <a:pt x="193096" y="144142"/>
                    <a:pt x="195816" y="176778"/>
                    <a:pt x="198536" y="209414"/>
                  </a:cubicBezTo>
                  <a:cubicBezTo>
                    <a:pt x="198536" y="247489"/>
                    <a:pt x="201255" y="277406"/>
                    <a:pt x="201255" y="282845"/>
                  </a:cubicBezTo>
                  <a:cubicBezTo>
                    <a:pt x="201255" y="293723"/>
                    <a:pt x="203975" y="304602"/>
                    <a:pt x="203975" y="315481"/>
                  </a:cubicBezTo>
                  <a:cubicBezTo>
                    <a:pt x="203975" y="318200"/>
                    <a:pt x="203975" y="318200"/>
                    <a:pt x="203975" y="320920"/>
                  </a:cubicBezTo>
                  <a:cubicBezTo>
                    <a:pt x="203975" y="326359"/>
                    <a:pt x="206695" y="329079"/>
                    <a:pt x="212134" y="329079"/>
                  </a:cubicBezTo>
                  <a:cubicBezTo>
                    <a:pt x="214854" y="329079"/>
                    <a:pt x="220293" y="329079"/>
                    <a:pt x="223013" y="329079"/>
                  </a:cubicBezTo>
                  <a:cubicBezTo>
                    <a:pt x="228452" y="329079"/>
                    <a:pt x="233891" y="329079"/>
                    <a:pt x="239331" y="329079"/>
                  </a:cubicBezTo>
                  <a:cubicBezTo>
                    <a:pt x="252929" y="329079"/>
                    <a:pt x="271967" y="323640"/>
                    <a:pt x="280126" y="312761"/>
                  </a:cubicBezTo>
                  <a:cubicBezTo>
                    <a:pt x="288284" y="304602"/>
                    <a:pt x="291004" y="299163"/>
                    <a:pt x="296443" y="288284"/>
                  </a:cubicBezTo>
                  <a:cubicBezTo>
                    <a:pt x="299163" y="277406"/>
                    <a:pt x="301883" y="269247"/>
                    <a:pt x="304602" y="258368"/>
                  </a:cubicBezTo>
                  <a:cubicBezTo>
                    <a:pt x="307322" y="244770"/>
                    <a:pt x="310042" y="239330"/>
                    <a:pt x="312761" y="225732"/>
                  </a:cubicBezTo>
                  <a:cubicBezTo>
                    <a:pt x="315481" y="212134"/>
                    <a:pt x="315481" y="209414"/>
                    <a:pt x="315481" y="195816"/>
                  </a:cubicBezTo>
                  <a:cubicBezTo>
                    <a:pt x="315481" y="179498"/>
                    <a:pt x="315481" y="184937"/>
                    <a:pt x="318201" y="168619"/>
                  </a:cubicBezTo>
                  <a:cubicBezTo>
                    <a:pt x="312761" y="152302"/>
                    <a:pt x="312761" y="149582"/>
                    <a:pt x="312761" y="135983"/>
                  </a:cubicBezTo>
                  <a:cubicBezTo>
                    <a:pt x="312761" y="133264"/>
                    <a:pt x="312761" y="127825"/>
                    <a:pt x="312761" y="122385"/>
                  </a:cubicBezTo>
                  <a:cubicBezTo>
                    <a:pt x="312761" y="111507"/>
                    <a:pt x="301883" y="95188"/>
                    <a:pt x="293724" y="84309"/>
                  </a:cubicBezTo>
                  <a:cubicBezTo>
                    <a:pt x="288284" y="78870"/>
                    <a:pt x="285565" y="76150"/>
                    <a:pt x="280126" y="73430"/>
                  </a:cubicBezTo>
                  <a:cubicBezTo>
                    <a:pt x="271967" y="67991"/>
                    <a:pt x="266527" y="65271"/>
                    <a:pt x="258368" y="62552"/>
                  </a:cubicBezTo>
                  <a:cubicBezTo>
                    <a:pt x="244770" y="59832"/>
                    <a:pt x="228452" y="59832"/>
                    <a:pt x="217573" y="59832"/>
                  </a:cubicBezTo>
                  <a:close/>
                  <a:moveTo>
                    <a:pt x="111506" y="0"/>
                  </a:moveTo>
                  <a:cubicBezTo>
                    <a:pt x="114226" y="0"/>
                    <a:pt x="122385" y="0"/>
                    <a:pt x="127824" y="0"/>
                  </a:cubicBezTo>
                  <a:cubicBezTo>
                    <a:pt x="135983" y="0"/>
                    <a:pt x="146862" y="2720"/>
                    <a:pt x="157741" y="5440"/>
                  </a:cubicBezTo>
                  <a:cubicBezTo>
                    <a:pt x="168619" y="8159"/>
                    <a:pt x="176778" y="10879"/>
                    <a:pt x="179497" y="16318"/>
                  </a:cubicBezTo>
                  <a:cubicBezTo>
                    <a:pt x="193096" y="16318"/>
                    <a:pt x="201255" y="16318"/>
                    <a:pt x="209414" y="16318"/>
                  </a:cubicBezTo>
                  <a:cubicBezTo>
                    <a:pt x="220292" y="16318"/>
                    <a:pt x="231171" y="16318"/>
                    <a:pt x="247489" y="16318"/>
                  </a:cubicBezTo>
                  <a:cubicBezTo>
                    <a:pt x="250209" y="16318"/>
                    <a:pt x="258368" y="16318"/>
                    <a:pt x="266527" y="16318"/>
                  </a:cubicBezTo>
                  <a:cubicBezTo>
                    <a:pt x="277405" y="16318"/>
                    <a:pt x="291004" y="21758"/>
                    <a:pt x="312761" y="27197"/>
                  </a:cubicBezTo>
                  <a:cubicBezTo>
                    <a:pt x="320920" y="29917"/>
                    <a:pt x="329079" y="35356"/>
                    <a:pt x="337238" y="38075"/>
                  </a:cubicBezTo>
                  <a:cubicBezTo>
                    <a:pt x="342677" y="40795"/>
                    <a:pt x="353556" y="48954"/>
                    <a:pt x="364434" y="54393"/>
                  </a:cubicBezTo>
                  <a:cubicBezTo>
                    <a:pt x="375313" y="62552"/>
                    <a:pt x="386192" y="67992"/>
                    <a:pt x="386192" y="73431"/>
                  </a:cubicBezTo>
                  <a:cubicBezTo>
                    <a:pt x="391631" y="84310"/>
                    <a:pt x="402510" y="92469"/>
                    <a:pt x="407949" y="103347"/>
                  </a:cubicBezTo>
                  <a:cubicBezTo>
                    <a:pt x="413388" y="116945"/>
                    <a:pt x="416108" y="130544"/>
                    <a:pt x="416108" y="141422"/>
                  </a:cubicBezTo>
                  <a:cubicBezTo>
                    <a:pt x="416108" y="152301"/>
                    <a:pt x="418828" y="157740"/>
                    <a:pt x="418828" y="163179"/>
                  </a:cubicBezTo>
                  <a:cubicBezTo>
                    <a:pt x="418828" y="165899"/>
                    <a:pt x="418828" y="168619"/>
                    <a:pt x="418828" y="171339"/>
                  </a:cubicBezTo>
                  <a:cubicBezTo>
                    <a:pt x="418828" y="174058"/>
                    <a:pt x="421547" y="182217"/>
                    <a:pt x="421547" y="187656"/>
                  </a:cubicBezTo>
                  <a:cubicBezTo>
                    <a:pt x="421547" y="193096"/>
                    <a:pt x="418828" y="201255"/>
                    <a:pt x="418828" y="206694"/>
                  </a:cubicBezTo>
                  <a:cubicBezTo>
                    <a:pt x="418828" y="217573"/>
                    <a:pt x="418828" y="223012"/>
                    <a:pt x="416108" y="233891"/>
                  </a:cubicBezTo>
                  <a:cubicBezTo>
                    <a:pt x="413388" y="244769"/>
                    <a:pt x="410668" y="255648"/>
                    <a:pt x="405229" y="263807"/>
                  </a:cubicBezTo>
                  <a:cubicBezTo>
                    <a:pt x="402510" y="269246"/>
                    <a:pt x="397070" y="269246"/>
                    <a:pt x="394351" y="274686"/>
                  </a:cubicBezTo>
                  <a:cubicBezTo>
                    <a:pt x="391631" y="277405"/>
                    <a:pt x="391631" y="282844"/>
                    <a:pt x="388912" y="285564"/>
                  </a:cubicBezTo>
                  <a:cubicBezTo>
                    <a:pt x="383472" y="291003"/>
                    <a:pt x="375313" y="301882"/>
                    <a:pt x="369874" y="304602"/>
                  </a:cubicBezTo>
                  <a:cubicBezTo>
                    <a:pt x="367154" y="307321"/>
                    <a:pt x="361715" y="307321"/>
                    <a:pt x="358995" y="310041"/>
                  </a:cubicBezTo>
                  <a:cubicBezTo>
                    <a:pt x="356275" y="312761"/>
                    <a:pt x="350836" y="318200"/>
                    <a:pt x="348117" y="320920"/>
                  </a:cubicBezTo>
                  <a:cubicBezTo>
                    <a:pt x="339958" y="326359"/>
                    <a:pt x="334518" y="334518"/>
                    <a:pt x="326359" y="339957"/>
                  </a:cubicBezTo>
                  <a:cubicBezTo>
                    <a:pt x="320920" y="342677"/>
                    <a:pt x="312761" y="342677"/>
                    <a:pt x="312761" y="353555"/>
                  </a:cubicBezTo>
                  <a:cubicBezTo>
                    <a:pt x="312761" y="361714"/>
                    <a:pt x="334518" y="372593"/>
                    <a:pt x="337238" y="380752"/>
                  </a:cubicBezTo>
                  <a:cubicBezTo>
                    <a:pt x="345397" y="394350"/>
                    <a:pt x="353556" y="407948"/>
                    <a:pt x="358995" y="421547"/>
                  </a:cubicBezTo>
                  <a:cubicBezTo>
                    <a:pt x="364434" y="435145"/>
                    <a:pt x="367154" y="446024"/>
                    <a:pt x="372593" y="459622"/>
                  </a:cubicBezTo>
                  <a:cubicBezTo>
                    <a:pt x="378033" y="478660"/>
                    <a:pt x="383472" y="494978"/>
                    <a:pt x="386192" y="514015"/>
                  </a:cubicBezTo>
                  <a:cubicBezTo>
                    <a:pt x="391631" y="533053"/>
                    <a:pt x="402510" y="549371"/>
                    <a:pt x="407949" y="568408"/>
                  </a:cubicBezTo>
                  <a:cubicBezTo>
                    <a:pt x="410668" y="579287"/>
                    <a:pt x="416108" y="590165"/>
                    <a:pt x="421547" y="598324"/>
                  </a:cubicBezTo>
                  <a:cubicBezTo>
                    <a:pt x="435146" y="614642"/>
                    <a:pt x="443305" y="622801"/>
                    <a:pt x="451463" y="628241"/>
                  </a:cubicBezTo>
                  <a:cubicBezTo>
                    <a:pt x="456903" y="630960"/>
                    <a:pt x="465062" y="636400"/>
                    <a:pt x="465062" y="644559"/>
                  </a:cubicBezTo>
                  <a:cubicBezTo>
                    <a:pt x="465062" y="647278"/>
                    <a:pt x="465062" y="647278"/>
                    <a:pt x="462342" y="649998"/>
                  </a:cubicBezTo>
                  <a:cubicBezTo>
                    <a:pt x="456903" y="655437"/>
                    <a:pt x="446024" y="658157"/>
                    <a:pt x="437865" y="658157"/>
                  </a:cubicBezTo>
                  <a:cubicBezTo>
                    <a:pt x="413388" y="658157"/>
                    <a:pt x="378033" y="641839"/>
                    <a:pt x="361715" y="622801"/>
                  </a:cubicBezTo>
                  <a:cubicBezTo>
                    <a:pt x="345397" y="606483"/>
                    <a:pt x="334518" y="584726"/>
                    <a:pt x="320920" y="565689"/>
                  </a:cubicBezTo>
                  <a:cubicBezTo>
                    <a:pt x="315480" y="554810"/>
                    <a:pt x="310041" y="543931"/>
                    <a:pt x="304602" y="530333"/>
                  </a:cubicBezTo>
                  <a:cubicBezTo>
                    <a:pt x="299163" y="519454"/>
                    <a:pt x="296443" y="508576"/>
                    <a:pt x="293723" y="497697"/>
                  </a:cubicBezTo>
                  <a:cubicBezTo>
                    <a:pt x="291004" y="486819"/>
                    <a:pt x="288284" y="473220"/>
                    <a:pt x="282845" y="462342"/>
                  </a:cubicBezTo>
                  <a:cubicBezTo>
                    <a:pt x="280125" y="448743"/>
                    <a:pt x="274686" y="437865"/>
                    <a:pt x="269246" y="424267"/>
                  </a:cubicBezTo>
                  <a:cubicBezTo>
                    <a:pt x="266527" y="416108"/>
                    <a:pt x="261087" y="402509"/>
                    <a:pt x="255648" y="391631"/>
                  </a:cubicBezTo>
                  <a:cubicBezTo>
                    <a:pt x="250209" y="380752"/>
                    <a:pt x="244770" y="375313"/>
                    <a:pt x="236610" y="367154"/>
                  </a:cubicBezTo>
                  <a:cubicBezTo>
                    <a:pt x="231171" y="361714"/>
                    <a:pt x="223012" y="361714"/>
                    <a:pt x="217573" y="361714"/>
                  </a:cubicBezTo>
                  <a:cubicBezTo>
                    <a:pt x="212134" y="361714"/>
                    <a:pt x="206694" y="361714"/>
                    <a:pt x="201255" y="361714"/>
                  </a:cubicBezTo>
                  <a:cubicBezTo>
                    <a:pt x="198535" y="361714"/>
                    <a:pt x="198535" y="364434"/>
                    <a:pt x="198535" y="367154"/>
                  </a:cubicBezTo>
                  <a:cubicBezTo>
                    <a:pt x="198535" y="375313"/>
                    <a:pt x="201255" y="386191"/>
                    <a:pt x="201255" y="388911"/>
                  </a:cubicBezTo>
                  <a:cubicBezTo>
                    <a:pt x="201255" y="402509"/>
                    <a:pt x="198535" y="413388"/>
                    <a:pt x="198535" y="426986"/>
                  </a:cubicBezTo>
                  <a:cubicBezTo>
                    <a:pt x="198535" y="446024"/>
                    <a:pt x="203975" y="456902"/>
                    <a:pt x="203975" y="478660"/>
                  </a:cubicBezTo>
                  <a:cubicBezTo>
                    <a:pt x="203975" y="503136"/>
                    <a:pt x="201255" y="527613"/>
                    <a:pt x="198535" y="552090"/>
                  </a:cubicBezTo>
                  <a:cubicBezTo>
                    <a:pt x="198535" y="560249"/>
                    <a:pt x="195816" y="568408"/>
                    <a:pt x="195816" y="576567"/>
                  </a:cubicBezTo>
                  <a:cubicBezTo>
                    <a:pt x="195816" y="582006"/>
                    <a:pt x="195816" y="587446"/>
                    <a:pt x="198535" y="592885"/>
                  </a:cubicBezTo>
                  <a:cubicBezTo>
                    <a:pt x="212134" y="592885"/>
                    <a:pt x="225732" y="592885"/>
                    <a:pt x="233891" y="592885"/>
                  </a:cubicBezTo>
                  <a:cubicBezTo>
                    <a:pt x="247489" y="592885"/>
                    <a:pt x="271966" y="592885"/>
                    <a:pt x="271966" y="611923"/>
                  </a:cubicBezTo>
                  <a:cubicBezTo>
                    <a:pt x="271966" y="620082"/>
                    <a:pt x="269246" y="622801"/>
                    <a:pt x="266527" y="628241"/>
                  </a:cubicBezTo>
                  <a:cubicBezTo>
                    <a:pt x="261087" y="633680"/>
                    <a:pt x="255648" y="636400"/>
                    <a:pt x="250209" y="636400"/>
                  </a:cubicBezTo>
                  <a:cubicBezTo>
                    <a:pt x="239330" y="639119"/>
                    <a:pt x="233891" y="639119"/>
                    <a:pt x="228451" y="639119"/>
                  </a:cubicBezTo>
                  <a:cubicBezTo>
                    <a:pt x="223012" y="639119"/>
                    <a:pt x="206694" y="639119"/>
                    <a:pt x="187657" y="639119"/>
                  </a:cubicBezTo>
                  <a:cubicBezTo>
                    <a:pt x="176778" y="647278"/>
                    <a:pt x="163180" y="649998"/>
                    <a:pt x="152301" y="652717"/>
                  </a:cubicBezTo>
                  <a:cubicBezTo>
                    <a:pt x="146862" y="652717"/>
                    <a:pt x="138703" y="655437"/>
                    <a:pt x="133263" y="655437"/>
                  </a:cubicBezTo>
                  <a:cubicBezTo>
                    <a:pt x="130544" y="655437"/>
                    <a:pt x="125104" y="655437"/>
                    <a:pt x="122385" y="652717"/>
                  </a:cubicBezTo>
                  <a:cubicBezTo>
                    <a:pt x="114226" y="649998"/>
                    <a:pt x="103347" y="644559"/>
                    <a:pt x="97908" y="639119"/>
                  </a:cubicBezTo>
                  <a:cubicBezTo>
                    <a:pt x="87029" y="639119"/>
                    <a:pt x="78870" y="639119"/>
                    <a:pt x="70711" y="639119"/>
                  </a:cubicBezTo>
                  <a:cubicBezTo>
                    <a:pt x="62552" y="639119"/>
                    <a:pt x="54393" y="639119"/>
                    <a:pt x="46234" y="639119"/>
                  </a:cubicBezTo>
                  <a:cubicBezTo>
                    <a:pt x="38075" y="639119"/>
                    <a:pt x="27197" y="633680"/>
                    <a:pt x="19038" y="630960"/>
                  </a:cubicBezTo>
                  <a:cubicBezTo>
                    <a:pt x="10879" y="628241"/>
                    <a:pt x="2720" y="620082"/>
                    <a:pt x="2720" y="614642"/>
                  </a:cubicBezTo>
                  <a:cubicBezTo>
                    <a:pt x="2720" y="611923"/>
                    <a:pt x="2720" y="609203"/>
                    <a:pt x="8159" y="606483"/>
                  </a:cubicBezTo>
                  <a:cubicBezTo>
                    <a:pt x="13599" y="603764"/>
                    <a:pt x="24477" y="601044"/>
                    <a:pt x="29916" y="598324"/>
                  </a:cubicBezTo>
                  <a:cubicBezTo>
                    <a:pt x="43515" y="595605"/>
                    <a:pt x="62552" y="595605"/>
                    <a:pt x="76151" y="592885"/>
                  </a:cubicBezTo>
                  <a:cubicBezTo>
                    <a:pt x="76151" y="587446"/>
                    <a:pt x="73431" y="582006"/>
                    <a:pt x="73431" y="573848"/>
                  </a:cubicBezTo>
                  <a:cubicBezTo>
                    <a:pt x="73431" y="565689"/>
                    <a:pt x="70711" y="516735"/>
                    <a:pt x="70711" y="500417"/>
                  </a:cubicBezTo>
                  <a:cubicBezTo>
                    <a:pt x="70711" y="481379"/>
                    <a:pt x="73431" y="456902"/>
                    <a:pt x="73431" y="437865"/>
                  </a:cubicBezTo>
                  <a:cubicBezTo>
                    <a:pt x="73431" y="416108"/>
                    <a:pt x="70711" y="391631"/>
                    <a:pt x="70711" y="369873"/>
                  </a:cubicBezTo>
                  <a:cubicBezTo>
                    <a:pt x="70711" y="345397"/>
                    <a:pt x="70711" y="318200"/>
                    <a:pt x="70711" y="293723"/>
                  </a:cubicBezTo>
                  <a:cubicBezTo>
                    <a:pt x="70711" y="266526"/>
                    <a:pt x="73431" y="239330"/>
                    <a:pt x="73431" y="212133"/>
                  </a:cubicBezTo>
                  <a:cubicBezTo>
                    <a:pt x="73431" y="187656"/>
                    <a:pt x="76151" y="179498"/>
                    <a:pt x="76151" y="155021"/>
                  </a:cubicBezTo>
                  <a:cubicBezTo>
                    <a:pt x="76151" y="144142"/>
                    <a:pt x="76151" y="130544"/>
                    <a:pt x="76151" y="119665"/>
                  </a:cubicBezTo>
                  <a:cubicBezTo>
                    <a:pt x="76151" y="106067"/>
                    <a:pt x="78870" y="95188"/>
                    <a:pt x="78870" y="84310"/>
                  </a:cubicBezTo>
                  <a:cubicBezTo>
                    <a:pt x="78870" y="78870"/>
                    <a:pt x="78870" y="70711"/>
                    <a:pt x="76151" y="62552"/>
                  </a:cubicBezTo>
                  <a:cubicBezTo>
                    <a:pt x="76151" y="62552"/>
                    <a:pt x="73431" y="62552"/>
                    <a:pt x="67992" y="62552"/>
                  </a:cubicBezTo>
                  <a:cubicBezTo>
                    <a:pt x="59833" y="62552"/>
                    <a:pt x="51674" y="62552"/>
                    <a:pt x="43515" y="62552"/>
                  </a:cubicBezTo>
                  <a:cubicBezTo>
                    <a:pt x="35356" y="62552"/>
                    <a:pt x="24477" y="59833"/>
                    <a:pt x="16318" y="57113"/>
                  </a:cubicBezTo>
                  <a:cubicBezTo>
                    <a:pt x="8159" y="54393"/>
                    <a:pt x="0" y="43515"/>
                    <a:pt x="0" y="40795"/>
                  </a:cubicBezTo>
                  <a:cubicBezTo>
                    <a:pt x="0" y="38075"/>
                    <a:pt x="0" y="35356"/>
                    <a:pt x="5439" y="32636"/>
                  </a:cubicBezTo>
                  <a:cubicBezTo>
                    <a:pt x="10879" y="29917"/>
                    <a:pt x="21758" y="27197"/>
                    <a:pt x="27197" y="24477"/>
                  </a:cubicBezTo>
                  <a:cubicBezTo>
                    <a:pt x="46234" y="21758"/>
                    <a:pt x="62552" y="19038"/>
                    <a:pt x="76151" y="19038"/>
                  </a:cubicBezTo>
                  <a:cubicBezTo>
                    <a:pt x="76151" y="16318"/>
                    <a:pt x="78870" y="16318"/>
                    <a:pt x="78870" y="13598"/>
                  </a:cubicBezTo>
                  <a:cubicBezTo>
                    <a:pt x="84309" y="10879"/>
                    <a:pt x="89749" y="8159"/>
                    <a:pt x="95188" y="5440"/>
                  </a:cubicBezTo>
                  <a:cubicBezTo>
                    <a:pt x="100628" y="2720"/>
                    <a:pt x="106067" y="0"/>
                    <a:pt x="111506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/>
            </a:p>
          </p:txBody>
        </p:sp>
        <p:sp>
          <p:nvSpPr>
            <p:cNvPr id="46" name="Freeform: Shape 45">
              <a:extLst>
                <a:ext uri="{FF2B5EF4-FFF2-40B4-BE49-F238E27FC236}">
                  <a16:creationId xmlns:a16="http://schemas.microsoft.com/office/drawing/2014/main" id="{9AA2421C-D90F-487B-9DD5-D996A850C666}"/>
                </a:ext>
              </a:extLst>
            </p:cNvPr>
            <p:cNvSpPr/>
            <p:nvPr/>
          </p:nvSpPr>
          <p:spPr bwMode="black">
            <a:xfrm>
              <a:off x="8346812" y="4186718"/>
              <a:ext cx="353556" cy="761503"/>
            </a:xfrm>
            <a:custGeom>
              <a:avLst/>
              <a:gdLst>
                <a:gd name="connsiteX0" fmla="*/ 283910 w 353555"/>
                <a:gd name="connsiteY0" fmla="*/ 672820 h 761503"/>
                <a:gd name="connsiteX1" fmla="*/ 321985 w 353555"/>
                <a:gd name="connsiteY1" fmla="*/ 689138 h 761503"/>
                <a:gd name="connsiteX2" fmla="*/ 316546 w 353555"/>
                <a:gd name="connsiteY2" fmla="*/ 705456 h 761503"/>
                <a:gd name="connsiteX3" fmla="*/ 300228 w 353555"/>
                <a:gd name="connsiteY3" fmla="*/ 713615 h 761503"/>
                <a:gd name="connsiteX4" fmla="*/ 278471 w 353555"/>
                <a:gd name="connsiteY4" fmla="*/ 716335 h 761503"/>
                <a:gd name="connsiteX5" fmla="*/ 237676 w 353555"/>
                <a:gd name="connsiteY5" fmla="*/ 716335 h 761503"/>
                <a:gd name="connsiteX6" fmla="*/ 180563 w 353555"/>
                <a:gd name="connsiteY6" fmla="*/ 719054 h 761503"/>
                <a:gd name="connsiteX7" fmla="*/ 126170 w 353555"/>
                <a:gd name="connsiteY7" fmla="*/ 719054 h 761503"/>
                <a:gd name="connsiteX8" fmla="*/ 101693 w 353555"/>
                <a:gd name="connsiteY8" fmla="*/ 719054 h 761503"/>
                <a:gd name="connsiteX9" fmla="*/ 74496 w 353555"/>
                <a:gd name="connsiteY9" fmla="*/ 713615 h 761503"/>
                <a:gd name="connsiteX10" fmla="*/ 58178 w 353555"/>
                <a:gd name="connsiteY10" fmla="*/ 697297 h 761503"/>
                <a:gd name="connsiteX11" fmla="*/ 63618 w 353555"/>
                <a:gd name="connsiteY11" fmla="*/ 689138 h 761503"/>
                <a:gd name="connsiteX12" fmla="*/ 85375 w 353555"/>
                <a:gd name="connsiteY12" fmla="*/ 680979 h 761503"/>
                <a:gd name="connsiteX13" fmla="*/ 131609 w 353555"/>
                <a:gd name="connsiteY13" fmla="*/ 675540 h 761503"/>
                <a:gd name="connsiteX14" fmla="*/ 142488 w 353555"/>
                <a:gd name="connsiteY14" fmla="*/ 675540 h 761503"/>
                <a:gd name="connsiteX15" fmla="*/ 131609 w 353555"/>
                <a:gd name="connsiteY15" fmla="*/ 653783 h 761503"/>
                <a:gd name="connsiteX16" fmla="*/ 128890 w 353555"/>
                <a:gd name="connsiteY16" fmla="*/ 640184 h 761503"/>
                <a:gd name="connsiteX17" fmla="*/ 128890 w 353555"/>
                <a:gd name="connsiteY17" fmla="*/ 629306 h 761503"/>
                <a:gd name="connsiteX18" fmla="*/ 128890 w 353555"/>
                <a:gd name="connsiteY18" fmla="*/ 621147 h 761503"/>
                <a:gd name="connsiteX19" fmla="*/ 128890 w 353555"/>
                <a:gd name="connsiteY19" fmla="*/ 593950 h 761503"/>
                <a:gd name="connsiteX20" fmla="*/ 128890 w 353555"/>
                <a:gd name="connsiteY20" fmla="*/ 583072 h 761503"/>
                <a:gd name="connsiteX21" fmla="*/ 128890 w 353555"/>
                <a:gd name="connsiteY21" fmla="*/ 436210 h 761503"/>
                <a:gd name="connsiteX22" fmla="*/ 128890 w 353555"/>
                <a:gd name="connsiteY22" fmla="*/ 357340 h 761503"/>
                <a:gd name="connsiteX23" fmla="*/ 131609 w 353555"/>
                <a:gd name="connsiteY23" fmla="*/ 289349 h 761503"/>
                <a:gd name="connsiteX24" fmla="*/ 131609 w 353555"/>
                <a:gd name="connsiteY24" fmla="*/ 251274 h 761503"/>
                <a:gd name="connsiteX25" fmla="*/ 131609 w 353555"/>
                <a:gd name="connsiteY25" fmla="*/ 205040 h 761503"/>
                <a:gd name="connsiteX26" fmla="*/ 131609 w 353555"/>
                <a:gd name="connsiteY26" fmla="*/ 139768 h 761503"/>
                <a:gd name="connsiteX27" fmla="*/ 131609 w 353555"/>
                <a:gd name="connsiteY27" fmla="*/ 128889 h 761503"/>
                <a:gd name="connsiteX28" fmla="*/ 126170 w 353555"/>
                <a:gd name="connsiteY28" fmla="*/ 128889 h 761503"/>
                <a:gd name="connsiteX29" fmla="*/ 101693 w 353555"/>
                <a:gd name="connsiteY29" fmla="*/ 128889 h 761503"/>
                <a:gd name="connsiteX30" fmla="*/ 74496 w 353555"/>
                <a:gd name="connsiteY30" fmla="*/ 123450 h 761503"/>
                <a:gd name="connsiteX31" fmla="*/ 58178 w 353555"/>
                <a:gd name="connsiteY31" fmla="*/ 107132 h 761503"/>
                <a:gd name="connsiteX32" fmla="*/ 60898 w 353555"/>
                <a:gd name="connsiteY32" fmla="*/ 98973 h 761503"/>
                <a:gd name="connsiteX33" fmla="*/ 82655 w 353555"/>
                <a:gd name="connsiteY33" fmla="*/ 93534 h 761503"/>
                <a:gd name="connsiteX34" fmla="*/ 131609 w 353555"/>
                <a:gd name="connsiteY34" fmla="*/ 88094 h 761503"/>
                <a:gd name="connsiteX35" fmla="*/ 131609 w 353555"/>
                <a:gd name="connsiteY35" fmla="*/ 82655 h 761503"/>
                <a:gd name="connsiteX36" fmla="*/ 134329 w 353555"/>
                <a:gd name="connsiteY36" fmla="*/ 71776 h 761503"/>
                <a:gd name="connsiteX37" fmla="*/ 147927 w 353555"/>
                <a:gd name="connsiteY37" fmla="*/ 63617 h 761503"/>
                <a:gd name="connsiteX38" fmla="*/ 164245 w 353555"/>
                <a:gd name="connsiteY38" fmla="*/ 58178 h 761503"/>
                <a:gd name="connsiteX39" fmla="*/ 177843 w 353555"/>
                <a:gd name="connsiteY39" fmla="*/ 58178 h 761503"/>
                <a:gd name="connsiteX40" fmla="*/ 196881 w 353555"/>
                <a:gd name="connsiteY40" fmla="*/ 60898 h 761503"/>
                <a:gd name="connsiteX41" fmla="*/ 232237 w 353555"/>
                <a:gd name="connsiteY41" fmla="*/ 88094 h 761503"/>
                <a:gd name="connsiteX42" fmla="*/ 278471 w 353555"/>
                <a:gd name="connsiteY42" fmla="*/ 88094 h 761503"/>
                <a:gd name="connsiteX43" fmla="*/ 316546 w 353555"/>
                <a:gd name="connsiteY43" fmla="*/ 104412 h 761503"/>
                <a:gd name="connsiteX44" fmla="*/ 311107 w 353555"/>
                <a:gd name="connsiteY44" fmla="*/ 120730 h 761503"/>
                <a:gd name="connsiteX45" fmla="*/ 294789 w 353555"/>
                <a:gd name="connsiteY45" fmla="*/ 128889 h 761503"/>
                <a:gd name="connsiteX46" fmla="*/ 273032 w 353555"/>
                <a:gd name="connsiteY46" fmla="*/ 131609 h 761503"/>
                <a:gd name="connsiteX47" fmla="*/ 243115 w 353555"/>
                <a:gd name="connsiteY47" fmla="*/ 131609 h 761503"/>
                <a:gd name="connsiteX48" fmla="*/ 243115 w 353555"/>
                <a:gd name="connsiteY48" fmla="*/ 134329 h 761503"/>
                <a:gd name="connsiteX49" fmla="*/ 248554 w 353555"/>
                <a:gd name="connsiteY49" fmla="*/ 169684 h 761503"/>
                <a:gd name="connsiteX50" fmla="*/ 251274 w 353555"/>
                <a:gd name="connsiteY50" fmla="*/ 205040 h 761503"/>
                <a:gd name="connsiteX51" fmla="*/ 251274 w 353555"/>
                <a:gd name="connsiteY51" fmla="*/ 240395 h 761503"/>
                <a:gd name="connsiteX52" fmla="*/ 251274 w 353555"/>
                <a:gd name="connsiteY52" fmla="*/ 256713 h 761503"/>
                <a:gd name="connsiteX53" fmla="*/ 253994 w 353555"/>
                <a:gd name="connsiteY53" fmla="*/ 270311 h 761503"/>
                <a:gd name="connsiteX54" fmla="*/ 259433 w 353555"/>
                <a:gd name="connsiteY54" fmla="*/ 343742 h 761503"/>
                <a:gd name="connsiteX55" fmla="*/ 262153 w 353555"/>
                <a:gd name="connsiteY55" fmla="*/ 425332 h 761503"/>
                <a:gd name="connsiteX56" fmla="*/ 264872 w 353555"/>
                <a:gd name="connsiteY56" fmla="*/ 490603 h 761503"/>
                <a:gd name="connsiteX57" fmla="*/ 270312 w 353555"/>
                <a:gd name="connsiteY57" fmla="*/ 564034 h 761503"/>
                <a:gd name="connsiteX58" fmla="*/ 270312 w 353555"/>
                <a:gd name="connsiteY58" fmla="*/ 599390 h 761503"/>
                <a:gd name="connsiteX59" fmla="*/ 270312 w 353555"/>
                <a:gd name="connsiteY59" fmla="*/ 637465 h 761503"/>
                <a:gd name="connsiteX60" fmla="*/ 264872 w 353555"/>
                <a:gd name="connsiteY60" fmla="*/ 670101 h 761503"/>
                <a:gd name="connsiteX61" fmla="*/ 283910 w 353555"/>
                <a:gd name="connsiteY61" fmla="*/ 672820 h 761503"/>
                <a:gd name="connsiteX62" fmla="*/ 283910 w 353555"/>
                <a:gd name="connsiteY62" fmla="*/ 672820 h 761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</a:cxnLst>
              <a:rect l="l" t="t" r="r" b="b"/>
              <a:pathLst>
                <a:path w="353555" h="761503">
                  <a:moveTo>
                    <a:pt x="283910" y="672820"/>
                  </a:moveTo>
                  <a:cubicBezTo>
                    <a:pt x="297508" y="672820"/>
                    <a:pt x="321985" y="672820"/>
                    <a:pt x="321985" y="689138"/>
                  </a:cubicBezTo>
                  <a:cubicBezTo>
                    <a:pt x="321985" y="697297"/>
                    <a:pt x="319266" y="697297"/>
                    <a:pt x="316546" y="705456"/>
                  </a:cubicBezTo>
                  <a:cubicBezTo>
                    <a:pt x="311107" y="710895"/>
                    <a:pt x="305667" y="713615"/>
                    <a:pt x="300228" y="713615"/>
                  </a:cubicBezTo>
                  <a:cubicBezTo>
                    <a:pt x="292069" y="716335"/>
                    <a:pt x="283910" y="716335"/>
                    <a:pt x="278471" y="716335"/>
                  </a:cubicBezTo>
                  <a:cubicBezTo>
                    <a:pt x="275751" y="716335"/>
                    <a:pt x="256713" y="716335"/>
                    <a:pt x="237676" y="716335"/>
                  </a:cubicBezTo>
                  <a:cubicBezTo>
                    <a:pt x="213199" y="716335"/>
                    <a:pt x="186003" y="719054"/>
                    <a:pt x="180563" y="719054"/>
                  </a:cubicBezTo>
                  <a:cubicBezTo>
                    <a:pt x="166965" y="719054"/>
                    <a:pt x="142488" y="719054"/>
                    <a:pt x="126170" y="719054"/>
                  </a:cubicBezTo>
                  <a:cubicBezTo>
                    <a:pt x="118011" y="719054"/>
                    <a:pt x="109852" y="719054"/>
                    <a:pt x="101693" y="719054"/>
                  </a:cubicBezTo>
                  <a:cubicBezTo>
                    <a:pt x="93534" y="719054"/>
                    <a:pt x="82655" y="719054"/>
                    <a:pt x="74496" y="713615"/>
                  </a:cubicBezTo>
                  <a:cubicBezTo>
                    <a:pt x="66337" y="710895"/>
                    <a:pt x="58178" y="702736"/>
                    <a:pt x="58178" y="697297"/>
                  </a:cubicBezTo>
                  <a:cubicBezTo>
                    <a:pt x="58178" y="694578"/>
                    <a:pt x="58178" y="691858"/>
                    <a:pt x="63618" y="689138"/>
                  </a:cubicBezTo>
                  <a:cubicBezTo>
                    <a:pt x="69057" y="686418"/>
                    <a:pt x="79936" y="683699"/>
                    <a:pt x="85375" y="680979"/>
                  </a:cubicBezTo>
                  <a:cubicBezTo>
                    <a:pt x="104413" y="678260"/>
                    <a:pt x="123450" y="675540"/>
                    <a:pt x="131609" y="675540"/>
                  </a:cubicBezTo>
                  <a:cubicBezTo>
                    <a:pt x="134329" y="675540"/>
                    <a:pt x="137049" y="675540"/>
                    <a:pt x="142488" y="675540"/>
                  </a:cubicBezTo>
                  <a:cubicBezTo>
                    <a:pt x="134329" y="670101"/>
                    <a:pt x="131609" y="661942"/>
                    <a:pt x="131609" y="653783"/>
                  </a:cubicBezTo>
                  <a:cubicBezTo>
                    <a:pt x="131609" y="648343"/>
                    <a:pt x="131609" y="642904"/>
                    <a:pt x="128890" y="640184"/>
                  </a:cubicBezTo>
                  <a:cubicBezTo>
                    <a:pt x="128890" y="637465"/>
                    <a:pt x="128890" y="634745"/>
                    <a:pt x="128890" y="629306"/>
                  </a:cubicBezTo>
                  <a:cubicBezTo>
                    <a:pt x="128890" y="626586"/>
                    <a:pt x="128890" y="623867"/>
                    <a:pt x="128890" y="621147"/>
                  </a:cubicBezTo>
                  <a:cubicBezTo>
                    <a:pt x="128890" y="612988"/>
                    <a:pt x="128890" y="604829"/>
                    <a:pt x="128890" y="593950"/>
                  </a:cubicBezTo>
                  <a:cubicBezTo>
                    <a:pt x="128890" y="591231"/>
                    <a:pt x="128890" y="585791"/>
                    <a:pt x="128890" y="583072"/>
                  </a:cubicBezTo>
                  <a:cubicBezTo>
                    <a:pt x="128890" y="534118"/>
                    <a:pt x="131609" y="485164"/>
                    <a:pt x="128890" y="436210"/>
                  </a:cubicBezTo>
                  <a:cubicBezTo>
                    <a:pt x="128890" y="409014"/>
                    <a:pt x="128890" y="384537"/>
                    <a:pt x="128890" y="357340"/>
                  </a:cubicBezTo>
                  <a:cubicBezTo>
                    <a:pt x="128890" y="335583"/>
                    <a:pt x="131609" y="313826"/>
                    <a:pt x="131609" y="289349"/>
                  </a:cubicBezTo>
                  <a:cubicBezTo>
                    <a:pt x="131609" y="275751"/>
                    <a:pt x="131609" y="264872"/>
                    <a:pt x="131609" y="251274"/>
                  </a:cubicBezTo>
                  <a:cubicBezTo>
                    <a:pt x="131609" y="234956"/>
                    <a:pt x="131609" y="221357"/>
                    <a:pt x="131609" y="205040"/>
                  </a:cubicBezTo>
                  <a:cubicBezTo>
                    <a:pt x="131609" y="183282"/>
                    <a:pt x="131609" y="161525"/>
                    <a:pt x="131609" y="139768"/>
                  </a:cubicBezTo>
                  <a:cubicBezTo>
                    <a:pt x="131609" y="137048"/>
                    <a:pt x="131609" y="134329"/>
                    <a:pt x="131609" y="128889"/>
                  </a:cubicBezTo>
                  <a:cubicBezTo>
                    <a:pt x="128890" y="128889"/>
                    <a:pt x="126170" y="128889"/>
                    <a:pt x="126170" y="128889"/>
                  </a:cubicBezTo>
                  <a:cubicBezTo>
                    <a:pt x="118011" y="128889"/>
                    <a:pt x="109852" y="128889"/>
                    <a:pt x="101693" y="128889"/>
                  </a:cubicBezTo>
                  <a:cubicBezTo>
                    <a:pt x="93534" y="128889"/>
                    <a:pt x="82655" y="128889"/>
                    <a:pt x="74496" y="123450"/>
                  </a:cubicBezTo>
                  <a:cubicBezTo>
                    <a:pt x="66337" y="120730"/>
                    <a:pt x="58178" y="112571"/>
                    <a:pt x="58178" y="107132"/>
                  </a:cubicBezTo>
                  <a:cubicBezTo>
                    <a:pt x="58178" y="104412"/>
                    <a:pt x="58178" y="101693"/>
                    <a:pt x="60898" y="98973"/>
                  </a:cubicBezTo>
                  <a:cubicBezTo>
                    <a:pt x="63618" y="96253"/>
                    <a:pt x="77216" y="93534"/>
                    <a:pt x="82655" y="93534"/>
                  </a:cubicBezTo>
                  <a:cubicBezTo>
                    <a:pt x="98973" y="90814"/>
                    <a:pt x="123450" y="88094"/>
                    <a:pt x="131609" y="88094"/>
                  </a:cubicBezTo>
                  <a:cubicBezTo>
                    <a:pt x="131609" y="85375"/>
                    <a:pt x="131609" y="85375"/>
                    <a:pt x="131609" y="82655"/>
                  </a:cubicBezTo>
                  <a:cubicBezTo>
                    <a:pt x="131609" y="77216"/>
                    <a:pt x="131609" y="74496"/>
                    <a:pt x="134329" y="71776"/>
                  </a:cubicBezTo>
                  <a:cubicBezTo>
                    <a:pt x="137049" y="69057"/>
                    <a:pt x="145208" y="66337"/>
                    <a:pt x="147927" y="63617"/>
                  </a:cubicBezTo>
                  <a:cubicBezTo>
                    <a:pt x="153366" y="60898"/>
                    <a:pt x="158806" y="58178"/>
                    <a:pt x="164245" y="58178"/>
                  </a:cubicBezTo>
                  <a:cubicBezTo>
                    <a:pt x="169684" y="58178"/>
                    <a:pt x="175124" y="58178"/>
                    <a:pt x="177843" y="58178"/>
                  </a:cubicBezTo>
                  <a:cubicBezTo>
                    <a:pt x="183283" y="58178"/>
                    <a:pt x="191442" y="58178"/>
                    <a:pt x="196881" y="60898"/>
                  </a:cubicBezTo>
                  <a:cubicBezTo>
                    <a:pt x="213199" y="63617"/>
                    <a:pt x="224078" y="74496"/>
                    <a:pt x="232237" y="88094"/>
                  </a:cubicBezTo>
                  <a:cubicBezTo>
                    <a:pt x="253994" y="88094"/>
                    <a:pt x="270312" y="88094"/>
                    <a:pt x="278471" y="88094"/>
                  </a:cubicBezTo>
                  <a:cubicBezTo>
                    <a:pt x="292069" y="88094"/>
                    <a:pt x="316546" y="88094"/>
                    <a:pt x="316546" y="104412"/>
                  </a:cubicBezTo>
                  <a:cubicBezTo>
                    <a:pt x="316546" y="112571"/>
                    <a:pt x="313826" y="112571"/>
                    <a:pt x="311107" y="120730"/>
                  </a:cubicBezTo>
                  <a:cubicBezTo>
                    <a:pt x="305667" y="126170"/>
                    <a:pt x="300228" y="128889"/>
                    <a:pt x="294789" y="128889"/>
                  </a:cubicBezTo>
                  <a:cubicBezTo>
                    <a:pt x="286630" y="131609"/>
                    <a:pt x="278471" y="131609"/>
                    <a:pt x="273032" y="131609"/>
                  </a:cubicBezTo>
                  <a:cubicBezTo>
                    <a:pt x="270312" y="131609"/>
                    <a:pt x="259433" y="131609"/>
                    <a:pt x="243115" y="131609"/>
                  </a:cubicBezTo>
                  <a:lnTo>
                    <a:pt x="243115" y="134329"/>
                  </a:lnTo>
                  <a:cubicBezTo>
                    <a:pt x="245835" y="145207"/>
                    <a:pt x="245835" y="158805"/>
                    <a:pt x="248554" y="169684"/>
                  </a:cubicBezTo>
                  <a:cubicBezTo>
                    <a:pt x="251274" y="180563"/>
                    <a:pt x="251274" y="194161"/>
                    <a:pt x="251274" y="205040"/>
                  </a:cubicBezTo>
                  <a:cubicBezTo>
                    <a:pt x="251274" y="215918"/>
                    <a:pt x="251274" y="226797"/>
                    <a:pt x="251274" y="240395"/>
                  </a:cubicBezTo>
                  <a:cubicBezTo>
                    <a:pt x="251274" y="245834"/>
                    <a:pt x="251274" y="251274"/>
                    <a:pt x="251274" y="256713"/>
                  </a:cubicBezTo>
                  <a:cubicBezTo>
                    <a:pt x="251274" y="262152"/>
                    <a:pt x="251274" y="267592"/>
                    <a:pt x="253994" y="270311"/>
                  </a:cubicBezTo>
                  <a:cubicBezTo>
                    <a:pt x="256713" y="294788"/>
                    <a:pt x="256713" y="319265"/>
                    <a:pt x="259433" y="343742"/>
                  </a:cubicBezTo>
                  <a:cubicBezTo>
                    <a:pt x="259433" y="370939"/>
                    <a:pt x="262153" y="398135"/>
                    <a:pt x="262153" y="425332"/>
                  </a:cubicBezTo>
                  <a:cubicBezTo>
                    <a:pt x="262153" y="447089"/>
                    <a:pt x="262153" y="468846"/>
                    <a:pt x="264872" y="490603"/>
                  </a:cubicBezTo>
                  <a:cubicBezTo>
                    <a:pt x="264872" y="515080"/>
                    <a:pt x="270312" y="539557"/>
                    <a:pt x="270312" y="564034"/>
                  </a:cubicBezTo>
                  <a:cubicBezTo>
                    <a:pt x="270312" y="574913"/>
                    <a:pt x="270312" y="588511"/>
                    <a:pt x="270312" y="599390"/>
                  </a:cubicBezTo>
                  <a:cubicBezTo>
                    <a:pt x="270312" y="612988"/>
                    <a:pt x="270312" y="623867"/>
                    <a:pt x="270312" y="637465"/>
                  </a:cubicBezTo>
                  <a:cubicBezTo>
                    <a:pt x="270312" y="648343"/>
                    <a:pt x="270312" y="661942"/>
                    <a:pt x="264872" y="670101"/>
                  </a:cubicBezTo>
                  <a:cubicBezTo>
                    <a:pt x="273032" y="672820"/>
                    <a:pt x="278471" y="672820"/>
                    <a:pt x="283910" y="672820"/>
                  </a:cubicBezTo>
                  <a:lnTo>
                    <a:pt x="283910" y="672820"/>
                  </a:ln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/>
            </a:p>
          </p:txBody>
        </p:sp>
        <p:sp>
          <p:nvSpPr>
            <p:cNvPr id="47" name="Freeform: Shape 46">
              <a:extLst>
                <a:ext uri="{FF2B5EF4-FFF2-40B4-BE49-F238E27FC236}">
                  <a16:creationId xmlns:a16="http://schemas.microsoft.com/office/drawing/2014/main" id="{8305303A-AE81-4383-B9CB-58113C8F5729}"/>
                </a:ext>
              </a:extLst>
            </p:cNvPr>
            <p:cNvSpPr/>
            <p:nvPr/>
          </p:nvSpPr>
          <p:spPr bwMode="black">
            <a:xfrm>
              <a:off x="8652924" y="4192158"/>
              <a:ext cx="516735" cy="788700"/>
            </a:xfrm>
            <a:custGeom>
              <a:avLst/>
              <a:gdLst>
                <a:gd name="connsiteX0" fmla="*/ 464616 w 516735"/>
                <a:gd name="connsiteY0" fmla="*/ 436210 h 788699"/>
                <a:gd name="connsiteX1" fmla="*/ 445578 w 516735"/>
                <a:gd name="connsiteY1" fmla="*/ 455248 h 788699"/>
                <a:gd name="connsiteX2" fmla="*/ 404783 w 516735"/>
                <a:gd name="connsiteY2" fmla="*/ 466126 h 788699"/>
                <a:gd name="connsiteX3" fmla="*/ 385746 w 516735"/>
                <a:gd name="connsiteY3" fmla="*/ 479725 h 788699"/>
                <a:gd name="connsiteX4" fmla="*/ 388466 w 516735"/>
                <a:gd name="connsiteY4" fmla="*/ 512361 h 788699"/>
                <a:gd name="connsiteX5" fmla="*/ 388466 w 516735"/>
                <a:gd name="connsiteY5" fmla="*/ 544997 h 788699"/>
                <a:gd name="connsiteX6" fmla="*/ 388466 w 516735"/>
                <a:gd name="connsiteY6" fmla="*/ 566754 h 788699"/>
                <a:gd name="connsiteX7" fmla="*/ 391185 w 516735"/>
                <a:gd name="connsiteY7" fmla="*/ 632026 h 788699"/>
                <a:gd name="connsiteX8" fmla="*/ 393905 w 516735"/>
                <a:gd name="connsiteY8" fmla="*/ 683699 h 788699"/>
                <a:gd name="connsiteX9" fmla="*/ 377587 w 516735"/>
                <a:gd name="connsiteY9" fmla="*/ 724494 h 788699"/>
                <a:gd name="connsiteX10" fmla="*/ 361269 w 516735"/>
                <a:gd name="connsiteY10" fmla="*/ 719054 h 788699"/>
                <a:gd name="connsiteX11" fmla="*/ 353110 w 516735"/>
                <a:gd name="connsiteY11" fmla="*/ 702737 h 788699"/>
                <a:gd name="connsiteX12" fmla="*/ 350390 w 516735"/>
                <a:gd name="connsiteY12" fmla="*/ 686419 h 788699"/>
                <a:gd name="connsiteX13" fmla="*/ 353110 w 516735"/>
                <a:gd name="connsiteY13" fmla="*/ 659222 h 788699"/>
                <a:gd name="connsiteX14" fmla="*/ 353110 w 516735"/>
                <a:gd name="connsiteY14" fmla="*/ 656502 h 788699"/>
                <a:gd name="connsiteX15" fmla="*/ 317754 w 516735"/>
                <a:gd name="connsiteY15" fmla="*/ 708176 h 788699"/>
                <a:gd name="connsiteX16" fmla="*/ 241604 w 516735"/>
                <a:gd name="connsiteY16" fmla="*/ 735372 h 788699"/>
                <a:gd name="connsiteX17" fmla="*/ 187211 w 516735"/>
                <a:gd name="connsiteY17" fmla="*/ 727214 h 788699"/>
                <a:gd name="connsiteX18" fmla="*/ 135537 w 516735"/>
                <a:gd name="connsiteY18" fmla="*/ 694578 h 788699"/>
                <a:gd name="connsiteX19" fmla="*/ 86583 w 516735"/>
                <a:gd name="connsiteY19" fmla="*/ 621147 h 788699"/>
                <a:gd name="connsiteX20" fmla="*/ 67546 w 516735"/>
                <a:gd name="connsiteY20" fmla="*/ 555875 h 788699"/>
                <a:gd name="connsiteX21" fmla="*/ 59387 w 516735"/>
                <a:gd name="connsiteY21" fmla="*/ 509641 h 788699"/>
                <a:gd name="connsiteX22" fmla="*/ 59387 w 516735"/>
                <a:gd name="connsiteY22" fmla="*/ 468846 h 788699"/>
                <a:gd name="connsiteX23" fmla="*/ 86583 w 516735"/>
                <a:gd name="connsiteY23" fmla="*/ 302947 h 788699"/>
                <a:gd name="connsiteX24" fmla="*/ 108341 w 516735"/>
                <a:gd name="connsiteY24" fmla="*/ 224077 h 788699"/>
                <a:gd name="connsiteX25" fmla="*/ 146416 w 516735"/>
                <a:gd name="connsiteY25" fmla="*/ 145207 h 788699"/>
                <a:gd name="connsiteX26" fmla="*/ 198090 w 516735"/>
                <a:gd name="connsiteY26" fmla="*/ 85375 h 788699"/>
                <a:gd name="connsiteX27" fmla="*/ 228006 w 516735"/>
                <a:gd name="connsiteY27" fmla="*/ 69057 h 788699"/>
                <a:gd name="connsiteX28" fmla="*/ 268801 w 516735"/>
                <a:gd name="connsiteY28" fmla="*/ 58178 h 788699"/>
                <a:gd name="connsiteX29" fmla="*/ 274240 w 516735"/>
                <a:gd name="connsiteY29" fmla="*/ 58178 h 788699"/>
                <a:gd name="connsiteX30" fmla="*/ 295997 w 516735"/>
                <a:gd name="connsiteY30" fmla="*/ 60898 h 788699"/>
                <a:gd name="connsiteX31" fmla="*/ 331353 w 516735"/>
                <a:gd name="connsiteY31" fmla="*/ 71776 h 788699"/>
                <a:gd name="connsiteX32" fmla="*/ 350390 w 516735"/>
                <a:gd name="connsiteY32" fmla="*/ 93534 h 788699"/>
                <a:gd name="connsiteX33" fmla="*/ 353110 w 516735"/>
                <a:gd name="connsiteY33" fmla="*/ 74496 h 788699"/>
                <a:gd name="connsiteX34" fmla="*/ 358549 w 516735"/>
                <a:gd name="connsiteY34" fmla="*/ 63618 h 788699"/>
                <a:gd name="connsiteX35" fmla="*/ 366708 w 516735"/>
                <a:gd name="connsiteY35" fmla="*/ 58178 h 788699"/>
                <a:gd name="connsiteX36" fmla="*/ 374867 w 516735"/>
                <a:gd name="connsiteY36" fmla="*/ 63618 h 788699"/>
                <a:gd name="connsiteX37" fmla="*/ 383027 w 516735"/>
                <a:gd name="connsiteY37" fmla="*/ 82655 h 788699"/>
                <a:gd name="connsiteX38" fmla="*/ 385746 w 516735"/>
                <a:gd name="connsiteY38" fmla="*/ 126170 h 788699"/>
                <a:gd name="connsiteX39" fmla="*/ 388466 w 516735"/>
                <a:gd name="connsiteY39" fmla="*/ 186002 h 788699"/>
                <a:gd name="connsiteX40" fmla="*/ 391185 w 516735"/>
                <a:gd name="connsiteY40" fmla="*/ 237676 h 788699"/>
                <a:gd name="connsiteX41" fmla="*/ 374867 w 516735"/>
                <a:gd name="connsiteY41" fmla="*/ 278470 h 788699"/>
                <a:gd name="connsiteX42" fmla="*/ 358549 w 516735"/>
                <a:gd name="connsiteY42" fmla="*/ 273031 h 788699"/>
                <a:gd name="connsiteX43" fmla="*/ 350390 w 516735"/>
                <a:gd name="connsiteY43" fmla="*/ 256713 h 788699"/>
                <a:gd name="connsiteX44" fmla="*/ 347671 w 516735"/>
                <a:gd name="connsiteY44" fmla="*/ 240395 h 788699"/>
                <a:gd name="connsiteX45" fmla="*/ 347671 w 516735"/>
                <a:gd name="connsiteY45" fmla="*/ 213199 h 788699"/>
                <a:gd name="connsiteX46" fmla="*/ 344951 w 516735"/>
                <a:gd name="connsiteY46" fmla="*/ 194161 h 788699"/>
                <a:gd name="connsiteX47" fmla="*/ 339512 w 516735"/>
                <a:gd name="connsiteY47" fmla="*/ 150647 h 788699"/>
                <a:gd name="connsiteX48" fmla="*/ 323194 w 516735"/>
                <a:gd name="connsiteY48" fmla="*/ 112571 h 788699"/>
                <a:gd name="connsiteX49" fmla="*/ 293278 w 516735"/>
                <a:gd name="connsiteY49" fmla="*/ 101693 h 788699"/>
                <a:gd name="connsiteX50" fmla="*/ 263361 w 516735"/>
                <a:gd name="connsiteY50" fmla="*/ 120730 h 788699"/>
                <a:gd name="connsiteX51" fmla="*/ 241604 w 516735"/>
                <a:gd name="connsiteY51" fmla="*/ 153366 h 788699"/>
                <a:gd name="connsiteX52" fmla="*/ 233445 w 516735"/>
                <a:gd name="connsiteY52" fmla="*/ 194161 h 788699"/>
                <a:gd name="connsiteX53" fmla="*/ 225286 w 516735"/>
                <a:gd name="connsiteY53" fmla="*/ 232236 h 788699"/>
                <a:gd name="connsiteX54" fmla="*/ 217127 w 516735"/>
                <a:gd name="connsiteY54" fmla="*/ 275751 h 788699"/>
                <a:gd name="connsiteX55" fmla="*/ 211688 w 516735"/>
                <a:gd name="connsiteY55" fmla="*/ 316545 h 788699"/>
                <a:gd name="connsiteX56" fmla="*/ 206249 w 516735"/>
                <a:gd name="connsiteY56" fmla="*/ 354621 h 788699"/>
                <a:gd name="connsiteX57" fmla="*/ 200809 w 516735"/>
                <a:gd name="connsiteY57" fmla="*/ 398135 h 788699"/>
                <a:gd name="connsiteX58" fmla="*/ 195370 w 516735"/>
                <a:gd name="connsiteY58" fmla="*/ 438930 h 788699"/>
                <a:gd name="connsiteX59" fmla="*/ 192650 w 516735"/>
                <a:gd name="connsiteY59" fmla="*/ 474286 h 788699"/>
                <a:gd name="connsiteX60" fmla="*/ 195370 w 516735"/>
                <a:gd name="connsiteY60" fmla="*/ 525959 h 788699"/>
                <a:gd name="connsiteX61" fmla="*/ 208968 w 516735"/>
                <a:gd name="connsiteY61" fmla="*/ 596670 h 788699"/>
                <a:gd name="connsiteX62" fmla="*/ 214407 w 516735"/>
                <a:gd name="connsiteY62" fmla="*/ 623867 h 788699"/>
                <a:gd name="connsiteX63" fmla="*/ 228006 w 516735"/>
                <a:gd name="connsiteY63" fmla="*/ 656502 h 788699"/>
                <a:gd name="connsiteX64" fmla="*/ 271520 w 516735"/>
                <a:gd name="connsiteY64" fmla="*/ 689138 h 788699"/>
                <a:gd name="connsiteX65" fmla="*/ 306876 w 516735"/>
                <a:gd name="connsiteY65" fmla="*/ 664661 h 788699"/>
                <a:gd name="connsiteX66" fmla="*/ 331353 w 516735"/>
                <a:gd name="connsiteY66" fmla="*/ 602109 h 788699"/>
                <a:gd name="connsiteX67" fmla="*/ 336792 w 516735"/>
                <a:gd name="connsiteY67" fmla="*/ 544997 h 788699"/>
                <a:gd name="connsiteX68" fmla="*/ 336792 w 516735"/>
                <a:gd name="connsiteY68" fmla="*/ 498762 h 788699"/>
                <a:gd name="connsiteX69" fmla="*/ 336792 w 516735"/>
                <a:gd name="connsiteY69" fmla="*/ 490603 h 788699"/>
                <a:gd name="connsiteX70" fmla="*/ 320474 w 516735"/>
                <a:gd name="connsiteY70" fmla="*/ 477005 h 788699"/>
                <a:gd name="connsiteX71" fmla="*/ 282399 w 516735"/>
                <a:gd name="connsiteY71" fmla="*/ 479725 h 788699"/>
                <a:gd name="connsiteX72" fmla="*/ 252483 w 516735"/>
                <a:gd name="connsiteY72" fmla="*/ 474286 h 788699"/>
                <a:gd name="connsiteX73" fmla="*/ 247044 w 516735"/>
                <a:gd name="connsiteY73" fmla="*/ 466126 h 788699"/>
                <a:gd name="connsiteX74" fmla="*/ 249763 w 516735"/>
                <a:gd name="connsiteY74" fmla="*/ 457968 h 788699"/>
                <a:gd name="connsiteX75" fmla="*/ 268801 w 516735"/>
                <a:gd name="connsiteY75" fmla="*/ 447089 h 788699"/>
                <a:gd name="connsiteX76" fmla="*/ 312315 w 516735"/>
                <a:gd name="connsiteY76" fmla="*/ 436210 h 788699"/>
                <a:gd name="connsiteX77" fmla="*/ 353110 w 516735"/>
                <a:gd name="connsiteY77" fmla="*/ 430771 h 788699"/>
                <a:gd name="connsiteX78" fmla="*/ 385746 w 516735"/>
                <a:gd name="connsiteY78" fmla="*/ 430771 h 788699"/>
                <a:gd name="connsiteX79" fmla="*/ 437420 w 516735"/>
                <a:gd name="connsiteY79" fmla="*/ 428051 h 788699"/>
                <a:gd name="connsiteX80" fmla="*/ 464616 w 516735"/>
                <a:gd name="connsiteY80" fmla="*/ 436210 h 7886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</a:cxnLst>
              <a:rect l="l" t="t" r="r" b="b"/>
              <a:pathLst>
                <a:path w="516735" h="788699">
                  <a:moveTo>
                    <a:pt x="464616" y="436210"/>
                  </a:moveTo>
                  <a:cubicBezTo>
                    <a:pt x="464616" y="447089"/>
                    <a:pt x="453738" y="452528"/>
                    <a:pt x="445578" y="455248"/>
                  </a:cubicBezTo>
                  <a:cubicBezTo>
                    <a:pt x="434700" y="460687"/>
                    <a:pt x="415662" y="463407"/>
                    <a:pt x="404783" y="466126"/>
                  </a:cubicBezTo>
                  <a:cubicBezTo>
                    <a:pt x="393905" y="466126"/>
                    <a:pt x="385746" y="468846"/>
                    <a:pt x="385746" y="479725"/>
                  </a:cubicBezTo>
                  <a:cubicBezTo>
                    <a:pt x="385746" y="487884"/>
                    <a:pt x="388466" y="506921"/>
                    <a:pt x="388466" y="512361"/>
                  </a:cubicBezTo>
                  <a:cubicBezTo>
                    <a:pt x="388466" y="515080"/>
                    <a:pt x="388466" y="539557"/>
                    <a:pt x="388466" y="544997"/>
                  </a:cubicBezTo>
                  <a:cubicBezTo>
                    <a:pt x="388466" y="550436"/>
                    <a:pt x="388466" y="558595"/>
                    <a:pt x="388466" y="566754"/>
                  </a:cubicBezTo>
                  <a:cubicBezTo>
                    <a:pt x="388466" y="591231"/>
                    <a:pt x="388466" y="621147"/>
                    <a:pt x="391185" y="632026"/>
                  </a:cubicBezTo>
                  <a:cubicBezTo>
                    <a:pt x="393905" y="653783"/>
                    <a:pt x="393905" y="661942"/>
                    <a:pt x="393905" y="683699"/>
                  </a:cubicBezTo>
                  <a:cubicBezTo>
                    <a:pt x="393905" y="694578"/>
                    <a:pt x="393905" y="724494"/>
                    <a:pt x="377587" y="724494"/>
                  </a:cubicBezTo>
                  <a:cubicBezTo>
                    <a:pt x="369428" y="724494"/>
                    <a:pt x="366708" y="721774"/>
                    <a:pt x="361269" y="719054"/>
                  </a:cubicBezTo>
                  <a:cubicBezTo>
                    <a:pt x="355830" y="716335"/>
                    <a:pt x="353110" y="708176"/>
                    <a:pt x="353110" y="702737"/>
                  </a:cubicBezTo>
                  <a:cubicBezTo>
                    <a:pt x="350390" y="694578"/>
                    <a:pt x="350390" y="689138"/>
                    <a:pt x="350390" y="686419"/>
                  </a:cubicBezTo>
                  <a:cubicBezTo>
                    <a:pt x="350390" y="678260"/>
                    <a:pt x="353110" y="672820"/>
                    <a:pt x="353110" y="659222"/>
                  </a:cubicBezTo>
                  <a:lnTo>
                    <a:pt x="353110" y="656502"/>
                  </a:lnTo>
                  <a:cubicBezTo>
                    <a:pt x="347671" y="675540"/>
                    <a:pt x="334073" y="694578"/>
                    <a:pt x="317754" y="708176"/>
                  </a:cubicBezTo>
                  <a:cubicBezTo>
                    <a:pt x="293278" y="727214"/>
                    <a:pt x="274240" y="735372"/>
                    <a:pt x="241604" y="735372"/>
                  </a:cubicBezTo>
                  <a:cubicBezTo>
                    <a:pt x="222566" y="735372"/>
                    <a:pt x="203529" y="732653"/>
                    <a:pt x="187211" y="727214"/>
                  </a:cubicBezTo>
                  <a:cubicBezTo>
                    <a:pt x="165454" y="719054"/>
                    <a:pt x="149136" y="708176"/>
                    <a:pt x="135537" y="694578"/>
                  </a:cubicBezTo>
                  <a:cubicBezTo>
                    <a:pt x="113780" y="672820"/>
                    <a:pt x="100182" y="648343"/>
                    <a:pt x="86583" y="621147"/>
                  </a:cubicBezTo>
                  <a:cubicBezTo>
                    <a:pt x="75705" y="599390"/>
                    <a:pt x="70266" y="580352"/>
                    <a:pt x="67546" y="555875"/>
                  </a:cubicBezTo>
                  <a:cubicBezTo>
                    <a:pt x="64826" y="539557"/>
                    <a:pt x="62107" y="525959"/>
                    <a:pt x="59387" y="509641"/>
                  </a:cubicBezTo>
                  <a:cubicBezTo>
                    <a:pt x="56667" y="493323"/>
                    <a:pt x="59387" y="485164"/>
                    <a:pt x="59387" y="468846"/>
                  </a:cubicBezTo>
                  <a:cubicBezTo>
                    <a:pt x="59387" y="414453"/>
                    <a:pt x="72985" y="362780"/>
                    <a:pt x="86583" y="302947"/>
                  </a:cubicBezTo>
                  <a:cubicBezTo>
                    <a:pt x="92023" y="275751"/>
                    <a:pt x="100182" y="248554"/>
                    <a:pt x="108341" y="224077"/>
                  </a:cubicBezTo>
                  <a:cubicBezTo>
                    <a:pt x="116500" y="196881"/>
                    <a:pt x="130098" y="169684"/>
                    <a:pt x="146416" y="145207"/>
                  </a:cubicBezTo>
                  <a:cubicBezTo>
                    <a:pt x="160014" y="123450"/>
                    <a:pt x="176332" y="101693"/>
                    <a:pt x="198090" y="85375"/>
                  </a:cubicBezTo>
                  <a:cubicBezTo>
                    <a:pt x="206249" y="77216"/>
                    <a:pt x="217127" y="71776"/>
                    <a:pt x="228006" y="69057"/>
                  </a:cubicBezTo>
                  <a:cubicBezTo>
                    <a:pt x="241604" y="63618"/>
                    <a:pt x="255202" y="58178"/>
                    <a:pt x="268801" y="58178"/>
                  </a:cubicBezTo>
                  <a:cubicBezTo>
                    <a:pt x="271520" y="58178"/>
                    <a:pt x="274240" y="58178"/>
                    <a:pt x="274240" y="58178"/>
                  </a:cubicBezTo>
                  <a:cubicBezTo>
                    <a:pt x="279679" y="58178"/>
                    <a:pt x="285119" y="58178"/>
                    <a:pt x="295997" y="60898"/>
                  </a:cubicBezTo>
                  <a:cubicBezTo>
                    <a:pt x="309595" y="63618"/>
                    <a:pt x="320474" y="66337"/>
                    <a:pt x="331353" y="71776"/>
                  </a:cubicBezTo>
                  <a:cubicBezTo>
                    <a:pt x="339512" y="77216"/>
                    <a:pt x="347671" y="85375"/>
                    <a:pt x="350390" y="93534"/>
                  </a:cubicBezTo>
                  <a:cubicBezTo>
                    <a:pt x="350390" y="88095"/>
                    <a:pt x="353110" y="79936"/>
                    <a:pt x="353110" y="74496"/>
                  </a:cubicBezTo>
                  <a:cubicBezTo>
                    <a:pt x="355830" y="71776"/>
                    <a:pt x="355830" y="69057"/>
                    <a:pt x="358549" y="63618"/>
                  </a:cubicBezTo>
                  <a:cubicBezTo>
                    <a:pt x="361269" y="60898"/>
                    <a:pt x="363989" y="58178"/>
                    <a:pt x="366708" y="58178"/>
                  </a:cubicBezTo>
                  <a:cubicBezTo>
                    <a:pt x="369428" y="58178"/>
                    <a:pt x="372148" y="60898"/>
                    <a:pt x="374867" y="63618"/>
                  </a:cubicBezTo>
                  <a:cubicBezTo>
                    <a:pt x="377587" y="69057"/>
                    <a:pt x="380307" y="77216"/>
                    <a:pt x="383027" y="82655"/>
                  </a:cubicBezTo>
                  <a:cubicBezTo>
                    <a:pt x="383027" y="90814"/>
                    <a:pt x="385746" y="107132"/>
                    <a:pt x="385746" y="126170"/>
                  </a:cubicBezTo>
                  <a:cubicBezTo>
                    <a:pt x="385746" y="150647"/>
                    <a:pt x="385746" y="177843"/>
                    <a:pt x="388466" y="186002"/>
                  </a:cubicBezTo>
                  <a:cubicBezTo>
                    <a:pt x="391185" y="207759"/>
                    <a:pt x="391185" y="215918"/>
                    <a:pt x="391185" y="237676"/>
                  </a:cubicBezTo>
                  <a:cubicBezTo>
                    <a:pt x="391185" y="248554"/>
                    <a:pt x="391185" y="278470"/>
                    <a:pt x="374867" y="278470"/>
                  </a:cubicBezTo>
                  <a:cubicBezTo>
                    <a:pt x="366708" y="278470"/>
                    <a:pt x="363989" y="275751"/>
                    <a:pt x="358549" y="273031"/>
                  </a:cubicBezTo>
                  <a:cubicBezTo>
                    <a:pt x="353110" y="270311"/>
                    <a:pt x="350390" y="262152"/>
                    <a:pt x="350390" y="256713"/>
                  </a:cubicBezTo>
                  <a:cubicBezTo>
                    <a:pt x="350390" y="251274"/>
                    <a:pt x="347671" y="245834"/>
                    <a:pt x="347671" y="240395"/>
                  </a:cubicBezTo>
                  <a:cubicBezTo>
                    <a:pt x="347671" y="232236"/>
                    <a:pt x="347671" y="224077"/>
                    <a:pt x="347671" y="213199"/>
                  </a:cubicBezTo>
                  <a:cubicBezTo>
                    <a:pt x="347671" y="207759"/>
                    <a:pt x="347671" y="199600"/>
                    <a:pt x="344951" y="194161"/>
                  </a:cubicBezTo>
                  <a:cubicBezTo>
                    <a:pt x="342232" y="180563"/>
                    <a:pt x="342232" y="164245"/>
                    <a:pt x="339512" y="150647"/>
                  </a:cubicBezTo>
                  <a:cubicBezTo>
                    <a:pt x="336792" y="137048"/>
                    <a:pt x="331353" y="123450"/>
                    <a:pt x="323194" y="112571"/>
                  </a:cubicBezTo>
                  <a:cubicBezTo>
                    <a:pt x="317754" y="104412"/>
                    <a:pt x="304156" y="101693"/>
                    <a:pt x="293278" y="101693"/>
                  </a:cubicBezTo>
                  <a:cubicBezTo>
                    <a:pt x="279679" y="101693"/>
                    <a:pt x="271520" y="109852"/>
                    <a:pt x="263361" y="120730"/>
                  </a:cubicBezTo>
                  <a:cubicBezTo>
                    <a:pt x="257922" y="131609"/>
                    <a:pt x="247044" y="139768"/>
                    <a:pt x="241604" y="153366"/>
                  </a:cubicBezTo>
                  <a:cubicBezTo>
                    <a:pt x="236165" y="166964"/>
                    <a:pt x="233445" y="180563"/>
                    <a:pt x="233445" y="194161"/>
                  </a:cubicBezTo>
                  <a:cubicBezTo>
                    <a:pt x="233445" y="207759"/>
                    <a:pt x="230725" y="218638"/>
                    <a:pt x="225286" y="232236"/>
                  </a:cubicBezTo>
                  <a:cubicBezTo>
                    <a:pt x="219847" y="245834"/>
                    <a:pt x="219847" y="262152"/>
                    <a:pt x="217127" y="275751"/>
                  </a:cubicBezTo>
                  <a:cubicBezTo>
                    <a:pt x="214407" y="289349"/>
                    <a:pt x="214407" y="302947"/>
                    <a:pt x="211688" y="316545"/>
                  </a:cubicBezTo>
                  <a:cubicBezTo>
                    <a:pt x="211688" y="330144"/>
                    <a:pt x="206249" y="341022"/>
                    <a:pt x="206249" y="354621"/>
                  </a:cubicBezTo>
                  <a:cubicBezTo>
                    <a:pt x="203529" y="368219"/>
                    <a:pt x="203529" y="381817"/>
                    <a:pt x="200809" y="398135"/>
                  </a:cubicBezTo>
                  <a:cubicBezTo>
                    <a:pt x="198090" y="411733"/>
                    <a:pt x="198090" y="425332"/>
                    <a:pt x="195370" y="438930"/>
                  </a:cubicBezTo>
                  <a:cubicBezTo>
                    <a:pt x="195370" y="449809"/>
                    <a:pt x="192650" y="463407"/>
                    <a:pt x="192650" y="474286"/>
                  </a:cubicBezTo>
                  <a:cubicBezTo>
                    <a:pt x="192650" y="490603"/>
                    <a:pt x="195370" y="509641"/>
                    <a:pt x="195370" y="525959"/>
                  </a:cubicBezTo>
                  <a:cubicBezTo>
                    <a:pt x="195370" y="550436"/>
                    <a:pt x="203529" y="572193"/>
                    <a:pt x="208968" y="596670"/>
                  </a:cubicBezTo>
                  <a:cubicBezTo>
                    <a:pt x="211688" y="604829"/>
                    <a:pt x="211688" y="615708"/>
                    <a:pt x="214407" y="623867"/>
                  </a:cubicBezTo>
                  <a:cubicBezTo>
                    <a:pt x="217127" y="634745"/>
                    <a:pt x="222566" y="645624"/>
                    <a:pt x="228006" y="656502"/>
                  </a:cubicBezTo>
                  <a:cubicBezTo>
                    <a:pt x="236165" y="670101"/>
                    <a:pt x="252483" y="689138"/>
                    <a:pt x="271520" y="689138"/>
                  </a:cubicBezTo>
                  <a:cubicBezTo>
                    <a:pt x="287838" y="689138"/>
                    <a:pt x="298717" y="675540"/>
                    <a:pt x="306876" y="664661"/>
                  </a:cubicBezTo>
                  <a:cubicBezTo>
                    <a:pt x="320474" y="645624"/>
                    <a:pt x="325914" y="623867"/>
                    <a:pt x="331353" y="602109"/>
                  </a:cubicBezTo>
                  <a:cubicBezTo>
                    <a:pt x="334073" y="583072"/>
                    <a:pt x="336792" y="564034"/>
                    <a:pt x="336792" y="544997"/>
                  </a:cubicBezTo>
                  <a:cubicBezTo>
                    <a:pt x="336792" y="531398"/>
                    <a:pt x="336792" y="512361"/>
                    <a:pt x="336792" y="498762"/>
                  </a:cubicBezTo>
                  <a:cubicBezTo>
                    <a:pt x="336792" y="496043"/>
                    <a:pt x="336792" y="493323"/>
                    <a:pt x="336792" y="490603"/>
                  </a:cubicBezTo>
                  <a:cubicBezTo>
                    <a:pt x="336792" y="479725"/>
                    <a:pt x="336792" y="477005"/>
                    <a:pt x="320474" y="477005"/>
                  </a:cubicBezTo>
                  <a:cubicBezTo>
                    <a:pt x="309595" y="477005"/>
                    <a:pt x="295997" y="479725"/>
                    <a:pt x="282399" y="479725"/>
                  </a:cubicBezTo>
                  <a:cubicBezTo>
                    <a:pt x="271520" y="479725"/>
                    <a:pt x="260642" y="479725"/>
                    <a:pt x="252483" y="474286"/>
                  </a:cubicBezTo>
                  <a:cubicBezTo>
                    <a:pt x="249763" y="471566"/>
                    <a:pt x="247044" y="468846"/>
                    <a:pt x="247044" y="466126"/>
                  </a:cubicBezTo>
                  <a:cubicBezTo>
                    <a:pt x="247044" y="463407"/>
                    <a:pt x="247044" y="460687"/>
                    <a:pt x="249763" y="457968"/>
                  </a:cubicBezTo>
                  <a:cubicBezTo>
                    <a:pt x="255202" y="452528"/>
                    <a:pt x="260642" y="449809"/>
                    <a:pt x="268801" y="447089"/>
                  </a:cubicBezTo>
                  <a:cubicBezTo>
                    <a:pt x="282399" y="441650"/>
                    <a:pt x="295997" y="438930"/>
                    <a:pt x="312315" y="436210"/>
                  </a:cubicBezTo>
                  <a:cubicBezTo>
                    <a:pt x="325914" y="433491"/>
                    <a:pt x="339512" y="433491"/>
                    <a:pt x="353110" y="430771"/>
                  </a:cubicBezTo>
                  <a:cubicBezTo>
                    <a:pt x="363989" y="430771"/>
                    <a:pt x="374867" y="430771"/>
                    <a:pt x="385746" y="430771"/>
                  </a:cubicBezTo>
                  <a:cubicBezTo>
                    <a:pt x="402064" y="430771"/>
                    <a:pt x="426541" y="428051"/>
                    <a:pt x="437420" y="428051"/>
                  </a:cubicBezTo>
                  <a:cubicBezTo>
                    <a:pt x="451018" y="422612"/>
                    <a:pt x="464616" y="425332"/>
                    <a:pt x="464616" y="436210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/>
            </a:p>
          </p:txBody>
        </p:sp>
        <p:sp>
          <p:nvSpPr>
            <p:cNvPr id="48" name="Freeform: Shape 47">
              <a:extLst>
                <a:ext uri="{FF2B5EF4-FFF2-40B4-BE49-F238E27FC236}">
                  <a16:creationId xmlns:a16="http://schemas.microsoft.com/office/drawing/2014/main" id="{746EDB0D-C7D8-44D8-99EC-B1053DF225E6}"/>
                </a:ext>
              </a:extLst>
            </p:cNvPr>
            <p:cNvSpPr/>
            <p:nvPr/>
          </p:nvSpPr>
          <p:spPr bwMode="black">
            <a:xfrm>
              <a:off x="9053923" y="4178559"/>
              <a:ext cx="625521" cy="788700"/>
            </a:xfrm>
            <a:custGeom>
              <a:avLst/>
              <a:gdLst>
                <a:gd name="connsiteX0" fmla="*/ 536838 w 625521"/>
                <a:gd name="connsiteY0" fmla="*/ 680979 h 788699"/>
                <a:gd name="connsiteX1" fmla="*/ 574913 w 625521"/>
                <a:gd name="connsiteY1" fmla="*/ 697297 h 788699"/>
                <a:gd name="connsiteX2" fmla="*/ 566755 w 625521"/>
                <a:gd name="connsiteY2" fmla="*/ 713615 h 788699"/>
                <a:gd name="connsiteX3" fmla="*/ 550437 w 625521"/>
                <a:gd name="connsiteY3" fmla="*/ 721774 h 788699"/>
                <a:gd name="connsiteX4" fmla="*/ 528680 w 625521"/>
                <a:gd name="connsiteY4" fmla="*/ 724494 h 788699"/>
                <a:gd name="connsiteX5" fmla="*/ 417174 w 625521"/>
                <a:gd name="connsiteY5" fmla="*/ 724494 h 788699"/>
                <a:gd name="connsiteX6" fmla="*/ 398136 w 625521"/>
                <a:gd name="connsiteY6" fmla="*/ 724494 h 788699"/>
                <a:gd name="connsiteX7" fmla="*/ 373659 w 625521"/>
                <a:gd name="connsiteY7" fmla="*/ 724494 h 788699"/>
                <a:gd name="connsiteX8" fmla="*/ 346462 w 625521"/>
                <a:gd name="connsiteY8" fmla="*/ 719054 h 788699"/>
                <a:gd name="connsiteX9" fmla="*/ 330144 w 625521"/>
                <a:gd name="connsiteY9" fmla="*/ 702737 h 788699"/>
                <a:gd name="connsiteX10" fmla="*/ 335584 w 625521"/>
                <a:gd name="connsiteY10" fmla="*/ 694578 h 788699"/>
                <a:gd name="connsiteX11" fmla="*/ 357341 w 625521"/>
                <a:gd name="connsiteY11" fmla="*/ 686419 h 788699"/>
                <a:gd name="connsiteX12" fmla="*/ 395416 w 625521"/>
                <a:gd name="connsiteY12" fmla="*/ 680979 h 788699"/>
                <a:gd name="connsiteX13" fmla="*/ 381817 w 625521"/>
                <a:gd name="connsiteY13" fmla="*/ 656502 h 788699"/>
                <a:gd name="connsiteX14" fmla="*/ 379098 w 625521"/>
                <a:gd name="connsiteY14" fmla="*/ 585791 h 788699"/>
                <a:gd name="connsiteX15" fmla="*/ 379098 w 625521"/>
                <a:gd name="connsiteY15" fmla="*/ 517800 h 788699"/>
                <a:gd name="connsiteX16" fmla="*/ 379098 w 625521"/>
                <a:gd name="connsiteY16" fmla="*/ 474286 h 788699"/>
                <a:gd name="connsiteX17" fmla="*/ 379098 w 625521"/>
                <a:gd name="connsiteY17" fmla="*/ 430771 h 788699"/>
                <a:gd name="connsiteX18" fmla="*/ 381817 w 625521"/>
                <a:gd name="connsiteY18" fmla="*/ 411733 h 788699"/>
                <a:gd name="connsiteX19" fmla="*/ 379098 w 625521"/>
                <a:gd name="connsiteY19" fmla="*/ 400855 h 788699"/>
                <a:gd name="connsiteX20" fmla="*/ 370939 w 625521"/>
                <a:gd name="connsiteY20" fmla="*/ 398135 h 788699"/>
                <a:gd name="connsiteX21" fmla="*/ 338304 w 625521"/>
                <a:gd name="connsiteY21" fmla="*/ 400855 h 788699"/>
                <a:gd name="connsiteX22" fmla="*/ 289349 w 625521"/>
                <a:gd name="connsiteY22" fmla="*/ 403575 h 788699"/>
                <a:gd name="connsiteX23" fmla="*/ 264872 w 625521"/>
                <a:gd name="connsiteY23" fmla="*/ 400855 h 788699"/>
                <a:gd name="connsiteX24" fmla="*/ 259433 w 625521"/>
                <a:gd name="connsiteY24" fmla="*/ 406294 h 788699"/>
                <a:gd name="connsiteX25" fmla="*/ 259433 w 625521"/>
                <a:gd name="connsiteY25" fmla="*/ 425332 h 788699"/>
                <a:gd name="connsiteX26" fmla="*/ 259433 w 625521"/>
                <a:gd name="connsiteY26" fmla="*/ 449809 h 788699"/>
                <a:gd name="connsiteX27" fmla="*/ 259433 w 625521"/>
                <a:gd name="connsiteY27" fmla="*/ 471566 h 788699"/>
                <a:gd name="connsiteX28" fmla="*/ 259433 w 625521"/>
                <a:gd name="connsiteY28" fmla="*/ 504202 h 788699"/>
                <a:gd name="connsiteX29" fmla="*/ 259433 w 625521"/>
                <a:gd name="connsiteY29" fmla="*/ 509641 h 788699"/>
                <a:gd name="connsiteX30" fmla="*/ 256714 w 625521"/>
                <a:gd name="connsiteY30" fmla="*/ 542277 h 788699"/>
                <a:gd name="connsiteX31" fmla="*/ 256714 w 625521"/>
                <a:gd name="connsiteY31" fmla="*/ 577632 h 788699"/>
                <a:gd name="connsiteX32" fmla="*/ 256714 w 625521"/>
                <a:gd name="connsiteY32" fmla="*/ 612988 h 788699"/>
                <a:gd name="connsiteX33" fmla="*/ 253994 w 625521"/>
                <a:gd name="connsiteY33" fmla="*/ 656502 h 788699"/>
                <a:gd name="connsiteX34" fmla="*/ 256714 w 625521"/>
                <a:gd name="connsiteY34" fmla="*/ 678260 h 788699"/>
                <a:gd name="connsiteX35" fmla="*/ 286629 w 625521"/>
                <a:gd name="connsiteY35" fmla="*/ 694578 h 788699"/>
                <a:gd name="connsiteX36" fmla="*/ 281191 w 625521"/>
                <a:gd name="connsiteY36" fmla="*/ 710895 h 788699"/>
                <a:gd name="connsiteX37" fmla="*/ 264872 w 625521"/>
                <a:gd name="connsiteY37" fmla="*/ 719054 h 788699"/>
                <a:gd name="connsiteX38" fmla="*/ 243116 w 625521"/>
                <a:gd name="connsiteY38" fmla="*/ 721774 h 788699"/>
                <a:gd name="connsiteX39" fmla="*/ 243116 w 625521"/>
                <a:gd name="connsiteY39" fmla="*/ 721774 h 788699"/>
                <a:gd name="connsiteX40" fmla="*/ 232236 w 625521"/>
                <a:gd name="connsiteY40" fmla="*/ 727214 h 788699"/>
                <a:gd name="connsiteX41" fmla="*/ 224078 w 625521"/>
                <a:gd name="connsiteY41" fmla="*/ 735372 h 788699"/>
                <a:gd name="connsiteX42" fmla="*/ 213199 w 625521"/>
                <a:gd name="connsiteY42" fmla="*/ 738092 h 788699"/>
                <a:gd name="connsiteX43" fmla="*/ 183283 w 625521"/>
                <a:gd name="connsiteY43" fmla="*/ 727214 h 788699"/>
                <a:gd name="connsiteX44" fmla="*/ 175124 w 625521"/>
                <a:gd name="connsiteY44" fmla="*/ 719054 h 788699"/>
                <a:gd name="connsiteX45" fmla="*/ 145208 w 625521"/>
                <a:gd name="connsiteY45" fmla="*/ 719054 h 788699"/>
                <a:gd name="connsiteX46" fmla="*/ 126170 w 625521"/>
                <a:gd name="connsiteY46" fmla="*/ 719054 h 788699"/>
                <a:gd name="connsiteX47" fmla="*/ 101693 w 625521"/>
                <a:gd name="connsiteY47" fmla="*/ 719054 h 788699"/>
                <a:gd name="connsiteX48" fmla="*/ 74496 w 625521"/>
                <a:gd name="connsiteY48" fmla="*/ 713615 h 788699"/>
                <a:gd name="connsiteX49" fmla="*/ 58178 w 625521"/>
                <a:gd name="connsiteY49" fmla="*/ 697297 h 788699"/>
                <a:gd name="connsiteX50" fmla="*/ 63618 w 625521"/>
                <a:gd name="connsiteY50" fmla="*/ 689138 h 788699"/>
                <a:gd name="connsiteX51" fmla="*/ 85375 w 625521"/>
                <a:gd name="connsiteY51" fmla="*/ 680979 h 788699"/>
                <a:gd name="connsiteX52" fmla="*/ 131609 w 625521"/>
                <a:gd name="connsiteY52" fmla="*/ 675540 h 788699"/>
                <a:gd name="connsiteX53" fmla="*/ 131609 w 625521"/>
                <a:gd name="connsiteY53" fmla="*/ 667381 h 788699"/>
                <a:gd name="connsiteX54" fmla="*/ 131609 w 625521"/>
                <a:gd name="connsiteY54" fmla="*/ 651063 h 788699"/>
                <a:gd name="connsiteX55" fmla="*/ 131609 w 625521"/>
                <a:gd name="connsiteY55" fmla="*/ 618427 h 788699"/>
                <a:gd name="connsiteX56" fmla="*/ 131609 w 625521"/>
                <a:gd name="connsiteY56" fmla="*/ 580352 h 788699"/>
                <a:gd name="connsiteX57" fmla="*/ 131609 w 625521"/>
                <a:gd name="connsiteY57" fmla="*/ 531398 h 788699"/>
                <a:gd name="connsiteX58" fmla="*/ 131609 w 625521"/>
                <a:gd name="connsiteY58" fmla="*/ 466126 h 788699"/>
                <a:gd name="connsiteX59" fmla="*/ 131609 w 625521"/>
                <a:gd name="connsiteY59" fmla="*/ 422612 h 788699"/>
                <a:gd name="connsiteX60" fmla="*/ 131609 w 625521"/>
                <a:gd name="connsiteY60" fmla="*/ 411733 h 788699"/>
                <a:gd name="connsiteX61" fmla="*/ 131609 w 625521"/>
                <a:gd name="connsiteY61" fmla="*/ 398135 h 788699"/>
                <a:gd name="connsiteX62" fmla="*/ 126170 w 625521"/>
                <a:gd name="connsiteY62" fmla="*/ 389976 h 788699"/>
                <a:gd name="connsiteX63" fmla="*/ 101693 w 625521"/>
                <a:gd name="connsiteY63" fmla="*/ 387257 h 788699"/>
                <a:gd name="connsiteX64" fmla="*/ 77216 w 625521"/>
                <a:gd name="connsiteY64" fmla="*/ 376378 h 788699"/>
                <a:gd name="connsiteX65" fmla="*/ 82655 w 625521"/>
                <a:gd name="connsiteY65" fmla="*/ 368219 h 788699"/>
                <a:gd name="connsiteX66" fmla="*/ 98973 w 625521"/>
                <a:gd name="connsiteY66" fmla="*/ 360060 h 788699"/>
                <a:gd name="connsiteX67" fmla="*/ 118011 w 625521"/>
                <a:gd name="connsiteY67" fmla="*/ 357340 h 788699"/>
                <a:gd name="connsiteX68" fmla="*/ 131609 w 625521"/>
                <a:gd name="connsiteY68" fmla="*/ 351901 h 788699"/>
                <a:gd name="connsiteX69" fmla="*/ 131609 w 625521"/>
                <a:gd name="connsiteY69" fmla="*/ 343742 h 788699"/>
                <a:gd name="connsiteX70" fmla="*/ 131609 w 625521"/>
                <a:gd name="connsiteY70" fmla="*/ 270311 h 788699"/>
                <a:gd name="connsiteX71" fmla="*/ 137048 w 625521"/>
                <a:gd name="connsiteY71" fmla="*/ 145207 h 788699"/>
                <a:gd name="connsiteX72" fmla="*/ 139768 w 625521"/>
                <a:gd name="connsiteY72" fmla="*/ 123450 h 788699"/>
                <a:gd name="connsiteX73" fmla="*/ 123450 w 625521"/>
                <a:gd name="connsiteY73" fmla="*/ 123450 h 788699"/>
                <a:gd name="connsiteX74" fmla="*/ 118011 w 625521"/>
                <a:gd name="connsiteY74" fmla="*/ 123450 h 788699"/>
                <a:gd name="connsiteX75" fmla="*/ 101693 w 625521"/>
                <a:gd name="connsiteY75" fmla="*/ 123450 h 788699"/>
                <a:gd name="connsiteX76" fmla="*/ 74496 w 625521"/>
                <a:gd name="connsiteY76" fmla="*/ 118011 h 788699"/>
                <a:gd name="connsiteX77" fmla="*/ 58178 w 625521"/>
                <a:gd name="connsiteY77" fmla="*/ 101693 h 788699"/>
                <a:gd name="connsiteX78" fmla="*/ 63618 w 625521"/>
                <a:gd name="connsiteY78" fmla="*/ 93534 h 788699"/>
                <a:gd name="connsiteX79" fmla="*/ 85375 w 625521"/>
                <a:gd name="connsiteY79" fmla="*/ 85375 h 788699"/>
                <a:gd name="connsiteX80" fmla="*/ 137048 w 625521"/>
                <a:gd name="connsiteY80" fmla="*/ 82655 h 788699"/>
                <a:gd name="connsiteX81" fmla="*/ 147927 w 625521"/>
                <a:gd name="connsiteY81" fmla="*/ 82655 h 788699"/>
                <a:gd name="connsiteX82" fmla="*/ 186003 w 625521"/>
                <a:gd name="connsiteY82" fmla="*/ 58178 h 788699"/>
                <a:gd name="connsiteX83" fmla="*/ 226797 w 625521"/>
                <a:gd name="connsiteY83" fmla="*/ 79936 h 788699"/>
                <a:gd name="connsiteX84" fmla="*/ 253994 w 625521"/>
                <a:gd name="connsiteY84" fmla="*/ 79936 h 788699"/>
                <a:gd name="connsiteX85" fmla="*/ 294789 w 625521"/>
                <a:gd name="connsiteY85" fmla="*/ 96253 h 788699"/>
                <a:gd name="connsiteX86" fmla="*/ 283910 w 625521"/>
                <a:gd name="connsiteY86" fmla="*/ 112571 h 788699"/>
                <a:gd name="connsiteX87" fmla="*/ 267592 w 625521"/>
                <a:gd name="connsiteY87" fmla="*/ 120730 h 788699"/>
                <a:gd name="connsiteX88" fmla="*/ 245835 w 625521"/>
                <a:gd name="connsiteY88" fmla="*/ 123450 h 788699"/>
                <a:gd name="connsiteX89" fmla="*/ 237676 w 625521"/>
                <a:gd name="connsiteY89" fmla="*/ 123450 h 788699"/>
                <a:gd name="connsiteX90" fmla="*/ 240396 w 625521"/>
                <a:gd name="connsiteY90" fmla="*/ 128889 h 788699"/>
                <a:gd name="connsiteX91" fmla="*/ 251274 w 625521"/>
                <a:gd name="connsiteY91" fmla="*/ 177843 h 788699"/>
                <a:gd name="connsiteX92" fmla="*/ 256714 w 625521"/>
                <a:gd name="connsiteY92" fmla="*/ 226797 h 788699"/>
                <a:gd name="connsiteX93" fmla="*/ 262153 w 625521"/>
                <a:gd name="connsiteY93" fmla="*/ 273031 h 788699"/>
                <a:gd name="connsiteX94" fmla="*/ 262153 w 625521"/>
                <a:gd name="connsiteY94" fmla="*/ 289349 h 788699"/>
                <a:gd name="connsiteX95" fmla="*/ 262153 w 625521"/>
                <a:gd name="connsiteY95" fmla="*/ 297508 h 788699"/>
                <a:gd name="connsiteX96" fmla="*/ 264872 w 625521"/>
                <a:gd name="connsiteY96" fmla="*/ 321985 h 788699"/>
                <a:gd name="connsiteX97" fmla="*/ 270312 w 625521"/>
                <a:gd name="connsiteY97" fmla="*/ 335583 h 788699"/>
                <a:gd name="connsiteX98" fmla="*/ 270312 w 625521"/>
                <a:gd name="connsiteY98" fmla="*/ 338303 h 788699"/>
                <a:gd name="connsiteX99" fmla="*/ 270312 w 625521"/>
                <a:gd name="connsiteY99" fmla="*/ 346462 h 788699"/>
                <a:gd name="connsiteX100" fmla="*/ 278471 w 625521"/>
                <a:gd name="connsiteY100" fmla="*/ 354621 h 788699"/>
                <a:gd name="connsiteX101" fmla="*/ 338304 w 625521"/>
                <a:gd name="connsiteY101" fmla="*/ 349181 h 788699"/>
                <a:gd name="connsiteX102" fmla="*/ 365500 w 625521"/>
                <a:gd name="connsiteY102" fmla="*/ 349181 h 788699"/>
                <a:gd name="connsiteX103" fmla="*/ 381817 w 625521"/>
                <a:gd name="connsiteY103" fmla="*/ 349181 h 788699"/>
                <a:gd name="connsiteX104" fmla="*/ 392697 w 625521"/>
                <a:gd name="connsiteY104" fmla="*/ 338303 h 788699"/>
                <a:gd name="connsiteX105" fmla="*/ 389977 w 625521"/>
                <a:gd name="connsiteY105" fmla="*/ 313826 h 788699"/>
                <a:gd name="connsiteX106" fmla="*/ 392697 w 625521"/>
                <a:gd name="connsiteY106" fmla="*/ 262152 h 788699"/>
                <a:gd name="connsiteX107" fmla="*/ 395416 w 625521"/>
                <a:gd name="connsiteY107" fmla="*/ 224077 h 788699"/>
                <a:gd name="connsiteX108" fmla="*/ 398136 w 625521"/>
                <a:gd name="connsiteY108" fmla="*/ 177843 h 788699"/>
                <a:gd name="connsiteX109" fmla="*/ 395416 w 625521"/>
                <a:gd name="connsiteY109" fmla="*/ 153366 h 788699"/>
                <a:gd name="connsiteX110" fmla="*/ 395416 w 625521"/>
                <a:gd name="connsiteY110" fmla="*/ 137048 h 788699"/>
                <a:gd name="connsiteX111" fmla="*/ 379098 w 625521"/>
                <a:gd name="connsiteY111" fmla="*/ 137048 h 788699"/>
                <a:gd name="connsiteX112" fmla="*/ 351902 w 625521"/>
                <a:gd name="connsiteY112" fmla="*/ 131609 h 788699"/>
                <a:gd name="connsiteX113" fmla="*/ 338304 w 625521"/>
                <a:gd name="connsiteY113" fmla="*/ 115291 h 788699"/>
                <a:gd name="connsiteX114" fmla="*/ 343742 w 625521"/>
                <a:gd name="connsiteY114" fmla="*/ 107132 h 788699"/>
                <a:gd name="connsiteX115" fmla="*/ 362780 w 625521"/>
                <a:gd name="connsiteY115" fmla="*/ 98973 h 788699"/>
                <a:gd name="connsiteX116" fmla="*/ 395416 w 625521"/>
                <a:gd name="connsiteY116" fmla="*/ 96253 h 788699"/>
                <a:gd name="connsiteX117" fmla="*/ 403575 w 625521"/>
                <a:gd name="connsiteY117" fmla="*/ 90814 h 788699"/>
                <a:gd name="connsiteX118" fmla="*/ 422612 w 625521"/>
                <a:gd name="connsiteY118" fmla="*/ 88095 h 788699"/>
                <a:gd name="connsiteX119" fmla="*/ 428052 w 625521"/>
                <a:gd name="connsiteY119" fmla="*/ 88095 h 788699"/>
                <a:gd name="connsiteX120" fmla="*/ 447090 w 625521"/>
                <a:gd name="connsiteY120" fmla="*/ 90814 h 788699"/>
                <a:gd name="connsiteX121" fmla="*/ 455249 w 625521"/>
                <a:gd name="connsiteY121" fmla="*/ 96253 h 788699"/>
                <a:gd name="connsiteX122" fmla="*/ 525960 w 625521"/>
                <a:gd name="connsiteY122" fmla="*/ 93534 h 788699"/>
                <a:gd name="connsiteX123" fmla="*/ 561315 w 625521"/>
                <a:gd name="connsiteY123" fmla="*/ 109852 h 788699"/>
                <a:gd name="connsiteX124" fmla="*/ 555876 w 625521"/>
                <a:gd name="connsiteY124" fmla="*/ 126170 h 788699"/>
                <a:gd name="connsiteX125" fmla="*/ 539558 w 625521"/>
                <a:gd name="connsiteY125" fmla="*/ 134329 h 788699"/>
                <a:gd name="connsiteX126" fmla="*/ 517800 w 625521"/>
                <a:gd name="connsiteY126" fmla="*/ 137048 h 788699"/>
                <a:gd name="connsiteX127" fmla="*/ 477006 w 625521"/>
                <a:gd name="connsiteY127" fmla="*/ 137048 h 788699"/>
                <a:gd name="connsiteX128" fmla="*/ 485165 w 625521"/>
                <a:gd name="connsiteY128" fmla="*/ 161525 h 788699"/>
                <a:gd name="connsiteX129" fmla="*/ 496043 w 625521"/>
                <a:gd name="connsiteY129" fmla="*/ 210479 h 788699"/>
                <a:gd name="connsiteX130" fmla="*/ 501483 w 625521"/>
                <a:gd name="connsiteY130" fmla="*/ 251274 h 788699"/>
                <a:gd name="connsiteX131" fmla="*/ 506922 w 625521"/>
                <a:gd name="connsiteY131" fmla="*/ 292069 h 788699"/>
                <a:gd name="connsiteX132" fmla="*/ 506922 w 625521"/>
                <a:gd name="connsiteY132" fmla="*/ 321985 h 788699"/>
                <a:gd name="connsiteX133" fmla="*/ 509642 w 625521"/>
                <a:gd name="connsiteY133" fmla="*/ 341022 h 788699"/>
                <a:gd name="connsiteX134" fmla="*/ 509642 w 625521"/>
                <a:gd name="connsiteY134" fmla="*/ 343742 h 788699"/>
                <a:gd name="connsiteX135" fmla="*/ 517800 w 625521"/>
                <a:gd name="connsiteY135" fmla="*/ 349181 h 788699"/>
                <a:gd name="connsiteX136" fmla="*/ 528680 w 625521"/>
                <a:gd name="connsiteY136" fmla="*/ 349181 h 788699"/>
                <a:gd name="connsiteX137" fmla="*/ 550437 w 625521"/>
                <a:gd name="connsiteY137" fmla="*/ 357340 h 788699"/>
                <a:gd name="connsiteX138" fmla="*/ 550437 w 625521"/>
                <a:gd name="connsiteY138" fmla="*/ 362780 h 788699"/>
                <a:gd name="connsiteX139" fmla="*/ 534119 w 625521"/>
                <a:gd name="connsiteY139" fmla="*/ 384537 h 788699"/>
                <a:gd name="connsiteX140" fmla="*/ 520520 w 625521"/>
                <a:gd name="connsiteY140" fmla="*/ 389976 h 788699"/>
                <a:gd name="connsiteX141" fmla="*/ 512362 w 625521"/>
                <a:gd name="connsiteY141" fmla="*/ 395415 h 788699"/>
                <a:gd name="connsiteX142" fmla="*/ 512362 w 625521"/>
                <a:gd name="connsiteY142" fmla="*/ 398135 h 788699"/>
                <a:gd name="connsiteX143" fmla="*/ 512362 w 625521"/>
                <a:gd name="connsiteY143" fmla="*/ 409014 h 788699"/>
                <a:gd name="connsiteX144" fmla="*/ 512362 w 625521"/>
                <a:gd name="connsiteY144" fmla="*/ 414453 h 788699"/>
                <a:gd name="connsiteX145" fmla="*/ 512362 w 625521"/>
                <a:gd name="connsiteY145" fmla="*/ 438930 h 788699"/>
                <a:gd name="connsiteX146" fmla="*/ 515081 w 625521"/>
                <a:gd name="connsiteY146" fmla="*/ 504202 h 788699"/>
                <a:gd name="connsiteX147" fmla="*/ 520520 w 625521"/>
                <a:gd name="connsiteY147" fmla="*/ 572193 h 788699"/>
                <a:gd name="connsiteX148" fmla="*/ 517800 w 625521"/>
                <a:gd name="connsiteY148" fmla="*/ 604829 h 788699"/>
                <a:gd name="connsiteX149" fmla="*/ 512362 w 625521"/>
                <a:gd name="connsiteY149" fmla="*/ 661942 h 788699"/>
                <a:gd name="connsiteX150" fmla="*/ 509642 w 625521"/>
                <a:gd name="connsiteY150" fmla="*/ 670101 h 788699"/>
                <a:gd name="connsiteX151" fmla="*/ 512362 w 625521"/>
                <a:gd name="connsiteY151" fmla="*/ 680979 h 788699"/>
                <a:gd name="connsiteX152" fmla="*/ 512362 w 625521"/>
                <a:gd name="connsiteY152" fmla="*/ 686419 h 788699"/>
                <a:gd name="connsiteX153" fmla="*/ 536838 w 625521"/>
                <a:gd name="connsiteY153" fmla="*/ 680979 h 788699"/>
                <a:gd name="connsiteX154" fmla="*/ 536838 w 625521"/>
                <a:gd name="connsiteY154" fmla="*/ 680979 h 7886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</a:cxnLst>
              <a:rect l="l" t="t" r="r" b="b"/>
              <a:pathLst>
                <a:path w="625521" h="788699">
                  <a:moveTo>
                    <a:pt x="536838" y="680979"/>
                  </a:moveTo>
                  <a:cubicBezTo>
                    <a:pt x="550437" y="680979"/>
                    <a:pt x="574913" y="680979"/>
                    <a:pt x="574913" y="697297"/>
                  </a:cubicBezTo>
                  <a:cubicBezTo>
                    <a:pt x="574913" y="705456"/>
                    <a:pt x="572194" y="708176"/>
                    <a:pt x="566755" y="713615"/>
                  </a:cubicBezTo>
                  <a:cubicBezTo>
                    <a:pt x="561315" y="719054"/>
                    <a:pt x="555876" y="721774"/>
                    <a:pt x="550437" y="721774"/>
                  </a:cubicBezTo>
                  <a:cubicBezTo>
                    <a:pt x="539558" y="724494"/>
                    <a:pt x="534119" y="724494"/>
                    <a:pt x="528680" y="724494"/>
                  </a:cubicBezTo>
                  <a:cubicBezTo>
                    <a:pt x="517800" y="724494"/>
                    <a:pt x="428052" y="724494"/>
                    <a:pt x="417174" y="724494"/>
                  </a:cubicBezTo>
                  <a:cubicBezTo>
                    <a:pt x="403575" y="724494"/>
                    <a:pt x="414454" y="724494"/>
                    <a:pt x="398136" y="724494"/>
                  </a:cubicBezTo>
                  <a:cubicBezTo>
                    <a:pt x="389977" y="724494"/>
                    <a:pt x="381817" y="724494"/>
                    <a:pt x="373659" y="724494"/>
                  </a:cubicBezTo>
                  <a:cubicBezTo>
                    <a:pt x="365500" y="724494"/>
                    <a:pt x="354621" y="721774"/>
                    <a:pt x="346462" y="719054"/>
                  </a:cubicBezTo>
                  <a:cubicBezTo>
                    <a:pt x="338304" y="716335"/>
                    <a:pt x="330144" y="708176"/>
                    <a:pt x="330144" y="702737"/>
                  </a:cubicBezTo>
                  <a:cubicBezTo>
                    <a:pt x="330144" y="700017"/>
                    <a:pt x="330144" y="697297"/>
                    <a:pt x="335584" y="694578"/>
                  </a:cubicBezTo>
                  <a:cubicBezTo>
                    <a:pt x="341023" y="691858"/>
                    <a:pt x="351902" y="689138"/>
                    <a:pt x="357341" y="686419"/>
                  </a:cubicBezTo>
                  <a:cubicBezTo>
                    <a:pt x="373659" y="683699"/>
                    <a:pt x="387257" y="680979"/>
                    <a:pt x="395416" y="680979"/>
                  </a:cubicBezTo>
                  <a:cubicBezTo>
                    <a:pt x="387257" y="675540"/>
                    <a:pt x="384537" y="670101"/>
                    <a:pt x="381817" y="656502"/>
                  </a:cubicBezTo>
                  <a:cubicBezTo>
                    <a:pt x="379098" y="632026"/>
                    <a:pt x="379098" y="610268"/>
                    <a:pt x="379098" y="585791"/>
                  </a:cubicBezTo>
                  <a:cubicBezTo>
                    <a:pt x="379098" y="564034"/>
                    <a:pt x="379098" y="542277"/>
                    <a:pt x="379098" y="517800"/>
                  </a:cubicBezTo>
                  <a:cubicBezTo>
                    <a:pt x="379098" y="504202"/>
                    <a:pt x="379098" y="487884"/>
                    <a:pt x="379098" y="474286"/>
                  </a:cubicBezTo>
                  <a:cubicBezTo>
                    <a:pt x="379098" y="457968"/>
                    <a:pt x="376379" y="444369"/>
                    <a:pt x="379098" y="430771"/>
                  </a:cubicBezTo>
                  <a:cubicBezTo>
                    <a:pt x="379098" y="425332"/>
                    <a:pt x="381817" y="417173"/>
                    <a:pt x="381817" y="411733"/>
                  </a:cubicBezTo>
                  <a:cubicBezTo>
                    <a:pt x="381817" y="406294"/>
                    <a:pt x="381817" y="403575"/>
                    <a:pt x="379098" y="400855"/>
                  </a:cubicBezTo>
                  <a:cubicBezTo>
                    <a:pt x="376379" y="400855"/>
                    <a:pt x="373659" y="398135"/>
                    <a:pt x="370939" y="398135"/>
                  </a:cubicBezTo>
                  <a:cubicBezTo>
                    <a:pt x="360061" y="398135"/>
                    <a:pt x="343742" y="400855"/>
                    <a:pt x="338304" y="400855"/>
                  </a:cubicBezTo>
                  <a:cubicBezTo>
                    <a:pt x="330144" y="400855"/>
                    <a:pt x="319266" y="403575"/>
                    <a:pt x="289349" y="403575"/>
                  </a:cubicBezTo>
                  <a:cubicBezTo>
                    <a:pt x="275751" y="403575"/>
                    <a:pt x="267592" y="400855"/>
                    <a:pt x="264872" y="400855"/>
                  </a:cubicBezTo>
                  <a:cubicBezTo>
                    <a:pt x="262153" y="400855"/>
                    <a:pt x="259433" y="400855"/>
                    <a:pt x="259433" y="406294"/>
                  </a:cubicBezTo>
                  <a:cubicBezTo>
                    <a:pt x="259433" y="414453"/>
                    <a:pt x="259433" y="419892"/>
                    <a:pt x="259433" y="425332"/>
                  </a:cubicBezTo>
                  <a:cubicBezTo>
                    <a:pt x="259433" y="433491"/>
                    <a:pt x="259433" y="441650"/>
                    <a:pt x="259433" y="449809"/>
                  </a:cubicBezTo>
                  <a:cubicBezTo>
                    <a:pt x="259433" y="457968"/>
                    <a:pt x="259433" y="463407"/>
                    <a:pt x="259433" y="471566"/>
                  </a:cubicBezTo>
                  <a:cubicBezTo>
                    <a:pt x="259433" y="482445"/>
                    <a:pt x="259433" y="493323"/>
                    <a:pt x="259433" y="504202"/>
                  </a:cubicBezTo>
                  <a:cubicBezTo>
                    <a:pt x="259433" y="506921"/>
                    <a:pt x="259433" y="506921"/>
                    <a:pt x="259433" y="509641"/>
                  </a:cubicBezTo>
                  <a:cubicBezTo>
                    <a:pt x="259433" y="520520"/>
                    <a:pt x="256714" y="531398"/>
                    <a:pt x="256714" y="542277"/>
                  </a:cubicBezTo>
                  <a:cubicBezTo>
                    <a:pt x="256714" y="553156"/>
                    <a:pt x="256714" y="566754"/>
                    <a:pt x="256714" y="577632"/>
                  </a:cubicBezTo>
                  <a:cubicBezTo>
                    <a:pt x="256714" y="588511"/>
                    <a:pt x="256714" y="599390"/>
                    <a:pt x="256714" y="612988"/>
                  </a:cubicBezTo>
                  <a:cubicBezTo>
                    <a:pt x="256714" y="629306"/>
                    <a:pt x="253994" y="642904"/>
                    <a:pt x="253994" y="656502"/>
                  </a:cubicBezTo>
                  <a:cubicBezTo>
                    <a:pt x="253994" y="664661"/>
                    <a:pt x="256714" y="672820"/>
                    <a:pt x="256714" y="678260"/>
                  </a:cubicBezTo>
                  <a:cubicBezTo>
                    <a:pt x="270312" y="678260"/>
                    <a:pt x="286629" y="680979"/>
                    <a:pt x="286629" y="694578"/>
                  </a:cubicBezTo>
                  <a:cubicBezTo>
                    <a:pt x="286629" y="702737"/>
                    <a:pt x="283910" y="705456"/>
                    <a:pt x="281191" y="710895"/>
                  </a:cubicBezTo>
                  <a:cubicBezTo>
                    <a:pt x="275751" y="716335"/>
                    <a:pt x="270312" y="719054"/>
                    <a:pt x="264872" y="719054"/>
                  </a:cubicBezTo>
                  <a:cubicBezTo>
                    <a:pt x="256714" y="721774"/>
                    <a:pt x="248554" y="721774"/>
                    <a:pt x="243116" y="721774"/>
                  </a:cubicBezTo>
                  <a:cubicBezTo>
                    <a:pt x="243116" y="721774"/>
                    <a:pt x="243116" y="721774"/>
                    <a:pt x="243116" y="721774"/>
                  </a:cubicBezTo>
                  <a:cubicBezTo>
                    <a:pt x="237676" y="724494"/>
                    <a:pt x="237676" y="724494"/>
                    <a:pt x="232236" y="727214"/>
                  </a:cubicBezTo>
                  <a:cubicBezTo>
                    <a:pt x="229517" y="729933"/>
                    <a:pt x="229517" y="732653"/>
                    <a:pt x="224078" y="735372"/>
                  </a:cubicBezTo>
                  <a:cubicBezTo>
                    <a:pt x="221358" y="738092"/>
                    <a:pt x="215919" y="738092"/>
                    <a:pt x="213199" y="738092"/>
                  </a:cubicBezTo>
                  <a:cubicBezTo>
                    <a:pt x="199601" y="738092"/>
                    <a:pt x="188722" y="735372"/>
                    <a:pt x="183283" y="727214"/>
                  </a:cubicBezTo>
                  <a:cubicBezTo>
                    <a:pt x="180563" y="724494"/>
                    <a:pt x="177843" y="721774"/>
                    <a:pt x="175124" y="719054"/>
                  </a:cubicBezTo>
                  <a:cubicBezTo>
                    <a:pt x="161526" y="719054"/>
                    <a:pt x="150646" y="719054"/>
                    <a:pt x="145208" y="719054"/>
                  </a:cubicBezTo>
                  <a:cubicBezTo>
                    <a:pt x="131609" y="719054"/>
                    <a:pt x="142488" y="719054"/>
                    <a:pt x="126170" y="719054"/>
                  </a:cubicBezTo>
                  <a:cubicBezTo>
                    <a:pt x="118011" y="719054"/>
                    <a:pt x="109852" y="719054"/>
                    <a:pt x="101693" y="719054"/>
                  </a:cubicBezTo>
                  <a:cubicBezTo>
                    <a:pt x="93534" y="719054"/>
                    <a:pt x="82655" y="719054"/>
                    <a:pt x="74496" y="713615"/>
                  </a:cubicBezTo>
                  <a:cubicBezTo>
                    <a:pt x="66338" y="710895"/>
                    <a:pt x="58178" y="702737"/>
                    <a:pt x="58178" y="697297"/>
                  </a:cubicBezTo>
                  <a:cubicBezTo>
                    <a:pt x="58178" y="694578"/>
                    <a:pt x="58178" y="691858"/>
                    <a:pt x="63618" y="689138"/>
                  </a:cubicBezTo>
                  <a:cubicBezTo>
                    <a:pt x="69057" y="686419"/>
                    <a:pt x="79936" y="683699"/>
                    <a:pt x="85375" y="680979"/>
                  </a:cubicBezTo>
                  <a:cubicBezTo>
                    <a:pt x="98973" y="678260"/>
                    <a:pt x="118011" y="678260"/>
                    <a:pt x="131609" y="675540"/>
                  </a:cubicBezTo>
                  <a:cubicBezTo>
                    <a:pt x="131609" y="672820"/>
                    <a:pt x="131609" y="670101"/>
                    <a:pt x="131609" y="667381"/>
                  </a:cubicBezTo>
                  <a:cubicBezTo>
                    <a:pt x="131609" y="661942"/>
                    <a:pt x="131609" y="656502"/>
                    <a:pt x="131609" y="651063"/>
                  </a:cubicBezTo>
                  <a:cubicBezTo>
                    <a:pt x="131609" y="640184"/>
                    <a:pt x="131609" y="629306"/>
                    <a:pt x="131609" y="618427"/>
                  </a:cubicBezTo>
                  <a:cubicBezTo>
                    <a:pt x="131609" y="604829"/>
                    <a:pt x="131609" y="593950"/>
                    <a:pt x="131609" y="580352"/>
                  </a:cubicBezTo>
                  <a:cubicBezTo>
                    <a:pt x="131609" y="564034"/>
                    <a:pt x="131609" y="547716"/>
                    <a:pt x="131609" y="531398"/>
                  </a:cubicBezTo>
                  <a:cubicBezTo>
                    <a:pt x="131609" y="509641"/>
                    <a:pt x="131609" y="487884"/>
                    <a:pt x="131609" y="466126"/>
                  </a:cubicBezTo>
                  <a:cubicBezTo>
                    <a:pt x="131609" y="452528"/>
                    <a:pt x="131609" y="436210"/>
                    <a:pt x="131609" y="422612"/>
                  </a:cubicBezTo>
                  <a:cubicBezTo>
                    <a:pt x="131609" y="419892"/>
                    <a:pt x="131609" y="414453"/>
                    <a:pt x="131609" y="411733"/>
                  </a:cubicBezTo>
                  <a:cubicBezTo>
                    <a:pt x="131609" y="409014"/>
                    <a:pt x="131609" y="400855"/>
                    <a:pt x="131609" y="398135"/>
                  </a:cubicBezTo>
                  <a:cubicBezTo>
                    <a:pt x="131609" y="392696"/>
                    <a:pt x="131609" y="392696"/>
                    <a:pt x="126170" y="389976"/>
                  </a:cubicBezTo>
                  <a:cubicBezTo>
                    <a:pt x="123450" y="389976"/>
                    <a:pt x="109852" y="387257"/>
                    <a:pt x="101693" y="387257"/>
                  </a:cubicBezTo>
                  <a:cubicBezTo>
                    <a:pt x="90814" y="384537"/>
                    <a:pt x="77216" y="381817"/>
                    <a:pt x="77216" y="376378"/>
                  </a:cubicBezTo>
                  <a:cubicBezTo>
                    <a:pt x="77216" y="373658"/>
                    <a:pt x="79936" y="370939"/>
                    <a:pt x="82655" y="368219"/>
                  </a:cubicBezTo>
                  <a:cubicBezTo>
                    <a:pt x="88095" y="365499"/>
                    <a:pt x="93534" y="362780"/>
                    <a:pt x="98973" y="360060"/>
                  </a:cubicBezTo>
                  <a:cubicBezTo>
                    <a:pt x="104413" y="360060"/>
                    <a:pt x="112571" y="357340"/>
                    <a:pt x="118011" y="357340"/>
                  </a:cubicBezTo>
                  <a:cubicBezTo>
                    <a:pt x="126170" y="354621"/>
                    <a:pt x="128890" y="357340"/>
                    <a:pt x="131609" y="351901"/>
                  </a:cubicBezTo>
                  <a:cubicBezTo>
                    <a:pt x="131609" y="349181"/>
                    <a:pt x="131609" y="346462"/>
                    <a:pt x="131609" y="343742"/>
                  </a:cubicBezTo>
                  <a:cubicBezTo>
                    <a:pt x="131609" y="319265"/>
                    <a:pt x="131609" y="294788"/>
                    <a:pt x="131609" y="270311"/>
                  </a:cubicBezTo>
                  <a:cubicBezTo>
                    <a:pt x="131609" y="226797"/>
                    <a:pt x="131609" y="186002"/>
                    <a:pt x="137048" y="145207"/>
                  </a:cubicBezTo>
                  <a:cubicBezTo>
                    <a:pt x="137048" y="139768"/>
                    <a:pt x="137048" y="131609"/>
                    <a:pt x="139768" y="123450"/>
                  </a:cubicBezTo>
                  <a:cubicBezTo>
                    <a:pt x="134329" y="123450"/>
                    <a:pt x="137048" y="123450"/>
                    <a:pt x="123450" y="123450"/>
                  </a:cubicBezTo>
                  <a:cubicBezTo>
                    <a:pt x="120731" y="123450"/>
                    <a:pt x="120731" y="123450"/>
                    <a:pt x="118011" y="123450"/>
                  </a:cubicBezTo>
                  <a:cubicBezTo>
                    <a:pt x="112571" y="123450"/>
                    <a:pt x="107133" y="123450"/>
                    <a:pt x="101693" y="123450"/>
                  </a:cubicBezTo>
                  <a:cubicBezTo>
                    <a:pt x="93534" y="123450"/>
                    <a:pt x="82655" y="120730"/>
                    <a:pt x="74496" y="118011"/>
                  </a:cubicBezTo>
                  <a:cubicBezTo>
                    <a:pt x="66338" y="115291"/>
                    <a:pt x="58178" y="107132"/>
                    <a:pt x="58178" y="101693"/>
                  </a:cubicBezTo>
                  <a:cubicBezTo>
                    <a:pt x="58178" y="98973"/>
                    <a:pt x="58178" y="96253"/>
                    <a:pt x="63618" y="93534"/>
                  </a:cubicBezTo>
                  <a:cubicBezTo>
                    <a:pt x="66338" y="90814"/>
                    <a:pt x="77216" y="88095"/>
                    <a:pt x="85375" y="85375"/>
                  </a:cubicBezTo>
                  <a:cubicBezTo>
                    <a:pt x="104413" y="82655"/>
                    <a:pt x="128890" y="82655"/>
                    <a:pt x="137048" y="82655"/>
                  </a:cubicBezTo>
                  <a:cubicBezTo>
                    <a:pt x="139768" y="82655"/>
                    <a:pt x="142488" y="82655"/>
                    <a:pt x="147927" y="82655"/>
                  </a:cubicBezTo>
                  <a:cubicBezTo>
                    <a:pt x="153366" y="69057"/>
                    <a:pt x="164245" y="58178"/>
                    <a:pt x="186003" y="58178"/>
                  </a:cubicBezTo>
                  <a:cubicBezTo>
                    <a:pt x="202321" y="58178"/>
                    <a:pt x="215919" y="66337"/>
                    <a:pt x="226797" y="79936"/>
                  </a:cubicBezTo>
                  <a:cubicBezTo>
                    <a:pt x="237676" y="79936"/>
                    <a:pt x="248554" y="79936"/>
                    <a:pt x="253994" y="79936"/>
                  </a:cubicBezTo>
                  <a:cubicBezTo>
                    <a:pt x="267592" y="79936"/>
                    <a:pt x="294789" y="79936"/>
                    <a:pt x="294789" y="96253"/>
                  </a:cubicBezTo>
                  <a:cubicBezTo>
                    <a:pt x="294789" y="104412"/>
                    <a:pt x="289349" y="107132"/>
                    <a:pt x="283910" y="112571"/>
                  </a:cubicBezTo>
                  <a:cubicBezTo>
                    <a:pt x="278471" y="118011"/>
                    <a:pt x="273031" y="120730"/>
                    <a:pt x="267592" y="120730"/>
                  </a:cubicBezTo>
                  <a:cubicBezTo>
                    <a:pt x="259433" y="123450"/>
                    <a:pt x="251274" y="123450"/>
                    <a:pt x="245835" y="123450"/>
                  </a:cubicBezTo>
                  <a:cubicBezTo>
                    <a:pt x="245835" y="123450"/>
                    <a:pt x="243116" y="123450"/>
                    <a:pt x="237676" y="123450"/>
                  </a:cubicBezTo>
                  <a:cubicBezTo>
                    <a:pt x="237676" y="126170"/>
                    <a:pt x="237676" y="126170"/>
                    <a:pt x="240396" y="128889"/>
                  </a:cubicBezTo>
                  <a:cubicBezTo>
                    <a:pt x="245835" y="145207"/>
                    <a:pt x="248554" y="161525"/>
                    <a:pt x="251274" y="177843"/>
                  </a:cubicBezTo>
                  <a:cubicBezTo>
                    <a:pt x="253994" y="194161"/>
                    <a:pt x="253994" y="210479"/>
                    <a:pt x="256714" y="226797"/>
                  </a:cubicBezTo>
                  <a:cubicBezTo>
                    <a:pt x="259433" y="243115"/>
                    <a:pt x="262153" y="256713"/>
                    <a:pt x="262153" y="273031"/>
                  </a:cubicBezTo>
                  <a:cubicBezTo>
                    <a:pt x="262153" y="278470"/>
                    <a:pt x="262153" y="283910"/>
                    <a:pt x="262153" y="289349"/>
                  </a:cubicBezTo>
                  <a:lnTo>
                    <a:pt x="262153" y="297508"/>
                  </a:lnTo>
                  <a:cubicBezTo>
                    <a:pt x="262153" y="305667"/>
                    <a:pt x="262153" y="313826"/>
                    <a:pt x="264872" y="321985"/>
                  </a:cubicBezTo>
                  <a:cubicBezTo>
                    <a:pt x="264872" y="327424"/>
                    <a:pt x="270312" y="330144"/>
                    <a:pt x="270312" y="335583"/>
                  </a:cubicBezTo>
                  <a:cubicBezTo>
                    <a:pt x="270312" y="335583"/>
                    <a:pt x="270312" y="338303"/>
                    <a:pt x="270312" y="338303"/>
                  </a:cubicBezTo>
                  <a:cubicBezTo>
                    <a:pt x="270312" y="341022"/>
                    <a:pt x="270312" y="343742"/>
                    <a:pt x="270312" y="346462"/>
                  </a:cubicBezTo>
                  <a:cubicBezTo>
                    <a:pt x="270312" y="351901"/>
                    <a:pt x="273031" y="354621"/>
                    <a:pt x="278471" y="354621"/>
                  </a:cubicBezTo>
                  <a:cubicBezTo>
                    <a:pt x="289349" y="354621"/>
                    <a:pt x="335584" y="351901"/>
                    <a:pt x="338304" y="349181"/>
                  </a:cubicBezTo>
                  <a:cubicBezTo>
                    <a:pt x="346462" y="349181"/>
                    <a:pt x="357341" y="349181"/>
                    <a:pt x="365500" y="349181"/>
                  </a:cubicBezTo>
                  <a:cubicBezTo>
                    <a:pt x="370939" y="349181"/>
                    <a:pt x="376379" y="349181"/>
                    <a:pt x="381817" y="349181"/>
                  </a:cubicBezTo>
                  <a:cubicBezTo>
                    <a:pt x="387257" y="349181"/>
                    <a:pt x="392697" y="346462"/>
                    <a:pt x="392697" y="338303"/>
                  </a:cubicBezTo>
                  <a:cubicBezTo>
                    <a:pt x="392697" y="330144"/>
                    <a:pt x="389977" y="316545"/>
                    <a:pt x="389977" y="313826"/>
                  </a:cubicBezTo>
                  <a:cubicBezTo>
                    <a:pt x="389977" y="294788"/>
                    <a:pt x="389977" y="278470"/>
                    <a:pt x="392697" y="262152"/>
                  </a:cubicBezTo>
                  <a:cubicBezTo>
                    <a:pt x="392697" y="259433"/>
                    <a:pt x="395416" y="243115"/>
                    <a:pt x="395416" y="224077"/>
                  </a:cubicBezTo>
                  <a:cubicBezTo>
                    <a:pt x="395416" y="207759"/>
                    <a:pt x="398136" y="188722"/>
                    <a:pt x="398136" y="177843"/>
                  </a:cubicBezTo>
                  <a:cubicBezTo>
                    <a:pt x="398136" y="169684"/>
                    <a:pt x="395416" y="158806"/>
                    <a:pt x="395416" y="153366"/>
                  </a:cubicBezTo>
                  <a:cubicBezTo>
                    <a:pt x="395416" y="145207"/>
                    <a:pt x="395416" y="142488"/>
                    <a:pt x="395416" y="137048"/>
                  </a:cubicBezTo>
                  <a:cubicBezTo>
                    <a:pt x="389977" y="137048"/>
                    <a:pt x="384537" y="137048"/>
                    <a:pt x="379098" y="137048"/>
                  </a:cubicBezTo>
                  <a:cubicBezTo>
                    <a:pt x="370939" y="137048"/>
                    <a:pt x="360061" y="134329"/>
                    <a:pt x="351902" y="131609"/>
                  </a:cubicBezTo>
                  <a:cubicBezTo>
                    <a:pt x="343742" y="128889"/>
                    <a:pt x="338304" y="120730"/>
                    <a:pt x="338304" y="115291"/>
                  </a:cubicBezTo>
                  <a:cubicBezTo>
                    <a:pt x="338304" y="112571"/>
                    <a:pt x="338304" y="109852"/>
                    <a:pt x="343742" y="107132"/>
                  </a:cubicBezTo>
                  <a:cubicBezTo>
                    <a:pt x="349182" y="104412"/>
                    <a:pt x="357341" y="101693"/>
                    <a:pt x="362780" y="98973"/>
                  </a:cubicBezTo>
                  <a:cubicBezTo>
                    <a:pt x="373659" y="96253"/>
                    <a:pt x="387257" y="96253"/>
                    <a:pt x="395416" y="96253"/>
                  </a:cubicBezTo>
                  <a:cubicBezTo>
                    <a:pt x="398136" y="93534"/>
                    <a:pt x="400855" y="90814"/>
                    <a:pt x="403575" y="90814"/>
                  </a:cubicBezTo>
                  <a:cubicBezTo>
                    <a:pt x="411734" y="90814"/>
                    <a:pt x="419893" y="88095"/>
                    <a:pt x="422612" y="88095"/>
                  </a:cubicBezTo>
                  <a:cubicBezTo>
                    <a:pt x="425332" y="88095"/>
                    <a:pt x="425332" y="88095"/>
                    <a:pt x="428052" y="88095"/>
                  </a:cubicBezTo>
                  <a:cubicBezTo>
                    <a:pt x="433492" y="88095"/>
                    <a:pt x="441650" y="88095"/>
                    <a:pt x="447090" y="90814"/>
                  </a:cubicBezTo>
                  <a:cubicBezTo>
                    <a:pt x="449809" y="90814"/>
                    <a:pt x="452529" y="93534"/>
                    <a:pt x="455249" y="96253"/>
                  </a:cubicBezTo>
                  <a:cubicBezTo>
                    <a:pt x="482445" y="96253"/>
                    <a:pt x="509642" y="93534"/>
                    <a:pt x="525960" y="93534"/>
                  </a:cubicBezTo>
                  <a:cubicBezTo>
                    <a:pt x="539558" y="93534"/>
                    <a:pt x="561315" y="93534"/>
                    <a:pt x="561315" y="109852"/>
                  </a:cubicBezTo>
                  <a:cubicBezTo>
                    <a:pt x="561315" y="118011"/>
                    <a:pt x="561315" y="120730"/>
                    <a:pt x="555876" y="126170"/>
                  </a:cubicBezTo>
                  <a:cubicBezTo>
                    <a:pt x="550437" y="131609"/>
                    <a:pt x="544997" y="134329"/>
                    <a:pt x="539558" y="134329"/>
                  </a:cubicBezTo>
                  <a:cubicBezTo>
                    <a:pt x="531399" y="137048"/>
                    <a:pt x="523240" y="137048"/>
                    <a:pt x="517800" y="137048"/>
                  </a:cubicBezTo>
                  <a:cubicBezTo>
                    <a:pt x="515081" y="137048"/>
                    <a:pt x="498763" y="137048"/>
                    <a:pt x="477006" y="137048"/>
                  </a:cubicBezTo>
                  <a:cubicBezTo>
                    <a:pt x="479725" y="145207"/>
                    <a:pt x="485165" y="153366"/>
                    <a:pt x="485165" y="161525"/>
                  </a:cubicBezTo>
                  <a:cubicBezTo>
                    <a:pt x="487885" y="177843"/>
                    <a:pt x="493324" y="194161"/>
                    <a:pt x="496043" y="210479"/>
                  </a:cubicBezTo>
                  <a:cubicBezTo>
                    <a:pt x="498763" y="224077"/>
                    <a:pt x="498763" y="237676"/>
                    <a:pt x="501483" y="251274"/>
                  </a:cubicBezTo>
                  <a:cubicBezTo>
                    <a:pt x="504202" y="264872"/>
                    <a:pt x="506922" y="275751"/>
                    <a:pt x="506922" y="292069"/>
                  </a:cubicBezTo>
                  <a:cubicBezTo>
                    <a:pt x="506922" y="302947"/>
                    <a:pt x="506922" y="311106"/>
                    <a:pt x="506922" y="321985"/>
                  </a:cubicBezTo>
                  <a:cubicBezTo>
                    <a:pt x="506922" y="327424"/>
                    <a:pt x="509642" y="335583"/>
                    <a:pt x="509642" y="341022"/>
                  </a:cubicBezTo>
                  <a:cubicBezTo>
                    <a:pt x="509642" y="343742"/>
                    <a:pt x="509642" y="343742"/>
                    <a:pt x="509642" y="343742"/>
                  </a:cubicBezTo>
                  <a:cubicBezTo>
                    <a:pt x="509642" y="349181"/>
                    <a:pt x="515081" y="349181"/>
                    <a:pt x="517800" y="349181"/>
                  </a:cubicBezTo>
                  <a:cubicBezTo>
                    <a:pt x="520520" y="349181"/>
                    <a:pt x="523240" y="349181"/>
                    <a:pt x="528680" y="349181"/>
                  </a:cubicBezTo>
                  <a:cubicBezTo>
                    <a:pt x="536838" y="349181"/>
                    <a:pt x="547717" y="349181"/>
                    <a:pt x="550437" y="357340"/>
                  </a:cubicBezTo>
                  <a:cubicBezTo>
                    <a:pt x="550437" y="360060"/>
                    <a:pt x="550437" y="360060"/>
                    <a:pt x="550437" y="362780"/>
                  </a:cubicBezTo>
                  <a:cubicBezTo>
                    <a:pt x="550437" y="370939"/>
                    <a:pt x="539558" y="381817"/>
                    <a:pt x="534119" y="384537"/>
                  </a:cubicBezTo>
                  <a:cubicBezTo>
                    <a:pt x="531399" y="387257"/>
                    <a:pt x="523240" y="387257"/>
                    <a:pt x="520520" y="389976"/>
                  </a:cubicBezTo>
                  <a:cubicBezTo>
                    <a:pt x="515081" y="389976"/>
                    <a:pt x="512362" y="392696"/>
                    <a:pt x="512362" y="395415"/>
                  </a:cubicBezTo>
                  <a:cubicBezTo>
                    <a:pt x="512362" y="395415"/>
                    <a:pt x="512362" y="398135"/>
                    <a:pt x="512362" y="398135"/>
                  </a:cubicBezTo>
                  <a:cubicBezTo>
                    <a:pt x="512362" y="400855"/>
                    <a:pt x="512362" y="406294"/>
                    <a:pt x="512362" y="409014"/>
                  </a:cubicBezTo>
                  <a:cubicBezTo>
                    <a:pt x="512362" y="411733"/>
                    <a:pt x="512362" y="411733"/>
                    <a:pt x="512362" y="414453"/>
                  </a:cubicBezTo>
                  <a:cubicBezTo>
                    <a:pt x="512362" y="422612"/>
                    <a:pt x="512362" y="430771"/>
                    <a:pt x="512362" y="438930"/>
                  </a:cubicBezTo>
                  <a:cubicBezTo>
                    <a:pt x="512362" y="460687"/>
                    <a:pt x="512362" y="482445"/>
                    <a:pt x="515081" y="504202"/>
                  </a:cubicBezTo>
                  <a:cubicBezTo>
                    <a:pt x="517800" y="525959"/>
                    <a:pt x="520520" y="550436"/>
                    <a:pt x="520520" y="572193"/>
                  </a:cubicBezTo>
                  <a:cubicBezTo>
                    <a:pt x="520520" y="583072"/>
                    <a:pt x="520520" y="593950"/>
                    <a:pt x="517800" y="604829"/>
                  </a:cubicBezTo>
                  <a:cubicBezTo>
                    <a:pt x="515081" y="623867"/>
                    <a:pt x="515081" y="642904"/>
                    <a:pt x="512362" y="661942"/>
                  </a:cubicBezTo>
                  <a:cubicBezTo>
                    <a:pt x="512362" y="664661"/>
                    <a:pt x="509642" y="667381"/>
                    <a:pt x="509642" y="670101"/>
                  </a:cubicBezTo>
                  <a:cubicBezTo>
                    <a:pt x="509642" y="672820"/>
                    <a:pt x="512362" y="678260"/>
                    <a:pt x="512362" y="680979"/>
                  </a:cubicBezTo>
                  <a:cubicBezTo>
                    <a:pt x="512362" y="683699"/>
                    <a:pt x="512362" y="686419"/>
                    <a:pt x="512362" y="686419"/>
                  </a:cubicBezTo>
                  <a:cubicBezTo>
                    <a:pt x="517800" y="680979"/>
                    <a:pt x="528680" y="680979"/>
                    <a:pt x="536838" y="680979"/>
                  </a:cubicBezTo>
                  <a:lnTo>
                    <a:pt x="536838" y="680979"/>
                  </a:ln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/>
            </a:p>
          </p:txBody>
        </p:sp>
        <p:sp>
          <p:nvSpPr>
            <p:cNvPr id="53" name="Freeform: Shape 52">
              <a:extLst>
                <a:ext uri="{FF2B5EF4-FFF2-40B4-BE49-F238E27FC236}">
                  <a16:creationId xmlns:a16="http://schemas.microsoft.com/office/drawing/2014/main" id="{DD73AE06-4A3A-4371-A70B-68543597356B}"/>
                </a:ext>
              </a:extLst>
            </p:cNvPr>
            <p:cNvSpPr/>
            <p:nvPr/>
          </p:nvSpPr>
          <p:spPr bwMode="black">
            <a:xfrm>
              <a:off x="9592416" y="4192158"/>
              <a:ext cx="516735" cy="761503"/>
            </a:xfrm>
            <a:custGeom>
              <a:avLst/>
              <a:gdLst>
                <a:gd name="connsiteX0" fmla="*/ 463407 w 516735"/>
                <a:gd name="connsiteY0" fmla="*/ 194161 h 761503"/>
                <a:gd name="connsiteX1" fmla="*/ 447089 w 516735"/>
                <a:gd name="connsiteY1" fmla="*/ 226797 h 761503"/>
                <a:gd name="connsiteX2" fmla="*/ 430771 w 516735"/>
                <a:gd name="connsiteY2" fmla="*/ 221357 h 761503"/>
                <a:gd name="connsiteX3" fmla="*/ 422612 w 516735"/>
                <a:gd name="connsiteY3" fmla="*/ 207759 h 761503"/>
                <a:gd name="connsiteX4" fmla="*/ 419893 w 516735"/>
                <a:gd name="connsiteY4" fmla="*/ 188722 h 761503"/>
                <a:gd name="connsiteX5" fmla="*/ 419893 w 516735"/>
                <a:gd name="connsiteY5" fmla="*/ 139768 h 761503"/>
                <a:gd name="connsiteX6" fmla="*/ 419893 w 516735"/>
                <a:gd name="connsiteY6" fmla="*/ 120730 h 761503"/>
                <a:gd name="connsiteX7" fmla="*/ 395416 w 516735"/>
                <a:gd name="connsiteY7" fmla="*/ 120730 h 761503"/>
                <a:gd name="connsiteX8" fmla="*/ 370939 w 516735"/>
                <a:gd name="connsiteY8" fmla="*/ 120730 h 761503"/>
                <a:gd name="connsiteX9" fmla="*/ 346461 w 516735"/>
                <a:gd name="connsiteY9" fmla="*/ 123450 h 761503"/>
                <a:gd name="connsiteX10" fmla="*/ 335583 w 516735"/>
                <a:gd name="connsiteY10" fmla="*/ 123450 h 761503"/>
                <a:gd name="connsiteX11" fmla="*/ 335583 w 516735"/>
                <a:gd name="connsiteY11" fmla="*/ 123450 h 761503"/>
                <a:gd name="connsiteX12" fmla="*/ 324704 w 516735"/>
                <a:gd name="connsiteY12" fmla="*/ 128889 h 761503"/>
                <a:gd name="connsiteX13" fmla="*/ 327424 w 516735"/>
                <a:gd name="connsiteY13" fmla="*/ 139768 h 761503"/>
                <a:gd name="connsiteX14" fmla="*/ 330144 w 516735"/>
                <a:gd name="connsiteY14" fmla="*/ 175123 h 761503"/>
                <a:gd name="connsiteX15" fmla="*/ 330144 w 516735"/>
                <a:gd name="connsiteY15" fmla="*/ 199600 h 761503"/>
                <a:gd name="connsiteX16" fmla="*/ 327424 w 516735"/>
                <a:gd name="connsiteY16" fmla="*/ 224077 h 761503"/>
                <a:gd name="connsiteX17" fmla="*/ 330144 w 516735"/>
                <a:gd name="connsiteY17" fmla="*/ 251274 h 761503"/>
                <a:gd name="connsiteX18" fmla="*/ 327424 w 516735"/>
                <a:gd name="connsiteY18" fmla="*/ 278470 h 761503"/>
                <a:gd name="connsiteX19" fmla="*/ 327424 w 516735"/>
                <a:gd name="connsiteY19" fmla="*/ 332864 h 761503"/>
                <a:gd name="connsiteX20" fmla="*/ 330144 w 516735"/>
                <a:gd name="connsiteY20" fmla="*/ 357340 h 761503"/>
                <a:gd name="connsiteX21" fmla="*/ 330144 w 516735"/>
                <a:gd name="connsiteY21" fmla="*/ 368219 h 761503"/>
                <a:gd name="connsiteX22" fmla="*/ 332863 w 516735"/>
                <a:gd name="connsiteY22" fmla="*/ 387257 h 761503"/>
                <a:gd name="connsiteX23" fmla="*/ 332863 w 516735"/>
                <a:gd name="connsiteY23" fmla="*/ 433491 h 761503"/>
                <a:gd name="connsiteX24" fmla="*/ 332863 w 516735"/>
                <a:gd name="connsiteY24" fmla="*/ 487884 h 761503"/>
                <a:gd name="connsiteX25" fmla="*/ 330144 w 516735"/>
                <a:gd name="connsiteY25" fmla="*/ 512361 h 761503"/>
                <a:gd name="connsiteX26" fmla="*/ 330144 w 516735"/>
                <a:gd name="connsiteY26" fmla="*/ 539557 h 761503"/>
                <a:gd name="connsiteX27" fmla="*/ 332863 w 516735"/>
                <a:gd name="connsiteY27" fmla="*/ 593950 h 761503"/>
                <a:gd name="connsiteX28" fmla="*/ 332863 w 516735"/>
                <a:gd name="connsiteY28" fmla="*/ 648343 h 761503"/>
                <a:gd name="connsiteX29" fmla="*/ 332863 w 516735"/>
                <a:gd name="connsiteY29" fmla="*/ 656502 h 761503"/>
                <a:gd name="connsiteX30" fmla="*/ 357341 w 516735"/>
                <a:gd name="connsiteY30" fmla="*/ 656502 h 761503"/>
                <a:gd name="connsiteX31" fmla="*/ 395416 w 516735"/>
                <a:gd name="connsiteY31" fmla="*/ 675540 h 761503"/>
                <a:gd name="connsiteX32" fmla="*/ 389976 w 516735"/>
                <a:gd name="connsiteY32" fmla="*/ 691858 h 761503"/>
                <a:gd name="connsiteX33" fmla="*/ 373658 w 516735"/>
                <a:gd name="connsiteY33" fmla="*/ 700017 h 761503"/>
                <a:gd name="connsiteX34" fmla="*/ 351901 w 516735"/>
                <a:gd name="connsiteY34" fmla="*/ 702737 h 761503"/>
                <a:gd name="connsiteX35" fmla="*/ 319265 w 516735"/>
                <a:gd name="connsiteY35" fmla="*/ 702737 h 761503"/>
                <a:gd name="connsiteX36" fmla="*/ 311106 w 516735"/>
                <a:gd name="connsiteY36" fmla="*/ 708176 h 761503"/>
                <a:gd name="connsiteX37" fmla="*/ 289349 w 516735"/>
                <a:gd name="connsiteY37" fmla="*/ 713615 h 761503"/>
                <a:gd name="connsiteX38" fmla="*/ 270311 w 516735"/>
                <a:gd name="connsiteY38" fmla="*/ 713615 h 761503"/>
                <a:gd name="connsiteX39" fmla="*/ 243115 w 516735"/>
                <a:gd name="connsiteY39" fmla="*/ 705456 h 761503"/>
                <a:gd name="connsiteX40" fmla="*/ 237675 w 516735"/>
                <a:gd name="connsiteY40" fmla="*/ 702737 h 761503"/>
                <a:gd name="connsiteX41" fmla="*/ 199600 w 516735"/>
                <a:gd name="connsiteY41" fmla="*/ 702737 h 761503"/>
                <a:gd name="connsiteX42" fmla="*/ 175123 w 516735"/>
                <a:gd name="connsiteY42" fmla="*/ 702737 h 761503"/>
                <a:gd name="connsiteX43" fmla="*/ 147927 w 516735"/>
                <a:gd name="connsiteY43" fmla="*/ 697297 h 761503"/>
                <a:gd name="connsiteX44" fmla="*/ 131609 w 516735"/>
                <a:gd name="connsiteY44" fmla="*/ 678260 h 761503"/>
                <a:gd name="connsiteX45" fmla="*/ 137048 w 516735"/>
                <a:gd name="connsiteY45" fmla="*/ 670101 h 761503"/>
                <a:gd name="connsiteX46" fmla="*/ 158805 w 516735"/>
                <a:gd name="connsiteY46" fmla="*/ 661942 h 761503"/>
                <a:gd name="connsiteX47" fmla="*/ 199600 w 516735"/>
                <a:gd name="connsiteY47" fmla="*/ 659222 h 761503"/>
                <a:gd name="connsiteX48" fmla="*/ 199600 w 516735"/>
                <a:gd name="connsiteY48" fmla="*/ 659222 h 761503"/>
                <a:gd name="connsiteX49" fmla="*/ 196880 w 516735"/>
                <a:gd name="connsiteY49" fmla="*/ 629306 h 761503"/>
                <a:gd name="connsiteX50" fmla="*/ 199600 w 516735"/>
                <a:gd name="connsiteY50" fmla="*/ 574913 h 761503"/>
                <a:gd name="connsiteX51" fmla="*/ 202320 w 516735"/>
                <a:gd name="connsiteY51" fmla="*/ 523239 h 761503"/>
                <a:gd name="connsiteX52" fmla="*/ 205040 w 516735"/>
                <a:gd name="connsiteY52" fmla="*/ 460687 h 761503"/>
                <a:gd name="connsiteX53" fmla="*/ 205040 w 516735"/>
                <a:gd name="connsiteY53" fmla="*/ 417173 h 761503"/>
                <a:gd name="connsiteX54" fmla="*/ 207759 w 516735"/>
                <a:gd name="connsiteY54" fmla="*/ 392696 h 761503"/>
                <a:gd name="connsiteX55" fmla="*/ 210478 w 516735"/>
                <a:gd name="connsiteY55" fmla="*/ 368219 h 761503"/>
                <a:gd name="connsiteX56" fmla="*/ 210478 w 516735"/>
                <a:gd name="connsiteY56" fmla="*/ 313826 h 761503"/>
                <a:gd name="connsiteX57" fmla="*/ 210478 w 516735"/>
                <a:gd name="connsiteY57" fmla="*/ 259433 h 761503"/>
                <a:gd name="connsiteX58" fmla="*/ 210478 w 516735"/>
                <a:gd name="connsiteY58" fmla="*/ 213199 h 761503"/>
                <a:gd name="connsiteX59" fmla="*/ 210478 w 516735"/>
                <a:gd name="connsiteY59" fmla="*/ 145207 h 761503"/>
                <a:gd name="connsiteX60" fmla="*/ 213198 w 516735"/>
                <a:gd name="connsiteY60" fmla="*/ 131609 h 761503"/>
                <a:gd name="connsiteX61" fmla="*/ 205040 w 516735"/>
                <a:gd name="connsiteY61" fmla="*/ 123450 h 761503"/>
                <a:gd name="connsiteX62" fmla="*/ 161525 w 516735"/>
                <a:gd name="connsiteY62" fmla="*/ 123450 h 761503"/>
                <a:gd name="connsiteX63" fmla="*/ 112571 w 516735"/>
                <a:gd name="connsiteY63" fmla="*/ 120730 h 761503"/>
                <a:gd name="connsiteX64" fmla="*/ 104412 w 516735"/>
                <a:gd name="connsiteY64" fmla="*/ 118011 h 761503"/>
                <a:gd name="connsiteX65" fmla="*/ 107132 w 516735"/>
                <a:gd name="connsiteY65" fmla="*/ 191441 h 761503"/>
                <a:gd name="connsiteX66" fmla="*/ 90814 w 516735"/>
                <a:gd name="connsiteY66" fmla="*/ 224077 h 761503"/>
                <a:gd name="connsiteX67" fmla="*/ 74496 w 516735"/>
                <a:gd name="connsiteY67" fmla="*/ 218638 h 761503"/>
                <a:gd name="connsiteX68" fmla="*/ 66337 w 516735"/>
                <a:gd name="connsiteY68" fmla="*/ 205040 h 761503"/>
                <a:gd name="connsiteX69" fmla="*/ 63617 w 516735"/>
                <a:gd name="connsiteY69" fmla="*/ 186002 h 761503"/>
                <a:gd name="connsiteX70" fmla="*/ 63617 w 516735"/>
                <a:gd name="connsiteY70" fmla="*/ 145207 h 761503"/>
                <a:gd name="connsiteX71" fmla="*/ 63617 w 516735"/>
                <a:gd name="connsiteY71" fmla="*/ 109852 h 761503"/>
                <a:gd name="connsiteX72" fmla="*/ 58178 w 516735"/>
                <a:gd name="connsiteY72" fmla="*/ 96253 h 761503"/>
                <a:gd name="connsiteX73" fmla="*/ 66337 w 516735"/>
                <a:gd name="connsiteY73" fmla="*/ 85375 h 761503"/>
                <a:gd name="connsiteX74" fmla="*/ 93533 w 516735"/>
                <a:gd name="connsiteY74" fmla="*/ 77216 h 761503"/>
                <a:gd name="connsiteX75" fmla="*/ 115290 w 516735"/>
                <a:gd name="connsiteY75" fmla="*/ 77216 h 761503"/>
                <a:gd name="connsiteX76" fmla="*/ 169684 w 516735"/>
                <a:gd name="connsiteY76" fmla="*/ 74496 h 761503"/>
                <a:gd name="connsiteX77" fmla="*/ 194161 w 516735"/>
                <a:gd name="connsiteY77" fmla="*/ 71776 h 761503"/>
                <a:gd name="connsiteX78" fmla="*/ 196880 w 516735"/>
                <a:gd name="connsiteY78" fmla="*/ 71776 h 761503"/>
                <a:gd name="connsiteX79" fmla="*/ 210478 w 516735"/>
                <a:gd name="connsiteY79" fmla="*/ 71776 h 761503"/>
                <a:gd name="connsiteX80" fmla="*/ 218638 w 516735"/>
                <a:gd name="connsiteY80" fmla="*/ 71776 h 761503"/>
                <a:gd name="connsiteX81" fmla="*/ 237675 w 516735"/>
                <a:gd name="connsiteY81" fmla="*/ 60898 h 761503"/>
                <a:gd name="connsiteX82" fmla="*/ 253993 w 516735"/>
                <a:gd name="connsiteY82" fmla="*/ 58178 h 761503"/>
                <a:gd name="connsiteX83" fmla="*/ 283910 w 516735"/>
                <a:gd name="connsiteY83" fmla="*/ 60898 h 761503"/>
                <a:gd name="connsiteX84" fmla="*/ 294788 w 516735"/>
                <a:gd name="connsiteY84" fmla="*/ 66337 h 761503"/>
                <a:gd name="connsiteX85" fmla="*/ 305667 w 516735"/>
                <a:gd name="connsiteY85" fmla="*/ 74496 h 761503"/>
                <a:gd name="connsiteX86" fmla="*/ 313826 w 516735"/>
                <a:gd name="connsiteY86" fmla="*/ 74496 h 761503"/>
                <a:gd name="connsiteX87" fmla="*/ 327424 w 516735"/>
                <a:gd name="connsiteY87" fmla="*/ 74496 h 761503"/>
                <a:gd name="connsiteX88" fmla="*/ 354621 w 516735"/>
                <a:gd name="connsiteY88" fmla="*/ 74496 h 761503"/>
                <a:gd name="connsiteX89" fmla="*/ 422612 w 516735"/>
                <a:gd name="connsiteY89" fmla="*/ 74496 h 761503"/>
                <a:gd name="connsiteX90" fmla="*/ 455248 w 516735"/>
                <a:gd name="connsiteY90" fmla="*/ 79936 h 761503"/>
                <a:gd name="connsiteX91" fmla="*/ 466127 w 516735"/>
                <a:gd name="connsiteY91" fmla="*/ 98973 h 761503"/>
                <a:gd name="connsiteX92" fmla="*/ 463407 w 516735"/>
                <a:gd name="connsiteY92" fmla="*/ 109852 h 761503"/>
                <a:gd name="connsiteX93" fmla="*/ 463407 w 516735"/>
                <a:gd name="connsiteY93" fmla="*/ 120730 h 761503"/>
                <a:gd name="connsiteX94" fmla="*/ 463407 w 516735"/>
                <a:gd name="connsiteY94" fmla="*/ 194161 h 761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</a:cxnLst>
              <a:rect l="l" t="t" r="r" b="b"/>
              <a:pathLst>
                <a:path w="516735" h="761503">
                  <a:moveTo>
                    <a:pt x="463407" y="194161"/>
                  </a:moveTo>
                  <a:cubicBezTo>
                    <a:pt x="463407" y="205040"/>
                    <a:pt x="463407" y="226797"/>
                    <a:pt x="447089" y="226797"/>
                  </a:cubicBezTo>
                  <a:cubicBezTo>
                    <a:pt x="438930" y="226797"/>
                    <a:pt x="436211" y="226797"/>
                    <a:pt x="430771" y="221357"/>
                  </a:cubicBezTo>
                  <a:cubicBezTo>
                    <a:pt x="425332" y="218638"/>
                    <a:pt x="422612" y="210479"/>
                    <a:pt x="422612" y="207759"/>
                  </a:cubicBezTo>
                  <a:cubicBezTo>
                    <a:pt x="419893" y="199600"/>
                    <a:pt x="419893" y="194161"/>
                    <a:pt x="419893" y="188722"/>
                  </a:cubicBezTo>
                  <a:cubicBezTo>
                    <a:pt x="419893" y="183282"/>
                    <a:pt x="419893" y="147927"/>
                    <a:pt x="419893" y="139768"/>
                  </a:cubicBezTo>
                  <a:cubicBezTo>
                    <a:pt x="419893" y="134329"/>
                    <a:pt x="419893" y="128889"/>
                    <a:pt x="419893" y="120730"/>
                  </a:cubicBezTo>
                  <a:cubicBezTo>
                    <a:pt x="411734" y="120730"/>
                    <a:pt x="403574" y="120730"/>
                    <a:pt x="395416" y="120730"/>
                  </a:cubicBezTo>
                  <a:cubicBezTo>
                    <a:pt x="387256" y="120730"/>
                    <a:pt x="379098" y="120730"/>
                    <a:pt x="370939" y="120730"/>
                  </a:cubicBezTo>
                  <a:cubicBezTo>
                    <a:pt x="362780" y="120730"/>
                    <a:pt x="354621" y="123450"/>
                    <a:pt x="346461" y="123450"/>
                  </a:cubicBezTo>
                  <a:cubicBezTo>
                    <a:pt x="343742" y="123450"/>
                    <a:pt x="341023" y="123450"/>
                    <a:pt x="335583" y="123450"/>
                  </a:cubicBezTo>
                  <a:cubicBezTo>
                    <a:pt x="335583" y="123450"/>
                    <a:pt x="335583" y="123450"/>
                    <a:pt x="335583" y="123450"/>
                  </a:cubicBezTo>
                  <a:cubicBezTo>
                    <a:pt x="327424" y="123450"/>
                    <a:pt x="324704" y="126170"/>
                    <a:pt x="324704" y="128889"/>
                  </a:cubicBezTo>
                  <a:cubicBezTo>
                    <a:pt x="324704" y="131609"/>
                    <a:pt x="324704" y="137048"/>
                    <a:pt x="327424" y="139768"/>
                  </a:cubicBezTo>
                  <a:cubicBezTo>
                    <a:pt x="330144" y="147927"/>
                    <a:pt x="330144" y="166964"/>
                    <a:pt x="330144" y="175123"/>
                  </a:cubicBezTo>
                  <a:cubicBezTo>
                    <a:pt x="330144" y="183282"/>
                    <a:pt x="330144" y="191441"/>
                    <a:pt x="330144" y="199600"/>
                  </a:cubicBezTo>
                  <a:cubicBezTo>
                    <a:pt x="330144" y="207759"/>
                    <a:pt x="327424" y="215918"/>
                    <a:pt x="327424" y="224077"/>
                  </a:cubicBezTo>
                  <a:cubicBezTo>
                    <a:pt x="327424" y="232236"/>
                    <a:pt x="330144" y="243115"/>
                    <a:pt x="330144" y="251274"/>
                  </a:cubicBezTo>
                  <a:cubicBezTo>
                    <a:pt x="330144" y="259433"/>
                    <a:pt x="330144" y="267592"/>
                    <a:pt x="327424" y="278470"/>
                  </a:cubicBezTo>
                  <a:cubicBezTo>
                    <a:pt x="327424" y="294788"/>
                    <a:pt x="327424" y="313826"/>
                    <a:pt x="327424" y="332864"/>
                  </a:cubicBezTo>
                  <a:cubicBezTo>
                    <a:pt x="327424" y="341022"/>
                    <a:pt x="327424" y="349181"/>
                    <a:pt x="330144" y="357340"/>
                  </a:cubicBezTo>
                  <a:cubicBezTo>
                    <a:pt x="330144" y="360060"/>
                    <a:pt x="330144" y="365499"/>
                    <a:pt x="330144" y="368219"/>
                  </a:cubicBezTo>
                  <a:cubicBezTo>
                    <a:pt x="330144" y="373658"/>
                    <a:pt x="332863" y="384537"/>
                    <a:pt x="332863" y="387257"/>
                  </a:cubicBezTo>
                  <a:cubicBezTo>
                    <a:pt x="332863" y="406294"/>
                    <a:pt x="332863" y="414453"/>
                    <a:pt x="332863" y="433491"/>
                  </a:cubicBezTo>
                  <a:cubicBezTo>
                    <a:pt x="332863" y="452528"/>
                    <a:pt x="335583" y="468846"/>
                    <a:pt x="332863" y="487884"/>
                  </a:cubicBezTo>
                  <a:cubicBezTo>
                    <a:pt x="332863" y="496043"/>
                    <a:pt x="330144" y="504202"/>
                    <a:pt x="330144" y="512361"/>
                  </a:cubicBezTo>
                  <a:cubicBezTo>
                    <a:pt x="330144" y="520520"/>
                    <a:pt x="330144" y="531398"/>
                    <a:pt x="330144" y="539557"/>
                  </a:cubicBezTo>
                  <a:cubicBezTo>
                    <a:pt x="330144" y="558595"/>
                    <a:pt x="330144" y="574913"/>
                    <a:pt x="332863" y="593950"/>
                  </a:cubicBezTo>
                  <a:cubicBezTo>
                    <a:pt x="332863" y="610268"/>
                    <a:pt x="332863" y="632026"/>
                    <a:pt x="332863" y="648343"/>
                  </a:cubicBezTo>
                  <a:cubicBezTo>
                    <a:pt x="332863" y="651063"/>
                    <a:pt x="332863" y="653783"/>
                    <a:pt x="332863" y="656502"/>
                  </a:cubicBezTo>
                  <a:cubicBezTo>
                    <a:pt x="343742" y="656502"/>
                    <a:pt x="351901" y="656502"/>
                    <a:pt x="357341" y="656502"/>
                  </a:cubicBezTo>
                  <a:cubicBezTo>
                    <a:pt x="370939" y="656502"/>
                    <a:pt x="395416" y="659222"/>
                    <a:pt x="395416" y="675540"/>
                  </a:cubicBezTo>
                  <a:cubicBezTo>
                    <a:pt x="395416" y="683699"/>
                    <a:pt x="392696" y="686419"/>
                    <a:pt x="389976" y="691858"/>
                  </a:cubicBezTo>
                  <a:cubicBezTo>
                    <a:pt x="384537" y="697297"/>
                    <a:pt x="379098" y="700017"/>
                    <a:pt x="373658" y="700017"/>
                  </a:cubicBezTo>
                  <a:cubicBezTo>
                    <a:pt x="365499" y="702737"/>
                    <a:pt x="357341" y="702737"/>
                    <a:pt x="351901" y="702737"/>
                  </a:cubicBezTo>
                  <a:cubicBezTo>
                    <a:pt x="349181" y="702737"/>
                    <a:pt x="335583" y="702737"/>
                    <a:pt x="319265" y="702737"/>
                  </a:cubicBezTo>
                  <a:cubicBezTo>
                    <a:pt x="316546" y="705456"/>
                    <a:pt x="313826" y="705456"/>
                    <a:pt x="311106" y="708176"/>
                  </a:cubicBezTo>
                  <a:cubicBezTo>
                    <a:pt x="302948" y="713615"/>
                    <a:pt x="297508" y="713615"/>
                    <a:pt x="289349" y="713615"/>
                  </a:cubicBezTo>
                  <a:cubicBezTo>
                    <a:pt x="283910" y="713615"/>
                    <a:pt x="278470" y="713615"/>
                    <a:pt x="270311" y="713615"/>
                  </a:cubicBezTo>
                  <a:cubicBezTo>
                    <a:pt x="259433" y="713615"/>
                    <a:pt x="251273" y="710895"/>
                    <a:pt x="243115" y="705456"/>
                  </a:cubicBezTo>
                  <a:cubicBezTo>
                    <a:pt x="240395" y="705456"/>
                    <a:pt x="237675" y="702737"/>
                    <a:pt x="237675" y="702737"/>
                  </a:cubicBezTo>
                  <a:cubicBezTo>
                    <a:pt x="224077" y="702737"/>
                    <a:pt x="213198" y="702737"/>
                    <a:pt x="199600" y="702737"/>
                  </a:cubicBezTo>
                  <a:cubicBezTo>
                    <a:pt x="191441" y="702737"/>
                    <a:pt x="183282" y="702737"/>
                    <a:pt x="175123" y="702737"/>
                  </a:cubicBezTo>
                  <a:cubicBezTo>
                    <a:pt x="166965" y="702737"/>
                    <a:pt x="156085" y="702737"/>
                    <a:pt x="147927" y="697297"/>
                  </a:cubicBezTo>
                  <a:cubicBezTo>
                    <a:pt x="139768" y="694578"/>
                    <a:pt x="131609" y="680979"/>
                    <a:pt x="131609" y="678260"/>
                  </a:cubicBezTo>
                  <a:cubicBezTo>
                    <a:pt x="131609" y="675540"/>
                    <a:pt x="131609" y="672820"/>
                    <a:pt x="137048" y="670101"/>
                  </a:cubicBezTo>
                  <a:cubicBezTo>
                    <a:pt x="142487" y="667381"/>
                    <a:pt x="153366" y="664661"/>
                    <a:pt x="158805" y="661942"/>
                  </a:cubicBezTo>
                  <a:cubicBezTo>
                    <a:pt x="175123" y="659222"/>
                    <a:pt x="191441" y="659222"/>
                    <a:pt x="199600" y="659222"/>
                  </a:cubicBezTo>
                  <a:lnTo>
                    <a:pt x="199600" y="659222"/>
                  </a:lnTo>
                  <a:cubicBezTo>
                    <a:pt x="199600" y="648343"/>
                    <a:pt x="196880" y="640184"/>
                    <a:pt x="196880" y="629306"/>
                  </a:cubicBezTo>
                  <a:cubicBezTo>
                    <a:pt x="196880" y="612988"/>
                    <a:pt x="196880" y="591231"/>
                    <a:pt x="199600" y="574913"/>
                  </a:cubicBezTo>
                  <a:cubicBezTo>
                    <a:pt x="199600" y="558595"/>
                    <a:pt x="199600" y="539557"/>
                    <a:pt x="202320" y="523239"/>
                  </a:cubicBezTo>
                  <a:cubicBezTo>
                    <a:pt x="202320" y="501482"/>
                    <a:pt x="205040" y="482445"/>
                    <a:pt x="205040" y="460687"/>
                  </a:cubicBezTo>
                  <a:cubicBezTo>
                    <a:pt x="205040" y="447089"/>
                    <a:pt x="205040" y="430771"/>
                    <a:pt x="205040" y="417173"/>
                  </a:cubicBezTo>
                  <a:cubicBezTo>
                    <a:pt x="205040" y="409014"/>
                    <a:pt x="207759" y="400855"/>
                    <a:pt x="207759" y="392696"/>
                  </a:cubicBezTo>
                  <a:cubicBezTo>
                    <a:pt x="207759" y="384537"/>
                    <a:pt x="210478" y="376378"/>
                    <a:pt x="210478" y="368219"/>
                  </a:cubicBezTo>
                  <a:cubicBezTo>
                    <a:pt x="210478" y="351901"/>
                    <a:pt x="210478" y="332864"/>
                    <a:pt x="210478" y="313826"/>
                  </a:cubicBezTo>
                  <a:cubicBezTo>
                    <a:pt x="210478" y="294788"/>
                    <a:pt x="210478" y="275751"/>
                    <a:pt x="210478" y="259433"/>
                  </a:cubicBezTo>
                  <a:cubicBezTo>
                    <a:pt x="210478" y="243115"/>
                    <a:pt x="210478" y="226797"/>
                    <a:pt x="210478" y="213199"/>
                  </a:cubicBezTo>
                  <a:cubicBezTo>
                    <a:pt x="210478" y="194161"/>
                    <a:pt x="210478" y="164245"/>
                    <a:pt x="210478" y="145207"/>
                  </a:cubicBezTo>
                  <a:cubicBezTo>
                    <a:pt x="210478" y="139768"/>
                    <a:pt x="213198" y="134329"/>
                    <a:pt x="213198" y="131609"/>
                  </a:cubicBezTo>
                  <a:cubicBezTo>
                    <a:pt x="213198" y="126170"/>
                    <a:pt x="207759" y="123450"/>
                    <a:pt x="205040" y="123450"/>
                  </a:cubicBezTo>
                  <a:cubicBezTo>
                    <a:pt x="199600" y="123450"/>
                    <a:pt x="166965" y="123450"/>
                    <a:pt x="161525" y="123450"/>
                  </a:cubicBezTo>
                  <a:cubicBezTo>
                    <a:pt x="145207" y="123450"/>
                    <a:pt x="128889" y="123450"/>
                    <a:pt x="112571" y="120730"/>
                  </a:cubicBezTo>
                  <a:cubicBezTo>
                    <a:pt x="109852" y="120730"/>
                    <a:pt x="107132" y="120730"/>
                    <a:pt x="104412" y="118011"/>
                  </a:cubicBezTo>
                  <a:cubicBezTo>
                    <a:pt x="107132" y="137048"/>
                    <a:pt x="107132" y="172404"/>
                    <a:pt x="107132" y="191441"/>
                  </a:cubicBezTo>
                  <a:cubicBezTo>
                    <a:pt x="107132" y="202320"/>
                    <a:pt x="107132" y="224077"/>
                    <a:pt x="90814" y="224077"/>
                  </a:cubicBezTo>
                  <a:cubicBezTo>
                    <a:pt x="82655" y="224077"/>
                    <a:pt x="79935" y="221357"/>
                    <a:pt x="74496" y="218638"/>
                  </a:cubicBezTo>
                  <a:cubicBezTo>
                    <a:pt x="69057" y="215918"/>
                    <a:pt x="66337" y="210479"/>
                    <a:pt x="66337" y="205040"/>
                  </a:cubicBezTo>
                  <a:cubicBezTo>
                    <a:pt x="63617" y="196881"/>
                    <a:pt x="63617" y="191441"/>
                    <a:pt x="63617" y="186002"/>
                  </a:cubicBezTo>
                  <a:cubicBezTo>
                    <a:pt x="63617" y="180563"/>
                    <a:pt x="63617" y="153366"/>
                    <a:pt x="63617" y="145207"/>
                  </a:cubicBezTo>
                  <a:cubicBezTo>
                    <a:pt x="63617" y="134329"/>
                    <a:pt x="63617" y="120730"/>
                    <a:pt x="63617" y="109852"/>
                  </a:cubicBezTo>
                  <a:cubicBezTo>
                    <a:pt x="60897" y="104412"/>
                    <a:pt x="58178" y="101693"/>
                    <a:pt x="58178" y="96253"/>
                  </a:cubicBezTo>
                  <a:cubicBezTo>
                    <a:pt x="58178" y="93534"/>
                    <a:pt x="60897" y="88095"/>
                    <a:pt x="66337" y="85375"/>
                  </a:cubicBezTo>
                  <a:cubicBezTo>
                    <a:pt x="74496" y="79936"/>
                    <a:pt x="77215" y="77216"/>
                    <a:pt x="93533" y="77216"/>
                  </a:cubicBezTo>
                  <a:cubicBezTo>
                    <a:pt x="101692" y="77216"/>
                    <a:pt x="109852" y="77216"/>
                    <a:pt x="115290" y="77216"/>
                  </a:cubicBezTo>
                  <a:cubicBezTo>
                    <a:pt x="134328" y="77216"/>
                    <a:pt x="150646" y="77216"/>
                    <a:pt x="169684" y="74496"/>
                  </a:cubicBezTo>
                  <a:cubicBezTo>
                    <a:pt x="177843" y="74496"/>
                    <a:pt x="186002" y="71776"/>
                    <a:pt x="194161" y="71776"/>
                  </a:cubicBezTo>
                  <a:cubicBezTo>
                    <a:pt x="194161" y="71776"/>
                    <a:pt x="196880" y="71776"/>
                    <a:pt x="196880" y="71776"/>
                  </a:cubicBezTo>
                  <a:cubicBezTo>
                    <a:pt x="199600" y="71776"/>
                    <a:pt x="205040" y="71776"/>
                    <a:pt x="210478" y="71776"/>
                  </a:cubicBezTo>
                  <a:cubicBezTo>
                    <a:pt x="213198" y="71776"/>
                    <a:pt x="215918" y="71776"/>
                    <a:pt x="218638" y="71776"/>
                  </a:cubicBezTo>
                  <a:cubicBezTo>
                    <a:pt x="224077" y="69057"/>
                    <a:pt x="229516" y="63618"/>
                    <a:pt x="237675" y="60898"/>
                  </a:cubicBezTo>
                  <a:cubicBezTo>
                    <a:pt x="243115" y="58178"/>
                    <a:pt x="248554" y="58178"/>
                    <a:pt x="253993" y="58178"/>
                  </a:cubicBezTo>
                  <a:cubicBezTo>
                    <a:pt x="264872" y="58178"/>
                    <a:pt x="273031" y="58178"/>
                    <a:pt x="283910" y="60898"/>
                  </a:cubicBezTo>
                  <a:cubicBezTo>
                    <a:pt x="286629" y="60898"/>
                    <a:pt x="292068" y="63618"/>
                    <a:pt x="294788" y="66337"/>
                  </a:cubicBezTo>
                  <a:cubicBezTo>
                    <a:pt x="297508" y="69057"/>
                    <a:pt x="302948" y="71776"/>
                    <a:pt x="305667" y="74496"/>
                  </a:cubicBezTo>
                  <a:cubicBezTo>
                    <a:pt x="308386" y="74496"/>
                    <a:pt x="311106" y="74496"/>
                    <a:pt x="313826" y="74496"/>
                  </a:cubicBezTo>
                  <a:cubicBezTo>
                    <a:pt x="319265" y="74496"/>
                    <a:pt x="321985" y="74496"/>
                    <a:pt x="327424" y="74496"/>
                  </a:cubicBezTo>
                  <a:cubicBezTo>
                    <a:pt x="335583" y="74496"/>
                    <a:pt x="346461" y="74496"/>
                    <a:pt x="354621" y="74496"/>
                  </a:cubicBezTo>
                  <a:cubicBezTo>
                    <a:pt x="376378" y="74496"/>
                    <a:pt x="400855" y="74496"/>
                    <a:pt x="422612" y="74496"/>
                  </a:cubicBezTo>
                  <a:cubicBezTo>
                    <a:pt x="433491" y="74496"/>
                    <a:pt x="447089" y="74496"/>
                    <a:pt x="455248" y="79936"/>
                  </a:cubicBezTo>
                  <a:cubicBezTo>
                    <a:pt x="460687" y="82655"/>
                    <a:pt x="466127" y="90814"/>
                    <a:pt x="466127" y="98973"/>
                  </a:cubicBezTo>
                  <a:cubicBezTo>
                    <a:pt x="466127" y="101693"/>
                    <a:pt x="466127" y="107132"/>
                    <a:pt x="463407" y="109852"/>
                  </a:cubicBezTo>
                  <a:cubicBezTo>
                    <a:pt x="463407" y="112571"/>
                    <a:pt x="463407" y="112571"/>
                    <a:pt x="463407" y="120730"/>
                  </a:cubicBezTo>
                  <a:cubicBezTo>
                    <a:pt x="463407" y="142488"/>
                    <a:pt x="463407" y="172404"/>
                    <a:pt x="463407" y="194161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/>
            </a:p>
          </p:txBody>
        </p:sp>
      </p:grpSp>
    </p:spTree>
    <p:extLst>
      <p:ext uri="{BB962C8B-B14F-4D97-AF65-F5344CB8AC3E}">
        <p14:creationId xmlns:p14="http://schemas.microsoft.com/office/powerpoint/2010/main" val="366936776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98BD37D-F050-4443-A487-60726AD46F9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F884B931-F05F-4E7D-B4A8-15A4ABE7DEB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EE0D7A9-D51E-4346-B207-B8159C3E198C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055389" y="6307159"/>
            <a:ext cx="914400" cy="158954"/>
          </a:xfrm>
          <a:prstGeom prst="rect">
            <a:avLst/>
          </a:prstGeom>
        </p:spPr>
        <p:txBody>
          <a:bodyPr/>
          <a:lstStyle/>
          <a:p>
            <a:fld id="{B73FEB38-5A4E-45E5-A640-26D00BC1F3AB}" type="datetimeFigureOut">
              <a:rPr lang="en-US"/>
              <a:t>3/17/2025</a:t>
            </a:fld>
            <a:endParaRPr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4A6C9F8-2065-4458-BCFA-8C9ECE20BBF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32534" y="6307159"/>
            <a:ext cx="7104770" cy="158954"/>
          </a:xfrm>
          <a:prstGeom prst="rect">
            <a:avLst/>
          </a:prstGeom>
        </p:spPr>
        <p:txBody>
          <a:bodyPr/>
          <a:lstStyle/>
          <a:p>
            <a:endParaRPr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96B46DC-8DF4-4C60-9170-18A1563C49A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F95A1E-4E3E-4AAD-A517-7DAD9580D6B2}" type="slidenum">
              <a:rPr/>
              <a:t>‹N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7526883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61DA1F28-9C93-4336-8693-7CB6A06B6BA7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10655300" y="457200"/>
            <a:ext cx="1155700" cy="5562600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1ECB423A-9022-4A15-B482-E98FE360EDA8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381000" y="457200"/>
            <a:ext cx="10033000" cy="5562600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9132CDD-31EE-4AA1-8BDA-B32EF54071F5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055389" y="6307159"/>
            <a:ext cx="914400" cy="158954"/>
          </a:xfrm>
          <a:prstGeom prst="rect">
            <a:avLst/>
          </a:prstGeom>
        </p:spPr>
        <p:txBody>
          <a:bodyPr/>
          <a:lstStyle/>
          <a:p>
            <a:fld id="{B73FEB38-5A4E-45E5-A640-26D00BC1F3AB}" type="datetimeFigureOut">
              <a:rPr lang="en-US"/>
              <a:t>3/17/2025</a:t>
            </a:fld>
            <a:endParaRPr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D3E4C41-B1D2-4534-9A0D-8BA94B6B8F5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32534" y="6307159"/>
            <a:ext cx="7104770" cy="158954"/>
          </a:xfrm>
          <a:prstGeom prst="rect">
            <a:avLst/>
          </a:prstGeom>
        </p:spPr>
        <p:txBody>
          <a:bodyPr/>
          <a:lstStyle/>
          <a:p>
            <a:endParaRPr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FA2C4A0-B694-46FC-BC70-9DD74904A45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F95A1E-4E3E-4AAD-A517-7DAD9580D6B2}" type="slidenum">
              <a:rPr/>
              <a:t>‹N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0802273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Full PIctur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Picture Placeholder 56">
            <a:extLst>
              <a:ext uri="{FF2B5EF4-FFF2-40B4-BE49-F238E27FC236}">
                <a16:creationId xmlns:a16="http://schemas.microsoft.com/office/drawing/2014/main" id="{2410F133-604A-4AC7-8A06-35B16808E83C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3459602" y="0"/>
            <a:ext cx="8732399" cy="6858000"/>
          </a:xfrm>
          <a:custGeom>
            <a:avLst/>
            <a:gdLst>
              <a:gd name="connsiteX0" fmla="*/ 343919 w 8732399"/>
              <a:gd name="connsiteY0" fmla="*/ 0 h 6858000"/>
              <a:gd name="connsiteX1" fmla="*/ 8732399 w 8732399"/>
              <a:gd name="connsiteY1" fmla="*/ 0 h 6858000"/>
              <a:gd name="connsiteX2" fmla="*/ 8732399 w 8732399"/>
              <a:gd name="connsiteY2" fmla="*/ 6858000 h 6858000"/>
              <a:gd name="connsiteX3" fmla="*/ 0 w 8732399"/>
              <a:gd name="connsiteY3" fmla="*/ 6858000 h 6858000"/>
              <a:gd name="connsiteX4" fmla="*/ 177693 w 8732399"/>
              <a:gd name="connsiteY4" fmla="*/ 6768713 h 6858000"/>
              <a:gd name="connsiteX5" fmla="*/ 2063325 w 8732399"/>
              <a:gd name="connsiteY5" fmla="*/ 3899618 h 6858000"/>
              <a:gd name="connsiteX6" fmla="*/ 2077959 w 8732399"/>
              <a:gd name="connsiteY6" fmla="*/ 3618494 h 6858000"/>
              <a:gd name="connsiteX7" fmla="*/ 2077954 w 8732399"/>
              <a:gd name="connsiteY7" fmla="*/ 3617951 h 6858000"/>
              <a:gd name="connsiteX8" fmla="*/ 2077959 w 8732399"/>
              <a:gd name="connsiteY8" fmla="*/ 3617865 h 6858000"/>
              <a:gd name="connsiteX9" fmla="*/ 2076397 w 8732399"/>
              <a:gd name="connsiteY9" fmla="*/ 3429041 h 6858000"/>
              <a:gd name="connsiteX10" fmla="*/ 2075650 w 8732399"/>
              <a:gd name="connsiteY10" fmla="*/ 3338309 h 6858000"/>
              <a:gd name="connsiteX11" fmla="*/ 404439 w 8732399"/>
              <a:gd name="connsiteY11" fmla="*/ 39934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8732399" h="6858000">
                <a:moveTo>
                  <a:pt x="343919" y="0"/>
                </a:moveTo>
                <a:lnTo>
                  <a:pt x="8732399" y="0"/>
                </a:lnTo>
                <a:lnTo>
                  <a:pt x="8732399" y="6858000"/>
                </a:lnTo>
                <a:lnTo>
                  <a:pt x="0" y="6858000"/>
                </a:lnTo>
                <a:lnTo>
                  <a:pt x="177693" y="6768713"/>
                </a:lnTo>
                <a:cubicBezTo>
                  <a:pt x="1141742" y="6254472"/>
                  <a:pt x="1951349" y="5360222"/>
                  <a:pt x="2063325" y="3899618"/>
                </a:cubicBezTo>
                <a:cubicBezTo>
                  <a:pt x="2071055" y="3805858"/>
                  <a:pt x="2075919" y="3712098"/>
                  <a:pt x="2077959" y="3618494"/>
                </a:cubicBezTo>
                <a:lnTo>
                  <a:pt x="2077954" y="3617951"/>
                </a:lnTo>
                <a:lnTo>
                  <a:pt x="2077959" y="3617865"/>
                </a:lnTo>
                <a:lnTo>
                  <a:pt x="2076397" y="3429041"/>
                </a:lnTo>
                <a:lnTo>
                  <a:pt x="2075650" y="3338309"/>
                </a:lnTo>
                <a:cubicBezTo>
                  <a:pt x="2025731" y="2034428"/>
                  <a:pt x="1430533" y="791870"/>
                  <a:pt x="404439" y="39934"/>
                </a:cubicBezTo>
                <a:close/>
              </a:path>
            </a:pathLst>
          </a:custGeom>
          <a:solidFill>
            <a:srgbClr val="D9D9D9"/>
          </a:solidFill>
        </p:spPr>
        <p:txBody>
          <a:bodyPr wrap="square" lIns="4663440" tIns="0" anchor="ctr" anchorCtr="0">
            <a:noAutofit/>
          </a:bodyPr>
          <a:lstStyle>
            <a:lvl1pPr marL="0" indent="0" algn="l">
              <a:spcBef>
                <a:spcPts val="0"/>
              </a:spcBef>
              <a:buNone/>
              <a:defRPr sz="1600">
                <a:solidFill>
                  <a:schemeClr val="bg1"/>
                </a:solidFill>
              </a:defRPr>
            </a:lvl1pPr>
          </a:lstStyle>
          <a:p>
            <a:r>
              <a:rPr dirty="0"/>
              <a:t>Click icon to insert picture</a:t>
            </a:r>
            <a:br>
              <a:rPr dirty="0"/>
            </a:br>
            <a:r>
              <a:rPr dirty="0"/>
              <a:t>(minimum recommended size for </a:t>
            </a:r>
            <a:br>
              <a:rPr dirty="0"/>
            </a:br>
            <a:r>
              <a:rPr dirty="0"/>
              <a:t>full slide image is 1280 x 720 pixels)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3683E8B-89CE-4EF5-BBB9-62368C3820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1660503"/>
            <a:ext cx="4389120" cy="2391042"/>
          </a:xfrm>
        </p:spPr>
        <p:txBody>
          <a:bodyPr/>
          <a:lstStyle>
            <a:lvl1pPr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F99B91ED-E0FA-43C7-8B4E-31F9017845E6}"/>
              </a:ext>
            </a:extLst>
          </p:cNvPr>
          <p:cNvGrpSpPr>
            <a:grpSpLocks noChangeAspect="1"/>
          </p:cNvGrpSpPr>
          <p:nvPr/>
        </p:nvGrpSpPr>
        <p:grpSpPr bwMode="black">
          <a:xfrm>
            <a:off x="609630" y="457200"/>
            <a:ext cx="2286000" cy="880288"/>
            <a:chOff x="2078951" y="1888610"/>
            <a:chExt cx="8030200" cy="3092248"/>
          </a:xfrm>
          <a:solidFill>
            <a:srgbClr val="FFFFFF"/>
          </a:solidFill>
        </p:grpSpPr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A9AB0108-0379-4A18-900E-6A61DF3018CE}"/>
                </a:ext>
              </a:extLst>
            </p:cNvPr>
            <p:cNvSpPr/>
            <p:nvPr/>
          </p:nvSpPr>
          <p:spPr bwMode="black">
            <a:xfrm>
              <a:off x="2078951" y="2872694"/>
              <a:ext cx="951880" cy="652717"/>
            </a:xfrm>
            <a:custGeom>
              <a:avLst/>
              <a:gdLst>
                <a:gd name="connsiteX0" fmla="*/ 903041 w 951880"/>
                <a:gd name="connsiteY0" fmla="*/ 330574 h 652717"/>
                <a:gd name="connsiteX1" fmla="*/ 780656 w 951880"/>
                <a:gd name="connsiteY1" fmla="*/ 379528 h 652717"/>
                <a:gd name="connsiteX2" fmla="*/ 598439 w 951880"/>
                <a:gd name="connsiteY2" fmla="*/ 311537 h 652717"/>
                <a:gd name="connsiteX3" fmla="*/ 505970 w 951880"/>
                <a:gd name="connsiteY3" fmla="*/ 164675 h 652717"/>
                <a:gd name="connsiteX4" fmla="*/ 266640 w 951880"/>
                <a:gd name="connsiteY4" fmla="*/ 61329 h 652717"/>
                <a:gd name="connsiteX5" fmla="*/ 103461 w 951880"/>
                <a:gd name="connsiteY5" fmla="*/ 458398 h 652717"/>
                <a:gd name="connsiteX6" fmla="*/ 756179 w 951880"/>
                <a:gd name="connsiteY6" fmla="*/ 485595 h 652717"/>
                <a:gd name="connsiteX7" fmla="*/ 903041 w 951880"/>
                <a:gd name="connsiteY7" fmla="*/ 330574 h 6527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51880" h="652717">
                  <a:moveTo>
                    <a:pt x="903041" y="330574"/>
                  </a:moveTo>
                  <a:cubicBezTo>
                    <a:pt x="867685" y="363210"/>
                    <a:pt x="813292" y="374089"/>
                    <a:pt x="780656" y="379528"/>
                  </a:cubicBezTo>
                  <a:cubicBezTo>
                    <a:pt x="712664" y="387687"/>
                    <a:pt x="641953" y="365930"/>
                    <a:pt x="598439" y="311537"/>
                  </a:cubicBezTo>
                  <a:cubicBezTo>
                    <a:pt x="563083" y="268022"/>
                    <a:pt x="544046" y="210910"/>
                    <a:pt x="505970" y="164675"/>
                  </a:cubicBezTo>
                  <a:cubicBezTo>
                    <a:pt x="448858" y="93964"/>
                    <a:pt x="359109" y="45011"/>
                    <a:pt x="266640" y="61329"/>
                  </a:cubicBezTo>
                  <a:cubicBezTo>
                    <a:pt x="81704" y="93964"/>
                    <a:pt x="114" y="308817"/>
                    <a:pt x="103461" y="458398"/>
                  </a:cubicBezTo>
                  <a:cubicBezTo>
                    <a:pt x="253042" y="670531"/>
                    <a:pt x="584840" y="635176"/>
                    <a:pt x="756179" y="485595"/>
                  </a:cubicBezTo>
                  <a:cubicBezTo>
                    <a:pt x="813292" y="442080"/>
                    <a:pt x="862246" y="390407"/>
                    <a:pt x="903041" y="330574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/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5F2F77B2-9024-4ACC-A728-CA3AB71F5A8E}"/>
                </a:ext>
              </a:extLst>
            </p:cNvPr>
            <p:cNvSpPr/>
            <p:nvPr/>
          </p:nvSpPr>
          <p:spPr bwMode="black">
            <a:xfrm>
              <a:off x="9151831" y="2872694"/>
              <a:ext cx="951880" cy="652717"/>
            </a:xfrm>
            <a:custGeom>
              <a:avLst/>
              <a:gdLst>
                <a:gd name="connsiteX0" fmla="*/ 58178 w 951880"/>
                <a:gd name="connsiteY0" fmla="*/ 330574 h 652717"/>
                <a:gd name="connsiteX1" fmla="*/ 180563 w 951880"/>
                <a:gd name="connsiteY1" fmla="*/ 379528 h 652717"/>
                <a:gd name="connsiteX2" fmla="*/ 362780 w 951880"/>
                <a:gd name="connsiteY2" fmla="*/ 311537 h 652717"/>
                <a:gd name="connsiteX3" fmla="*/ 455249 w 951880"/>
                <a:gd name="connsiteY3" fmla="*/ 164675 h 652717"/>
                <a:gd name="connsiteX4" fmla="*/ 694578 w 951880"/>
                <a:gd name="connsiteY4" fmla="*/ 61329 h 652717"/>
                <a:gd name="connsiteX5" fmla="*/ 857758 w 951880"/>
                <a:gd name="connsiteY5" fmla="*/ 458398 h 652717"/>
                <a:gd name="connsiteX6" fmla="*/ 205040 w 951880"/>
                <a:gd name="connsiteY6" fmla="*/ 485595 h 652717"/>
                <a:gd name="connsiteX7" fmla="*/ 58178 w 951880"/>
                <a:gd name="connsiteY7" fmla="*/ 330574 h 6527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51880" h="652717">
                  <a:moveTo>
                    <a:pt x="58178" y="330574"/>
                  </a:moveTo>
                  <a:cubicBezTo>
                    <a:pt x="96253" y="363210"/>
                    <a:pt x="147927" y="374089"/>
                    <a:pt x="180563" y="379528"/>
                  </a:cubicBezTo>
                  <a:cubicBezTo>
                    <a:pt x="248554" y="387687"/>
                    <a:pt x="319266" y="365930"/>
                    <a:pt x="362780" y="311537"/>
                  </a:cubicBezTo>
                  <a:cubicBezTo>
                    <a:pt x="398136" y="268022"/>
                    <a:pt x="417174" y="210910"/>
                    <a:pt x="455249" y="164675"/>
                  </a:cubicBezTo>
                  <a:cubicBezTo>
                    <a:pt x="512362" y="93964"/>
                    <a:pt x="602110" y="45011"/>
                    <a:pt x="694578" y="61329"/>
                  </a:cubicBezTo>
                  <a:cubicBezTo>
                    <a:pt x="879515" y="93964"/>
                    <a:pt x="961105" y="308817"/>
                    <a:pt x="857758" y="458398"/>
                  </a:cubicBezTo>
                  <a:cubicBezTo>
                    <a:pt x="708176" y="670531"/>
                    <a:pt x="376379" y="635176"/>
                    <a:pt x="205040" y="485595"/>
                  </a:cubicBezTo>
                  <a:cubicBezTo>
                    <a:pt x="150646" y="442080"/>
                    <a:pt x="101693" y="390407"/>
                    <a:pt x="58178" y="330574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40BB7A39-4E40-4061-A76F-7B79D98B54EE}"/>
                </a:ext>
              </a:extLst>
            </p:cNvPr>
            <p:cNvSpPr/>
            <p:nvPr/>
          </p:nvSpPr>
          <p:spPr bwMode="black">
            <a:xfrm>
              <a:off x="8001294" y="2010994"/>
              <a:ext cx="734308" cy="299162"/>
            </a:xfrm>
            <a:custGeom>
              <a:avLst/>
              <a:gdLst>
                <a:gd name="connsiteX0" fmla="*/ 596792 w 734307"/>
                <a:gd name="connsiteY0" fmla="*/ 58178 h 299162"/>
                <a:gd name="connsiteX1" fmla="*/ 148048 w 734307"/>
                <a:gd name="connsiteY1" fmla="*/ 58178 h 299162"/>
                <a:gd name="connsiteX2" fmla="*/ 58299 w 734307"/>
                <a:gd name="connsiteY2" fmla="*/ 150646 h 299162"/>
                <a:gd name="connsiteX3" fmla="*/ 148048 w 734307"/>
                <a:gd name="connsiteY3" fmla="*/ 251274 h 299162"/>
                <a:gd name="connsiteX4" fmla="*/ 596792 w 734307"/>
                <a:gd name="connsiteY4" fmla="*/ 251274 h 299162"/>
                <a:gd name="connsiteX5" fmla="*/ 686541 w 734307"/>
                <a:gd name="connsiteY5" fmla="*/ 158805 h 299162"/>
                <a:gd name="connsiteX6" fmla="*/ 596792 w 734307"/>
                <a:gd name="connsiteY6" fmla="*/ 58178 h 2991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34307" h="299162">
                  <a:moveTo>
                    <a:pt x="596792" y="58178"/>
                  </a:moveTo>
                  <a:cubicBezTo>
                    <a:pt x="591353" y="58178"/>
                    <a:pt x="153487" y="58178"/>
                    <a:pt x="148048" y="58178"/>
                  </a:cubicBezTo>
                  <a:cubicBezTo>
                    <a:pt x="99094" y="60898"/>
                    <a:pt x="61019" y="104412"/>
                    <a:pt x="58299" y="150646"/>
                  </a:cubicBezTo>
                  <a:cubicBezTo>
                    <a:pt x="55580" y="199600"/>
                    <a:pt x="99094" y="248554"/>
                    <a:pt x="148048" y="251274"/>
                  </a:cubicBezTo>
                  <a:cubicBezTo>
                    <a:pt x="153487" y="251274"/>
                    <a:pt x="591353" y="251274"/>
                    <a:pt x="596792" y="251274"/>
                  </a:cubicBezTo>
                  <a:cubicBezTo>
                    <a:pt x="645746" y="248554"/>
                    <a:pt x="683821" y="205040"/>
                    <a:pt x="686541" y="158805"/>
                  </a:cubicBezTo>
                  <a:cubicBezTo>
                    <a:pt x="689260" y="109852"/>
                    <a:pt x="648465" y="60898"/>
                    <a:pt x="596792" y="58178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45441B9D-EA57-4F40-8DCE-CBEF348C3A0F}"/>
                </a:ext>
              </a:extLst>
            </p:cNvPr>
            <p:cNvSpPr/>
            <p:nvPr/>
          </p:nvSpPr>
          <p:spPr bwMode="black">
            <a:xfrm>
              <a:off x="4920042" y="2277520"/>
              <a:ext cx="1006274" cy="951879"/>
            </a:xfrm>
            <a:custGeom>
              <a:avLst/>
              <a:gdLst>
                <a:gd name="connsiteX0" fmla="*/ 884954 w 1006273"/>
                <a:gd name="connsiteY0" fmla="*/ 746251 h 951879"/>
                <a:gd name="connsiteX1" fmla="*/ 874076 w 1006273"/>
                <a:gd name="connsiteY1" fmla="*/ 670101 h 951879"/>
                <a:gd name="connsiteX2" fmla="*/ 874076 w 1006273"/>
                <a:gd name="connsiteY2" fmla="*/ 536837 h 951879"/>
                <a:gd name="connsiteX3" fmla="*/ 689139 w 1006273"/>
                <a:gd name="connsiteY3" fmla="*/ 88094 h 951879"/>
                <a:gd name="connsiteX4" fmla="*/ 428052 w 1006273"/>
                <a:gd name="connsiteY4" fmla="*/ 253993 h 951879"/>
                <a:gd name="connsiteX5" fmla="*/ 196881 w 1006273"/>
                <a:gd name="connsiteY5" fmla="*/ 58178 h 951879"/>
                <a:gd name="connsiteX6" fmla="*/ 58178 w 1006273"/>
                <a:gd name="connsiteY6" fmla="*/ 128889 h 951879"/>
                <a:gd name="connsiteX7" fmla="*/ 142488 w 1006273"/>
                <a:gd name="connsiteY7" fmla="*/ 273031 h 951879"/>
                <a:gd name="connsiteX8" fmla="*/ 142488 w 1006273"/>
                <a:gd name="connsiteY8" fmla="*/ 757130 h 951879"/>
                <a:gd name="connsiteX9" fmla="*/ 283910 w 1006273"/>
                <a:gd name="connsiteY9" fmla="*/ 895832 h 951879"/>
                <a:gd name="connsiteX10" fmla="*/ 428052 w 1006273"/>
                <a:gd name="connsiteY10" fmla="*/ 757130 h 951879"/>
                <a:gd name="connsiteX11" fmla="*/ 428052 w 1006273"/>
                <a:gd name="connsiteY11" fmla="*/ 400855 h 951879"/>
                <a:gd name="connsiteX12" fmla="*/ 523240 w 1006273"/>
                <a:gd name="connsiteY12" fmla="*/ 283910 h 951879"/>
                <a:gd name="connsiteX13" fmla="*/ 591231 w 1006273"/>
                <a:gd name="connsiteY13" fmla="*/ 354621 h 951879"/>
                <a:gd name="connsiteX14" fmla="*/ 591231 w 1006273"/>
                <a:gd name="connsiteY14" fmla="*/ 697297 h 951879"/>
                <a:gd name="connsiteX15" fmla="*/ 593951 w 1006273"/>
                <a:gd name="connsiteY15" fmla="*/ 729933 h 951879"/>
                <a:gd name="connsiteX16" fmla="*/ 610269 w 1006273"/>
                <a:gd name="connsiteY16" fmla="*/ 778887 h 951879"/>
                <a:gd name="connsiteX17" fmla="*/ 822402 w 1006273"/>
                <a:gd name="connsiteY17" fmla="*/ 893112 h 951879"/>
                <a:gd name="connsiteX18" fmla="*/ 961105 w 1006273"/>
                <a:gd name="connsiteY18" fmla="*/ 822401 h 951879"/>
                <a:gd name="connsiteX19" fmla="*/ 884954 w 1006273"/>
                <a:gd name="connsiteY19" fmla="*/ 746251 h 9518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006273" h="951879">
                  <a:moveTo>
                    <a:pt x="884954" y="746251"/>
                  </a:moveTo>
                  <a:cubicBezTo>
                    <a:pt x="879515" y="721774"/>
                    <a:pt x="876795" y="694578"/>
                    <a:pt x="874076" y="670101"/>
                  </a:cubicBezTo>
                  <a:cubicBezTo>
                    <a:pt x="874076" y="634745"/>
                    <a:pt x="874076" y="583072"/>
                    <a:pt x="874076" y="536837"/>
                  </a:cubicBezTo>
                  <a:cubicBezTo>
                    <a:pt x="879515" y="373658"/>
                    <a:pt x="909431" y="88094"/>
                    <a:pt x="689139" y="88094"/>
                  </a:cubicBezTo>
                  <a:cubicBezTo>
                    <a:pt x="539558" y="88094"/>
                    <a:pt x="452529" y="213199"/>
                    <a:pt x="428052" y="253993"/>
                  </a:cubicBezTo>
                  <a:cubicBezTo>
                    <a:pt x="425332" y="139768"/>
                    <a:pt x="335583" y="58178"/>
                    <a:pt x="196881" y="58178"/>
                  </a:cubicBezTo>
                  <a:cubicBezTo>
                    <a:pt x="109852" y="58178"/>
                    <a:pt x="58178" y="128889"/>
                    <a:pt x="58178" y="128889"/>
                  </a:cubicBezTo>
                  <a:cubicBezTo>
                    <a:pt x="58178" y="128889"/>
                    <a:pt x="142488" y="158805"/>
                    <a:pt x="142488" y="273031"/>
                  </a:cubicBezTo>
                  <a:cubicBezTo>
                    <a:pt x="142488" y="354621"/>
                    <a:pt x="142488" y="757130"/>
                    <a:pt x="142488" y="757130"/>
                  </a:cubicBezTo>
                  <a:cubicBezTo>
                    <a:pt x="145207" y="827841"/>
                    <a:pt x="194161" y="895832"/>
                    <a:pt x="283910" y="895832"/>
                  </a:cubicBezTo>
                  <a:cubicBezTo>
                    <a:pt x="373659" y="895832"/>
                    <a:pt x="428052" y="827841"/>
                    <a:pt x="428052" y="757130"/>
                  </a:cubicBezTo>
                  <a:lnTo>
                    <a:pt x="428052" y="400855"/>
                  </a:lnTo>
                  <a:cubicBezTo>
                    <a:pt x="441650" y="343742"/>
                    <a:pt x="474286" y="283910"/>
                    <a:pt x="523240" y="283910"/>
                  </a:cubicBezTo>
                  <a:cubicBezTo>
                    <a:pt x="585792" y="283910"/>
                    <a:pt x="591231" y="354621"/>
                    <a:pt x="591231" y="354621"/>
                  </a:cubicBezTo>
                  <a:lnTo>
                    <a:pt x="591231" y="697297"/>
                  </a:lnTo>
                  <a:cubicBezTo>
                    <a:pt x="591231" y="708176"/>
                    <a:pt x="593951" y="719054"/>
                    <a:pt x="593951" y="729933"/>
                  </a:cubicBezTo>
                  <a:cubicBezTo>
                    <a:pt x="596671" y="748971"/>
                    <a:pt x="602110" y="765289"/>
                    <a:pt x="610269" y="778887"/>
                  </a:cubicBezTo>
                  <a:cubicBezTo>
                    <a:pt x="645624" y="846878"/>
                    <a:pt x="719055" y="893112"/>
                    <a:pt x="822402" y="893112"/>
                  </a:cubicBezTo>
                  <a:cubicBezTo>
                    <a:pt x="909431" y="893112"/>
                    <a:pt x="961105" y="822401"/>
                    <a:pt x="961105" y="822401"/>
                  </a:cubicBezTo>
                  <a:cubicBezTo>
                    <a:pt x="961105" y="822401"/>
                    <a:pt x="909431" y="808803"/>
                    <a:pt x="884954" y="746251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9AE4E4D0-FF92-495C-9CD5-354ED8923672}"/>
                </a:ext>
              </a:extLst>
            </p:cNvPr>
            <p:cNvSpPr/>
            <p:nvPr/>
          </p:nvSpPr>
          <p:spPr bwMode="black">
            <a:xfrm>
              <a:off x="7552331" y="1888610"/>
              <a:ext cx="489539" cy="1332631"/>
            </a:xfrm>
            <a:custGeom>
              <a:avLst/>
              <a:gdLst>
                <a:gd name="connsiteX0" fmla="*/ 368560 w 489538"/>
                <a:gd name="connsiteY0" fmla="*/ 1135162 h 1332630"/>
                <a:gd name="connsiteX1" fmla="*/ 357681 w 489538"/>
                <a:gd name="connsiteY1" fmla="*/ 1059011 h 1332630"/>
                <a:gd name="connsiteX2" fmla="*/ 357681 w 489538"/>
                <a:gd name="connsiteY2" fmla="*/ 207759 h 1332630"/>
                <a:gd name="connsiteX3" fmla="*/ 208099 w 489538"/>
                <a:gd name="connsiteY3" fmla="*/ 58178 h 1332630"/>
                <a:gd name="connsiteX4" fmla="*/ 58518 w 489538"/>
                <a:gd name="connsiteY4" fmla="*/ 207759 h 1332630"/>
                <a:gd name="connsiteX5" fmla="*/ 58518 w 489538"/>
                <a:gd name="connsiteY5" fmla="*/ 961104 h 1332630"/>
                <a:gd name="connsiteX6" fmla="*/ 85715 w 489538"/>
                <a:gd name="connsiteY6" fmla="*/ 1159639 h 1332630"/>
                <a:gd name="connsiteX7" fmla="*/ 306007 w 489538"/>
                <a:gd name="connsiteY7" fmla="*/ 1282023 h 1332630"/>
                <a:gd name="connsiteX8" fmla="*/ 444710 w 489538"/>
                <a:gd name="connsiteY8" fmla="*/ 1211312 h 1332630"/>
                <a:gd name="connsiteX9" fmla="*/ 368560 w 489538"/>
                <a:gd name="connsiteY9" fmla="*/ 1135162 h 13326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89538" h="1332630">
                  <a:moveTo>
                    <a:pt x="368560" y="1135162"/>
                  </a:moveTo>
                  <a:cubicBezTo>
                    <a:pt x="363120" y="1110685"/>
                    <a:pt x="357681" y="1083488"/>
                    <a:pt x="357681" y="1059011"/>
                  </a:cubicBezTo>
                  <a:lnTo>
                    <a:pt x="357681" y="207759"/>
                  </a:lnTo>
                  <a:cubicBezTo>
                    <a:pt x="357681" y="126170"/>
                    <a:pt x="289689" y="58178"/>
                    <a:pt x="208099" y="58178"/>
                  </a:cubicBezTo>
                  <a:cubicBezTo>
                    <a:pt x="126510" y="58178"/>
                    <a:pt x="58518" y="126170"/>
                    <a:pt x="58518" y="207759"/>
                  </a:cubicBezTo>
                  <a:lnTo>
                    <a:pt x="58518" y="961104"/>
                  </a:lnTo>
                  <a:cubicBezTo>
                    <a:pt x="58518" y="1029095"/>
                    <a:pt x="53079" y="1097086"/>
                    <a:pt x="85715" y="1159639"/>
                  </a:cubicBezTo>
                  <a:cubicBezTo>
                    <a:pt x="118351" y="1227630"/>
                    <a:pt x="202660" y="1282023"/>
                    <a:pt x="306007" y="1282023"/>
                  </a:cubicBezTo>
                  <a:cubicBezTo>
                    <a:pt x="393036" y="1282023"/>
                    <a:pt x="444710" y="1211312"/>
                    <a:pt x="444710" y="1211312"/>
                  </a:cubicBezTo>
                  <a:cubicBezTo>
                    <a:pt x="444710" y="1211312"/>
                    <a:pt x="393036" y="1197714"/>
                    <a:pt x="368560" y="1135162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5D4AF130-6E23-4412-BC70-EE04DCC1545D}"/>
                </a:ext>
              </a:extLst>
            </p:cNvPr>
            <p:cNvSpPr/>
            <p:nvPr/>
          </p:nvSpPr>
          <p:spPr bwMode="black">
            <a:xfrm>
              <a:off x="4162324" y="2357456"/>
              <a:ext cx="815899" cy="815898"/>
            </a:xfrm>
            <a:custGeom>
              <a:avLst/>
              <a:gdLst>
                <a:gd name="connsiteX0" fmla="*/ 407949 w 815899"/>
                <a:gd name="connsiteY0" fmla="*/ 174058 h 815898"/>
                <a:gd name="connsiteX1" fmla="*/ 293723 w 815899"/>
                <a:gd name="connsiteY1" fmla="*/ 407950 h 815898"/>
                <a:gd name="connsiteX2" fmla="*/ 410669 w 815899"/>
                <a:gd name="connsiteY2" fmla="*/ 641840 h 815898"/>
                <a:gd name="connsiteX3" fmla="*/ 522175 w 815899"/>
                <a:gd name="connsiteY3" fmla="*/ 407950 h 815898"/>
                <a:gd name="connsiteX4" fmla="*/ 407949 w 815899"/>
                <a:gd name="connsiteY4" fmla="*/ 174058 h 815898"/>
                <a:gd name="connsiteX5" fmla="*/ 407950 w 815899"/>
                <a:gd name="connsiteY5" fmla="*/ 0 h 815898"/>
                <a:gd name="connsiteX6" fmla="*/ 815899 w 815899"/>
                <a:gd name="connsiteY6" fmla="*/ 407949 h 815898"/>
                <a:gd name="connsiteX7" fmla="*/ 407950 w 815899"/>
                <a:gd name="connsiteY7" fmla="*/ 815898 h 815898"/>
                <a:gd name="connsiteX8" fmla="*/ 0 w 815899"/>
                <a:gd name="connsiteY8" fmla="*/ 407949 h 815898"/>
                <a:gd name="connsiteX9" fmla="*/ 407950 w 815899"/>
                <a:gd name="connsiteY9" fmla="*/ 0 h 815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15899" h="815898">
                  <a:moveTo>
                    <a:pt x="407949" y="174058"/>
                  </a:moveTo>
                  <a:cubicBezTo>
                    <a:pt x="342677" y="174058"/>
                    <a:pt x="293723" y="263807"/>
                    <a:pt x="293723" y="407950"/>
                  </a:cubicBezTo>
                  <a:cubicBezTo>
                    <a:pt x="293723" y="552091"/>
                    <a:pt x="331799" y="639120"/>
                    <a:pt x="410669" y="641840"/>
                  </a:cubicBezTo>
                  <a:cubicBezTo>
                    <a:pt x="489539" y="641840"/>
                    <a:pt x="527614" y="552091"/>
                    <a:pt x="522175" y="407950"/>
                  </a:cubicBezTo>
                  <a:cubicBezTo>
                    <a:pt x="522175" y="263807"/>
                    <a:pt x="473221" y="176778"/>
                    <a:pt x="407949" y="174058"/>
                  </a:cubicBezTo>
                  <a:close/>
                  <a:moveTo>
                    <a:pt x="407950" y="0"/>
                  </a:moveTo>
                  <a:cubicBezTo>
                    <a:pt x="633682" y="0"/>
                    <a:pt x="815899" y="182217"/>
                    <a:pt x="815899" y="407949"/>
                  </a:cubicBezTo>
                  <a:cubicBezTo>
                    <a:pt x="815899" y="633681"/>
                    <a:pt x="633682" y="815898"/>
                    <a:pt x="407950" y="815898"/>
                  </a:cubicBezTo>
                  <a:cubicBezTo>
                    <a:pt x="182218" y="815898"/>
                    <a:pt x="0" y="633681"/>
                    <a:pt x="0" y="407949"/>
                  </a:cubicBezTo>
                  <a:cubicBezTo>
                    <a:pt x="0" y="182217"/>
                    <a:pt x="182218" y="0"/>
                    <a:pt x="407950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C2ABE821-58B4-49BB-A652-52A61F3BD10D}"/>
                </a:ext>
              </a:extLst>
            </p:cNvPr>
            <p:cNvSpPr/>
            <p:nvPr/>
          </p:nvSpPr>
          <p:spPr bwMode="black">
            <a:xfrm>
              <a:off x="5884871" y="1946788"/>
              <a:ext cx="912802" cy="1223846"/>
            </a:xfrm>
            <a:custGeom>
              <a:avLst/>
              <a:gdLst>
                <a:gd name="connsiteX0" fmla="*/ 387907 w 912802"/>
                <a:gd name="connsiteY0" fmla="*/ 620081 h 1223846"/>
                <a:gd name="connsiteX1" fmla="*/ 273681 w 912802"/>
                <a:gd name="connsiteY1" fmla="*/ 824055 h 1223846"/>
                <a:gd name="connsiteX2" fmla="*/ 390627 w 912802"/>
                <a:gd name="connsiteY2" fmla="*/ 1028029 h 1223846"/>
                <a:gd name="connsiteX3" fmla="*/ 502132 w 912802"/>
                <a:gd name="connsiteY3" fmla="*/ 824055 h 1223846"/>
                <a:gd name="connsiteX4" fmla="*/ 387907 w 912802"/>
                <a:gd name="connsiteY4" fmla="*/ 620081 h 1223846"/>
                <a:gd name="connsiteX5" fmla="*/ 676192 w 912802"/>
                <a:gd name="connsiteY5" fmla="*/ 0 h 1223846"/>
                <a:gd name="connsiteX6" fmla="*/ 825773 w 912802"/>
                <a:gd name="connsiteY6" fmla="*/ 149581 h 1223846"/>
                <a:gd name="connsiteX7" fmla="*/ 825773 w 912802"/>
                <a:gd name="connsiteY7" fmla="*/ 1000834 h 1223846"/>
                <a:gd name="connsiteX8" fmla="*/ 836651 w 912802"/>
                <a:gd name="connsiteY8" fmla="*/ 1076985 h 1223846"/>
                <a:gd name="connsiteX9" fmla="*/ 912802 w 912802"/>
                <a:gd name="connsiteY9" fmla="*/ 1150415 h 1223846"/>
                <a:gd name="connsiteX10" fmla="*/ 774099 w 912802"/>
                <a:gd name="connsiteY10" fmla="*/ 1221126 h 1223846"/>
                <a:gd name="connsiteX11" fmla="*/ 553807 w 912802"/>
                <a:gd name="connsiteY11" fmla="*/ 1098742 h 1223846"/>
                <a:gd name="connsiteX12" fmla="*/ 548367 w 912802"/>
                <a:gd name="connsiteY12" fmla="*/ 1085144 h 1223846"/>
                <a:gd name="connsiteX13" fmla="*/ 398786 w 912802"/>
                <a:gd name="connsiteY13" fmla="*/ 1212967 h 1223846"/>
                <a:gd name="connsiteX14" fmla="*/ 156736 w 912802"/>
                <a:gd name="connsiteY14" fmla="*/ 1180332 h 1223846"/>
                <a:gd name="connsiteX15" fmla="*/ 287280 w 912802"/>
                <a:gd name="connsiteY15" fmla="*/ 416107 h 1223846"/>
                <a:gd name="connsiteX16" fmla="*/ 526611 w 912802"/>
                <a:gd name="connsiteY16" fmla="*/ 552091 h 1223846"/>
                <a:gd name="connsiteX17" fmla="*/ 526611 w 912802"/>
                <a:gd name="connsiteY17" fmla="*/ 149581 h 1223846"/>
                <a:gd name="connsiteX18" fmla="*/ 676192 w 912802"/>
                <a:gd name="connsiteY18" fmla="*/ 0 h 1223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912802" h="1223846">
                  <a:moveTo>
                    <a:pt x="387907" y="620081"/>
                  </a:moveTo>
                  <a:cubicBezTo>
                    <a:pt x="322635" y="620081"/>
                    <a:pt x="273681" y="698951"/>
                    <a:pt x="273681" y="824055"/>
                  </a:cubicBezTo>
                  <a:cubicBezTo>
                    <a:pt x="273681" y="949160"/>
                    <a:pt x="311756" y="1028029"/>
                    <a:pt x="390627" y="1028029"/>
                  </a:cubicBezTo>
                  <a:cubicBezTo>
                    <a:pt x="466777" y="1025310"/>
                    <a:pt x="504852" y="949160"/>
                    <a:pt x="502132" y="824055"/>
                  </a:cubicBezTo>
                  <a:cubicBezTo>
                    <a:pt x="502132" y="698951"/>
                    <a:pt x="455898" y="622801"/>
                    <a:pt x="387907" y="620081"/>
                  </a:cubicBezTo>
                  <a:close/>
                  <a:moveTo>
                    <a:pt x="676192" y="0"/>
                  </a:moveTo>
                  <a:cubicBezTo>
                    <a:pt x="757781" y="0"/>
                    <a:pt x="825773" y="67992"/>
                    <a:pt x="825773" y="149581"/>
                  </a:cubicBezTo>
                  <a:lnTo>
                    <a:pt x="825773" y="1000834"/>
                  </a:lnTo>
                  <a:cubicBezTo>
                    <a:pt x="828492" y="1025311"/>
                    <a:pt x="831212" y="1052508"/>
                    <a:pt x="836651" y="1076985"/>
                  </a:cubicBezTo>
                  <a:cubicBezTo>
                    <a:pt x="861128" y="1139537"/>
                    <a:pt x="912802" y="1150415"/>
                    <a:pt x="912802" y="1150415"/>
                  </a:cubicBezTo>
                  <a:cubicBezTo>
                    <a:pt x="912802" y="1150415"/>
                    <a:pt x="861128" y="1221126"/>
                    <a:pt x="774099" y="1221126"/>
                  </a:cubicBezTo>
                  <a:cubicBezTo>
                    <a:pt x="670752" y="1221126"/>
                    <a:pt x="589162" y="1166733"/>
                    <a:pt x="553807" y="1098742"/>
                  </a:cubicBezTo>
                  <a:cubicBezTo>
                    <a:pt x="551087" y="1093303"/>
                    <a:pt x="551087" y="1090583"/>
                    <a:pt x="548367" y="1085144"/>
                  </a:cubicBezTo>
                  <a:cubicBezTo>
                    <a:pt x="534769" y="1147696"/>
                    <a:pt x="450460" y="1199369"/>
                    <a:pt x="398786" y="1212967"/>
                  </a:cubicBezTo>
                  <a:cubicBezTo>
                    <a:pt x="322636" y="1234725"/>
                    <a:pt x="222008" y="1223846"/>
                    <a:pt x="156736" y="1180332"/>
                  </a:cubicBezTo>
                  <a:cubicBezTo>
                    <a:pt x="-79874" y="1028031"/>
                    <a:pt x="-58117" y="416107"/>
                    <a:pt x="287280" y="416107"/>
                  </a:cubicBezTo>
                  <a:cubicBezTo>
                    <a:pt x="412385" y="416107"/>
                    <a:pt x="491255" y="503137"/>
                    <a:pt x="526611" y="552091"/>
                  </a:cubicBezTo>
                  <a:lnTo>
                    <a:pt x="526611" y="149581"/>
                  </a:lnTo>
                  <a:cubicBezTo>
                    <a:pt x="526611" y="67992"/>
                    <a:pt x="594602" y="0"/>
                    <a:pt x="676192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10D66007-2868-471F-B969-3FB8E82DCC4E}"/>
                </a:ext>
              </a:extLst>
            </p:cNvPr>
            <p:cNvSpPr/>
            <p:nvPr/>
          </p:nvSpPr>
          <p:spPr bwMode="black">
            <a:xfrm>
              <a:off x="6789513" y="2362895"/>
              <a:ext cx="747906" cy="810458"/>
            </a:xfrm>
            <a:custGeom>
              <a:avLst/>
              <a:gdLst>
                <a:gd name="connsiteX0" fmla="*/ 394818 w 747906"/>
                <a:gd name="connsiteY0" fmla="*/ 163222 h 810458"/>
                <a:gd name="connsiteX1" fmla="*/ 356275 w 747906"/>
                <a:gd name="connsiteY1" fmla="*/ 174058 h 810458"/>
                <a:gd name="connsiteX2" fmla="*/ 274685 w 747906"/>
                <a:gd name="connsiteY2" fmla="*/ 356275 h 810458"/>
                <a:gd name="connsiteX3" fmla="*/ 375313 w 747906"/>
                <a:gd name="connsiteY3" fmla="*/ 358994 h 810458"/>
                <a:gd name="connsiteX4" fmla="*/ 473220 w 747906"/>
                <a:gd name="connsiteY4" fmla="*/ 239329 h 810458"/>
                <a:gd name="connsiteX5" fmla="*/ 394818 w 747906"/>
                <a:gd name="connsiteY5" fmla="*/ 163222 h 810458"/>
                <a:gd name="connsiteX6" fmla="*/ 386192 w 747906"/>
                <a:gd name="connsiteY6" fmla="*/ 0 h 810458"/>
                <a:gd name="connsiteX7" fmla="*/ 747906 w 747906"/>
                <a:gd name="connsiteY7" fmla="*/ 266526 h 810458"/>
                <a:gd name="connsiteX8" fmla="*/ 291004 w 747906"/>
                <a:gd name="connsiteY8" fmla="*/ 484100 h 810458"/>
                <a:gd name="connsiteX9" fmla="*/ 497698 w 747906"/>
                <a:gd name="connsiteY9" fmla="*/ 617363 h 810458"/>
                <a:gd name="connsiteX10" fmla="*/ 712551 w 747906"/>
                <a:gd name="connsiteY10" fmla="*/ 557530 h 810458"/>
                <a:gd name="connsiteX11" fmla="*/ 388912 w 747906"/>
                <a:gd name="connsiteY11" fmla="*/ 810458 h 810458"/>
                <a:gd name="connsiteX12" fmla="*/ 0 w 747906"/>
                <a:gd name="connsiteY12" fmla="*/ 413389 h 810458"/>
                <a:gd name="connsiteX13" fmla="*/ 386192 w 747906"/>
                <a:gd name="connsiteY13" fmla="*/ 0 h 8104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747906" h="810458">
                  <a:moveTo>
                    <a:pt x="394818" y="163222"/>
                  </a:moveTo>
                  <a:cubicBezTo>
                    <a:pt x="381772" y="163179"/>
                    <a:pt x="368514" y="166579"/>
                    <a:pt x="356275" y="174058"/>
                  </a:cubicBezTo>
                  <a:cubicBezTo>
                    <a:pt x="299162" y="212133"/>
                    <a:pt x="282844" y="291003"/>
                    <a:pt x="274685" y="356275"/>
                  </a:cubicBezTo>
                  <a:cubicBezTo>
                    <a:pt x="274685" y="364434"/>
                    <a:pt x="369873" y="358994"/>
                    <a:pt x="375313" y="358994"/>
                  </a:cubicBezTo>
                  <a:cubicBezTo>
                    <a:pt x="432425" y="345396"/>
                    <a:pt x="473220" y="301881"/>
                    <a:pt x="473220" y="239329"/>
                  </a:cubicBezTo>
                  <a:cubicBezTo>
                    <a:pt x="471181" y="194455"/>
                    <a:pt x="433956" y="163349"/>
                    <a:pt x="394818" y="163222"/>
                  </a:cubicBezTo>
                  <a:close/>
                  <a:moveTo>
                    <a:pt x="386192" y="0"/>
                  </a:moveTo>
                  <a:cubicBezTo>
                    <a:pt x="519455" y="0"/>
                    <a:pt x="747906" y="65272"/>
                    <a:pt x="747906" y="266526"/>
                  </a:cubicBezTo>
                  <a:cubicBezTo>
                    <a:pt x="747906" y="467782"/>
                    <a:pt x="538493" y="484100"/>
                    <a:pt x="291004" y="484100"/>
                  </a:cubicBezTo>
                  <a:cubicBezTo>
                    <a:pt x="291004" y="484100"/>
                    <a:pt x="326359" y="617363"/>
                    <a:pt x="497698" y="617363"/>
                  </a:cubicBezTo>
                  <a:cubicBezTo>
                    <a:pt x="669036" y="617363"/>
                    <a:pt x="712551" y="557530"/>
                    <a:pt x="712551" y="557530"/>
                  </a:cubicBezTo>
                  <a:cubicBezTo>
                    <a:pt x="712551" y="557530"/>
                    <a:pt x="696233" y="810458"/>
                    <a:pt x="388912" y="810458"/>
                  </a:cubicBezTo>
                  <a:cubicBezTo>
                    <a:pt x="212134" y="810458"/>
                    <a:pt x="0" y="677195"/>
                    <a:pt x="0" y="413389"/>
                  </a:cubicBezTo>
                  <a:cubicBezTo>
                    <a:pt x="0" y="176778"/>
                    <a:pt x="163180" y="0"/>
                    <a:pt x="386192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36270846-6F4C-40AA-99D4-EF9934A7E399}"/>
                </a:ext>
              </a:extLst>
            </p:cNvPr>
            <p:cNvSpPr/>
            <p:nvPr/>
          </p:nvSpPr>
          <p:spPr bwMode="black">
            <a:xfrm>
              <a:off x="7988882" y="2362895"/>
              <a:ext cx="747906" cy="810458"/>
            </a:xfrm>
            <a:custGeom>
              <a:avLst/>
              <a:gdLst>
                <a:gd name="connsiteX0" fmla="*/ 394818 w 747906"/>
                <a:gd name="connsiteY0" fmla="*/ 163222 h 810458"/>
                <a:gd name="connsiteX1" fmla="*/ 356275 w 747906"/>
                <a:gd name="connsiteY1" fmla="*/ 174058 h 810458"/>
                <a:gd name="connsiteX2" fmla="*/ 274685 w 747906"/>
                <a:gd name="connsiteY2" fmla="*/ 356275 h 810458"/>
                <a:gd name="connsiteX3" fmla="*/ 375313 w 747906"/>
                <a:gd name="connsiteY3" fmla="*/ 358994 h 810458"/>
                <a:gd name="connsiteX4" fmla="*/ 473220 w 747906"/>
                <a:gd name="connsiteY4" fmla="*/ 239329 h 810458"/>
                <a:gd name="connsiteX5" fmla="*/ 394818 w 747906"/>
                <a:gd name="connsiteY5" fmla="*/ 163222 h 810458"/>
                <a:gd name="connsiteX6" fmla="*/ 386192 w 747906"/>
                <a:gd name="connsiteY6" fmla="*/ 0 h 810458"/>
                <a:gd name="connsiteX7" fmla="*/ 747906 w 747906"/>
                <a:gd name="connsiteY7" fmla="*/ 266526 h 810458"/>
                <a:gd name="connsiteX8" fmla="*/ 291004 w 747906"/>
                <a:gd name="connsiteY8" fmla="*/ 484100 h 810458"/>
                <a:gd name="connsiteX9" fmla="*/ 497697 w 747906"/>
                <a:gd name="connsiteY9" fmla="*/ 617363 h 810458"/>
                <a:gd name="connsiteX10" fmla="*/ 712551 w 747906"/>
                <a:gd name="connsiteY10" fmla="*/ 557530 h 810458"/>
                <a:gd name="connsiteX11" fmla="*/ 388911 w 747906"/>
                <a:gd name="connsiteY11" fmla="*/ 810458 h 810458"/>
                <a:gd name="connsiteX12" fmla="*/ 0 w 747906"/>
                <a:gd name="connsiteY12" fmla="*/ 413389 h 810458"/>
                <a:gd name="connsiteX13" fmla="*/ 386192 w 747906"/>
                <a:gd name="connsiteY13" fmla="*/ 0 h 8104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747906" h="810458">
                  <a:moveTo>
                    <a:pt x="394818" y="163222"/>
                  </a:moveTo>
                  <a:cubicBezTo>
                    <a:pt x="381772" y="163179"/>
                    <a:pt x="368514" y="166579"/>
                    <a:pt x="356275" y="174058"/>
                  </a:cubicBezTo>
                  <a:cubicBezTo>
                    <a:pt x="299162" y="212133"/>
                    <a:pt x="282844" y="291003"/>
                    <a:pt x="274685" y="356275"/>
                  </a:cubicBezTo>
                  <a:cubicBezTo>
                    <a:pt x="274685" y="364434"/>
                    <a:pt x="369873" y="358994"/>
                    <a:pt x="375313" y="358994"/>
                  </a:cubicBezTo>
                  <a:cubicBezTo>
                    <a:pt x="432426" y="345396"/>
                    <a:pt x="473220" y="301881"/>
                    <a:pt x="473220" y="239329"/>
                  </a:cubicBezTo>
                  <a:cubicBezTo>
                    <a:pt x="471181" y="194455"/>
                    <a:pt x="433955" y="163349"/>
                    <a:pt x="394818" y="163222"/>
                  </a:cubicBezTo>
                  <a:close/>
                  <a:moveTo>
                    <a:pt x="386192" y="0"/>
                  </a:moveTo>
                  <a:cubicBezTo>
                    <a:pt x="519455" y="0"/>
                    <a:pt x="747906" y="65272"/>
                    <a:pt x="747906" y="266526"/>
                  </a:cubicBezTo>
                  <a:cubicBezTo>
                    <a:pt x="747906" y="467782"/>
                    <a:pt x="538492" y="484100"/>
                    <a:pt x="291004" y="484100"/>
                  </a:cubicBezTo>
                  <a:cubicBezTo>
                    <a:pt x="291004" y="484100"/>
                    <a:pt x="326359" y="617363"/>
                    <a:pt x="497697" y="617363"/>
                  </a:cubicBezTo>
                  <a:cubicBezTo>
                    <a:pt x="669036" y="617363"/>
                    <a:pt x="712551" y="557530"/>
                    <a:pt x="712551" y="557530"/>
                  </a:cubicBezTo>
                  <a:cubicBezTo>
                    <a:pt x="712551" y="557530"/>
                    <a:pt x="696233" y="810458"/>
                    <a:pt x="388911" y="810458"/>
                  </a:cubicBezTo>
                  <a:cubicBezTo>
                    <a:pt x="212133" y="810458"/>
                    <a:pt x="0" y="677195"/>
                    <a:pt x="0" y="413389"/>
                  </a:cubicBezTo>
                  <a:cubicBezTo>
                    <a:pt x="0" y="176778"/>
                    <a:pt x="163180" y="0"/>
                    <a:pt x="386192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/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3703D0E3-2D30-4032-9E53-A7EB9F4BC9C3}"/>
                </a:ext>
              </a:extLst>
            </p:cNvPr>
            <p:cNvSpPr/>
            <p:nvPr/>
          </p:nvSpPr>
          <p:spPr bwMode="black">
            <a:xfrm>
              <a:off x="8683414" y="2274801"/>
              <a:ext cx="897487" cy="951879"/>
            </a:xfrm>
            <a:custGeom>
              <a:avLst/>
              <a:gdLst>
                <a:gd name="connsiteX0" fmla="*/ 580988 w 897487"/>
                <a:gd name="connsiteY0" fmla="*/ 667381 h 951879"/>
                <a:gd name="connsiteX1" fmla="*/ 409649 w 897487"/>
                <a:gd name="connsiteY1" fmla="*/ 667381 h 951879"/>
                <a:gd name="connsiteX2" fmla="*/ 591866 w 897487"/>
                <a:gd name="connsiteY2" fmla="*/ 525959 h 951879"/>
                <a:gd name="connsiteX3" fmla="*/ 842075 w 897487"/>
                <a:gd name="connsiteY3" fmla="*/ 123450 h 951879"/>
                <a:gd name="connsiteX4" fmla="*/ 842075 w 897487"/>
                <a:gd name="connsiteY4" fmla="*/ 123450 h 951879"/>
                <a:gd name="connsiteX5" fmla="*/ 798560 w 897487"/>
                <a:gd name="connsiteY5" fmla="*/ 58178 h 951879"/>
                <a:gd name="connsiteX6" fmla="*/ 746887 w 897487"/>
                <a:gd name="connsiteY6" fmla="*/ 107132 h 951879"/>
                <a:gd name="connsiteX7" fmla="*/ 697933 w 897487"/>
                <a:gd name="connsiteY7" fmla="*/ 115291 h 951879"/>
                <a:gd name="connsiteX8" fmla="*/ 219273 w 897487"/>
                <a:gd name="connsiteY8" fmla="*/ 115291 h 951879"/>
                <a:gd name="connsiteX9" fmla="*/ 102328 w 897487"/>
                <a:gd name="connsiteY9" fmla="*/ 224077 h 951879"/>
                <a:gd name="connsiteX10" fmla="*/ 213834 w 897487"/>
                <a:gd name="connsiteY10" fmla="*/ 332863 h 951879"/>
                <a:gd name="connsiteX11" fmla="*/ 485800 w 897487"/>
                <a:gd name="connsiteY11" fmla="*/ 335583 h 951879"/>
                <a:gd name="connsiteX12" fmla="*/ 134964 w 897487"/>
                <a:gd name="connsiteY12" fmla="*/ 615708 h 951879"/>
                <a:gd name="connsiteX13" fmla="*/ 61533 w 897487"/>
                <a:gd name="connsiteY13" fmla="*/ 884953 h 951879"/>
                <a:gd name="connsiteX14" fmla="*/ 398771 w 897487"/>
                <a:gd name="connsiteY14" fmla="*/ 806083 h 951879"/>
                <a:gd name="connsiteX15" fmla="*/ 529314 w 897487"/>
                <a:gd name="connsiteY15" fmla="*/ 863196 h 951879"/>
                <a:gd name="connsiteX16" fmla="*/ 782242 w 897487"/>
                <a:gd name="connsiteY16" fmla="*/ 607549 h 951879"/>
                <a:gd name="connsiteX17" fmla="*/ 580988 w 897487"/>
                <a:gd name="connsiteY17" fmla="*/ 667381 h 9518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897487" h="951879">
                  <a:moveTo>
                    <a:pt x="580988" y="667381"/>
                  </a:moveTo>
                  <a:lnTo>
                    <a:pt x="409649" y="667381"/>
                  </a:lnTo>
                  <a:cubicBezTo>
                    <a:pt x="423248" y="667381"/>
                    <a:pt x="548352" y="561314"/>
                    <a:pt x="591866" y="525959"/>
                  </a:cubicBezTo>
                  <a:cubicBezTo>
                    <a:pt x="700653" y="433491"/>
                    <a:pt x="899188" y="297508"/>
                    <a:pt x="842075" y="123450"/>
                  </a:cubicBezTo>
                  <a:lnTo>
                    <a:pt x="842075" y="123450"/>
                  </a:lnTo>
                  <a:cubicBezTo>
                    <a:pt x="831197" y="82655"/>
                    <a:pt x="798560" y="58178"/>
                    <a:pt x="798560" y="58178"/>
                  </a:cubicBezTo>
                  <a:cubicBezTo>
                    <a:pt x="798560" y="58178"/>
                    <a:pt x="787682" y="90814"/>
                    <a:pt x="746887" y="107132"/>
                  </a:cubicBezTo>
                  <a:cubicBezTo>
                    <a:pt x="730569" y="109852"/>
                    <a:pt x="714251" y="115291"/>
                    <a:pt x="697933" y="115291"/>
                  </a:cubicBezTo>
                  <a:cubicBezTo>
                    <a:pt x="684334" y="115291"/>
                    <a:pt x="219273" y="115291"/>
                    <a:pt x="219273" y="115291"/>
                  </a:cubicBezTo>
                  <a:cubicBezTo>
                    <a:pt x="156721" y="115291"/>
                    <a:pt x="105048" y="166964"/>
                    <a:pt x="102328" y="224077"/>
                  </a:cubicBezTo>
                  <a:cubicBezTo>
                    <a:pt x="102328" y="283910"/>
                    <a:pt x="151282" y="332863"/>
                    <a:pt x="213834" y="332863"/>
                  </a:cubicBezTo>
                  <a:lnTo>
                    <a:pt x="485800" y="335583"/>
                  </a:lnTo>
                  <a:cubicBezTo>
                    <a:pt x="360695" y="406294"/>
                    <a:pt x="211114" y="487884"/>
                    <a:pt x="134964" y="615708"/>
                  </a:cubicBezTo>
                  <a:cubicBezTo>
                    <a:pt x="91449" y="689138"/>
                    <a:pt x="45215" y="800644"/>
                    <a:pt x="61533" y="884953"/>
                  </a:cubicBezTo>
                  <a:cubicBezTo>
                    <a:pt x="121366" y="830560"/>
                    <a:pt x="279106" y="778887"/>
                    <a:pt x="398771" y="806083"/>
                  </a:cubicBezTo>
                  <a:cubicBezTo>
                    <a:pt x="445005" y="814242"/>
                    <a:pt x="491239" y="838719"/>
                    <a:pt x="529314" y="863196"/>
                  </a:cubicBezTo>
                  <a:cubicBezTo>
                    <a:pt x="755046" y="1004618"/>
                    <a:pt x="891029" y="727213"/>
                    <a:pt x="782242" y="607549"/>
                  </a:cubicBezTo>
                  <a:cubicBezTo>
                    <a:pt x="784962" y="607549"/>
                    <a:pt x="722410" y="667381"/>
                    <a:pt x="580988" y="667381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7FD40A0A-73C4-4955-9FF6-0EEB215FD392}"/>
                </a:ext>
              </a:extLst>
            </p:cNvPr>
            <p:cNvSpPr/>
            <p:nvPr/>
          </p:nvSpPr>
          <p:spPr bwMode="black">
            <a:xfrm>
              <a:off x="2624650" y="1948442"/>
              <a:ext cx="1903761" cy="1577400"/>
            </a:xfrm>
            <a:custGeom>
              <a:avLst/>
              <a:gdLst>
                <a:gd name="connsiteX0" fmla="*/ 1559430 w 1903760"/>
                <a:gd name="connsiteY0" fmla="*/ 1165078 h 1577399"/>
                <a:gd name="connsiteX1" fmla="*/ 1369054 w 1903760"/>
                <a:gd name="connsiteY1" fmla="*/ 593950 h 1577399"/>
                <a:gd name="connsiteX2" fmla="*/ 1483279 w 1903760"/>
                <a:gd name="connsiteY2" fmla="*/ 126170 h 1577399"/>
                <a:gd name="connsiteX3" fmla="*/ 1311941 w 1903760"/>
                <a:gd name="connsiteY3" fmla="*/ 58178 h 1577399"/>
                <a:gd name="connsiteX4" fmla="*/ 1078050 w 1903760"/>
                <a:gd name="connsiteY4" fmla="*/ 205040 h 1577399"/>
                <a:gd name="connsiteX5" fmla="*/ 846879 w 1903760"/>
                <a:gd name="connsiteY5" fmla="*/ 523239 h 1577399"/>
                <a:gd name="connsiteX6" fmla="*/ 645624 w 1903760"/>
                <a:gd name="connsiteY6" fmla="*/ 210479 h 1577399"/>
                <a:gd name="connsiteX7" fmla="*/ 455248 w 1903760"/>
                <a:gd name="connsiteY7" fmla="*/ 63617 h 1577399"/>
                <a:gd name="connsiteX8" fmla="*/ 234956 w 1903760"/>
                <a:gd name="connsiteY8" fmla="*/ 137048 h 1577399"/>
                <a:gd name="connsiteX9" fmla="*/ 316546 w 1903760"/>
                <a:gd name="connsiteY9" fmla="*/ 588511 h 1577399"/>
                <a:gd name="connsiteX10" fmla="*/ 58178 w 1903760"/>
                <a:gd name="connsiteY10" fmla="*/ 1072610 h 1577399"/>
                <a:gd name="connsiteX11" fmla="*/ 474286 w 1903760"/>
                <a:gd name="connsiteY11" fmla="*/ 1020936 h 1577399"/>
                <a:gd name="connsiteX12" fmla="*/ 555876 w 1903760"/>
                <a:gd name="connsiteY12" fmla="*/ 572193 h 1577399"/>
                <a:gd name="connsiteX13" fmla="*/ 830561 w 1903760"/>
                <a:gd name="connsiteY13" fmla="*/ 993740 h 1577399"/>
                <a:gd name="connsiteX14" fmla="*/ 1140602 w 1903760"/>
                <a:gd name="connsiteY14" fmla="*/ 574913 h 1577399"/>
                <a:gd name="connsiteX15" fmla="*/ 1567589 w 1903760"/>
                <a:gd name="connsiteY15" fmla="*/ 1526792 h 1577399"/>
                <a:gd name="connsiteX16" fmla="*/ 1866751 w 1903760"/>
                <a:gd name="connsiteY16" fmla="*/ 1322818 h 1577399"/>
                <a:gd name="connsiteX17" fmla="*/ 1559430 w 1903760"/>
                <a:gd name="connsiteY17" fmla="*/ 1165078 h 15773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903760" h="1577399">
                  <a:moveTo>
                    <a:pt x="1559430" y="1165078"/>
                  </a:moveTo>
                  <a:cubicBezTo>
                    <a:pt x="1420727" y="1012777"/>
                    <a:pt x="1377213" y="762569"/>
                    <a:pt x="1369054" y="593950"/>
                  </a:cubicBezTo>
                  <a:cubicBezTo>
                    <a:pt x="1360895" y="449809"/>
                    <a:pt x="1369054" y="199600"/>
                    <a:pt x="1483279" y="126170"/>
                  </a:cubicBezTo>
                  <a:cubicBezTo>
                    <a:pt x="1445204" y="77216"/>
                    <a:pt x="1369054" y="58178"/>
                    <a:pt x="1311941" y="58178"/>
                  </a:cubicBezTo>
                  <a:cubicBezTo>
                    <a:pt x="1184117" y="58178"/>
                    <a:pt x="1121565" y="142488"/>
                    <a:pt x="1078050" y="205040"/>
                  </a:cubicBezTo>
                  <a:cubicBezTo>
                    <a:pt x="1064452" y="224077"/>
                    <a:pt x="846879" y="523239"/>
                    <a:pt x="846879" y="523239"/>
                  </a:cubicBezTo>
                  <a:cubicBezTo>
                    <a:pt x="846879" y="523239"/>
                    <a:pt x="667382" y="243115"/>
                    <a:pt x="645624" y="210479"/>
                  </a:cubicBezTo>
                  <a:cubicBezTo>
                    <a:pt x="615708" y="164245"/>
                    <a:pt x="555876" y="77216"/>
                    <a:pt x="455248" y="63617"/>
                  </a:cubicBezTo>
                  <a:cubicBezTo>
                    <a:pt x="411734" y="58178"/>
                    <a:pt x="297508" y="52739"/>
                    <a:pt x="234956" y="137048"/>
                  </a:cubicBezTo>
                  <a:cubicBezTo>
                    <a:pt x="341023" y="221357"/>
                    <a:pt x="338303" y="438930"/>
                    <a:pt x="316546" y="588511"/>
                  </a:cubicBezTo>
                  <a:cubicBezTo>
                    <a:pt x="248554" y="1031815"/>
                    <a:pt x="58178" y="1072610"/>
                    <a:pt x="58178" y="1072610"/>
                  </a:cubicBezTo>
                  <a:cubicBezTo>
                    <a:pt x="156086" y="1333696"/>
                    <a:pt x="403575" y="1230350"/>
                    <a:pt x="474286" y="1020936"/>
                  </a:cubicBezTo>
                  <a:cubicBezTo>
                    <a:pt x="520520" y="884953"/>
                    <a:pt x="550436" y="713615"/>
                    <a:pt x="555876" y="572193"/>
                  </a:cubicBezTo>
                  <a:lnTo>
                    <a:pt x="830561" y="993740"/>
                  </a:lnTo>
                  <a:cubicBezTo>
                    <a:pt x="830561" y="993740"/>
                    <a:pt x="1140602" y="574913"/>
                    <a:pt x="1140602" y="574913"/>
                  </a:cubicBezTo>
                  <a:cubicBezTo>
                    <a:pt x="1088929" y="1314659"/>
                    <a:pt x="1344577" y="1526792"/>
                    <a:pt x="1567589" y="1526792"/>
                  </a:cubicBezTo>
                  <a:cubicBezTo>
                    <a:pt x="1790601" y="1526792"/>
                    <a:pt x="1866751" y="1322818"/>
                    <a:pt x="1866751" y="1322818"/>
                  </a:cubicBezTo>
                  <a:cubicBezTo>
                    <a:pt x="1744367" y="1314659"/>
                    <a:pt x="1641019" y="1252107"/>
                    <a:pt x="1559430" y="1165078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C904D811-319A-4186-8A59-457C07D35712}"/>
                </a:ext>
              </a:extLst>
            </p:cNvPr>
            <p:cNvSpPr/>
            <p:nvPr/>
          </p:nvSpPr>
          <p:spPr bwMode="black">
            <a:xfrm>
              <a:off x="4792218" y="3234839"/>
              <a:ext cx="271966" cy="652717"/>
            </a:xfrm>
            <a:custGeom>
              <a:avLst/>
              <a:gdLst>
                <a:gd name="connsiteX0" fmla="*/ 88095 w 271965"/>
                <a:gd name="connsiteY0" fmla="*/ 120730 h 652717"/>
                <a:gd name="connsiteX1" fmla="*/ 93534 w 271965"/>
                <a:gd name="connsiteY1" fmla="*/ 153366 h 652717"/>
                <a:gd name="connsiteX2" fmla="*/ 93534 w 271965"/>
                <a:gd name="connsiteY2" fmla="*/ 544997 h 652717"/>
                <a:gd name="connsiteX3" fmla="*/ 156086 w 271965"/>
                <a:gd name="connsiteY3" fmla="*/ 604829 h 652717"/>
                <a:gd name="connsiteX4" fmla="*/ 221358 w 271965"/>
                <a:gd name="connsiteY4" fmla="*/ 544997 h 652717"/>
                <a:gd name="connsiteX5" fmla="*/ 221358 w 271965"/>
                <a:gd name="connsiteY5" fmla="*/ 194161 h 652717"/>
                <a:gd name="connsiteX6" fmla="*/ 210479 w 271965"/>
                <a:gd name="connsiteY6" fmla="*/ 109852 h 652717"/>
                <a:gd name="connsiteX7" fmla="*/ 118011 w 271965"/>
                <a:gd name="connsiteY7" fmla="*/ 58178 h 652717"/>
                <a:gd name="connsiteX8" fmla="*/ 58178 w 271965"/>
                <a:gd name="connsiteY8" fmla="*/ 88094 h 652717"/>
                <a:gd name="connsiteX9" fmla="*/ 88095 w 271965"/>
                <a:gd name="connsiteY9" fmla="*/ 120730 h 6527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71965" h="652717">
                  <a:moveTo>
                    <a:pt x="88095" y="120730"/>
                  </a:moveTo>
                  <a:cubicBezTo>
                    <a:pt x="90814" y="131609"/>
                    <a:pt x="90814" y="142487"/>
                    <a:pt x="93534" y="153366"/>
                  </a:cubicBezTo>
                  <a:cubicBezTo>
                    <a:pt x="93534" y="156086"/>
                    <a:pt x="93534" y="542277"/>
                    <a:pt x="93534" y="544997"/>
                  </a:cubicBezTo>
                  <a:cubicBezTo>
                    <a:pt x="93534" y="577632"/>
                    <a:pt x="123450" y="604829"/>
                    <a:pt x="156086" y="604829"/>
                  </a:cubicBezTo>
                  <a:cubicBezTo>
                    <a:pt x="188722" y="607548"/>
                    <a:pt x="221358" y="577632"/>
                    <a:pt x="221358" y="544997"/>
                  </a:cubicBezTo>
                  <a:cubicBezTo>
                    <a:pt x="221358" y="539557"/>
                    <a:pt x="221358" y="194161"/>
                    <a:pt x="221358" y="194161"/>
                  </a:cubicBezTo>
                  <a:cubicBezTo>
                    <a:pt x="221358" y="164245"/>
                    <a:pt x="224078" y="134329"/>
                    <a:pt x="210479" y="109852"/>
                  </a:cubicBezTo>
                  <a:cubicBezTo>
                    <a:pt x="196881" y="79935"/>
                    <a:pt x="158806" y="58178"/>
                    <a:pt x="118011" y="58178"/>
                  </a:cubicBezTo>
                  <a:cubicBezTo>
                    <a:pt x="79936" y="58178"/>
                    <a:pt x="58178" y="88094"/>
                    <a:pt x="58178" y="88094"/>
                  </a:cubicBezTo>
                  <a:cubicBezTo>
                    <a:pt x="58178" y="88094"/>
                    <a:pt x="77216" y="93534"/>
                    <a:pt x="88095" y="120730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770FC748-AD59-44E9-9226-9F3F398D3C6A}"/>
                </a:ext>
              </a:extLst>
            </p:cNvPr>
            <p:cNvSpPr/>
            <p:nvPr/>
          </p:nvSpPr>
          <p:spPr bwMode="black">
            <a:xfrm>
              <a:off x="8751819" y="3234667"/>
              <a:ext cx="271966" cy="652717"/>
            </a:xfrm>
            <a:custGeom>
              <a:avLst/>
              <a:gdLst>
                <a:gd name="connsiteX0" fmla="*/ 191663 w 271965"/>
                <a:gd name="connsiteY0" fmla="*/ 542449 h 652717"/>
                <a:gd name="connsiteX1" fmla="*/ 186224 w 271965"/>
                <a:gd name="connsiteY1" fmla="*/ 509813 h 652717"/>
                <a:gd name="connsiteX2" fmla="*/ 186224 w 271965"/>
                <a:gd name="connsiteY2" fmla="*/ 118183 h 652717"/>
                <a:gd name="connsiteX3" fmla="*/ 123672 w 271965"/>
                <a:gd name="connsiteY3" fmla="*/ 58350 h 652717"/>
                <a:gd name="connsiteX4" fmla="*/ 58400 w 271965"/>
                <a:gd name="connsiteY4" fmla="*/ 118183 h 652717"/>
                <a:gd name="connsiteX5" fmla="*/ 58400 w 271965"/>
                <a:gd name="connsiteY5" fmla="*/ 469018 h 652717"/>
                <a:gd name="connsiteX6" fmla="*/ 69279 w 271965"/>
                <a:gd name="connsiteY6" fmla="*/ 553328 h 652717"/>
                <a:gd name="connsiteX7" fmla="*/ 161747 w 271965"/>
                <a:gd name="connsiteY7" fmla="*/ 605001 h 652717"/>
                <a:gd name="connsiteX8" fmla="*/ 221580 w 271965"/>
                <a:gd name="connsiteY8" fmla="*/ 575085 h 652717"/>
                <a:gd name="connsiteX9" fmla="*/ 191663 w 271965"/>
                <a:gd name="connsiteY9" fmla="*/ 542449 h 6527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71965" h="652717">
                  <a:moveTo>
                    <a:pt x="191663" y="542449"/>
                  </a:moveTo>
                  <a:cubicBezTo>
                    <a:pt x="188944" y="531570"/>
                    <a:pt x="186224" y="520692"/>
                    <a:pt x="186224" y="509813"/>
                  </a:cubicBezTo>
                  <a:cubicBezTo>
                    <a:pt x="186224" y="507093"/>
                    <a:pt x="186224" y="120902"/>
                    <a:pt x="186224" y="118183"/>
                  </a:cubicBezTo>
                  <a:cubicBezTo>
                    <a:pt x="186224" y="85547"/>
                    <a:pt x="156308" y="58350"/>
                    <a:pt x="123672" y="58350"/>
                  </a:cubicBezTo>
                  <a:cubicBezTo>
                    <a:pt x="91036" y="55631"/>
                    <a:pt x="58400" y="85547"/>
                    <a:pt x="58400" y="118183"/>
                  </a:cubicBezTo>
                  <a:cubicBezTo>
                    <a:pt x="58400" y="123622"/>
                    <a:pt x="58400" y="469018"/>
                    <a:pt x="58400" y="469018"/>
                  </a:cubicBezTo>
                  <a:cubicBezTo>
                    <a:pt x="58400" y="498934"/>
                    <a:pt x="55680" y="528851"/>
                    <a:pt x="69279" y="553328"/>
                  </a:cubicBezTo>
                  <a:cubicBezTo>
                    <a:pt x="82877" y="583244"/>
                    <a:pt x="120953" y="605001"/>
                    <a:pt x="161747" y="605001"/>
                  </a:cubicBezTo>
                  <a:cubicBezTo>
                    <a:pt x="199822" y="605001"/>
                    <a:pt x="221580" y="575085"/>
                    <a:pt x="221580" y="575085"/>
                  </a:cubicBezTo>
                  <a:cubicBezTo>
                    <a:pt x="221580" y="575085"/>
                    <a:pt x="202542" y="566926"/>
                    <a:pt x="191663" y="542449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67A6B2FE-A112-480D-A8E6-6ED513559C90}"/>
                </a:ext>
              </a:extLst>
            </p:cNvPr>
            <p:cNvSpPr/>
            <p:nvPr/>
          </p:nvSpPr>
          <p:spPr bwMode="black">
            <a:xfrm>
              <a:off x="6320666" y="3416868"/>
              <a:ext cx="435145" cy="462341"/>
            </a:xfrm>
            <a:custGeom>
              <a:avLst/>
              <a:gdLst>
                <a:gd name="connsiteX0" fmla="*/ 302948 w 435145"/>
                <a:gd name="connsiteY0" fmla="*/ 74684 h 462341"/>
                <a:gd name="connsiteX1" fmla="*/ 186003 w 435145"/>
                <a:gd name="connsiteY1" fmla="*/ 148115 h 462341"/>
                <a:gd name="connsiteX2" fmla="*/ 186003 w 435145"/>
                <a:gd name="connsiteY2" fmla="*/ 148115 h 462341"/>
                <a:gd name="connsiteX3" fmla="*/ 186003 w 435145"/>
                <a:gd name="connsiteY3" fmla="*/ 115479 h 462341"/>
                <a:gd name="connsiteX4" fmla="*/ 123450 w 435145"/>
                <a:gd name="connsiteY4" fmla="*/ 58366 h 462341"/>
                <a:gd name="connsiteX5" fmla="*/ 58178 w 435145"/>
                <a:gd name="connsiteY5" fmla="*/ 115479 h 462341"/>
                <a:gd name="connsiteX6" fmla="*/ 58178 w 435145"/>
                <a:gd name="connsiteY6" fmla="*/ 362967 h 462341"/>
                <a:gd name="connsiteX7" fmla="*/ 120730 w 435145"/>
                <a:gd name="connsiteY7" fmla="*/ 422800 h 462341"/>
                <a:gd name="connsiteX8" fmla="*/ 186003 w 435145"/>
                <a:gd name="connsiteY8" fmla="*/ 362967 h 462341"/>
                <a:gd name="connsiteX9" fmla="*/ 186003 w 435145"/>
                <a:gd name="connsiteY9" fmla="*/ 213386 h 462341"/>
                <a:gd name="connsiteX10" fmla="*/ 186003 w 435145"/>
                <a:gd name="connsiteY10" fmla="*/ 213386 h 462341"/>
                <a:gd name="connsiteX11" fmla="*/ 229517 w 435145"/>
                <a:gd name="connsiteY11" fmla="*/ 161713 h 462341"/>
                <a:gd name="connsiteX12" fmla="*/ 259433 w 435145"/>
                <a:gd name="connsiteY12" fmla="*/ 194349 h 462341"/>
                <a:gd name="connsiteX13" fmla="*/ 259433 w 435145"/>
                <a:gd name="connsiteY13" fmla="*/ 362967 h 462341"/>
                <a:gd name="connsiteX14" fmla="*/ 321985 w 435145"/>
                <a:gd name="connsiteY14" fmla="*/ 422800 h 462341"/>
                <a:gd name="connsiteX15" fmla="*/ 387257 w 435145"/>
                <a:gd name="connsiteY15" fmla="*/ 362967 h 462341"/>
                <a:gd name="connsiteX16" fmla="*/ 387257 w 435145"/>
                <a:gd name="connsiteY16" fmla="*/ 273219 h 462341"/>
                <a:gd name="connsiteX17" fmla="*/ 302948 w 435145"/>
                <a:gd name="connsiteY17" fmla="*/ 74684 h 4623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435145" h="462341">
                  <a:moveTo>
                    <a:pt x="302948" y="74684"/>
                  </a:moveTo>
                  <a:cubicBezTo>
                    <a:pt x="234956" y="74684"/>
                    <a:pt x="196881" y="131797"/>
                    <a:pt x="186003" y="148115"/>
                  </a:cubicBezTo>
                  <a:lnTo>
                    <a:pt x="186003" y="148115"/>
                  </a:lnTo>
                  <a:cubicBezTo>
                    <a:pt x="186003" y="129077"/>
                    <a:pt x="186003" y="115479"/>
                    <a:pt x="186003" y="115479"/>
                  </a:cubicBezTo>
                  <a:cubicBezTo>
                    <a:pt x="186003" y="82843"/>
                    <a:pt x="156086" y="58366"/>
                    <a:pt x="123450" y="58366"/>
                  </a:cubicBezTo>
                  <a:cubicBezTo>
                    <a:pt x="90814" y="55646"/>
                    <a:pt x="58178" y="82843"/>
                    <a:pt x="58178" y="115479"/>
                  </a:cubicBezTo>
                  <a:cubicBezTo>
                    <a:pt x="58178" y="120918"/>
                    <a:pt x="58178" y="360248"/>
                    <a:pt x="58178" y="362967"/>
                  </a:cubicBezTo>
                  <a:cubicBezTo>
                    <a:pt x="58178" y="395603"/>
                    <a:pt x="88095" y="422800"/>
                    <a:pt x="120730" y="422800"/>
                  </a:cubicBezTo>
                  <a:cubicBezTo>
                    <a:pt x="153366" y="425519"/>
                    <a:pt x="186003" y="395603"/>
                    <a:pt x="186003" y="362967"/>
                  </a:cubicBezTo>
                  <a:cubicBezTo>
                    <a:pt x="186003" y="360248"/>
                    <a:pt x="186003" y="281378"/>
                    <a:pt x="186003" y="213386"/>
                  </a:cubicBezTo>
                  <a:lnTo>
                    <a:pt x="186003" y="213386"/>
                  </a:lnTo>
                  <a:cubicBezTo>
                    <a:pt x="191442" y="186190"/>
                    <a:pt x="205040" y="161713"/>
                    <a:pt x="229517" y="161713"/>
                  </a:cubicBezTo>
                  <a:cubicBezTo>
                    <a:pt x="259433" y="161713"/>
                    <a:pt x="259433" y="194349"/>
                    <a:pt x="259433" y="194349"/>
                  </a:cubicBezTo>
                  <a:lnTo>
                    <a:pt x="259433" y="362967"/>
                  </a:lnTo>
                  <a:cubicBezTo>
                    <a:pt x="259433" y="395603"/>
                    <a:pt x="289349" y="422800"/>
                    <a:pt x="321985" y="422800"/>
                  </a:cubicBezTo>
                  <a:cubicBezTo>
                    <a:pt x="354621" y="425519"/>
                    <a:pt x="387257" y="395603"/>
                    <a:pt x="387257" y="362967"/>
                  </a:cubicBezTo>
                  <a:lnTo>
                    <a:pt x="387257" y="273219"/>
                  </a:lnTo>
                  <a:cubicBezTo>
                    <a:pt x="387257" y="183470"/>
                    <a:pt x="395416" y="71964"/>
                    <a:pt x="302948" y="74684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DDBBC33B-5E76-47D0-9997-B175DC5CA88D}"/>
                </a:ext>
              </a:extLst>
            </p:cNvPr>
            <p:cNvSpPr/>
            <p:nvPr/>
          </p:nvSpPr>
          <p:spPr bwMode="black">
            <a:xfrm>
              <a:off x="7960620" y="3416868"/>
              <a:ext cx="435145" cy="462341"/>
            </a:xfrm>
            <a:custGeom>
              <a:avLst/>
              <a:gdLst>
                <a:gd name="connsiteX0" fmla="*/ 302948 w 435145"/>
                <a:gd name="connsiteY0" fmla="*/ 74684 h 462341"/>
                <a:gd name="connsiteX1" fmla="*/ 186002 w 435145"/>
                <a:gd name="connsiteY1" fmla="*/ 148115 h 462341"/>
                <a:gd name="connsiteX2" fmla="*/ 186002 w 435145"/>
                <a:gd name="connsiteY2" fmla="*/ 148115 h 462341"/>
                <a:gd name="connsiteX3" fmla="*/ 186002 w 435145"/>
                <a:gd name="connsiteY3" fmla="*/ 115479 h 462341"/>
                <a:gd name="connsiteX4" fmla="*/ 123450 w 435145"/>
                <a:gd name="connsiteY4" fmla="*/ 58366 h 462341"/>
                <a:gd name="connsiteX5" fmla="*/ 58178 w 435145"/>
                <a:gd name="connsiteY5" fmla="*/ 115479 h 462341"/>
                <a:gd name="connsiteX6" fmla="*/ 58178 w 435145"/>
                <a:gd name="connsiteY6" fmla="*/ 362967 h 462341"/>
                <a:gd name="connsiteX7" fmla="*/ 120730 w 435145"/>
                <a:gd name="connsiteY7" fmla="*/ 422800 h 462341"/>
                <a:gd name="connsiteX8" fmla="*/ 186002 w 435145"/>
                <a:gd name="connsiteY8" fmla="*/ 362967 h 462341"/>
                <a:gd name="connsiteX9" fmla="*/ 186002 w 435145"/>
                <a:gd name="connsiteY9" fmla="*/ 213386 h 462341"/>
                <a:gd name="connsiteX10" fmla="*/ 186002 w 435145"/>
                <a:gd name="connsiteY10" fmla="*/ 213386 h 462341"/>
                <a:gd name="connsiteX11" fmla="*/ 229517 w 435145"/>
                <a:gd name="connsiteY11" fmla="*/ 161713 h 462341"/>
                <a:gd name="connsiteX12" fmla="*/ 259433 w 435145"/>
                <a:gd name="connsiteY12" fmla="*/ 194349 h 462341"/>
                <a:gd name="connsiteX13" fmla="*/ 259433 w 435145"/>
                <a:gd name="connsiteY13" fmla="*/ 362967 h 462341"/>
                <a:gd name="connsiteX14" fmla="*/ 321985 w 435145"/>
                <a:gd name="connsiteY14" fmla="*/ 422800 h 462341"/>
                <a:gd name="connsiteX15" fmla="*/ 387257 w 435145"/>
                <a:gd name="connsiteY15" fmla="*/ 362967 h 462341"/>
                <a:gd name="connsiteX16" fmla="*/ 387257 w 435145"/>
                <a:gd name="connsiteY16" fmla="*/ 273219 h 462341"/>
                <a:gd name="connsiteX17" fmla="*/ 302948 w 435145"/>
                <a:gd name="connsiteY17" fmla="*/ 74684 h 4623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435145" h="462341">
                  <a:moveTo>
                    <a:pt x="302948" y="74684"/>
                  </a:moveTo>
                  <a:cubicBezTo>
                    <a:pt x="234956" y="74684"/>
                    <a:pt x="196881" y="131797"/>
                    <a:pt x="186002" y="148115"/>
                  </a:cubicBezTo>
                  <a:lnTo>
                    <a:pt x="186002" y="148115"/>
                  </a:lnTo>
                  <a:cubicBezTo>
                    <a:pt x="186002" y="129077"/>
                    <a:pt x="186002" y="115479"/>
                    <a:pt x="186002" y="115479"/>
                  </a:cubicBezTo>
                  <a:cubicBezTo>
                    <a:pt x="186002" y="82843"/>
                    <a:pt x="156086" y="58366"/>
                    <a:pt x="123450" y="58366"/>
                  </a:cubicBezTo>
                  <a:cubicBezTo>
                    <a:pt x="90814" y="55646"/>
                    <a:pt x="58178" y="82843"/>
                    <a:pt x="58178" y="115479"/>
                  </a:cubicBezTo>
                  <a:cubicBezTo>
                    <a:pt x="58178" y="120918"/>
                    <a:pt x="58178" y="360248"/>
                    <a:pt x="58178" y="362967"/>
                  </a:cubicBezTo>
                  <a:cubicBezTo>
                    <a:pt x="58178" y="395603"/>
                    <a:pt x="88095" y="422800"/>
                    <a:pt x="120730" y="422800"/>
                  </a:cubicBezTo>
                  <a:cubicBezTo>
                    <a:pt x="153366" y="425519"/>
                    <a:pt x="186002" y="395603"/>
                    <a:pt x="186002" y="362967"/>
                  </a:cubicBezTo>
                  <a:cubicBezTo>
                    <a:pt x="186002" y="360248"/>
                    <a:pt x="186002" y="281378"/>
                    <a:pt x="186002" y="213386"/>
                  </a:cubicBezTo>
                  <a:lnTo>
                    <a:pt x="186002" y="213386"/>
                  </a:lnTo>
                  <a:cubicBezTo>
                    <a:pt x="191442" y="186190"/>
                    <a:pt x="205040" y="161713"/>
                    <a:pt x="229517" y="161713"/>
                  </a:cubicBezTo>
                  <a:cubicBezTo>
                    <a:pt x="259433" y="161713"/>
                    <a:pt x="259433" y="194349"/>
                    <a:pt x="259433" y="194349"/>
                  </a:cubicBezTo>
                  <a:lnTo>
                    <a:pt x="259433" y="362967"/>
                  </a:lnTo>
                  <a:cubicBezTo>
                    <a:pt x="259433" y="395603"/>
                    <a:pt x="289349" y="422800"/>
                    <a:pt x="321985" y="422800"/>
                  </a:cubicBezTo>
                  <a:cubicBezTo>
                    <a:pt x="354621" y="425519"/>
                    <a:pt x="387257" y="395603"/>
                    <a:pt x="387257" y="362967"/>
                  </a:cubicBezTo>
                  <a:lnTo>
                    <a:pt x="387257" y="273219"/>
                  </a:lnTo>
                  <a:cubicBezTo>
                    <a:pt x="384537" y="183470"/>
                    <a:pt x="395416" y="71964"/>
                    <a:pt x="302948" y="74684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3F5FE826-C991-4781-9C3E-F5243696119B}"/>
                </a:ext>
              </a:extLst>
            </p:cNvPr>
            <p:cNvSpPr/>
            <p:nvPr/>
          </p:nvSpPr>
          <p:spPr bwMode="black">
            <a:xfrm>
              <a:off x="5020669" y="3416868"/>
              <a:ext cx="435145" cy="462341"/>
            </a:xfrm>
            <a:custGeom>
              <a:avLst/>
              <a:gdLst>
                <a:gd name="connsiteX0" fmla="*/ 302948 w 435145"/>
                <a:gd name="connsiteY0" fmla="*/ 74684 h 462341"/>
                <a:gd name="connsiteX1" fmla="*/ 186002 w 435145"/>
                <a:gd name="connsiteY1" fmla="*/ 148115 h 462341"/>
                <a:gd name="connsiteX2" fmla="*/ 186002 w 435145"/>
                <a:gd name="connsiteY2" fmla="*/ 148115 h 462341"/>
                <a:gd name="connsiteX3" fmla="*/ 186002 w 435145"/>
                <a:gd name="connsiteY3" fmla="*/ 115479 h 462341"/>
                <a:gd name="connsiteX4" fmla="*/ 123450 w 435145"/>
                <a:gd name="connsiteY4" fmla="*/ 58366 h 462341"/>
                <a:gd name="connsiteX5" fmla="*/ 58178 w 435145"/>
                <a:gd name="connsiteY5" fmla="*/ 115479 h 462341"/>
                <a:gd name="connsiteX6" fmla="*/ 58178 w 435145"/>
                <a:gd name="connsiteY6" fmla="*/ 362967 h 462341"/>
                <a:gd name="connsiteX7" fmla="*/ 120730 w 435145"/>
                <a:gd name="connsiteY7" fmla="*/ 422800 h 462341"/>
                <a:gd name="connsiteX8" fmla="*/ 186002 w 435145"/>
                <a:gd name="connsiteY8" fmla="*/ 362967 h 462341"/>
                <a:gd name="connsiteX9" fmla="*/ 186002 w 435145"/>
                <a:gd name="connsiteY9" fmla="*/ 213386 h 462341"/>
                <a:gd name="connsiteX10" fmla="*/ 186002 w 435145"/>
                <a:gd name="connsiteY10" fmla="*/ 213386 h 462341"/>
                <a:gd name="connsiteX11" fmla="*/ 229517 w 435145"/>
                <a:gd name="connsiteY11" fmla="*/ 161713 h 462341"/>
                <a:gd name="connsiteX12" fmla="*/ 259433 w 435145"/>
                <a:gd name="connsiteY12" fmla="*/ 194349 h 462341"/>
                <a:gd name="connsiteX13" fmla="*/ 259433 w 435145"/>
                <a:gd name="connsiteY13" fmla="*/ 362967 h 462341"/>
                <a:gd name="connsiteX14" fmla="*/ 321985 w 435145"/>
                <a:gd name="connsiteY14" fmla="*/ 422800 h 462341"/>
                <a:gd name="connsiteX15" fmla="*/ 387257 w 435145"/>
                <a:gd name="connsiteY15" fmla="*/ 362967 h 462341"/>
                <a:gd name="connsiteX16" fmla="*/ 387257 w 435145"/>
                <a:gd name="connsiteY16" fmla="*/ 273219 h 462341"/>
                <a:gd name="connsiteX17" fmla="*/ 302948 w 435145"/>
                <a:gd name="connsiteY17" fmla="*/ 74684 h 4623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435145" h="462341">
                  <a:moveTo>
                    <a:pt x="302948" y="74684"/>
                  </a:moveTo>
                  <a:cubicBezTo>
                    <a:pt x="234956" y="74684"/>
                    <a:pt x="196881" y="131797"/>
                    <a:pt x="186002" y="148115"/>
                  </a:cubicBezTo>
                  <a:lnTo>
                    <a:pt x="186002" y="148115"/>
                  </a:lnTo>
                  <a:cubicBezTo>
                    <a:pt x="186002" y="129077"/>
                    <a:pt x="186002" y="115479"/>
                    <a:pt x="186002" y="115479"/>
                  </a:cubicBezTo>
                  <a:cubicBezTo>
                    <a:pt x="186002" y="82843"/>
                    <a:pt x="156086" y="58366"/>
                    <a:pt x="123450" y="58366"/>
                  </a:cubicBezTo>
                  <a:cubicBezTo>
                    <a:pt x="90814" y="55646"/>
                    <a:pt x="58178" y="82843"/>
                    <a:pt x="58178" y="115479"/>
                  </a:cubicBezTo>
                  <a:cubicBezTo>
                    <a:pt x="58178" y="120918"/>
                    <a:pt x="58178" y="360248"/>
                    <a:pt x="58178" y="362967"/>
                  </a:cubicBezTo>
                  <a:cubicBezTo>
                    <a:pt x="58178" y="395603"/>
                    <a:pt x="88094" y="422800"/>
                    <a:pt x="120730" y="422800"/>
                  </a:cubicBezTo>
                  <a:cubicBezTo>
                    <a:pt x="153366" y="425519"/>
                    <a:pt x="186002" y="395603"/>
                    <a:pt x="186002" y="362967"/>
                  </a:cubicBezTo>
                  <a:cubicBezTo>
                    <a:pt x="186002" y="360248"/>
                    <a:pt x="186002" y="281378"/>
                    <a:pt x="186002" y="213386"/>
                  </a:cubicBezTo>
                  <a:lnTo>
                    <a:pt x="186002" y="213386"/>
                  </a:lnTo>
                  <a:cubicBezTo>
                    <a:pt x="191442" y="186190"/>
                    <a:pt x="205040" y="161713"/>
                    <a:pt x="229517" y="161713"/>
                  </a:cubicBezTo>
                  <a:cubicBezTo>
                    <a:pt x="259433" y="161713"/>
                    <a:pt x="259433" y="194349"/>
                    <a:pt x="259433" y="194349"/>
                  </a:cubicBezTo>
                  <a:lnTo>
                    <a:pt x="259433" y="362967"/>
                  </a:lnTo>
                  <a:cubicBezTo>
                    <a:pt x="259433" y="395603"/>
                    <a:pt x="289349" y="422800"/>
                    <a:pt x="321985" y="422800"/>
                  </a:cubicBezTo>
                  <a:cubicBezTo>
                    <a:pt x="354621" y="425519"/>
                    <a:pt x="387257" y="395603"/>
                    <a:pt x="387257" y="362967"/>
                  </a:cubicBezTo>
                  <a:lnTo>
                    <a:pt x="387257" y="273219"/>
                  </a:lnTo>
                  <a:cubicBezTo>
                    <a:pt x="384537" y="183470"/>
                    <a:pt x="395416" y="71964"/>
                    <a:pt x="302948" y="74684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/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2EFB7C3C-C9B9-4A7C-9802-BE61D791106C}"/>
                </a:ext>
              </a:extLst>
            </p:cNvPr>
            <p:cNvSpPr/>
            <p:nvPr/>
          </p:nvSpPr>
          <p:spPr bwMode="black">
            <a:xfrm>
              <a:off x="7616289" y="3475234"/>
              <a:ext cx="364436" cy="364434"/>
            </a:xfrm>
            <a:custGeom>
              <a:avLst/>
              <a:gdLst>
                <a:gd name="connsiteX0" fmla="*/ 182218 w 364436"/>
                <a:gd name="connsiteY0" fmla="*/ 73431 h 364434"/>
                <a:gd name="connsiteX1" fmla="*/ 130544 w 364436"/>
                <a:gd name="connsiteY1" fmla="*/ 179499 h 364434"/>
                <a:gd name="connsiteX2" fmla="*/ 182218 w 364436"/>
                <a:gd name="connsiteY2" fmla="*/ 285565 h 364434"/>
                <a:gd name="connsiteX3" fmla="*/ 233891 w 364436"/>
                <a:gd name="connsiteY3" fmla="*/ 179499 h 364434"/>
                <a:gd name="connsiteX4" fmla="*/ 182218 w 364436"/>
                <a:gd name="connsiteY4" fmla="*/ 73431 h 364434"/>
                <a:gd name="connsiteX5" fmla="*/ 182219 w 364436"/>
                <a:gd name="connsiteY5" fmla="*/ 0 h 364434"/>
                <a:gd name="connsiteX6" fmla="*/ 364436 w 364436"/>
                <a:gd name="connsiteY6" fmla="*/ 182217 h 364434"/>
                <a:gd name="connsiteX7" fmla="*/ 182219 w 364436"/>
                <a:gd name="connsiteY7" fmla="*/ 364434 h 364434"/>
                <a:gd name="connsiteX8" fmla="*/ 0 w 364436"/>
                <a:gd name="connsiteY8" fmla="*/ 182217 h 364434"/>
                <a:gd name="connsiteX9" fmla="*/ 182219 w 364436"/>
                <a:gd name="connsiteY9" fmla="*/ 0 h 3644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64436" h="364434">
                  <a:moveTo>
                    <a:pt x="182218" y="73431"/>
                  </a:moveTo>
                  <a:cubicBezTo>
                    <a:pt x="152302" y="76151"/>
                    <a:pt x="130544" y="114226"/>
                    <a:pt x="130544" y="179499"/>
                  </a:cubicBezTo>
                  <a:cubicBezTo>
                    <a:pt x="130544" y="244770"/>
                    <a:pt x="146862" y="285565"/>
                    <a:pt x="182218" y="285565"/>
                  </a:cubicBezTo>
                  <a:cubicBezTo>
                    <a:pt x="217573" y="285565"/>
                    <a:pt x="233891" y="247490"/>
                    <a:pt x="233891" y="179499"/>
                  </a:cubicBezTo>
                  <a:cubicBezTo>
                    <a:pt x="233891" y="114226"/>
                    <a:pt x="212134" y="73431"/>
                    <a:pt x="182218" y="73431"/>
                  </a:cubicBezTo>
                  <a:close/>
                  <a:moveTo>
                    <a:pt x="182219" y="0"/>
                  </a:moveTo>
                  <a:cubicBezTo>
                    <a:pt x="282846" y="0"/>
                    <a:pt x="364436" y="81590"/>
                    <a:pt x="364436" y="182217"/>
                  </a:cubicBezTo>
                  <a:cubicBezTo>
                    <a:pt x="364436" y="282844"/>
                    <a:pt x="282846" y="364434"/>
                    <a:pt x="182219" y="364434"/>
                  </a:cubicBezTo>
                  <a:cubicBezTo>
                    <a:pt x="81591" y="364434"/>
                    <a:pt x="0" y="282844"/>
                    <a:pt x="0" y="182217"/>
                  </a:cubicBezTo>
                  <a:cubicBezTo>
                    <a:pt x="0" y="81590"/>
                    <a:pt x="81591" y="0"/>
                    <a:pt x="182219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CE6058B8-6C4B-4DD3-9D56-2A32C09E480C}"/>
                </a:ext>
              </a:extLst>
            </p:cNvPr>
            <p:cNvSpPr/>
            <p:nvPr/>
          </p:nvSpPr>
          <p:spPr bwMode="black">
            <a:xfrm>
              <a:off x="6743101" y="3464184"/>
              <a:ext cx="372773" cy="375657"/>
            </a:xfrm>
            <a:custGeom>
              <a:avLst/>
              <a:gdLst>
                <a:gd name="connsiteX0" fmla="*/ 176958 w 372773"/>
                <a:gd name="connsiteY0" fmla="*/ 98080 h 375657"/>
                <a:gd name="connsiteX1" fmla="*/ 125284 w 372773"/>
                <a:gd name="connsiteY1" fmla="*/ 190548 h 375657"/>
                <a:gd name="connsiteX2" fmla="*/ 176958 w 372773"/>
                <a:gd name="connsiteY2" fmla="*/ 283017 h 375657"/>
                <a:gd name="connsiteX3" fmla="*/ 228631 w 372773"/>
                <a:gd name="connsiteY3" fmla="*/ 190548 h 375657"/>
                <a:gd name="connsiteX4" fmla="*/ 176958 w 372773"/>
                <a:gd name="connsiteY4" fmla="*/ 98080 h 375657"/>
                <a:gd name="connsiteX5" fmla="*/ 307501 w 372773"/>
                <a:gd name="connsiteY5" fmla="*/ 172 h 375657"/>
                <a:gd name="connsiteX6" fmla="*/ 372773 w 372773"/>
                <a:gd name="connsiteY6" fmla="*/ 62724 h 375657"/>
                <a:gd name="connsiteX7" fmla="*/ 372773 w 372773"/>
                <a:gd name="connsiteY7" fmla="*/ 312934 h 375657"/>
                <a:gd name="connsiteX8" fmla="*/ 302061 w 372773"/>
                <a:gd name="connsiteY8" fmla="*/ 375486 h 375657"/>
                <a:gd name="connsiteX9" fmla="*/ 239509 w 372773"/>
                <a:gd name="connsiteY9" fmla="*/ 326532 h 375657"/>
                <a:gd name="connsiteX10" fmla="*/ 179677 w 372773"/>
                <a:gd name="connsiteY10" fmla="*/ 370046 h 375657"/>
                <a:gd name="connsiteX11" fmla="*/ 70890 w 372773"/>
                <a:gd name="connsiteY11" fmla="*/ 353728 h 375657"/>
                <a:gd name="connsiteX12" fmla="*/ 128003 w 372773"/>
                <a:gd name="connsiteY12" fmla="*/ 11051 h 375657"/>
                <a:gd name="connsiteX13" fmla="*/ 236790 w 372773"/>
                <a:gd name="connsiteY13" fmla="*/ 70883 h 375657"/>
                <a:gd name="connsiteX14" fmla="*/ 236790 w 372773"/>
                <a:gd name="connsiteY14" fmla="*/ 62724 h 375657"/>
                <a:gd name="connsiteX15" fmla="*/ 307501 w 372773"/>
                <a:gd name="connsiteY15" fmla="*/ 172 h 3756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72773" h="375657">
                  <a:moveTo>
                    <a:pt x="176958" y="98080"/>
                  </a:moveTo>
                  <a:cubicBezTo>
                    <a:pt x="147042" y="100800"/>
                    <a:pt x="125284" y="133436"/>
                    <a:pt x="125284" y="190548"/>
                  </a:cubicBezTo>
                  <a:cubicBezTo>
                    <a:pt x="125284" y="247661"/>
                    <a:pt x="141602" y="283017"/>
                    <a:pt x="176958" y="283017"/>
                  </a:cubicBezTo>
                  <a:cubicBezTo>
                    <a:pt x="212314" y="283017"/>
                    <a:pt x="228631" y="247661"/>
                    <a:pt x="228631" y="190548"/>
                  </a:cubicBezTo>
                  <a:cubicBezTo>
                    <a:pt x="228631" y="133436"/>
                    <a:pt x="206874" y="98080"/>
                    <a:pt x="176958" y="98080"/>
                  </a:cubicBezTo>
                  <a:close/>
                  <a:moveTo>
                    <a:pt x="307501" y="172"/>
                  </a:moveTo>
                  <a:cubicBezTo>
                    <a:pt x="340137" y="172"/>
                    <a:pt x="372773" y="30088"/>
                    <a:pt x="372773" y="62724"/>
                  </a:cubicBezTo>
                  <a:cubicBezTo>
                    <a:pt x="372773" y="65444"/>
                    <a:pt x="372773" y="307494"/>
                    <a:pt x="372773" y="312934"/>
                  </a:cubicBezTo>
                  <a:cubicBezTo>
                    <a:pt x="370053" y="348289"/>
                    <a:pt x="337417" y="378205"/>
                    <a:pt x="302061" y="375486"/>
                  </a:cubicBezTo>
                  <a:cubicBezTo>
                    <a:pt x="274865" y="372766"/>
                    <a:pt x="247668" y="353728"/>
                    <a:pt x="239509" y="326532"/>
                  </a:cubicBezTo>
                  <a:cubicBezTo>
                    <a:pt x="225911" y="348289"/>
                    <a:pt x="198715" y="364607"/>
                    <a:pt x="179677" y="370046"/>
                  </a:cubicBezTo>
                  <a:cubicBezTo>
                    <a:pt x="147041" y="378205"/>
                    <a:pt x="100807" y="372766"/>
                    <a:pt x="70890" y="353728"/>
                  </a:cubicBezTo>
                  <a:cubicBezTo>
                    <a:pt x="-35177" y="285737"/>
                    <a:pt x="-27018" y="11051"/>
                    <a:pt x="128003" y="11051"/>
                  </a:cubicBezTo>
                  <a:cubicBezTo>
                    <a:pt x="185116" y="11051"/>
                    <a:pt x="220471" y="49126"/>
                    <a:pt x="236790" y="70883"/>
                  </a:cubicBezTo>
                  <a:cubicBezTo>
                    <a:pt x="236790" y="70883"/>
                    <a:pt x="236790" y="65444"/>
                    <a:pt x="236790" y="62724"/>
                  </a:cubicBezTo>
                  <a:cubicBezTo>
                    <a:pt x="239509" y="27369"/>
                    <a:pt x="272145" y="-2547"/>
                    <a:pt x="307501" y="172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7BDDCE3B-CBF0-46A0-95E3-BE2D1DB5CC39}"/>
                </a:ext>
              </a:extLst>
            </p:cNvPr>
            <p:cNvSpPr/>
            <p:nvPr/>
          </p:nvSpPr>
          <p:spPr bwMode="black">
            <a:xfrm>
              <a:off x="8380335" y="3464184"/>
              <a:ext cx="372772" cy="375657"/>
            </a:xfrm>
            <a:custGeom>
              <a:avLst/>
              <a:gdLst>
                <a:gd name="connsiteX0" fmla="*/ 176957 w 372772"/>
                <a:gd name="connsiteY0" fmla="*/ 98080 h 375657"/>
                <a:gd name="connsiteX1" fmla="*/ 125282 w 372772"/>
                <a:gd name="connsiteY1" fmla="*/ 190548 h 375657"/>
                <a:gd name="connsiteX2" fmla="*/ 176957 w 372772"/>
                <a:gd name="connsiteY2" fmla="*/ 283017 h 375657"/>
                <a:gd name="connsiteX3" fmla="*/ 228630 w 372772"/>
                <a:gd name="connsiteY3" fmla="*/ 190548 h 375657"/>
                <a:gd name="connsiteX4" fmla="*/ 176957 w 372772"/>
                <a:gd name="connsiteY4" fmla="*/ 98080 h 375657"/>
                <a:gd name="connsiteX5" fmla="*/ 307501 w 372772"/>
                <a:gd name="connsiteY5" fmla="*/ 172 h 375657"/>
                <a:gd name="connsiteX6" fmla="*/ 372772 w 372772"/>
                <a:gd name="connsiteY6" fmla="*/ 62724 h 375657"/>
                <a:gd name="connsiteX7" fmla="*/ 372772 w 372772"/>
                <a:gd name="connsiteY7" fmla="*/ 312934 h 375657"/>
                <a:gd name="connsiteX8" fmla="*/ 302062 w 372772"/>
                <a:gd name="connsiteY8" fmla="*/ 375486 h 375657"/>
                <a:gd name="connsiteX9" fmla="*/ 239509 w 372772"/>
                <a:gd name="connsiteY9" fmla="*/ 326532 h 375657"/>
                <a:gd name="connsiteX10" fmla="*/ 179677 w 372772"/>
                <a:gd name="connsiteY10" fmla="*/ 370046 h 375657"/>
                <a:gd name="connsiteX11" fmla="*/ 70890 w 372772"/>
                <a:gd name="connsiteY11" fmla="*/ 353728 h 375657"/>
                <a:gd name="connsiteX12" fmla="*/ 128002 w 372772"/>
                <a:gd name="connsiteY12" fmla="*/ 11051 h 375657"/>
                <a:gd name="connsiteX13" fmla="*/ 236790 w 372772"/>
                <a:gd name="connsiteY13" fmla="*/ 70883 h 375657"/>
                <a:gd name="connsiteX14" fmla="*/ 236790 w 372772"/>
                <a:gd name="connsiteY14" fmla="*/ 62724 h 375657"/>
                <a:gd name="connsiteX15" fmla="*/ 307501 w 372772"/>
                <a:gd name="connsiteY15" fmla="*/ 172 h 3756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72772" h="375657">
                  <a:moveTo>
                    <a:pt x="176957" y="98080"/>
                  </a:moveTo>
                  <a:cubicBezTo>
                    <a:pt x="147039" y="100800"/>
                    <a:pt x="125282" y="133436"/>
                    <a:pt x="125282" y="190548"/>
                  </a:cubicBezTo>
                  <a:cubicBezTo>
                    <a:pt x="125282" y="247661"/>
                    <a:pt x="141600" y="283017"/>
                    <a:pt x="176957" y="283017"/>
                  </a:cubicBezTo>
                  <a:cubicBezTo>
                    <a:pt x="212312" y="283017"/>
                    <a:pt x="228630" y="247661"/>
                    <a:pt x="228630" y="190548"/>
                  </a:cubicBezTo>
                  <a:cubicBezTo>
                    <a:pt x="228630" y="133436"/>
                    <a:pt x="206873" y="98080"/>
                    <a:pt x="176957" y="98080"/>
                  </a:cubicBezTo>
                  <a:close/>
                  <a:moveTo>
                    <a:pt x="307501" y="172"/>
                  </a:moveTo>
                  <a:cubicBezTo>
                    <a:pt x="340137" y="172"/>
                    <a:pt x="372772" y="30088"/>
                    <a:pt x="372772" y="62724"/>
                  </a:cubicBezTo>
                  <a:cubicBezTo>
                    <a:pt x="372772" y="65444"/>
                    <a:pt x="372772" y="307494"/>
                    <a:pt x="372772" y="312934"/>
                  </a:cubicBezTo>
                  <a:cubicBezTo>
                    <a:pt x="370053" y="348289"/>
                    <a:pt x="337417" y="378205"/>
                    <a:pt x="302062" y="375486"/>
                  </a:cubicBezTo>
                  <a:cubicBezTo>
                    <a:pt x="274865" y="372766"/>
                    <a:pt x="247668" y="353728"/>
                    <a:pt x="239509" y="326532"/>
                  </a:cubicBezTo>
                  <a:cubicBezTo>
                    <a:pt x="228630" y="348289"/>
                    <a:pt x="198714" y="364607"/>
                    <a:pt x="179677" y="370046"/>
                  </a:cubicBezTo>
                  <a:cubicBezTo>
                    <a:pt x="147040" y="378205"/>
                    <a:pt x="100806" y="372766"/>
                    <a:pt x="70890" y="353728"/>
                  </a:cubicBezTo>
                  <a:cubicBezTo>
                    <a:pt x="-35177" y="285737"/>
                    <a:pt x="-27018" y="11051"/>
                    <a:pt x="128002" y="11051"/>
                  </a:cubicBezTo>
                  <a:cubicBezTo>
                    <a:pt x="185116" y="11051"/>
                    <a:pt x="220472" y="49126"/>
                    <a:pt x="236790" y="70883"/>
                  </a:cubicBezTo>
                  <a:cubicBezTo>
                    <a:pt x="236790" y="70883"/>
                    <a:pt x="236790" y="65444"/>
                    <a:pt x="236790" y="62724"/>
                  </a:cubicBezTo>
                  <a:cubicBezTo>
                    <a:pt x="239509" y="27369"/>
                    <a:pt x="272145" y="-2547"/>
                    <a:pt x="307501" y="172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/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CA898F72-C445-4743-97BA-4379F1696CC7}"/>
                </a:ext>
              </a:extLst>
            </p:cNvPr>
            <p:cNvSpPr/>
            <p:nvPr/>
          </p:nvSpPr>
          <p:spPr bwMode="black">
            <a:xfrm>
              <a:off x="7389492" y="3444253"/>
              <a:ext cx="217573" cy="435145"/>
            </a:xfrm>
            <a:custGeom>
              <a:avLst/>
              <a:gdLst>
                <a:gd name="connsiteX0" fmla="*/ 186002 w 217572"/>
                <a:gd name="connsiteY0" fmla="*/ 118011 h 435144"/>
                <a:gd name="connsiteX1" fmla="*/ 128890 w 217572"/>
                <a:gd name="connsiteY1" fmla="*/ 58178 h 435144"/>
                <a:gd name="connsiteX2" fmla="*/ 123450 w 217572"/>
                <a:gd name="connsiteY2" fmla="*/ 58178 h 435144"/>
                <a:gd name="connsiteX3" fmla="*/ 58178 w 217572"/>
                <a:gd name="connsiteY3" fmla="*/ 115291 h 435144"/>
                <a:gd name="connsiteX4" fmla="*/ 58178 w 217572"/>
                <a:gd name="connsiteY4" fmla="*/ 232236 h 435144"/>
                <a:gd name="connsiteX5" fmla="*/ 58178 w 217572"/>
                <a:gd name="connsiteY5" fmla="*/ 232236 h 435144"/>
                <a:gd name="connsiteX6" fmla="*/ 58178 w 217572"/>
                <a:gd name="connsiteY6" fmla="*/ 335583 h 435144"/>
                <a:gd name="connsiteX7" fmla="*/ 115291 w 217572"/>
                <a:gd name="connsiteY7" fmla="*/ 395415 h 435144"/>
                <a:gd name="connsiteX8" fmla="*/ 120730 w 217572"/>
                <a:gd name="connsiteY8" fmla="*/ 395415 h 435144"/>
                <a:gd name="connsiteX9" fmla="*/ 186002 w 217572"/>
                <a:gd name="connsiteY9" fmla="*/ 338303 h 435144"/>
                <a:gd name="connsiteX10" fmla="*/ 186002 w 217572"/>
                <a:gd name="connsiteY10" fmla="*/ 240395 h 435144"/>
                <a:gd name="connsiteX11" fmla="*/ 186002 w 217572"/>
                <a:gd name="connsiteY11" fmla="*/ 240395 h 435144"/>
                <a:gd name="connsiteX12" fmla="*/ 186002 w 217572"/>
                <a:gd name="connsiteY12" fmla="*/ 118011 h 4351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17572" h="435144">
                  <a:moveTo>
                    <a:pt x="186002" y="118011"/>
                  </a:moveTo>
                  <a:cubicBezTo>
                    <a:pt x="183283" y="85375"/>
                    <a:pt x="158806" y="60898"/>
                    <a:pt x="128890" y="58178"/>
                  </a:cubicBezTo>
                  <a:cubicBezTo>
                    <a:pt x="126170" y="58178"/>
                    <a:pt x="126170" y="58178"/>
                    <a:pt x="123450" y="58178"/>
                  </a:cubicBezTo>
                  <a:cubicBezTo>
                    <a:pt x="96254" y="58178"/>
                    <a:pt x="58178" y="82655"/>
                    <a:pt x="58178" y="115291"/>
                  </a:cubicBezTo>
                  <a:lnTo>
                    <a:pt x="58178" y="232236"/>
                  </a:lnTo>
                  <a:lnTo>
                    <a:pt x="58178" y="232236"/>
                  </a:lnTo>
                  <a:cubicBezTo>
                    <a:pt x="58178" y="270311"/>
                    <a:pt x="58178" y="335583"/>
                    <a:pt x="58178" y="335583"/>
                  </a:cubicBezTo>
                  <a:cubicBezTo>
                    <a:pt x="60898" y="368219"/>
                    <a:pt x="85375" y="392696"/>
                    <a:pt x="115291" y="395415"/>
                  </a:cubicBezTo>
                  <a:cubicBezTo>
                    <a:pt x="118011" y="395415"/>
                    <a:pt x="118011" y="395415"/>
                    <a:pt x="120730" y="395415"/>
                  </a:cubicBezTo>
                  <a:cubicBezTo>
                    <a:pt x="147927" y="395415"/>
                    <a:pt x="186002" y="370938"/>
                    <a:pt x="186002" y="338303"/>
                  </a:cubicBezTo>
                  <a:lnTo>
                    <a:pt x="186002" y="240395"/>
                  </a:lnTo>
                  <a:lnTo>
                    <a:pt x="186002" y="240395"/>
                  </a:lnTo>
                  <a:cubicBezTo>
                    <a:pt x="186002" y="202320"/>
                    <a:pt x="186002" y="118011"/>
                    <a:pt x="186002" y="118011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/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2FC0A55B-CEB1-43A3-BD42-9118CCCC4997}"/>
                </a:ext>
              </a:extLst>
            </p:cNvPr>
            <p:cNvSpPr/>
            <p:nvPr/>
          </p:nvSpPr>
          <p:spPr bwMode="black">
            <a:xfrm>
              <a:off x="7392212" y="3280901"/>
              <a:ext cx="217573" cy="217572"/>
            </a:xfrm>
            <a:custGeom>
              <a:avLst/>
              <a:gdLst>
                <a:gd name="connsiteX0" fmla="*/ 183282 w 217572"/>
                <a:gd name="connsiteY0" fmla="*/ 120902 h 217572"/>
                <a:gd name="connsiteX1" fmla="*/ 120730 w 217572"/>
                <a:gd name="connsiteY1" fmla="*/ 183454 h 217572"/>
                <a:gd name="connsiteX2" fmla="*/ 58178 w 217572"/>
                <a:gd name="connsiteY2" fmla="*/ 120902 h 217572"/>
                <a:gd name="connsiteX3" fmla="*/ 120730 w 217572"/>
                <a:gd name="connsiteY3" fmla="*/ 58350 h 217572"/>
                <a:gd name="connsiteX4" fmla="*/ 183282 w 217572"/>
                <a:gd name="connsiteY4" fmla="*/ 120902 h 2175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17572" h="217572">
                  <a:moveTo>
                    <a:pt x="183282" y="120902"/>
                  </a:moveTo>
                  <a:cubicBezTo>
                    <a:pt x="183282" y="156258"/>
                    <a:pt x="156086" y="183454"/>
                    <a:pt x="120730" y="183454"/>
                  </a:cubicBezTo>
                  <a:cubicBezTo>
                    <a:pt x="85375" y="183454"/>
                    <a:pt x="58178" y="156258"/>
                    <a:pt x="58178" y="120902"/>
                  </a:cubicBezTo>
                  <a:cubicBezTo>
                    <a:pt x="58178" y="85547"/>
                    <a:pt x="85375" y="58350"/>
                    <a:pt x="120730" y="58350"/>
                  </a:cubicBezTo>
                  <a:cubicBezTo>
                    <a:pt x="153366" y="55630"/>
                    <a:pt x="183282" y="85547"/>
                    <a:pt x="183282" y="120902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/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0B50D7FF-ABF7-48B0-B01A-BDAB3E56A59C}"/>
                </a:ext>
              </a:extLst>
            </p:cNvPr>
            <p:cNvSpPr/>
            <p:nvPr/>
          </p:nvSpPr>
          <p:spPr bwMode="black">
            <a:xfrm>
              <a:off x="6005186" y="3416884"/>
              <a:ext cx="380752" cy="462341"/>
            </a:xfrm>
            <a:custGeom>
              <a:avLst/>
              <a:gdLst>
                <a:gd name="connsiteX0" fmla="*/ 270312 w 380752"/>
                <a:gd name="connsiteY0" fmla="*/ 69229 h 462341"/>
                <a:gd name="connsiteX1" fmla="*/ 188722 w 380752"/>
                <a:gd name="connsiteY1" fmla="*/ 134501 h 462341"/>
                <a:gd name="connsiteX2" fmla="*/ 188722 w 380752"/>
                <a:gd name="connsiteY2" fmla="*/ 118183 h 462341"/>
                <a:gd name="connsiteX3" fmla="*/ 126170 w 380752"/>
                <a:gd name="connsiteY3" fmla="*/ 58350 h 462341"/>
                <a:gd name="connsiteX4" fmla="*/ 58178 w 380752"/>
                <a:gd name="connsiteY4" fmla="*/ 118183 h 462341"/>
                <a:gd name="connsiteX5" fmla="*/ 58178 w 380752"/>
                <a:gd name="connsiteY5" fmla="*/ 210651 h 462341"/>
                <a:gd name="connsiteX6" fmla="*/ 58178 w 380752"/>
                <a:gd name="connsiteY6" fmla="*/ 365671 h 462341"/>
                <a:gd name="connsiteX7" fmla="*/ 58178 w 380752"/>
                <a:gd name="connsiteY7" fmla="*/ 365671 h 462341"/>
                <a:gd name="connsiteX8" fmla="*/ 120730 w 380752"/>
                <a:gd name="connsiteY8" fmla="*/ 425504 h 462341"/>
                <a:gd name="connsiteX9" fmla="*/ 186002 w 380752"/>
                <a:gd name="connsiteY9" fmla="*/ 365671 h 462341"/>
                <a:gd name="connsiteX10" fmla="*/ 186002 w 380752"/>
                <a:gd name="connsiteY10" fmla="*/ 365671 h 462341"/>
                <a:gd name="connsiteX11" fmla="*/ 186002 w 380752"/>
                <a:gd name="connsiteY11" fmla="*/ 210651 h 462341"/>
                <a:gd name="connsiteX12" fmla="*/ 215919 w 380752"/>
                <a:gd name="connsiteY12" fmla="*/ 158978 h 462341"/>
                <a:gd name="connsiteX13" fmla="*/ 275751 w 380752"/>
                <a:gd name="connsiteY13" fmla="*/ 221530 h 462341"/>
                <a:gd name="connsiteX14" fmla="*/ 270312 w 380752"/>
                <a:gd name="connsiteY14" fmla="*/ 69229 h 4623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80752" h="462341">
                  <a:moveTo>
                    <a:pt x="270312" y="69229"/>
                  </a:moveTo>
                  <a:cubicBezTo>
                    <a:pt x="232236" y="71949"/>
                    <a:pt x="213199" y="99145"/>
                    <a:pt x="188722" y="134501"/>
                  </a:cubicBezTo>
                  <a:cubicBezTo>
                    <a:pt x="188722" y="134501"/>
                    <a:pt x="188722" y="118183"/>
                    <a:pt x="188722" y="118183"/>
                  </a:cubicBezTo>
                  <a:cubicBezTo>
                    <a:pt x="188722" y="85547"/>
                    <a:pt x="158806" y="58350"/>
                    <a:pt x="126170" y="58350"/>
                  </a:cubicBezTo>
                  <a:cubicBezTo>
                    <a:pt x="93534" y="55631"/>
                    <a:pt x="60898" y="85547"/>
                    <a:pt x="58178" y="118183"/>
                  </a:cubicBezTo>
                  <a:lnTo>
                    <a:pt x="58178" y="210651"/>
                  </a:lnTo>
                  <a:lnTo>
                    <a:pt x="58178" y="365671"/>
                  </a:lnTo>
                  <a:lnTo>
                    <a:pt x="58178" y="365671"/>
                  </a:lnTo>
                  <a:cubicBezTo>
                    <a:pt x="58178" y="398307"/>
                    <a:pt x="88094" y="425504"/>
                    <a:pt x="120730" y="425504"/>
                  </a:cubicBezTo>
                  <a:cubicBezTo>
                    <a:pt x="153366" y="428224"/>
                    <a:pt x="186002" y="398307"/>
                    <a:pt x="186002" y="365671"/>
                  </a:cubicBezTo>
                  <a:lnTo>
                    <a:pt x="186002" y="365671"/>
                  </a:lnTo>
                  <a:lnTo>
                    <a:pt x="186002" y="210651"/>
                  </a:lnTo>
                  <a:cubicBezTo>
                    <a:pt x="188722" y="188894"/>
                    <a:pt x="196881" y="158978"/>
                    <a:pt x="215919" y="158978"/>
                  </a:cubicBezTo>
                  <a:cubicBezTo>
                    <a:pt x="243115" y="158978"/>
                    <a:pt x="215919" y="221530"/>
                    <a:pt x="275751" y="221530"/>
                  </a:cubicBezTo>
                  <a:cubicBezTo>
                    <a:pt x="362780" y="221530"/>
                    <a:pt x="373658" y="63790"/>
                    <a:pt x="270312" y="69229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/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25498461-453E-4B01-AC09-28EB4FE30933}"/>
                </a:ext>
              </a:extLst>
            </p:cNvPr>
            <p:cNvSpPr/>
            <p:nvPr/>
          </p:nvSpPr>
          <p:spPr bwMode="black">
            <a:xfrm>
              <a:off x="5693490" y="3475234"/>
              <a:ext cx="337238" cy="364434"/>
            </a:xfrm>
            <a:custGeom>
              <a:avLst/>
              <a:gdLst>
                <a:gd name="connsiteX0" fmla="*/ 180433 w 337238"/>
                <a:gd name="connsiteY0" fmla="*/ 73984 h 364434"/>
                <a:gd name="connsiteX1" fmla="*/ 163180 w 337238"/>
                <a:gd name="connsiteY1" fmla="*/ 78870 h 364434"/>
                <a:gd name="connsiteX2" fmla="*/ 125105 w 337238"/>
                <a:gd name="connsiteY2" fmla="*/ 160461 h 364434"/>
                <a:gd name="connsiteX3" fmla="*/ 171339 w 337238"/>
                <a:gd name="connsiteY3" fmla="*/ 163180 h 364434"/>
                <a:gd name="connsiteX4" fmla="*/ 214854 w 337238"/>
                <a:gd name="connsiteY4" fmla="*/ 108787 h 364434"/>
                <a:gd name="connsiteX5" fmla="*/ 180433 w 337238"/>
                <a:gd name="connsiteY5" fmla="*/ 73984 h 364434"/>
                <a:gd name="connsiteX6" fmla="*/ 174059 w 337238"/>
                <a:gd name="connsiteY6" fmla="*/ 0 h 364434"/>
                <a:gd name="connsiteX7" fmla="*/ 337238 w 337238"/>
                <a:gd name="connsiteY7" fmla="*/ 119665 h 364434"/>
                <a:gd name="connsiteX8" fmla="*/ 133264 w 337238"/>
                <a:gd name="connsiteY8" fmla="*/ 217573 h 364434"/>
                <a:gd name="connsiteX9" fmla="*/ 225732 w 337238"/>
                <a:gd name="connsiteY9" fmla="*/ 277405 h 364434"/>
                <a:gd name="connsiteX10" fmla="*/ 320920 w 337238"/>
                <a:gd name="connsiteY10" fmla="*/ 250208 h 364434"/>
                <a:gd name="connsiteX11" fmla="*/ 174059 w 337238"/>
                <a:gd name="connsiteY11" fmla="*/ 364434 h 364434"/>
                <a:gd name="connsiteX12" fmla="*/ 0 w 337238"/>
                <a:gd name="connsiteY12" fmla="*/ 184937 h 364434"/>
                <a:gd name="connsiteX13" fmla="*/ 174059 w 337238"/>
                <a:gd name="connsiteY13" fmla="*/ 0 h 3644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37238" h="364434">
                  <a:moveTo>
                    <a:pt x="180433" y="73984"/>
                  </a:moveTo>
                  <a:cubicBezTo>
                    <a:pt x="174569" y="73941"/>
                    <a:pt x="168620" y="75471"/>
                    <a:pt x="163180" y="78870"/>
                  </a:cubicBezTo>
                  <a:cubicBezTo>
                    <a:pt x="135984" y="95189"/>
                    <a:pt x="127825" y="130544"/>
                    <a:pt x="125105" y="160461"/>
                  </a:cubicBezTo>
                  <a:cubicBezTo>
                    <a:pt x="125105" y="163180"/>
                    <a:pt x="168620" y="160461"/>
                    <a:pt x="171339" y="163180"/>
                  </a:cubicBezTo>
                  <a:cubicBezTo>
                    <a:pt x="195816" y="157741"/>
                    <a:pt x="214854" y="135984"/>
                    <a:pt x="214854" y="108787"/>
                  </a:cubicBezTo>
                  <a:cubicBezTo>
                    <a:pt x="214854" y="88389"/>
                    <a:pt x="198026" y="74111"/>
                    <a:pt x="180433" y="73984"/>
                  </a:cubicBezTo>
                  <a:close/>
                  <a:moveTo>
                    <a:pt x="174059" y="0"/>
                  </a:moveTo>
                  <a:cubicBezTo>
                    <a:pt x="233891" y="0"/>
                    <a:pt x="337238" y="29916"/>
                    <a:pt x="337238" y="119665"/>
                  </a:cubicBezTo>
                  <a:cubicBezTo>
                    <a:pt x="337238" y="209414"/>
                    <a:pt x="244770" y="217573"/>
                    <a:pt x="133264" y="217573"/>
                  </a:cubicBezTo>
                  <a:cubicBezTo>
                    <a:pt x="133264" y="217573"/>
                    <a:pt x="149581" y="277405"/>
                    <a:pt x="225732" y="277405"/>
                  </a:cubicBezTo>
                  <a:cubicBezTo>
                    <a:pt x="301883" y="277405"/>
                    <a:pt x="320920" y="250208"/>
                    <a:pt x="320920" y="250208"/>
                  </a:cubicBezTo>
                  <a:cubicBezTo>
                    <a:pt x="320920" y="250208"/>
                    <a:pt x="315481" y="364434"/>
                    <a:pt x="174059" y="364434"/>
                  </a:cubicBezTo>
                  <a:cubicBezTo>
                    <a:pt x="95188" y="364434"/>
                    <a:pt x="0" y="304602"/>
                    <a:pt x="0" y="184937"/>
                  </a:cubicBezTo>
                  <a:cubicBezTo>
                    <a:pt x="0" y="78870"/>
                    <a:pt x="73431" y="0"/>
                    <a:pt x="174059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/>
            </a:p>
          </p:txBody>
        </p:sp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id="{29CBDCEB-800E-4D28-B2C3-1A925BFB4697}"/>
                </a:ext>
              </a:extLst>
            </p:cNvPr>
            <p:cNvSpPr/>
            <p:nvPr/>
          </p:nvSpPr>
          <p:spPr bwMode="black">
            <a:xfrm>
              <a:off x="5376945" y="3338014"/>
              <a:ext cx="353556" cy="543931"/>
            </a:xfrm>
            <a:custGeom>
              <a:avLst/>
              <a:gdLst>
                <a:gd name="connsiteX0" fmla="*/ 311107 w 353555"/>
                <a:gd name="connsiteY0" fmla="*/ 433663 h 543931"/>
                <a:gd name="connsiteX1" fmla="*/ 215919 w 353555"/>
                <a:gd name="connsiteY1" fmla="*/ 501654 h 543931"/>
                <a:gd name="connsiteX2" fmla="*/ 98973 w 353555"/>
                <a:gd name="connsiteY2" fmla="*/ 392868 h 543931"/>
                <a:gd name="connsiteX3" fmla="*/ 98973 w 353555"/>
                <a:gd name="connsiteY3" fmla="*/ 221530 h 543931"/>
                <a:gd name="connsiteX4" fmla="*/ 82655 w 353555"/>
                <a:gd name="connsiteY4" fmla="*/ 221530 h 543931"/>
                <a:gd name="connsiteX5" fmla="*/ 58178 w 353555"/>
                <a:gd name="connsiteY5" fmla="*/ 191614 h 543931"/>
                <a:gd name="connsiteX6" fmla="*/ 85375 w 353555"/>
                <a:gd name="connsiteY6" fmla="*/ 164417 h 543931"/>
                <a:gd name="connsiteX7" fmla="*/ 101693 w 353555"/>
                <a:gd name="connsiteY7" fmla="*/ 164417 h 543931"/>
                <a:gd name="connsiteX8" fmla="*/ 101693 w 353555"/>
                <a:gd name="connsiteY8" fmla="*/ 118183 h 543931"/>
                <a:gd name="connsiteX9" fmla="*/ 166965 w 353555"/>
                <a:gd name="connsiteY9" fmla="*/ 58350 h 543931"/>
                <a:gd name="connsiteX10" fmla="*/ 229517 w 353555"/>
                <a:gd name="connsiteY10" fmla="*/ 118183 h 543931"/>
                <a:gd name="connsiteX11" fmla="*/ 229517 w 353555"/>
                <a:gd name="connsiteY11" fmla="*/ 118183 h 543931"/>
                <a:gd name="connsiteX12" fmla="*/ 229517 w 353555"/>
                <a:gd name="connsiteY12" fmla="*/ 164417 h 543931"/>
                <a:gd name="connsiteX13" fmla="*/ 283910 w 353555"/>
                <a:gd name="connsiteY13" fmla="*/ 164417 h 543931"/>
                <a:gd name="connsiteX14" fmla="*/ 308387 w 353555"/>
                <a:gd name="connsiteY14" fmla="*/ 194333 h 543931"/>
                <a:gd name="connsiteX15" fmla="*/ 281190 w 353555"/>
                <a:gd name="connsiteY15" fmla="*/ 221530 h 543931"/>
                <a:gd name="connsiteX16" fmla="*/ 229517 w 353555"/>
                <a:gd name="connsiteY16" fmla="*/ 221530 h 543931"/>
                <a:gd name="connsiteX17" fmla="*/ 229517 w 353555"/>
                <a:gd name="connsiteY17" fmla="*/ 365671 h 543931"/>
                <a:gd name="connsiteX18" fmla="*/ 311107 w 353555"/>
                <a:gd name="connsiteY18" fmla="*/ 433663 h 5439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353555" h="543931">
                  <a:moveTo>
                    <a:pt x="311107" y="433663"/>
                  </a:moveTo>
                  <a:cubicBezTo>
                    <a:pt x="311107" y="433663"/>
                    <a:pt x="278471" y="501654"/>
                    <a:pt x="215919" y="501654"/>
                  </a:cubicBezTo>
                  <a:cubicBezTo>
                    <a:pt x="164245" y="501654"/>
                    <a:pt x="101693" y="458140"/>
                    <a:pt x="98973" y="392868"/>
                  </a:cubicBezTo>
                  <a:cubicBezTo>
                    <a:pt x="98973" y="392868"/>
                    <a:pt x="98973" y="297680"/>
                    <a:pt x="98973" y="221530"/>
                  </a:cubicBezTo>
                  <a:lnTo>
                    <a:pt x="82655" y="221530"/>
                  </a:lnTo>
                  <a:cubicBezTo>
                    <a:pt x="74496" y="221530"/>
                    <a:pt x="58178" y="216090"/>
                    <a:pt x="58178" y="191614"/>
                  </a:cubicBezTo>
                  <a:cubicBezTo>
                    <a:pt x="58178" y="167137"/>
                    <a:pt x="77216" y="164417"/>
                    <a:pt x="85375" y="164417"/>
                  </a:cubicBezTo>
                  <a:lnTo>
                    <a:pt x="101693" y="164417"/>
                  </a:lnTo>
                  <a:cubicBezTo>
                    <a:pt x="101693" y="137220"/>
                    <a:pt x="101693" y="118183"/>
                    <a:pt x="101693" y="118183"/>
                  </a:cubicBezTo>
                  <a:cubicBezTo>
                    <a:pt x="104413" y="85547"/>
                    <a:pt x="134329" y="55631"/>
                    <a:pt x="166965" y="58350"/>
                  </a:cubicBezTo>
                  <a:cubicBezTo>
                    <a:pt x="196881" y="61070"/>
                    <a:pt x="229517" y="85547"/>
                    <a:pt x="229517" y="118183"/>
                  </a:cubicBezTo>
                  <a:lnTo>
                    <a:pt x="229517" y="118183"/>
                  </a:lnTo>
                  <a:lnTo>
                    <a:pt x="229517" y="164417"/>
                  </a:lnTo>
                  <a:lnTo>
                    <a:pt x="283910" y="164417"/>
                  </a:lnTo>
                  <a:cubicBezTo>
                    <a:pt x="292069" y="164417"/>
                    <a:pt x="308387" y="169856"/>
                    <a:pt x="308387" y="194333"/>
                  </a:cubicBezTo>
                  <a:cubicBezTo>
                    <a:pt x="308387" y="218810"/>
                    <a:pt x="292069" y="221530"/>
                    <a:pt x="281190" y="221530"/>
                  </a:cubicBezTo>
                  <a:lnTo>
                    <a:pt x="229517" y="221530"/>
                  </a:lnTo>
                  <a:lnTo>
                    <a:pt x="229517" y="365671"/>
                  </a:lnTo>
                  <a:cubicBezTo>
                    <a:pt x="226797" y="409186"/>
                    <a:pt x="267592" y="433663"/>
                    <a:pt x="311107" y="433663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/>
            </a:p>
          </p:txBody>
        </p:sp>
        <p:sp>
          <p:nvSpPr>
            <p:cNvPr id="35" name="Freeform: Shape 34">
              <a:extLst>
                <a:ext uri="{FF2B5EF4-FFF2-40B4-BE49-F238E27FC236}">
                  <a16:creationId xmlns:a16="http://schemas.microsoft.com/office/drawing/2014/main" id="{81C4C5D3-38A9-48A3-A737-2E1782DEC6C3}"/>
                </a:ext>
              </a:extLst>
            </p:cNvPr>
            <p:cNvSpPr/>
            <p:nvPr/>
          </p:nvSpPr>
          <p:spPr bwMode="black">
            <a:xfrm>
              <a:off x="7090329" y="3338014"/>
              <a:ext cx="353556" cy="543931"/>
            </a:xfrm>
            <a:custGeom>
              <a:avLst/>
              <a:gdLst>
                <a:gd name="connsiteX0" fmla="*/ 311107 w 353555"/>
                <a:gd name="connsiteY0" fmla="*/ 433663 h 543931"/>
                <a:gd name="connsiteX1" fmla="*/ 215919 w 353555"/>
                <a:gd name="connsiteY1" fmla="*/ 501654 h 543931"/>
                <a:gd name="connsiteX2" fmla="*/ 98973 w 353555"/>
                <a:gd name="connsiteY2" fmla="*/ 392868 h 543931"/>
                <a:gd name="connsiteX3" fmla="*/ 98973 w 353555"/>
                <a:gd name="connsiteY3" fmla="*/ 221530 h 543931"/>
                <a:gd name="connsiteX4" fmla="*/ 82655 w 353555"/>
                <a:gd name="connsiteY4" fmla="*/ 221530 h 543931"/>
                <a:gd name="connsiteX5" fmla="*/ 58178 w 353555"/>
                <a:gd name="connsiteY5" fmla="*/ 191614 h 543931"/>
                <a:gd name="connsiteX6" fmla="*/ 85375 w 353555"/>
                <a:gd name="connsiteY6" fmla="*/ 164417 h 543931"/>
                <a:gd name="connsiteX7" fmla="*/ 101693 w 353555"/>
                <a:gd name="connsiteY7" fmla="*/ 164417 h 543931"/>
                <a:gd name="connsiteX8" fmla="*/ 101693 w 353555"/>
                <a:gd name="connsiteY8" fmla="*/ 118183 h 543931"/>
                <a:gd name="connsiteX9" fmla="*/ 166965 w 353555"/>
                <a:gd name="connsiteY9" fmla="*/ 58350 h 543931"/>
                <a:gd name="connsiteX10" fmla="*/ 229517 w 353555"/>
                <a:gd name="connsiteY10" fmla="*/ 118183 h 543931"/>
                <a:gd name="connsiteX11" fmla="*/ 229517 w 353555"/>
                <a:gd name="connsiteY11" fmla="*/ 118183 h 543931"/>
                <a:gd name="connsiteX12" fmla="*/ 229517 w 353555"/>
                <a:gd name="connsiteY12" fmla="*/ 164417 h 543931"/>
                <a:gd name="connsiteX13" fmla="*/ 283910 w 353555"/>
                <a:gd name="connsiteY13" fmla="*/ 164417 h 543931"/>
                <a:gd name="connsiteX14" fmla="*/ 308387 w 353555"/>
                <a:gd name="connsiteY14" fmla="*/ 194333 h 543931"/>
                <a:gd name="connsiteX15" fmla="*/ 281190 w 353555"/>
                <a:gd name="connsiteY15" fmla="*/ 221530 h 543931"/>
                <a:gd name="connsiteX16" fmla="*/ 229517 w 353555"/>
                <a:gd name="connsiteY16" fmla="*/ 221530 h 543931"/>
                <a:gd name="connsiteX17" fmla="*/ 229517 w 353555"/>
                <a:gd name="connsiteY17" fmla="*/ 365671 h 543931"/>
                <a:gd name="connsiteX18" fmla="*/ 311107 w 353555"/>
                <a:gd name="connsiteY18" fmla="*/ 433663 h 5439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353555" h="543931">
                  <a:moveTo>
                    <a:pt x="311107" y="433663"/>
                  </a:moveTo>
                  <a:cubicBezTo>
                    <a:pt x="311107" y="433663"/>
                    <a:pt x="278471" y="501654"/>
                    <a:pt x="215919" y="501654"/>
                  </a:cubicBezTo>
                  <a:cubicBezTo>
                    <a:pt x="164245" y="501654"/>
                    <a:pt x="101693" y="458140"/>
                    <a:pt x="98973" y="392868"/>
                  </a:cubicBezTo>
                  <a:cubicBezTo>
                    <a:pt x="98973" y="392868"/>
                    <a:pt x="98973" y="297680"/>
                    <a:pt x="98973" y="221530"/>
                  </a:cubicBezTo>
                  <a:lnTo>
                    <a:pt x="82655" y="221530"/>
                  </a:lnTo>
                  <a:cubicBezTo>
                    <a:pt x="74496" y="221530"/>
                    <a:pt x="58178" y="216090"/>
                    <a:pt x="58178" y="191614"/>
                  </a:cubicBezTo>
                  <a:cubicBezTo>
                    <a:pt x="58178" y="167137"/>
                    <a:pt x="77216" y="164417"/>
                    <a:pt x="85375" y="164417"/>
                  </a:cubicBezTo>
                  <a:lnTo>
                    <a:pt x="101693" y="164417"/>
                  </a:lnTo>
                  <a:cubicBezTo>
                    <a:pt x="101693" y="137220"/>
                    <a:pt x="101693" y="118183"/>
                    <a:pt x="101693" y="118183"/>
                  </a:cubicBezTo>
                  <a:cubicBezTo>
                    <a:pt x="104412" y="85547"/>
                    <a:pt x="134329" y="55631"/>
                    <a:pt x="166965" y="58350"/>
                  </a:cubicBezTo>
                  <a:cubicBezTo>
                    <a:pt x="196881" y="61070"/>
                    <a:pt x="229517" y="85547"/>
                    <a:pt x="229517" y="118183"/>
                  </a:cubicBezTo>
                  <a:lnTo>
                    <a:pt x="229517" y="118183"/>
                  </a:lnTo>
                  <a:lnTo>
                    <a:pt x="229517" y="164417"/>
                  </a:lnTo>
                  <a:lnTo>
                    <a:pt x="283910" y="164417"/>
                  </a:lnTo>
                  <a:cubicBezTo>
                    <a:pt x="292069" y="164417"/>
                    <a:pt x="308387" y="169856"/>
                    <a:pt x="308387" y="194333"/>
                  </a:cubicBezTo>
                  <a:cubicBezTo>
                    <a:pt x="308387" y="218810"/>
                    <a:pt x="292069" y="221530"/>
                    <a:pt x="281190" y="221530"/>
                  </a:cubicBezTo>
                  <a:lnTo>
                    <a:pt x="229517" y="221530"/>
                  </a:lnTo>
                  <a:lnTo>
                    <a:pt x="229517" y="365671"/>
                  </a:lnTo>
                  <a:cubicBezTo>
                    <a:pt x="229517" y="409186"/>
                    <a:pt x="270312" y="433663"/>
                    <a:pt x="311107" y="433663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/>
            </a:p>
          </p:txBody>
        </p:sp>
        <p:sp>
          <p:nvSpPr>
            <p:cNvPr id="36" name="Freeform: Shape 35">
              <a:extLst>
                <a:ext uri="{FF2B5EF4-FFF2-40B4-BE49-F238E27FC236}">
                  <a16:creationId xmlns:a16="http://schemas.microsoft.com/office/drawing/2014/main" id="{CC67A3C2-5E36-485E-BD0C-74020928665D}"/>
                </a:ext>
              </a:extLst>
            </p:cNvPr>
            <p:cNvSpPr/>
            <p:nvPr/>
          </p:nvSpPr>
          <p:spPr bwMode="black">
            <a:xfrm>
              <a:off x="2080719" y="4178559"/>
              <a:ext cx="462342" cy="788700"/>
            </a:xfrm>
            <a:custGeom>
              <a:avLst/>
              <a:gdLst>
                <a:gd name="connsiteX0" fmla="*/ 403575 w 462341"/>
                <a:gd name="connsiteY0" fmla="*/ 583072 h 788699"/>
                <a:gd name="connsiteX1" fmla="*/ 406295 w 462341"/>
                <a:gd name="connsiteY1" fmla="*/ 596670 h 788699"/>
                <a:gd name="connsiteX2" fmla="*/ 400855 w 462341"/>
                <a:gd name="connsiteY2" fmla="*/ 610268 h 788699"/>
                <a:gd name="connsiteX3" fmla="*/ 389977 w 462341"/>
                <a:gd name="connsiteY3" fmla="*/ 626586 h 788699"/>
                <a:gd name="connsiteX4" fmla="*/ 354621 w 462341"/>
                <a:gd name="connsiteY4" fmla="*/ 675540 h 788699"/>
                <a:gd name="connsiteX5" fmla="*/ 327424 w 462341"/>
                <a:gd name="connsiteY5" fmla="*/ 691858 h 788699"/>
                <a:gd name="connsiteX6" fmla="*/ 292069 w 462341"/>
                <a:gd name="connsiteY6" fmla="*/ 713615 h 788699"/>
                <a:gd name="connsiteX7" fmla="*/ 251274 w 462341"/>
                <a:gd name="connsiteY7" fmla="*/ 724494 h 788699"/>
                <a:gd name="connsiteX8" fmla="*/ 221358 w 462341"/>
                <a:gd name="connsiteY8" fmla="*/ 721774 h 788699"/>
                <a:gd name="connsiteX9" fmla="*/ 191442 w 462341"/>
                <a:gd name="connsiteY9" fmla="*/ 721774 h 788699"/>
                <a:gd name="connsiteX10" fmla="*/ 153366 w 462341"/>
                <a:gd name="connsiteY10" fmla="*/ 713615 h 788699"/>
                <a:gd name="connsiteX11" fmla="*/ 104412 w 462341"/>
                <a:gd name="connsiteY11" fmla="*/ 675540 h 788699"/>
                <a:gd name="connsiteX12" fmla="*/ 104412 w 462341"/>
                <a:gd name="connsiteY12" fmla="*/ 689138 h 788699"/>
                <a:gd name="connsiteX13" fmla="*/ 101693 w 462341"/>
                <a:gd name="connsiteY13" fmla="*/ 710895 h 788699"/>
                <a:gd name="connsiteX14" fmla="*/ 85375 w 462341"/>
                <a:gd name="connsiteY14" fmla="*/ 732653 h 788699"/>
                <a:gd name="connsiteX15" fmla="*/ 69057 w 462341"/>
                <a:gd name="connsiteY15" fmla="*/ 727214 h 788699"/>
                <a:gd name="connsiteX16" fmla="*/ 60898 w 462341"/>
                <a:gd name="connsiteY16" fmla="*/ 710895 h 788699"/>
                <a:gd name="connsiteX17" fmla="*/ 58178 w 462341"/>
                <a:gd name="connsiteY17" fmla="*/ 691858 h 788699"/>
                <a:gd name="connsiteX18" fmla="*/ 60898 w 462341"/>
                <a:gd name="connsiteY18" fmla="*/ 664661 h 788699"/>
                <a:gd name="connsiteX19" fmla="*/ 60898 w 462341"/>
                <a:gd name="connsiteY19" fmla="*/ 607549 h 788699"/>
                <a:gd name="connsiteX20" fmla="*/ 63618 w 462341"/>
                <a:gd name="connsiteY20" fmla="*/ 528679 h 788699"/>
                <a:gd name="connsiteX21" fmla="*/ 69057 w 462341"/>
                <a:gd name="connsiteY21" fmla="*/ 504202 h 788699"/>
                <a:gd name="connsiteX22" fmla="*/ 74496 w 462341"/>
                <a:gd name="connsiteY22" fmla="*/ 493323 h 788699"/>
                <a:gd name="connsiteX23" fmla="*/ 82655 w 462341"/>
                <a:gd name="connsiteY23" fmla="*/ 487884 h 788699"/>
                <a:gd name="connsiteX24" fmla="*/ 90814 w 462341"/>
                <a:gd name="connsiteY24" fmla="*/ 493323 h 788699"/>
                <a:gd name="connsiteX25" fmla="*/ 98973 w 462341"/>
                <a:gd name="connsiteY25" fmla="*/ 512361 h 788699"/>
                <a:gd name="connsiteX26" fmla="*/ 101693 w 462341"/>
                <a:gd name="connsiteY26" fmla="*/ 555875 h 788699"/>
                <a:gd name="connsiteX27" fmla="*/ 101693 w 462341"/>
                <a:gd name="connsiteY27" fmla="*/ 596670 h 788699"/>
                <a:gd name="connsiteX28" fmla="*/ 109852 w 462341"/>
                <a:gd name="connsiteY28" fmla="*/ 626586 h 788699"/>
                <a:gd name="connsiteX29" fmla="*/ 128889 w 462341"/>
                <a:gd name="connsiteY29" fmla="*/ 651063 h 788699"/>
                <a:gd name="connsiteX30" fmla="*/ 153366 w 462341"/>
                <a:gd name="connsiteY30" fmla="*/ 670101 h 788699"/>
                <a:gd name="connsiteX31" fmla="*/ 196881 w 462341"/>
                <a:gd name="connsiteY31" fmla="*/ 678260 h 788699"/>
                <a:gd name="connsiteX32" fmla="*/ 221358 w 462341"/>
                <a:gd name="connsiteY32" fmla="*/ 667381 h 788699"/>
                <a:gd name="connsiteX33" fmla="*/ 253994 w 462341"/>
                <a:gd name="connsiteY33" fmla="*/ 659222 h 788699"/>
                <a:gd name="connsiteX34" fmla="*/ 275751 w 462341"/>
                <a:gd name="connsiteY34" fmla="*/ 637465 h 788699"/>
                <a:gd name="connsiteX35" fmla="*/ 281190 w 462341"/>
                <a:gd name="connsiteY35" fmla="*/ 615708 h 788699"/>
                <a:gd name="connsiteX36" fmla="*/ 278471 w 462341"/>
                <a:gd name="connsiteY36" fmla="*/ 602109 h 788699"/>
                <a:gd name="connsiteX37" fmla="*/ 262153 w 462341"/>
                <a:gd name="connsiteY37" fmla="*/ 572193 h 788699"/>
                <a:gd name="connsiteX38" fmla="*/ 245835 w 462341"/>
                <a:gd name="connsiteY38" fmla="*/ 536838 h 788699"/>
                <a:gd name="connsiteX39" fmla="*/ 196881 w 462341"/>
                <a:gd name="connsiteY39" fmla="*/ 477005 h 788699"/>
                <a:gd name="connsiteX40" fmla="*/ 145207 w 462341"/>
                <a:gd name="connsiteY40" fmla="*/ 419892 h 788699"/>
                <a:gd name="connsiteX41" fmla="*/ 93534 w 462341"/>
                <a:gd name="connsiteY41" fmla="*/ 357340 h 788699"/>
                <a:gd name="connsiteX42" fmla="*/ 66337 w 462341"/>
                <a:gd name="connsiteY42" fmla="*/ 283910 h 788699"/>
                <a:gd name="connsiteX43" fmla="*/ 58178 w 462341"/>
                <a:gd name="connsiteY43" fmla="*/ 224077 h 788699"/>
                <a:gd name="connsiteX44" fmla="*/ 82655 w 462341"/>
                <a:gd name="connsiteY44" fmla="*/ 150647 h 788699"/>
                <a:gd name="connsiteX45" fmla="*/ 137048 w 462341"/>
                <a:gd name="connsiteY45" fmla="*/ 96253 h 788699"/>
                <a:gd name="connsiteX46" fmla="*/ 196881 w 462341"/>
                <a:gd name="connsiteY46" fmla="*/ 77216 h 788699"/>
                <a:gd name="connsiteX47" fmla="*/ 232236 w 462341"/>
                <a:gd name="connsiteY47" fmla="*/ 69057 h 788699"/>
                <a:gd name="connsiteX48" fmla="*/ 262153 w 462341"/>
                <a:gd name="connsiteY48" fmla="*/ 74496 h 788699"/>
                <a:gd name="connsiteX49" fmla="*/ 294789 w 462341"/>
                <a:gd name="connsiteY49" fmla="*/ 85375 h 788699"/>
                <a:gd name="connsiteX50" fmla="*/ 327424 w 462341"/>
                <a:gd name="connsiteY50" fmla="*/ 104412 h 788699"/>
                <a:gd name="connsiteX51" fmla="*/ 332864 w 462341"/>
                <a:gd name="connsiteY51" fmla="*/ 74496 h 788699"/>
                <a:gd name="connsiteX52" fmla="*/ 338303 w 462341"/>
                <a:gd name="connsiteY52" fmla="*/ 63618 h 788699"/>
                <a:gd name="connsiteX53" fmla="*/ 349182 w 462341"/>
                <a:gd name="connsiteY53" fmla="*/ 58178 h 788699"/>
                <a:gd name="connsiteX54" fmla="*/ 357341 w 462341"/>
                <a:gd name="connsiteY54" fmla="*/ 63618 h 788699"/>
                <a:gd name="connsiteX55" fmla="*/ 365500 w 462341"/>
                <a:gd name="connsiteY55" fmla="*/ 82655 h 788699"/>
                <a:gd name="connsiteX56" fmla="*/ 368219 w 462341"/>
                <a:gd name="connsiteY56" fmla="*/ 142488 h 788699"/>
                <a:gd name="connsiteX57" fmla="*/ 368219 w 462341"/>
                <a:gd name="connsiteY57" fmla="*/ 188722 h 788699"/>
                <a:gd name="connsiteX58" fmla="*/ 370939 w 462341"/>
                <a:gd name="connsiteY58" fmla="*/ 245834 h 788699"/>
                <a:gd name="connsiteX59" fmla="*/ 354621 w 462341"/>
                <a:gd name="connsiteY59" fmla="*/ 286629 h 788699"/>
                <a:gd name="connsiteX60" fmla="*/ 338303 w 462341"/>
                <a:gd name="connsiteY60" fmla="*/ 281190 h 788699"/>
                <a:gd name="connsiteX61" fmla="*/ 330144 w 462341"/>
                <a:gd name="connsiteY61" fmla="*/ 264872 h 788699"/>
                <a:gd name="connsiteX62" fmla="*/ 327424 w 462341"/>
                <a:gd name="connsiteY62" fmla="*/ 248554 h 788699"/>
                <a:gd name="connsiteX63" fmla="*/ 330144 w 462341"/>
                <a:gd name="connsiteY63" fmla="*/ 221357 h 788699"/>
                <a:gd name="connsiteX64" fmla="*/ 330144 w 462341"/>
                <a:gd name="connsiteY64" fmla="*/ 188722 h 788699"/>
                <a:gd name="connsiteX65" fmla="*/ 327424 w 462341"/>
                <a:gd name="connsiteY65" fmla="*/ 164245 h 788699"/>
                <a:gd name="connsiteX66" fmla="*/ 311107 w 462341"/>
                <a:gd name="connsiteY66" fmla="*/ 134329 h 788699"/>
                <a:gd name="connsiteX67" fmla="*/ 283910 w 462341"/>
                <a:gd name="connsiteY67" fmla="*/ 118011 h 788699"/>
                <a:gd name="connsiteX68" fmla="*/ 251274 w 462341"/>
                <a:gd name="connsiteY68" fmla="*/ 112571 h 788699"/>
                <a:gd name="connsiteX69" fmla="*/ 215918 w 462341"/>
                <a:gd name="connsiteY69" fmla="*/ 123450 h 788699"/>
                <a:gd name="connsiteX70" fmla="*/ 202320 w 462341"/>
                <a:gd name="connsiteY70" fmla="*/ 147927 h 788699"/>
                <a:gd name="connsiteX71" fmla="*/ 188722 w 462341"/>
                <a:gd name="connsiteY71" fmla="*/ 180563 h 788699"/>
                <a:gd name="connsiteX72" fmla="*/ 183283 w 462341"/>
                <a:gd name="connsiteY72" fmla="*/ 210479 h 788699"/>
                <a:gd name="connsiteX73" fmla="*/ 188722 w 462341"/>
                <a:gd name="connsiteY73" fmla="*/ 226797 h 788699"/>
                <a:gd name="connsiteX74" fmla="*/ 188722 w 462341"/>
                <a:gd name="connsiteY74" fmla="*/ 248554 h 788699"/>
                <a:gd name="connsiteX75" fmla="*/ 210479 w 462341"/>
                <a:gd name="connsiteY75" fmla="*/ 273031 h 788699"/>
                <a:gd name="connsiteX76" fmla="*/ 226797 w 462341"/>
                <a:gd name="connsiteY76" fmla="*/ 300228 h 788699"/>
                <a:gd name="connsiteX77" fmla="*/ 256713 w 462341"/>
                <a:gd name="connsiteY77" fmla="*/ 332864 h 788699"/>
                <a:gd name="connsiteX78" fmla="*/ 275751 w 462341"/>
                <a:gd name="connsiteY78" fmla="*/ 351901 h 788699"/>
                <a:gd name="connsiteX79" fmla="*/ 324705 w 462341"/>
                <a:gd name="connsiteY79" fmla="*/ 400855 h 788699"/>
                <a:gd name="connsiteX80" fmla="*/ 343742 w 462341"/>
                <a:gd name="connsiteY80" fmla="*/ 428051 h 788699"/>
                <a:gd name="connsiteX81" fmla="*/ 351901 w 462341"/>
                <a:gd name="connsiteY81" fmla="*/ 433491 h 788699"/>
                <a:gd name="connsiteX82" fmla="*/ 360060 w 462341"/>
                <a:gd name="connsiteY82" fmla="*/ 447089 h 788699"/>
                <a:gd name="connsiteX83" fmla="*/ 384537 w 462341"/>
                <a:gd name="connsiteY83" fmla="*/ 474286 h 788699"/>
                <a:gd name="connsiteX84" fmla="*/ 395416 w 462341"/>
                <a:gd name="connsiteY84" fmla="*/ 506921 h 788699"/>
                <a:gd name="connsiteX85" fmla="*/ 406295 w 462341"/>
                <a:gd name="connsiteY85" fmla="*/ 536838 h 788699"/>
                <a:gd name="connsiteX86" fmla="*/ 409014 w 462341"/>
                <a:gd name="connsiteY86" fmla="*/ 547716 h 788699"/>
                <a:gd name="connsiteX87" fmla="*/ 406295 w 462341"/>
                <a:gd name="connsiteY87" fmla="*/ 569473 h 788699"/>
                <a:gd name="connsiteX88" fmla="*/ 403575 w 462341"/>
                <a:gd name="connsiteY88" fmla="*/ 583072 h 788699"/>
                <a:gd name="connsiteX89" fmla="*/ 403575 w 462341"/>
                <a:gd name="connsiteY89" fmla="*/ 583072 h 7886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</a:cxnLst>
              <a:rect l="l" t="t" r="r" b="b"/>
              <a:pathLst>
                <a:path w="462341" h="788699">
                  <a:moveTo>
                    <a:pt x="403575" y="583072"/>
                  </a:moveTo>
                  <a:cubicBezTo>
                    <a:pt x="403575" y="588511"/>
                    <a:pt x="406295" y="591231"/>
                    <a:pt x="406295" y="596670"/>
                  </a:cubicBezTo>
                  <a:cubicBezTo>
                    <a:pt x="406295" y="602109"/>
                    <a:pt x="403575" y="604829"/>
                    <a:pt x="400855" y="610268"/>
                  </a:cubicBezTo>
                  <a:cubicBezTo>
                    <a:pt x="398136" y="615708"/>
                    <a:pt x="392696" y="621147"/>
                    <a:pt x="389977" y="626586"/>
                  </a:cubicBezTo>
                  <a:cubicBezTo>
                    <a:pt x="381818" y="645624"/>
                    <a:pt x="368219" y="661942"/>
                    <a:pt x="354621" y="675540"/>
                  </a:cubicBezTo>
                  <a:cubicBezTo>
                    <a:pt x="346462" y="683699"/>
                    <a:pt x="338303" y="686419"/>
                    <a:pt x="327424" y="691858"/>
                  </a:cubicBezTo>
                  <a:cubicBezTo>
                    <a:pt x="316546" y="700017"/>
                    <a:pt x="302948" y="708176"/>
                    <a:pt x="292069" y="713615"/>
                  </a:cubicBezTo>
                  <a:cubicBezTo>
                    <a:pt x="281190" y="719054"/>
                    <a:pt x="264872" y="724494"/>
                    <a:pt x="251274" y="724494"/>
                  </a:cubicBezTo>
                  <a:cubicBezTo>
                    <a:pt x="240395" y="724494"/>
                    <a:pt x="229517" y="721774"/>
                    <a:pt x="221358" y="721774"/>
                  </a:cubicBezTo>
                  <a:cubicBezTo>
                    <a:pt x="213199" y="721774"/>
                    <a:pt x="202320" y="721774"/>
                    <a:pt x="191442" y="721774"/>
                  </a:cubicBezTo>
                  <a:cubicBezTo>
                    <a:pt x="172404" y="721774"/>
                    <a:pt x="172404" y="721774"/>
                    <a:pt x="153366" y="713615"/>
                  </a:cubicBezTo>
                  <a:cubicBezTo>
                    <a:pt x="134329" y="708176"/>
                    <a:pt x="118011" y="691858"/>
                    <a:pt x="104412" y="675540"/>
                  </a:cubicBezTo>
                  <a:cubicBezTo>
                    <a:pt x="104412" y="678260"/>
                    <a:pt x="104412" y="680979"/>
                    <a:pt x="104412" y="689138"/>
                  </a:cubicBezTo>
                  <a:cubicBezTo>
                    <a:pt x="104412" y="694578"/>
                    <a:pt x="104412" y="702737"/>
                    <a:pt x="101693" y="710895"/>
                  </a:cubicBezTo>
                  <a:cubicBezTo>
                    <a:pt x="101693" y="721774"/>
                    <a:pt x="96253" y="732653"/>
                    <a:pt x="85375" y="732653"/>
                  </a:cubicBezTo>
                  <a:cubicBezTo>
                    <a:pt x="77216" y="732653"/>
                    <a:pt x="74496" y="729933"/>
                    <a:pt x="69057" y="727214"/>
                  </a:cubicBezTo>
                  <a:cubicBezTo>
                    <a:pt x="63618" y="724494"/>
                    <a:pt x="60898" y="716335"/>
                    <a:pt x="60898" y="710895"/>
                  </a:cubicBezTo>
                  <a:cubicBezTo>
                    <a:pt x="58178" y="702737"/>
                    <a:pt x="58178" y="697297"/>
                    <a:pt x="58178" y="691858"/>
                  </a:cubicBezTo>
                  <a:cubicBezTo>
                    <a:pt x="58178" y="683699"/>
                    <a:pt x="60898" y="678260"/>
                    <a:pt x="60898" y="664661"/>
                  </a:cubicBezTo>
                  <a:cubicBezTo>
                    <a:pt x="60898" y="656502"/>
                    <a:pt x="60898" y="632026"/>
                    <a:pt x="60898" y="607549"/>
                  </a:cubicBezTo>
                  <a:cubicBezTo>
                    <a:pt x="60898" y="574913"/>
                    <a:pt x="60898" y="542277"/>
                    <a:pt x="63618" y="528679"/>
                  </a:cubicBezTo>
                  <a:cubicBezTo>
                    <a:pt x="63618" y="520520"/>
                    <a:pt x="63618" y="509641"/>
                    <a:pt x="69057" y="504202"/>
                  </a:cubicBezTo>
                  <a:cubicBezTo>
                    <a:pt x="71777" y="501482"/>
                    <a:pt x="71777" y="498762"/>
                    <a:pt x="74496" y="493323"/>
                  </a:cubicBezTo>
                  <a:cubicBezTo>
                    <a:pt x="77216" y="490603"/>
                    <a:pt x="79936" y="487884"/>
                    <a:pt x="82655" y="487884"/>
                  </a:cubicBezTo>
                  <a:cubicBezTo>
                    <a:pt x="85375" y="487884"/>
                    <a:pt x="90814" y="490603"/>
                    <a:pt x="90814" y="493323"/>
                  </a:cubicBezTo>
                  <a:cubicBezTo>
                    <a:pt x="93534" y="498762"/>
                    <a:pt x="98973" y="506921"/>
                    <a:pt x="98973" y="512361"/>
                  </a:cubicBezTo>
                  <a:cubicBezTo>
                    <a:pt x="98973" y="520520"/>
                    <a:pt x="101693" y="536838"/>
                    <a:pt x="101693" y="555875"/>
                  </a:cubicBezTo>
                  <a:cubicBezTo>
                    <a:pt x="101693" y="569473"/>
                    <a:pt x="101693" y="583072"/>
                    <a:pt x="101693" y="596670"/>
                  </a:cubicBezTo>
                  <a:cubicBezTo>
                    <a:pt x="101693" y="607549"/>
                    <a:pt x="104412" y="618427"/>
                    <a:pt x="109852" y="626586"/>
                  </a:cubicBezTo>
                  <a:cubicBezTo>
                    <a:pt x="115291" y="637465"/>
                    <a:pt x="123450" y="642904"/>
                    <a:pt x="128889" y="651063"/>
                  </a:cubicBezTo>
                  <a:cubicBezTo>
                    <a:pt x="137048" y="661942"/>
                    <a:pt x="139768" y="667381"/>
                    <a:pt x="153366" y="670101"/>
                  </a:cubicBezTo>
                  <a:cubicBezTo>
                    <a:pt x="161525" y="670101"/>
                    <a:pt x="183283" y="678260"/>
                    <a:pt x="196881" y="678260"/>
                  </a:cubicBezTo>
                  <a:cubicBezTo>
                    <a:pt x="207759" y="678260"/>
                    <a:pt x="210479" y="672820"/>
                    <a:pt x="221358" y="667381"/>
                  </a:cubicBezTo>
                  <a:cubicBezTo>
                    <a:pt x="232236" y="661942"/>
                    <a:pt x="245835" y="664661"/>
                    <a:pt x="253994" y="659222"/>
                  </a:cubicBezTo>
                  <a:cubicBezTo>
                    <a:pt x="262153" y="653783"/>
                    <a:pt x="273031" y="645624"/>
                    <a:pt x="275751" y="637465"/>
                  </a:cubicBezTo>
                  <a:cubicBezTo>
                    <a:pt x="281190" y="629306"/>
                    <a:pt x="281190" y="621147"/>
                    <a:pt x="281190" y="615708"/>
                  </a:cubicBezTo>
                  <a:cubicBezTo>
                    <a:pt x="281190" y="610268"/>
                    <a:pt x="281190" y="607549"/>
                    <a:pt x="278471" y="602109"/>
                  </a:cubicBezTo>
                  <a:cubicBezTo>
                    <a:pt x="275751" y="591231"/>
                    <a:pt x="267592" y="583072"/>
                    <a:pt x="262153" y="572193"/>
                  </a:cubicBezTo>
                  <a:cubicBezTo>
                    <a:pt x="256713" y="561314"/>
                    <a:pt x="253994" y="547716"/>
                    <a:pt x="245835" y="536838"/>
                  </a:cubicBezTo>
                  <a:cubicBezTo>
                    <a:pt x="232236" y="515080"/>
                    <a:pt x="213199" y="498762"/>
                    <a:pt x="196881" y="477005"/>
                  </a:cubicBezTo>
                  <a:cubicBezTo>
                    <a:pt x="180563" y="457968"/>
                    <a:pt x="164245" y="438930"/>
                    <a:pt x="145207" y="419892"/>
                  </a:cubicBezTo>
                  <a:cubicBezTo>
                    <a:pt x="126170" y="400855"/>
                    <a:pt x="109852" y="379098"/>
                    <a:pt x="93534" y="357340"/>
                  </a:cubicBezTo>
                  <a:cubicBezTo>
                    <a:pt x="77216" y="335583"/>
                    <a:pt x="71777" y="308387"/>
                    <a:pt x="66337" y="283910"/>
                  </a:cubicBezTo>
                  <a:cubicBezTo>
                    <a:pt x="63618" y="267592"/>
                    <a:pt x="58178" y="245834"/>
                    <a:pt x="58178" y="224077"/>
                  </a:cubicBezTo>
                  <a:cubicBezTo>
                    <a:pt x="58178" y="194161"/>
                    <a:pt x="69057" y="175123"/>
                    <a:pt x="82655" y="150647"/>
                  </a:cubicBezTo>
                  <a:cubicBezTo>
                    <a:pt x="96253" y="128889"/>
                    <a:pt x="115291" y="109852"/>
                    <a:pt x="137048" y="96253"/>
                  </a:cubicBezTo>
                  <a:cubicBezTo>
                    <a:pt x="158806" y="82655"/>
                    <a:pt x="172404" y="79936"/>
                    <a:pt x="196881" y="77216"/>
                  </a:cubicBezTo>
                  <a:cubicBezTo>
                    <a:pt x="210479" y="77216"/>
                    <a:pt x="215918" y="69057"/>
                    <a:pt x="232236" y="69057"/>
                  </a:cubicBezTo>
                  <a:cubicBezTo>
                    <a:pt x="243115" y="69057"/>
                    <a:pt x="251274" y="71776"/>
                    <a:pt x="262153" y="74496"/>
                  </a:cubicBezTo>
                  <a:cubicBezTo>
                    <a:pt x="273031" y="77216"/>
                    <a:pt x="283910" y="82655"/>
                    <a:pt x="294789" y="85375"/>
                  </a:cubicBezTo>
                  <a:cubicBezTo>
                    <a:pt x="308387" y="90814"/>
                    <a:pt x="319265" y="96253"/>
                    <a:pt x="327424" y="104412"/>
                  </a:cubicBezTo>
                  <a:cubicBezTo>
                    <a:pt x="327424" y="90814"/>
                    <a:pt x="327424" y="79936"/>
                    <a:pt x="332864" y="74496"/>
                  </a:cubicBezTo>
                  <a:cubicBezTo>
                    <a:pt x="335583" y="71776"/>
                    <a:pt x="335583" y="69057"/>
                    <a:pt x="338303" y="63618"/>
                  </a:cubicBezTo>
                  <a:cubicBezTo>
                    <a:pt x="341023" y="60898"/>
                    <a:pt x="346462" y="58178"/>
                    <a:pt x="349182" y="58178"/>
                  </a:cubicBezTo>
                  <a:cubicBezTo>
                    <a:pt x="351901" y="58178"/>
                    <a:pt x="357341" y="60898"/>
                    <a:pt x="357341" y="63618"/>
                  </a:cubicBezTo>
                  <a:cubicBezTo>
                    <a:pt x="360060" y="69057"/>
                    <a:pt x="365500" y="77216"/>
                    <a:pt x="365500" y="82655"/>
                  </a:cubicBezTo>
                  <a:cubicBezTo>
                    <a:pt x="365500" y="90814"/>
                    <a:pt x="368219" y="123450"/>
                    <a:pt x="368219" y="142488"/>
                  </a:cubicBezTo>
                  <a:cubicBezTo>
                    <a:pt x="368219" y="158806"/>
                    <a:pt x="368219" y="177843"/>
                    <a:pt x="368219" y="188722"/>
                  </a:cubicBezTo>
                  <a:cubicBezTo>
                    <a:pt x="368219" y="213199"/>
                    <a:pt x="370939" y="224077"/>
                    <a:pt x="370939" y="245834"/>
                  </a:cubicBezTo>
                  <a:cubicBezTo>
                    <a:pt x="370939" y="256713"/>
                    <a:pt x="370939" y="286629"/>
                    <a:pt x="354621" y="286629"/>
                  </a:cubicBezTo>
                  <a:cubicBezTo>
                    <a:pt x="346462" y="286629"/>
                    <a:pt x="343742" y="283910"/>
                    <a:pt x="338303" y="281190"/>
                  </a:cubicBezTo>
                  <a:cubicBezTo>
                    <a:pt x="332864" y="278470"/>
                    <a:pt x="330144" y="270311"/>
                    <a:pt x="330144" y="264872"/>
                  </a:cubicBezTo>
                  <a:cubicBezTo>
                    <a:pt x="327424" y="256713"/>
                    <a:pt x="327424" y="251274"/>
                    <a:pt x="327424" y="248554"/>
                  </a:cubicBezTo>
                  <a:cubicBezTo>
                    <a:pt x="327424" y="240395"/>
                    <a:pt x="330144" y="234956"/>
                    <a:pt x="330144" y="221357"/>
                  </a:cubicBezTo>
                  <a:cubicBezTo>
                    <a:pt x="330144" y="213199"/>
                    <a:pt x="330144" y="202320"/>
                    <a:pt x="330144" y="188722"/>
                  </a:cubicBezTo>
                  <a:cubicBezTo>
                    <a:pt x="330144" y="180563"/>
                    <a:pt x="327424" y="172404"/>
                    <a:pt x="327424" y="164245"/>
                  </a:cubicBezTo>
                  <a:cubicBezTo>
                    <a:pt x="324705" y="153366"/>
                    <a:pt x="319265" y="142488"/>
                    <a:pt x="311107" y="134329"/>
                  </a:cubicBezTo>
                  <a:cubicBezTo>
                    <a:pt x="302948" y="126170"/>
                    <a:pt x="294789" y="120730"/>
                    <a:pt x="283910" y="118011"/>
                  </a:cubicBezTo>
                  <a:cubicBezTo>
                    <a:pt x="275751" y="115291"/>
                    <a:pt x="262153" y="112571"/>
                    <a:pt x="251274" y="112571"/>
                  </a:cubicBezTo>
                  <a:cubicBezTo>
                    <a:pt x="237676" y="112571"/>
                    <a:pt x="224077" y="115291"/>
                    <a:pt x="215918" y="123450"/>
                  </a:cubicBezTo>
                  <a:cubicBezTo>
                    <a:pt x="207759" y="128889"/>
                    <a:pt x="205040" y="139768"/>
                    <a:pt x="202320" y="147927"/>
                  </a:cubicBezTo>
                  <a:cubicBezTo>
                    <a:pt x="196881" y="158806"/>
                    <a:pt x="191442" y="166964"/>
                    <a:pt x="188722" y="180563"/>
                  </a:cubicBezTo>
                  <a:cubicBezTo>
                    <a:pt x="186002" y="191441"/>
                    <a:pt x="183283" y="199600"/>
                    <a:pt x="183283" y="210479"/>
                  </a:cubicBezTo>
                  <a:cubicBezTo>
                    <a:pt x="183283" y="215918"/>
                    <a:pt x="186002" y="221357"/>
                    <a:pt x="188722" y="226797"/>
                  </a:cubicBezTo>
                  <a:cubicBezTo>
                    <a:pt x="191442" y="234956"/>
                    <a:pt x="188722" y="243115"/>
                    <a:pt x="188722" y="248554"/>
                  </a:cubicBezTo>
                  <a:cubicBezTo>
                    <a:pt x="191442" y="259433"/>
                    <a:pt x="202320" y="264872"/>
                    <a:pt x="210479" y="273031"/>
                  </a:cubicBezTo>
                  <a:cubicBezTo>
                    <a:pt x="218638" y="281190"/>
                    <a:pt x="221358" y="292069"/>
                    <a:pt x="226797" y="300228"/>
                  </a:cubicBezTo>
                  <a:cubicBezTo>
                    <a:pt x="234956" y="311106"/>
                    <a:pt x="245835" y="321985"/>
                    <a:pt x="256713" y="332864"/>
                  </a:cubicBezTo>
                  <a:cubicBezTo>
                    <a:pt x="259433" y="338303"/>
                    <a:pt x="267592" y="343742"/>
                    <a:pt x="275751" y="351901"/>
                  </a:cubicBezTo>
                  <a:cubicBezTo>
                    <a:pt x="292069" y="368219"/>
                    <a:pt x="311107" y="384537"/>
                    <a:pt x="324705" y="400855"/>
                  </a:cubicBezTo>
                  <a:cubicBezTo>
                    <a:pt x="332864" y="409014"/>
                    <a:pt x="335583" y="419892"/>
                    <a:pt x="343742" y="428051"/>
                  </a:cubicBezTo>
                  <a:cubicBezTo>
                    <a:pt x="346462" y="430771"/>
                    <a:pt x="349182" y="430771"/>
                    <a:pt x="351901" y="433491"/>
                  </a:cubicBezTo>
                  <a:cubicBezTo>
                    <a:pt x="354621" y="436210"/>
                    <a:pt x="357341" y="441650"/>
                    <a:pt x="360060" y="447089"/>
                  </a:cubicBezTo>
                  <a:cubicBezTo>
                    <a:pt x="368219" y="455248"/>
                    <a:pt x="376378" y="463407"/>
                    <a:pt x="384537" y="474286"/>
                  </a:cubicBezTo>
                  <a:cubicBezTo>
                    <a:pt x="389977" y="482445"/>
                    <a:pt x="392696" y="496043"/>
                    <a:pt x="395416" y="506921"/>
                  </a:cubicBezTo>
                  <a:cubicBezTo>
                    <a:pt x="400855" y="517800"/>
                    <a:pt x="400855" y="528679"/>
                    <a:pt x="406295" y="536838"/>
                  </a:cubicBezTo>
                  <a:cubicBezTo>
                    <a:pt x="409014" y="539557"/>
                    <a:pt x="409014" y="544997"/>
                    <a:pt x="409014" y="547716"/>
                  </a:cubicBezTo>
                  <a:cubicBezTo>
                    <a:pt x="409014" y="555875"/>
                    <a:pt x="406295" y="561314"/>
                    <a:pt x="406295" y="569473"/>
                  </a:cubicBezTo>
                  <a:cubicBezTo>
                    <a:pt x="406295" y="574913"/>
                    <a:pt x="403575" y="577632"/>
                    <a:pt x="403575" y="583072"/>
                  </a:cubicBezTo>
                  <a:lnTo>
                    <a:pt x="403575" y="583072"/>
                  </a:ln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/>
            </a:p>
          </p:txBody>
        </p:sp>
        <p:sp>
          <p:nvSpPr>
            <p:cNvPr id="37" name="Freeform: Shape 36">
              <a:extLst>
                <a:ext uri="{FF2B5EF4-FFF2-40B4-BE49-F238E27FC236}">
                  <a16:creationId xmlns:a16="http://schemas.microsoft.com/office/drawing/2014/main" id="{EED642CE-A789-4786-8A92-D88EC62AC133}"/>
                </a:ext>
              </a:extLst>
            </p:cNvPr>
            <p:cNvSpPr/>
            <p:nvPr/>
          </p:nvSpPr>
          <p:spPr bwMode="black">
            <a:xfrm>
              <a:off x="2456032" y="4192158"/>
              <a:ext cx="571128" cy="761503"/>
            </a:xfrm>
            <a:custGeom>
              <a:avLst/>
              <a:gdLst>
                <a:gd name="connsiteX0" fmla="*/ 512361 w 571128"/>
                <a:gd name="connsiteY0" fmla="*/ 79936 h 761503"/>
                <a:gd name="connsiteX1" fmla="*/ 539558 w 571128"/>
                <a:gd name="connsiteY1" fmla="*/ 96253 h 761503"/>
                <a:gd name="connsiteX2" fmla="*/ 534118 w 571128"/>
                <a:gd name="connsiteY2" fmla="*/ 112571 h 761503"/>
                <a:gd name="connsiteX3" fmla="*/ 523240 w 571128"/>
                <a:gd name="connsiteY3" fmla="*/ 120730 h 761503"/>
                <a:gd name="connsiteX4" fmla="*/ 506922 w 571128"/>
                <a:gd name="connsiteY4" fmla="*/ 123450 h 761503"/>
                <a:gd name="connsiteX5" fmla="*/ 477006 w 571128"/>
                <a:gd name="connsiteY5" fmla="*/ 123450 h 761503"/>
                <a:gd name="connsiteX6" fmla="*/ 479725 w 571128"/>
                <a:gd name="connsiteY6" fmla="*/ 145207 h 761503"/>
                <a:gd name="connsiteX7" fmla="*/ 477006 w 571128"/>
                <a:gd name="connsiteY7" fmla="*/ 180563 h 761503"/>
                <a:gd name="connsiteX8" fmla="*/ 482445 w 571128"/>
                <a:gd name="connsiteY8" fmla="*/ 232236 h 761503"/>
                <a:gd name="connsiteX9" fmla="*/ 485165 w 571128"/>
                <a:gd name="connsiteY9" fmla="*/ 283910 h 761503"/>
                <a:gd name="connsiteX10" fmla="*/ 485165 w 571128"/>
                <a:gd name="connsiteY10" fmla="*/ 327424 h 761503"/>
                <a:gd name="connsiteX11" fmla="*/ 487884 w 571128"/>
                <a:gd name="connsiteY11" fmla="*/ 373658 h 761503"/>
                <a:gd name="connsiteX12" fmla="*/ 485165 w 571128"/>
                <a:gd name="connsiteY12" fmla="*/ 419892 h 761503"/>
                <a:gd name="connsiteX13" fmla="*/ 485165 w 571128"/>
                <a:gd name="connsiteY13" fmla="*/ 463407 h 761503"/>
                <a:gd name="connsiteX14" fmla="*/ 482445 w 571128"/>
                <a:gd name="connsiteY14" fmla="*/ 515080 h 761503"/>
                <a:gd name="connsiteX15" fmla="*/ 482445 w 571128"/>
                <a:gd name="connsiteY15" fmla="*/ 558595 h 761503"/>
                <a:gd name="connsiteX16" fmla="*/ 479725 w 571128"/>
                <a:gd name="connsiteY16" fmla="*/ 602109 h 761503"/>
                <a:gd name="connsiteX17" fmla="*/ 485165 w 571128"/>
                <a:gd name="connsiteY17" fmla="*/ 648343 h 761503"/>
                <a:gd name="connsiteX18" fmla="*/ 474286 w 571128"/>
                <a:gd name="connsiteY18" fmla="*/ 675540 h 761503"/>
                <a:gd name="connsiteX19" fmla="*/ 428052 w 571128"/>
                <a:gd name="connsiteY19" fmla="*/ 691858 h 761503"/>
                <a:gd name="connsiteX20" fmla="*/ 387257 w 571128"/>
                <a:gd name="connsiteY20" fmla="*/ 683699 h 761503"/>
                <a:gd name="connsiteX21" fmla="*/ 351901 w 571128"/>
                <a:gd name="connsiteY21" fmla="*/ 664661 h 761503"/>
                <a:gd name="connsiteX22" fmla="*/ 305667 w 571128"/>
                <a:gd name="connsiteY22" fmla="*/ 596670 h 761503"/>
                <a:gd name="connsiteX23" fmla="*/ 270312 w 571128"/>
                <a:gd name="connsiteY23" fmla="*/ 509641 h 761503"/>
                <a:gd name="connsiteX24" fmla="*/ 251274 w 571128"/>
                <a:gd name="connsiteY24" fmla="*/ 460687 h 761503"/>
                <a:gd name="connsiteX25" fmla="*/ 224077 w 571128"/>
                <a:gd name="connsiteY25" fmla="*/ 381817 h 761503"/>
                <a:gd name="connsiteX26" fmla="*/ 207759 w 571128"/>
                <a:gd name="connsiteY26" fmla="*/ 330144 h 761503"/>
                <a:gd name="connsiteX27" fmla="*/ 191442 w 571128"/>
                <a:gd name="connsiteY27" fmla="*/ 286629 h 761503"/>
                <a:gd name="connsiteX28" fmla="*/ 183283 w 571128"/>
                <a:gd name="connsiteY28" fmla="*/ 278470 h 761503"/>
                <a:gd name="connsiteX29" fmla="*/ 180563 w 571128"/>
                <a:gd name="connsiteY29" fmla="*/ 292069 h 761503"/>
                <a:gd name="connsiteX30" fmla="*/ 180563 w 571128"/>
                <a:gd name="connsiteY30" fmla="*/ 305667 h 761503"/>
                <a:gd name="connsiteX31" fmla="*/ 183283 w 571128"/>
                <a:gd name="connsiteY31" fmla="*/ 354621 h 761503"/>
                <a:gd name="connsiteX32" fmla="*/ 188722 w 571128"/>
                <a:gd name="connsiteY32" fmla="*/ 449809 h 761503"/>
                <a:gd name="connsiteX33" fmla="*/ 188722 w 571128"/>
                <a:gd name="connsiteY33" fmla="*/ 479725 h 761503"/>
                <a:gd name="connsiteX34" fmla="*/ 188722 w 571128"/>
                <a:gd name="connsiteY34" fmla="*/ 542277 h 761503"/>
                <a:gd name="connsiteX35" fmla="*/ 186002 w 571128"/>
                <a:gd name="connsiteY35" fmla="*/ 615708 h 761503"/>
                <a:gd name="connsiteX36" fmla="*/ 186002 w 571128"/>
                <a:gd name="connsiteY36" fmla="*/ 637465 h 761503"/>
                <a:gd name="connsiteX37" fmla="*/ 183283 w 571128"/>
                <a:gd name="connsiteY37" fmla="*/ 664661 h 761503"/>
                <a:gd name="connsiteX38" fmla="*/ 226797 w 571128"/>
                <a:gd name="connsiteY38" fmla="*/ 664661 h 761503"/>
                <a:gd name="connsiteX39" fmla="*/ 253994 w 571128"/>
                <a:gd name="connsiteY39" fmla="*/ 680979 h 761503"/>
                <a:gd name="connsiteX40" fmla="*/ 248554 w 571128"/>
                <a:gd name="connsiteY40" fmla="*/ 697297 h 761503"/>
                <a:gd name="connsiteX41" fmla="*/ 234956 w 571128"/>
                <a:gd name="connsiteY41" fmla="*/ 705456 h 761503"/>
                <a:gd name="connsiteX42" fmla="*/ 218638 w 571128"/>
                <a:gd name="connsiteY42" fmla="*/ 708176 h 761503"/>
                <a:gd name="connsiteX43" fmla="*/ 183283 w 571128"/>
                <a:gd name="connsiteY43" fmla="*/ 708176 h 761503"/>
                <a:gd name="connsiteX44" fmla="*/ 150647 w 571128"/>
                <a:gd name="connsiteY44" fmla="*/ 708176 h 761503"/>
                <a:gd name="connsiteX45" fmla="*/ 107132 w 571128"/>
                <a:gd name="connsiteY45" fmla="*/ 708176 h 761503"/>
                <a:gd name="connsiteX46" fmla="*/ 88094 w 571128"/>
                <a:gd name="connsiteY46" fmla="*/ 708176 h 761503"/>
                <a:gd name="connsiteX47" fmla="*/ 69057 w 571128"/>
                <a:gd name="connsiteY47" fmla="*/ 702737 h 761503"/>
                <a:gd name="connsiteX48" fmla="*/ 58178 w 571128"/>
                <a:gd name="connsiteY48" fmla="*/ 686419 h 761503"/>
                <a:gd name="connsiteX49" fmla="*/ 60898 w 571128"/>
                <a:gd name="connsiteY49" fmla="*/ 678260 h 761503"/>
                <a:gd name="connsiteX50" fmla="*/ 77216 w 571128"/>
                <a:gd name="connsiteY50" fmla="*/ 670101 h 761503"/>
                <a:gd name="connsiteX51" fmla="*/ 120730 w 571128"/>
                <a:gd name="connsiteY51" fmla="*/ 664661 h 761503"/>
                <a:gd name="connsiteX52" fmla="*/ 131609 w 571128"/>
                <a:gd name="connsiteY52" fmla="*/ 664661 h 761503"/>
                <a:gd name="connsiteX53" fmla="*/ 134329 w 571128"/>
                <a:gd name="connsiteY53" fmla="*/ 539557 h 761503"/>
                <a:gd name="connsiteX54" fmla="*/ 134329 w 571128"/>
                <a:gd name="connsiteY54" fmla="*/ 504202 h 761503"/>
                <a:gd name="connsiteX55" fmla="*/ 131609 w 571128"/>
                <a:gd name="connsiteY55" fmla="*/ 376378 h 761503"/>
                <a:gd name="connsiteX56" fmla="*/ 131609 w 571128"/>
                <a:gd name="connsiteY56" fmla="*/ 302947 h 761503"/>
                <a:gd name="connsiteX57" fmla="*/ 134329 w 571128"/>
                <a:gd name="connsiteY57" fmla="*/ 221357 h 761503"/>
                <a:gd name="connsiteX58" fmla="*/ 137048 w 571128"/>
                <a:gd name="connsiteY58" fmla="*/ 123450 h 761503"/>
                <a:gd name="connsiteX59" fmla="*/ 107132 w 571128"/>
                <a:gd name="connsiteY59" fmla="*/ 123450 h 761503"/>
                <a:gd name="connsiteX60" fmla="*/ 88094 w 571128"/>
                <a:gd name="connsiteY60" fmla="*/ 123450 h 761503"/>
                <a:gd name="connsiteX61" fmla="*/ 69057 w 571128"/>
                <a:gd name="connsiteY61" fmla="*/ 118011 h 761503"/>
                <a:gd name="connsiteX62" fmla="*/ 58178 w 571128"/>
                <a:gd name="connsiteY62" fmla="*/ 101693 h 761503"/>
                <a:gd name="connsiteX63" fmla="*/ 60898 w 571128"/>
                <a:gd name="connsiteY63" fmla="*/ 93534 h 761503"/>
                <a:gd name="connsiteX64" fmla="*/ 77216 w 571128"/>
                <a:gd name="connsiteY64" fmla="*/ 85375 h 761503"/>
                <a:gd name="connsiteX65" fmla="*/ 131609 w 571128"/>
                <a:gd name="connsiteY65" fmla="*/ 79936 h 761503"/>
                <a:gd name="connsiteX66" fmla="*/ 161525 w 571128"/>
                <a:gd name="connsiteY66" fmla="*/ 79936 h 761503"/>
                <a:gd name="connsiteX67" fmla="*/ 177843 w 571128"/>
                <a:gd name="connsiteY67" fmla="*/ 66337 h 761503"/>
                <a:gd name="connsiteX68" fmla="*/ 202320 w 571128"/>
                <a:gd name="connsiteY68" fmla="*/ 58178 h 761503"/>
                <a:gd name="connsiteX69" fmla="*/ 234956 w 571128"/>
                <a:gd name="connsiteY69" fmla="*/ 77216 h 761503"/>
                <a:gd name="connsiteX70" fmla="*/ 251274 w 571128"/>
                <a:gd name="connsiteY70" fmla="*/ 107132 h 761503"/>
                <a:gd name="connsiteX71" fmla="*/ 267592 w 571128"/>
                <a:gd name="connsiteY71" fmla="*/ 147927 h 761503"/>
                <a:gd name="connsiteX72" fmla="*/ 281190 w 571128"/>
                <a:gd name="connsiteY72" fmla="*/ 183282 h 761503"/>
                <a:gd name="connsiteX73" fmla="*/ 297508 w 571128"/>
                <a:gd name="connsiteY73" fmla="*/ 224077 h 761503"/>
                <a:gd name="connsiteX74" fmla="*/ 308387 w 571128"/>
                <a:gd name="connsiteY74" fmla="*/ 264872 h 761503"/>
                <a:gd name="connsiteX75" fmla="*/ 319265 w 571128"/>
                <a:gd name="connsiteY75" fmla="*/ 300228 h 761503"/>
                <a:gd name="connsiteX76" fmla="*/ 351901 w 571128"/>
                <a:gd name="connsiteY76" fmla="*/ 379098 h 761503"/>
                <a:gd name="connsiteX77" fmla="*/ 365500 w 571128"/>
                <a:gd name="connsiteY77" fmla="*/ 417173 h 761503"/>
                <a:gd name="connsiteX78" fmla="*/ 379098 w 571128"/>
                <a:gd name="connsiteY78" fmla="*/ 457968 h 761503"/>
                <a:gd name="connsiteX79" fmla="*/ 395416 w 571128"/>
                <a:gd name="connsiteY79" fmla="*/ 496043 h 761503"/>
                <a:gd name="connsiteX80" fmla="*/ 406295 w 571128"/>
                <a:gd name="connsiteY80" fmla="*/ 512361 h 761503"/>
                <a:gd name="connsiteX81" fmla="*/ 411734 w 571128"/>
                <a:gd name="connsiteY81" fmla="*/ 531398 h 761503"/>
                <a:gd name="connsiteX82" fmla="*/ 419893 w 571128"/>
                <a:gd name="connsiteY82" fmla="*/ 558595 h 761503"/>
                <a:gd name="connsiteX83" fmla="*/ 425332 w 571128"/>
                <a:gd name="connsiteY83" fmla="*/ 564034 h 761503"/>
                <a:gd name="connsiteX84" fmla="*/ 430771 w 571128"/>
                <a:gd name="connsiteY84" fmla="*/ 558595 h 761503"/>
                <a:gd name="connsiteX85" fmla="*/ 430771 w 571128"/>
                <a:gd name="connsiteY85" fmla="*/ 550436 h 761503"/>
                <a:gd name="connsiteX86" fmla="*/ 430771 w 571128"/>
                <a:gd name="connsiteY86" fmla="*/ 501482 h 761503"/>
                <a:gd name="connsiteX87" fmla="*/ 430771 w 571128"/>
                <a:gd name="connsiteY87" fmla="*/ 403575 h 761503"/>
                <a:gd name="connsiteX88" fmla="*/ 425332 w 571128"/>
                <a:gd name="connsiteY88" fmla="*/ 313826 h 761503"/>
                <a:gd name="connsiteX89" fmla="*/ 425332 w 571128"/>
                <a:gd name="connsiteY89" fmla="*/ 248554 h 761503"/>
                <a:gd name="connsiteX90" fmla="*/ 425332 w 571128"/>
                <a:gd name="connsiteY90" fmla="*/ 210479 h 761503"/>
                <a:gd name="connsiteX91" fmla="*/ 422613 w 571128"/>
                <a:gd name="connsiteY91" fmla="*/ 153366 h 761503"/>
                <a:gd name="connsiteX92" fmla="*/ 425332 w 571128"/>
                <a:gd name="connsiteY92" fmla="*/ 123450 h 761503"/>
                <a:gd name="connsiteX93" fmla="*/ 398136 w 571128"/>
                <a:gd name="connsiteY93" fmla="*/ 123450 h 761503"/>
                <a:gd name="connsiteX94" fmla="*/ 379098 w 571128"/>
                <a:gd name="connsiteY94" fmla="*/ 123450 h 761503"/>
                <a:gd name="connsiteX95" fmla="*/ 360060 w 571128"/>
                <a:gd name="connsiteY95" fmla="*/ 118011 h 761503"/>
                <a:gd name="connsiteX96" fmla="*/ 349182 w 571128"/>
                <a:gd name="connsiteY96" fmla="*/ 101693 h 761503"/>
                <a:gd name="connsiteX97" fmla="*/ 351901 w 571128"/>
                <a:gd name="connsiteY97" fmla="*/ 93534 h 761503"/>
                <a:gd name="connsiteX98" fmla="*/ 368219 w 571128"/>
                <a:gd name="connsiteY98" fmla="*/ 85375 h 761503"/>
                <a:gd name="connsiteX99" fmla="*/ 422613 w 571128"/>
                <a:gd name="connsiteY99" fmla="*/ 79936 h 761503"/>
                <a:gd name="connsiteX100" fmla="*/ 444370 w 571128"/>
                <a:gd name="connsiteY100" fmla="*/ 79936 h 761503"/>
                <a:gd name="connsiteX101" fmla="*/ 463407 w 571128"/>
                <a:gd name="connsiteY101" fmla="*/ 71776 h 761503"/>
                <a:gd name="connsiteX102" fmla="*/ 477006 w 571128"/>
                <a:gd name="connsiteY102" fmla="*/ 79936 h 761503"/>
                <a:gd name="connsiteX103" fmla="*/ 512361 w 571128"/>
                <a:gd name="connsiteY103" fmla="*/ 79936 h 761503"/>
                <a:gd name="connsiteX104" fmla="*/ 512361 w 571128"/>
                <a:gd name="connsiteY104" fmla="*/ 79936 h 761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</a:cxnLst>
              <a:rect l="l" t="t" r="r" b="b"/>
              <a:pathLst>
                <a:path w="571128" h="761503">
                  <a:moveTo>
                    <a:pt x="512361" y="79936"/>
                  </a:moveTo>
                  <a:cubicBezTo>
                    <a:pt x="520520" y="79936"/>
                    <a:pt x="539558" y="79936"/>
                    <a:pt x="539558" y="96253"/>
                  </a:cubicBezTo>
                  <a:cubicBezTo>
                    <a:pt x="539558" y="104412"/>
                    <a:pt x="539558" y="107132"/>
                    <a:pt x="534118" y="112571"/>
                  </a:cubicBezTo>
                  <a:cubicBezTo>
                    <a:pt x="531399" y="118011"/>
                    <a:pt x="525960" y="120730"/>
                    <a:pt x="523240" y="120730"/>
                  </a:cubicBezTo>
                  <a:cubicBezTo>
                    <a:pt x="515081" y="123450"/>
                    <a:pt x="512361" y="123450"/>
                    <a:pt x="506922" y="123450"/>
                  </a:cubicBezTo>
                  <a:cubicBezTo>
                    <a:pt x="504202" y="123450"/>
                    <a:pt x="490604" y="123450"/>
                    <a:pt x="477006" y="123450"/>
                  </a:cubicBezTo>
                  <a:cubicBezTo>
                    <a:pt x="477006" y="131609"/>
                    <a:pt x="479725" y="137048"/>
                    <a:pt x="479725" y="145207"/>
                  </a:cubicBezTo>
                  <a:cubicBezTo>
                    <a:pt x="479725" y="156086"/>
                    <a:pt x="477006" y="166964"/>
                    <a:pt x="477006" y="180563"/>
                  </a:cubicBezTo>
                  <a:cubicBezTo>
                    <a:pt x="477006" y="196881"/>
                    <a:pt x="479725" y="215918"/>
                    <a:pt x="482445" y="232236"/>
                  </a:cubicBezTo>
                  <a:cubicBezTo>
                    <a:pt x="485165" y="248554"/>
                    <a:pt x="485165" y="267592"/>
                    <a:pt x="485165" y="283910"/>
                  </a:cubicBezTo>
                  <a:cubicBezTo>
                    <a:pt x="485165" y="297508"/>
                    <a:pt x="485165" y="313826"/>
                    <a:pt x="485165" y="327424"/>
                  </a:cubicBezTo>
                  <a:cubicBezTo>
                    <a:pt x="485165" y="343742"/>
                    <a:pt x="487884" y="357340"/>
                    <a:pt x="487884" y="373658"/>
                  </a:cubicBezTo>
                  <a:cubicBezTo>
                    <a:pt x="487884" y="389976"/>
                    <a:pt x="485165" y="403575"/>
                    <a:pt x="485165" y="419892"/>
                  </a:cubicBezTo>
                  <a:cubicBezTo>
                    <a:pt x="485165" y="436210"/>
                    <a:pt x="485165" y="449809"/>
                    <a:pt x="485165" y="463407"/>
                  </a:cubicBezTo>
                  <a:cubicBezTo>
                    <a:pt x="485165" y="479725"/>
                    <a:pt x="485165" y="498762"/>
                    <a:pt x="482445" y="515080"/>
                  </a:cubicBezTo>
                  <a:cubicBezTo>
                    <a:pt x="482445" y="528679"/>
                    <a:pt x="482445" y="542277"/>
                    <a:pt x="482445" y="558595"/>
                  </a:cubicBezTo>
                  <a:cubicBezTo>
                    <a:pt x="482445" y="572193"/>
                    <a:pt x="479725" y="588511"/>
                    <a:pt x="479725" y="602109"/>
                  </a:cubicBezTo>
                  <a:cubicBezTo>
                    <a:pt x="479725" y="615708"/>
                    <a:pt x="485165" y="632026"/>
                    <a:pt x="485165" y="648343"/>
                  </a:cubicBezTo>
                  <a:cubicBezTo>
                    <a:pt x="485165" y="659222"/>
                    <a:pt x="482445" y="670101"/>
                    <a:pt x="474286" y="675540"/>
                  </a:cubicBezTo>
                  <a:cubicBezTo>
                    <a:pt x="460688" y="686419"/>
                    <a:pt x="444370" y="691858"/>
                    <a:pt x="428052" y="691858"/>
                  </a:cubicBezTo>
                  <a:cubicBezTo>
                    <a:pt x="414454" y="691858"/>
                    <a:pt x="400855" y="689138"/>
                    <a:pt x="387257" y="683699"/>
                  </a:cubicBezTo>
                  <a:cubicBezTo>
                    <a:pt x="373659" y="678260"/>
                    <a:pt x="360060" y="672820"/>
                    <a:pt x="351901" y="664661"/>
                  </a:cubicBezTo>
                  <a:cubicBezTo>
                    <a:pt x="330144" y="645624"/>
                    <a:pt x="316546" y="621147"/>
                    <a:pt x="305667" y="596670"/>
                  </a:cubicBezTo>
                  <a:cubicBezTo>
                    <a:pt x="292069" y="569473"/>
                    <a:pt x="281190" y="539557"/>
                    <a:pt x="270312" y="509641"/>
                  </a:cubicBezTo>
                  <a:cubicBezTo>
                    <a:pt x="264872" y="493323"/>
                    <a:pt x="256713" y="477005"/>
                    <a:pt x="251274" y="460687"/>
                  </a:cubicBezTo>
                  <a:cubicBezTo>
                    <a:pt x="240395" y="433491"/>
                    <a:pt x="232236" y="409014"/>
                    <a:pt x="224077" y="381817"/>
                  </a:cubicBezTo>
                  <a:cubicBezTo>
                    <a:pt x="218638" y="365499"/>
                    <a:pt x="213199" y="346462"/>
                    <a:pt x="207759" y="330144"/>
                  </a:cubicBezTo>
                  <a:cubicBezTo>
                    <a:pt x="202320" y="316545"/>
                    <a:pt x="196881" y="300228"/>
                    <a:pt x="191442" y="286629"/>
                  </a:cubicBezTo>
                  <a:cubicBezTo>
                    <a:pt x="188722" y="281190"/>
                    <a:pt x="186002" y="278470"/>
                    <a:pt x="183283" y="278470"/>
                  </a:cubicBezTo>
                  <a:cubicBezTo>
                    <a:pt x="180563" y="278470"/>
                    <a:pt x="180563" y="286629"/>
                    <a:pt x="180563" y="292069"/>
                  </a:cubicBezTo>
                  <a:cubicBezTo>
                    <a:pt x="180563" y="297508"/>
                    <a:pt x="180563" y="302947"/>
                    <a:pt x="180563" y="305667"/>
                  </a:cubicBezTo>
                  <a:cubicBezTo>
                    <a:pt x="180563" y="321985"/>
                    <a:pt x="183283" y="338303"/>
                    <a:pt x="183283" y="354621"/>
                  </a:cubicBezTo>
                  <a:cubicBezTo>
                    <a:pt x="183283" y="387257"/>
                    <a:pt x="186002" y="417173"/>
                    <a:pt x="188722" y="449809"/>
                  </a:cubicBezTo>
                  <a:cubicBezTo>
                    <a:pt x="188722" y="460687"/>
                    <a:pt x="188722" y="468846"/>
                    <a:pt x="188722" y="479725"/>
                  </a:cubicBezTo>
                  <a:cubicBezTo>
                    <a:pt x="188722" y="501482"/>
                    <a:pt x="188722" y="523239"/>
                    <a:pt x="188722" y="542277"/>
                  </a:cubicBezTo>
                  <a:cubicBezTo>
                    <a:pt x="188722" y="566754"/>
                    <a:pt x="186002" y="591231"/>
                    <a:pt x="186002" y="615708"/>
                  </a:cubicBezTo>
                  <a:cubicBezTo>
                    <a:pt x="186002" y="623867"/>
                    <a:pt x="186002" y="632026"/>
                    <a:pt x="186002" y="637465"/>
                  </a:cubicBezTo>
                  <a:cubicBezTo>
                    <a:pt x="186002" y="645624"/>
                    <a:pt x="183283" y="656502"/>
                    <a:pt x="183283" y="664661"/>
                  </a:cubicBezTo>
                  <a:cubicBezTo>
                    <a:pt x="202320" y="664661"/>
                    <a:pt x="218638" y="664661"/>
                    <a:pt x="226797" y="664661"/>
                  </a:cubicBezTo>
                  <a:cubicBezTo>
                    <a:pt x="234956" y="664661"/>
                    <a:pt x="253994" y="664661"/>
                    <a:pt x="253994" y="680979"/>
                  </a:cubicBezTo>
                  <a:cubicBezTo>
                    <a:pt x="253994" y="689138"/>
                    <a:pt x="253994" y="691858"/>
                    <a:pt x="248554" y="697297"/>
                  </a:cubicBezTo>
                  <a:cubicBezTo>
                    <a:pt x="245835" y="702737"/>
                    <a:pt x="240395" y="705456"/>
                    <a:pt x="234956" y="705456"/>
                  </a:cubicBezTo>
                  <a:cubicBezTo>
                    <a:pt x="226797" y="708176"/>
                    <a:pt x="224077" y="708176"/>
                    <a:pt x="218638" y="708176"/>
                  </a:cubicBezTo>
                  <a:cubicBezTo>
                    <a:pt x="215918" y="708176"/>
                    <a:pt x="199600" y="708176"/>
                    <a:pt x="183283" y="708176"/>
                  </a:cubicBezTo>
                  <a:cubicBezTo>
                    <a:pt x="166965" y="708176"/>
                    <a:pt x="153366" y="708176"/>
                    <a:pt x="150647" y="708176"/>
                  </a:cubicBezTo>
                  <a:cubicBezTo>
                    <a:pt x="139768" y="708176"/>
                    <a:pt x="120730" y="708176"/>
                    <a:pt x="107132" y="708176"/>
                  </a:cubicBezTo>
                  <a:cubicBezTo>
                    <a:pt x="101693" y="708176"/>
                    <a:pt x="96253" y="708176"/>
                    <a:pt x="88094" y="708176"/>
                  </a:cubicBezTo>
                  <a:cubicBezTo>
                    <a:pt x="82655" y="708176"/>
                    <a:pt x="74496" y="708176"/>
                    <a:pt x="69057" y="702737"/>
                  </a:cubicBezTo>
                  <a:cubicBezTo>
                    <a:pt x="63618" y="700017"/>
                    <a:pt x="58178" y="691858"/>
                    <a:pt x="58178" y="686419"/>
                  </a:cubicBezTo>
                  <a:cubicBezTo>
                    <a:pt x="58178" y="683699"/>
                    <a:pt x="58178" y="680979"/>
                    <a:pt x="60898" y="678260"/>
                  </a:cubicBezTo>
                  <a:cubicBezTo>
                    <a:pt x="63618" y="675540"/>
                    <a:pt x="71777" y="672820"/>
                    <a:pt x="77216" y="670101"/>
                  </a:cubicBezTo>
                  <a:cubicBezTo>
                    <a:pt x="90814" y="667381"/>
                    <a:pt x="115291" y="664661"/>
                    <a:pt x="120730" y="664661"/>
                  </a:cubicBezTo>
                  <a:cubicBezTo>
                    <a:pt x="123450" y="664661"/>
                    <a:pt x="126170" y="664661"/>
                    <a:pt x="131609" y="664661"/>
                  </a:cubicBezTo>
                  <a:cubicBezTo>
                    <a:pt x="131609" y="623867"/>
                    <a:pt x="134329" y="583072"/>
                    <a:pt x="134329" y="539557"/>
                  </a:cubicBezTo>
                  <a:cubicBezTo>
                    <a:pt x="134329" y="528679"/>
                    <a:pt x="134329" y="515080"/>
                    <a:pt x="134329" y="504202"/>
                  </a:cubicBezTo>
                  <a:cubicBezTo>
                    <a:pt x="131609" y="460687"/>
                    <a:pt x="131609" y="417173"/>
                    <a:pt x="131609" y="376378"/>
                  </a:cubicBezTo>
                  <a:cubicBezTo>
                    <a:pt x="131609" y="351901"/>
                    <a:pt x="131609" y="327424"/>
                    <a:pt x="131609" y="302947"/>
                  </a:cubicBezTo>
                  <a:cubicBezTo>
                    <a:pt x="131609" y="275751"/>
                    <a:pt x="131609" y="248554"/>
                    <a:pt x="134329" y="221357"/>
                  </a:cubicBezTo>
                  <a:cubicBezTo>
                    <a:pt x="134329" y="188722"/>
                    <a:pt x="137048" y="156086"/>
                    <a:pt x="137048" y="123450"/>
                  </a:cubicBezTo>
                  <a:cubicBezTo>
                    <a:pt x="126170" y="123450"/>
                    <a:pt x="115291" y="123450"/>
                    <a:pt x="107132" y="123450"/>
                  </a:cubicBezTo>
                  <a:cubicBezTo>
                    <a:pt x="101693" y="123450"/>
                    <a:pt x="96253" y="123450"/>
                    <a:pt x="88094" y="123450"/>
                  </a:cubicBezTo>
                  <a:cubicBezTo>
                    <a:pt x="82655" y="123450"/>
                    <a:pt x="74496" y="120730"/>
                    <a:pt x="69057" y="118011"/>
                  </a:cubicBezTo>
                  <a:cubicBezTo>
                    <a:pt x="63618" y="115291"/>
                    <a:pt x="58178" y="107132"/>
                    <a:pt x="58178" y="101693"/>
                  </a:cubicBezTo>
                  <a:cubicBezTo>
                    <a:pt x="58178" y="98973"/>
                    <a:pt x="58178" y="96253"/>
                    <a:pt x="60898" y="93534"/>
                  </a:cubicBezTo>
                  <a:cubicBezTo>
                    <a:pt x="63618" y="90814"/>
                    <a:pt x="71777" y="88095"/>
                    <a:pt x="77216" y="85375"/>
                  </a:cubicBezTo>
                  <a:cubicBezTo>
                    <a:pt x="90814" y="82655"/>
                    <a:pt x="126170" y="79936"/>
                    <a:pt x="131609" y="79936"/>
                  </a:cubicBezTo>
                  <a:cubicBezTo>
                    <a:pt x="137048" y="79936"/>
                    <a:pt x="147927" y="79936"/>
                    <a:pt x="161525" y="79936"/>
                  </a:cubicBezTo>
                  <a:cubicBezTo>
                    <a:pt x="166965" y="74496"/>
                    <a:pt x="172404" y="71776"/>
                    <a:pt x="177843" y="66337"/>
                  </a:cubicBezTo>
                  <a:cubicBezTo>
                    <a:pt x="186002" y="60898"/>
                    <a:pt x="194161" y="58178"/>
                    <a:pt x="202320" y="58178"/>
                  </a:cubicBezTo>
                  <a:cubicBezTo>
                    <a:pt x="215918" y="58178"/>
                    <a:pt x="226797" y="63618"/>
                    <a:pt x="234956" y="77216"/>
                  </a:cubicBezTo>
                  <a:cubicBezTo>
                    <a:pt x="240395" y="88095"/>
                    <a:pt x="248554" y="96253"/>
                    <a:pt x="251274" y="107132"/>
                  </a:cubicBezTo>
                  <a:cubicBezTo>
                    <a:pt x="256713" y="120730"/>
                    <a:pt x="259433" y="134329"/>
                    <a:pt x="267592" y="147927"/>
                  </a:cubicBezTo>
                  <a:cubicBezTo>
                    <a:pt x="273031" y="158806"/>
                    <a:pt x="275751" y="172404"/>
                    <a:pt x="281190" y="183282"/>
                  </a:cubicBezTo>
                  <a:cubicBezTo>
                    <a:pt x="286630" y="196881"/>
                    <a:pt x="292069" y="210479"/>
                    <a:pt x="297508" y="224077"/>
                  </a:cubicBezTo>
                  <a:cubicBezTo>
                    <a:pt x="300228" y="237676"/>
                    <a:pt x="305667" y="251274"/>
                    <a:pt x="308387" y="264872"/>
                  </a:cubicBezTo>
                  <a:cubicBezTo>
                    <a:pt x="311107" y="278470"/>
                    <a:pt x="311107" y="289349"/>
                    <a:pt x="319265" y="300228"/>
                  </a:cubicBezTo>
                  <a:cubicBezTo>
                    <a:pt x="332864" y="324704"/>
                    <a:pt x="346462" y="351901"/>
                    <a:pt x="351901" y="379098"/>
                  </a:cubicBezTo>
                  <a:cubicBezTo>
                    <a:pt x="354621" y="392696"/>
                    <a:pt x="360060" y="403575"/>
                    <a:pt x="365500" y="417173"/>
                  </a:cubicBezTo>
                  <a:cubicBezTo>
                    <a:pt x="373659" y="430771"/>
                    <a:pt x="373659" y="444369"/>
                    <a:pt x="379098" y="457968"/>
                  </a:cubicBezTo>
                  <a:cubicBezTo>
                    <a:pt x="381818" y="471566"/>
                    <a:pt x="387257" y="482445"/>
                    <a:pt x="395416" y="496043"/>
                  </a:cubicBezTo>
                  <a:cubicBezTo>
                    <a:pt x="398136" y="501482"/>
                    <a:pt x="403575" y="506921"/>
                    <a:pt x="406295" y="512361"/>
                  </a:cubicBezTo>
                  <a:cubicBezTo>
                    <a:pt x="409014" y="517800"/>
                    <a:pt x="409014" y="525959"/>
                    <a:pt x="411734" y="531398"/>
                  </a:cubicBezTo>
                  <a:cubicBezTo>
                    <a:pt x="414454" y="539557"/>
                    <a:pt x="417173" y="550436"/>
                    <a:pt x="419893" y="558595"/>
                  </a:cubicBezTo>
                  <a:cubicBezTo>
                    <a:pt x="422613" y="561314"/>
                    <a:pt x="422613" y="564034"/>
                    <a:pt x="425332" y="564034"/>
                  </a:cubicBezTo>
                  <a:cubicBezTo>
                    <a:pt x="428052" y="564034"/>
                    <a:pt x="428052" y="561314"/>
                    <a:pt x="430771" y="558595"/>
                  </a:cubicBezTo>
                  <a:cubicBezTo>
                    <a:pt x="430771" y="555875"/>
                    <a:pt x="430771" y="553156"/>
                    <a:pt x="430771" y="550436"/>
                  </a:cubicBezTo>
                  <a:cubicBezTo>
                    <a:pt x="430771" y="534118"/>
                    <a:pt x="430771" y="517800"/>
                    <a:pt x="430771" y="501482"/>
                  </a:cubicBezTo>
                  <a:cubicBezTo>
                    <a:pt x="430771" y="468846"/>
                    <a:pt x="433491" y="436210"/>
                    <a:pt x="430771" y="403575"/>
                  </a:cubicBezTo>
                  <a:cubicBezTo>
                    <a:pt x="430771" y="373658"/>
                    <a:pt x="425332" y="343742"/>
                    <a:pt x="425332" y="313826"/>
                  </a:cubicBezTo>
                  <a:cubicBezTo>
                    <a:pt x="425332" y="292069"/>
                    <a:pt x="425332" y="270311"/>
                    <a:pt x="425332" y="248554"/>
                  </a:cubicBezTo>
                  <a:cubicBezTo>
                    <a:pt x="425332" y="234956"/>
                    <a:pt x="425332" y="224077"/>
                    <a:pt x="425332" y="210479"/>
                  </a:cubicBezTo>
                  <a:cubicBezTo>
                    <a:pt x="425332" y="191441"/>
                    <a:pt x="422613" y="172404"/>
                    <a:pt x="422613" y="153366"/>
                  </a:cubicBezTo>
                  <a:cubicBezTo>
                    <a:pt x="422613" y="142488"/>
                    <a:pt x="422613" y="134329"/>
                    <a:pt x="425332" y="123450"/>
                  </a:cubicBezTo>
                  <a:cubicBezTo>
                    <a:pt x="417173" y="123450"/>
                    <a:pt x="406295" y="123450"/>
                    <a:pt x="398136" y="123450"/>
                  </a:cubicBezTo>
                  <a:cubicBezTo>
                    <a:pt x="392696" y="123450"/>
                    <a:pt x="387257" y="123450"/>
                    <a:pt x="379098" y="123450"/>
                  </a:cubicBezTo>
                  <a:cubicBezTo>
                    <a:pt x="373659" y="123450"/>
                    <a:pt x="365500" y="120730"/>
                    <a:pt x="360060" y="118011"/>
                  </a:cubicBezTo>
                  <a:cubicBezTo>
                    <a:pt x="354621" y="115291"/>
                    <a:pt x="349182" y="107132"/>
                    <a:pt x="349182" y="101693"/>
                  </a:cubicBezTo>
                  <a:cubicBezTo>
                    <a:pt x="349182" y="98973"/>
                    <a:pt x="349182" y="96253"/>
                    <a:pt x="351901" y="93534"/>
                  </a:cubicBezTo>
                  <a:cubicBezTo>
                    <a:pt x="354621" y="90814"/>
                    <a:pt x="362780" y="88095"/>
                    <a:pt x="368219" y="85375"/>
                  </a:cubicBezTo>
                  <a:cubicBezTo>
                    <a:pt x="381818" y="82655"/>
                    <a:pt x="417173" y="79936"/>
                    <a:pt x="422613" y="79936"/>
                  </a:cubicBezTo>
                  <a:cubicBezTo>
                    <a:pt x="428052" y="79936"/>
                    <a:pt x="433491" y="79936"/>
                    <a:pt x="444370" y="79936"/>
                  </a:cubicBezTo>
                  <a:cubicBezTo>
                    <a:pt x="449809" y="74496"/>
                    <a:pt x="455248" y="71776"/>
                    <a:pt x="463407" y="71776"/>
                  </a:cubicBezTo>
                  <a:cubicBezTo>
                    <a:pt x="471566" y="71776"/>
                    <a:pt x="477006" y="74496"/>
                    <a:pt x="477006" y="79936"/>
                  </a:cubicBezTo>
                  <a:cubicBezTo>
                    <a:pt x="490604" y="82655"/>
                    <a:pt x="504202" y="79936"/>
                    <a:pt x="512361" y="79936"/>
                  </a:cubicBezTo>
                  <a:lnTo>
                    <a:pt x="512361" y="79936"/>
                  </a:ln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/>
            </a:p>
          </p:txBody>
        </p:sp>
        <p:sp>
          <p:nvSpPr>
            <p:cNvPr id="38" name="Freeform: Shape 37">
              <a:extLst>
                <a:ext uri="{FF2B5EF4-FFF2-40B4-BE49-F238E27FC236}">
                  <a16:creationId xmlns:a16="http://schemas.microsoft.com/office/drawing/2014/main" id="{94386D89-2FDC-4706-8B37-36CF6ABF07FB}"/>
                </a:ext>
              </a:extLst>
            </p:cNvPr>
            <p:cNvSpPr/>
            <p:nvPr/>
          </p:nvSpPr>
          <p:spPr bwMode="black">
            <a:xfrm>
              <a:off x="2987430" y="4242177"/>
              <a:ext cx="494979" cy="674476"/>
            </a:xfrm>
            <a:custGeom>
              <a:avLst/>
              <a:gdLst>
                <a:gd name="connsiteX0" fmla="*/ 228453 w 494979"/>
                <a:gd name="connsiteY0" fmla="*/ 97907 h 674476"/>
                <a:gd name="connsiteX1" fmla="*/ 212135 w 494979"/>
                <a:gd name="connsiteY1" fmla="*/ 119665 h 674476"/>
                <a:gd name="connsiteX2" fmla="*/ 203976 w 494979"/>
                <a:gd name="connsiteY2" fmla="*/ 152300 h 674476"/>
                <a:gd name="connsiteX3" fmla="*/ 201256 w 494979"/>
                <a:gd name="connsiteY3" fmla="*/ 168618 h 674476"/>
                <a:gd name="connsiteX4" fmla="*/ 198537 w 494979"/>
                <a:gd name="connsiteY4" fmla="*/ 184936 h 674476"/>
                <a:gd name="connsiteX5" fmla="*/ 190378 w 494979"/>
                <a:gd name="connsiteY5" fmla="*/ 220292 h 674476"/>
                <a:gd name="connsiteX6" fmla="*/ 171340 w 494979"/>
                <a:gd name="connsiteY6" fmla="*/ 291003 h 674476"/>
                <a:gd name="connsiteX7" fmla="*/ 163180 w 494979"/>
                <a:gd name="connsiteY7" fmla="*/ 323639 h 674476"/>
                <a:gd name="connsiteX8" fmla="*/ 152302 w 494979"/>
                <a:gd name="connsiteY8" fmla="*/ 361714 h 674476"/>
                <a:gd name="connsiteX9" fmla="*/ 146862 w 494979"/>
                <a:gd name="connsiteY9" fmla="*/ 388910 h 674476"/>
                <a:gd name="connsiteX10" fmla="*/ 152302 w 494979"/>
                <a:gd name="connsiteY10" fmla="*/ 391630 h 674476"/>
                <a:gd name="connsiteX11" fmla="*/ 174060 w 494979"/>
                <a:gd name="connsiteY11" fmla="*/ 391630 h 674476"/>
                <a:gd name="connsiteX12" fmla="*/ 195817 w 494979"/>
                <a:gd name="connsiteY12" fmla="*/ 388910 h 674476"/>
                <a:gd name="connsiteX13" fmla="*/ 214855 w 494979"/>
                <a:gd name="connsiteY13" fmla="*/ 388910 h 674476"/>
                <a:gd name="connsiteX14" fmla="*/ 239332 w 494979"/>
                <a:gd name="connsiteY14" fmla="*/ 388910 h 674476"/>
                <a:gd name="connsiteX15" fmla="*/ 252930 w 494979"/>
                <a:gd name="connsiteY15" fmla="*/ 386191 h 674476"/>
                <a:gd name="connsiteX16" fmla="*/ 261089 w 494979"/>
                <a:gd name="connsiteY16" fmla="*/ 386191 h 674476"/>
                <a:gd name="connsiteX17" fmla="*/ 258369 w 494979"/>
                <a:gd name="connsiteY17" fmla="*/ 367153 h 674476"/>
                <a:gd name="connsiteX18" fmla="*/ 252930 w 494979"/>
                <a:gd name="connsiteY18" fmla="*/ 331797 h 674476"/>
                <a:gd name="connsiteX19" fmla="*/ 250210 w 494979"/>
                <a:gd name="connsiteY19" fmla="*/ 244769 h 674476"/>
                <a:gd name="connsiteX20" fmla="*/ 244771 w 494979"/>
                <a:gd name="connsiteY20" fmla="*/ 203974 h 674476"/>
                <a:gd name="connsiteX21" fmla="*/ 239332 w 494979"/>
                <a:gd name="connsiteY21" fmla="*/ 157740 h 674476"/>
                <a:gd name="connsiteX22" fmla="*/ 236612 w 494979"/>
                <a:gd name="connsiteY22" fmla="*/ 119665 h 674476"/>
                <a:gd name="connsiteX23" fmla="*/ 228453 w 494979"/>
                <a:gd name="connsiteY23" fmla="*/ 97907 h 674476"/>
                <a:gd name="connsiteX24" fmla="*/ 274687 w 494979"/>
                <a:gd name="connsiteY24" fmla="*/ 0 h 674476"/>
                <a:gd name="connsiteX25" fmla="*/ 304603 w 494979"/>
                <a:gd name="connsiteY25" fmla="*/ 5439 h 674476"/>
                <a:gd name="connsiteX26" fmla="*/ 320921 w 494979"/>
                <a:gd name="connsiteY26" fmla="*/ 24477 h 674476"/>
                <a:gd name="connsiteX27" fmla="*/ 334519 w 494979"/>
                <a:gd name="connsiteY27" fmla="*/ 43515 h 674476"/>
                <a:gd name="connsiteX28" fmla="*/ 339959 w 494979"/>
                <a:gd name="connsiteY28" fmla="*/ 65272 h 674476"/>
                <a:gd name="connsiteX29" fmla="*/ 348118 w 494979"/>
                <a:gd name="connsiteY29" fmla="*/ 114226 h 674476"/>
                <a:gd name="connsiteX30" fmla="*/ 361716 w 494979"/>
                <a:gd name="connsiteY30" fmla="*/ 163180 h 674476"/>
                <a:gd name="connsiteX31" fmla="*/ 369875 w 494979"/>
                <a:gd name="connsiteY31" fmla="*/ 220293 h 674476"/>
                <a:gd name="connsiteX32" fmla="*/ 378034 w 494979"/>
                <a:gd name="connsiteY32" fmla="*/ 274686 h 674476"/>
                <a:gd name="connsiteX33" fmla="*/ 383473 w 494979"/>
                <a:gd name="connsiteY33" fmla="*/ 301883 h 674476"/>
                <a:gd name="connsiteX34" fmla="*/ 391632 w 494979"/>
                <a:gd name="connsiteY34" fmla="*/ 337238 h 674476"/>
                <a:gd name="connsiteX35" fmla="*/ 397071 w 494979"/>
                <a:gd name="connsiteY35" fmla="*/ 364435 h 674476"/>
                <a:gd name="connsiteX36" fmla="*/ 405230 w 494979"/>
                <a:gd name="connsiteY36" fmla="*/ 383473 h 674476"/>
                <a:gd name="connsiteX37" fmla="*/ 416109 w 494979"/>
                <a:gd name="connsiteY37" fmla="*/ 386192 h 674476"/>
                <a:gd name="connsiteX38" fmla="*/ 426988 w 494979"/>
                <a:gd name="connsiteY38" fmla="*/ 386192 h 674476"/>
                <a:gd name="connsiteX39" fmla="*/ 454184 w 494979"/>
                <a:gd name="connsiteY39" fmla="*/ 397071 h 674476"/>
                <a:gd name="connsiteX40" fmla="*/ 456904 w 494979"/>
                <a:gd name="connsiteY40" fmla="*/ 405230 h 674476"/>
                <a:gd name="connsiteX41" fmla="*/ 451465 w 494979"/>
                <a:gd name="connsiteY41" fmla="*/ 416108 h 674476"/>
                <a:gd name="connsiteX42" fmla="*/ 432427 w 494979"/>
                <a:gd name="connsiteY42" fmla="*/ 429707 h 674476"/>
                <a:gd name="connsiteX43" fmla="*/ 421548 w 494979"/>
                <a:gd name="connsiteY43" fmla="*/ 432426 h 674476"/>
                <a:gd name="connsiteX44" fmla="*/ 413389 w 494979"/>
                <a:gd name="connsiteY44" fmla="*/ 435146 h 674476"/>
                <a:gd name="connsiteX45" fmla="*/ 413389 w 494979"/>
                <a:gd name="connsiteY45" fmla="*/ 440585 h 674476"/>
                <a:gd name="connsiteX46" fmla="*/ 416109 w 494979"/>
                <a:gd name="connsiteY46" fmla="*/ 451464 h 674476"/>
                <a:gd name="connsiteX47" fmla="*/ 418829 w 494979"/>
                <a:gd name="connsiteY47" fmla="*/ 465062 h 674476"/>
                <a:gd name="connsiteX48" fmla="*/ 418829 w 494979"/>
                <a:gd name="connsiteY48" fmla="*/ 475941 h 674476"/>
                <a:gd name="connsiteX49" fmla="*/ 418829 w 494979"/>
                <a:gd name="connsiteY49" fmla="*/ 486820 h 674476"/>
                <a:gd name="connsiteX50" fmla="*/ 426988 w 494979"/>
                <a:gd name="connsiteY50" fmla="*/ 516736 h 674476"/>
                <a:gd name="connsiteX51" fmla="*/ 432427 w 494979"/>
                <a:gd name="connsiteY51" fmla="*/ 543932 h 674476"/>
                <a:gd name="connsiteX52" fmla="*/ 437866 w 494979"/>
                <a:gd name="connsiteY52" fmla="*/ 573848 h 674476"/>
                <a:gd name="connsiteX53" fmla="*/ 443306 w 494979"/>
                <a:gd name="connsiteY53" fmla="*/ 606484 h 674476"/>
                <a:gd name="connsiteX54" fmla="*/ 446025 w 494979"/>
                <a:gd name="connsiteY54" fmla="*/ 617363 h 674476"/>
                <a:gd name="connsiteX55" fmla="*/ 470502 w 494979"/>
                <a:gd name="connsiteY55" fmla="*/ 617363 h 674476"/>
                <a:gd name="connsiteX56" fmla="*/ 494979 w 494979"/>
                <a:gd name="connsiteY56" fmla="*/ 641840 h 674476"/>
                <a:gd name="connsiteX57" fmla="*/ 486820 w 494979"/>
                <a:gd name="connsiteY57" fmla="*/ 655438 h 674476"/>
                <a:gd name="connsiteX58" fmla="*/ 470502 w 494979"/>
                <a:gd name="connsiteY58" fmla="*/ 663597 h 674476"/>
                <a:gd name="connsiteX59" fmla="*/ 446025 w 494979"/>
                <a:gd name="connsiteY59" fmla="*/ 666317 h 674476"/>
                <a:gd name="connsiteX60" fmla="*/ 424268 w 494979"/>
                <a:gd name="connsiteY60" fmla="*/ 666317 h 674476"/>
                <a:gd name="connsiteX61" fmla="*/ 416109 w 494979"/>
                <a:gd name="connsiteY61" fmla="*/ 666317 h 674476"/>
                <a:gd name="connsiteX62" fmla="*/ 402511 w 494979"/>
                <a:gd name="connsiteY62" fmla="*/ 671756 h 674476"/>
                <a:gd name="connsiteX63" fmla="*/ 386193 w 494979"/>
                <a:gd name="connsiteY63" fmla="*/ 674476 h 674476"/>
                <a:gd name="connsiteX64" fmla="*/ 350837 w 494979"/>
                <a:gd name="connsiteY64" fmla="*/ 669036 h 674476"/>
                <a:gd name="connsiteX65" fmla="*/ 329080 w 494979"/>
                <a:gd name="connsiteY65" fmla="*/ 669036 h 674476"/>
                <a:gd name="connsiteX66" fmla="*/ 280126 w 494979"/>
                <a:gd name="connsiteY66" fmla="*/ 669036 h 674476"/>
                <a:gd name="connsiteX67" fmla="*/ 255649 w 494979"/>
                <a:gd name="connsiteY67" fmla="*/ 663597 h 674476"/>
                <a:gd name="connsiteX68" fmla="*/ 239331 w 494979"/>
                <a:gd name="connsiteY68" fmla="*/ 647279 h 674476"/>
                <a:gd name="connsiteX69" fmla="*/ 263808 w 494979"/>
                <a:gd name="connsiteY69" fmla="*/ 630961 h 674476"/>
                <a:gd name="connsiteX70" fmla="*/ 291005 w 494979"/>
                <a:gd name="connsiteY70" fmla="*/ 628241 h 674476"/>
                <a:gd name="connsiteX71" fmla="*/ 288285 w 494979"/>
                <a:gd name="connsiteY71" fmla="*/ 609204 h 674476"/>
                <a:gd name="connsiteX72" fmla="*/ 285565 w 494979"/>
                <a:gd name="connsiteY72" fmla="*/ 582007 h 674476"/>
                <a:gd name="connsiteX73" fmla="*/ 282846 w 494979"/>
                <a:gd name="connsiteY73" fmla="*/ 568409 h 674476"/>
                <a:gd name="connsiteX74" fmla="*/ 285565 w 494979"/>
                <a:gd name="connsiteY74" fmla="*/ 554811 h 674476"/>
                <a:gd name="connsiteX75" fmla="*/ 280126 w 494979"/>
                <a:gd name="connsiteY75" fmla="*/ 538493 h 674476"/>
                <a:gd name="connsiteX76" fmla="*/ 274687 w 494979"/>
                <a:gd name="connsiteY76" fmla="*/ 505857 h 674476"/>
                <a:gd name="connsiteX77" fmla="*/ 271967 w 494979"/>
                <a:gd name="connsiteY77" fmla="*/ 478660 h 674476"/>
                <a:gd name="connsiteX78" fmla="*/ 269247 w 494979"/>
                <a:gd name="connsiteY78" fmla="*/ 446025 h 674476"/>
                <a:gd name="connsiteX79" fmla="*/ 263808 w 494979"/>
                <a:gd name="connsiteY79" fmla="*/ 437866 h 674476"/>
                <a:gd name="connsiteX80" fmla="*/ 252929 w 494979"/>
                <a:gd name="connsiteY80" fmla="*/ 437866 h 674476"/>
                <a:gd name="connsiteX81" fmla="*/ 223013 w 494979"/>
                <a:gd name="connsiteY81" fmla="*/ 440585 h 674476"/>
                <a:gd name="connsiteX82" fmla="*/ 193097 w 494979"/>
                <a:gd name="connsiteY82" fmla="*/ 443305 h 674476"/>
                <a:gd name="connsiteX83" fmla="*/ 168620 w 494979"/>
                <a:gd name="connsiteY83" fmla="*/ 443305 h 674476"/>
                <a:gd name="connsiteX84" fmla="*/ 146862 w 494979"/>
                <a:gd name="connsiteY84" fmla="*/ 440585 h 674476"/>
                <a:gd name="connsiteX85" fmla="*/ 138703 w 494979"/>
                <a:gd name="connsiteY85" fmla="*/ 454184 h 674476"/>
                <a:gd name="connsiteX86" fmla="*/ 133263 w 494979"/>
                <a:gd name="connsiteY86" fmla="*/ 486820 h 674476"/>
                <a:gd name="connsiteX87" fmla="*/ 122385 w 494979"/>
                <a:gd name="connsiteY87" fmla="*/ 541213 h 674476"/>
                <a:gd name="connsiteX88" fmla="*/ 106067 w 494979"/>
                <a:gd name="connsiteY88" fmla="*/ 614643 h 674476"/>
                <a:gd name="connsiteX89" fmla="*/ 135983 w 494979"/>
                <a:gd name="connsiteY89" fmla="*/ 614643 h 674476"/>
                <a:gd name="connsiteX90" fmla="*/ 171340 w 494979"/>
                <a:gd name="connsiteY90" fmla="*/ 630961 h 674476"/>
                <a:gd name="connsiteX91" fmla="*/ 165900 w 494979"/>
                <a:gd name="connsiteY91" fmla="*/ 647279 h 674476"/>
                <a:gd name="connsiteX92" fmla="*/ 149581 w 494979"/>
                <a:gd name="connsiteY92" fmla="*/ 655438 h 674476"/>
                <a:gd name="connsiteX93" fmla="*/ 127824 w 494979"/>
                <a:gd name="connsiteY93" fmla="*/ 658158 h 674476"/>
                <a:gd name="connsiteX94" fmla="*/ 106067 w 494979"/>
                <a:gd name="connsiteY94" fmla="*/ 658158 h 674476"/>
                <a:gd name="connsiteX95" fmla="*/ 62552 w 494979"/>
                <a:gd name="connsiteY95" fmla="*/ 658158 h 674476"/>
                <a:gd name="connsiteX96" fmla="*/ 40795 w 494979"/>
                <a:gd name="connsiteY96" fmla="*/ 658158 h 674476"/>
                <a:gd name="connsiteX97" fmla="*/ 16318 w 494979"/>
                <a:gd name="connsiteY97" fmla="*/ 652718 h 674476"/>
                <a:gd name="connsiteX98" fmla="*/ 0 w 494979"/>
                <a:gd name="connsiteY98" fmla="*/ 636401 h 674476"/>
                <a:gd name="connsiteX99" fmla="*/ 2720 w 494979"/>
                <a:gd name="connsiteY99" fmla="*/ 628241 h 674476"/>
                <a:gd name="connsiteX100" fmla="*/ 24477 w 494979"/>
                <a:gd name="connsiteY100" fmla="*/ 620082 h 674476"/>
                <a:gd name="connsiteX101" fmla="*/ 62552 w 494979"/>
                <a:gd name="connsiteY101" fmla="*/ 617363 h 674476"/>
                <a:gd name="connsiteX102" fmla="*/ 62552 w 494979"/>
                <a:gd name="connsiteY102" fmla="*/ 614643 h 674476"/>
                <a:gd name="connsiteX103" fmla="*/ 65272 w 494979"/>
                <a:gd name="connsiteY103" fmla="*/ 587447 h 674476"/>
                <a:gd name="connsiteX104" fmla="*/ 76151 w 494979"/>
                <a:gd name="connsiteY104" fmla="*/ 522175 h 674476"/>
                <a:gd name="connsiteX105" fmla="*/ 87029 w 494979"/>
                <a:gd name="connsiteY105" fmla="*/ 470501 h 674476"/>
                <a:gd name="connsiteX106" fmla="*/ 92469 w 494979"/>
                <a:gd name="connsiteY106" fmla="*/ 446025 h 674476"/>
                <a:gd name="connsiteX107" fmla="*/ 65272 w 494979"/>
                <a:gd name="connsiteY107" fmla="*/ 432426 h 674476"/>
                <a:gd name="connsiteX108" fmla="*/ 54393 w 494979"/>
                <a:gd name="connsiteY108" fmla="*/ 421548 h 674476"/>
                <a:gd name="connsiteX109" fmla="*/ 73431 w 494979"/>
                <a:gd name="connsiteY109" fmla="*/ 407949 h 674476"/>
                <a:gd name="connsiteX110" fmla="*/ 100628 w 494979"/>
                <a:gd name="connsiteY110" fmla="*/ 399790 h 674476"/>
                <a:gd name="connsiteX111" fmla="*/ 108787 w 494979"/>
                <a:gd name="connsiteY111" fmla="*/ 369874 h 674476"/>
                <a:gd name="connsiteX112" fmla="*/ 125105 w 494979"/>
                <a:gd name="connsiteY112" fmla="*/ 307322 h 674476"/>
                <a:gd name="connsiteX113" fmla="*/ 141423 w 494979"/>
                <a:gd name="connsiteY113" fmla="*/ 242051 h 674476"/>
                <a:gd name="connsiteX114" fmla="*/ 155021 w 494979"/>
                <a:gd name="connsiteY114" fmla="*/ 179498 h 674476"/>
                <a:gd name="connsiteX115" fmla="*/ 168620 w 494979"/>
                <a:gd name="connsiteY115" fmla="*/ 119665 h 674476"/>
                <a:gd name="connsiteX116" fmla="*/ 193097 w 494979"/>
                <a:gd name="connsiteY116" fmla="*/ 57113 h 674476"/>
                <a:gd name="connsiteX117" fmla="*/ 201256 w 494979"/>
                <a:gd name="connsiteY117" fmla="*/ 38075 h 674476"/>
                <a:gd name="connsiteX118" fmla="*/ 217574 w 494979"/>
                <a:gd name="connsiteY118" fmla="*/ 13598 h 674476"/>
                <a:gd name="connsiteX119" fmla="*/ 274687 w 494979"/>
                <a:gd name="connsiteY119" fmla="*/ 0 h 6744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</a:cxnLst>
              <a:rect l="l" t="t" r="r" b="b"/>
              <a:pathLst>
                <a:path w="494979" h="674476">
                  <a:moveTo>
                    <a:pt x="228453" y="97907"/>
                  </a:moveTo>
                  <a:cubicBezTo>
                    <a:pt x="220294" y="97907"/>
                    <a:pt x="212135" y="114225"/>
                    <a:pt x="212135" y="119665"/>
                  </a:cubicBezTo>
                  <a:cubicBezTo>
                    <a:pt x="209415" y="130543"/>
                    <a:pt x="206696" y="144141"/>
                    <a:pt x="203976" y="152300"/>
                  </a:cubicBezTo>
                  <a:cubicBezTo>
                    <a:pt x="201256" y="157740"/>
                    <a:pt x="201256" y="163179"/>
                    <a:pt x="201256" y="168618"/>
                  </a:cubicBezTo>
                  <a:cubicBezTo>
                    <a:pt x="201256" y="174058"/>
                    <a:pt x="198537" y="179497"/>
                    <a:pt x="198537" y="184936"/>
                  </a:cubicBezTo>
                  <a:cubicBezTo>
                    <a:pt x="195817" y="195815"/>
                    <a:pt x="193097" y="209413"/>
                    <a:pt x="190378" y="220292"/>
                  </a:cubicBezTo>
                  <a:cubicBezTo>
                    <a:pt x="187658" y="244769"/>
                    <a:pt x="179499" y="269246"/>
                    <a:pt x="171340" y="291003"/>
                  </a:cubicBezTo>
                  <a:cubicBezTo>
                    <a:pt x="168620" y="301881"/>
                    <a:pt x="165900" y="312760"/>
                    <a:pt x="163180" y="323639"/>
                  </a:cubicBezTo>
                  <a:cubicBezTo>
                    <a:pt x="160461" y="337237"/>
                    <a:pt x="157741" y="348115"/>
                    <a:pt x="152302" y="361714"/>
                  </a:cubicBezTo>
                  <a:cubicBezTo>
                    <a:pt x="149582" y="367153"/>
                    <a:pt x="146862" y="383471"/>
                    <a:pt x="146862" y="388910"/>
                  </a:cubicBezTo>
                  <a:cubicBezTo>
                    <a:pt x="146862" y="391630"/>
                    <a:pt x="149582" y="391630"/>
                    <a:pt x="152302" y="391630"/>
                  </a:cubicBezTo>
                  <a:cubicBezTo>
                    <a:pt x="157741" y="391630"/>
                    <a:pt x="171340" y="391630"/>
                    <a:pt x="174060" y="391630"/>
                  </a:cubicBezTo>
                  <a:cubicBezTo>
                    <a:pt x="182219" y="391630"/>
                    <a:pt x="190378" y="391630"/>
                    <a:pt x="195817" y="388910"/>
                  </a:cubicBezTo>
                  <a:cubicBezTo>
                    <a:pt x="201256" y="388910"/>
                    <a:pt x="206696" y="388910"/>
                    <a:pt x="214855" y="388910"/>
                  </a:cubicBezTo>
                  <a:cubicBezTo>
                    <a:pt x="220294" y="388910"/>
                    <a:pt x="228453" y="388910"/>
                    <a:pt x="239332" y="388910"/>
                  </a:cubicBezTo>
                  <a:cubicBezTo>
                    <a:pt x="244771" y="388910"/>
                    <a:pt x="250210" y="388910"/>
                    <a:pt x="252930" y="386191"/>
                  </a:cubicBezTo>
                  <a:cubicBezTo>
                    <a:pt x="258369" y="391630"/>
                    <a:pt x="261089" y="388910"/>
                    <a:pt x="261089" y="386191"/>
                  </a:cubicBezTo>
                  <a:cubicBezTo>
                    <a:pt x="261089" y="380751"/>
                    <a:pt x="258369" y="372592"/>
                    <a:pt x="258369" y="367153"/>
                  </a:cubicBezTo>
                  <a:cubicBezTo>
                    <a:pt x="255650" y="353555"/>
                    <a:pt x="252930" y="342676"/>
                    <a:pt x="252930" y="331797"/>
                  </a:cubicBezTo>
                  <a:cubicBezTo>
                    <a:pt x="252930" y="301881"/>
                    <a:pt x="252930" y="274685"/>
                    <a:pt x="250210" y="244769"/>
                  </a:cubicBezTo>
                  <a:cubicBezTo>
                    <a:pt x="250210" y="231170"/>
                    <a:pt x="247491" y="217572"/>
                    <a:pt x="244771" y="203974"/>
                  </a:cubicBezTo>
                  <a:cubicBezTo>
                    <a:pt x="242051" y="187656"/>
                    <a:pt x="239332" y="174058"/>
                    <a:pt x="239332" y="157740"/>
                  </a:cubicBezTo>
                  <a:cubicBezTo>
                    <a:pt x="239332" y="152300"/>
                    <a:pt x="239332" y="133263"/>
                    <a:pt x="236612" y="119665"/>
                  </a:cubicBezTo>
                  <a:cubicBezTo>
                    <a:pt x="236612" y="106066"/>
                    <a:pt x="233892" y="97907"/>
                    <a:pt x="228453" y="97907"/>
                  </a:cubicBezTo>
                  <a:close/>
                  <a:moveTo>
                    <a:pt x="274687" y="0"/>
                  </a:moveTo>
                  <a:cubicBezTo>
                    <a:pt x="288285" y="0"/>
                    <a:pt x="293724" y="2720"/>
                    <a:pt x="304603" y="5439"/>
                  </a:cubicBezTo>
                  <a:cubicBezTo>
                    <a:pt x="315482" y="10879"/>
                    <a:pt x="315482" y="16318"/>
                    <a:pt x="320921" y="24477"/>
                  </a:cubicBezTo>
                  <a:cubicBezTo>
                    <a:pt x="326360" y="29916"/>
                    <a:pt x="331800" y="35356"/>
                    <a:pt x="334519" y="43515"/>
                  </a:cubicBezTo>
                  <a:cubicBezTo>
                    <a:pt x="337239" y="51674"/>
                    <a:pt x="337239" y="57113"/>
                    <a:pt x="339959" y="65272"/>
                  </a:cubicBezTo>
                  <a:cubicBezTo>
                    <a:pt x="345398" y="78870"/>
                    <a:pt x="342678" y="97908"/>
                    <a:pt x="348118" y="114226"/>
                  </a:cubicBezTo>
                  <a:cubicBezTo>
                    <a:pt x="350837" y="130544"/>
                    <a:pt x="358996" y="146863"/>
                    <a:pt x="361716" y="163180"/>
                  </a:cubicBezTo>
                  <a:cubicBezTo>
                    <a:pt x="364435" y="182218"/>
                    <a:pt x="364435" y="201256"/>
                    <a:pt x="369875" y="220293"/>
                  </a:cubicBezTo>
                  <a:cubicBezTo>
                    <a:pt x="375314" y="239331"/>
                    <a:pt x="378034" y="255649"/>
                    <a:pt x="378034" y="274686"/>
                  </a:cubicBezTo>
                  <a:cubicBezTo>
                    <a:pt x="378034" y="282845"/>
                    <a:pt x="380753" y="293724"/>
                    <a:pt x="383473" y="301883"/>
                  </a:cubicBezTo>
                  <a:cubicBezTo>
                    <a:pt x="386193" y="312762"/>
                    <a:pt x="388912" y="326360"/>
                    <a:pt x="391632" y="337238"/>
                  </a:cubicBezTo>
                  <a:cubicBezTo>
                    <a:pt x="391632" y="342678"/>
                    <a:pt x="394352" y="353556"/>
                    <a:pt x="397071" y="364435"/>
                  </a:cubicBezTo>
                  <a:cubicBezTo>
                    <a:pt x="399791" y="372594"/>
                    <a:pt x="402511" y="380753"/>
                    <a:pt x="405230" y="383473"/>
                  </a:cubicBezTo>
                  <a:cubicBezTo>
                    <a:pt x="407950" y="386192"/>
                    <a:pt x="413389" y="386192"/>
                    <a:pt x="416109" y="386192"/>
                  </a:cubicBezTo>
                  <a:cubicBezTo>
                    <a:pt x="418829" y="386192"/>
                    <a:pt x="424268" y="386192"/>
                    <a:pt x="426988" y="386192"/>
                  </a:cubicBezTo>
                  <a:cubicBezTo>
                    <a:pt x="437866" y="386192"/>
                    <a:pt x="448745" y="388912"/>
                    <a:pt x="454184" y="397071"/>
                  </a:cubicBezTo>
                  <a:cubicBezTo>
                    <a:pt x="456904" y="399790"/>
                    <a:pt x="456904" y="402510"/>
                    <a:pt x="456904" y="405230"/>
                  </a:cubicBezTo>
                  <a:cubicBezTo>
                    <a:pt x="456904" y="407949"/>
                    <a:pt x="454184" y="410669"/>
                    <a:pt x="451465" y="416108"/>
                  </a:cubicBezTo>
                  <a:cubicBezTo>
                    <a:pt x="446025" y="421548"/>
                    <a:pt x="440586" y="426987"/>
                    <a:pt x="432427" y="429707"/>
                  </a:cubicBezTo>
                  <a:cubicBezTo>
                    <a:pt x="429707" y="429707"/>
                    <a:pt x="426988" y="432426"/>
                    <a:pt x="421548" y="432426"/>
                  </a:cubicBezTo>
                  <a:cubicBezTo>
                    <a:pt x="418829" y="432426"/>
                    <a:pt x="416109" y="432426"/>
                    <a:pt x="413389" y="435146"/>
                  </a:cubicBezTo>
                  <a:cubicBezTo>
                    <a:pt x="413389" y="435146"/>
                    <a:pt x="413389" y="437866"/>
                    <a:pt x="413389" y="440585"/>
                  </a:cubicBezTo>
                  <a:cubicBezTo>
                    <a:pt x="413389" y="443305"/>
                    <a:pt x="413389" y="448744"/>
                    <a:pt x="416109" y="451464"/>
                  </a:cubicBezTo>
                  <a:cubicBezTo>
                    <a:pt x="416109" y="456903"/>
                    <a:pt x="418829" y="462343"/>
                    <a:pt x="418829" y="465062"/>
                  </a:cubicBezTo>
                  <a:lnTo>
                    <a:pt x="418829" y="475941"/>
                  </a:lnTo>
                  <a:cubicBezTo>
                    <a:pt x="418829" y="481380"/>
                    <a:pt x="418829" y="484100"/>
                    <a:pt x="418829" y="486820"/>
                  </a:cubicBezTo>
                  <a:cubicBezTo>
                    <a:pt x="421548" y="497698"/>
                    <a:pt x="424268" y="505857"/>
                    <a:pt x="426988" y="516736"/>
                  </a:cubicBezTo>
                  <a:cubicBezTo>
                    <a:pt x="426988" y="524895"/>
                    <a:pt x="429707" y="535773"/>
                    <a:pt x="432427" y="543932"/>
                  </a:cubicBezTo>
                  <a:cubicBezTo>
                    <a:pt x="435147" y="554811"/>
                    <a:pt x="437866" y="562970"/>
                    <a:pt x="437866" y="573848"/>
                  </a:cubicBezTo>
                  <a:cubicBezTo>
                    <a:pt x="437866" y="587447"/>
                    <a:pt x="440586" y="595606"/>
                    <a:pt x="443306" y="606484"/>
                  </a:cubicBezTo>
                  <a:cubicBezTo>
                    <a:pt x="443306" y="609204"/>
                    <a:pt x="446025" y="614643"/>
                    <a:pt x="446025" y="617363"/>
                  </a:cubicBezTo>
                  <a:cubicBezTo>
                    <a:pt x="454184" y="617363"/>
                    <a:pt x="462343" y="617363"/>
                    <a:pt x="470502" y="617363"/>
                  </a:cubicBezTo>
                  <a:cubicBezTo>
                    <a:pt x="478661" y="625522"/>
                    <a:pt x="492259" y="630961"/>
                    <a:pt x="494979" y="641840"/>
                  </a:cubicBezTo>
                  <a:cubicBezTo>
                    <a:pt x="494979" y="647279"/>
                    <a:pt x="489540" y="649999"/>
                    <a:pt x="486820" y="655438"/>
                  </a:cubicBezTo>
                  <a:cubicBezTo>
                    <a:pt x="484100" y="660877"/>
                    <a:pt x="475942" y="663597"/>
                    <a:pt x="470502" y="663597"/>
                  </a:cubicBezTo>
                  <a:cubicBezTo>
                    <a:pt x="459623" y="666317"/>
                    <a:pt x="454184" y="666317"/>
                    <a:pt x="446025" y="666317"/>
                  </a:cubicBezTo>
                  <a:cubicBezTo>
                    <a:pt x="440586" y="666317"/>
                    <a:pt x="432427" y="666317"/>
                    <a:pt x="424268" y="666317"/>
                  </a:cubicBezTo>
                  <a:cubicBezTo>
                    <a:pt x="421548" y="666317"/>
                    <a:pt x="418829" y="666317"/>
                    <a:pt x="416109" y="666317"/>
                  </a:cubicBezTo>
                  <a:cubicBezTo>
                    <a:pt x="410670" y="669036"/>
                    <a:pt x="407950" y="669036"/>
                    <a:pt x="402511" y="671756"/>
                  </a:cubicBezTo>
                  <a:cubicBezTo>
                    <a:pt x="397071" y="671756"/>
                    <a:pt x="391632" y="674476"/>
                    <a:pt x="386193" y="674476"/>
                  </a:cubicBezTo>
                  <a:cubicBezTo>
                    <a:pt x="375314" y="674476"/>
                    <a:pt x="361716" y="671756"/>
                    <a:pt x="350837" y="669036"/>
                  </a:cubicBezTo>
                  <a:cubicBezTo>
                    <a:pt x="342678" y="669036"/>
                    <a:pt x="334519" y="669036"/>
                    <a:pt x="329080" y="669036"/>
                  </a:cubicBezTo>
                  <a:cubicBezTo>
                    <a:pt x="307323" y="669036"/>
                    <a:pt x="288285" y="669036"/>
                    <a:pt x="280126" y="669036"/>
                  </a:cubicBezTo>
                  <a:cubicBezTo>
                    <a:pt x="271967" y="669036"/>
                    <a:pt x="261088" y="669036"/>
                    <a:pt x="255649" y="663597"/>
                  </a:cubicBezTo>
                  <a:cubicBezTo>
                    <a:pt x="250210" y="660877"/>
                    <a:pt x="239331" y="655438"/>
                    <a:pt x="239331" y="647279"/>
                  </a:cubicBezTo>
                  <a:cubicBezTo>
                    <a:pt x="239331" y="636401"/>
                    <a:pt x="255649" y="633681"/>
                    <a:pt x="263808" y="630961"/>
                  </a:cubicBezTo>
                  <a:cubicBezTo>
                    <a:pt x="269247" y="630961"/>
                    <a:pt x="277406" y="630961"/>
                    <a:pt x="291005" y="628241"/>
                  </a:cubicBezTo>
                  <a:cubicBezTo>
                    <a:pt x="291005" y="620082"/>
                    <a:pt x="291005" y="614643"/>
                    <a:pt x="288285" y="609204"/>
                  </a:cubicBezTo>
                  <a:cubicBezTo>
                    <a:pt x="288285" y="601045"/>
                    <a:pt x="285565" y="590166"/>
                    <a:pt x="285565" y="582007"/>
                  </a:cubicBezTo>
                  <a:cubicBezTo>
                    <a:pt x="285565" y="576568"/>
                    <a:pt x="282846" y="573848"/>
                    <a:pt x="282846" y="568409"/>
                  </a:cubicBezTo>
                  <a:cubicBezTo>
                    <a:pt x="282846" y="562970"/>
                    <a:pt x="285565" y="557531"/>
                    <a:pt x="285565" y="554811"/>
                  </a:cubicBezTo>
                  <a:cubicBezTo>
                    <a:pt x="285565" y="549371"/>
                    <a:pt x="282846" y="546652"/>
                    <a:pt x="280126" y="538493"/>
                  </a:cubicBezTo>
                  <a:cubicBezTo>
                    <a:pt x="280126" y="527614"/>
                    <a:pt x="274687" y="516736"/>
                    <a:pt x="274687" y="505857"/>
                  </a:cubicBezTo>
                  <a:cubicBezTo>
                    <a:pt x="274687" y="494978"/>
                    <a:pt x="274687" y="486820"/>
                    <a:pt x="271967" y="478660"/>
                  </a:cubicBezTo>
                  <a:cubicBezTo>
                    <a:pt x="269247" y="467782"/>
                    <a:pt x="269247" y="456903"/>
                    <a:pt x="269247" y="446025"/>
                  </a:cubicBezTo>
                  <a:cubicBezTo>
                    <a:pt x="269247" y="440585"/>
                    <a:pt x="266528" y="437866"/>
                    <a:pt x="263808" y="437866"/>
                  </a:cubicBezTo>
                  <a:cubicBezTo>
                    <a:pt x="261088" y="437866"/>
                    <a:pt x="258369" y="437866"/>
                    <a:pt x="252929" y="437866"/>
                  </a:cubicBezTo>
                  <a:cubicBezTo>
                    <a:pt x="242051" y="437866"/>
                    <a:pt x="231172" y="437866"/>
                    <a:pt x="223013" y="440585"/>
                  </a:cubicBezTo>
                  <a:cubicBezTo>
                    <a:pt x="212135" y="440585"/>
                    <a:pt x="203976" y="443305"/>
                    <a:pt x="193097" y="443305"/>
                  </a:cubicBezTo>
                  <a:cubicBezTo>
                    <a:pt x="184938" y="443305"/>
                    <a:pt x="176779" y="443305"/>
                    <a:pt x="168620" y="443305"/>
                  </a:cubicBezTo>
                  <a:cubicBezTo>
                    <a:pt x="165900" y="443305"/>
                    <a:pt x="155021" y="440585"/>
                    <a:pt x="146862" y="440585"/>
                  </a:cubicBezTo>
                  <a:cubicBezTo>
                    <a:pt x="138703" y="440585"/>
                    <a:pt x="138703" y="448744"/>
                    <a:pt x="138703" y="454184"/>
                  </a:cubicBezTo>
                  <a:cubicBezTo>
                    <a:pt x="138703" y="465062"/>
                    <a:pt x="135983" y="475941"/>
                    <a:pt x="133263" y="486820"/>
                  </a:cubicBezTo>
                  <a:cubicBezTo>
                    <a:pt x="130544" y="505857"/>
                    <a:pt x="125105" y="522175"/>
                    <a:pt x="122385" y="541213"/>
                  </a:cubicBezTo>
                  <a:cubicBezTo>
                    <a:pt x="119665" y="560250"/>
                    <a:pt x="111506" y="595606"/>
                    <a:pt x="106067" y="614643"/>
                  </a:cubicBezTo>
                  <a:cubicBezTo>
                    <a:pt x="114226" y="614643"/>
                    <a:pt x="125105" y="614643"/>
                    <a:pt x="135983" y="614643"/>
                  </a:cubicBezTo>
                  <a:cubicBezTo>
                    <a:pt x="149581" y="614643"/>
                    <a:pt x="171340" y="614643"/>
                    <a:pt x="171340" y="630961"/>
                  </a:cubicBezTo>
                  <a:cubicBezTo>
                    <a:pt x="171340" y="639120"/>
                    <a:pt x="168620" y="639120"/>
                    <a:pt x="165900" y="647279"/>
                  </a:cubicBezTo>
                  <a:cubicBezTo>
                    <a:pt x="163181" y="652718"/>
                    <a:pt x="155021" y="655438"/>
                    <a:pt x="149581" y="655438"/>
                  </a:cubicBezTo>
                  <a:cubicBezTo>
                    <a:pt x="141423" y="658158"/>
                    <a:pt x="135983" y="658158"/>
                    <a:pt x="127824" y="658158"/>
                  </a:cubicBezTo>
                  <a:cubicBezTo>
                    <a:pt x="122385" y="658158"/>
                    <a:pt x="116946" y="658158"/>
                    <a:pt x="106067" y="658158"/>
                  </a:cubicBezTo>
                  <a:cubicBezTo>
                    <a:pt x="92469" y="658158"/>
                    <a:pt x="78870" y="658158"/>
                    <a:pt x="62552" y="658158"/>
                  </a:cubicBezTo>
                  <a:cubicBezTo>
                    <a:pt x="54393" y="658158"/>
                    <a:pt x="46234" y="658158"/>
                    <a:pt x="40795" y="658158"/>
                  </a:cubicBezTo>
                  <a:cubicBezTo>
                    <a:pt x="32636" y="658158"/>
                    <a:pt x="21758" y="658158"/>
                    <a:pt x="16318" y="652718"/>
                  </a:cubicBezTo>
                  <a:cubicBezTo>
                    <a:pt x="8159" y="649999"/>
                    <a:pt x="0" y="641840"/>
                    <a:pt x="0" y="636401"/>
                  </a:cubicBezTo>
                  <a:cubicBezTo>
                    <a:pt x="0" y="633681"/>
                    <a:pt x="0" y="630961"/>
                    <a:pt x="2720" y="628241"/>
                  </a:cubicBezTo>
                  <a:cubicBezTo>
                    <a:pt x="8159" y="625522"/>
                    <a:pt x="16318" y="622802"/>
                    <a:pt x="24477" y="620082"/>
                  </a:cubicBezTo>
                  <a:cubicBezTo>
                    <a:pt x="38075" y="617363"/>
                    <a:pt x="48954" y="617363"/>
                    <a:pt x="62552" y="617363"/>
                  </a:cubicBezTo>
                  <a:cubicBezTo>
                    <a:pt x="62552" y="617363"/>
                    <a:pt x="62552" y="614643"/>
                    <a:pt x="62552" y="614643"/>
                  </a:cubicBezTo>
                  <a:cubicBezTo>
                    <a:pt x="62552" y="603765"/>
                    <a:pt x="65272" y="590166"/>
                    <a:pt x="65272" y="587447"/>
                  </a:cubicBezTo>
                  <a:cubicBezTo>
                    <a:pt x="67992" y="565689"/>
                    <a:pt x="73431" y="543932"/>
                    <a:pt x="76151" y="522175"/>
                  </a:cubicBezTo>
                  <a:cubicBezTo>
                    <a:pt x="78870" y="505857"/>
                    <a:pt x="81590" y="486820"/>
                    <a:pt x="87029" y="470501"/>
                  </a:cubicBezTo>
                  <a:cubicBezTo>
                    <a:pt x="87029" y="465062"/>
                    <a:pt x="92469" y="451464"/>
                    <a:pt x="92469" y="446025"/>
                  </a:cubicBezTo>
                  <a:cubicBezTo>
                    <a:pt x="92469" y="437866"/>
                    <a:pt x="73431" y="437866"/>
                    <a:pt x="65272" y="432426"/>
                  </a:cubicBezTo>
                  <a:cubicBezTo>
                    <a:pt x="59833" y="429707"/>
                    <a:pt x="54393" y="426987"/>
                    <a:pt x="54393" y="421548"/>
                  </a:cubicBezTo>
                  <a:cubicBezTo>
                    <a:pt x="54393" y="413389"/>
                    <a:pt x="62552" y="410669"/>
                    <a:pt x="73431" y="407949"/>
                  </a:cubicBezTo>
                  <a:cubicBezTo>
                    <a:pt x="78870" y="407949"/>
                    <a:pt x="92469" y="405230"/>
                    <a:pt x="100628" y="399790"/>
                  </a:cubicBezTo>
                  <a:cubicBezTo>
                    <a:pt x="106067" y="394351"/>
                    <a:pt x="106067" y="378033"/>
                    <a:pt x="108787" y="369874"/>
                  </a:cubicBezTo>
                  <a:cubicBezTo>
                    <a:pt x="114226" y="348117"/>
                    <a:pt x="119665" y="326360"/>
                    <a:pt x="125105" y="307322"/>
                  </a:cubicBezTo>
                  <a:cubicBezTo>
                    <a:pt x="130544" y="285565"/>
                    <a:pt x="135983" y="263808"/>
                    <a:pt x="141423" y="242051"/>
                  </a:cubicBezTo>
                  <a:cubicBezTo>
                    <a:pt x="146862" y="220293"/>
                    <a:pt x="152301" y="198536"/>
                    <a:pt x="155021" y="179498"/>
                  </a:cubicBezTo>
                  <a:cubicBezTo>
                    <a:pt x="157740" y="160461"/>
                    <a:pt x="163181" y="138703"/>
                    <a:pt x="168620" y="119665"/>
                  </a:cubicBezTo>
                  <a:cubicBezTo>
                    <a:pt x="176779" y="100627"/>
                    <a:pt x="182218" y="76150"/>
                    <a:pt x="193097" y="57113"/>
                  </a:cubicBezTo>
                  <a:lnTo>
                    <a:pt x="201256" y="38075"/>
                  </a:lnTo>
                  <a:cubicBezTo>
                    <a:pt x="206695" y="29916"/>
                    <a:pt x="209415" y="19038"/>
                    <a:pt x="217574" y="13598"/>
                  </a:cubicBezTo>
                  <a:cubicBezTo>
                    <a:pt x="231172" y="2720"/>
                    <a:pt x="255649" y="0"/>
                    <a:pt x="274687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/>
            </a:p>
          </p:txBody>
        </p:sp>
        <p:sp>
          <p:nvSpPr>
            <p:cNvPr id="39" name="Freeform: Shape 38">
              <a:extLst>
                <a:ext uri="{FF2B5EF4-FFF2-40B4-BE49-F238E27FC236}">
                  <a16:creationId xmlns:a16="http://schemas.microsoft.com/office/drawing/2014/main" id="{5FE86223-C5DA-4CB7-B13B-0B51B75F54C4}"/>
                </a:ext>
              </a:extLst>
            </p:cNvPr>
            <p:cNvSpPr/>
            <p:nvPr/>
          </p:nvSpPr>
          <p:spPr bwMode="black">
            <a:xfrm>
              <a:off x="3443268" y="4186718"/>
              <a:ext cx="435145" cy="761503"/>
            </a:xfrm>
            <a:custGeom>
              <a:avLst/>
              <a:gdLst>
                <a:gd name="connsiteX0" fmla="*/ 400855 w 435145"/>
                <a:gd name="connsiteY0" fmla="*/ 678260 h 761503"/>
                <a:gd name="connsiteX1" fmla="*/ 384537 w 435145"/>
                <a:gd name="connsiteY1" fmla="*/ 719054 h 761503"/>
                <a:gd name="connsiteX2" fmla="*/ 368219 w 435145"/>
                <a:gd name="connsiteY2" fmla="*/ 713615 h 761503"/>
                <a:gd name="connsiteX3" fmla="*/ 360060 w 435145"/>
                <a:gd name="connsiteY3" fmla="*/ 697297 h 761503"/>
                <a:gd name="connsiteX4" fmla="*/ 360060 w 435145"/>
                <a:gd name="connsiteY4" fmla="*/ 651063 h 761503"/>
                <a:gd name="connsiteX5" fmla="*/ 332864 w 435145"/>
                <a:gd name="connsiteY5" fmla="*/ 686418 h 761503"/>
                <a:gd name="connsiteX6" fmla="*/ 251274 w 435145"/>
                <a:gd name="connsiteY6" fmla="*/ 721774 h 761503"/>
                <a:gd name="connsiteX7" fmla="*/ 229517 w 435145"/>
                <a:gd name="connsiteY7" fmla="*/ 719054 h 761503"/>
                <a:gd name="connsiteX8" fmla="*/ 158806 w 435145"/>
                <a:gd name="connsiteY8" fmla="*/ 694578 h 761503"/>
                <a:gd name="connsiteX9" fmla="*/ 112571 w 435145"/>
                <a:gd name="connsiteY9" fmla="*/ 659222 h 761503"/>
                <a:gd name="connsiteX10" fmla="*/ 79936 w 435145"/>
                <a:gd name="connsiteY10" fmla="*/ 607548 h 761503"/>
                <a:gd name="connsiteX11" fmla="*/ 63618 w 435145"/>
                <a:gd name="connsiteY11" fmla="*/ 542277 h 761503"/>
                <a:gd name="connsiteX12" fmla="*/ 58178 w 435145"/>
                <a:gd name="connsiteY12" fmla="*/ 471566 h 761503"/>
                <a:gd name="connsiteX13" fmla="*/ 60898 w 435145"/>
                <a:gd name="connsiteY13" fmla="*/ 400855 h 761503"/>
                <a:gd name="connsiteX14" fmla="*/ 66337 w 435145"/>
                <a:gd name="connsiteY14" fmla="*/ 335583 h 761503"/>
                <a:gd name="connsiteX15" fmla="*/ 85375 w 435145"/>
                <a:gd name="connsiteY15" fmla="*/ 267592 h 761503"/>
                <a:gd name="connsiteX16" fmla="*/ 109852 w 435145"/>
                <a:gd name="connsiteY16" fmla="*/ 199600 h 761503"/>
                <a:gd name="connsiteX17" fmla="*/ 145207 w 435145"/>
                <a:gd name="connsiteY17" fmla="*/ 145207 h 761503"/>
                <a:gd name="connsiteX18" fmla="*/ 188722 w 435145"/>
                <a:gd name="connsiteY18" fmla="*/ 96253 h 761503"/>
                <a:gd name="connsiteX19" fmla="*/ 243115 w 435145"/>
                <a:gd name="connsiteY19" fmla="*/ 71776 h 761503"/>
                <a:gd name="connsiteX20" fmla="*/ 286630 w 435145"/>
                <a:gd name="connsiteY20" fmla="*/ 63617 h 761503"/>
                <a:gd name="connsiteX21" fmla="*/ 305667 w 435145"/>
                <a:gd name="connsiteY21" fmla="*/ 66337 h 761503"/>
                <a:gd name="connsiteX22" fmla="*/ 324705 w 435145"/>
                <a:gd name="connsiteY22" fmla="*/ 79936 h 761503"/>
                <a:gd name="connsiteX23" fmla="*/ 341023 w 435145"/>
                <a:gd name="connsiteY23" fmla="*/ 101693 h 761503"/>
                <a:gd name="connsiteX24" fmla="*/ 354621 w 435145"/>
                <a:gd name="connsiteY24" fmla="*/ 123450 h 761503"/>
                <a:gd name="connsiteX25" fmla="*/ 354621 w 435145"/>
                <a:gd name="connsiteY25" fmla="*/ 98973 h 761503"/>
                <a:gd name="connsiteX26" fmla="*/ 360060 w 435145"/>
                <a:gd name="connsiteY26" fmla="*/ 74496 h 761503"/>
                <a:gd name="connsiteX27" fmla="*/ 365500 w 435145"/>
                <a:gd name="connsiteY27" fmla="*/ 63617 h 761503"/>
                <a:gd name="connsiteX28" fmla="*/ 373659 w 435145"/>
                <a:gd name="connsiteY28" fmla="*/ 58178 h 761503"/>
                <a:gd name="connsiteX29" fmla="*/ 381818 w 435145"/>
                <a:gd name="connsiteY29" fmla="*/ 63617 h 761503"/>
                <a:gd name="connsiteX30" fmla="*/ 389977 w 435145"/>
                <a:gd name="connsiteY30" fmla="*/ 82655 h 761503"/>
                <a:gd name="connsiteX31" fmla="*/ 392696 w 435145"/>
                <a:gd name="connsiteY31" fmla="*/ 126170 h 761503"/>
                <a:gd name="connsiteX32" fmla="*/ 395416 w 435145"/>
                <a:gd name="connsiteY32" fmla="*/ 186002 h 761503"/>
                <a:gd name="connsiteX33" fmla="*/ 398136 w 435145"/>
                <a:gd name="connsiteY33" fmla="*/ 237675 h 761503"/>
                <a:gd name="connsiteX34" fmla="*/ 398136 w 435145"/>
                <a:gd name="connsiteY34" fmla="*/ 243115 h 761503"/>
                <a:gd name="connsiteX35" fmla="*/ 395416 w 435145"/>
                <a:gd name="connsiteY35" fmla="*/ 256713 h 761503"/>
                <a:gd name="connsiteX36" fmla="*/ 379098 w 435145"/>
                <a:gd name="connsiteY36" fmla="*/ 278470 h 761503"/>
                <a:gd name="connsiteX37" fmla="*/ 362780 w 435145"/>
                <a:gd name="connsiteY37" fmla="*/ 273031 h 761503"/>
                <a:gd name="connsiteX38" fmla="*/ 354621 w 435145"/>
                <a:gd name="connsiteY38" fmla="*/ 256713 h 761503"/>
                <a:gd name="connsiteX39" fmla="*/ 354621 w 435145"/>
                <a:gd name="connsiteY39" fmla="*/ 213198 h 761503"/>
                <a:gd name="connsiteX40" fmla="*/ 354621 w 435145"/>
                <a:gd name="connsiteY40" fmla="*/ 205040 h 761503"/>
                <a:gd name="connsiteX41" fmla="*/ 338303 w 435145"/>
                <a:gd name="connsiteY41" fmla="*/ 147927 h 761503"/>
                <a:gd name="connsiteX42" fmla="*/ 292069 w 435145"/>
                <a:gd name="connsiteY42" fmla="*/ 107132 h 761503"/>
                <a:gd name="connsiteX43" fmla="*/ 262153 w 435145"/>
                <a:gd name="connsiteY43" fmla="*/ 120730 h 761503"/>
                <a:gd name="connsiteX44" fmla="*/ 251274 w 435145"/>
                <a:gd name="connsiteY44" fmla="*/ 131609 h 761503"/>
                <a:gd name="connsiteX45" fmla="*/ 240395 w 435145"/>
                <a:gd name="connsiteY45" fmla="*/ 139768 h 761503"/>
                <a:gd name="connsiteX46" fmla="*/ 237676 w 435145"/>
                <a:gd name="connsiteY46" fmla="*/ 164245 h 761503"/>
                <a:gd name="connsiteX47" fmla="*/ 226797 w 435145"/>
                <a:gd name="connsiteY47" fmla="*/ 196881 h 761503"/>
                <a:gd name="connsiteX48" fmla="*/ 213199 w 435145"/>
                <a:gd name="connsiteY48" fmla="*/ 259433 h 761503"/>
                <a:gd name="connsiteX49" fmla="*/ 207759 w 435145"/>
                <a:gd name="connsiteY49" fmla="*/ 324704 h 761503"/>
                <a:gd name="connsiteX50" fmla="*/ 207759 w 435145"/>
                <a:gd name="connsiteY50" fmla="*/ 335583 h 761503"/>
                <a:gd name="connsiteX51" fmla="*/ 205040 w 435145"/>
                <a:gd name="connsiteY51" fmla="*/ 349181 h 761503"/>
                <a:gd name="connsiteX52" fmla="*/ 207759 w 435145"/>
                <a:gd name="connsiteY52" fmla="*/ 368219 h 761503"/>
                <a:gd name="connsiteX53" fmla="*/ 207759 w 435145"/>
                <a:gd name="connsiteY53" fmla="*/ 376378 h 761503"/>
                <a:gd name="connsiteX54" fmla="*/ 205040 w 435145"/>
                <a:gd name="connsiteY54" fmla="*/ 387256 h 761503"/>
                <a:gd name="connsiteX55" fmla="*/ 205040 w 435145"/>
                <a:gd name="connsiteY55" fmla="*/ 395415 h 761503"/>
                <a:gd name="connsiteX56" fmla="*/ 205040 w 435145"/>
                <a:gd name="connsiteY56" fmla="*/ 406294 h 761503"/>
                <a:gd name="connsiteX57" fmla="*/ 205040 w 435145"/>
                <a:gd name="connsiteY57" fmla="*/ 425332 h 761503"/>
                <a:gd name="connsiteX58" fmla="*/ 213199 w 435145"/>
                <a:gd name="connsiteY58" fmla="*/ 493323 h 761503"/>
                <a:gd name="connsiteX59" fmla="*/ 221358 w 435145"/>
                <a:gd name="connsiteY59" fmla="*/ 561314 h 761503"/>
                <a:gd name="connsiteX60" fmla="*/ 226797 w 435145"/>
                <a:gd name="connsiteY60" fmla="*/ 591231 h 761503"/>
                <a:gd name="connsiteX61" fmla="*/ 240395 w 435145"/>
                <a:gd name="connsiteY61" fmla="*/ 618427 h 761503"/>
                <a:gd name="connsiteX62" fmla="*/ 283910 w 435145"/>
                <a:gd name="connsiteY62" fmla="*/ 651063 h 761503"/>
                <a:gd name="connsiteX63" fmla="*/ 338303 w 435145"/>
                <a:gd name="connsiteY63" fmla="*/ 612988 h 761503"/>
                <a:gd name="connsiteX64" fmla="*/ 354621 w 435145"/>
                <a:gd name="connsiteY64" fmla="*/ 577632 h 761503"/>
                <a:gd name="connsiteX65" fmla="*/ 357341 w 435145"/>
                <a:gd name="connsiteY65" fmla="*/ 509641 h 761503"/>
                <a:gd name="connsiteX66" fmla="*/ 362780 w 435145"/>
                <a:gd name="connsiteY66" fmla="*/ 485164 h 761503"/>
                <a:gd name="connsiteX67" fmla="*/ 368219 w 435145"/>
                <a:gd name="connsiteY67" fmla="*/ 474286 h 761503"/>
                <a:gd name="connsiteX68" fmla="*/ 376378 w 435145"/>
                <a:gd name="connsiteY68" fmla="*/ 468846 h 761503"/>
                <a:gd name="connsiteX69" fmla="*/ 384537 w 435145"/>
                <a:gd name="connsiteY69" fmla="*/ 474286 h 761503"/>
                <a:gd name="connsiteX70" fmla="*/ 392696 w 435145"/>
                <a:gd name="connsiteY70" fmla="*/ 493323 h 761503"/>
                <a:gd name="connsiteX71" fmla="*/ 395416 w 435145"/>
                <a:gd name="connsiteY71" fmla="*/ 558595 h 761503"/>
                <a:gd name="connsiteX72" fmla="*/ 398136 w 435145"/>
                <a:gd name="connsiteY72" fmla="*/ 618427 h 761503"/>
                <a:gd name="connsiteX73" fmla="*/ 400855 w 435145"/>
                <a:gd name="connsiteY73" fmla="*/ 678260 h 761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</a:cxnLst>
              <a:rect l="l" t="t" r="r" b="b"/>
              <a:pathLst>
                <a:path w="435145" h="761503">
                  <a:moveTo>
                    <a:pt x="400855" y="678260"/>
                  </a:moveTo>
                  <a:cubicBezTo>
                    <a:pt x="400855" y="689138"/>
                    <a:pt x="400855" y="719054"/>
                    <a:pt x="384537" y="719054"/>
                  </a:cubicBezTo>
                  <a:cubicBezTo>
                    <a:pt x="376378" y="719054"/>
                    <a:pt x="373659" y="716335"/>
                    <a:pt x="368219" y="713615"/>
                  </a:cubicBezTo>
                  <a:cubicBezTo>
                    <a:pt x="362780" y="710895"/>
                    <a:pt x="360060" y="702736"/>
                    <a:pt x="360060" y="697297"/>
                  </a:cubicBezTo>
                  <a:cubicBezTo>
                    <a:pt x="357341" y="680979"/>
                    <a:pt x="357341" y="664661"/>
                    <a:pt x="360060" y="651063"/>
                  </a:cubicBezTo>
                  <a:cubicBezTo>
                    <a:pt x="354621" y="659222"/>
                    <a:pt x="341023" y="678260"/>
                    <a:pt x="332864" y="686418"/>
                  </a:cubicBezTo>
                  <a:cubicBezTo>
                    <a:pt x="311107" y="708176"/>
                    <a:pt x="283910" y="721774"/>
                    <a:pt x="251274" y="721774"/>
                  </a:cubicBezTo>
                  <a:cubicBezTo>
                    <a:pt x="243115" y="721774"/>
                    <a:pt x="237676" y="721774"/>
                    <a:pt x="229517" y="719054"/>
                  </a:cubicBezTo>
                  <a:cubicBezTo>
                    <a:pt x="207759" y="716335"/>
                    <a:pt x="183283" y="708176"/>
                    <a:pt x="158806" y="694578"/>
                  </a:cubicBezTo>
                  <a:cubicBezTo>
                    <a:pt x="142488" y="686418"/>
                    <a:pt x="126170" y="672820"/>
                    <a:pt x="112571" y="659222"/>
                  </a:cubicBezTo>
                  <a:cubicBezTo>
                    <a:pt x="98973" y="642904"/>
                    <a:pt x="88095" y="626586"/>
                    <a:pt x="79936" y="607548"/>
                  </a:cubicBezTo>
                  <a:cubicBezTo>
                    <a:pt x="71777" y="585791"/>
                    <a:pt x="66337" y="566754"/>
                    <a:pt x="63618" y="542277"/>
                  </a:cubicBezTo>
                  <a:cubicBezTo>
                    <a:pt x="60898" y="517800"/>
                    <a:pt x="58178" y="493323"/>
                    <a:pt x="58178" y="471566"/>
                  </a:cubicBezTo>
                  <a:cubicBezTo>
                    <a:pt x="58178" y="447089"/>
                    <a:pt x="58178" y="425332"/>
                    <a:pt x="60898" y="400855"/>
                  </a:cubicBezTo>
                  <a:cubicBezTo>
                    <a:pt x="63618" y="379098"/>
                    <a:pt x="60898" y="357340"/>
                    <a:pt x="66337" y="335583"/>
                  </a:cubicBezTo>
                  <a:cubicBezTo>
                    <a:pt x="69057" y="313826"/>
                    <a:pt x="77216" y="289349"/>
                    <a:pt x="85375" y="267592"/>
                  </a:cubicBezTo>
                  <a:cubicBezTo>
                    <a:pt x="93534" y="243115"/>
                    <a:pt x="98973" y="221357"/>
                    <a:pt x="109852" y="199600"/>
                  </a:cubicBezTo>
                  <a:cubicBezTo>
                    <a:pt x="118011" y="177843"/>
                    <a:pt x="131609" y="161525"/>
                    <a:pt x="145207" y="145207"/>
                  </a:cubicBezTo>
                  <a:cubicBezTo>
                    <a:pt x="158806" y="128889"/>
                    <a:pt x="172404" y="109852"/>
                    <a:pt x="188722" y="96253"/>
                  </a:cubicBezTo>
                  <a:cubicBezTo>
                    <a:pt x="205040" y="82655"/>
                    <a:pt x="224077" y="77216"/>
                    <a:pt x="243115" y="71776"/>
                  </a:cubicBezTo>
                  <a:cubicBezTo>
                    <a:pt x="256713" y="69057"/>
                    <a:pt x="273031" y="63617"/>
                    <a:pt x="286630" y="63617"/>
                  </a:cubicBezTo>
                  <a:cubicBezTo>
                    <a:pt x="292069" y="63617"/>
                    <a:pt x="297508" y="63617"/>
                    <a:pt x="305667" y="66337"/>
                  </a:cubicBezTo>
                  <a:cubicBezTo>
                    <a:pt x="313826" y="69057"/>
                    <a:pt x="319266" y="74496"/>
                    <a:pt x="324705" y="79936"/>
                  </a:cubicBezTo>
                  <a:cubicBezTo>
                    <a:pt x="332864" y="85375"/>
                    <a:pt x="332864" y="93534"/>
                    <a:pt x="341023" y="101693"/>
                  </a:cubicBezTo>
                  <a:cubicBezTo>
                    <a:pt x="346462" y="107132"/>
                    <a:pt x="349182" y="118011"/>
                    <a:pt x="354621" y="123450"/>
                  </a:cubicBezTo>
                  <a:cubicBezTo>
                    <a:pt x="354621" y="115291"/>
                    <a:pt x="354621" y="101693"/>
                    <a:pt x="354621" y="98973"/>
                  </a:cubicBezTo>
                  <a:cubicBezTo>
                    <a:pt x="354621" y="90814"/>
                    <a:pt x="354621" y="79936"/>
                    <a:pt x="360060" y="74496"/>
                  </a:cubicBezTo>
                  <a:cubicBezTo>
                    <a:pt x="362780" y="71776"/>
                    <a:pt x="362780" y="69057"/>
                    <a:pt x="365500" y="63617"/>
                  </a:cubicBezTo>
                  <a:cubicBezTo>
                    <a:pt x="368219" y="60898"/>
                    <a:pt x="370939" y="58178"/>
                    <a:pt x="373659" y="58178"/>
                  </a:cubicBezTo>
                  <a:cubicBezTo>
                    <a:pt x="376378" y="58178"/>
                    <a:pt x="379098" y="60898"/>
                    <a:pt x="381818" y="63617"/>
                  </a:cubicBezTo>
                  <a:cubicBezTo>
                    <a:pt x="384537" y="69057"/>
                    <a:pt x="387257" y="77216"/>
                    <a:pt x="389977" y="82655"/>
                  </a:cubicBezTo>
                  <a:cubicBezTo>
                    <a:pt x="389977" y="90814"/>
                    <a:pt x="392696" y="107132"/>
                    <a:pt x="392696" y="126170"/>
                  </a:cubicBezTo>
                  <a:cubicBezTo>
                    <a:pt x="392696" y="150647"/>
                    <a:pt x="392696" y="177843"/>
                    <a:pt x="395416" y="186002"/>
                  </a:cubicBezTo>
                  <a:cubicBezTo>
                    <a:pt x="398136" y="205040"/>
                    <a:pt x="398136" y="215918"/>
                    <a:pt x="398136" y="237675"/>
                  </a:cubicBezTo>
                  <a:cubicBezTo>
                    <a:pt x="398136" y="240395"/>
                    <a:pt x="398136" y="243115"/>
                    <a:pt x="398136" y="243115"/>
                  </a:cubicBezTo>
                  <a:cubicBezTo>
                    <a:pt x="398136" y="248554"/>
                    <a:pt x="398136" y="251274"/>
                    <a:pt x="395416" y="256713"/>
                  </a:cubicBezTo>
                  <a:cubicBezTo>
                    <a:pt x="392696" y="267592"/>
                    <a:pt x="389977" y="278470"/>
                    <a:pt x="379098" y="278470"/>
                  </a:cubicBezTo>
                  <a:cubicBezTo>
                    <a:pt x="370939" y="278470"/>
                    <a:pt x="368219" y="275751"/>
                    <a:pt x="362780" y="273031"/>
                  </a:cubicBezTo>
                  <a:cubicBezTo>
                    <a:pt x="357341" y="270311"/>
                    <a:pt x="354621" y="262152"/>
                    <a:pt x="354621" y="256713"/>
                  </a:cubicBezTo>
                  <a:cubicBezTo>
                    <a:pt x="349182" y="237675"/>
                    <a:pt x="354621" y="232236"/>
                    <a:pt x="354621" y="213198"/>
                  </a:cubicBezTo>
                  <a:cubicBezTo>
                    <a:pt x="354621" y="210479"/>
                    <a:pt x="354621" y="207759"/>
                    <a:pt x="354621" y="205040"/>
                  </a:cubicBezTo>
                  <a:cubicBezTo>
                    <a:pt x="349182" y="186002"/>
                    <a:pt x="343742" y="169684"/>
                    <a:pt x="338303" y="147927"/>
                  </a:cubicBezTo>
                  <a:cubicBezTo>
                    <a:pt x="332864" y="131609"/>
                    <a:pt x="311107" y="107132"/>
                    <a:pt x="292069" y="107132"/>
                  </a:cubicBezTo>
                  <a:cubicBezTo>
                    <a:pt x="281190" y="107132"/>
                    <a:pt x="270312" y="115291"/>
                    <a:pt x="262153" y="120730"/>
                  </a:cubicBezTo>
                  <a:cubicBezTo>
                    <a:pt x="259433" y="123450"/>
                    <a:pt x="256713" y="126170"/>
                    <a:pt x="251274" y="131609"/>
                  </a:cubicBezTo>
                  <a:cubicBezTo>
                    <a:pt x="248554" y="134329"/>
                    <a:pt x="243115" y="137048"/>
                    <a:pt x="240395" y="139768"/>
                  </a:cubicBezTo>
                  <a:cubicBezTo>
                    <a:pt x="237676" y="145207"/>
                    <a:pt x="240395" y="156086"/>
                    <a:pt x="237676" y="164245"/>
                  </a:cubicBezTo>
                  <a:cubicBezTo>
                    <a:pt x="232236" y="175123"/>
                    <a:pt x="229517" y="186002"/>
                    <a:pt x="226797" y="196881"/>
                  </a:cubicBezTo>
                  <a:cubicBezTo>
                    <a:pt x="221358" y="218638"/>
                    <a:pt x="218638" y="237675"/>
                    <a:pt x="213199" y="259433"/>
                  </a:cubicBezTo>
                  <a:cubicBezTo>
                    <a:pt x="210479" y="281190"/>
                    <a:pt x="207759" y="302947"/>
                    <a:pt x="207759" y="324704"/>
                  </a:cubicBezTo>
                  <a:cubicBezTo>
                    <a:pt x="207759" y="327424"/>
                    <a:pt x="207759" y="332863"/>
                    <a:pt x="207759" y="335583"/>
                  </a:cubicBezTo>
                  <a:cubicBezTo>
                    <a:pt x="207759" y="341022"/>
                    <a:pt x="205040" y="343742"/>
                    <a:pt x="205040" y="349181"/>
                  </a:cubicBezTo>
                  <a:cubicBezTo>
                    <a:pt x="205040" y="354621"/>
                    <a:pt x="207759" y="362779"/>
                    <a:pt x="207759" y="368219"/>
                  </a:cubicBezTo>
                  <a:cubicBezTo>
                    <a:pt x="207759" y="370939"/>
                    <a:pt x="207759" y="373658"/>
                    <a:pt x="207759" y="376378"/>
                  </a:cubicBezTo>
                  <a:cubicBezTo>
                    <a:pt x="205040" y="381817"/>
                    <a:pt x="205040" y="384537"/>
                    <a:pt x="205040" y="387256"/>
                  </a:cubicBezTo>
                  <a:cubicBezTo>
                    <a:pt x="205040" y="389976"/>
                    <a:pt x="205040" y="392696"/>
                    <a:pt x="205040" y="395415"/>
                  </a:cubicBezTo>
                  <a:cubicBezTo>
                    <a:pt x="205040" y="398135"/>
                    <a:pt x="205040" y="403574"/>
                    <a:pt x="205040" y="406294"/>
                  </a:cubicBezTo>
                  <a:cubicBezTo>
                    <a:pt x="205040" y="411733"/>
                    <a:pt x="205040" y="417173"/>
                    <a:pt x="205040" y="425332"/>
                  </a:cubicBezTo>
                  <a:cubicBezTo>
                    <a:pt x="205040" y="449809"/>
                    <a:pt x="213199" y="471566"/>
                    <a:pt x="213199" y="493323"/>
                  </a:cubicBezTo>
                  <a:cubicBezTo>
                    <a:pt x="213199" y="517800"/>
                    <a:pt x="215919" y="539557"/>
                    <a:pt x="221358" y="561314"/>
                  </a:cubicBezTo>
                  <a:cubicBezTo>
                    <a:pt x="224077" y="572193"/>
                    <a:pt x="224077" y="580352"/>
                    <a:pt x="226797" y="591231"/>
                  </a:cubicBezTo>
                  <a:cubicBezTo>
                    <a:pt x="229517" y="599390"/>
                    <a:pt x="237676" y="607548"/>
                    <a:pt x="240395" y="618427"/>
                  </a:cubicBezTo>
                  <a:cubicBezTo>
                    <a:pt x="248554" y="637465"/>
                    <a:pt x="262153" y="651063"/>
                    <a:pt x="283910" y="651063"/>
                  </a:cubicBezTo>
                  <a:cubicBezTo>
                    <a:pt x="302948" y="651063"/>
                    <a:pt x="330144" y="629306"/>
                    <a:pt x="338303" y="612988"/>
                  </a:cubicBezTo>
                  <a:cubicBezTo>
                    <a:pt x="346462" y="599390"/>
                    <a:pt x="351901" y="591231"/>
                    <a:pt x="354621" y="577632"/>
                  </a:cubicBezTo>
                  <a:cubicBezTo>
                    <a:pt x="354621" y="550436"/>
                    <a:pt x="354621" y="517800"/>
                    <a:pt x="357341" y="509641"/>
                  </a:cubicBezTo>
                  <a:cubicBezTo>
                    <a:pt x="357341" y="501482"/>
                    <a:pt x="357341" y="490603"/>
                    <a:pt x="362780" y="485164"/>
                  </a:cubicBezTo>
                  <a:cubicBezTo>
                    <a:pt x="365500" y="482444"/>
                    <a:pt x="365500" y="479725"/>
                    <a:pt x="368219" y="474286"/>
                  </a:cubicBezTo>
                  <a:cubicBezTo>
                    <a:pt x="370939" y="471566"/>
                    <a:pt x="373659" y="468846"/>
                    <a:pt x="376378" y="468846"/>
                  </a:cubicBezTo>
                  <a:cubicBezTo>
                    <a:pt x="379098" y="468846"/>
                    <a:pt x="381818" y="471566"/>
                    <a:pt x="384537" y="474286"/>
                  </a:cubicBezTo>
                  <a:cubicBezTo>
                    <a:pt x="387257" y="479725"/>
                    <a:pt x="389977" y="487884"/>
                    <a:pt x="392696" y="493323"/>
                  </a:cubicBezTo>
                  <a:cubicBezTo>
                    <a:pt x="392696" y="501482"/>
                    <a:pt x="395416" y="539557"/>
                    <a:pt x="395416" y="558595"/>
                  </a:cubicBezTo>
                  <a:cubicBezTo>
                    <a:pt x="395416" y="583072"/>
                    <a:pt x="395416" y="610268"/>
                    <a:pt x="398136" y="618427"/>
                  </a:cubicBezTo>
                  <a:cubicBezTo>
                    <a:pt x="398136" y="648343"/>
                    <a:pt x="400855" y="659222"/>
                    <a:pt x="400855" y="678260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/>
            </a:p>
          </p:txBody>
        </p:sp>
        <p:sp>
          <p:nvSpPr>
            <p:cNvPr id="40" name="Freeform: Shape 39">
              <a:extLst>
                <a:ext uri="{FF2B5EF4-FFF2-40B4-BE49-F238E27FC236}">
                  <a16:creationId xmlns:a16="http://schemas.microsoft.com/office/drawing/2014/main" id="{423558B8-06E0-4621-852F-9D8F09A23F14}"/>
                </a:ext>
              </a:extLst>
            </p:cNvPr>
            <p:cNvSpPr/>
            <p:nvPr/>
          </p:nvSpPr>
          <p:spPr bwMode="black">
            <a:xfrm>
              <a:off x="3829459" y="4200317"/>
              <a:ext cx="598325" cy="761503"/>
            </a:xfrm>
            <a:custGeom>
              <a:avLst/>
              <a:gdLst>
                <a:gd name="connsiteX0" fmla="*/ 360060 w 598324"/>
                <a:gd name="connsiteY0" fmla="*/ 332863 h 761503"/>
                <a:gd name="connsiteX1" fmla="*/ 341023 w 598324"/>
                <a:gd name="connsiteY1" fmla="*/ 370939 h 761503"/>
                <a:gd name="connsiteX2" fmla="*/ 376378 w 598324"/>
                <a:gd name="connsiteY2" fmla="*/ 389976 h 761503"/>
                <a:gd name="connsiteX3" fmla="*/ 425332 w 598324"/>
                <a:gd name="connsiteY3" fmla="*/ 433491 h 761503"/>
                <a:gd name="connsiteX4" fmla="*/ 438930 w 598324"/>
                <a:gd name="connsiteY4" fmla="*/ 463407 h 761503"/>
                <a:gd name="connsiteX5" fmla="*/ 449809 w 598324"/>
                <a:gd name="connsiteY5" fmla="*/ 498762 h 761503"/>
                <a:gd name="connsiteX6" fmla="*/ 457968 w 598324"/>
                <a:gd name="connsiteY6" fmla="*/ 528679 h 761503"/>
                <a:gd name="connsiteX7" fmla="*/ 466127 w 598324"/>
                <a:gd name="connsiteY7" fmla="*/ 564034 h 761503"/>
                <a:gd name="connsiteX8" fmla="*/ 471566 w 598324"/>
                <a:gd name="connsiteY8" fmla="*/ 593950 h 761503"/>
                <a:gd name="connsiteX9" fmla="*/ 479725 w 598324"/>
                <a:gd name="connsiteY9" fmla="*/ 607548 h 761503"/>
                <a:gd name="connsiteX10" fmla="*/ 487884 w 598324"/>
                <a:gd name="connsiteY10" fmla="*/ 623867 h 761503"/>
                <a:gd name="connsiteX11" fmla="*/ 501482 w 598324"/>
                <a:gd name="connsiteY11" fmla="*/ 651063 h 761503"/>
                <a:gd name="connsiteX12" fmla="*/ 523240 w 598324"/>
                <a:gd name="connsiteY12" fmla="*/ 670101 h 761503"/>
                <a:gd name="connsiteX13" fmla="*/ 534119 w 598324"/>
                <a:gd name="connsiteY13" fmla="*/ 686418 h 761503"/>
                <a:gd name="connsiteX14" fmla="*/ 531399 w 598324"/>
                <a:gd name="connsiteY14" fmla="*/ 694578 h 761503"/>
                <a:gd name="connsiteX15" fmla="*/ 498763 w 598324"/>
                <a:gd name="connsiteY15" fmla="*/ 708176 h 761503"/>
                <a:gd name="connsiteX16" fmla="*/ 449809 w 598324"/>
                <a:gd name="connsiteY16" fmla="*/ 700017 h 761503"/>
                <a:gd name="connsiteX17" fmla="*/ 400855 w 598324"/>
                <a:gd name="connsiteY17" fmla="*/ 667381 h 761503"/>
                <a:gd name="connsiteX18" fmla="*/ 381817 w 598324"/>
                <a:gd name="connsiteY18" fmla="*/ 642904 h 761503"/>
                <a:gd name="connsiteX19" fmla="*/ 368219 w 598324"/>
                <a:gd name="connsiteY19" fmla="*/ 610268 h 761503"/>
                <a:gd name="connsiteX20" fmla="*/ 349182 w 598324"/>
                <a:gd name="connsiteY20" fmla="*/ 550436 h 761503"/>
                <a:gd name="connsiteX21" fmla="*/ 338303 w 598324"/>
                <a:gd name="connsiteY21" fmla="*/ 504202 h 761503"/>
                <a:gd name="connsiteX22" fmla="*/ 330144 w 598324"/>
                <a:gd name="connsiteY22" fmla="*/ 477005 h 761503"/>
                <a:gd name="connsiteX23" fmla="*/ 321985 w 598324"/>
                <a:gd name="connsiteY23" fmla="*/ 455248 h 761503"/>
                <a:gd name="connsiteX24" fmla="*/ 305667 w 598324"/>
                <a:gd name="connsiteY24" fmla="*/ 436210 h 761503"/>
                <a:gd name="connsiteX25" fmla="*/ 294788 w 598324"/>
                <a:gd name="connsiteY25" fmla="*/ 441650 h 761503"/>
                <a:gd name="connsiteX26" fmla="*/ 278471 w 598324"/>
                <a:gd name="connsiteY26" fmla="*/ 463407 h 761503"/>
                <a:gd name="connsiteX27" fmla="*/ 264872 w 598324"/>
                <a:gd name="connsiteY27" fmla="*/ 496043 h 761503"/>
                <a:gd name="connsiteX28" fmla="*/ 262153 w 598324"/>
                <a:gd name="connsiteY28" fmla="*/ 517800 h 761503"/>
                <a:gd name="connsiteX29" fmla="*/ 262153 w 598324"/>
                <a:gd name="connsiteY29" fmla="*/ 523239 h 761503"/>
                <a:gd name="connsiteX30" fmla="*/ 262153 w 598324"/>
                <a:gd name="connsiteY30" fmla="*/ 553155 h 761503"/>
                <a:gd name="connsiteX31" fmla="*/ 262153 w 598324"/>
                <a:gd name="connsiteY31" fmla="*/ 629306 h 761503"/>
                <a:gd name="connsiteX32" fmla="*/ 259433 w 598324"/>
                <a:gd name="connsiteY32" fmla="*/ 659222 h 761503"/>
                <a:gd name="connsiteX33" fmla="*/ 283910 w 598324"/>
                <a:gd name="connsiteY33" fmla="*/ 659222 h 761503"/>
                <a:gd name="connsiteX34" fmla="*/ 321985 w 598324"/>
                <a:gd name="connsiteY34" fmla="*/ 675540 h 761503"/>
                <a:gd name="connsiteX35" fmla="*/ 316546 w 598324"/>
                <a:gd name="connsiteY35" fmla="*/ 691858 h 761503"/>
                <a:gd name="connsiteX36" fmla="*/ 300228 w 598324"/>
                <a:gd name="connsiteY36" fmla="*/ 700017 h 761503"/>
                <a:gd name="connsiteX37" fmla="*/ 278471 w 598324"/>
                <a:gd name="connsiteY37" fmla="*/ 702736 h 761503"/>
                <a:gd name="connsiteX38" fmla="*/ 243115 w 598324"/>
                <a:gd name="connsiteY38" fmla="*/ 702736 h 761503"/>
                <a:gd name="connsiteX39" fmla="*/ 221358 w 598324"/>
                <a:gd name="connsiteY39" fmla="*/ 710895 h 761503"/>
                <a:gd name="connsiteX40" fmla="*/ 194161 w 598324"/>
                <a:gd name="connsiteY40" fmla="*/ 702736 h 761503"/>
                <a:gd name="connsiteX41" fmla="*/ 177843 w 598324"/>
                <a:gd name="connsiteY41" fmla="*/ 702736 h 761503"/>
                <a:gd name="connsiteX42" fmla="*/ 126170 w 598324"/>
                <a:gd name="connsiteY42" fmla="*/ 702736 h 761503"/>
                <a:gd name="connsiteX43" fmla="*/ 101693 w 598324"/>
                <a:gd name="connsiteY43" fmla="*/ 702736 h 761503"/>
                <a:gd name="connsiteX44" fmla="*/ 74496 w 598324"/>
                <a:gd name="connsiteY44" fmla="*/ 697297 h 761503"/>
                <a:gd name="connsiteX45" fmla="*/ 58178 w 598324"/>
                <a:gd name="connsiteY45" fmla="*/ 680979 h 761503"/>
                <a:gd name="connsiteX46" fmla="*/ 63617 w 598324"/>
                <a:gd name="connsiteY46" fmla="*/ 672820 h 761503"/>
                <a:gd name="connsiteX47" fmla="*/ 85375 w 598324"/>
                <a:gd name="connsiteY47" fmla="*/ 664661 h 761503"/>
                <a:gd name="connsiteX48" fmla="*/ 128889 w 598324"/>
                <a:gd name="connsiteY48" fmla="*/ 659222 h 761503"/>
                <a:gd name="connsiteX49" fmla="*/ 147927 w 598324"/>
                <a:gd name="connsiteY49" fmla="*/ 659222 h 761503"/>
                <a:gd name="connsiteX50" fmla="*/ 145207 w 598324"/>
                <a:gd name="connsiteY50" fmla="*/ 653783 h 761503"/>
                <a:gd name="connsiteX51" fmla="*/ 131609 w 598324"/>
                <a:gd name="connsiteY51" fmla="*/ 585791 h 761503"/>
                <a:gd name="connsiteX52" fmla="*/ 134329 w 598324"/>
                <a:gd name="connsiteY52" fmla="*/ 498762 h 761503"/>
                <a:gd name="connsiteX53" fmla="*/ 137048 w 598324"/>
                <a:gd name="connsiteY53" fmla="*/ 406294 h 761503"/>
                <a:gd name="connsiteX54" fmla="*/ 134329 w 598324"/>
                <a:gd name="connsiteY54" fmla="*/ 327424 h 761503"/>
                <a:gd name="connsiteX55" fmla="*/ 137048 w 598324"/>
                <a:gd name="connsiteY55" fmla="*/ 253993 h 761503"/>
                <a:gd name="connsiteX56" fmla="*/ 139768 w 598324"/>
                <a:gd name="connsiteY56" fmla="*/ 207759 h 761503"/>
                <a:gd name="connsiteX57" fmla="*/ 137048 w 598324"/>
                <a:gd name="connsiteY57" fmla="*/ 172404 h 761503"/>
                <a:gd name="connsiteX58" fmla="*/ 137048 w 598324"/>
                <a:gd name="connsiteY58" fmla="*/ 112571 h 761503"/>
                <a:gd name="connsiteX59" fmla="*/ 126170 w 598324"/>
                <a:gd name="connsiteY59" fmla="*/ 112571 h 761503"/>
                <a:gd name="connsiteX60" fmla="*/ 101693 w 598324"/>
                <a:gd name="connsiteY60" fmla="*/ 112571 h 761503"/>
                <a:gd name="connsiteX61" fmla="*/ 74496 w 598324"/>
                <a:gd name="connsiteY61" fmla="*/ 107132 h 761503"/>
                <a:gd name="connsiteX62" fmla="*/ 58178 w 598324"/>
                <a:gd name="connsiteY62" fmla="*/ 90814 h 761503"/>
                <a:gd name="connsiteX63" fmla="*/ 63617 w 598324"/>
                <a:gd name="connsiteY63" fmla="*/ 82655 h 761503"/>
                <a:gd name="connsiteX64" fmla="*/ 85375 w 598324"/>
                <a:gd name="connsiteY64" fmla="*/ 74496 h 761503"/>
                <a:gd name="connsiteX65" fmla="*/ 137048 w 598324"/>
                <a:gd name="connsiteY65" fmla="*/ 69057 h 761503"/>
                <a:gd name="connsiteX66" fmla="*/ 145207 w 598324"/>
                <a:gd name="connsiteY66" fmla="*/ 69057 h 761503"/>
                <a:gd name="connsiteX67" fmla="*/ 169684 w 598324"/>
                <a:gd name="connsiteY67" fmla="*/ 58178 h 761503"/>
                <a:gd name="connsiteX68" fmla="*/ 177843 w 598324"/>
                <a:gd name="connsiteY68" fmla="*/ 58178 h 761503"/>
                <a:gd name="connsiteX69" fmla="*/ 205040 w 598324"/>
                <a:gd name="connsiteY69" fmla="*/ 66337 h 761503"/>
                <a:gd name="connsiteX70" fmla="*/ 286629 w 598324"/>
                <a:gd name="connsiteY70" fmla="*/ 63617 h 761503"/>
                <a:gd name="connsiteX71" fmla="*/ 324705 w 598324"/>
                <a:gd name="connsiteY71" fmla="*/ 79936 h 761503"/>
                <a:gd name="connsiteX72" fmla="*/ 319265 w 598324"/>
                <a:gd name="connsiteY72" fmla="*/ 96253 h 761503"/>
                <a:gd name="connsiteX73" fmla="*/ 302948 w 598324"/>
                <a:gd name="connsiteY73" fmla="*/ 104412 h 761503"/>
                <a:gd name="connsiteX74" fmla="*/ 278471 w 598324"/>
                <a:gd name="connsiteY74" fmla="*/ 112571 h 761503"/>
                <a:gd name="connsiteX75" fmla="*/ 232236 w 598324"/>
                <a:gd name="connsiteY75" fmla="*/ 112571 h 761503"/>
                <a:gd name="connsiteX76" fmla="*/ 240395 w 598324"/>
                <a:gd name="connsiteY76" fmla="*/ 137048 h 761503"/>
                <a:gd name="connsiteX77" fmla="*/ 240395 w 598324"/>
                <a:gd name="connsiteY77" fmla="*/ 150647 h 761503"/>
                <a:gd name="connsiteX78" fmla="*/ 243115 w 598324"/>
                <a:gd name="connsiteY78" fmla="*/ 158805 h 761503"/>
                <a:gd name="connsiteX79" fmla="*/ 248554 w 598324"/>
                <a:gd name="connsiteY79" fmla="*/ 188722 h 761503"/>
                <a:gd name="connsiteX80" fmla="*/ 248554 w 598324"/>
                <a:gd name="connsiteY80" fmla="*/ 199600 h 761503"/>
                <a:gd name="connsiteX81" fmla="*/ 248554 w 598324"/>
                <a:gd name="connsiteY81" fmla="*/ 221357 h 761503"/>
                <a:gd name="connsiteX82" fmla="*/ 253994 w 598324"/>
                <a:gd name="connsiteY82" fmla="*/ 264872 h 761503"/>
                <a:gd name="connsiteX83" fmla="*/ 262153 w 598324"/>
                <a:gd name="connsiteY83" fmla="*/ 297508 h 761503"/>
                <a:gd name="connsiteX84" fmla="*/ 264872 w 598324"/>
                <a:gd name="connsiteY84" fmla="*/ 324704 h 761503"/>
                <a:gd name="connsiteX85" fmla="*/ 264872 w 598324"/>
                <a:gd name="connsiteY85" fmla="*/ 332863 h 761503"/>
                <a:gd name="connsiteX86" fmla="*/ 264872 w 598324"/>
                <a:gd name="connsiteY86" fmla="*/ 351901 h 761503"/>
                <a:gd name="connsiteX87" fmla="*/ 262153 w 598324"/>
                <a:gd name="connsiteY87" fmla="*/ 370939 h 761503"/>
                <a:gd name="connsiteX88" fmla="*/ 267592 w 598324"/>
                <a:gd name="connsiteY88" fmla="*/ 384537 h 761503"/>
                <a:gd name="connsiteX89" fmla="*/ 278471 w 598324"/>
                <a:gd name="connsiteY89" fmla="*/ 370939 h 761503"/>
                <a:gd name="connsiteX90" fmla="*/ 297508 w 598324"/>
                <a:gd name="connsiteY90" fmla="*/ 332863 h 761503"/>
                <a:gd name="connsiteX91" fmla="*/ 311106 w 598324"/>
                <a:gd name="connsiteY91" fmla="*/ 305667 h 761503"/>
                <a:gd name="connsiteX92" fmla="*/ 335583 w 598324"/>
                <a:gd name="connsiteY92" fmla="*/ 259433 h 761503"/>
                <a:gd name="connsiteX93" fmla="*/ 354621 w 598324"/>
                <a:gd name="connsiteY93" fmla="*/ 224077 h 761503"/>
                <a:gd name="connsiteX94" fmla="*/ 381817 w 598324"/>
                <a:gd name="connsiteY94" fmla="*/ 172404 h 761503"/>
                <a:gd name="connsiteX95" fmla="*/ 409014 w 598324"/>
                <a:gd name="connsiteY95" fmla="*/ 118011 h 761503"/>
                <a:gd name="connsiteX96" fmla="*/ 411734 w 598324"/>
                <a:gd name="connsiteY96" fmla="*/ 115291 h 761503"/>
                <a:gd name="connsiteX97" fmla="*/ 398136 w 598324"/>
                <a:gd name="connsiteY97" fmla="*/ 115291 h 761503"/>
                <a:gd name="connsiteX98" fmla="*/ 379098 w 598324"/>
                <a:gd name="connsiteY98" fmla="*/ 109852 h 761503"/>
                <a:gd name="connsiteX99" fmla="*/ 368219 w 598324"/>
                <a:gd name="connsiteY99" fmla="*/ 93534 h 761503"/>
                <a:gd name="connsiteX100" fmla="*/ 370939 w 598324"/>
                <a:gd name="connsiteY100" fmla="*/ 85375 h 761503"/>
                <a:gd name="connsiteX101" fmla="*/ 387257 w 598324"/>
                <a:gd name="connsiteY101" fmla="*/ 77216 h 761503"/>
                <a:gd name="connsiteX102" fmla="*/ 422612 w 598324"/>
                <a:gd name="connsiteY102" fmla="*/ 71776 h 761503"/>
                <a:gd name="connsiteX103" fmla="*/ 436211 w 598324"/>
                <a:gd name="connsiteY103" fmla="*/ 71776 h 761503"/>
                <a:gd name="connsiteX104" fmla="*/ 438930 w 598324"/>
                <a:gd name="connsiteY104" fmla="*/ 69057 h 761503"/>
                <a:gd name="connsiteX105" fmla="*/ 452529 w 598324"/>
                <a:gd name="connsiteY105" fmla="*/ 66337 h 761503"/>
                <a:gd name="connsiteX106" fmla="*/ 466127 w 598324"/>
                <a:gd name="connsiteY106" fmla="*/ 69057 h 761503"/>
                <a:gd name="connsiteX107" fmla="*/ 471566 w 598324"/>
                <a:gd name="connsiteY107" fmla="*/ 71776 h 761503"/>
                <a:gd name="connsiteX108" fmla="*/ 515081 w 598324"/>
                <a:gd name="connsiteY108" fmla="*/ 71776 h 761503"/>
                <a:gd name="connsiteX109" fmla="*/ 542277 w 598324"/>
                <a:gd name="connsiteY109" fmla="*/ 88094 h 761503"/>
                <a:gd name="connsiteX110" fmla="*/ 536838 w 598324"/>
                <a:gd name="connsiteY110" fmla="*/ 104412 h 761503"/>
                <a:gd name="connsiteX111" fmla="*/ 525959 w 598324"/>
                <a:gd name="connsiteY111" fmla="*/ 112571 h 761503"/>
                <a:gd name="connsiteX112" fmla="*/ 509642 w 598324"/>
                <a:gd name="connsiteY112" fmla="*/ 115291 h 761503"/>
                <a:gd name="connsiteX113" fmla="*/ 468847 w 598324"/>
                <a:gd name="connsiteY113" fmla="*/ 115291 h 761503"/>
                <a:gd name="connsiteX114" fmla="*/ 457968 w 598324"/>
                <a:gd name="connsiteY114" fmla="*/ 137048 h 761503"/>
                <a:gd name="connsiteX115" fmla="*/ 430771 w 598324"/>
                <a:gd name="connsiteY115" fmla="*/ 194161 h 761503"/>
                <a:gd name="connsiteX116" fmla="*/ 400855 w 598324"/>
                <a:gd name="connsiteY116" fmla="*/ 262152 h 761503"/>
                <a:gd name="connsiteX117" fmla="*/ 360060 w 598324"/>
                <a:gd name="connsiteY117" fmla="*/ 332863 h 761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</a:cxnLst>
              <a:rect l="l" t="t" r="r" b="b"/>
              <a:pathLst>
                <a:path w="598324" h="761503">
                  <a:moveTo>
                    <a:pt x="360060" y="332863"/>
                  </a:moveTo>
                  <a:cubicBezTo>
                    <a:pt x="351901" y="343742"/>
                    <a:pt x="341023" y="357340"/>
                    <a:pt x="341023" y="370939"/>
                  </a:cubicBezTo>
                  <a:cubicBezTo>
                    <a:pt x="341023" y="379098"/>
                    <a:pt x="357341" y="381817"/>
                    <a:pt x="376378" y="389976"/>
                  </a:cubicBezTo>
                  <a:cubicBezTo>
                    <a:pt x="395416" y="398135"/>
                    <a:pt x="417173" y="417173"/>
                    <a:pt x="425332" y="433491"/>
                  </a:cubicBezTo>
                  <a:cubicBezTo>
                    <a:pt x="430771" y="444369"/>
                    <a:pt x="436211" y="452528"/>
                    <a:pt x="438930" y="463407"/>
                  </a:cubicBezTo>
                  <a:cubicBezTo>
                    <a:pt x="444370" y="474286"/>
                    <a:pt x="447089" y="487884"/>
                    <a:pt x="449809" y="498762"/>
                  </a:cubicBezTo>
                  <a:cubicBezTo>
                    <a:pt x="452529" y="512361"/>
                    <a:pt x="452529" y="517800"/>
                    <a:pt x="457968" y="528679"/>
                  </a:cubicBezTo>
                  <a:cubicBezTo>
                    <a:pt x="463407" y="539557"/>
                    <a:pt x="463407" y="553155"/>
                    <a:pt x="466127" y="564034"/>
                  </a:cubicBezTo>
                  <a:cubicBezTo>
                    <a:pt x="468847" y="572193"/>
                    <a:pt x="468847" y="585791"/>
                    <a:pt x="471566" y="593950"/>
                  </a:cubicBezTo>
                  <a:cubicBezTo>
                    <a:pt x="474286" y="599390"/>
                    <a:pt x="477006" y="602109"/>
                    <a:pt x="479725" y="607548"/>
                  </a:cubicBezTo>
                  <a:cubicBezTo>
                    <a:pt x="482445" y="612988"/>
                    <a:pt x="487884" y="618427"/>
                    <a:pt x="487884" y="623867"/>
                  </a:cubicBezTo>
                  <a:cubicBezTo>
                    <a:pt x="490604" y="634745"/>
                    <a:pt x="496043" y="642904"/>
                    <a:pt x="501482" y="651063"/>
                  </a:cubicBezTo>
                  <a:cubicBezTo>
                    <a:pt x="506922" y="661942"/>
                    <a:pt x="512361" y="664661"/>
                    <a:pt x="523240" y="670101"/>
                  </a:cubicBezTo>
                  <a:cubicBezTo>
                    <a:pt x="528679" y="672820"/>
                    <a:pt x="534119" y="680979"/>
                    <a:pt x="534119" y="686418"/>
                  </a:cubicBezTo>
                  <a:cubicBezTo>
                    <a:pt x="534119" y="689138"/>
                    <a:pt x="534119" y="691858"/>
                    <a:pt x="531399" y="694578"/>
                  </a:cubicBezTo>
                  <a:cubicBezTo>
                    <a:pt x="525959" y="702736"/>
                    <a:pt x="512361" y="708176"/>
                    <a:pt x="498763" y="708176"/>
                  </a:cubicBezTo>
                  <a:cubicBezTo>
                    <a:pt x="485165" y="708176"/>
                    <a:pt x="466127" y="705456"/>
                    <a:pt x="449809" y="700017"/>
                  </a:cubicBezTo>
                  <a:cubicBezTo>
                    <a:pt x="430771" y="694578"/>
                    <a:pt x="409014" y="675540"/>
                    <a:pt x="400855" y="667381"/>
                  </a:cubicBezTo>
                  <a:cubicBezTo>
                    <a:pt x="392696" y="659222"/>
                    <a:pt x="387257" y="651063"/>
                    <a:pt x="381817" y="642904"/>
                  </a:cubicBezTo>
                  <a:cubicBezTo>
                    <a:pt x="376378" y="632025"/>
                    <a:pt x="370939" y="623867"/>
                    <a:pt x="368219" y="610268"/>
                  </a:cubicBezTo>
                  <a:cubicBezTo>
                    <a:pt x="360060" y="588511"/>
                    <a:pt x="357341" y="574913"/>
                    <a:pt x="349182" y="550436"/>
                  </a:cubicBezTo>
                  <a:cubicBezTo>
                    <a:pt x="343742" y="534118"/>
                    <a:pt x="341023" y="520520"/>
                    <a:pt x="338303" y="504202"/>
                  </a:cubicBezTo>
                  <a:cubicBezTo>
                    <a:pt x="335583" y="493323"/>
                    <a:pt x="332864" y="485164"/>
                    <a:pt x="330144" y="477005"/>
                  </a:cubicBezTo>
                  <a:cubicBezTo>
                    <a:pt x="327424" y="471566"/>
                    <a:pt x="324705" y="463407"/>
                    <a:pt x="321985" y="455248"/>
                  </a:cubicBezTo>
                  <a:cubicBezTo>
                    <a:pt x="316546" y="444369"/>
                    <a:pt x="311106" y="436210"/>
                    <a:pt x="305667" y="436210"/>
                  </a:cubicBezTo>
                  <a:cubicBezTo>
                    <a:pt x="302948" y="436210"/>
                    <a:pt x="300228" y="438930"/>
                    <a:pt x="294788" y="441650"/>
                  </a:cubicBezTo>
                  <a:cubicBezTo>
                    <a:pt x="289349" y="447089"/>
                    <a:pt x="283910" y="455248"/>
                    <a:pt x="278471" y="463407"/>
                  </a:cubicBezTo>
                  <a:cubicBezTo>
                    <a:pt x="270312" y="474286"/>
                    <a:pt x="267592" y="485164"/>
                    <a:pt x="264872" y="496043"/>
                  </a:cubicBezTo>
                  <a:cubicBezTo>
                    <a:pt x="264872" y="504202"/>
                    <a:pt x="262153" y="512361"/>
                    <a:pt x="262153" y="517800"/>
                  </a:cubicBezTo>
                  <a:cubicBezTo>
                    <a:pt x="262153" y="520520"/>
                    <a:pt x="262153" y="520520"/>
                    <a:pt x="262153" y="523239"/>
                  </a:cubicBezTo>
                  <a:cubicBezTo>
                    <a:pt x="262153" y="528679"/>
                    <a:pt x="262153" y="544997"/>
                    <a:pt x="262153" y="553155"/>
                  </a:cubicBezTo>
                  <a:cubicBezTo>
                    <a:pt x="262153" y="583072"/>
                    <a:pt x="264872" y="599390"/>
                    <a:pt x="262153" y="629306"/>
                  </a:cubicBezTo>
                  <a:cubicBezTo>
                    <a:pt x="262153" y="640184"/>
                    <a:pt x="262153" y="648343"/>
                    <a:pt x="259433" y="659222"/>
                  </a:cubicBezTo>
                  <a:cubicBezTo>
                    <a:pt x="270312" y="659222"/>
                    <a:pt x="278471" y="659222"/>
                    <a:pt x="283910" y="659222"/>
                  </a:cubicBezTo>
                  <a:cubicBezTo>
                    <a:pt x="297508" y="659222"/>
                    <a:pt x="321985" y="659222"/>
                    <a:pt x="321985" y="675540"/>
                  </a:cubicBezTo>
                  <a:cubicBezTo>
                    <a:pt x="321985" y="683699"/>
                    <a:pt x="319265" y="686418"/>
                    <a:pt x="316546" y="691858"/>
                  </a:cubicBezTo>
                  <a:cubicBezTo>
                    <a:pt x="311106" y="697297"/>
                    <a:pt x="305667" y="700017"/>
                    <a:pt x="300228" y="700017"/>
                  </a:cubicBezTo>
                  <a:cubicBezTo>
                    <a:pt x="292069" y="702736"/>
                    <a:pt x="283910" y="702736"/>
                    <a:pt x="278471" y="702736"/>
                  </a:cubicBezTo>
                  <a:cubicBezTo>
                    <a:pt x="275751" y="702736"/>
                    <a:pt x="259433" y="702736"/>
                    <a:pt x="243115" y="702736"/>
                  </a:cubicBezTo>
                  <a:cubicBezTo>
                    <a:pt x="237676" y="708176"/>
                    <a:pt x="229517" y="710895"/>
                    <a:pt x="221358" y="710895"/>
                  </a:cubicBezTo>
                  <a:cubicBezTo>
                    <a:pt x="213199" y="710895"/>
                    <a:pt x="202320" y="708176"/>
                    <a:pt x="194161" y="702736"/>
                  </a:cubicBezTo>
                  <a:cubicBezTo>
                    <a:pt x="186002" y="702736"/>
                    <a:pt x="180563" y="702736"/>
                    <a:pt x="177843" y="702736"/>
                  </a:cubicBezTo>
                  <a:cubicBezTo>
                    <a:pt x="164245" y="702736"/>
                    <a:pt x="139768" y="702736"/>
                    <a:pt x="126170" y="702736"/>
                  </a:cubicBezTo>
                  <a:cubicBezTo>
                    <a:pt x="118011" y="702736"/>
                    <a:pt x="109852" y="702736"/>
                    <a:pt x="101693" y="702736"/>
                  </a:cubicBezTo>
                  <a:cubicBezTo>
                    <a:pt x="93534" y="702736"/>
                    <a:pt x="82655" y="702736"/>
                    <a:pt x="74496" y="697297"/>
                  </a:cubicBezTo>
                  <a:cubicBezTo>
                    <a:pt x="66337" y="694578"/>
                    <a:pt x="58178" y="686418"/>
                    <a:pt x="58178" y="680979"/>
                  </a:cubicBezTo>
                  <a:cubicBezTo>
                    <a:pt x="58178" y="678260"/>
                    <a:pt x="58178" y="675540"/>
                    <a:pt x="63617" y="672820"/>
                  </a:cubicBezTo>
                  <a:cubicBezTo>
                    <a:pt x="69057" y="670101"/>
                    <a:pt x="79935" y="667381"/>
                    <a:pt x="85375" y="664661"/>
                  </a:cubicBezTo>
                  <a:cubicBezTo>
                    <a:pt x="104412" y="661942"/>
                    <a:pt x="123450" y="659222"/>
                    <a:pt x="128889" y="659222"/>
                  </a:cubicBezTo>
                  <a:cubicBezTo>
                    <a:pt x="134329" y="659222"/>
                    <a:pt x="139768" y="659222"/>
                    <a:pt x="147927" y="659222"/>
                  </a:cubicBezTo>
                  <a:cubicBezTo>
                    <a:pt x="147927" y="656502"/>
                    <a:pt x="145207" y="653783"/>
                    <a:pt x="145207" y="653783"/>
                  </a:cubicBezTo>
                  <a:cubicBezTo>
                    <a:pt x="131609" y="632025"/>
                    <a:pt x="131609" y="610268"/>
                    <a:pt x="131609" y="585791"/>
                  </a:cubicBezTo>
                  <a:cubicBezTo>
                    <a:pt x="131609" y="555875"/>
                    <a:pt x="131609" y="528679"/>
                    <a:pt x="134329" y="498762"/>
                  </a:cubicBezTo>
                  <a:cubicBezTo>
                    <a:pt x="134329" y="468846"/>
                    <a:pt x="137048" y="436210"/>
                    <a:pt x="137048" y="406294"/>
                  </a:cubicBezTo>
                  <a:cubicBezTo>
                    <a:pt x="137048" y="379098"/>
                    <a:pt x="134329" y="354621"/>
                    <a:pt x="134329" y="327424"/>
                  </a:cubicBezTo>
                  <a:cubicBezTo>
                    <a:pt x="134329" y="302947"/>
                    <a:pt x="137048" y="278470"/>
                    <a:pt x="137048" y="253993"/>
                  </a:cubicBezTo>
                  <a:cubicBezTo>
                    <a:pt x="137048" y="237675"/>
                    <a:pt x="139768" y="224077"/>
                    <a:pt x="139768" y="207759"/>
                  </a:cubicBezTo>
                  <a:cubicBezTo>
                    <a:pt x="139768" y="196881"/>
                    <a:pt x="137048" y="183282"/>
                    <a:pt x="137048" y="172404"/>
                  </a:cubicBezTo>
                  <a:cubicBezTo>
                    <a:pt x="137048" y="150647"/>
                    <a:pt x="137048" y="131609"/>
                    <a:pt x="137048" y="112571"/>
                  </a:cubicBezTo>
                  <a:cubicBezTo>
                    <a:pt x="134329" y="112571"/>
                    <a:pt x="137048" y="112571"/>
                    <a:pt x="126170" y="112571"/>
                  </a:cubicBezTo>
                  <a:cubicBezTo>
                    <a:pt x="118011" y="112571"/>
                    <a:pt x="109852" y="112571"/>
                    <a:pt x="101693" y="112571"/>
                  </a:cubicBezTo>
                  <a:cubicBezTo>
                    <a:pt x="93534" y="112571"/>
                    <a:pt x="82655" y="109852"/>
                    <a:pt x="74496" y="107132"/>
                  </a:cubicBezTo>
                  <a:cubicBezTo>
                    <a:pt x="66337" y="104412"/>
                    <a:pt x="58178" y="96253"/>
                    <a:pt x="58178" y="90814"/>
                  </a:cubicBezTo>
                  <a:cubicBezTo>
                    <a:pt x="58178" y="88094"/>
                    <a:pt x="58178" y="85375"/>
                    <a:pt x="63617" y="82655"/>
                  </a:cubicBezTo>
                  <a:cubicBezTo>
                    <a:pt x="69057" y="79936"/>
                    <a:pt x="79935" y="77216"/>
                    <a:pt x="85375" y="74496"/>
                  </a:cubicBezTo>
                  <a:cubicBezTo>
                    <a:pt x="104412" y="71776"/>
                    <a:pt x="128889" y="69057"/>
                    <a:pt x="137048" y="69057"/>
                  </a:cubicBezTo>
                  <a:cubicBezTo>
                    <a:pt x="137048" y="69057"/>
                    <a:pt x="139768" y="69057"/>
                    <a:pt x="145207" y="69057"/>
                  </a:cubicBezTo>
                  <a:cubicBezTo>
                    <a:pt x="150646" y="60898"/>
                    <a:pt x="158806" y="58178"/>
                    <a:pt x="169684" y="58178"/>
                  </a:cubicBezTo>
                  <a:cubicBezTo>
                    <a:pt x="172404" y="58178"/>
                    <a:pt x="175123" y="58178"/>
                    <a:pt x="177843" y="58178"/>
                  </a:cubicBezTo>
                  <a:cubicBezTo>
                    <a:pt x="186002" y="58178"/>
                    <a:pt x="196881" y="63617"/>
                    <a:pt x="205040" y="66337"/>
                  </a:cubicBezTo>
                  <a:cubicBezTo>
                    <a:pt x="237676" y="66337"/>
                    <a:pt x="273031" y="63617"/>
                    <a:pt x="286629" y="63617"/>
                  </a:cubicBezTo>
                  <a:cubicBezTo>
                    <a:pt x="300228" y="63617"/>
                    <a:pt x="324705" y="63617"/>
                    <a:pt x="324705" y="79936"/>
                  </a:cubicBezTo>
                  <a:cubicBezTo>
                    <a:pt x="324705" y="88094"/>
                    <a:pt x="321985" y="90814"/>
                    <a:pt x="319265" y="96253"/>
                  </a:cubicBezTo>
                  <a:cubicBezTo>
                    <a:pt x="313826" y="101693"/>
                    <a:pt x="308387" y="104412"/>
                    <a:pt x="302948" y="104412"/>
                  </a:cubicBezTo>
                  <a:cubicBezTo>
                    <a:pt x="289349" y="112571"/>
                    <a:pt x="283910" y="112571"/>
                    <a:pt x="278471" y="112571"/>
                  </a:cubicBezTo>
                  <a:cubicBezTo>
                    <a:pt x="273031" y="112571"/>
                    <a:pt x="253994" y="112571"/>
                    <a:pt x="232236" y="112571"/>
                  </a:cubicBezTo>
                  <a:cubicBezTo>
                    <a:pt x="237676" y="120730"/>
                    <a:pt x="240395" y="128889"/>
                    <a:pt x="240395" y="137048"/>
                  </a:cubicBezTo>
                  <a:cubicBezTo>
                    <a:pt x="240395" y="142487"/>
                    <a:pt x="240395" y="145207"/>
                    <a:pt x="240395" y="150647"/>
                  </a:cubicBezTo>
                  <a:cubicBezTo>
                    <a:pt x="240395" y="153366"/>
                    <a:pt x="240395" y="156086"/>
                    <a:pt x="243115" y="158805"/>
                  </a:cubicBezTo>
                  <a:cubicBezTo>
                    <a:pt x="245835" y="169684"/>
                    <a:pt x="245835" y="180563"/>
                    <a:pt x="248554" y="188722"/>
                  </a:cubicBezTo>
                  <a:cubicBezTo>
                    <a:pt x="248554" y="191441"/>
                    <a:pt x="248554" y="194161"/>
                    <a:pt x="248554" y="199600"/>
                  </a:cubicBezTo>
                  <a:cubicBezTo>
                    <a:pt x="248554" y="207759"/>
                    <a:pt x="248554" y="213198"/>
                    <a:pt x="248554" y="221357"/>
                  </a:cubicBezTo>
                  <a:cubicBezTo>
                    <a:pt x="248554" y="234956"/>
                    <a:pt x="251274" y="248554"/>
                    <a:pt x="253994" y="264872"/>
                  </a:cubicBezTo>
                  <a:cubicBezTo>
                    <a:pt x="256713" y="275751"/>
                    <a:pt x="259433" y="286629"/>
                    <a:pt x="262153" y="297508"/>
                  </a:cubicBezTo>
                  <a:cubicBezTo>
                    <a:pt x="264872" y="305667"/>
                    <a:pt x="264872" y="313826"/>
                    <a:pt x="264872" y="324704"/>
                  </a:cubicBezTo>
                  <a:cubicBezTo>
                    <a:pt x="264872" y="327424"/>
                    <a:pt x="264872" y="330144"/>
                    <a:pt x="264872" y="332863"/>
                  </a:cubicBezTo>
                  <a:cubicBezTo>
                    <a:pt x="264872" y="338303"/>
                    <a:pt x="264872" y="346462"/>
                    <a:pt x="264872" y="351901"/>
                  </a:cubicBezTo>
                  <a:cubicBezTo>
                    <a:pt x="264872" y="357340"/>
                    <a:pt x="262153" y="365499"/>
                    <a:pt x="262153" y="370939"/>
                  </a:cubicBezTo>
                  <a:cubicBezTo>
                    <a:pt x="262153" y="376378"/>
                    <a:pt x="264872" y="384537"/>
                    <a:pt x="267592" y="384537"/>
                  </a:cubicBezTo>
                  <a:cubicBezTo>
                    <a:pt x="273031" y="384537"/>
                    <a:pt x="275751" y="376378"/>
                    <a:pt x="278471" y="370939"/>
                  </a:cubicBezTo>
                  <a:cubicBezTo>
                    <a:pt x="283910" y="360060"/>
                    <a:pt x="289349" y="346462"/>
                    <a:pt x="297508" y="332863"/>
                  </a:cubicBezTo>
                  <a:cubicBezTo>
                    <a:pt x="302948" y="324704"/>
                    <a:pt x="305667" y="313826"/>
                    <a:pt x="311106" y="305667"/>
                  </a:cubicBezTo>
                  <a:cubicBezTo>
                    <a:pt x="319265" y="289349"/>
                    <a:pt x="327424" y="275751"/>
                    <a:pt x="335583" y="259433"/>
                  </a:cubicBezTo>
                  <a:cubicBezTo>
                    <a:pt x="341023" y="248554"/>
                    <a:pt x="349182" y="234956"/>
                    <a:pt x="354621" y="224077"/>
                  </a:cubicBezTo>
                  <a:cubicBezTo>
                    <a:pt x="362780" y="207759"/>
                    <a:pt x="370939" y="191441"/>
                    <a:pt x="381817" y="172404"/>
                  </a:cubicBezTo>
                  <a:cubicBezTo>
                    <a:pt x="389977" y="153366"/>
                    <a:pt x="400855" y="134329"/>
                    <a:pt x="409014" y="118011"/>
                  </a:cubicBezTo>
                  <a:cubicBezTo>
                    <a:pt x="409014" y="115291"/>
                    <a:pt x="409014" y="115291"/>
                    <a:pt x="411734" y="115291"/>
                  </a:cubicBezTo>
                  <a:cubicBezTo>
                    <a:pt x="406294" y="115291"/>
                    <a:pt x="400855" y="115291"/>
                    <a:pt x="398136" y="115291"/>
                  </a:cubicBezTo>
                  <a:cubicBezTo>
                    <a:pt x="392696" y="115291"/>
                    <a:pt x="384537" y="115291"/>
                    <a:pt x="379098" y="109852"/>
                  </a:cubicBezTo>
                  <a:cubicBezTo>
                    <a:pt x="373659" y="107132"/>
                    <a:pt x="368219" y="98973"/>
                    <a:pt x="368219" y="93534"/>
                  </a:cubicBezTo>
                  <a:cubicBezTo>
                    <a:pt x="368219" y="90814"/>
                    <a:pt x="368219" y="88094"/>
                    <a:pt x="370939" y="85375"/>
                  </a:cubicBezTo>
                  <a:cubicBezTo>
                    <a:pt x="373659" y="82655"/>
                    <a:pt x="381817" y="79936"/>
                    <a:pt x="387257" y="77216"/>
                  </a:cubicBezTo>
                  <a:cubicBezTo>
                    <a:pt x="400855" y="74496"/>
                    <a:pt x="414453" y="71776"/>
                    <a:pt x="422612" y="71776"/>
                  </a:cubicBezTo>
                  <a:cubicBezTo>
                    <a:pt x="425332" y="71776"/>
                    <a:pt x="430771" y="71776"/>
                    <a:pt x="436211" y="71776"/>
                  </a:cubicBezTo>
                  <a:cubicBezTo>
                    <a:pt x="436211" y="71776"/>
                    <a:pt x="438930" y="69057"/>
                    <a:pt x="438930" y="69057"/>
                  </a:cubicBezTo>
                  <a:cubicBezTo>
                    <a:pt x="444370" y="66337"/>
                    <a:pt x="447089" y="66337"/>
                    <a:pt x="452529" y="66337"/>
                  </a:cubicBezTo>
                  <a:cubicBezTo>
                    <a:pt x="457968" y="66337"/>
                    <a:pt x="460688" y="66337"/>
                    <a:pt x="466127" y="69057"/>
                  </a:cubicBezTo>
                  <a:cubicBezTo>
                    <a:pt x="468847" y="69057"/>
                    <a:pt x="471566" y="71776"/>
                    <a:pt x="471566" y="71776"/>
                  </a:cubicBezTo>
                  <a:cubicBezTo>
                    <a:pt x="490604" y="71776"/>
                    <a:pt x="506922" y="71776"/>
                    <a:pt x="515081" y="71776"/>
                  </a:cubicBezTo>
                  <a:cubicBezTo>
                    <a:pt x="523240" y="71776"/>
                    <a:pt x="542277" y="71776"/>
                    <a:pt x="542277" y="88094"/>
                  </a:cubicBezTo>
                  <a:cubicBezTo>
                    <a:pt x="542277" y="96253"/>
                    <a:pt x="542277" y="98973"/>
                    <a:pt x="536838" y="104412"/>
                  </a:cubicBezTo>
                  <a:cubicBezTo>
                    <a:pt x="534119" y="109852"/>
                    <a:pt x="528679" y="112571"/>
                    <a:pt x="525959" y="112571"/>
                  </a:cubicBezTo>
                  <a:cubicBezTo>
                    <a:pt x="520520" y="115291"/>
                    <a:pt x="515081" y="115291"/>
                    <a:pt x="509642" y="115291"/>
                  </a:cubicBezTo>
                  <a:cubicBezTo>
                    <a:pt x="506922" y="115291"/>
                    <a:pt x="487884" y="115291"/>
                    <a:pt x="468847" y="115291"/>
                  </a:cubicBezTo>
                  <a:cubicBezTo>
                    <a:pt x="466127" y="123450"/>
                    <a:pt x="460688" y="128889"/>
                    <a:pt x="457968" y="137048"/>
                  </a:cubicBezTo>
                  <a:cubicBezTo>
                    <a:pt x="447089" y="156086"/>
                    <a:pt x="438930" y="175123"/>
                    <a:pt x="430771" y="194161"/>
                  </a:cubicBezTo>
                  <a:cubicBezTo>
                    <a:pt x="419893" y="215918"/>
                    <a:pt x="411734" y="240395"/>
                    <a:pt x="400855" y="262152"/>
                  </a:cubicBezTo>
                  <a:cubicBezTo>
                    <a:pt x="387257" y="289349"/>
                    <a:pt x="373659" y="311106"/>
                    <a:pt x="360060" y="332863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/>
            </a:p>
          </p:txBody>
        </p:sp>
        <p:sp>
          <p:nvSpPr>
            <p:cNvPr id="41" name="Freeform: Shape 40">
              <a:extLst>
                <a:ext uri="{FF2B5EF4-FFF2-40B4-BE49-F238E27FC236}">
                  <a16:creationId xmlns:a16="http://schemas.microsoft.com/office/drawing/2014/main" id="{396A1217-0C47-4B68-B46A-6D7E7E1D3BBD}"/>
                </a:ext>
              </a:extLst>
            </p:cNvPr>
            <p:cNvSpPr/>
            <p:nvPr/>
          </p:nvSpPr>
          <p:spPr bwMode="black">
            <a:xfrm>
              <a:off x="4335316" y="4186718"/>
              <a:ext cx="353556" cy="761503"/>
            </a:xfrm>
            <a:custGeom>
              <a:avLst/>
              <a:gdLst>
                <a:gd name="connsiteX0" fmla="*/ 283910 w 353555"/>
                <a:gd name="connsiteY0" fmla="*/ 672820 h 761503"/>
                <a:gd name="connsiteX1" fmla="*/ 321985 w 353555"/>
                <a:gd name="connsiteY1" fmla="*/ 689138 h 761503"/>
                <a:gd name="connsiteX2" fmla="*/ 316546 w 353555"/>
                <a:gd name="connsiteY2" fmla="*/ 705456 h 761503"/>
                <a:gd name="connsiteX3" fmla="*/ 300228 w 353555"/>
                <a:gd name="connsiteY3" fmla="*/ 713615 h 761503"/>
                <a:gd name="connsiteX4" fmla="*/ 278471 w 353555"/>
                <a:gd name="connsiteY4" fmla="*/ 716335 h 761503"/>
                <a:gd name="connsiteX5" fmla="*/ 237676 w 353555"/>
                <a:gd name="connsiteY5" fmla="*/ 716335 h 761503"/>
                <a:gd name="connsiteX6" fmla="*/ 180563 w 353555"/>
                <a:gd name="connsiteY6" fmla="*/ 719054 h 761503"/>
                <a:gd name="connsiteX7" fmla="*/ 126170 w 353555"/>
                <a:gd name="connsiteY7" fmla="*/ 719054 h 761503"/>
                <a:gd name="connsiteX8" fmla="*/ 101693 w 353555"/>
                <a:gd name="connsiteY8" fmla="*/ 719054 h 761503"/>
                <a:gd name="connsiteX9" fmla="*/ 74496 w 353555"/>
                <a:gd name="connsiteY9" fmla="*/ 713615 h 761503"/>
                <a:gd name="connsiteX10" fmla="*/ 58178 w 353555"/>
                <a:gd name="connsiteY10" fmla="*/ 697297 h 761503"/>
                <a:gd name="connsiteX11" fmla="*/ 63617 w 353555"/>
                <a:gd name="connsiteY11" fmla="*/ 689138 h 761503"/>
                <a:gd name="connsiteX12" fmla="*/ 85375 w 353555"/>
                <a:gd name="connsiteY12" fmla="*/ 680979 h 761503"/>
                <a:gd name="connsiteX13" fmla="*/ 131609 w 353555"/>
                <a:gd name="connsiteY13" fmla="*/ 675540 h 761503"/>
                <a:gd name="connsiteX14" fmla="*/ 142488 w 353555"/>
                <a:gd name="connsiteY14" fmla="*/ 675540 h 761503"/>
                <a:gd name="connsiteX15" fmla="*/ 131609 w 353555"/>
                <a:gd name="connsiteY15" fmla="*/ 653783 h 761503"/>
                <a:gd name="connsiteX16" fmla="*/ 128889 w 353555"/>
                <a:gd name="connsiteY16" fmla="*/ 640184 h 761503"/>
                <a:gd name="connsiteX17" fmla="*/ 128889 w 353555"/>
                <a:gd name="connsiteY17" fmla="*/ 629306 h 761503"/>
                <a:gd name="connsiteX18" fmla="*/ 128889 w 353555"/>
                <a:gd name="connsiteY18" fmla="*/ 621147 h 761503"/>
                <a:gd name="connsiteX19" fmla="*/ 128889 w 353555"/>
                <a:gd name="connsiteY19" fmla="*/ 593950 h 761503"/>
                <a:gd name="connsiteX20" fmla="*/ 128889 w 353555"/>
                <a:gd name="connsiteY20" fmla="*/ 583072 h 761503"/>
                <a:gd name="connsiteX21" fmla="*/ 128889 w 353555"/>
                <a:gd name="connsiteY21" fmla="*/ 436210 h 761503"/>
                <a:gd name="connsiteX22" fmla="*/ 128889 w 353555"/>
                <a:gd name="connsiteY22" fmla="*/ 357340 h 761503"/>
                <a:gd name="connsiteX23" fmla="*/ 131609 w 353555"/>
                <a:gd name="connsiteY23" fmla="*/ 289349 h 761503"/>
                <a:gd name="connsiteX24" fmla="*/ 131609 w 353555"/>
                <a:gd name="connsiteY24" fmla="*/ 251274 h 761503"/>
                <a:gd name="connsiteX25" fmla="*/ 131609 w 353555"/>
                <a:gd name="connsiteY25" fmla="*/ 205040 h 761503"/>
                <a:gd name="connsiteX26" fmla="*/ 131609 w 353555"/>
                <a:gd name="connsiteY26" fmla="*/ 139768 h 761503"/>
                <a:gd name="connsiteX27" fmla="*/ 131609 w 353555"/>
                <a:gd name="connsiteY27" fmla="*/ 128889 h 761503"/>
                <a:gd name="connsiteX28" fmla="*/ 126170 w 353555"/>
                <a:gd name="connsiteY28" fmla="*/ 128889 h 761503"/>
                <a:gd name="connsiteX29" fmla="*/ 101693 w 353555"/>
                <a:gd name="connsiteY29" fmla="*/ 128889 h 761503"/>
                <a:gd name="connsiteX30" fmla="*/ 74496 w 353555"/>
                <a:gd name="connsiteY30" fmla="*/ 123450 h 761503"/>
                <a:gd name="connsiteX31" fmla="*/ 58178 w 353555"/>
                <a:gd name="connsiteY31" fmla="*/ 107132 h 761503"/>
                <a:gd name="connsiteX32" fmla="*/ 60898 w 353555"/>
                <a:gd name="connsiteY32" fmla="*/ 98973 h 761503"/>
                <a:gd name="connsiteX33" fmla="*/ 82655 w 353555"/>
                <a:gd name="connsiteY33" fmla="*/ 93534 h 761503"/>
                <a:gd name="connsiteX34" fmla="*/ 131609 w 353555"/>
                <a:gd name="connsiteY34" fmla="*/ 88094 h 761503"/>
                <a:gd name="connsiteX35" fmla="*/ 131609 w 353555"/>
                <a:gd name="connsiteY35" fmla="*/ 82655 h 761503"/>
                <a:gd name="connsiteX36" fmla="*/ 134329 w 353555"/>
                <a:gd name="connsiteY36" fmla="*/ 71776 h 761503"/>
                <a:gd name="connsiteX37" fmla="*/ 147927 w 353555"/>
                <a:gd name="connsiteY37" fmla="*/ 63617 h 761503"/>
                <a:gd name="connsiteX38" fmla="*/ 164245 w 353555"/>
                <a:gd name="connsiteY38" fmla="*/ 58178 h 761503"/>
                <a:gd name="connsiteX39" fmla="*/ 177843 w 353555"/>
                <a:gd name="connsiteY39" fmla="*/ 58178 h 761503"/>
                <a:gd name="connsiteX40" fmla="*/ 196881 w 353555"/>
                <a:gd name="connsiteY40" fmla="*/ 60898 h 761503"/>
                <a:gd name="connsiteX41" fmla="*/ 232236 w 353555"/>
                <a:gd name="connsiteY41" fmla="*/ 88094 h 761503"/>
                <a:gd name="connsiteX42" fmla="*/ 278471 w 353555"/>
                <a:gd name="connsiteY42" fmla="*/ 88094 h 761503"/>
                <a:gd name="connsiteX43" fmla="*/ 316546 w 353555"/>
                <a:gd name="connsiteY43" fmla="*/ 104412 h 761503"/>
                <a:gd name="connsiteX44" fmla="*/ 311106 w 353555"/>
                <a:gd name="connsiteY44" fmla="*/ 120730 h 761503"/>
                <a:gd name="connsiteX45" fmla="*/ 294788 w 353555"/>
                <a:gd name="connsiteY45" fmla="*/ 128889 h 761503"/>
                <a:gd name="connsiteX46" fmla="*/ 273031 w 353555"/>
                <a:gd name="connsiteY46" fmla="*/ 131609 h 761503"/>
                <a:gd name="connsiteX47" fmla="*/ 243115 w 353555"/>
                <a:gd name="connsiteY47" fmla="*/ 131609 h 761503"/>
                <a:gd name="connsiteX48" fmla="*/ 243115 w 353555"/>
                <a:gd name="connsiteY48" fmla="*/ 134329 h 761503"/>
                <a:gd name="connsiteX49" fmla="*/ 248554 w 353555"/>
                <a:gd name="connsiteY49" fmla="*/ 169684 h 761503"/>
                <a:gd name="connsiteX50" fmla="*/ 251274 w 353555"/>
                <a:gd name="connsiteY50" fmla="*/ 205040 h 761503"/>
                <a:gd name="connsiteX51" fmla="*/ 251274 w 353555"/>
                <a:gd name="connsiteY51" fmla="*/ 240395 h 761503"/>
                <a:gd name="connsiteX52" fmla="*/ 251274 w 353555"/>
                <a:gd name="connsiteY52" fmla="*/ 256713 h 761503"/>
                <a:gd name="connsiteX53" fmla="*/ 253994 w 353555"/>
                <a:gd name="connsiteY53" fmla="*/ 270311 h 761503"/>
                <a:gd name="connsiteX54" fmla="*/ 259433 w 353555"/>
                <a:gd name="connsiteY54" fmla="*/ 343742 h 761503"/>
                <a:gd name="connsiteX55" fmla="*/ 262153 w 353555"/>
                <a:gd name="connsiteY55" fmla="*/ 425332 h 761503"/>
                <a:gd name="connsiteX56" fmla="*/ 264872 w 353555"/>
                <a:gd name="connsiteY56" fmla="*/ 490603 h 761503"/>
                <a:gd name="connsiteX57" fmla="*/ 270312 w 353555"/>
                <a:gd name="connsiteY57" fmla="*/ 564034 h 761503"/>
                <a:gd name="connsiteX58" fmla="*/ 270312 w 353555"/>
                <a:gd name="connsiteY58" fmla="*/ 599390 h 761503"/>
                <a:gd name="connsiteX59" fmla="*/ 270312 w 353555"/>
                <a:gd name="connsiteY59" fmla="*/ 637465 h 761503"/>
                <a:gd name="connsiteX60" fmla="*/ 264872 w 353555"/>
                <a:gd name="connsiteY60" fmla="*/ 670101 h 761503"/>
                <a:gd name="connsiteX61" fmla="*/ 283910 w 353555"/>
                <a:gd name="connsiteY61" fmla="*/ 672820 h 761503"/>
                <a:gd name="connsiteX62" fmla="*/ 283910 w 353555"/>
                <a:gd name="connsiteY62" fmla="*/ 672820 h 761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</a:cxnLst>
              <a:rect l="l" t="t" r="r" b="b"/>
              <a:pathLst>
                <a:path w="353555" h="761503">
                  <a:moveTo>
                    <a:pt x="283910" y="672820"/>
                  </a:moveTo>
                  <a:cubicBezTo>
                    <a:pt x="297508" y="672820"/>
                    <a:pt x="321985" y="672820"/>
                    <a:pt x="321985" y="689138"/>
                  </a:cubicBezTo>
                  <a:cubicBezTo>
                    <a:pt x="321985" y="697297"/>
                    <a:pt x="319265" y="697297"/>
                    <a:pt x="316546" y="705456"/>
                  </a:cubicBezTo>
                  <a:cubicBezTo>
                    <a:pt x="311106" y="710895"/>
                    <a:pt x="305667" y="713615"/>
                    <a:pt x="300228" y="713615"/>
                  </a:cubicBezTo>
                  <a:cubicBezTo>
                    <a:pt x="292069" y="716335"/>
                    <a:pt x="283910" y="716335"/>
                    <a:pt x="278471" y="716335"/>
                  </a:cubicBezTo>
                  <a:cubicBezTo>
                    <a:pt x="275751" y="716335"/>
                    <a:pt x="256713" y="716335"/>
                    <a:pt x="237676" y="716335"/>
                  </a:cubicBezTo>
                  <a:cubicBezTo>
                    <a:pt x="213199" y="716335"/>
                    <a:pt x="186002" y="719054"/>
                    <a:pt x="180563" y="719054"/>
                  </a:cubicBezTo>
                  <a:cubicBezTo>
                    <a:pt x="166965" y="719054"/>
                    <a:pt x="142488" y="719054"/>
                    <a:pt x="126170" y="719054"/>
                  </a:cubicBezTo>
                  <a:cubicBezTo>
                    <a:pt x="118011" y="719054"/>
                    <a:pt x="109852" y="719054"/>
                    <a:pt x="101693" y="719054"/>
                  </a:cubicBezTo>
                  <a:cubicBezTo>
                    <a:pt x="93534" y="719054"/>
                    <a:pt x="82655" y="719054"/>
                    <a:pt x="74496" y="713615"/>
                  </a:cubicBezTo>
                  <a:cubicBezTo>
                    <a:pt x="66337" y="710895"/>
                    <a:pt x="58178" y="702736"/>
                    <a:pt x="58178" y="697297"/>
                  </a:cubicBezTo>
                  <a:cubicBezTo>
                    <a:pt x="58178" y="694578"/>
                    <a:pt x="58178" y="691858"/>
                    <a:pt x="63617" y="689138"/>
                  </a:cubicBezTo>
                  <a:cubicBezTo>
                    <a:pt x="69057" y="686418"/>
                    <a:pt x="79935" y="683699"/>
                    <a:pt x="85375" y="680979"/>
                  </a:cubicBezTo>
                  <a:cubicBezTo>
                    <a:pt x="104412" y="678260"/>
                    <a:pt x="123450" y="675540"/>
                    <a:pt x="131609" y="675540"/>
                  </a:cubicBezTo>
                  <a:cubicBezTo>
                    <a:pt x="134329" y="675540"/>
                    <a:pt x="137048" y="675540"/>
                    <a:pt x="142488" y="675540"/>
                  </a:cubicBezTo>
                  <a:cubicBezTo>
                    <a:pt x="134329" y="670101"/>
                    <a:pt x="131609" y="661942"/>
                    <a:pt x="131609" y="653783"/>
                  </a:cubicBezTo>
                  <a:cubicBezTo>
                    <a:pt x="131609" y="648343"/>
                    <a:pt x="131609" y="642904"/>
                    <a:pt x="128889" y="640184"/>
                  </a:cubicBezTo>
                  <a:cubicBezTo>
                    <a:pt x="128889" y="637465"/>
                    <a:pt x="128889" y="634745"/>
                    <a:pt x="128889" y="629306"/>
                  </a:cubicBezTo>
                  <a:cubicBezTo>
                    <a:pt x="128889" y="626586"/>
                    <a:pt x="128889" y="623867"/>
                    <a:pt x="128889" y="621147"/>
                  </a:cubicBezTo>
                  <a:cubicBezTo>
                    <a:pt x="128889" y="612988"/>
                    <a:pt x="128889" y="604829"/>
                    <a:pt x="128889" y="593950"/>
                  </a:cubicBezTo>
                  <a:cubicBezTo>
                    <a:pt x="128889" y="591231"/>
                    <a:pt x="128889" y="585791"/>
                    <a:pt x="128889" y="583072"/>
                  </a:cubicBezTo>
                  <a:cubicBezTo>
                    <a:pt x="128889" y="534118"/>
                    <a:pt x="131609" y="485164"/>
                    <a:pt x="128889" y="436210"/>
                  </a:cubicBezTo>
                  <a:cubicBezTo>
                    <a:pt x="128889" y="409014"/>
                    <a:pt x="128889" y="384537"/>
                    <a:pt x="128889" y="357340"/>
                  </a:cubicBezTo>
                  <a:cubicBezTo>
                    <a:pt x="128889" y="335583"/>
                    <a:pt x="131609" y="313826"/>
                    <a:pt x="131609" y="289349"/>
                  </a:cubicBezTo>
                  <a:cubicBezTo>
                    <a:pt x="131609" y="275751"/>
                    <a:pt x="131609" y="264872"/>
                    <a:pt x="131609" y="251274"/>
                  </a:cubicBezTo>
                  <a:cubicBezTo>
                    <a:pt x="131609" y="234956"/>
                    <a:pt x="131609" y="221357"/>
                    <a:pt x="131609" y="205040"/>
                  </a:cubicBezTo>
                  <a:cubicBezTo>
                    <a:pt x="131609" y="183282"/>
                    <a:pt x="131609" y="161525"/>
                    <a:pt x="131609" y="139768"/>
                  </a:cubicBezTo>
                  <a:cubicBezTo>
                    <a:pt x="131609" y="137048"/>
                    <a:pt x="131609" y="134329"/>
                    <a:pt x="131609" y="128889"/>
                  </a:cubicBezTo>
                  <a:cubicBezTo>
                    <a:pt x="128889" y="128889"/>
                    <a:pt x="126170" y="128889"/>
                    <a:pt x="126170" y="128889"/>
                  </a:cubicBezTo>
                  <a:cubicBezTo>
                    <a:pt x="118011" y="128889"/>
                    <a:pt x="109852" y="128889"/>
                    <a:pt x="101693" y="128889"/>
                  </a:cubicBezTo>
                  <a:cubicBezTo>
                    <a:pt x="93534" y="128889"/>
                    <a:pt x="82655" y="128889"/>
                    <a:pt x="74496" y="123450"/>
                  </a:cubicBezTo>
                  <a:cubicBezTo>
                    <a:pt x="66337" y="120730"/>
                    <a:pt x="58178" y="112571"/>
                    <a:pt x="58178" y="107132"/>
                  </a:cubicBezTo>
                  <a:cubicBezTo>
                    <a:pt x="58178" y="104412"/>
                    <a:pt x="58178" y="101693"/>
                    <a:pt x="60898" y="98973"/>
                  </a:cubicBezTo>
                  <a:cubicBezTo>
                    <a:pt x="63617" y="96253"/>
                    <a:pt x="77216" y="93534"/>
                    <a:pt x="82655" y="93534"/>
                  </a:cubicBezTo>
                  <a:cubicBezTo>
                    <a:pt x="98973" y="90814"/>
                    <a:pt x="123450" y="88094"/>
                    <a:pt x="131609" y="88094"/>
                  </a:cubicBezTo>
                  <a:cubicBezTo>
                    <a:pt x="131609" y="85375"/>
                    <a:pt x="131609" y="85375"/>
                    <a:pt x="131609" y="82655"/>
                  </a:cubicBezTo>
                  <a:cubicBezTo>
                    <a:pt x="131609" y="77216"/>
                    <a:pt x="131609" y="74496"/>
                    <a:pt x="134329" y="71776"/>
                  </a:cubicBezTo>
                  <a:cubicBezTo>
                    <a:pt x="137048" y="69057"/>
                    <a:pt x="145207" y="66337"/>
                    <a:pt x="147927" y="63617"/>
                  </a:cubicBezTo>
                  <a:cubicBezTo>
                    <a:pt x="153366" y="60898"/>
                    <a:pt x="158806" y="58178"/>
                    <a:pt x="164245" y="58178"/>
                  </a:cubicBezTo>
                  <a:cubicBezTo>
                    <a:pt x="169684" y="58178"/>
                    <a:pt x="175123" y="58178"/>
                    <a:pt x="177843" y="58178"/>
                  </a:cubicBezTo>
                  <a:cubicBezTo>
                    <a:pt x="183283" y="58178"/>
                    <a:pt x="191442" y="58178"/>
                    <a:pt x="196881" y="60898"/>
                  </a:cubicBezTo>
                  <a:cubicBezTo>
                    <a:pt x="213199" y="63617"/>
                    <a:pt x="224077" y="74496"/>
                    <a:pt x="232236" y="88094"/>
                  </a:cubicBezTo>
                  <a:cubicBezTo>
                    <a:pt x="253994" y="88094"/>
                    <a:pt x="270312" y="88094"/>
                    <a:pt x="278471" y="88094"/>
                  </a:cubicBezTo>
                  <a:cubicBezTo>
                    <a:pt x="292069" y="88094"/>
                    <a:pt x="316546" y="88094"/>
                    <a:pt x="316546" y="104412"/>
                  </a:cubicBezTo>
                  <a:cubicBezTo>
                    <a:pt x="316546" y="112571"/>
                    <a:pt x="313826" y="112571"/>
                    <a:pt x="311106" y="120730"/>
                  </a:cubicBezTo>
                  <a:cubicBezTo>
                    <a:pt x="305667" y="126170"/>
                    <a:pt x="300228" y="128889"/>
                    <a:pt x="294788" y="128889"/>
                  </a:cubicBezTo>
                  <a:cubicBezTo>
                    <a:pt x="286630" y="131609"/>
                    <a:pt x="278471" y="131609"/>
                    <a:pt x="273031" y="131609"/>
                  </a:cubicBezTo>
                  <a:cubicBezTo>
                    <a:pt x="270312" y="131609"/>
                    <a:pt x="259433" y="131609"/>
                    <a:pt x="243115" y="131609"/>
                  </a:cubicBezTo>
                  <a:lnTo>
                    <a:pt x="243115" y="134329"/>
                  </a:lnTo>
                  <a:cubicBezTo>
                    <a:pt x="245835" y="145207"/>
                    <a:pt x="245835" y="158805"/>
                    <a:pt x="248554" y="169684"/>
                  </a:cubicBezTo>
                  <a:cubicBezTo>
                    <a:pt x="251274" y="180563"/>
                    <a:pt x="251274" y="194161"/>
                    <a:pt x="251274" y="205040"/>
                  </a:cubicBezTo>
                  <a:cubicBezTo>
                    <a:pt x="251274" y="215918"/>
                    <a:pt x="251274" y="226797"/>
                    <a:pt x="251274" y="240395"/>
                  </a:cubicBezTo>
                  <a:cubicBezTo>
                    <a:pt x="251274" y="245834"/>
                    <a:pt x="251274" y="251274"/>
                    <a:pt x="251274" y="256713"/>
                  </a:cubicBezTo>
                  <a:cubicBezTo>
                    <a:pt x="251274" y="262152"/>
                    <a:pt x="251274" y="267592"/>
                    <a:pt x="253994" y="270311"/>
                  </a:cubicBezTo>
                  <a:cubicBezTo>
                    <a:pt x="256713" y="294788"/>
                    <a:pt x="256713" y="319265"/>
                    <a:pt x="259433" y="343742"/>
                  </a:cubicBezTo>
                  <a:cubicBezTo>
                    <a:pt x="259433" y="370939"/>
                    <a:pt x="262153" y="398135"/>
                    <a:pt x="262153" y="425332"/>
                  </a:cubicBezTo>
                  <a:cubicBezTo>
                    <a:pt x="262153" y="447089"/>
                    <a:pt x="262153" y="468846"/>
                    <a:pt x="264872" y="490603"/>
                  </a:cubicBezTo>
                  <a:cubicBezTo>
                    <a:pt x="264872" y="515080"/>
                    <a:pt x="270312" y="539557"/>
                    <a:pt x="270312" y="564034"/>
                  </a:cubicBezTo>
                  <a:cubicBezTo>
                    <a:pt x="270312" y="574913"/>
                    <a:pt x="270312" y="588511"/>
                    <a:pt x="270312" y="599390"/>
                  </a:cubicBezTo>
                  <a:cubicBezTo>
                    <a:pt x="270312" y="612988"/>
                    <a:pt x="270312" y="623867"/>
                    <a:pt x="270312" y="637465"/>
                  </a:cubicBezTo>
                  <a:cubicBezTo>
                    <a:pt x="270312" y="648343"/>
                    <a:pt x="270312" y="661942"/>
                    <a:pt x="264872" y="670101"/>
                  </a:cubicBezTo>
                  <a:cubicBezTo>
                    <a:pt x="273031" y="672820"/>
                    <a:pt x="278471" y="672820"/>
                    <a:pt x="283910" y="672820"/>
                  </a:cubicBezTo>
                  <a:lnTo>
                    <a:pt x="283910" y="672820"/>
                  </a:ln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/>
            </a:p>
          </p:txBody>
        </p:sp>
        <p:sp>
          <p:nvSpPr>
            <p:cNvPr id="42" name="Freeform: Shape 41">
              <a:extLst>
                <a:ext uri="{FF2B5EF4-FFF2-40B4-BE49-F238E27FC236}">
                  <a16:creationId xmlns:a16="http://schemas.microsoft.com/office/drawing/2014/main" id="{1CAD3D5E-D368-4C1C-96EE-A63B27AC18E9}"/>
                </a:ext>
              </a:extLst>
            </p:cNvPr>
            <p:cNvSpPr/>
            <p:nvPr/>
          </p:nvSpPr>
          <p:spPr bwMode="black">
            <a:xfrm>
              <a:off x="4620880" y="4194877"/>
              <a:ext cx="598325" cy="761503"/>
            </a:xfrm>
            <a:custGeom>
              <a:avLst/>
              <a:gdLst>
                <a:gd name="connsiteX0" fmla="*/ 515081 w 598324"/>
                <a:gd name="connsiteY0" fmla="*/ 79935 h 761503"/>
                <a:gd name="connsiteX1" fmla="*/ 542277 w 598324"/>
                <a:gd name="connsiteY1" fmla="*/ 96253 h 761503"/>
                <a:gd name="connsiteX2" fmla="*/ 536838 w 598324"/>
                <a:gd name="connsiteY2" fmla="*/ 112571 h 761503"/>
                <a:gd name="connsiteX3" fmla="*/ 523240 w 598324"/>
                <a:gd name="connsiteY3" fmla="*/ 120730 h 761503"/>
                <a:gd name="connsiteX4" fmla="*/ 506922 w 598324"/>
                <a:gd name="connsiteY4" fmla="*/ 123450 h 761503"/>
                <a:gd name="connsiteX5" fmla="*/ 477006 w 598324"/>
                <a:gd name="connsiteY5" fmla="*/ 123450 h 761503"/>
                <a:gd name="connsiteX6" fmla="*/ 479725 w 598324"/>
                <a:gd name="connsiteY6" fmla="*/ 145207 h 761503"/>
                <a:gd name="connsiteX7" fmla="*/ 477006 w 598324"/>
                <a:gd name="connsiteY7" fmla="*/ 180563 h 761503"/>
                <a:gd name="connsiteX8" fmla="*/ 482445 w 598324"/>
                <a:gd name="connsiteY8" fmla="*/ 232236 h 761503"/>
                <a:gd name="connsiteX9" fmla="*/ 485165 w 598324"/>
                <a:gd name="connsiteY9" fmla="*/ 283909 h 761503"/>
                <a:gd name="connsiteX10" fmla="*/ 485165 w 598324"/>
                <a:gd name="connsiteY10" fmla="*/ 327424 h 761503"/>
                <a:gd name="connsiteX11" fmla="*/ 487884 w 598324"/>
                <a:gd name="connsiteY11" fmla="*/ 373658 h 761503"/>
                <a:gd name="connsiteX12" fmla="*/ 485165 w 598324"/>
                <a:gd name="connsiteY12" fmla="*/ 419892 h 761503"/>
                <a:gd name="connsiteX13" fmla="*/ 485165 w 598324"/>
                <a:gd name="connsiteY13" fmla="*/ 463407 h 761503"/>
                <a:gd name="connsiteX14" fmla="*/ 482445 w 598324"/>
                <a:gd name="connsiteY14" fmla="*/ 515080 h 761503"/>
                <a:gd name="connsiteX15" fmla="*/ 482445 w 598324"/>
                <a:gd name="connsiteY15" fmla="*/ 558595 h 761503"/>
                <a:gd name="connsiteX16" fmla="*/ 479725 w 598324"/>
                <a:gd name="connsiteY16" fmla="*/ 602109 h 761503"/>
                <a:gd name="connsiteX17" fmla="*/ 485165 w 598324"/>
                <a:gd name="connsiteY17" fmla="*/ 648343 h 761503"/>
                <a:gd name="connsiteX18" fmla="*/ 474286 w 598324"/>
                <a:gd name="connsiteY18" fmla="*/ 675540 h 761503"/>
                <a:gd name="connsiteX19" fmla="*/ 428052 w 598324"/>
                <a:gd name="connsiteY19" fmla="*/ 691858 h 761503"/>
                <a:gd name="connsiteX20" fmla="*/ 387257 w 598324"/>
                <a:gd name="connsiteY20" fmla="*/ 683699 h 761503"/>
                <a:gd name="connsiteX21" fmla="*/ 351901 w 598324"/>
                <a:gd name="connsiteY21" fmla="*/ 664661 h 761503"/>
                <a:gd name="connsiteX22" fmla="*/ 305667 w 598324"/>
                <a:gd name="connsiteY22" fmla="*/ 596670 h 761503"/>
                <a:gd name="connsiteX23" fmla="*/ 270312 w 598324"/>
                <a:gd name="connsiteY23" fmla="*/ 509641 h 761503"/>
                <a:gd name="connsiteX24" fmla="*/ 251274 w 598324"/>
                <a:gd name="connsiteY24" fmla="*/ 460687 h 761503"/>
                <a:gd name="connsiteX25" fmla="*/ 224077 w 598324"/>
                <a:gd name="connsiteY25" fmla="*/ 381817 h 761503"/>
                <a:gd name="connsiteX26" fmla="*/ 207759 w 598324"/>
                <a:gd name="connsiteY26" fmla="*/ 330144 h 761503"/>
                <a:gd name="connsiteX27" fmla="*/ 191442 w 598324"/>
                <a:gd name="connsiteY27" fmla="*/ 286629 h 761503"/>
                <a:gd name="connsiteX28" fmla="*/ 183283 w 598324"/>
                <a:gd name="connsiteY28" fmla="*/ 278470 h 761503"/>
                <a:gd name="connsiteX29" fmla="*/ 180563 w 598324"/>
                <a:gd name="connsiteY29" fmla="*/ 292068 h 761503"/>
                <a:gd name="connsiteX30" fmla="*/ 180563 w 598324"/>
                <a:gd name="connsiteY30" fmla="*/ 305667 h 761503"/>
                <a:gd name="connsiteX31" fmla="*/ 183283 w 598324"/>
                <a:gd name="connsiteY31" fmla="*/ 354620 h 761503"/>
                <a:gd name="connsiteX32" fmla="*/ 188722 w 598324"/>
                <a:gd name="connsiteY32" fmla="*/ 449808 h 761503"/>
                <a:gd name="connsiteX33" fmla="*/ 188722 w 598324"/>
                <a:gd name="connsiteY33" fmla="*/ 479725 h 761503"/>
                <a:gd name="connsiteX34" fmla="*/ 188722 w 598324"/>
                <a:gd name="connsiteY34" fmla="*/ 542277 h 761503"/>
                <a:gd name="connsiteX35" fmla="*/ 186002 w 598324"/>
                <a:gd name="connsiteY35" fmla="*/ 615708 h 761503"/>
                <a:gd name="connsiteX36" fmla="*/ 186002 w 598324"/>
                <a:gd name="connsiteY36" fmla="*/ 637465 h 761503"/>
                <a:gd name="connsiteX37" fmla="*/ 183283 w 598324"/>
                <a:gd name="connsiteY37" fmla="*/ 664661 h 761503"/>
                <a:gd name="connsiteX38" fmla="*/ 226797 w 598324"/>
                <a:gd name="connsiteY38" fmla="*/ 664661 h 761503"/>
                <a:gd name="connsiteX39" fmla="*/ 253994 w 598324"/>
                <a:gd name="connsiteY39" fmla="*/ 680979 h 761503"/>
                <a:gd name="connsiteX40" fmla="*/ 248554 w 598324"/>
                <a:gd name="connsiteY40" fmla="*/ 697297 h 761503"/>
                <a:gd name="connsiteX41" fmla="*/ 234956 w 598324"/>
                <a:gd name="connsiteY41" fmla="*/ 705456 h 761503"/>
                <a:gd name="connsiteX42" fmla="*/ 218638 w 598324"/>
                <a:gd name="connsiteY42" fmla="*/ 708176 h 761503"/>
                <a:gd name="connsiteX43" fmla="*/ 183283 w 598324"/>
                <a:gd name="connsiteY43" fmla="*/ 708176 h 761503"/>
                <a:gd name="connsiteX44" fmla="*/ 150647 w 598324"/>
                <a:gd name="connsiteY44" fmla="*/ 708176 h 761503"/>
                <a:gd name="connsiteX45" fmla="*/ 107132 w 598324"/>
                <a:gd name="connsiteY45" fmla="*/ 708176 h 761503"/>
                <a:gd name="connsiteX46" fmla="*/ 88094 w 598324"/>
                <a:gd name="connsiteY46" fmla="*/ 708176 h 761503"/>
                <a:gd name="connsiteX47" fmla="*/ 69057 w 598324"/>
                <a:gd name="connsiteY47" fmla="*/ 702736 h 761503"/>
                <a:gd name="connsiteX48" fmla="*/ 58178 w 598324"/>
                <a:gd name="connsiteY48" fmla="*/ 686418 h 761503"/>
                <a:gd name="connsiteX49" fmla="*/ 60898 w 598324"/>
                <a:gd name="connsiteY49" fmla="*/ 678259 h 761503"/>
                <a:gd name="connsiteX50" fmla="*/ 77216 w 598324"/>
                <a:gd name="connsiteY50" fmla="*/ 670101 h 761503"/>
                <a:gd name="connsiteX51" fmla="*/ 120730 w 598324"/>
                <a:gd name="connsiteY51" fmla="*/ 664661 h 761503"/>
                <a:gd name="connsiteX52" fmla="*/ 131609 w 598324"/>
                <a:gd name="connsiteY52" fmla="*/ 664661 h 761503"/>
                <a:gd name="connsiteX53" fmla="*/ 134329 w 598324"/>
                <a:gd name="connsiteY53" fmla="*/ 539557 h 761503"/>
                <a:gd name="connsiteX54" fmla="*/ 134329 w 598324"/>
                <a:gd name="connsiteY54" fmla="*/ 504201 h 761503"/>
                <a:gd name="connsiteX55" fmla="*/ 131609 w 598324"/>
                <a:gd name="connsiteY55" fmla="*/ 376378 h 761503"/>
                <a:gd name="connsiteX56" fmla="*/ 131609 w 598324"/>
                <a:gd name="connsiteY56" fmla="*/ 302947 h 761503"/>
                <a:gd name="connsiteX57" fmla="*/ 134329 w 598324"/>
                <a:gd name="connsiteY57" fmla="*/ 221357 h 761503"/>
                <a:gd name="connsiteX58" fmla="*/ 137048 w 598324"/>
                <a:gd name="connsiteY58" fmla="*/ 123450 h 761503"/>
                <a:gd name="connsiteX59" fmla="*/ 107132 w 598324"/>
                <a:gd name="connsiteY59" fmla="*/ 123450 h 761503"/>
                <a:gd name="connsiteX60" fmla="*/ 88094 w 598324"/>
                <a:gd name="connsiteY60" fmla="*/ 123450 h 761503"/>
                <a:gd name="connsiteX61" fmla="*/ 69057 w 598324"/>
                <a:gd name="connsiteY61" fmla="*/ 118011 h 761503"/>
                <a:gd name="connsiteX62" fmla="*/ 58178 w 598324"/>
                <a:gd name="connsiteY62" fmla="*/ 101693 h 761503"/>
                <a:gd name="connsiteX63" fmla="*/ 60898 w 598324"/>
                <a:gd name="connsiteY63" fmla="*/ 93534 h 761503"/>
                <a:gd name="connsiteX64" fmla="*/ 77216 w 598324"/>
                <a:gd name="connsiteY64" fmla="*/ 85375 h 761503"/>
                <a:gd name="connsiteX65" fmla="*/ 131609 w 598324"/>
                <a:gd name="connsiteY65" fmla="*/ 79935 h 761503"/>
                <a:gd name="connsiteX66" fmla="*/ 161525 w 598324"/>
                <a:gd name="connsiteY66" fmla="*/ 79935 h 761503"/>
                <a:gd name="connsiteX67" fmla="*/ 177843 w 598324"/>
                <a:gd name="connsiteY67" fmla="*/ 66337 h 761503"/>
                <a:gd name="connsiteX68" fmla="*/ 202320 w 598324"/>
                <a:gd name="connsiteY68" fmla="*/ 58178 h 761503"/>
                <a:gd name="connsiteX69" fmla="*/ 234956 w 598324"/>
                <a:gd name="connsiteY69" fmla="*/ 77216 h 761503"/>
                <a:gd name="connsiteX70" fmla="*/ 251274 w 598324"/>
                <a:gd name="connsiteY70" fmla="*/ 107132 h 761503"/>
                <a:gd name="connsiteX71" fmla="*/ 267592 w 598324"/>
                <a:gd name="connsiteY71" fmla="*/ 147927 h 761503"/>
                <a:gd name="connsiteX72" fmla="*/ 281190 w 598324"/>
                <a:gd name="connsiteY72" fmla="*/ 183282 h 761503"/>
                <a:gd name="connsiteX73" fmla="*/ 297508 w 598324"/>
                <a:gd name="connsiteY73" fmla="*/ 224077 h 761503"/>
                <a:gd name="connsiteX74" fmla="*/ 308387 w 598324"/>
                <a:gd name="connsiteY74" fmla="*/ 264872 h 761503"/>
                <a:gd name="connsiteX75" fmla="*/ 319265 w 598324"/>
                <a:gd name="connsiteY75" fmla="*/ 300227 h 761503"/>
                <a:gd name="connsiteX76" fmla="*/ 351901 w 598324"/>
                <a:gd name="connsiteY76" fmla="*/ 379097 h 761503"/>
                <a:gd name="connsiteX77" fmla="*/ 365500 w 598324"/>
                <a:gd name="connsiteY77" fmla="*/ 417173 h 761503"/>
                <a:gd name="connsiteX78" fmla="*/ 379098 w 598324"/>
                <a:gd name="connsiteY78" fmla="*/ 457967 h 761503"/>
                <a:gd name="connsiteX79" fmla="*/ 395416 w 598324"/>
                <a:gd name="connsiteY79" fmla="*/ 496043 h 761503"/>
                <a:gd name="connsiteX80" fmla="*/ 406294 w 598324"/>
                <a:gd name="connsiteY80" fmla="*/ 512361 h 761503"/>
                <a:gd name="connsiteX81" fmla="*/ 411734 w 598324"/>
                <a:gd name="connsiteY81" fmla="*/ 531398 h 761503"/>
                <a:gd name="connsiteX82" fmla="*/ 419893 w 598324"/>
                <a:gd name="connsiteY82" fmla="*/ 558595 h 761503"/>
                <a:gd name="connsiteX83" fmla="*/ 425332 w 598324"/>
                <a:gd name="connsiteY83" fmla="*/ 564034 h 761503"/>
                <a:gd name="connsiteX84" fmla="*/ 430771 w 598324"/>
                <a:gd name="connsiteY84" fmla="*/ 558595 h 761503"/>
                <a:gd name="connsiteX85" fmla="*/ 430771 w 598324"/>
                <a:gd name="connsiteY85" fmla="*/ 550436 h 761503"/>
                <a:gd name="connsiteX86" fmla="*/ 430771 w 598324"/>
                <a:gd name="connsiteY86" fmla="*/ 501482 h 761503"/>
                <a:gd name="connsiteX87" fmla="*/ 430771 w 598324"/>
                <a:gd name="connsiteY87" fmla="*/ 403574 h 761503"/>
                <a:gd name="connsiteX88" fmla="*/ 425332 w 598324"/>
                <a:gd name="connsiteY88" fmla="*/ 313826 h 761503"/>
                <a:gd name="connsiteX89" fmla="*/ 425332 w 598324"/>
                <a:gd name="connsiteY89" fmla="*/ 248554 h 761503"/>
                <a:gd name="connsiteX90" fmla="*/ 425332 w 598324"/>
                <a:gd name="connsiteY90" fmla="*/ 210479 h 761503"/>
                <a:gd name="connsiteX91" fmla="*/ 422613 w 598324"/>
                <a:gd name="connsiteY91" fmla="*/ 153366 h 761503"/>
                <a:gd name="connsiteX92" fmla="*/ 425332 w 598324"/>
                <a:gd name="connsiteY92" fmla="*/ 123450 h 761503"/>
                <a:gd name="connsiteX93" fmla="*/ 398136 w 598324"/>
                <a:gd name="connsiteY93" fmla="*/ 123450 h 761503"/>
                <a:gd name="connsiteX94" fmla="*/ 379098 w 598324"/>
                <a:gd name="connsiteY94" fmla="*/ 123450 h 761503"/>
                <a:gd name="connsiteX95" fmla="*/ 360060 w 598324"/>
                <a:gd name="connsiteY95" fmla="*/ 118011 h 761503"/>
                <a:gd name="connsiteX96" fmla="*/ 349182 w 598324"/>
                <a:gd name="connsiteY96" fmla="*/ 101693 h 761503"/>
                <a:gd name="connsiteX97" fmla="*/ 351901 w 598324"/>
                <a:gd name="connsiteY97" fmla="*/ 93534 h 761503"/>
                <a:gd name="connsiteX98" fmla="*/ 368219 w 598324"/>
                <a:gd name="connsiteY98" fmla="*/ 85375 h 761503"/>
                <a:gd name="connsiteX99" fmla="*/ 422613 w 598324"/>
                <a:gd name="connsiteY99" fmla="*/ 79935 h 761503"/>
                <a:gd name="connsiteX100" fmla="*/ 444370 w 598324"/>
                <a:gd name="connsiteY100" fmla="*/ 79935 h 761503"/>
                <a:gd name="connsiteX101" fmla="*/ 463407 w 598324"/>
                <a:gd name="connsiteY101" fmla="*/ 71776 h 761503"/>
                <a:gd name="connsiteX102" fmla="*/ 477006 w 598324"/>
                <a:gd name="connsiteY102" fmla="*/ 79935 h 761503"/>
                <a:gd name="connsiteX103" fmla="*/ 515081 w 598324"/>
                <a:gd name="connsiteY103" fmla="*/ 79935 h 761503"/>
                <a:gd name="connsiteX104" fmla="*/ 515081 w 598324"/>
                <a:gd name="connsiteY104" fmla="*/ 79935 h 761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</a:cxnLst>
              <a:rect l="l" t="t" r="r" b="b"/>
              <a:pathLst>
                <a:path w="598324" h="761503">
                  <a:moveTo>
                    <a:pt x="515081" y="79935"/>
                  </a:moveTo>
                  <a:cubicBezTo>
                    <a:pt x="523240" y="79935"/>
                    <a:pt x="542277" y="79935"/>
                    <a:pt x="542277" y="96253"/>
                  </a:cubicBezTo>
                  <a:cubicBezTo>
                    <a:pt x="542277" y="104412"/>
                    <a:pt x="542277" y="107132"/>
                    <a:pt x="536838" y="112571"/>
                  </a:cubicBezTo>
                  <a:cubicBezTo>
                    <a:pt x="534119" y="118011"/>
                    <a:pt x="528679" y="120730"/>
                    <a:pt x="523240" y="120730"/>
                  </a:cubicBezTo>
                  <a:cubicBezTo>
                    <a:pt x="515081" y="123450"/>
                    <a:pt x="512361" y="123450"/>
                    <a:pt x="506922" y="123450"/>
                  </a:cubicBezTo>
                  <a:cubicBezTo>
                    <a:pt x="504202" y="123450"/>
                    <a:pt x="490604" y="123450"/>
                    <a:pt x="477006" y="123450"/>
                  </a:cubicBezTo>
                  <a:cubicBezTo>
                    <a:pt x="477006" y="131609"/>
                    <a:pt x="479725" y="137048"/>
                    <a:pt x="479725" y="145207"/>
                  </a:cubicBezTo>
                  <a:cubicBezTo>
                    <a:pt x="479725" y="156086"/>
                    <a:pt x="477006" y="166964"/>
                    <a:pt x="477006" y="180563"/>
                  </a:cubicBezTo>
                  <a:cubicBezTo>
                    <a:pt x="477006" y="196881"/>
                    <a:pt x="479725" y="215918"/>
                    <a:pt x="482445" y="232236"/>
                  </a:cubicBezTo>
                  <a:cubicBezTo>
                    <a:pt x="485165" y="248554"/>
                    <a:pt x="485165" y="267592"/>
                    <a:pt x="485165" y="283909"/>
                  </a:cubicBezTo>
                  <a:cubicBezTo>
                    <a:pt x="485165" y="297508"/>
                    <a:pt x="485165" y="313826"/>
                    <a:pt x="485165" y="327424"/>
                  </a:cubicBezTo>
                  <a:cubicBezTo>
                    <a:pt x="485165" y="343742"/>
                    <a:pt x="487884" y="357340"/>
                    <a:pt x="487884" y="373658"/>
                  </a:cubicBezTo>
                  <a:cubicBezTo>
                    <a:pt x="487884" y="389976"/>
                    <a:pt x="485165" y="403574"/>
                    <a:pt x="485165" y="419892"/>
                  </a:cubicBezTo>
                  <a:cubicBezTo>
                    <a:pt x="485165" y="436210"/>
                    <a:pt x="485165" y="449808"/>
                    <a:pt x="485165" y="463407"/>
                  </a:cubicBezTo>
                  <a:cubicBezTo>
                    <a:pt x="485165" y="479725"/>
                    <a:pt x="485165" y="498762"/>
                    <a:pt x="482445" y="515080"/>
                  </a:cubicBezTo>
                  <a:cubicBezTo>
                    <a:pt x="482445" y="528678"/>
                    <a:pt x="482445" y="542277"/>
                    <a:pt x="482445" y="558595"/>
                  </a:cubicBezTo>
                  <a:cubicBezTo>
                    <a:pt x="482445" y="572193"/>
                    <a:pt x="479725" y="588511"/>
                    <a:pt x="479725" y="602109"/>
                  </a:cubicBezTo>
                  <a:cubicBezTo>
                    <a:pt x="479725" y="615708"/>
                    <a:pt x="485165" y="632025"/>
                    <a:pt x="485165" y="648343"/>
                  </a:cubicBezTo>
                  <a:cubicBezTo>
                    <a:pt x="485165" y="659222"/>
                    <a:pt x="482445" y="670101"/>
                    <a:pt x="474286" y="675540"/>
                  </a:cubicBezTo>
                  <a:cubicBezTo>
                    <a:pt x="460688" y="686418"/>
                    <a:pt x="444370" y="691858"/>
                    <a:pt x="428052" y="691858"/>
                  </a:cubicBezTo>
                  <a:cubicBezTo>
                    <a:pt x="414453" y="691858"/>
                    <a:pt x="400855" y="689138"/>
                    <a:pt x="387257" y="683699"/>
                  </a:cubicBezTo>
                  <a:cubicBezTo>
                    <a:pt x="373659" y="678259"/>
                    <a:pt x="360060" y="672820"/>
                    <a:pt x="351901" y="664661"/>
                  </a:cubicBezTo>
                  <a:cubicBezTo>
                    <a:pt x="330144" y="645624"/>
                    <a:pt x="316546" y="621147"/>
                    <a:pt x="305667" y="596670"/>
                  </a:cubicBezTo>
                  <a:cubicBezTo>
                    <a:pt x="292069" y="569473"/>
                    <a:pt x="281190" y="539557"/>
                    <a:pt x="270312" y="509641"/>
                  </a:cubicBezTo>
                  <a:cubicBezTo>
                    <a:pt x="264872" y="493323"/>
                    <a:pt x="256713" y="477005"/>
                    <a:pt x="251274" y="460687"/>
                  </a:cubicBezTo>
                  <a:cubicBezTo>
                    <a:pt x="240395" y="433490"/>
                    <a:pt x="232236" y="409014"/>
                    <a:pt x="224077" y="381817"/>
                  </a:cubicBezTo>
                  <a:cubicBezTo>
                    <a:pt x="218638" y="365499"/>
                    <a:pt x="213199" y="346462"/>
                    <a:pt x="207759" y="330144"/>
                  </a:cubicBezTo>
                  <a:cubicBezTo>
                    <a:pt x="202320" y="316545"/>
                    <a:pt x="196881" y="300227"/>
                    <a:pt x="191442" y="286629"/>
                  </a:cubicBezTo>
                  <a:cubicBezTo>
                    <a:pt x="188722" y="281190"/>
                    <a:pt x="186002" y="278470"/>
                    <a:pt x="183283" y="278470"/>
                  </a:cubicBezTo>
                  <a:cubicBezTo>
                    <a:pt x="180563" y="278470"/>
                    <a:pt x="180563" y="286629"/>
                    <a:pt x="180563" y="292068"/>
                  </a:cubicBezTo>
                  <a:cubicBezTo>
                    <a:pt x="180563" y="297508"/>
                    <a:pt x="180563" y="302947"/>
                    <a:pt x="180563" y="305667"/>
                  </a:cubicBezTo>
                  <a:cubicBezTo>
                    <a:pt x="180563" y="321985"/>
                    <a:pt x="183283" y="338303"/>
                    <a:pt x="183283" y="354620"/>
                  </a:cubicBezTo>
                  <a:cubicBezTo>
                    <a:pt x="183283" y="387256"/>
                    <a:pt x="186002" y="417173"/>
                    <a:pt x="188722" y="449808"/>
                  </a:cubicBezTo>
                  <a:cubicBezTo>
                    <a:pt x="188722" y="460687"/>
                    <a:pt x="188722" y="468846"/>
                    <a:pt x="188722" y="479725"/>
                  </a:cubicBezTo>
                  <a:cubicBezTo>
                    <a:pt x="188722" y="501482"/>
                    <a:pt x="188722" y="523239"/>
                    <a:pt x="188722" y="542277"/>
                  </a:cubicBezTo>
                  <a:cubicBezTo>
                    <a:pt x="188722" y="566754"/>
                    <a:pt x="186002" y="591231"/>
                    <a:pt x="186002" y="615708"/>
                  </a:cubicBezTo>
                  <a:cubicBezTo>
                    <a:pt x="186002" y="623866"/>
                    <a:pt x="186002" y="632025"/>
                    <a:pt x="186002" y="637465"/>
                  </a:cubicBezTo>
                  <a:cubicBezTo>
                    <a:pt x="186002" y="645624"/>
                    <a:pt x="183283" y="656502"/>
                    <a:pt x="183283" y="664661"/>
                  </a:cubicBezTo>
                  <a:cubicBezTo>
                    <a:pt x="202320" y="664661"/>
                    <a:pt x="218638" y="664661"/>
                    <a:pt x="226797" y="664661"/>
                  </a:cubicBezTo>
                  <a:cubicBezTo>
                    <a:pt x="234956" y="664661"/>
                    <a:pt x="253994" y="664661"/>
                    <a:pt x="253994" y="680979"/>
                  </a:cubicBezTo>
                  <a:cubicBezTo>
                    <a:pt x="253994" y="689138"/>
                    <a:pt x="253994" y="691858"/>
                    <a:pt x="248554" y="697297"/>
                  </a:cubicBezTo>
                  <a:cubicBezTo>
                    <a:pt x="245835" y="702736"/>
                    <a:pt x="240395" y="705456"/>
                    <a:pt x="234956" y="705456"/>
                  </a:cubicBezTo>
                  <a:cubicBezTo>
                    <a:pt x="226797" y="708176"/>
                    <a:pt x="224077" y="708176"/>
                    <a:pt x="218638" y="708176"/>
                  </a:cubicBezTo>
                  <a:cubicBezTo>
                    <a:pt x="215918" y="708176"/>
                    <a:pt x="199600" y="708176"/>
                    <a:pt x="183283" y="708176"/>
                  </a:cubicBezTo>
                  <a:cubicBezTo>
                    <a:pt x="166965" y="708176"/>
                    <a:pt x="153366" y="708176"/>
                    <a:pt x="150647" y="708176"/>
                  </a:cubicBezTo>
                  <a:cubicBezTo>
                    <a:pt x="139768" y="708176"/>
                    <a:pt x="120730" y="708176"/>
                    <a:pt x="107132" y="708176"/>
                  </a:cubicBezTo>
                  <a:cubicBezTo>
                    <a:pt x="101693" y="708176"/>
                    <a:pt x="96254" y="708176"/>
                    <a:pt x="88094" y="708176"/>
                  </a:cubicBezTo>
                  <a:cubicBezTo>
                    <a:pt x="82655" y="708176"/>
                    <a:pt x="74496" y="708176"/>
                    <a:pt x="69057" y="702736"/>
                  </a:cubicBezTo>
                  <a:cubicBezTo>
                    <a:pt x="63617" y="700017"/>
                    <a:pt x="58178" y="691858"/>
                    <a:pt x="58178" y="686418"/>
                  </a:cubicBezTo>
                  <a:cubicBezTo>
                    <a:pt x="58178" y="683699"/>
                    <a:pt x="58178" y="680979"/>
                    <a:pt x="60898" y="678259"/>
                  </a:cubicBezTo>
                  <a:cubicBezTo>
                    <a:pt x="63617" y="675540"/>
                    <a:pt x="71777" y="672820"/>
                    <a:pt x="77216" y="670101"/>
                  </a:cubicBezTo>
                  <a:cubicBezTo>
                    <a:pt x="90814" y="667381"/>
                    <a:pt x="115291" y="664661"/>
                    <a:pt x="120730" y="664661"/>
                  </a:cubicBezTo>
                  <a:cubicBezTo>
                    <a:pt x="123450" y="664661"/>
                    <a:pt x="126170" y="664661"/>
                    <a:pt x="131609" y="664661"/>
                  </a:cubicBezTo>
                  <a:cubicBezTo>
                    <a:pt x="131609" y="623866"/>
                    <a:pt x="134329" y="583072"/>
                    <a:pt x="134329" y="539557"/>
                  </a:cubicBezTo>
                  <a:cubicBezTo>
                    <a:pt x="134329" y="528678"/>
                    <a:pt x="134329" y="515080"/>
                    <a:pt x="134329" y="504201"/>
                  </a:cubicBezTo>
                  <a:cubicBezTo>
                    <a:pt x="131609" y="460687"/>
                    <a:pt x="131609" y="417173"/>
                    <a:pt x="131609" y="376378"/>
                  </a:cubicBezTo>
                  <a:cubicBezTo>
                    <a:pt x="131609" y="351901"/>
                    <a:pt x="131609" y="327424"/>
                    <a:pt x="131609" y="302947"/>
                  </a:cubicBezTo>
                  <a:cubicBezTo>
                    <a:pt x="131609" y="275751"/>
                    <a:pt x="131609" y="248554"/>
                    <a:pt x="134329" y="221357"/>
                  </a:cubicBezTo>
                  <a:cubicBezTo>
                    <a:pt x="134329" y="188722"/>
                    <a:pt x="137048" y="156086"/>
                    <a:pt x="137048" y="123450"/>
                  </a:cubicBezTo>
                  <a:cubicBezTo>
                    <a:pt x="126170" y="123450"/>
                    <a:pt x="115291" y="123450"/>
                    <a:pt x="107132" y="123450"/>
                  </a:cubicBezTo>
                  <a:cubicBezTo>
                    <a:pt x="101693" y="123450"/>
                    <a:pt x="96254" y="123450"/>
                    <a:pt x="88094" y="123450"/>
                  </a:cubicBezTo>
                  <a:cubicBezTo>
                    <a:pt x="82655" y="123450"/>
                    <a:pt x="74496" y="120730"/>
                    <a:pt x="69057" y="118011"/>
                  </a:cubicBezTo>
                  <a:cubicBezTo>
                    <a:pt x="63617" y="115291"/>
                    <a:pt x="58178" y="107132"/>
                    <a:pt x="58178" y="101693"/>
                  </a:cubicBezTo>
                  <a:cubicBezTo>
                    <a:pt x="58178" y="98973"/>
                    <a:pt x="58178" y="96253"/>
                    <a:pt x="60898" y="93534"/>
                  </a:cubicBezTo>
                  <a:cubicBezTo>
                    <a:pt x="63617" y="90814"/>
                    <a:pt x="71777" y="88094"/>
                    <a:pt x="77216" y="85375"/>
                  </a:cubicBezTo>
                  <a:cubicBezTo>
                    <a:pt x="90814" y="82655"/>
                    <a:pt x="126170" y="79935"/>
                    <a:pt x="131609" y="79935"/>
                  </a:cubicBezTo>
                  <a:cubicBezTo>
                    <a:pt x="137048" y="79935"/>
                    <a:pt x="147927" y="79935"/>
                    <a:pt x="161525" y="79935"/>
                  </a:cubicBezTo>
                  <a:cubicBezTo>
                    <a:pt x="166965" y="74496"/>
                    <a:pt x="172404" y="71776"/>
                    <a:pt x="177843" y="66337"/>
                  </a:cubicBezTo>
                  <a:cubicBezTo>
                    <a:pt x="186002" y="60898"/>
                    <a:pt x="194161" y="58178"/>
                    <a:pt x="202320" y="58178"/>
                  </a:cubicBezTo>
                  <a:cubicBezTo>
                    <a:pt x="215918" y="58178"/>
                    <a:pt x="226797" y="63617"/>
                    <a:pt x="234956" y="77216"/>
                  </a:cubicBezTo>
                  <a:cubicBezTo>
                    <a:pt x="240395" y="88094"/>
                    <a:pt x="248554" y="96253"/>
                    <a:pt x="251274" y="107132"/>
                  </a:cubicBezTo>
                  <a:cubicBezTo>
                    <a:pt x="256713" y="120730"/>
                    <a:pt x="259433" y="134328"/>
                    <a:pt x="267592" y="147927"/>
                  </a:cubicBezTo>
                  <a:cubicBezTo>
                    <a:pt x="273031" y="158805"/>
                    <a:pt x="275751" y="172404"/>
                    <a:pt x="281190" y="183282"/>
                  </a:cubicBezTo>
                  <a:cubicBezTo>
                    <a:pt x="286630" y="196881"/>
                    <a:pt x="292069" y="210479"/>
                    <a:pt x="297508" y="224077"/>
                  </a:cubicBezTo>
                  <a:cubicBezTo>
                    <a:pt x="300228" y="237675"/>
                    <a:pt x="305667" y="251274"/>
                    <a:pt x="308387" y="264872"/>
                  </a:cubicBezTo>
                  <a:cubicBezTo>
                    <a:pt x="311106" y="278470"/>
                    <a:pt x="311106" y="289349"/>
                    <a:pt x="319265" y="300227"/>
                  </a:cubicBezTo>
                  <a:cubicBezTo>
                    <a:pt x="332864" y="324704"/>
                    <a:pt x="346462" y="351901"/>
                    <a:pt x="351901" y="379097"/>
                  </a:cubicBezTo>
                  <a:cubicBezTo>
                    <a:pt x="354621" y="392696"/>
                    <a:pt x="360060" y="403574"/>
                    <a:pt x="365500" y="417173"/>
                  </a:cubicBezTo>
                  <a:cubicBezTo>
                    <a:pt x="373659" y="430771"/>
                    <a:pt x="373659" y="444369"/>
                    <a:pt x="379098" y="457967"/>
                  </a:cubicBezTo>
                  <a:cubicBezTo>
                    <a:pt x="381818" y="471566"/>
                    <a:pt x="387257" y="482444"/>
                    <a:pt x="395416" y="496043"/>
                  </a:cubicBezTo>
                  <a:cubicBezTo>
                    <a:pt x="398136" y="501482"/>
                    <a:pt x="403575" y="506921"/>
                    <a:pt x="406294" y="512361"/>
                  </a:cubicBezTo>
                  <a:cubicBezTo>
                    <a:pt x="409014" y="517800"/>
                    <a:pt x="409014" y="525959"/>
                    <a:pt x="411734" y="531398"/>
                  </a:cubicBezTo>
                  <a:cubicBezTo>
                    <a:pt x="414453" y="539557"/>
                    <a:pt x="417173" y="550436"/>
                    <a:pt x="419893" y="558595"/>
                  </a:cubicBezTo>
                  <a:cubicBezTo>
                    <a:pt x="422613" y="561314"/>
                    <a:pt x="422613" y="564034"/>
                    <a:pt x="425332" y="564034"/>
                  </a:cubicBezTo>
                  <a:cubicBezTo>
                    <a:pt x="428052" y="564034"/>
                    <a:pt x="428052" y="561314"/>
                    <a:pt x="430771" y="558595"/>
                  </a:cubicBezTo>
                  <a:cubicBezTo>
                    <a:pt x="430771" y="555875"/>
                    <a:pt x="430771" y="553155"/>
                    <a:pt x="430771" y="550436"/>
                  </a:cubicBezTo>
                  <a:cubicBezTo>
                    <a:pt x="430771" y="534118"/>
                    <a:pt x="430771" y="517800"/>
                    <a:pt x="430771" y="501482"/>
                  </a:cubicBezTo>
                  <a:cubicBezTo>
                    <a:pt x="430771" y="468846"/>
                    <a:pt x="433491" y="436210"/>
                    <a:pt x="430771" y="403574"/>
                  </a:cubicBezTo>
                  <a:cubicBezTo>
                    <a:pt x="430771" y="373658"/>
                    <a:pt x="425332" y="343742"/>
                    <a:pt x="425332" y="313826"/>
                  </a:cubicBezTo>
                  <a:cubicBezTo>
                    <a:pt x="425332" y="292068"/>
                    <a:pt x="425332" y="270311"/>
                    <a:pt x="425332" y="248554"/>
                  </a:cubicBezTo>
                  <a:cubicBezTo>
                    <a:pt x="425332" y="234956"/>
                    <a:pt x="425332" y="224077"/>
                    <a:pt x="425332" y="210479"/>
                  </a:cubicBezTo>
                  <a:cubicBezTo>
                    <a:pt x="425332" y="191441"/>
                    <a:pt x="422613" y="172404"/>
                    <a:pt x="422613" y="153366"/>
                  </a:cubicBezTo>
                  <a:cubicBezTo>
                    <a:pt x="422613" y="142487"/>
                    <a:pt x="422613" y="134328"/>
                    <a:pt x="425332" y="123450"/>
                  </a:cubicBezTo>
                  <a:cubicBezTo>
                    <a:pt x="417173" y="123450"/>
                    <a:pt x="406294" y="123450"/>
                    <a:pt x="398136" y="123450"/>
                  </a:cubicBezTo>
                  <a:cubicBezTo>
                    <a:pt x="392696" y="123450"/>
                    <a:pt x="387257" y="123450"/>
                    <a:pt x="379098" y="123450"/>
                  </a:cubicBezTo>
                  <a:cubicBezTo>
                    <a:pt x="373659" y="123450"/>
                    <a:pt x="365500" y="120730"/>
                    <a:pt x="360060" y="118011"/>
                  </a:cubicBezTo>
                  <a:cubicBezTo>
                    <a:pt x="354621" y="115291"/>
                    <a:pt x="349182" y="107132"/>
                    <a:pt x="349182" y="101693"/>
                  </a:cubicBezTo>
                  <a:cubicBezTo>
                    <a:pt x="349182" y="98973"/>
                    <a:pt x="349182" y="96253"/>
                    <a:pt x="351901" y="93534"/>
                  </a:cubicBezTo>
                  <a:cubicBezTo>
                    <a:pt x="354621" y="90814"/>
                    <a:pt x="362780" y="88094"/>
                    <a:pt x="368219" y="85375"/>
                  </a:cubicBezTo>
                  <a:cubicBezTo>
                    <a:pt x="381818" y="82655"/>
                    <a:pt x="417173" y="79935"/>
                    <a:pt x="422613" y="79935"/>
                  </a:cubicBezTo>
                  <a:cubicBezTo>
                    <a:pt x="428052" y="79935"/>
                    <a:pt x="433491" y="79935"/>
                    <a:pt x="444370" y="79935"/>
                  </a:cubicBezTo>
                  <a:cubicBezTo>
                    <a:pt x="449809" y="74496"/>
                    <a:pt x="455248" y="71776"/>
                    <a:pt x="463407" y="71776"/>
                  </a:cubicBezTo>
                  <a:cubicBezTo>
                    <a:pt x="471566" y="71776"/>
                    <a:pt x="477006" y="74496"/>
                    <a:pt x="477006" y="79935"/>
                  </a:cubicBezTo>
                  <a:cubicBezTo>
                    <a:pt x="493324" y="79935"/>
                    <a:pt x="506922" y="79935"/>
                    <a:pt x="515081" y="79935"/>
                  </a:cubicBezTo>
                  <a:lnTo>
                    <a:pt x="515081" y="79935"/>
                  </a:ln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/>
            </a:p>
          </p:txBody>
        </p:sp>
        <p:sp>
          <p:nvSpPr>
            <p:cNvPr id="43" name="Freeform: Shape 42">
              <a:extLst>
                <a:ext uri="{FF2B5EF4-FFF2-40B4-BE49-F238E27FC236}">
                  <a16:creationId xmlns:a16="http://schemas.microsoft.com/office/drawing/2014/main" id="{48589BCD-A0C1-497B-8D9B-7071336DC859}"/>
                </a:ext>
              </a:extLst>
            </p:cNvPr>
            <p:cNvSpPr/>
            <p:nvPr/>
          </p:nvSpPr>
          <p:spPr bwMode="black">
            <a:xfrm>
              <a:off x="5139126" y="4192158"/>
              <a:ext cx="516735" cy="788700"/>
            </a:xfrm>
            <a:custGeom>
              <a:avLst/>
              <a:gdLst>
                <a:gd name="connsiteX0" fmla="*/ 464616 w 516735"/>
                <a:gd name="connsiteY0" fmla="*/ 436210 h 788699"/>
                <a:gd name="connsiteX1" fmla="*/ 445578 w 516735"/>
                <a:gd name="connsiteY1" fmla="*/ 455248 h 788699"/>
                <a:gd name="connsiteX2" fmla="*/ 404784 w 516735"/>
                <a:gd name="connsiteY2" fmla="*/ 466126 h 788699"/>
                <a:gd name="connsiteX3" fmla="*/ 385746 w 516735"/>
                <a:gd name="connsiteY3" fmla="*/ 479725 h 788699"/>
                <a:gd name="connsiteX4" fmla="*/ 388466 w 516735"/>
                <a:gd name="connsiteY4" fmla="*/ 512361 h 788699"/>
                <a:gd name="connsiteX5" fmla="*/ 388466 w 516735"/>
                <a:gd name="connsiteY5" fmla="*/ 544997 h 788699"/>
                <a:gd name="connsiteX6" fmla="*/ 388466 w 516735"/>
                <a:gd name="connsiteY6" fmla="*/ 566754 h 788699"/>
                <a:gd name="connsiteX7" fmla="*/ 391185 w 516735"/>
                <a:gd name="connsiteY7" fmla="*/ 632026 h 788699"/>
                <a:gd name="connsiteX8" fmla="*/ 393905 w 516735"/>
                <a:gd name="connsiteY8" fmla="*/ 683699 h 788699"/>
                <a:gd name="connsiteX9" fmla="*/ 377587 w 516735"/>
                <a:gd name="connsiteY9" fmla="*/ 724494 h 788699"/>
                <a:gd name="connsiteX10" fmla="*/ 361269 w 516735"/>
                <a:gd name="connsiteY10" fmla="*/ 719054 h 788699"/>
                <a:gd name="connsiteX11" fmla="*/ 353110 w 516735"/>
                <a:gd name="connsiteY11" fmla="*/ 702737 h 788699"/>
                <a:gd name="connsiteX12" fmla="*/ 350390 w 516735"/>
                <a:gd name="connsiteY12" fmla="*/ 686419 h 788699"/>
                <a:gd name="connsiteX13" fmla="*/ 353110 w 516735"/>
                <a:gd name="connsiteY13" fmla="*/ 659222 h 788699"/>
                <a:gd name="connsiteX14" fmla="*/ 353110 w 516735"/>
                <a:gd name="connsiteY14" fmla="*/ 656502 h 788699"/>
                <a:gd name="connsiteX15" fmla="*/ 317755 w 516735"/>
                <a:gd name="connsiteY15" fmla="*/ 708176 h 788699"/>
                <a:gd name="connsiteX16" fmla="*/ 241604 w 516735"/>
                <a:gd name="connsiteY16" fmla="*/ 735372 h 788699"/>
                <a:gd name="connsiteX17" fmla="*/ 187211 w 516735"/>
                <a:gd name="connsiteY17" fmla="*/ 727214 h 788699"/>
                <a:gd name="connsiteX18" fmla="*/ 135538 w 516735"/>
                <a:gd name="connsiteY18" fmla="*/ 694578 h 788699"/>
                <a:gd name="connsiteX19" fmla="*/ 86584 w 516735"/>
                <a:gd name="connsiteY19" fmla="*/ 621147 h 788699"/>
                <a:gd name="connsiteX20" fmla="*/ 67546 w 516735"/>
                <a:gd name="connsiteY20" fmla="*/ 555875 h 788699"/>
                <a:gd name="connsiteX21" fmla="*/ 59387 w 516735"/>
                <a:gd name="connsiteY21" fmla="*/ 509641 h 788699"/>
                <a:gd name="connsiteX22" fmla="*/ 59387 w 516735"/>
                <a:gd name="connsiteY22" fmla="*/ 468846 h 788699"/>
                <a:gd name="connsiteX23" fmla="*/ 86584 w 516735"/>
                <a:gd name="connsiteY23" fmla="*/ 302947 h 788699"/>
                <a:gd name="connsiteX24" fmla="*/ 108341 w 516735"/>
                <a:gd name="connsiteY24" fmla="*/ 224077 h 788699"/>
                <a:gd name="connsiteX25" fmla="*/ 146416 w 516735"/>
                <a:gd name="connsiteY25" fmla="*/ 145207 h 788699"/>
                <a:gd name="connsiteX26" fmla="*/ 198090 w 516735"/>
                <a:gd name="connsiteY26" fmla="*/ 85375 h 788699"/>
                <a:gd name="connsiteX27" fmla="*/ 228006 w 516735"/>
                <a:gd name="connsiteY27" fmla="*/ 69057 h 788699"/>
                <a:gd name="connsiteX28" fmla="*/ 268801 w 516735"/>
                <a:gd name="connsiteY28" fmla="*/ 58178 h 788699"/>
                <a:gd name="connsiteX29" fmla="*/ 274240 w 516735"/>
                <a:gd name="connsiteY29" fmla="*/ 58178 h 788699"/>
                <a:gd name="connsiteX30" fmla="*/ 295997 w 516735"/>
                <a:gd name="connsiteY30" fmla="*/ 60898 h 788699"/>
                <a:gd name="connsiteX31" fmla="*/ 331353 w 516735"/>
                <a:gd name="connsiteY31" fmla="*/ 71776 h 788699"/>
                <a:gd name="connsiteX32" fmla="*/ 350390 w 516735"/>
                <a:gd name="connsiteY32" fmla="*/ 93534 h 788699"/>
                <a:gd name="connsiteX33" fmla="*/ 353110 w 516735"/>
                <a:gd name="connsiteY33" fmla="*/ 74496 h 788699"/>
                <a:gd name="connsiteX34" fmla="*/ 358549 w 516735"/>
                <a:gd name="connsiteY34" fmla="*/ 63618 h 788699"/>
                <a:gd name="connsiteX35" fmla="*/ 366708 w 516735"/>
                <a:gd name="connsiteY35" fmla="*/ 58178 h 788699"/>
                <a:gd name="connsiteX36" fmla="*/ 374867 w 516735"/>
                <a:gd name="connsiteY36" fmla="*/ 63618 h 788699"/>
                <a:gd name="connsiteX37" fmla="*/ 383026 w 516735"/>
                <a:gd name="connsiteY37" fmla="*/ 82655 h 788699"/>
                <a:gd name="connsiteX38" fmla="*/ 385746 w 516735"/>
                <a:gd name="connsiteY38" fmla="*/ 126170 h 788699"/>
                <a:gd name="connsiteX39" fmla="*/ 388466 w 516735"/>
                <a:gd name="connsiteY39" fmla="*/ 186002 h 788699"/>
                <a:gd name="connsiteX40" fmla="*/ 391185 w 516735"/>
                <a:gd name="connsiteY40" fmla="*/ 237676 h 788699"/>
                <a:gd name="connsiteX41" fmla="*/ 374867 w 516735"/>
                <a:gd name="connsiteY41" fmla="*/ 278470 h 788699"/>
                <a:gd name="connsiteX42" fmla="*/ 358549 w 516735"/>
                <a:gd name="connsiteY42" fmla="*/ 273031 h 788699"/>
                <a:gd name="connsiteX43" fmla="*/ 350390 w 516735"/>
                <a:gd name="connsiteY43" fmla="*/ 256713 h 788699"/>
                <a:gd name="connsiteX44" fmla="*/ 347671 w 516735"/>
                <a:gd name="connsiteY44" fmla="*/ 240395 h 788699"/>
                <a:gd name="connsiteX45" fmla="*/ 347671 w 516735"/>
                <a:gd name="connsiteY45" fmla="*/ 213199 h 788699"/>
                <a:gd name="connsiteX46" fmla="*/ 344951 w 516735"/>
                <a:gd name="connsiteY46" fmla="*/ 194161 h 788699"/>
                <a:gd name="connsiteX47" fmla="*/ 339512 w 516735"/>
                <a:gd name="connsiteY47" fmla="*/ 150647 h 788699"/>
                <a:gd name="connsiteX48" fmla="*/ 323194 w 516735"/>
                <a:gd name="connsiteY48" fmla="*/ 112571 h 788699"/>
                <a:gd name="connsiteX49" fmla="*/ 293278 w 516735"/>
                <a:gd name="connsiteY49" fmla="*/ 101693 h 788699"/>
                <a:gd name="connsiteX50" fmla="*/ 263361 w 516735"/>
                <a:gd name="connsiteY50" fmla="*/ 120730 h 788699"/>
                <a:gd name="connsiteX51" fmla="*/ 241604 w 516735"/>
                <a:gd name="connsiteY51" fmla="*/ 153366 h 788699"/>
                <a:gd name="connsiteX52" fmla="*/ 233445 w 516735"/>
                <a:gd name="connsiteY52" fmla="*/ 194161 h 788699"/>
                <a:gd name="connsiteX53" fmla="*/ 225286 w 516735"/>
                <a:gd name="connsiteY53" fmla="*/ 232236 h 788699"/>
                <a:gd name="connsiteX54" fmla="*/ 217127 w 516735"/>
                <a:gd name="connsiteY54" fmla="*/ 275751 h 788699"/>
                <a:gd name="connsiteX55" fmla="*/ 211688 w 516735"/>
                <a:gd name="connsiteY55" fmla="*/ 316545 h 788699"/>
                <a:gd name="connsiteX56" fmla="*/ 206249 w 516735"/>
                <a:gd name="connsiteY56" fmla="*/ 354621 h 788699"/>
                <a:gd name="connsiteX57" fmla="*/ 200809 w 516735"/>
                <a:gd name="connsiteY57" fmla="*/ 398135 h 788699"/>
                <a:gd name="connsiteX58" fmla="*/ 195370 w 516735"/>
                <a:gd name="connsiteY58" fmla="*/ 438930 h 788699"/>
                <a:gd name="connsiteX59" fmla="*/ 192650 w 516735"/>
                <a:gd name="connsiteY59" fmla="*/ 474286 h 788699"/>
                <a:gd name="connsiteX60" fmla="*/ 195370 w 516735"/>
                <a:gd name="connsiteY60" fmla="*/ 525959 h 788699"/>
                <a:gd name="connsiteX61" fmla="*/ 208968 w 516735"/>
                <a:gd name="connsiteY61" fmla="*/ 596670 h 788699"/>
                <a:gd name="connsiteX62" fmla="*/ 214407 w 516735"/>
                <a:gd name="connsiteY62" fmla="*/ 623867 h 788699"/>
                <a:gd name="connsiteX63" fmla="*/ 228006 w 516735"/>
                <a:gd name="connsiteY63" fmla="*/ 656502 h 788699"/>
                <a:gd name="connsiteX64" fmla="*/ 271520 w 516735"/>
                <a:gd name="connsiteY64" fmla="*/ 689138 h 788699"/>
                <a:gd name="connsiteX65" fmla="*/ 306876 w 516735"/>
                <a:gd name="connsiteY65" fmla="*/ 664661 h 788699"/>
                <a:gd name="connsiteX66" fmla="*/ 331353 w 516735"/>
                <a:gd name="connsiteY66" fmla="*/ 602109 h 788699"/>
                <a:gd name="connsiteX67" fmla="*/ 336792 w 516735"/>
                <a:gd name="connsiteY67" fmla="*/ 544997 h 788699"/>
                <a:gd name="connsiteX68" fmla="*/ 336792 w 516735"/>
                <a:gd name="connsiteY68" fmla="*/ 498762 h 788699"/>
                <a:gd name="connsiteX69" fmla="*/ 336792 w 516735"/>
                <a:gd name="connsiteY69" fmla="*/ 490603 h 788699"/>
                <a:gd name="connsiteX70" fmla="*/ 320474 w 516735"/>
                <a:gd name="connsiteY70" fmla="*/ 477005 h 788699"/>
                <a:gd name="connsiteX71" fmla="*/ 282399 w 516735"/>
                <a:gd name="connsiteY71" fmla="*/ 479725 h 788699"/>
                <a:gd name="connsiteX72" fmla="*/ 252483 w 516735"/>
                <a:gd name="connsiteY72" fmla="*/ 474286 h 788699"/>
                <a:gd name="connsiteX73" fmla="*/ 247043 w 516735"/>
                <a:gd name="connsiteY73" fmla="*/ 466126 h 788699"/>
                <a:gd name="connsiteX74" fmla="*/ 249763 w 516735"/>
                <a:gd name="connsiteY74" fmla="*/ 457968 h 788699"/>
                <a:gd name="connsiteX75" fmla="*/ 268801 w 516735"/>
                <a:gd name="connsiteY75" fmla="*/ 447089 h 788699"/>
                <a:gd name="connsiteX76" fmla="*/ 312315 w 516735"/>
                <a:gd name="connsiteY76" fmla="*/ 436210 h 788699"/>
                <a:gd name="connsiteX77" fmla="*/ 353110 w 516735"/>
                <a:gd name="connsiteY77" fmla="*/ 430771 h 788699"/>
                <a:gd name="connsiteX78" fmla="*/ 385746 w 516735"/>
                <a:gd name="connsiteY78" fmla="*/ 430771 h 788699"/>
                <a:gd name="connsiteX79" fmla="*/ 437420 w 516735"/>
                <a:gd name="connsiteY79" fmla="*/ 428051 h 788699"/>
                <a:gd name="connsiteX80" fmla="*/ 464616 w 516735"/>
                <a:gd name="connsiteY80" fmla="*/ 436210 h 7886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</a:cxnLst>
              <a:rect l="l" t="t" r="r" b="b"/>
              <a:pathLst>
                <a:path w="516735" h="788699">
                  <a:moveTo>
                    <a:pt x="464616" y="436210"/>
                  </a:moveTo>
                  <a:cubicBezTo>
                    <a:pt x="464616" y="447089"/>
                    <a:pt x="453737" y="452528"/>
                    <a:pt x="445578" y="455248"/>
                  </a:cubicBezTo>
                  <a:cubicBezTo>
                    <a:pt x="434700" y="460687"/>
                    <a:pt x="415662" y="463407"/>
                    <a:pt x="404784" y="466126"/>
                  </a:cubicBezTo>
                  <a:cubicBezTo>
                    <a:pt x="393905" y="466126"/>
                    <a:pt x="385746" y="468846"/>
                    <a:pt x="385746" y="479725"/>
                  </a:cubicBezTo>
                  <a:cubicBezTo>
                    <a:pt x="385746" y="487884"/>
                    <a:pt x="388466" y="506921"/>
                    <a:pt x="388466" y="512361"/>
                  </a:cubicBezTo>
                  <a:cubicBezTo>
                    <a:pt x="388466" y="515080"/>
                    <a:pt x="388466" y="539557"/>
                    <a:pt x="388466" y="544997"/>
                  </a:cubicBezTo>
                  <a:cubicBezTo>
                    <a:pt x="388466" y="550436"/>
                    <a:pt x="388466" y="558595"/>
                    <a:pt x="388466" y="566754"/>
                  </a:cubicBezTo>
                  <a:cubicBezTo>
                    <a:pt x="388466" y="591231"/>
                    <a:pt x="388466" y="621147"/>
                    <a:pt x="391185" y="632026"/>
                  </a:cubicBezTo>
                  <a:cubicBezTo>
                    <a:pt x="393905" y="653783"/>
                    <a:pt x="393905" y="661942"/>
                    <a:pt x="393905" y="683699"/>
                  </a:cubicBezTo>
                  <a:cubicBezTo>
                    <a:pt x="393905" y="694578"/>
                    <a:pt x="393905" y="724494"/>
                    <a:pt x="377587" y="724494"/>
                  </a:cubicBezTo>
                  <a:cubicBezTo>
                    <a:pt x="369428" y="724494"/>
                    <a:pt x="366708" y="721774"/>
                    <a:pt x="361269" y="719054"/>
                  </a:cubicBezTo>
                  <a:cubicBezTo>
                    <a:pt x="355830" y="716335"/>
                    <a:pt x="353110" y="708176"/>
                    <a:pt x="353110" y="702737"/>
                  </a:cubicBezTo>
                  <a:cubicBezTo>
                    <a:pt x="350390" y="694578"/>
                    <a:pt x="350390" y="689138"/>
                    <a:pt x="350390" y="686419"/>
                  </a:cubicBezTo>
                  <a:cubicBezTo>
                    <a:pt x="350390" y="678260"/>
                    <a:pt x="353110" y="672820"/>
                    <a:pt x="353110" y="659222"/>
                  </a:cubicBezTo>
                  <a:lnTo>
                    <a:pt x="353110" y="656502"/>
                  </a:lnTo>
                  <a:cubicBezTo>
                    <a:pt x="347671" y="675540"/>
                    <a:pt x="334072" y="694578"/>
                    <a:pt x="317755" y="708176"/>
                  </a:cubicBezTo>
                  <a:cubicBezTo>
                    <a:pt x="293278" y="727214"/>
                    <a:pt x="274240" y="735372"/>
                    <a:pt x="241604" y="735372"/>
                  </a:cubicBezTo>
                  <a:cubicBezTo>
                    <a:pt x="222566" y="735372"/>
                    <a:pt x="203529" y="732653"/>
                    <a:pt x="187211" y="727214"/>
                  </a:cubicBezTo>
                  <a:cubicBezTo>
                    <a:pt x="165454" y="719054"/>
                    <a:pt x="149136" y="708176"/>
                    <a:pt x="135538" y="694578"/>
                  </a:cubicBezTo>
                  <a:cubicBezTo>
                    <a:pt x="113780" y="672820"/>
                    <a:pt x="100182" y="648343"/>
                    <a:pt x="86584" y="621147"/>
                  </a:cubicBezTo>
                  <a:cubicBezTo>
                    <a:pt x="75705" y="599390"/>
                    <a:pt x="70266" y="580352"/>
                    <a:pt x="67546" y="555875"/>
                  </a:cubicBezTo>
                  <a:cubicBezTo>
                    <a:pt x="64826" y="539557"/>
                    <a:pt x="62107" y="525959"/>
                    <a:pt x="59387" y="509641"/>
                  </a:cubicBezTo>
                  <a:cubicBezTo>
                    <a:pt x="56667" y="493323"/>
                    <a:pt x="59387" y="485164"/>
                    <a:pt x="59387" y="468846"/>
                  </a:cubicBezTo>
                  <a:cubicBezTo>
                    <a:pt x="59387" y="414453"/>
                    <a:pt x="72985" y="362780"/>
                    <a:pt x="86584" y="302947"/>
                  </a:cubicBezTo>
                  <a:cubicBezTo>
                    <a:pt x="92023" y="275751"/>
                    <a:pt x="100182" y="248554"/>
                    <a:pt x="108341" y="224077"/>
                  </a:cubicBezTo>
                  <a:cubicBezTo>
                    <a:pt x="116500" y="196881"/>
                    <a:pt x="130098" y="169684"/>
                    <a:pt x="146416" y="145207"/>
                  </a:cubicBezTo>
                  <a:cubicBezTo>
                    <a:pt x="160014" y="123450"/>
                    <a:pt x="176332" y="101693"/>
                    <a:pt x="198090" y="85375"/>
                  </a:cubicBezTo>
                  <a:cubicBezTo>
                    <a:pt x="206249" y="77216"/>
                    <a:pt x="217127" y="71776"/>
                    <a:pt x="228006" y="69057"/>
                  </a:cubicBezTo>
                  <a:cubicBezTo>
                    <a:pt x="241604" y="63618"/>
                    <a:pt x="255202" y="58178"/>
                    <a:pt x="268801" y="58178"/>
                  </a:cubicBezTo>
                  <a:cubicBezTo>
                    <a:pt x="271520" y="58178"/>
                    <a:pt x="274240" y="58178"/>
                    <a:pt x="274240" y="58178"/>
                  </a:cubicBezTo>
                  <a:cubicBezTo>
                    <a:pt x="279679" y="58178"/>
                    <a:pt x="285119" y="58178"/>
                    <a:pt x="295997" y="60898"/>
                  </a:cubicBezTo>
                  <a:cubicBezTo>
                    <a:pt x="309595" y="63618"/>
                    <a:pt x="320474" y="66337"/>
                    <a:pt x="331353" y="71776"/>
                  </a:cubicBezTo>
                  <a:cubicBezTo>
                    <a:pt x="339512" y="77216"/>
                    <a:pt x="347671" y="85375"/>
                    <a:pt x="350390" y="93534"/>
                  </a:cubicBezTo>
                  <a:cubicBezTo>
                    <a:pt x="350390" y="88095"/>
                    <a:pt x="353110" y="79936"/>
                    <a:pt x="353110" y="74496"/>
                  </a:cubicBezTo>
                  <a:cubicBezTo>
                    <a:pt x="355830" y="71776"/>
                    <a:pt x="355830" y="69057"/>
                    <a:pt x="358549" y="63618"/>
                  </a:cubicBezTo>
                  <a:cubicBezTo>
                    <a:pt x="361269" y="60898"/>
                    <a:pt x="363989" y="58178"/>
                    <a:pt x="366708" y="58178"/>
                  </a:cubicBezTo>
                  <a:cubicBezTo>
                    <a:pt x="369428" y="58178"/>
                    <a:pt x="372148" y="60898"/>
                    <a:pt x="374867" y="63618"/>
                  </a:cubicBezTo>
                  <a:cubicBezTo>
                    <a:pt x="377587" y="69057"/>
                    <a:pt x="380307" y="77216"/>
                    <a:pt x="383026" y="82655"/>
                  </a:cubicBezTo>
                  <a:cubicBezTo>
                    <a:pt x="383026" y="90814"/>
                    <a:pt x="385746" y="107132"/>
                    <a:pt x="385746" y="126170"/>
                  </a:cubicBezTo>
                  <a:cubicBezTo>
                    <a:pt x="385746" y="150647"/>
                    <a:pt x="385746" y="177843"/>
                    <a:pt x="388466" y="186002"/>
                  </a:cubicBezTo>
                  <a:cubicBezTo>
                    <a:pt x="391185" y="207759"/>
                    <a:pt x="391185" y="215918"/>
                    <a:pt x="391185" y="237676"/>
                  </a:cubicBezTo>
                  <a:cubicBezTo>
                    <a:pt x="391185" y="248554"/>
                    <a:pt x="391185" y="278470"/>
                    <a:pt x="374867" y="278470"/>
                  </a:cubicBezTo>
                  <a:cubicBezTo>
                    <a:pt x="366708" y="278470"/>
                    <a:pt x="363989" y="275751"/>
                    <a:pt x="358549" y="273031"/>
                  </a:cubicBezTo>
                  <a:cubicBezTo>
                    <a:pt x="353110" y="270311"/>
                    <a:pt x="350390" y="262152"/>
                    <a:pt x="350390" y="256713"/>
                  </a:cubicBezTo>
                  <a:cubicBezTo>
                    <a:pt x="350390" y="251274"/>
                    <a:pt x="347671" y="245834"/>
                    <a:pt x="347671" y="240395"/>
                  </a:cubicBezTo>
                  <a:cubicBezTo>
                    <a:pt x="347671" y="232236"/>
                    <a:pt x="347671" y="224077"/>
                    <a:pt x="347671" y="213199"/>
                  </a:cubicBezTo>
                  <a:cubicBezTo>
                    <a:pt x="347671" y="207759"/>
                    <a:pt x="347671" y="199600"/>
                    <a:pt x="344951" y="194161"/>
                  </a:cubicBezTo>
                  <a:cubicBezTo>
                    <a:pt x="342232" y="180563"/>
                    <a:pt x="342232" y="164245"/>
                    <a:pt x="339512" y="150647"/>
                  </a:cubicBezTo>
                  <a:cubicBezTo>
                    <a:pt x="336792" y="137048"/>
                    <a:pt x="331353" y="123450"/>
                    <a:pt x="323194" y="112571"/>
                  </a:cubicBezTo>
                  <a:cubicBezTo>
                    <a:pt x="317755" y="104412"/>
                    <a:pt x="304156" y="101693"/>
                    <a:pt x="293278" y="101693"/>
                  </a:cubicBezTo>
                  <a:cubicBezTo>
                    <a:pt x="279679" y="101693"/>
                    <a:pt x="271520" y="109852"/>
                    <a:pt x="263361" y="120730"/>
                  </a:cubicBezTo>
                  <a:cubicBezTo>
                    <a:pt x="257922" y="131609"/>
                    <a:pt x="247043" y="139768"/>
                    <a:pt x="241604" y="153366"/>
                  </a:cubicBezTo>
                  <a:cubicBezTo>
                    <a:pt x="236165" y="166964"/>
                    <a:pt x="233445" y="180563"/>
                    <a:pt x="233445" y="194161"/>
                  </a:cubicBezTo>
                  <a:cubicBezTo>
                    <a:pt x="233445" y="207759"/>
                    <a:pt x="230726" y="218638"/>
                    <a:pt x="225286" y="232236"/>
                  </a:cubicBezTo>
                  <a:cubicBezTo>
                    <a:pt x="219847" y="245834"/>
                    <a:pt x="219847" y="262152"/>
                    <a:pt x="217127" y="275751"/>
                  </a:cubicBezTo>
                  <a:cubicBezTo>
                    <a:pt x="214407" y="289349"/>
                    <a:pt x="214407" y="302947"/>
                    <a:pt x="211688" y="316545"/>
                  </a:cubicBezTo>
                  <a:cubicBezTo>
                    <a:pt x="211688" y="330144"/>
                    <a:pt x="206249" y="341022"/>
                    <a:pt x="206249" y="354621"/>
                  </a:cubicBezTo>
                  <a:cubicBezTo>
                    <a:pt x="203529" y="368219"/>
                    <a:pt x="203529" y="381817"/>
                    <a:pt x="200809" y="398135"/>
                  </a:cubicBezTo>
                  <a:cubicBezTo>
                    <a:pt x="198090" y="411733"/>
                    <a:pt x="198090" y="425332"/>
                    <a:pt x="195370" y="438930"/>
                  </a:cubicBezTo>
                  <a:cubicBezTo>
                    <a:pt x="195370" y="449809"/>
                    <a:pt x="192650" y="463407"/>
                    <a:pt x="192650" y="474286"/>
                  </a:cubicBezTo>
                  <a:cubicBezTo>
                    <a:pt x="192650" y="490603"/>
                    <a:pt x="195370" y="509641"/>
                    <a:pt x="195370" y="525959"/>
                  </a:cubicBezTo>
                  <a:cubicBezTo>
                    <a:pt x="195370" y="550436"/>
                    <a:pt x="203529" y="572193"/>
                    <a:pt x="208968" y="596670"/>
                  </a:cubicBezTo>
                  <a:cubicBezTo>
                    <a:pt x="211688" y="604829"/>
                    <a:pt x="211688" y="615708"/>
                    <a:pt x="214407" y="623867"/>
                  </a:cubicBezTo>
                  <a:cubicBezTo>
                    <a:pt x="217127" y="634745"/>
                    <a:pt x="222566" y="645624"/>
                    <a:pt x="228006" y="656502"/>
                  </a:cubicBezTo>
                  <a:cubicBezTo>
                    <a:pt x="236165" y="670101"/>
                    <a:pt x="252483" y="689138"/>
                    <a:pt x="271520" y="689138"/>
                  </a:cubicBezTo>
                  <a:cubicBezTo>
                    <a:pt x="287838" y="689138"/>
                    <a:pt x="298717" y="675540"/>
                    <a:pt x="306876" y="664661"/>
                  </a:cubicBezTo>
                  <a:cubicBezTo>
                    <a:pt x="320474" y="645624"/>
                    <a:pt x="325914" y="623867"/>
                    <a:pt x="331353" y="602109"/>
                  </a:cubicBezTo>
                  <a:cubicBezTo>
                    <a:pt x="334072" y="583072"/>
                    <a:pt x="336792" y="564034"/>
                    <a:pt x="336792" y="544997"/>
                  </a:cubicBezTo>
                  <a:cubicBezTo>
                    <a:pt x="336792" y="531398"/>
                    <a:pt x="336792" y="512361"/>
                    <a:pt x="336792" y="498762"/>
                  </a:cubicBezTo>
                  <a:cubicBezTo>
                    <a:pt x="336792" y="496043"/>
                    <a:pt x="336792" y="493323"/>
                    <a:pt x="336792" y="490603"/>
                  </a:cubicBezTo>
                  <a:cubicBezTo>
                    <a:pt x="336792" y="479725"/>
                    <a:pt x="336792" y="477005"/>
                    <a:pt x="320474" y="477005"/>
                  </a:cubicBezTo>
                  <a:cubicBezTo>
                    <a:pt x="309595" y="477005"/>
                    <a:pt x="295997" y="479725"/>
                    <a:pt x="282399" y="479725"/>
                  </a:cubicBezTo>
                  <a:cubicBezTo>
                    <a:pt x="271520" y="479725"/>
                    <a:pt x="260642" y="479725"/>
                    <a:pt x="252483" y="474286"/>
                  </a:cubicBezTo>
                  <a:cubicBezTo>
                    <a:pt x="249763" y="471566"/>
                    <a:pt x="247043" y="468846"/>
                    <a:pt x="247043" y="466126"/>
                  </a:cubicBezTo>
                  <a:cubicBezTo>
                    <a:pt x="247043" y="463407"/>
                    <a:pt x="247043" y="460687"/>
                    <a:pt x="249763" y="457968"/>
                  </a:cubicBezTo>
                  <a:cubicBezTo>
                    <a:pt x="255202" y="452528"/>
                    <a:pt x="260642" y="449809"/>
                    <a:pt x="268801" y="447089"/>
                  </a:cubicBezTo>
                  <a:cubicBezTo>
                    <a:pt x="282399" y="441650"/>
                    <a:pt x="295997" y="438930"/>
                    <a:pt x="312315" y="436210"/>
                  </a:cubicBezTo>
                  <a:cubicBezTo>
                    <a:pt x="325914" y="433491"/>
                    <a:pt x="339512" y="433491"/>
                    <a:pt x="353110" y="430771"/>
                  </a:cubicBezTo>
                  <a:cubicBezTo>
                    <a:pt x="363989" y="430771"/>
                    <a:pt x="374867" y="430771"/>
                    <a:pt x="385746" y="430771"/>
                  </a:cubicBezTo>
                  <a:cubicBezTo>
                    <a:pt x="402064" y="430771"/>
                    <a:pt x="426541" y="428051"/>
                    <a:pt x="437420" y="428051"/>
                  </a:cubicBezTo>
                  <a:cubicBezTo>
                    <a:pt x="451018" y="419892"/>
                    <a:pt x="464616" y="425332"/>
                    <a:pt x="464616" y="436210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/>
            </a:p>
          </p:txBody>
        </p:sp>
        <p:sp>
          <p:nvSpPr>
            <p:cNvPr id="44" name="Freeform: Shape 43">
              <a:extLst>
                <a:ext uri="{FF2B5EF4-FFF2-40B4-BE49-F238E27FC236}">
                  <a16:creationId xmlns:a16="http://schemas.microsoft.com/office/drawing/2014/main" id="{8DFF6291-0096-416B-8932-CFAEE8C24CC3}"/>
                </a:ext>
              </a:extLst>
            </p:cNvPr>
            <p:cNvSpPr/>
            <p:nvPr/>
          </p:nvSpPr>
          <p:spPr bwMode="black">
            <a:xfrm>
              <a:off x="5651630" y="4181279"/>
              <a:ext cx="734308" cy="788700"/>
            </a:xfrm>
            <a:custGeom>
              <a:avLst/>
              <a:gdLst>
                <a:gd name="connsiteX0" fmla="*/ 653783 w 734307"/>
                <a:gd name="connsiteY0" fmla="*/ 678259 h 788699"/>
                <a:gd name="connsiteX1" fmla="*/ 691859 w 734307"/>
                <a:gd name="connsiteY1" fmla="*/ 694577 h 788699"/>
                <a:gd name="connsiteX2" fmla="*/ 686419 w 734307"/>
                <a:gd name="connsiteY2" fmla="*/ 710895 h 788699"/>
                <a:gd name="connsiteX3" fmla="*/ 670101 w 734307"/>
                <a:gd name="connsiteY3" fmla="*/ 719054 h 788699"/>
                <a:gd name="connsiteX4" fmla="*/ 648344 w 734307"/>
                <a:gd name="connsiteY4" fmla="*/ 721774 h 788699"/>
                <a:gd name="connsiteX5" fmla="*/ 618428 w 734307"/>
                <a:gd name="connsiteY5" fmla="*/ 721774 h 788699"/>
                <a:gd name="connsiteX6" fmla="*/ 572194 w 734307"/>
                <a:gd name="connsiteY6" fmla="*/ 735372 h 788699"/>
                <a:gd name="connsiteX7" fmla="*/ 544997 w 734307"/>
                <a:gd name="connsiteY7" fmla="*/ 729933 h 788699"/>
                <a:gd name="connsiteX8" fmla="*/ 534119 w 734307"/>
                <a:gd name="connsiteY8" fmla="*/ 721774 h 788699"/>
                <a:gd name="connsiteX9" fmla="*/ 496043 w 734307"/>
                <a:gd name="connsiteY9" fmla="*/ 721774 h 788699"/>
                <a:gd name="connsiteX10" fmla="*/ 471566 w 734307"/>
                <a:gd name="connsiteY10" fmla="*/ 721774 h 788699"/>
                <a:gd name="connsiteX11" fmla="*/ 444370 w 734307"/>
                <a:gd name="connsiteY11" fmla="*/ 716335 h 788699"/>
                <a:gd name="connsiteX12" fmla="*/ 428052 w 734307"/>
                <a:gd name="connsiteY12" fmla="*/ 700017 h 788699"/>
                <a:gd name="connsiteX13" fmla="*/ 433491 w 734307"/>
                <a:gd name="connsiteY13" fmla="*/ 691858 h 788699"/>
                <a:gd name="connsiteX14" fmla="*/ 455248 w 734307"/>
                <a:gd name="connsiteY14" fmla="*/ 683699 h 788699"/>
                <a:gd name="connsiteX15" fmla="*/ 506922 w 734307"/>
                <a:gd name="connsiteY15" fmla="*/ 678259 h 788699"/>
                <a:gd name="connsiteX16" fmla="*/ 509641 w 734307"/>
                <a:gd name="connsiteY16" fmla="*/ 678259 h 788699"/>
                <a:gd name="connsiteX17" fmla="*/ 506922 w 734307"/>
                <a:gd name="connsiteY17" fmla="*/ 664661 h 788699"/>
                <a:gd name="connsiteX18" fmla="*/ 498763 w 734307"/>
                <a:gd name="connsiteY18" fmla="*/ 580352 h 788699"/>
                <a:gd name="connsiteX19" fmla="*/ 496043 w 734307"/>
                <a:gd name="connsiteY19" fmla="*/ 479725 h 788699"/>
                <a:gd name="connsiteX20" fmla="*/ 493324 w 734307"/>
                <a:gd name="connsiteY20" fmla="*/ 389976 h 788699"/>
                <a:gd name="connsiteX21" fmla="*/ 490604 w 734307"/>
                <a:gd name="connsiteY21" fmla="*/ 302947 h 788699"/>
                <a:gd name="connsiteX22" fmla="*/ 487884 w 734307"/>
                <a:gd name="connsiteY22" fmla="*/ 229516 h 788699"/>
                <a:gd name="connsiteX23" fmla="*/ 485165 w 734307"/>
                <a:gd name="connsiteY23" fmla="*/ 221357 h 788699"/>
                <a:gd name="connsiteX24" fmla="*/ 482445 w 734307"/>
                <a:gd name="connsiteY24" fmla="*/ 226797 h 788699"/>
                <a:gd name="connsiteX25" fmla="*/ 477006 w 734307"/>
                <a:gd name="connsiteY25" fmla="*/ 262152 h 788699"/>
                <a:gd name="connsiteX26" fmla="*/ 460688 w 734307"/>
                <a:gd name="connsiteY26" fmla="*/ 341022 h 788699"/>
                <a:gd name="connsiteX27" fmla="*/ 444370 w 734307"/>
                <a:gd name="connsiteY27" fmla="*/ 417173 h 788699"/>
                <a:gd name="connsiteX28" fmla="*/ 436211 w 734307"/>
                <a:gd name="connsiteY28" fmla="*/ 455248 h 788699"/>
                <a:gd name="connsiteX29" fmla="*/ 425332 w 734307"/>
                <a:gd name="connsiteY29" fmla="*/ 493323 h 788699"/>
                <a:gd name="connsiteX30" fmla="*/ 411734 w 734307"/>
                <a:gd name="connsiteY30" fmla="*/ 531398 h 788699"/>
                <a:gd name="connsiteX31" fmla="*/ 376378 w 734307"/>
                <a:gd name="connsiteY31" fmla="*/ 547716 h 788699"/>
                <a:gd name="connsiteX32" fmla="*/ 319265 w 734307"/>
                <a:gd name="connsiteY32" fmla="*/ 525959 h 788699"/>
                <a:gd name="connsiteX33" fmla="*/ 289349 w 734307"/>
                <a:gd name="connsiteY33" fmla="*/ 455248 h 788699"/>
                <a:gd name="connsiteX34" fmla="*/ 273031 w 734307"/>
                <a:gd name="connsiteY34" fmla="*/ 373658 h 788699"/>
                <a:gd name="connsiteX35" fmla="*/ 262153 w 734307"/>
                <a:gd name="connsiteY35" fmla="*/ 316545 h 788699"/>
                <a:gd name="connsiteX36" fmla="*/ 245835 w 734307"/>
                <a:gd name="connsiteY36" fmla="*/ 237675 h 788699"/>
                <a:gd name="connsiteX37" fmla="*/ 234956 w 734307"/>
                <a:gd name="connsiteY37" fmla="*/ 196881 h 788699"/>
                <a:gd name="connsiteX38" fmla="*/ 232236 w 734307"/>
                <a:gd name="connsiteY38" fmla="*/ 191441 h 788699"/>
                <a:gd name="connsiteX39" fmla="*/ 226797 w 734307"/>
                <a:gd name="connsiteY39" fmla="*/ 207759 h 788699"/>
                <a:gd name="connsiteX40" fmla="*/ 226797 w 734307"/>
                <a:gd name="connsiteY40" fmla="*/ 232236 h 788699"/>
                <a:gd name="connsiteX41" fmla="*/ 224077 w 734307"/>
                <a:gd name="connsiteY41" fmla="*/ 267592 h 788699"/>
                <a:gd name="connsiteX42" fmla="*/ 221358 w 734307"/>
                <a:gd name="connsiteY42" fmla="*/ 311106 h 788699"/>
                <a:gd name="connsiteX43" fmla="*/ 218638 w 734307"/>
                <a:gd name="connsiteY43" fmla="*/ 360060 h 788699"/>
                <a:gd name="connsiteX44" fmla="*/ 215919 w 734307"/>
                <a:gd name="connsiteY44" fmla="*/ 398135 h 788699"/>
                <a:gd name="connsiteX45" fmla="*/ 213199 w 734307"/>
                <a:gd name="connsiteY45" fmla="*/ 430771 h 788699"/>
                <a:gd name="connsiteX46" fmla="*/ 213199 w 734307"/>
                <a:gd name="connsiteY46" fmla="*/ 455248 h 788699"/>
                <a:gd name="connsiteX47" fmla="*/ 213199 w 734307"/>
                <a:gd name="connsiteY47" fmla="*/ 477005 h 788699"/>
                <a:gd name="connsiteX48" fmla="*/ 207759 w 734307"/>
                <a:gd name="connsiteY48" fmla="*/ 520520 h 788699"/>
                <a:gd name="connsiteX49" fmla="*/ 196881 w 734307"/>
                <a:gd name="connsiteY49" fmla="*/ 610268 h 788699"/>
                <a:gd name="connsiteX50" fmla="*/ 194161 w 734307"/>
                <a:gd name="connsiteY50" fmla="*/ 653783 h 788699"/>
                <a:gd name="connsiteX51" fmla="*/ 191441 w 734307"/>
                <a:gd name="connsiteY51" fmla="*/ 667381 h 788699"/>
                <a:gd name="connsiteX52" fmla="*/ 243115 w 734307"/>
                <a:gd name="connsiteY52" fmla="*/ 667381 h 788699"/>
                <a:gd name="connsiteX53" fmla="*/ 273031 w 734307"/>
                <a:gd name="connsiteY53" fmla="*/ 683699 h 788699"/>
                <a:gd name="connsiteX54" fmla="*/ 262153 w 734307"/>
                <a:gd name="connsiteY54" fmla="*/ 697297 h 788699"/>
                <a:gd name="connsiteX55" fmla="*/ 248554 w 734307"/>
                <a:gd name="connsiteY55" fmla="*/ 705456 h 788699"/>
                <a:gd name="connsiteX56" fmla="*/ 232236 w 734307"/>
                <a:gd name="connsiteY56" fmla="*/ 708176 h 788699"/>
                <a:gd name="connsiteX57" fmla="*/ 166965 w 734307"/>
                <a:gd name="connsiteY57" fmla="*/ 708176 h 788699"/>
                <a:gd name="connsiteX58" fmla="*/ 109852 w 734307"/>
                <a:gd name="connsiteY58" fmla="*/ 708176 h 788699"/>
                <a:gd name="connsiteX59" fmla="*/ 90814 w 734307"/>
                <a:gd name="connsiteY59" fmla="*/ 708176 h 788699"/>
                <a:gd name="connsiteX60" fmla="*/ 69057 w 734307"/>
                <a:gd name="connsiteY60" fmla="*/ 702736 h 788699"/>
                <a:gd name="connsiteX61" fmla="*/ 58178 w 734307"/>
                <a:gd name="connsiteY61" fmla="*/ 686418 h 788699"/>
                <a:gd name="connsiteX62" fmla="*/ 60898 w 734307"/>
                <a:gd name="connsiteY62" fmla="*/ 678259 h 788699"/>
                <a:gd name="connsiteX63" fmla="*/ 77216 w 734307"/>
                <a:gd name="connsiteY63" fmla="*/ 670101 h 788699"/>
                <a:gd name="connsiteX64" fmla="*/ 126170 w 734307"/>
                <a:gd name="connsiteY64" fmla="*/ 664661 h 788699"/>
                <a:gd name="connsiteX65" fmla="*/ 142487 w 734307"/>
                <a:gd name="connsiteY65" fmla="*/ 664661 h 788699"/>
                <a:gd name="connsiteX66" fmla="*/ 147927 w 734307"/>
                <a:gd name="connsiteY66" fmla="*/ 588511 h 788699"/>
                <a:gd name="connsiteX67" fmla="*/ 153366 w 734307"/>
                <a:gd name="connsiteY67" fmla="*/ 493323 h 788699"/>
                <a:gd name="connsiteX68" fmla="*/ 156086 w 734307"/>
                <a:gd name="connsiteY68" fmla="*/ 411733 h 788699"/>
                <a:gd name="connsiteX69" fmla="*/ 161525 w 734307"/>
                <a:gd name="connsiteY69" fmla="*/ 297508 h 788699"/>
                <a:gd name="connsiteX70" fmla="*/ 166965 w 734307"/>
                <a:gd name="connsiteY70" fmla="*/ 240395 h 788699"/>
                <a:gd name="connsiteX71" fmla="*/ 177843 w 734307"/>
                <a:gd name="connsiteY71" fmla="*/ 161525 h 788699"/>
                <a:gd name="connsiteX72" fmla="*/ 183282 w 734307"/>
                <a:gd name="connsiteY72" fmla="*/ 118011 h 788699"/>
                <a:gd name="connsiteX73" fmla="*/ 183282 w 734307"/>
                <a:gd name="connsiteY73" fmla="*/ 115291 h 788699"/>
                <a:gd name="connsiteX74" fmla="*/ 161525 w 734307"/>
                <a:gd name="connsiteY74" fmla="*/ 115291 h 788699"/>
                <a:gd name="connsiteX75" fmla="*/ 137048 w 734307"/>
                <a:gd name="connsiteY75" fmla="*/ 115291 h 788699"/>
                <a:gd name="connsiteX76" fmla="*/ 109852 w 734307"/>
                <a:gd name="connsiteY76" fmla="*/ 109851 h 788699"/>
                <a:gd name="connsiteX77" fmla="*/ 93534 w 734307"/>
                <a:gd name="connsiteY77" fmla="*/ 93534 h 788699"/>
                <a:gd name="connsiteX78" fmla="*/ 98973 w 734307"/>
                <a:gd name="connsiteY78" fmla="*/ 85375 h 788699"/>
                <a:gd name="connsiteX79" fmla="*/ 120730 w 734307"/>
                <a:gd name="connsiteY79" fmla="*/ 77216 h 788699"/>
                <a:gd name="connsiteX80" fmla="*/ 172404 w 734307"/>
                <a:gd name="connsiteY80" fmla="*/ 71776 h 788699"/>
                <a:gd name="connsiteX81" fmla="*/ 234956 w 734307"/>
                <a:gd name="connsiteY81" fmla="*/ 69057 h 788699"/>
                <a:gd name="connsiteX82" fmla="*/ 243115 w 734307"/>
                <a:gd name="connsiteY82" fmla="*/ 69057 h 788699"/>
                <a:gd name="connsiteX83" fmla="*/ 270312 w 734307"/>
                <a:gd name="connsiteY83" fmla="*/ 74496 h 788699"/>
                <a:gd name="connsiteX84" fmla="*/ 308387 w 734307"/>
                <a:gd name="connsiteY84" fmla="*/ 123450 h 788699"/>
                <a:gd name="connsiteX85" fmla="*/ 332864 w 734307"/>
                <a:gd name="connsiteY85" fmla="*/ 202320 h 788699"/>
                <a:gd name="connsiteX86" fmla="*/ 338303 w 734307"/>
                <a:gd name="connsiteY86" fmla="*/ 237675 h 788699"/>
                <a:gd name="connsiteX87" fmla="*/ 349182 w 734307"/>
                <a:gd name="connsiteY87" fmla="*/ 281190 h 788699"/>
                <a:gd name="connsiteX88" fmla="*/ 357341 w 734307"/>
                <a:gd name="connsiteY88" fmla="*/ 316545 h 788699"/>
                <a:gd name="connsiteX89" fmla="*/ 365500 w 734307"/>
                <a:gd name="connsiteY89" fmla="*/ 351901 h 788699"/>
                <a:gd name="connsiteX90" fmla="*/ 376378 w 734307"/>
                <a:gd name="connsiteY90" fmla="*/ 389976 h 788699"/>
                <a:gd name="connsiteX91" fmla="*/ 387257 w 734307"/>
                <a:gd name="connsiteY91" fmla="*/ 414453 h 788699"/>
                <a:gd name="connsiteX92" fmla="*/ 398136 w 734307"/>
                <a:gd name="connsiteY92" fmla="*/ 376378 h 788699"/>
                <a:gd name="connsiteX93" fmla="*/ 406295 w 734307"/>
                <a:gd name="connsiteY93" fmla="*/ 332863 h 788699"/>
                <a:gd name="connsiteX94" fmla="*/ 425332 w 734307"/>
                <a:gd name="connsiteY94" fmla="*/ 243115 h 788699"/>
                <a:gd name="connsiteX95" fmla="*/ 444370 w 734307"/>
                <a:gd name="connsiteY95" fmla="*/ 150646 h 788699"/>
                <a:gd name="connsiteX96" fmla="*/ 477006 w 734307"/>
                <a:gd name="connsiteY96" fmla="*/ 79935 h 788699"/>
                <a:gd name="connsiteX97" fmla="*/ 523240 w 734307"/>
                <a:gd name="connsiteY97" fmla="*/ 58178 h 788699"/>
                <a:gd name="connsiteX98" fmla="*/ 544997 w 734307"/>
                <a:gd name="connsiteY98" fmla="*/ 63617 h 788699"/>
                <a:gd name="connsiteX99" fmla="*/ 612988 w 734307"/>
                <a:gd name="connsiteY99" fmla="*/ 63617 h 788699"/>
                <a:gd name="connsiteX100" fmla="*/ 651064 w 734307"/>
                <a:gd name="connsiteY100" fmla="*/ 79935 h 788699"/>
                <a:gd name="connsiteX101" fmla="*/ 645624 w 734307"/>
                <a:gd name="connsiteY101" fmla="*/ 96253 h 788699"/>
                <a:gd name="connsiteX102" fmla="*/ 629307 w 734307"/>
                <a:gd name="connsiteY102" fmla="*/ 104412 h 788699"/>
                <a:gd name="connsiteX103" fmla="*/ 607549 w 734307"/>
                <a:gd name="connsiteY103" fmla="*/ 107132 h 788699"/>
                <a:gd name="connsiteX104" fmla="*/ 580353 w 734307"/>
                <a:gd name="connsiteY104" fmla="*/ 107132 h 788699"/>
                <a:gd name="connsiteX105" fmla="*/ 583072 w 734307"/>
                <a:gd name="connsiteY105" fmla="*/ 115291 h 788699"/>
                <a:gd name="connsiteX106" fmla="*/ 588512 w 734307"/>
                <a:gd name="connsiteY106" fmla="*/ 156086 h 788699"/>
                <a:gd name="connsiteX107" fmla="*/ 593951 w 734307"/>
                <a:gd name="connsiteY107" fmla="*/ 196881 h 788699"/>
                <a:gd name="connsiteX108" fmla="*/ 599390 w 734307"/>
                <a:gd name="connsiteY108" fmla="*/ 226797 h 788699"/>
                <a:gd name="connsiteX109" fmla="*/ 599390 w 734307"/>
                <a:gd name="connsiteY109" fmla="*/ 232236 h 788699"/>
                <a:gd name="connsiteX110" fmla="*/ 599390 w 734307"/>
                <a:gd name="connsiteY110" fmla="*/ 240395 h 788699"/>
                <a:gd name="connsiteX111" fmla="*/ 602110 w 734307"/>
                <a:gd name="connsiteY111" fmla="*/ 270311 h 788699"/>
                <a:gd name="connsiteX112" fmla="*/ 607549 w 734307"/>
                <a:gd name="connsiteY112" fmla="*/ 308386 h 788699"/>
                <a:gd name="connsiteX113" fmla="*/ 607549 w 734307"/>
                <a:gd name="connsiteY113" fmla="*/ 319265 h 788699"/>
                <a:gd name="connsiteX114" fmla="*/ 612988 w 734307"/>
                <a:gd name="connsiteY114" fmla="*/ 335583 h 788699"/>
                <a:gd name="connsiteX115" fmla="*/ 612988 w 734307"/>
                <a:gd name="connsiteY115" fmla="*/ 346462 h 788699"/>
                <a:gd name="connsiteX116" fmla="*/ 612988 w 734307"/>
                <a:gd name="connsiteY116" fmla="*/ 370939 h 788699"/>
                <a:gd name="connsiteX117" fmla="*/ 612988 w 734307"/>
                <a:gd name="connsiteY117" fmla="*/ 395415 h 788699"/>
                <a:gd name="connsiteX118" fmla="*/ 615708 w 734307"/>
                <a:gd name="connsiteY118" fmla="*/ 422612 h 788699"/>
                <a:gd name="connsiteX119" fmla="*/ 618428 w 734307"/>
                <a:gd name="connsiteY119" fmla="*/ 441650 h 788699"/>
                <a:gd name="connsiteX120" fmla="*/ 618428 w 734307"/>
                <a:gd name="connsiteY120" fmla="*/ 455248 h 788699"/>
                <a:gd name="connsiteX121" fmla="*/ 621147 w 734307"/>
                <a:gd name="connsiteY121" fmla="*/ 463407 h 788699"/>
                <a:gd name="connsiteX122" fmla="*/ 626587 w 734307"/>
                <a:gd name="connsiteY122" fmla="*/ 482444 h 788699"/>
                <a:gd name="connsiteX123" fmla="*/ 629307 w 734307"/>
                <a:gd name="connsiteY123" fmla="*/ 517800 h 788699"/>
                <a:gd name="connsiteX124" fmla="*/ 634746 w 734307"/>
                <a:gd name="connsiteY124" fmla="*/ 561314 h 788699"/>
                <a:gd name="connsiteX125" fmla="*/ 634746 w 734307"/>
                <a:gd name="connsiteY125" fmla="*/ 566754 h 788699"/>
                <a:gd name="connsiteX126" fmla="*/ 634746 w 734307"/>
                <a:gd name="connsiteY126" fmla="*/ 583072 h 788699"/>
                <a:gd name="connsiteX127" fmla="*/ 637466 w 734307"/>
                <a:gd name="connsiteY127" fmla="*/ 607548 h 788699"/>
                <a:gd name="connsiteX128" fmla="*/ 640185 w 734307"/>
                <a:gd name="connsiteY128" fmla="*/ 618427 h 788699"/>
                <a:gd name="connsiteX129" fmla="*/ 640185 w 734307"/>
                <a:gd name="connsiteY129" fmla="*/ 632025 h 788699"/>
                <a:gd name="connsiteX130" fmla="*/ 640185 w 734307"/>
                <a:gd name="connsiteY130" fmla="*/ 640184 h 788699"/>
                <a:gd name="connsiteX131" fmla="*/ 642905 w 734307"/>
                <a:gd name="connsiteY131" fmla="*/ 659222 h 788699"/>
                <a:gd name="connsiteX132" fmla="*/ 642905 w 734307"/>
                <a:gd name="connsiteY132" fmla="*/ 664661 h 788699"/>
                <a:gd name="connsiteX133" fmla="*/ 653783 w 734307"/>
                <a:gd name="connsiteY133" fmla="*/ 678259 h 788699"/>
                <a:gd name="connsiteX134" fmla="*/ 653783 w 734307"/>
                <a:gd name="connsiteY134" fmla="*/ 678259 h 7886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</a:cxnLst>
              <a:rect l="l" t="t" r="r" b="b"/>
              <a:pathLst>
                <a:path w="734307" h="788699">
                  <a:moveTo>
                    <a:pt x="653783" y="678259"/>
                  </a:moveTo>
                  <a:cubicBezTo>
                    <a:pt x="667382" y="678259"/>
                    <a:pt x="691859" y="678259"/>
                    <a:pt x="691859" y="694577"/>
                  </a:cubicBezTo>
                  <a:cubicBezTo>
                    <a:pt x="691859" y="702736"/>
                    <a:pt x="689139" y="705456"/>
                    <a:pt x="686419" y="710895"/>
                  </a:cubicBezTo>
                  <a:cubicBezTo>
                    <a:pt x="683700" y="716335"/>
                    <a:pt x="675541" y="719054"/>
                    <a:pt x="670101" y="719054"/>
                  </a:cubicBezTo>
                  <a:cubicBezTo>
                    <a:pt x="661942" y="721774"/>
                    <a:pt x="653783" y="721774"/>
                    <a:pt x="648344" y="721774"/>
                  </a:cubicBezTo>
                  <a:cubicBezTo>
                    <a:pt x="645624" y="721774"/>
                    <a:pt x="634746" y="721774"/>
                    <a:pt x="618428" y="721774"/>
                  </a:cubicBezTo>
                  <a:cubicBezTo>
                    <a:pt x="604829" y="729933"/>
                    <a:pt x="588512" y="735372"/>
                    <a:pt x="572194" y="735372"/>
                  </a:cubicBezTo>
                  <a:cubicBezTo>
                    <a:pt x="564035" y="735372"/>
                    <a:pt x="553156" y="732653"/>
                    <a:pt x="544997" y="729933"/>
                  </a:cubicBezTo>
                  <a:cubicBezTo>
                    <a:pt x="539558" y="727213"/>
                    <a:pt x="536838" y="724494"/>
                    <a:pt x="534119" y="721774"/>
                  </a:cubicBezTo>
                  <a:cubicBezTo>
                    <a:pt x="520520" y="721774"/>
                    <a:pt x="509641" y="721774"/>
                    <a:pt x="496043" y="721774"/>
                  </a:cubicBezTo>
                  <a:cubicBezTo>
                    <a:pt x="487884" y="721774"/>
                    <a:pt x="479725" y="721774"/>
                    <a:pt x="471566" y="721774"/>
                  </a:cubicBezTo>
                  <a:cubicBezTo>
                    <a:pt x="463407" y="721774"/>
                    <a:pt x="452529" y="721774"/>
                    <a:pt x="444370" y="716335"/>
                  </a:cubicBezTo>
                  <a:cubicBezTo>
                    <a:pt x="436211" y="713615"/>
                    <a:pt x="428052" y="705456"/>
                    <a:pt x="428052" y="700017"/>
                  </a:cubicBezTo>
                  <a:cubicBezTo>
                    <a:pt x="428052" y="697297"/>
                    <a:pt x="428052" y="694577"/>
                    <a:pt x="433491" y="691858"/>
                  </a:cubicBezTo>
                  <a:cubicBezTo>
                    <a:pt x="438930" y="689138"/>
                    <a:pt x="449809" y="686418"/>
                    <a:pt x="455248" y="683699"/>
                  </a:cubicBezTo>
                  <a:cubicBezTo>
                    <a:pt x="474286" y="680979"/>
                    <a:pt x="498763" y="678259"/>
                    <a:pt x="506922" y="678259"/>
                  </a:cubicBezTo>
                  <a:cubicBezTo>
                    <a:pt x="506922" y="678259"/>
                    <a:pt x="509641" y="678259"/>
                    <a:pt x="509641" y="678259"/>
                  </a:cubicBezTo>
                  <a:cubicBezTo>
                    <a:pt x="509641" y="672820"/>
                    <a:pt x="506922" y="670101"/>
                    <a:pt x="506922" y="664661"/>
                  </a:cubicBezTo>
                  <a:cubicBezTo>
                    <a:pt x="501483" y="640184"/>
                    <a:pt x="501483" y="612988"/>
                    <a:pt x="498763" y="580352"/>
                  </a:cubicBezTo>
                  <a:cubicBezTo>
                    <a:pt x="496043" y="547716"/>
                    <a:pt x="498763" y="512361"/>
                    <a:pt x="496043" y="479725"/>
                  </a:cubicBezTo>
                  <a:cubicBezTo>
                    <a:pt x="493324" y="449808"/>
                    <a:pt x="493324" y="419892"/>
                    <a:pt x="493324" y="389976"/>
                  </a:cubicBezTo>
                  <a:cubicBezTo>
                    <a:pt x="493324" y="360060"/>
                    <a:pt x="490604" y="332863"/>
                    <a:pt x="490604" y="302947"/>
                  </a:cubicBezTo>
                  <a:cubicBezTo>
                    <a:pt x="487884" y="275751"/>
                    <a:pt x="487884" y="240395"/>
                    <a:pt x="487884" y="229516"/>
                  </a:cubicBezTo>
                  <a:cubicBezTo>
                    <a:pt x="487884" y="224077"/>
                    <a:pt x="487884" y="221357"/>
                    <a:pt x="485165" y="221357"/>
                  </a:cubicBezTo>
                  <a:cubicBezTo>
                    <a:pt x="485165" y="221357"/>
                    <a:pt x="482445" y="224077"/>
                    <a:pt x="482445" y="226797"/>
                  </a:cubicBezTo>
                  <a:cubicBezTo>
                    <a:pt x="479725" y="237675"/>
                    <a:pt x="479725" y="251274"/>
                    <a:pt x="477006" y="262152"/>
                  </a:cubicBezTo>
                  <a:cubicBezTo>
                    <a:pt x="471566" y="289349"/>
                    <a:pt x="466127" y="316545"/>
                    <a:pt x="460688" y="341022"/>
                  </a:cubicBezTo>
                  <a:cubicBezTo>
                    <a:pt x="455248" y="365499"/>
                    <a:pt x="447090" y="392696"/>
                    <a:pt x="444370" y="417173"/>
                  </a:cubicBezTo>
                  <a:cubicBezTo>
                    <a:pt x="441650" y="430771"/>
                    <a:pt x="438930" y="441650"/>
                    <a:pt x="436211" y="455248"/>
                  </a:cubicBezTo>
                  <a:cubicBezTo>
                    <a:pt x="433491" y="468846"/>
                    <a:pt x="428052" y="479725"/>
                    <a:pt x="425332" y="493323"/>
                  </a:cubicBezTo>
                  <a:cubicBezTo>
                    <a:pt x="422612" y="506921"/>
                    <a:pt x="419893" y="520520"/>
                    <a:pt x="411734" y="531398"/>
                  </a:cubicBezTo>
                  <a:cubicBezTo>
                    <a:pt x="406295" y="539557"/>
                    <a:pt x="395416" y="547716"/>
                    <a:pt x="376378" y="547716"/>
                  </a:cubicBezTo>
                  <a:cubicBezTo>
                    <a:pt x="357341" y="547716"/>
                    <a:pt x="335583" y="539557"/>
                    <a:pt x="319265" y="525959"/>
                  </a:cubicBezTo>
                  <a:cubicBezTo>
                    <a:pt x="300228" y="506921"/>
                    <a:pt x="294788" y="479725"/>
                    <a:pt x="289349" y="455248"/>
                  </a:cubicBezTo>
                  <a:cubicBezTo>
                    <a:pt x="283910" y="428051"/>
                    <a:pt x="278470" y="400855"/>
                    <a:pt x="273031" y="373658"/>
                  </a:cubicBezTo>
                  <a:cubicBezTo>
                    <a:pt x="273031" y="368219"/>
                    <a:pt x="267592" y="346462"/>
                    <a:pt x="262153" y="316545"/>
                  </a:cubicBezTo>
                  <a:cubicBezTo>
                    <a:pt x="256713" y="292068"/>
                    <a:pt x="251274" y="262152"/>
                    <a:pt x="245835" y="237675"/>
                  </a:cubicBezTo>
                  <a:cubicBezTo>
                    <a:pt x="240395" y="218638"/>
                    <a:pt x="237675" y="205039"/>
                    <a:pt x="234956" y="196881"/>
                  </a:cubicBezTo>
                  <a:cubicBezTo>
                    <a:pt x="232236" y="191441"/>
                    <a:pt x="232236" y="191441"/>
                    <a:pt x="232236" y="191441"/>
                  </a:cubicBezTo>
                  <a:cubicBezTo>
                    <a:pt x="229517" y="191441"/>
                    <a:pt x="229517" y="196881"/>
                    <a:pt x="226797" y="207759"/>
                  </a:cubicBezTo>
                  <a:cubicBezTo>
                    <a:pt x="226797" y="215918"/>
                    <a:pt x="226797" y="229516"/>
                    <a:pt x="226797" y="232236"/>
                  </a:cubicBezTo>
                  <a:cubicBezTo>
                    <a:pt x="226797" y="243115"/>
                    <a:pt x="224077" y="256713"/>
                    <a:pt x="224077" y="267592"/>
                  </a:cubicBezTo>
                  <a:cubicBezTo>
                    <a:pt x="224077" y="278470"/>
                    <a:pt x="224077" y="294788"/>
                    <a:pt x="221358" y="311106"/>
                  </a:cubicBezTo>
                  <a:cubicBezTo>
                    <a:pt x="221358" y="327424"/>
                    <a:pt x="218638" y="343742"/>
                    <a:pt x="218638" y="360060"/>
                  </a:cubicBezTo>
                  <a:cubicBezTo>
                    <a:pt x="218638" y="373658"/>
                    <a:pt x="215919" y="384537"/>
                    <a:pt x="215919" y="398135"/>
                  </a:cubicBezTo>
                  <a:cubicBezTo>
                    <a:pt x="215919" y="409014"/>
                    <a:pt x="213199" y="419892"/>
                    <a:pt x="213199" y="430771"/>
                  </a:cubicBezTo>
                  <a:cubicBezTo>
                    <a:pt x="213199" y="438930"/>
                    <a:pt x="213199" y="447089"/>
                    <a:pt x="213199" y="455248"/>
                  </a:cubicBezTo>
                  <a:cubicBezTo>
                    <a:pt x="213199" y="463407"/>
                    <a:pt x="213199" y="471566"/>
                    <a:pt x="213199" y="477005"/>
                  </a:cubicBezTo>
                  <a:cubicBezTo>
                    <a:pt x="210479" y="490603"/>
                    <a:pt x="207759" y="506921"/>
                    <a:pt x="207759" y="520520"/>
                  </a:cubicBezTo>
                  <a:cubicBezTo>
                    <a:pt x="202320" y="550436"/>
                    <a:pt x="199600" y="580352"/>
                    <a:pt x="196881" y="610268"/>
                  </a:cubicBezTo>
                  <a:cubicBezTo>
                    <a:pt x="196881" y="623866"/>
                    <a:pt x="196881" y="640184"/>
                    <a:pt x="194161" y="653783"/>
                  </a:cubicBezTo>
                  <a:cubicBezTo>
                    <a:pt x="194161" y="659222"/>
                    <a:pt x="194161" y="661942"/>
                    <a:pt x="191441" y="667381"/>
                  </a:cubicBezTo>
                  <a:cubicBezTo>
                    <a:pt x="213199" y="667381"/>
                    <a:pt x="232236" y="667381"/>
                    <a:pt x="243115" y="667381"/>
                  </a:cubicBezTo>
                  <a:cubicBezTo>
                    <a:pt x="253994" y="667381"/>
                    <a:pt x="273031" y="670101"/>
                    <a:pt x="273031" y="683699"/>
                  </a:cubicBezTo>
                  <a:cubicBezTo>
                    <a:pt x="273031" y="691858"/>
                    <a:pt x="267592" y="691858"/>
                    <a:pt x="262153" y="697297"/>
                  </a:cubicBezTo>
                  <a:cubicBezTo>
                    <a:pt x="259433" y="702736"/>
                    <a:pt x="253994" y="705456"/>
                    <a:pt x="248554" y="705456"/>
                  </a:cubicBezTo>
                  <a:cubicBezTo>
                    <a:pt x="240395" y="708176"/>
                    <a:pt x="234956" y="708176"/>
                    <a:pt x="232236" y="708176"/>
                  </a:cubicBezTo>
                  <a:cubicBezTo>
                    <a:pt x="226797" y="708176"/>
                    <a:pt x="175124" y="708176"/>
                    <a:pt x="166965" y="708176"/>
                  </a:cubicBezTo>
                  <a:cubicBezTo>
                    <a:pt x="156086" y="708176"/>
                    <a:pt x="120730" y="708176"/>
                    <a:pt x="109852" y="708176"/>
                  </a:cubicBezTo>
                  <a:cubicBezTo>
                    <a:pt x="104412" y="708176"/>
                    <a:pt x="96253" y="708176"/>
                    <a:pt x="90814" y="708176"/>
                  </a:cubicBezTo>
                  <a:cubicBezTo>
                    <a:pt x="85375" y="708176"/>
                    <a:pt x="77216" y="705456"/>
                    <a:pt x="69057" y="702736"/>
                  </a:cubicBezTo>
                  <a:cubicBezTo>
                    <a:pt x="63617" y="700017"/>
                    <a:pt x="58178" y="691858"/>
                    <a:pt x="58178" y="686418"/>
                  </a:cubicBezTo>
                  <a:cubicBezTo>
                    <a:pt x="58178" y="683699"/>
                    <a:pt x="58178" y="680979"/>
                    <a:pt x="60898" y="678259"/>
                  </a:cubicBezTo>
                  <a:cubicBezTo>
                    <a:pt x="63617" y="675540"/>
                    <a:pt x="71777" y="672820"/>
                    <a:pt x="77216" y="670101"/>
                  </a:cubicBezTo>
                  <a:cubicBezTo>
                    <a:pt x="90814" y="667381"/>
                    <a:pt x="120730" y="664661"/>
                    <a:pt x="126170" y="664661"/>
                  </a:cubicBezTo>
                  <a:cubicBezTo>
                    <a:pt x="128889" y="664661"/>
                    <a:pt x="134329" y="664661"/>
                    <a:pt x="142487" y="664661"/>
                  </a:cubicBezTo>
                  <a:cubicBezTo>
                    <a:pt x="142487" y="640184"/>
                    <a:pt x="147927" y="612988"/>
                    <a:pt x="147927" y="588511"/>
                  </a:cubicBezTo>
                  <a:cubicBezTo>
                    <a:pt x="150646" y="555875"/>
                    <a:pt x="153366" y="523239"/>
                    <a:pt x="153366" y="493323"/>
                  </a:cubicBezTo>
                  <a:cubicBezTo>
                    <a:pt x="153366" y="466126"/>
                    <a:pt x="156086" y="438930"/>
                    <a:pt x="156086" y="411733"/>
                  </a:cubicBezTo>
                  <a:cubicBezTo>
                    <a:pt x="158806" y="373658"/>
                    <a:pt x="158806" y="335583"/>
                    <a:pt x="161525" y="297508"/>
                  </a:cubicBezTo>
                  <a:cubicBezTo>
                    <a:pt x="161525" y="278470"/>
                    <a:pt x="164245" y="259433"/>
                    <a:pt x="166965" y="240395"/>
                  </a:cubicBezTo>
                  <a:cubicBezTo>
                    <a:pt x="169684" y="210479"/>
                    <a:pt x="172404" y="191441"/>
                    <a:pt x="177843" y="161525"/>
                  </a:cubicBezTo>
                  <a:cubicBezTo>
                    <a:pt x="180563" y="147927"/>
                    <a:pt x="180563" y="131609"/>
                    <a:pt x="183282" y="118011"/>
                  </a:cubicBezTo>
                  <a:cubicBezTo>
                    <a:pt x="183282" y="118011"/>
                    <a:pt x="183282" y="115291"/>
                    <a:pt x="183282" y="115291"/>
                  </a:cubicBezTo>
                  <a:cubicBezTo>
                    <a:pt x="177843" y="115291"/>
                    <a:pt x="172404" y="115291"/>
                    <a:pt x="161525" y="115291"/>
                  </a:cubicBezTo>
                  <a:cubicBezTo>
                    <a:pt x="153366" y="115291"/>
                    <a:pt x="145207" y="115291"/>
                    <a:pt x="137048" y="115291"/>
                  </a:cubicBezTo>
                  <a:cubicBezTo>
                    <a:pt x="128889" y="115291"/>
                    <a:pt x="118011" y="115291"/>
                    <a:pt x="109852" y="109851"/>
                  </a:cubicBezTo>
                  <a:cubicBezTo>
                    <a:pt x="101693" y="107132"/>
                    <a:pt x="93534" y="98973"/>
                    <a:pt x="93534" y="93534"/>
                  </a:cubicBezTo>
                  <a:cubicBezTo>
                    <a:pt x="93534" y="90814"/>
                    <a:pt x="93534" y="88094"/>
                    <a:pt x="98973" y="85375"/>
                  </a:cubicBezTo>
                  <a:cubicBezTo>
                    <a:pt x="104412" y="82655"/>
                    <a:pt x="115291" y="79935"/>
                    <a:pt x="120730" y="77216"/>
                  </a:cubicBezTo>
                  <a:cubicBezTo>
                    <a:pt x="139768" y="74496"/>
                    <a:pt x="164245" y="71776"/>
                    <a:pt x="172404" y="71776"/>
                  </a:cubicBezTo>
                  <a:cubicBezTo>
                    <a:pt x="194161" y="71776"/>
                    <a:pt x="210479" y="69057"/>
                    <a:pt x="234956" y="69057"/>
                  </a:cubicBezTo>
                  <a:cubicBezTo>
                    <a:pt x="237675" y="69057"/>
                    <a:pt x="240395" y="69057"/>
                    <a:pt x="243115" y="69057"/>
                  </a:cubicBezTo>
                  <a:cubicBezTo>
                    <a:pt x="251274" y="69057"/>
                    <a:pt x="262153" y="69057"/>
                    <a:pt x="270312" y="74496"/>
                  </a:cubicBezTo>
                  <a:cubicBezTo>
                    <a:pt x="283910" y="82655"/>
                    <a:pt x="300228" y="96253"/>
                    <a:pt x="308387" y="123450"/>
                  </a:cubicBezTo>
                  <a:cubicBezTo>
                    <a:pt x="316546" y="147927"/>
                    <a:pt x="327424" y="175123"/>
                    <a:pt x="332864" y="202320"/>
                  </a:cubicBezTo>
                  <a:cubicBezTo>
                    <a:pt x="335583" y="213198"/>
                    <a:pt x="335583" y="226797"/>
                    <a:pt x="338303" y="237675"/>
                  </a:cubicBezTo>
                  <a:cubicBezTo>
                    <a:pt x="343742" y="251274"/>
                    <a:pt x="346462" y="264872"/>
                    <a:pt x="349182" y="281190"/>
                  </a:cubicBezTo>
                  <a:cubicBezTo>
                    <a:pt x="351901" y="292068"/>
                    <a:pt x="351901" y="305667"/>
                    <a:pt x="357341" y="316545"/>
                  </a:cubicBezTo>
                  <a:cubicBezTo>
                    <a:pt x="362780" y="327424"/>
                    <a:pt x="362780" y="338303"/>
                    <a:pt x="365500" y="351901"/>
                  </a:cubicBezTo>
                  <a:cubicBezTo>
                    <a:pt x="365500" y="357340"/>
                    <a:pt x="373658" y="373658"/>
                    <a:pt x="376378" y="389976"/>
                  </a:cubicBezTo>
                  <a:cubicBezTo>
                    <a:pt x="381817" y="403574"/>
                    <a:pt x="384537" y="414453"/>
                    <a:pt x="387257" y="414453"/>
                  </a:cubicBezTo>
                  <a:cubicBezTo>
                    <a:pt x="392696" y="414453"/>
                    <a:pt x="395416" y="381817"/>
                    <a:pt x="398136" y="376378"/>
                  </a:cubicBezTo>
                  <a:cubicBezTo>
                    <a:pt x="400855" y="362779"/>
                    <a:pt x="403575" y="346462"/>
                    <a:pt x="406295" y="332863"/>
                  </a:cubicBezTo>
                  <a:cubicBezTo>
                    <a:pt x="411734" y="302947"/>
                    <a:pt x="417173" y="273031"/>
                    <a:pt x="425332" y="243115"/>
                  </a:cubicBezTo>
                  <a:cubicBezTo>
                    <a:pt x="430771" y="213198"/>
                    <a:pt x="436211" y="180563"/>
                    <a:pt x="444370" y="150646"/>
                  </a:cubicBezTo>
                  <a:cubicBezTo>
                    <a:pt x="449809" y="126170"/>
                    <a:pt x="460688" y="98973"/>
                    <a:pt x="477006" y="79935"/>
                  </a:cubicBezTo>
                  <a:cubicBezTo>
                    <a:pt x="487884" y="66337"/>
                    <a:pt x="506922" y="58178"/>
                    <a:pt x="523240" y="58178"/>
                  </a:cubicBezTo>
                  <a:cubicBezTo>
                    <a:pt x="528679" y="58178"/>
                    <a:pt x="539558" y="58178"/>
                    <a:pt x="544997" y="63617"/>
                  </a:cubicBezTo>
                  <a:lnTo>
                    <a:pt x="612988" y="63617"/>
                  </a:lnTo>
                  <a:cubicBezTo>
                    <a:pt x="626587" y="63617"/>
                    <a:pt x="651064" y="63617"/>
                    <a:pt x="651064" y="79935"/>
                  </a:cubicBezTo>
                  <a:cubicBezTo>
                    <a:pt x="651064" y="88094"/>
                    <a:pt x="648344" y="88094"/>
                    <a:pt x="645624" y="96253"/>
                  </a:cubicBezTo>
                  <a:cubicBezTo>
                    <a:pt x="640185" y="101693"/>
                    <a:pt x="634746" y="104412"/>
                    <a:pt x="629307" y="104412"/>
                  </a:cubicBezTo>
                  <a:cubicBezTo>
                    <a:pt x="621147" y="107132"/>
                    <a:pt x="612988" y="107132"/>
                    <a:pt x="607549" y="107132"/>
                  </a:cubicBezTo>
                  <a:cubicBezTo>
                    <a:pt x="604829" y="107132"/>
                    <a:pt x="591231" y="107132"/>
                    <a:pt x="580353" y="107132"/>
                  </a:cubicBezTo>
                  <a:cubicBezTo>
                    <a:pt x="580353" y="109851"/>
                    <a:pt x="583072" y="112571"/>
                    <a:pt x="583072" y="115291"/>
                  </a:cubicBezTo>
                  <a:cubicBezTo>
                    <a:pt x="585792" y="128889"/>
                    <a:pt x="585792" y="142487"/>
                    <a:pt x="588512" y="156086"/>
                  </a:cubicBezTo>
                  <a:cubicBezTo>
                    <a:pt x="591231" y="169684"/>
                    <a:pt x="591231" y="183282"/>
                    <a:pt x="593951" y="196881"/>
                  </a:cubicBezTo>
                  <a:cubicBezTo>
                    <a:pt x="593951" y="207759"/>
                    <a:pt x="599390" y="215918"/>
                    <a:pt x="599390" y="226797"/>
                  </a:cubicBezTo>
                  <a:cubicBezTo>
                    <a:pt x="599390" y="229516"/>
                    <a:pt x="599390" y="229516"/>
                    <a:pt x="599390" y="232236"/>
                  </a:cubicBezTo>
                  <a:cubicBezTo>
                    <a:pt x="599390" y="234956"/>
                    <a:pt x="599390" y="237675"/>
                    <a:pt x="599390" y="240395"/>
                  </a:cubicBezTo>
                  <a:cubicBezTo>
                    <a:pt x="599390" y="251274"/>
                    <a:pt x="599390" y="259433"/>
                    <a:pt x="602110" y="270311"/>
                  </a:cubicBezTo>
                  <a:cubicBezTo>
                    <a:pt x="604829" y="283909"/>
                    <a:pt x="607549" y="294788"/>
                    <a:pt x="607549" y="308386"/>
                  </a:cubicBezTo>
                  <a:cubicBezTo>
                    <a:pt x="607549" y="311106"/>
                    <a:pt x="607549" y="316545"/>
                    <a:pt x="607549" y="319265"/>
                  </a:cubicBezTo>
                  <a:cubicBezTo>
                    <a:pt x="607549" y="324704"/>
                    <a:pt x="610269" y="330144"/>
                    <a:pt x="612988" y="335583"/>
                  </a:cubicBezTo>
                  <a:cubicBezTo>
                    <a:pt x="612988" y="338303"/>
                    <a:pt x="612988" y="343742"/>
                    <a:pt x="612988" y="346462"/>
                  </a:cubicBezTo>
                  <a:cubicBezTo>
                    <a:pt x="612988" y="354620"/>
                    <a:pt x="612988" y="362779"/>
                    <a:pt x="612988" y="370939"/>
                  </a:cubicBezTo>
                  <a:cubicBezTo>
                    <a:pt x="612988" y="379097"/>
                    <a:pt x="612988" y="387256"/>
                    <a:pt x="612988" y="395415"/>
                  </a:cubicBezTo>
                  <a:cubicBezTo>
                    <a:pt x="612988" y="403574"/>
                    <a:pt x="615708" y="414453"/>
                    <a:pt x="615708" y="422612"/>
                  </a:cubicBezTo>
                  <a:cubicBezTo>
                    <a:pt x="618428" y="430771"/>
                    <a:pt x="618428" y="436210"/>
                    <a:pt x="618428" y="441650"/>
                  </a:cubicBezTo>
                  <a:cubicBezTo>
                    <a:pt x="618428" y="444369"/>
                    <a:pt x="618428" y="449808"/>
                    <a:pt x="618428" y="455248"/>
                  </a:cubicBezTo>
                  <a:cubicBezTo>
                    <a:pt x="618428" y="460687"/>
                    <a:pt x="618428" y="460687"/>
                    <a:pt x="621147" y="463407"/>
                  </a:cubicBezTo>
                  <a:cubicBezTo>
                    <a:pt x="623867" y="471566"/>
                    <a:pt x="623867" y="477005"/>
                    <a:pt x="626587" y="482444"/>
                  </a:cubicBezTo>
                  <a:cubicBezTo>
                    <a:pt x="629307" y="493323"/>
                    <a:pt x="629307" y="506921"/>
                    <a:pt x="629307" y="517800"/>
                  </a:cubicBezTo>
                  <a:cubicBezTo>
                    <a:pt x="632026" y="534118"/>
                    <a:pt x="632026" y="547716"/>
                    <a:pt x="634746" y="561314"/>
                  </a:cubicBezTo>
                  <a:cubicBezTo>
                    <a:pt x="634746" y="564034"/>
                    <a:pt x="634746" y="564034"/>
                    <a:pt x="634746" y="566754"/>
                  </a:cubicBezTo>
                  <a:cubicBezTo>
                    <a:pt x="634746" y="572193"/>
                    <a:pt x="634746" y="577632"/>
                    <a:pt x="634746" y="583072"/>
                  </a:cubicBezTo>
                  <a:cubicBezTo>
                    <a:pt x="634746" y="596670"/>
                    <a:pt x="637466" y="602109"/>
                    <a:pt x="637466" y="607548"/>
                  </a:cubicBezTo>
                  <a:cubicBezTo>
                    <a:pt x="637466" y="610268"/>
                    <a:pt x="640185" y="615708"/>
                    <a:pt x="640185" y="618427"/>
                  </a:cubicBezTo>
                  <a:cubicBezTo>
                    <a:pt x="640185" y="623866"/>
                    <a:pt x="640185" y="629306"/>
                    <a:pt x="640185" y="632025"/>
                  </a:cubicBezTo>
                  <a:cubicBezTo>
                    <a:pt x="640185" y="634745"/>
                    <a:pt x="640185" y="637465"/>
                    <a:pt x="640185" y="640184"/>
                  </a:cubicBezTo>
                  <a:cubicBezTo>
                    <a:pt x="640185" y="645624"/>
                    <a:pt x="642905" y="653783"/>
                    <a:pt x="642905" y="659222"/>
                  </a:cubicBezTo>
                  <a:cubicBezTo>
                    <a:pt x="642905" y="661942"/>
                    <a:pt x="642905" y="661942"/>
                    <a:pt x="642905" y="664661"/>
                  </a:cubicBezTo>
                  <a:cubicBezTo>
                    <a:pt x="645624" y="678259"/>
                    <a:pt x="651064" y="678259"/>
                    <a:pt x="653783" y="678259"/>
                  </a:cubicBezTo>
                  <a:lnTo>
                    <a:pt x="653783" y="678259"/>
                  </a:ln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/>
            </a:p>
          </p:txBody>
        </p:sp>
        <p:sp>
          <p:nvSpPr>
            <p:cNvPr id="45" name="Freeform: Shape 44">
              <a:extLst>
                <a:ext uri="{FF2B5EF4-FFF2-40B4-BE49-F238E27FC236}">
                  <a16:creationId xmlns:a16="http://schemas.microsoft.com/office/drawing/2014/main" id="{9F0A9BCD-4E63-42B7-9992-63F009834CC8}"/>
                </a:ext>
              </a:extLst>
            </p:cNvPr>
            <p:cNvSpPr/>
            <p:nvPr/>
          </p:nvSpPr>
          <p:spPr bwMode="black">
            <a:xfrm>
              <a:off x="6362526" y="4242177"/>
              <a:ext cx="492259" cy="674476"/>
            </a:xfrm>
            <a:custGeom>
              <a:avLst/>
              <a:gdLst>
                <a:gd name="connsiteX0" fmla="*/ 225733 w 492259"/>
                <a:gd name="connsiteY0" fmla="*/ 97907 h 674476"/>
                <a:gd name="connsiteX1" fmla="*/ 209415 w 492259"/>
                <a:gd name="connsiteY1" fmla="*/ 119665 h 674476"/>
                <a:gd name="connsiteX2" fmla="*/ 201256 w 492259"/>
                <a:gd name="connsiteY2" fmla="*/ 152300 h 674476"/>
                <a:gd name="connsiteX3" fmla="*/ 198536 w 492259"/>
                <a:gd name="connsiteY3" fmla="*/ 168618 h 674476"/>
                <a:gd name="connsiteX4" fmla="*/ 195817 w 492259"/>
                <a:gd name="connsiteY4" fmla="*/ 184936 h 674476"/>
                <a:gd name="connsiteX5" fmla="*/ 187658 w 492259"/>
                <a:gd name="connsiteY5" fmla="*/ 220292 h 674476"/>
                <a:gd name="connsiteX6" fmla="*/ 168620 w 492259"/>
                <a:gd name="connsiteY6" fmla="*/ 291003 h 674476"/>
                <a:gd name="connsiteX7" fmla="*/ 160461 w 492259"/>
                <a:gd name="connsiteY7" fmla="*/ 323639 h 674476"/>
                <a:gd name="connsiteX8" fmla="*/ 149582 w 492259"/>
                <a:gd name="connsiteY8" fmla="*/ 361714 h 674476"/>
                <a:gd name="connsiteX9" fmla="*/ 144143 w 492259"/>
                <a:gd name="connsiteY9" fmla="*/ 388910 h 674476"/>
                <a:gd name="connsiteX10" fmla="*/ 149582 w 492259"/>
                <a:gd name="connsiteY10" fmla="*/ 391630 h 674476"/>
                <a:gd name="connsiteX11" fmla="*/ 171340 w 492259"/>
                <a:gd name="connsiteY11" fmla="*/ 391630 h 674476"/>
                <a:gd name="connsiteX12" fmla="*/ 193097 w 492259"/>
                <a:gd name="connsiteY12" fmla="*/ 388910 h 674476"/>
                <a:gd name="connsiteX13" fmla="*/ 212135 w 492259"/>
                <a:gd name="connsiteY13" fmla="*/ 388910 h 674476"/>
                <a:gd name="connsiteX14" fmla="*/ 236611 w 492259"/>
                <a:gd name="connsiteY14" fmla="*/ 388910 h 674476"/>
                <a:gd name="connsiteX15" fmla="*/ 250210 w 492259"/>
                <a:gd name="connsiteY15" fmla="*/ 386191 h 674476"/>
                <a:gd name="connsiteX16" fmla="*/ 258369 w 492259"/>
                <a:gd name="connsiteY16" fmla="*/ 386191 h 674476"/>
                <a:gd name="connsiteX17" fmla="*/ 255649 w 492259"/>
                <a:gd name="connsiteY17" fmla="*/ 367153 h 674476"/>
                <a:gd name="connsiteX18" fmla="*/ 250210 w 492259"/>
                <a:gd name="connsiteY18" fmla="*/ 331797 h 674476"/>
                <a:gd name="connsiteX19" fmla="*/ 247490 w 492259"/>
                <a:gd name="connsiteY19" fmla="*/ 244769 h 674476"/>
                <a:gd name="connsiteX20" fmla="*/ 242051 w 492259"/>
                <a:gd name="connsiteY20" fmla="*/ 203974 h 674476"/>
                <a:gd name="connsiteX21" fmla="*/ 236611 w 492259"/>
                <a:gd name="connsiteY21" fmla="*/ 157740 h 674476"/>
                <a:gd name="connsiteX22" fmla="*/ 233892 w 492259"/>
                <a:gd name="connsiteY22" fmla="*/ 119665 h 674476"/>
                <a:gd name="connsiteX23" fmla="*/ 225733 w 492259"/>
                <a:gd name="connsiteY23" fmla="*/ 97907 h 674476"/>
                <a:gd name="connsiteX24" fmla="*/ 274687 w 492259"/>
                <a:gd name="connsiteY24" fmla="*/ 0 h 674476"/>
                <a:gd name="connsiteX25" fmla="*/ 304603 w 492259"/>
                <a:gd name="connsiteY25" fmla="*/ 5439 h 674476"/>
                <a:gd name="connsiteX26" fmla="*/ 320921 w 492259"/>
                <a:gd name="connsiteY26" fmla="*/ 24477 h 674476"/>
                <a:gd name="connsiteX27" fmla="*/ 334519 w 492259"/>
                <a:gd name="connsiteY27" fmla="*/ 43515 h 674476"/>
                <a:gd name="connsiteX28" fmla="*/ 339959 w 492259"/>
                <a:gd name="connsiteY28" fmla="*/ 65272 h 674476"/>
                <a:gd name="connsiteX29" fmla="*/ 348118 w 492259"/>
                <a:gd name="connsiteY29" fmla="*/ 114226 h 674476"/>
                <a:gd name="connsiteX30" fmla="*/ 361716 w 492259"/>
                <a:gd name="connsiteY30" fmla="*/ 163180 h 674476"/>
                <a:gd name="connsiteX31" fmla="*/ 369875 w 492259"/>
                <a:gd name="connsiteY31" fmla="*/ 220293 h 674476"/>
                <a:gd name="connsiteX32" fmla="*/ 378034 w 492259"/>
                <a:gd name="connsiteY32" fmla="*/ 274686 h 674476"/>
                <a:gd name="connsiteX33" fmla="*/ 383473 w 492259"/>
                <a:gd name="connsiteY33" fmla="*/ 301883 h 674476"/>
                <a:gd name="connsiteX34" fmla="*/ 391632 w 492259"/>
                <a:gd name="connsiteY34" fmla="*/ 337238 h 674476"/>
                <a:gd name="connsiteX35" fmla="*/ 397071 w 492259"/>
                <a:gd name="connsiteY35" fmla="*/ 364435 h 674476"/>
                <a:gd name="connsiteX36" fmla="*/ 405230 w 492259"/>
                <a:gd name="connsiteY36" fmla="*/ 383473 h 674476"/>
                <a:gd name="connsiteX37" fmla="*/ 416109 w 492259"/>
                <a:gd name="connsiteY37" fmla="*/ 386192 h 674476"/>
                <a:gd name="connsiteX38" fmla="*/ 426988 w 492259"/>
                <a:gd name="connsiteY38" fmla="*/ 386192 h 674476"/>
                <a:gd name="connsiteX39" fmla="*/ 454184 w 492259"/>
                <a:gd name="connsiteY39" fmla="*/ 397071 h 674476"/>
                <a:gd name="connsiteX40" fmla="*/ 456904 w 492259"/>
                <a:gd name="connsiteY40" fmla="*/ 405230 h 674476"/>
                <a:gd name="connsiteX41" fmla="*/ 451464 w 492259"/>
                <a:gd name="connsiteY41" fmla="*/ 416108 h 674476"/>
                <a:gd name="connsiteX42" fmla="*/ 432427 w 492259"/>
                <a:gd name="connsiteY42" fmla="*/ 429707 h 674476"/>
                <a:gd name="connsiteX43" fmla="*/ 421548 w 492259"/>
                <a:gd name="connsiteY43" fmla="*/ 432426 h 674476"/>
                <a:gd name="connsiteX44" fmla="*/ 413389 w 492259"/>
                <a:gd name="connsiteY44" fmla="*/ 435146 h 674476"/>
                <a:gd name="connsiteX45" fmla="*/ 413389 w 492259"/>
                <a:gd name="connsiteY45" fmla="*/ 440585 h 674476"/>
                <a:gd name="connsiteX46" fmla="*/ 416109 w 492259"/>
                <a:gd name="connsiteY46" fmla="*/ 451464 h 674476"/>
                <a:gd name="connsiteX47" fmla="*/ 418829 w 492259"/>
                <a:gd name="connsiteY47" fmla="*/ 465062 h 674476"/>
                <a:gd name="connsiteX48" fmla="*/ 418829 w 492259"/>
                <a:gd name="connsiteY48" fmla="*/ 475941 h 674476"/>
                <a:gd name="connsiteX49" fmla="*/ 418829 w 492259"/>
                <a:gd name="connsiteY49" fmla="*/ 486820 h 674476"/>
                <a:gd name="connsiteX50" fmla="*/ 426988 w 492259"/>
                <a:gd name="connsiteY50" fmla="*/ 516736 h 674476"/>
                <a:gd name="connsiteX51" fmla="*/ 432427 w 492259"/>
                <a:gd name="connsiteY51" fmla="*/ 543932 h 674476"/>
                <a:gd name="connsiteX52" fmla="*/ 437866 w 492259"/>
                <a:gd name="connsiteY52" fmla="*/ 573848 h 674476"/>
                <a:gd name="connsiteX53" fmla="*/ 443306 w 492259"/>
                <a:gd name="connsiteY53" fmla="*/ 606484 h 674476"/>
                <a:gd name="connsiteX54" fmla="*/ 446025 w 492259"/>
                <a:gd name="connsiteY54" fmla="*/ 617363 h 674476"/>
                <a:gd name="connsiteX55" fmla="*/ 470502 w 492259"/>
                <a:gd name="connsiteY55" fmla="*/ 617363 h 674476"/>
                <a:gd name="connsiteX56" fmla="*/ 492259 w 492259"/>
                <a:gd name="connsiteY56" fmla="*/ 641840 h 674476"/>
                <a:gd name="connsiteX57" fmla="*/ 484101 w 492259"/>
                <a:gd name="connsiteY57" fmla="*/ 655438 h 674476"/>
                <a:gd name="connsiteX58" fmla="*/ 467782 w 492259"/>
                <a:gd name="connsiteY58" fmla="*/ 663597 h 674476"/>
                <a:gd name="connsiteX59" fmla="*/ 443306 w 492259"/>
                <a:gd name="connsiteY59" fmla="*/ 666317 h 674476"/>
                <a:gd name="connsiteX60" fmla="*/ 421548 w 492259"/>
                <a:gd name="connsiteY60" fmla="*/ 666317 h 674476"/>
                <a:gd name="connsiteX61" fmla="*/ 413389 w 492259"/>
                <a:gd name="connsiteY61" fmla="*/ 666317 h 674476"/>
                <a:gd name="connsiteX62" fmla="*/ 399791 w 492259"/>
                <a:gd name="connsiteY62" fmla="*/ 671756 h 674476"/>
                <a:gd name="connsiteX63" fmla="*/ 383473 w 492259"/>
                <a:gd name="connsiteY63" fmla="*/ 674476 h 674476"/>
                <a:gd name="connsiteX64" fmla="*/ 348118 w 492259"/>
                <a:gd name="connsiteY64" fmla="*/ 669036 h 674476"/>
                <a:gd name="connsiteX65" fmla="*/ 326360 w 492259"/>
                <a:gd name="connsiteY65" fmla="*/ 669036 h 674476"/>
                <a:gd name="connsiteX66" fmla="*/ 277406 w 492259"/>
                <a:gd name="connsiteY66" fmla="*/ 669036 h 674476"/>
                <a:gd name="connsiteX67" fmla="*/ 252930 w 492259"/>
                <a:gd name="connsiteY67" fmla="*/ 663597 h 674476"/>
                <a:gd name="connsiteX68" fmla="*/ 236611 w 492259"/>
                <a:gd name="connsiteY68" fmla="*/ 647279 h 674476"/>
                <a:gd name="connsiteX69" fmla="*/ 261088 w 492259"/>
                <a:gd name="connsiteY69" fmla="*/ 630961 h 674476"/>
                <a:gd name="connsiteX70" fmla="*/ 288285 w 492259"/>
                <a:gd name="connsiteY70" fmla="*/ 628241 h 674476"/>
                <a:gd name="connsiteX71" fmla="*/ 285565 w 492259"/>
                <a:gd name="connsiteY71" fmla="*/ 609204 h 674476"/>
                <a:gd name="connsiteX72" fmla="*/ 282846 w 492259"/>
                <a:gd name="connsiteY72" fmla="*/ 582007 h 674476"/>
                <a:gd name="connsiteX73" fmla="*/ 280126 w 492259"/>
                <a:gd name="connsiteY73" fmla="*/ 568409 h 674476"/>
                <a:gd name="connsiteX74" fmla="*/ 282846 w 492259"/>
                <a:gd name="connsiteY74" fmla="*/ 554811 h 674476"/>
                <a:gd name="connsiteX75" fmla="*/ 277406 w 492259"/>
                <a:gd name="connsiteY75" fmla="*/ 538493 h 674476"/>
                <a:gd name="connsiteX76" fmla="*/ 271967 w 492259"/>
                <a:gd name="connsiteY76" fmla="*/ 505857 h 674476"/>
                <a:gd name="connsiteX77" fmla="*/ 269247 w 492259"/>
                <a:gd name="connsiteY77" fmla="*/ 478660 h 674476"/>
                <a:gd name="connsiteX78" fmla="*/ 266528 w 492259"/>
                <a:gd name="connsiteY78" fmla="*/ 446025 h 674476"/>
                <a:gd name="connsiteX79" fmla="*/ 261088 w 492259"/>
                <a:gd name="connsiteY79" fmla="*/ 437866 h 674476"/>
                <a:gd name="connsiteX80" fmla="*/ 250210 w 492259"/>
                <a:gd name="connsiteY80" fmla="*/ 437866 h 674476"/>
                <a:gd name="connsiteX81" fmla="*/ 220293 w 492259"/>
                <a:gd name="connsiteY81" fmla="*/ 440585 h 674476"/>
                <a:gd name="connsiteX82" fmla="*/ 190377 w 492259"/>
                <a:gd name="connsiteY82" fmla="*/ 443305 h 674476"/>
                <a:gd name="connsiteX83" fmla="*/ 165900 w 492259"/>
                <a:gd name="connsiteY83" fmla="*/ 443305 h 674476"/>
                <a:gd name="connsiteX84" fmla="*/ 144143 w 492259"/>
                <a:gd name="connsiteY84" fmla="*/ 440585 h 674476"/>
                <a:gd name="connsiteX85" fmla="*/ 135984 w 492259"/>
                <a:gd name="connsiteY85" fmla="*/ 454184 h 674476"/>
                <a:gd name="connsiteX86" fmla="*/ 130545 w 492259"/>
                <a:gd name="connsiteY86" fmla="*/ 486820 h 674476"/>
                <a:gd name="connsiteX87" fmla="*/ 119666 w 492259"/>
                <a:gd name="connsiteY87" fmla="*/ 541213 h 674476"/>
                <a:gd name="connsiteX88" fmla="*/ 103348 w 492259"/>
                <a:gd name="connsiteY88" fmla="*/ 614643 h 674476"/>
                <a:gd name="connsiteX89" fmla="*/ 133264 w 492259"/>
                <a:gd name="connsiteY89" fmla="*/ 614643 h 674476"/>
                <a:gd name="connsiteX90" fmla="*/ 168620 w 492259"/>
                <a:gd name="connsiteY90" fmla="*/ 630961 h 674476"/>
                <a:gd name="connsiteX91" fmla="*/ 163181 w 492259"/>
                <a:gd name="connsiteY91" fmla="*/ 647279 h 674476"/>
                <a:gd name="connsiteX92" fmla="*/ 146863 w 492259"/>
                <a:gd name="connsiteY92" fmla="*/ 655438 h 674476"/>
                <a:gd name="connsiteX93" fmla="*/ 127825 w 492259"/>
                <a:gd name="connsiteY93" fmla="*/ 658158 h 674476"/>
                <a:gd name="connsiteX94" fmla="*/ 106068 w 492259"/>
                <a:gd name="connsiteY94" fmla="*/ 658158 h 674476"/>
                <a:gd name="connsiteX95" fmla="*/ 62552 w 492259"/>
                <a:gd name="connsiteY95" fmla="*/ 658158 h 674476"/>
                <a:gd name="connsiteX96" fmla="*/ 40795 w 492259"/>
                <a:gd name="connsiteY96" fmla="*/ 658158 h 674476"/>
                <a:gd name="connsiteX97" fmla="*/ 16318 w 492259"/>
                <a:gd name="connsiteY97" fmla="*/ 652718 h 674476"/>
                <a:gd name="connsiteX98" fmla="*/ 0 w 492259"/>
                <a:gd name="connsiteY98" fmla="*/ 636401 h 674476"/>
                <a:gd name="connsiteX99" fmla="*/ 2720 w 492259"/>
                <a:gd name="connsiteY99" fmla="*/ 628241 h 674476"/>
                <a:gd name="connsiteX100" fmla="*/ 24477 w 492259"/>
                <a:gd name="connsiteY100" fmla="*/ 620082 h 674476"/>
                <a:gd name="connsiteX101" fmla="*/ 62552 w 492259"/>
                <a:gd name="connsiteY101" fmla="*/ 617363 h 674476"/>
                <a:gd name="connsiteX102" fmla="*/ 62552 w 492259"/>
                <a:gd name="connsiteY102" fmla="*/ 614643 h 674476"/>
                <a:gd name="connsiteX103" fmla="*/ 65272 w 492259"/>
                <a:gd name="connsiteY103" fmla="*/ 587447 h 674476"/>
                <a:gd name="connsiteX104" fmla="*/ 76151 w 492259"/>
                <a:gd name="connsiteY104" fmla="*/ 522175 h 674476"/>
                <a:gd name="connsiteX105" fmla="*/ 87029 w 492259"/>
                <a:gd name="connsiteY105" fmla="*/ 470501 h 674476"/>
                <a:gd name="connsiteX106" fmla="*/ 92468 w 492259"/>
                <a:gd name="connsiteY106" fmla="*/ 446025 h 674476"/>
                <a:gd name="connsiteX107" fmla="*/ 65272 w 492259"/>
                <a:gd name="connsiteY107" fmla="*/ 432426 h 674476"/>
                <a:gd name="connsiteX108" fmla="*/ 54393 w 492259"/>
                <a:gd name="connsiteY108" fmla="*/ 421548 h 674476"/>
                <a:gd name="connsiteX109" fmla="*/ 73431 w 492259"/>
                <a:gd name="connsiteY109" fmla="*/ 407949 h 674476"/>
                <a:gd name="connsiteX110" fmla="*/ 100629 w 492259"/>
                <a:gd name="connsiteY110" fmla="*/ 399790 h 674476"/>
                <a:gd name="connsiteX111" fmla="*/ 108788 w 492259"/>
                <a:gd name="connsiteY111" fmla="*/ 369874 h 674476"/>
                <a:gd name="connsiteX112" fmla="*/ 125105 w 492259"/>
                <a:gd name="connsiteY112" fmla="*/ 307322 h 674476"/>
                <a:gd name="connsiteX113" fmla="*/ 141423 w 492259"/>
                <a:gd name="connsiteY113" fmla="*/ 242051 h 674476"/>
                <a:gd name="connsiteX114" fmla="*/ 155022 w 492259"/>
                <a:gd name="connsiteY114" fmla="*/ 179498 h 674476"/>
                <a:gd name="connsiteX115" fmla="*/ 168620 w 492259"/>
                <a:gd name="connsiteY115" fmla="*/ 119665 h 674476"/>
                <a:gd name="connsiteX116" fmla="*/ 193097 w 492259"/>
                <a:gd name="connsiteY116" fmla="*/ 57113 h 674476"/>
                <a:gd name="connsiteX117" fmla="*/ 201256 w 492259"/>
                <a:gd name="connsiteY117" fmla="*/ 38075 h 674476"/>
                <a:gd name="connsiteX118" fmla="*/ 217574 w 492259"/>
                <a:gd name="connsiteY118" fmla="*/ 13598 h 674476"/>
                <a:gd name="connsiteX119" fmla="*/ 274687 w 492259"/>
                <a:gd name="connsiteY119" fmla="*/ 0 h 6744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</a:cxnLst>
              <a:rect l="l" t="t" r="r" b="b"/>
              <a:pathLst>
                <a:path w="492259" h="674476">
                  <a:moveTo>
                    <a:pt x="225733" y="97907"/>
                  </a:moveTo>
                  <a:cubicBezTo>
                    <a:pt x="217574" y="97907"/>
                    <a:pt x="209415" y="114225"/>
                    <a:pt x="209415" y="119665"/>
                  </a:cubicBezTo>
                  <a:cubicBezTo>
                    <a:pt x="206695" y="130543"/>
                    <a:pt x="203976" y="144141"/>
                    <a:pt x="201256" y="152300"/>
                  </a:cubicBezTo>
                  <a:cubicBezTo>
                    <a:pt x="198536" y="157740"/>
                    <a:pt x="198536" y="163179"/>
                    <a:pt x="198536" y="168618"/>
                  </a:cubicBezTo>
                  <a:cubicBezTo>
                    <a:pt x="198536" y="174058"/>
                    <a:pt x="195817" y="179497"/>
                    <a:pt x="195817" y="184936"/>
                  </a:cubicBezTo>
                  <a:cubicBezTo>
                    <a:pt x="193097" y="195815"/>
                    <a:pt x="190377" y="209413"/>
                    <a:pt x="187658" y="220292"/>
                  </a:cubicBezTo>
                  <a:cubicBezTo>
                    <a:pt x="184938" y="244769"/>
                    <a:pt x="176779" y="269246"/>
                    <a:pt x="168620" y="291003"/>
                  </a:cubicBezTo>
                  <a:cubicBezTo>
                    <a:pt x="165900" y="301881"/>
                    <a:pt x="163181" y="312760"/>
                    <a:pt x="160461" y="323639"/>
                  </a:cubicBezTo>
                  <a:cubicBezTo>
                    <a:pt x="157742" y="337237"/>
                    <a:pt x="155022" y="348115"/>
                    <a:pt x="149582" y="361714"/>
                  </a:cubicBezTo>
                  <a:cubicBezTo>
                    <a:pt x="146863" y="367153"/>
                    <a:pt x="144143" y="383471"/>
                    <a:pt x="144143" y="388910"/>
                  </a:cubicBezTo>
                  <a:cubicBezTo>
                    <a:pt x="144143" y="391630"/>
                    <a:pt x="146863" y="391630"/>
                    <a:pt x="149582" y="391630"/>
                  </a:cubicBezTo>
                  <a:cubicBezTo>
                    <a:pt x="155022" y="391630"/>
                    <a:pt x="168620" y="391630"/>
                    <a:pt x="171340" y="391630"/>
                  </a:cubicBezTo>
                  <a:cubicBezTo>
                    <a:pt x="179498" y="391630"/>
                    <a:pt x="187658" y="391630"/>
                    <a:pt x="193097" y="388910"/>
                  </a:cubicBezTo>
                  <a:cubicBezTo>
                    <a:pt x="198536" y="388910"/>
                    <a:pt x="203976" y="388910"/>
                    <a:pt x="212135" y="388910"/>
                  </a:cubicBezTo>
                  <a:cubicBezTo>
                    <a:pt x="217574" y="388910"/>
                    <a:pt x="225733" y="388910"/>
                    <a:pt x="236611" y="388910"/>
                  </a:cubicBezTo>
                  <a:cubicBezTo>
                    <a:pt x="242051" y="388910"/>
                    <a:pt x="247490" y="388910"/>
                    <a:pt x="250210" y="386191"/>
                  </a:cubicBezTo>
                  <a:cubicBezTo>
                    <a:pt x="255649" y="391630"/>
                    <a:pt x="258369" y="388910"/>
                    <a:pt x="258369" y="386191"/>
                  </a:cubicBezTo>
                  <a:cubicBezTo>
                    <a:pt x="258369" y="380751"/>
                    <a:pt x="255649" y="372592"/>
                    <a:pt x="255649" y="367153"/>
                  </a:cubicBezTo>
                  <a:cubicBezTo>
                    <a:pt x="252930" y="353555"/>
                    <a:pt x="250210" y="342676"/>
                    <a:pt x="250210" y="331797"/>
                  </a:cubicBezTo>
                  <a:cubicBezTo>
                    <a:pt x="250210" y="301881"/>
                    <a:pt x="250210" y="274685"/>
                    <a:pt x="247490" y="244769"/>
                  </a:cubicBezTo>
                  <a:cubicBezTo>
                    <a:pt x="247490" y="231170"/>
                    <a:pt x="244771" y="217572"/>
                    <a:pt x="242051" y="203974"/>
                  </a:cubicBezTo>
                  <a:cubicBezTo>
                    <a:pt x="239331" y="187656"/>
                    <a:pt x="236611" y="174058"/>
                    <a:pt x="236611" y="157740"/>
                  </a:cubicBezTo>
                  <a:cubicBezTo>
                    <a:pt x="236611" y="152300"/>
                    <a:pt x="236611" y="133263"/>
                    <a:pt x="233892" y="119665"/>
                  </a:cubicBezTo>
                  <a:cubicBezTo>
                    <a:pt x="233892" y="106066"/>
                    <a:pt x="231172" y="97907"/>
                    <a:pt x="225733" y="97907"/>
                  </a:cubicBezTo>
                  <a:close/>
                  <a:moveTo>
                    <a:pt x="274687" y="0"/>
                  </a:moveTo>
                  <a:cubicBezTo>
                    <a:pt x="288285" y="0"/>
                    <a:pt x="293724" y="2720"/>
                    <a:pt x="304603" y="5439"/>
                  </a:cubicBezTo>
                  <a:cubicBezTo>
                    <a:pt x="315481" y="10879"/>
                    <a:pt x="315481" y="16318"/>
                    <a:pt x="320921" y="24477"/>
                  </a:cubicBezTo>
                  <a:cubicBezTo>
                    <a:pt x="326360" y="29916"/>
                    <a:pt x="331800" y="35356"/>
                    <a:pt x="334519" y="43515"/>
                  </a:cubicBezTo>
                  <a:cubicBezTo>
                    <a:pt x="337239" y="51674"/>
                    <a:pt x="337239" y="57113"/>
                    <a:pt x="339959" y="65272"/>
                  </a:cubicBezTo>
                  <a:cubicBezTo>
                    <a:pt x="345398" y="78870"/>
                    <a:pt x="342678" y="97908"/>
                    <a:pt x="348118" y="114226"/>
                  </a:cubicBezTo>
                  <a:cubicBezTo>
                    <a:pt x="350837" y="130544"/>
                    <a:pt x="358996" y="146863"/>
                    <a:pt x="361716" y="163180"/>
                  </a:cubicBezTo>
                  <a:cubicBezTo>
                    <a:pt x="364435" y="182218"/>
                    <a:pt x="364435" y="201256"/>
                    <a:pt x="369875" y="220293"/>
                  </a:cubicBezTo>
                  <a:cubicBezTo>
                    <a:pt x="375314" y="239331"/>
                    <a:pt x="378034" y="255649"/>
                    <a:pt x="378034" y="274686"/>
                  </a:cubicBezTo>
                  <a:cubicBezTo>
                    <a:pt x="378034" y="282845"/>
                    <a:pt x="380753" y="293724"/>
                    <a:pt x="383473" y="301883"/>
                  </a:cubicBezTo>
                  <a:cubicBezTo>
                    <a:pt x="386193" y="312762"/>
                    <a:pt x="388913" y="326360"/>
                    <a:pt x="391632" y="337238"/>
                  </a:cubicBezTo>
                  <a:cubicBezTo>
                    <a:pt x="391632" y="342678"/>
                    <a:pt x="394352" y="353556"/>
                    <a:pt x="397071" y="364435"/>
                  </a:cubicBezTo>
                  <a:cubicBezTo>
                    <a:pt x="399791" y="372594"/>
                    <a:pt x="402511" y="380753"/>
                    <a:pt x="405230" y="383473"/>
                  </a:cubicBezTo>
                  <a:cubicBezTo>
                    <a:pt x="407950" y="386192"/>
                    <a:pt x="413389" y="386192"/>
                    <a:pt x="416109" y="386192"/>
                  </a:cubicBezTo>
                  <a:cubicBezTo>
                    <a:pt x="418829" y="386192"/>
                    <a:pt x="424268" y="386192"/>
                    <a:pt x="426988" y="386192"/>
                  </a:cubicBezTo>
                  <a:cubicBezTo>
                    <a:pt x="437866" y="386192"/>
                    <a:pt x="448745" y="388912"/>
                    <a:pt x="454184" y="397071"/>
                  </a:cubicBezTo>
                  <a:cubicBezTo>
                    <a:pt x="456904" y="399790"/>
                    <a:pt x="456904" y="402510"/>
                    <a:pt x="456904" y="405230"/>
                  </a:cubicBezTo>
                  <a:cubicBezTo>
                    <a:pt x="456904" y="407949"/>
                    <a:pt x="454184" y="410669"/>
                    <a:pt x="451464" y="416108"/>
                  </a:cubicBezTo>
                  <a:cubicBezTo>
                    <a:pt x="446025" y="421548"/>
                    <a:pt x="440586" y="426987"/>
                    <a:pt x="432427" y="429707"/>
                  </a:cubicBezTo>
                  <a:cubicBezTo>
                    <a:pt x="429707" y="429707"/>
                    <a:pt x="426988" y="432426"/>
                    <a:pt x="421548" y="432426"/>
                  </a:cubicBezTo>
                  <a:cubicBezTo>
                    <a:pt x="418829" y="432426"/>
                    <a:pt x="416109" y="432426"/>
                    <a:pt x="413389" y="435146"/>
                  </a:cubicBezTo>
                  <a:cubicBezTo>
                    <a:pt x="413389" y="435146"/>
                    <a:pt x="413389" y="437866"/>
                    <a:pt x="413389" y="440585"/>
                  </a:cubicBezTo>
                  <a:cubicBezTo>
                    <a:pt x="413389" y="443305"/>
                    <a:pt x="413389" y="448744"/>
                    <a:pt x="416109" y="451464"/>
                  </a:cubicBezTo>
                  <a:cubicBezTo>
                    <a:pt x="416109" y="456903"/>
                    <a:pt x="418829" y="462343"/>
                    <a:pt x="418829" y="465062"/>
                  </a:cubicBezTo>
                  <a:lnTo>
                    <a:pt x="418829" y="475941"/>
                  </a:lnTo>
                  <a:cubicBezTo>
                    <a:pt x="418829" y="481380"/>
                    <a:pt x="418829" y="484100"/>
                    <a:pt x="418829" y="486820"/>
                  </a:cubicBezTo>
                  <a:cubicBezTo>
                    <a:pt x="421548" y="497698"/>
                    <a:pt x="424268" y="505857"/>
                    <a:pt x="426988" y="516736"/>
                  </a:cubicBezTo>
                  <a:cubicBezTo>
                    <a:pt x="426988" y="524895"/>
                    <a:pt x="429707" y="535773"/>
                    <a:pt x="432427" y="543932"/>
                  </a:cubicBezTo>
                  <a:cubicBezTo>
                    <a:pt x="435147" y="554811"/>
                    <a:pt x="437866" y="562970"/>
                    <a:pt x="437866" y="573848"/>
                  </a:cubicBezTo>
                  <a:cubicBezTo>
                    <a:pt x="437866" y="587447"/>
                    <a:pt x="440586" y="595606"/>
                    <a:pt x="443306" y="606484"/>
                  </a:cubicBezTo>
                  <a:cubicBezTo>
                    <a:pt x="443306" y="609204"/>
                    <a:pt x="446025" y="614643"/>
                    <a:pt x="446025" y="617363"/>
                  </a:cubicBezTo>
                  <a:cubicBezTo>
                    <a:pt x="454184" y="617363"/>
                    <a:pt x="462343" y="617363"/>
                    <a:pt x="470502" y="617363"/>
                  </a:cubicBezTo>
                  <a:cubicBezTo>
                    <a:pt x="475942" y="625522"/>
                    <a:pt x="492259" y="630961"/>
                    <a:pt x="492259" y="641840"/>
                  </a:cubicBezTo>
                  <a:cubicBezTo>
                    <a:pt x="492259" y="647279"/>
                    <a:pt x="486820" y="649999"/>
                    <a:pt x="484101" y="655438"/>
                  </a:cubicBezTo>
                  <a:cubicBezTo>
                    <a:pt x="481381" y="660877"/>
                    <a:pt x="473222" y="663597"/>
                    <a:pt x="467782" y="663597"/>
                  </a:cubicBezTo>
                  <a:cubicBezTo>
                    <a:pt x="456904" y="666317"/>
                    <a:pt x="451464" y="666317"/>
                    <a:pt x="443306" y="666317"/>
                  </a:cubicBezTo>
                  <a:cubicBezTo>
                    <a:pt x="437866" y="666317"/>
                    <a:pt x="429707" y="666317"/>
                    <a:pt x="421548" y="666317"/>
                  </a:cubicBezTo>
                  <a:cubicBezTo>
                    <a:pt x="418829" y="666317"/>
                    <a:pt x="416109" y="666317"/>
                    <a:pt x="413389" y="666317"/>
                  </a:cubicBezTo>
                  <a:cubicBezTo>
                    <a:pt x="407950" y="669036"/>
                    <a:pt x="405230" y="669036"/>
                    <a:pt x="399791" y="671756"/>
                  </a:cubicBezTo>
                  <a:cubicBezTo>
                    <a:pt x="394352" y="671756"/>
                    <a:pt x="388913" y="674476"/>
                    <a:pt x="383473" y="674476"/>
                  </a:cubicBezTo>
                  <a:cubicBezTo>
                    <a:pt x="372594" y="674476"/>
                    <a:pt x="358996" y="671756"/>
                    <a:pt x="348118" y="669036"/>
                  </a:cubicBezTo>
                  <a:cubicBezTo>
                    <a:pt x="339959" y="669036"/>
                    <a:pt x="331800" y="669036"/>
                    <a:pt x="326360" y="669036"/>
                  </a:cubicBezTo>
                  <a:cubicBezTo>
                    <a:pt x="304603" y="669036"/>
                    <a:pt x="285565" y="669036"/>
                    <a:pt x="277406" y="669036"/>
                  </a:cubicBezTo>
                  <a:cubicBezTo>
                    <a:pt x="269247" y="669036"/>
                    <a:pt x="258369" y="669036"/>
                    <a:pt x="252930" y="663597"/>
                  </a:cubicBezTo>
                  <a:cubicBezTo>
                    <a:pt x="247490" y="660877"/>
                    <a:pt x="236611" y="655438"/>
                    <a:pt x="236611" y="647279"/>
                  </a:cubicBezTo>
                  <a:cubicBezTo>
                    <a:pt x="236611" y="636401"/>
                    <a:pt x="252930" y="633681"/>
                    <a:pt x="261088" y="630961"/>
                  </a:cubicBezTo>
                  <a:cubicBezTo>
                    <a:pt x="266528" y="630961"/>
                    <a:pt x="274687" y="630961"/>
                    <a:pt x="288285" y="628241"/>
                  </a:cubicBezTo>
                  <a:cubicBezTo>
                    <a:pt x="288285" y="620082"/>
                    <a:pt x="288285" y="614643"/>
                    <a:pt x="285565" y="609204"/>
                  </a:cubicBezTo>
                  <a:cubicBezTo>
                    <a:pt x="285565" y="601045"/>
                    <a:pt x="282846" y="590166"/>
                    <a:pt x="282846" y="582007"/>
                  </a:cubicBezTo>
                  <a:cubicBezTo>
                    <a:pt x="282846" y="576568"/>
                    <a:pt x="280126" y="573848"/>
                    <a:pt x="280126" y="568409"/>
                  </a:cubicBezTo>
                  <a:cubicBezTo>
                    <a:pt x="280126" y="562970"/>
                    <a:pt x="282846" y="557531"/>
                    <a:pt x="282846" y="554811"/>
                  </a:cubicBezTo>
                  <a:cubicBezTo>
                    <a:pt x="282846" y="549371"/>
                    <a:pt x="280126" y="546652"/>
                    <a:pt x="277406" y="538493"/>
                  </a:cubicBezTo>
                  <a:cubicBezTo>
                    <a:pt x="277406" y="527614"/>
                    <a:pt x="271967" y="516736"/>
                    <a:pt x="271967" y="505857"/>
                  </a:cubicBezTo>
                  <a:cubicBezTo>
                    <a:pt x="271967" y="494978"/>
                    <a:pt x="271967" y="486820"/>
                    <a:pt x="269247" y="478660"/>
                  </a:cubicBezTo>
                  <a:cubicBezTo>
                    <a:pt x="266528" y="467782"/>
                    <a:pt x="266528" y="456903"/>
                    <a:pt x="266528" y="446025"/>
                  </a:cubicBezTo>
                  <a:cubicBezTo>
                    <a:pt x="266528" y="440585"/>
                    <a:pt x="263808" y="437866"/>
                    <a:pt x="261088" y="437866"/>
                  </a:cubicBezTo>
                  <a:cubicBezTo>
                    <a:pt x="258369" y="437866"/>
                    <a:pt x="255649" y="437866"/>
                    <a:pt x="250210" y="437866"/>
                  </a:cubicBezTo>
                  <a:cubicBezTo>
                    <a:pt x="239331" y="437866"/>
                    <a:pt x="228452" y="437866"/>
                    <a:pt x="220293" y="440585"/>
                  </a:cubicBezTo>
                  <a:cubicBezTo>
                    <a:pt x="209415" y="440585"/>
                    <a:pt x="201256" y="443305"/>
                    <a:pt x="190377" y="443305"/>
                  </a:cubicBezTo>
                  <a:cubicBezTo>
                    <a:pt x="182218" y="443305"/>
                    <a:pt x="174059" y="443305"/>
                    <a:pt x="165900" y="443305"/>
                  </a:cubicBezTo>
                  <a:cubicBezTo>
                    <a:pt x="163181" y="443305"/>
                    <a:pt x="152302" y="440585"/>
                    <a:pt x="144143" y="440585"/>
                  </a:cubicBezTo>
                  <a:cubicBezTo>
                    <a:pt x="135984" y="440585"/>
                    <a:pt x="135984" y="448744"/>
                    <a:pt x="135984" y="454184"/>
                  </a:cubicBezTo>
                  <a:cubicBezTo>
                    <a:pt x="135984" y="465062"/>
                    <a:pt x="133264" y="475941"/>
                    <a:pt x="130545" y="486820"/>
                  </a:cubicBezTo>
                  <a:cubicBezTo>
                    <a:pt x="127825" y="505857"/>
                    <a:pt x="122386" y="522175"/>
                    <a:pt x="119666" y="541213"/>
                  </a:cubicBezTo>
                  <a:cubicBezTo>
                    <a:pt x="116947" y="560250"/>
                    <a:pt x="108788" y="595606"/>
                    <a:pt x="103348" y="614643"/>
                  </a:cubicBezTo>
                  <a:cubicBezTo>
                    <a:pt x="111507" y="614643"/>
                    <a:pt x="122386" y="614643"/>
                    <a:pt x="133264" y="614643"/>
                  </a:cubicBezTo>
                  <a:cubicBezTo>
                    <a:pt x="146863" y="614643"/>
                    <a:pt x="168620" y="614643"/>
                    <a:pt x="168620" y="630961"/>
                  </a:cubicBezTo>
                  <a:cubicBezTo>
                    <a:pt x="168620" y="639120"/>
                    <a:pt x="165900" y="639120"/>
                    <a:pt x="163181" y="647279"/>
                  </a:cubicBezTo>
                  <a:cubicBezTo>
                    <a:pt x="160461" y="652718"/>
                    <a:pt x="152302" y="655438"/>
                    <a:pt x="146863" y="655438"/>
                  </a:cubicBezTo>
                  <a:cubicBezTo>
                    <a:pt x="138704" y="658158"/>
                    <a:pt x="133264" y="658158"/>
                    <a:pt x="127825" y="658158"/>
                  </a:cubicBezTo>
                  <a:cubicBezTo>
                    <a:pt x="122386" y="658158"/>
                    <a:pt x="116947" y="658158"/>
                    <a:pt x="106068" y="658158"/>
                  </a:cubicBezTo>
                  <a:cubicBezTo>
                    <a:pt x="92468" y="658158"/>
                    <a:pt x="78870" y="658158"/>
                    <a:pt x="62552" y="658158"/>
                  </a:cubicBezTo>
                  <a:cubicBezTo>
                    <a:pt x="54393" y="658158"/>
                    <a:pt x="46234" y="658158"/>
                    <a:pt x="40795" y="658158"/>
                  </a:cubicBezTo>
                  <a:cubicBezTo>
                    <a:pt x="32636" y="658158"/>
                    <a:pt x="21758" y="658158"/>
                    <a:pt x="16318" y="652718"/>
                  </a:cubicBezTo>
                  <a:cubicBezTo>
                    <a:pt x="8159" y="649999"/>
                    <a:pt x="0" y="641840"/>
                    <a:pt x="0" y="636401"/>
                  </a:cubicBezTo>
                  <a:cubicBezTo>
                    <a:pt x="0" y="633681"/>
                    <a:pt x="0" y="630961"/>
                    <a:pt x="2720" y="628241"/>
                  </a:cubicBezTo>
                  <a:cubicBezTo>
                    <a:pt x="8159" y="625522"/>
                    <a:pt x="16318" y="622802"/>
                    <a:pt x="24477" y="620082"/>
                  </a:cubicBezTo>
                  <a:cubicBezTo>
                    <a:pt x="38075" y="617363"/>
                    <a:pt x="48954" y="617363"/>
                    <a:pt x="62552" y="617363"/>
                  </a:cubicBezTo>
                  <a:cubicBezTo>
                    <a:pt x="62552" y="617363"/>
                    <a:pt x="62552" y="614643"/>
                    <a:pt x="62552" y="614643"/>
                  </a:cubicBezTo>
                  <a:cubicBezTo>
                    <a:pt x="62552" y="603765"/>
                    <a:pt x="65272" y="590166"/>
                    <a:pt x="65272" y="587447"/>
                  </a:cubicBezTo>
                  <a:cubicBezTo>
                    <a:pt x="67992" y="565689"/>
                    <a:pt x="73431" y="543932"/>
                    <a:pt x="76151" y="522175"/>
                  </a:cubicBezTo>
                  <a:cubicBezTo>
                    <a:pt x="78870" y="505857"/>
                    <a:pt x="81590" y="486820"/>
                    <a:pt x="87029" y="470501"/>
                  </a:cubicBezTo>
                  <a:cubicBezTo>
                    <a:pt x="87029" y="465062"/>
                    <a:pt x="92468" y="451464"/>
                    <a:pt x="92468" y="446025"/>
                  </a:cubicBezTo>
                  <a:cubicBezTo>
                    <a:pt x="92468" y="437866"/>
                    <a:pt x="73431" y="437866"/>
                    <a:pt x="65272" y="432426"/>
                  </a:cubicBezTo>
                  <a:cubicBezTo>
                    <a:pt x="59833" y="429707"/>
                    <a:pt x="54393" y="426987"/>
                    <a:pt x="54393" y="421548"/>
                  </a:cubicBezTo>
                  <a:cubicBezTo>
                    <a:pt x="54393" y="413389"/>
                    <a:pt x="62552" y="410669"/>
                    <a:pt x="73431" y="407949"/>
                  </a:cubicBezTo>
                  <a:cubicBezTo>
                    <a:pt x="78870" y="407949"/>
                    <a:pt x="92468" y="405230"/>
                    <a:pt x="100629" y="399790"/>
                  </a:cubicBezTo>
                  <a:cubicBezTo>
                    <a:pt x="106068" y="394351"/>
                    <a:pt x="106068" y="378033"/>
                    <a:pt x="108788" y="369874"/>
                  </a:cubicBezTo>
                  <a:cubicBezTo>
                    <a:pt x="114227" y="348117"/>
                    <a:pt x="119666" y="326360"/>
                    <a:pt x="125105" y="307322"/>
                  </a:cubicBezTo>
                  <a:cubicBezTo>
                    <a:pt x="130545" y="285565"/>
                    <a:pt x="135984" y="263808"/>
                    <a:pt x="141423" y="242051"/>
                  </a:cubicBezTo>
                  <a:cubicBezTo>
                    <a:pt x="146863" y="220293"/>
                    <a:pt x="152302" y="198536"/>
                    <a:pt x="155022" y="179498"/>
                  </a:cubicBezTo>
                  <a:cubicBezTo>
                    <a:pt x="157742" y="160461"/>
                    <a:pt x="163181" y="138703"/>
                    <a:pt x="168620" y="119665"/>
                  </a:cubicBezTo>
                  <a:cubicBezTo>
                    <a:pt x="176779" y="100627"/>
                    <a:pt x="182218" y="76150"/>
                    <a:pt x="193097" y="57113"/>
                  </a:cubicBezTo>
                  <a:lnTo>
                    <a:pt x="201256" y="38075"/>
                  </a:lnTo>
                  <a:cubicBezTo>
                    <a:pt x="206695" y="29916"/>
                    <a:pt x="209415" y="19038"/>
                    <a:pt x="217574" y="13598"/>
                  </a:cubicBezTo>
                  <a:cubicBezTo>
                    <a:pt x="231172" y="2720"/>
                    <a:pt x="255649" y="0"/>
                    <a:pt x="274687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/>
            </a:p>
          </p:txBody>
        </p:sp>
        <p:sp>
          <p:nvSpPr>
            <p:cNvPr id="46" name="Freeform: Shape 45">
              <a:extLst>
                <a:ext uri="{FF2B5EF4-FFF2-40B4-BE49-F238E27FC236}">
                  <a16:creationId xmlns:a16="http://schemas.microsoft.com/office/drawing/2014/main" id="{D45F9331-6EB0-4EF1-AF1B-D8101C2D5B8D}"/>
                </a:ext>
              </a:extLst>
            </p:cNvPr>
            <p:cNvSpPr/>
            <p:nvPr/>
          </p:nvSpPr>
          <p:spPr bwMode="black">
            <a:xfrm>
              <a:off x="6876542" y="4244897"/>
              <a:ext cx="462342" cy="677195"/>
            </a:xfrm>
            <a:custGeom>
              <a:avLst/>
              <a:gdLst>
                <a:gd name="connsiteX0" fmla="*/ 214853 w 462342"/>
                <a:gd name="connsiteY0" fmla="*/ 65272 h 677195"/>
                <a:gd name="connsiteX1" fmla="*/ 195815 w 462342"/>
                <a:gd name="connsiteY1" fmla="*/ 73431 h 677195"/>
                <a:gd name="connsiteX2" fmla="*/ 193096 w 462342"/>
                <a:gd name="connsiteY2" fmla="*/ 125105 h 677195"/>
                <a:gd name="connsiteX3" fmla="*/ 190376 w 462342"/>
                <a:gd name="connsiteY3" fmla="*/ 280125 h 677195"/>
                <a:gd name="connsiteX4" fmla="*/ 190376 w 462342"/>
                <a:gd name="connsiteY4" fmla="*/ 301882 h 677195"/>
                <a:gd name="connsiteX5" fmla="*/ 193096 w 462342"/>
                <a:gd name="connsiteY5" fmla="*/ 342677 h 677195"/>
                <a:gd name="connsiteX6" fmla="*/ 195815 w 462342"/>
                <a:gd name="connsiteY6" fmla="*/ 397070 h 677195"/>
                <a:gd name="connsiteX7" fmla="*/ 195815 w 462342"/>
                <a:gd name="connsiteY7" fmla="*/ 443304 h 677195"/>
                <a:gd name="connsiteX8" fmla="*/ 195815 w 462342"/>
                <a:gd name="connsiteY8" fmla="*/ 530333 h 677195"/>
                <a:gd name="connsiteX9" fmla="*/ 193096 w 462342"/>
                <a:gd name="connsiteY9" fmla="*/ 554810 h 677195"/>
                <a:gd name="connsiteX10" fmla="*/ 190376 w 462342"/>
                <a:gd name="connsiteY10" fmla="*/ 603764 h 677195"/>
                <a:gd name="connsiteX11" fmla="*/ 198535 w 462342"/>
                <a:gd name="connsiteY11" fmla="*/ 611923 h 677195"/>
                <a:gd name="connsiteX12" fmla="*/ 214853 w 462342"/>
                <a:gd name="connsiteY12" fmla="*/ 611923 h 677195"/>
                <a:gd name="connsiteX13" fmla="*/ 236610 w 462342"/>
                <a:gd name="connsiteY13" fmla="*/ 611923 h 677195"/>
                <a:gd name="connsiteX14" fmla="*/ 263807 w 462342"/>
                <a:gd name="connsiteY14" fmla="*/ 598325 h 677195"/>
                <a:gd name="connsiteX15" fmla="*/ 277405 w 462342"/>
                <a:gd name="connsiteY15" fmla="*/ 592885 h 677195"/>
                <a:gd name="connsiteX16" fmla="*/ 291004 w 462342"/>
                <a:gd name="connsiteY16" fmla="*/ 573848 h 677195"/>
                <a:gd name="connsiteX17" fmla="*/ 307322 w 462342"/>
                <a:gd name="connsiteY17" fmla="*/ 543931 h 677195"/>
                <a:gd name="connsiteX18" fmla="*/ 326359 w 462342"/>
                <a:gd name="connsiteY18" fmla="*/ 481379 h 677195"/>
                <a:gd name="connsiteX19" fmla="*/ 337238 w 462342"/>
                <a:gd name="connsiteY19" fmla="*/ 413388 h 677195"/>
                <a:gd name="connsiteX20" fmla="*/ 337238 w 462342"/>
                <a:gd name="connsiteY20" fmla="*/ 350836 h 677195"/>
                <a:gd name="connsiteX21" fmla="*/ 334518 w 462342"/>
                <a:gd name="connsiteY21" fmla="*/ 296443 h 677195"/>
                <a:gd name="connsiteX22" fmla="*/ 329079 w 462342"/>
                <a:gd name="connsiteY22" fmla="*/ 244769 h 677195"/>
                <a:gd name="connsiteX23" fmla="*/ 307322 w 462342"/>
                <a:gd name="connsiteY23" fmla="*/ 135983 h 677195"/>
                <a:gd name="connsiteX24" fmla="*/ 271966 w 462342"/>
                <a:gd name="connsiteY24" fmla="*/ 78870 h 677195"/>
                <a:gd name="connsiteX25" fmla="*/ 214853 w 462342"/>
                <a:gd name="connsiteY25" fmla="*/ 65272 h 677195"/>
                <a:gd name="connsiteX26" fmla="*/ 114226 w 462342"/>
                <a:gd name="connsiteY26" fmla="*/ 0 h 677195"/>
                <a:gd name="connsiteX27" fmla="*/ 127824 w 462342"/>
                <a:gd name="connsiteY27" fmla="*/ 0 h 677195"/>
                <a:gd name="connsiteX28" fmla="*/ 146862 w 462342"/>
                <a:gd name="connsiteY28" fmla="*/ 2720 h 677195"/>
                <a:gd name="connsiteX29" fmla="*/ 174059 w 462342"/>
                <a:gd name="connsiteY29" fmla="*/ 21758 h 677195"/>
                <a:gd name="connsiteX30" fmla="*/ 193096 w 462342"/>
                <a:gd name="connsiteY30" fmla="*/ 21758 h 677195"/>
                <a:gd name="connsiteX31" fmla="*/ 261088 w 462342"/>
                <a:gd name="connsiteY31" fmla="*/ 27197 h 677195"/>
                <a:gd name="connsiteX32" fmla="*/ 310042 w 462342"/>
                <a:gd name="connsiteY32" fmla="*/ 35356 h 677195"/>
                <a:gd name="connsiteX33" fmla="*/ 334518 w 462342"/>
                <a:gd name="connsiteY33" fmla="*/ 40795 h 677195"/>
                <a:gd name="connsiteX34" fmla="*/ 356276 w 462342"/>
                <a:gd name="connsiteY34" fmla="*/ 59833 h 677195"/>
                <a:gd name="connsiteX35" fmla="*/ 372593 w 462342"/>
                <a:gd name="connsiteY35" fmla="*/ 76151 h 677195"/>
                <a:gd name="connsiteX36" fmla="*/ 380752 w 462342"/>
                <a:gd name="connsiteY36" fmla="*/ 95188 h 677195"/>
                <a:gd name="connsiteX37" fmla="*/ 405230 w 462342"/>
                <a:gd name="connsiteY37" fmla="*/ 114226 h 677195"/>
                <a:gd name="connsiteX38" fmla="*/ 416108 w 462342"/>
                <a:gd name="connsiteY38" fmla="*/ 141422 h 677195"/>
                <a:gd name="connsiteX39" fmla="*/ 451464 w 462342"/>
                <a:gd name="connsiteY39" fmla="*/ 201256 h 677195"/>
                <a:gd name="connsiteX40" fmla="*/ 456903 w 462342"/>
                <a:gd name="connsiteY40" fmla="*/ 252929 h 677195"/>
                <a:gd name="connsiteX41" fmla="*/ 456903 w 462342"/>
                <a:gd name="connsiteY41" fmla="*/ 291004 h 677195"/>
                <a:gd name="connsiteX42" fmla="*/ 459623 w 462342"/>
                <a:gd name="connsiteY42" fmla="*/ 318201 h 677195"/>
                <a:gd name="connsiteX43" fmla="*/ 459623 w 462342"/>
                <a:gd name="connsiteY43" fmla="*/ 326360 h 677195"/>
                <a:gd name="connsiteX44" fmla="*/ 459623 w 462342"/>
                <a:gd name="connsiteY44" fmla="*/ 348117 h 677195"/>
                <a:gd name="connsiteX45" fmla="*/ 462342 w 462342"/>
                <a:gd name="connsiteY45" fmla="*/ 367155 h 677195"/>
                <a:gd name="connsiteX46" fmla="*/ 456903 w 462342"/>
                <a:gd name="connsiteY46" fmla="*/ 391632 h 677195"/>
                <a:gd name="connsiteX47" fmla="*/ 456903 w 462342"/>
                <a:gd name="connsiteY47" fmla="*/ 418828 h 677195"/>
                <a:gd name="connsiteX48" fmla="*/ 451464 w 462342"/>
                <a:gd name="connsiteY48" fmla="*/ 437866 h 677195"/>
                <a:gd name="connsiteX49" fmla="*/ 446025 w 462342"/>
                <a:gd name="connsiteY49" fmla="*/ 454184 h 677195"/>
                <a:gd name="connsiteX50" fmla="*/ 440585 w 462342"/>
                <a:gd name="connsiteY50" fmla="*/ 481380 h 677195"/>
                <a:gd name="connsiteX51" fmla="*/ 432426 w 462342"/>
                <a:gd name="connsiteY51" fmla="*/ 508577 h 677195"/>
                <a:gd name="connsiteX52" fmla="*/ 418828 w 462342"/>
                <a:gd name="connsiteY52" fmla="*/ 530334 h 677195"/>
                <a:gd name="connsiteX53" fmla="*/ 410669 w 462342"/>
                <a:gd name="connsiteY53" fmla="*/ 549371 h 677195"/>
                <a:gd name="connsiteX54" fmla="*/ 391631 w 462342"/>
                <a:gd name="connsiteY54" fmla="*/ 579288 h 677195"/>
                <a:gd name="connsiteX55" fmla="*/ 337238 w 462342"/>
                <a:gd name="connsiteY55" fmla="*/ 630961 h 677195"/>
                <a:gd name="connsiteX56" fmla="*/ 301883 w 462342"/>
                <a:gd name="connsiteY56" fmla="*/ 647279 h 677195"/>
                <a:gd name="connsiteX57" fmla="*/ 263807 w 462342"/>
                <a:gd name="connsiteY57" fmla="*/ 652718 h 677195"/>
                <a:gd name="connsiteX58" fmla="*/ 233891 w 462342"/>
                <a:gd name="connsiteY58" fmla="*/ 649999 h 677195"/>
                <a:gd name="connsiteX59" fmla="*/ 187657 w 462342"/>
                <a:gd name="connsiteY59" fmla="*/ 652718 h 677195"/>
                <a:gd name="connsiteX60" fmla="*/ 171339 w 462342"/>
                <a:gd name="connsiteY60" fmla="*/ 669036 h 677195"/>
                <a:gd name="connsiteX61" fmla="*/ 155021 w 462342"/>
                <a:gd name="connsiteY61" fmla="*/ 671756 h 677195"/>
                <a:gd name="connsiteX62" fmla="*/ 138703 w 462342"/>
                <a:gd name="connsiteY62" fmla="*/ 674476 h 677195"/>
                <a:gd name="connsiteX63" fmla="*/ 125105 w 462342"/>
                <a:gd name="connsiteY63" fmla="*/ 677195 h 677195"/>
                <a:gd name="connsiteX64" fmla="*/ 106067 w 462342"/>
                <a:gd name="connsiteY64" fmla="*/ 671756 h 677195"/>
                <a:gd name="connsiteX65" fmla="*/ 87029 w 462342"/>
                <a:gd name="connsiteY65" fmla="*/ 658158 h 677195"/>
                <a:gd name="connsiteX66" fmla="*/ 81590 w 462342"/>
                <a:gd name="connsiteY66" fmla="*/ 652718 h 677195"/>
                <a:gd name="connsiteX67" fmla="*/ 67992 w 462342"/>
                <a:gd name="connsiteY67" fmla="*/ 652718 h 677195"/>
                <a:gd name="connsiteX68" fmla="*/ 43515 w 462342"/>
                <a:gd name="connsiteY68" fmla="*/ 652718 h 677195"/>
                <a:gd name="connsiteX69" fmla="*/ 16318 w 462342"/>
                <a:gd name="connsiteY69" fmla="*/ 647279 h 677195"/>
                <a:gd name="connsiteX70" fmla="*/ 0 w 462342"/>
                <a:gd name="connsiteY70" fmla="*/ 630961 h 677195"/>
                <a:gd name="connsiteX71" fmla="*/ 5439 w 462342"/>
                <a:gd name="connsiteY71" fmla="*/ 620083 h 677195"/>
                <a:gd name="connsiteX72" fmla="*/ 27197 w 462342"/>
                <a:gd name="connsiteY72" fmla="*/ 611924 h 677195"/>
                <a:gd name="connsiteX73" fmla="*/ 65272 w 462342"/>
                <a:gd name="connsiteY73" fmla="*/ 609204 h 677195"/>
                <a:gd name="connsiteX74" fmla="*/ 65272 w 462342"/>
                <a:gd name="connsiteY74" fmla="*/ 584727 h 677195"/>
                <a:gd name="connsiteX75" fmla="*/ 62552 w 462342"/>
                <a:gd name="connsiteY75" fmla="*/ 456903 h 677195"/>
                <a:gd name="connsiteX76" fmla="*/ 65272 w 462342"/>
                <a:gd name="connsiteY76" fmla="*/ 337238 h 677195"/>
                <a:gd name="connsiteX77" fmla="*/ 67992 w 462342"/>
                <a:gd name="connsiteY77" fmla="*/ 203975 h 677195"/>
                <a:gd name="connsiteX78" fmla="*/ 70712 w 462342"/>
                <a:gd name="connsiteY78" fmla="*/ 119665 h 677195"/>
                <a:gd name="connsiteX79" fmla="*/ 73431 w 462342"/>
                <a:gd name="connsiteY79" fmla="*/ 67992 h 677195"/>
                <a:gd name="connsiteX80" fmla="*/ 67992 w 462342"/>
                <a:gd name="connsiteY80" fmla="*/ 67992 h 677195"/>
                <a:gd name="connsiteX81" fmla="*/ 43515 w 462342"/>
                <a:gd name="connsiteY81" fmla="*/ 67992 h 677195"/>
                <a:gd name="connsiteX82" fmla="*/ 16318 w 462342"/>
                <a:gd name="connsiteY82" fmla="*/ 62552 h 677195"/>
                <a:gd name="connsiteX83" fmla="*/ 0 w 462342"/>
                <a:gd name="connsiteY83" fmla="*/ 46234 h 677195"/>
                <a:gd name="connsiteX84" fmla="*/ 5439 w 462342"/>
                <a:gd name="connsiteY84" fmla="*/ 35356 h 677195"/>
                <a:gd name="connsiteX85" fmla="*/ 27197 w 462342"/>
                <a:gd name="connsiteY85" fmla="*/ 27197 h 677195"/>
                <a:gd name="connsiteX86" fmla="*/ 76151 w 462342"/>
                <a:gd name="connsiteY86" fmla="*/ 21758 h 677195"/>
                <a:gd name="connsiteX87" fmla="*/ 81590 w 462342"/>
                <a:gd name="connsiteY87" fmla="*/ 13598 h 677195"/>
                <a:gd name="connsiteX88" fmla="*/ 97908 w 462342"/>
                <a:gd name="connsiteY88" fmla="*/ 5439 h 677195"/>
                <a:gd name="connsiteX89" fmla="*/ 114226 w 462342"/>
                <a:gd name="connsiteY89" fmla="*/ 0 h 6771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</a:cxnLst>
              <a:rect l="l" t="t" r="r" b="b"/>
              <a:pathLst>
                <a:path w="462342" h="677195">
                  <a:moveTo>
                    <a:pt x="214853" y="65272"/>
                  </a:moveTo>
                  <a:cubicBezTo>
                    <a:pt x="203975" y="65272"/>
                    <a:pt x="195815" y="67992"/>
                    <a:pt x="195815" y="73431"/>
                  </a:cubicBezTo>
                  <a:cubicBezTo>
                    <a:pt x="193096" y="78870"/>
                    <a:pt x="193096" y="100628"/>
                    <a:pt x="193096" y="125105"/>
                  </a:cubicBezTo>
                  <a:cubicBezTo>
                    <a:pt x="193096" y="182217"/>
                    <a:pt x="193096" y="266527"/>
                    <a:pt x="190376" y="280125"/>
                  </a:cubicBezTo>
                  <a:cubicBezTo>
                    <a:pt x="190376" y="288284"/>
                    <a:pt x="190376" y="293723"/>
                    <a:pt x="190376" y="301882"/>
                  </a:cubicBezTo>
                  <a:cubicBezTo>
                    <a:pt x="190376" y="315480"/>
                    <a:pt x="190376" y="329079"/>
                    <a:pt x="193096" y="342677"/>
                  </a:cubicBezTo>
                  <a:cubicBezTo>
                    <a:pt x="193096" y="361715"/>
                    <a:pt x="193096" y="378033"/>
                    <a:pt x="195815" y="397070"/>
                  </a:cubicBezTo>
                  <a:cubicBezTo>
                    <a:pt x="195815" y="413388"/>
                    <a:pt x="195815" y="426986"/>
                    <a:pt x="195815" y="443304"/>
                  </a:cubicBezTo>
                  <a:cubicBezTo>
                    <a:pt x="195815" y="465061"/>
                    <a:pt x="198535" y="508576"/>
                    <a:pt x="195815" y="530333"/>
                  </a:cubicBezTo>
                  <a:cubicBezTo>
                    <a:pt x="195815" y="538492"/>
                    <a:pt x="193096" y="546651"/>
                    <a:pt x="193096" y="554810"/>
                  </a:cubicBezTo>
                  <a:cubicBezTo>
                    <a:pt x="193096" y="560249"/>
                    <a:pt x="190376" y="590166"/>
                    <a:pt x="190376" y="603764"/>
                  </a:cubicBezTo>
                  <a:cubicBezTo>
                    <a:pt x="190376" y="609203"/>
                    <a:pt x="190376" y="611923"/>
                    <a:pt x="198535" y="611923"/>
                  </a:cubicBezTo>
                  <a:cubicBezTo>
                    <a:pt x="206694" y="611923"/>
                    <a:pt x="209414" y="611923"/>
                    <a:pt x="214853" y="611923"/>
                  </a:cubicBezTo>
                  <a:cubicBezTo>
                    <a:pt x="223012" y="611923"/>
                    <a:pt x="220293" y="611923"/>
                    <a:pt x="236610" y="611923"/>
                  </a:cubicBezTo>
                  <a:cubicBezTo>
                    <a:pt x="242050" y="611923"/>
                    <a:pt x="258368" y="601044"/>
                    <a:pt x="263807" y="598325"/>
                  </a:cubicBezTo>
                  <a:cubicBezTo>
                    <a:pt x="266527" y="598325"/>
                    <a:pt x="274686" y="592885"/>
                    <a:pt x="277405" y="592885"/>
                  </a:cubicBezTo>
                  <a:cubicBezTo>
                    <a:pt x="285564" y="587446"/>
                    <a:pt x="288284" y="579287"/>
                    <a:pt x="291004" y="573848"/>
                  </a:cubicBezTo>
                  <a:cubicBezTo>
                    <a:pt x="296443" y="562969"/>
                    <a:pt x="301882" y="554810"/>
                    <a:pt x="307322" y="543931"/>
                  </a:cubicBezTo>
                  <a:cubicBezTo>
                    <a:pt x="315481" y="524894"/>
                    <a:pt x="320920" y="524894"/>
                    <a:pt x="326359" y="481379"/>
                  </a:cubicBezTo>
                  <a:cubicBezTo>
                    <a:pt x="329079" y="456903"/>
                    <a:pt x="334518" y="435145"/>
                    <a:pt x="337238" y="413388"/>
                  </a:cubicBezTo>
                  <a:cubicBezTo>
                    <a:pt x="337238" y="391631"/>
                    <a:pt x="337238" y="369873"/>
                    <a:pt x="337238" y="350836"/>
                  </a:cubicBezTo>
                  <a:cubicBezTo>
                    <a:pt x="337238" y="339957"/>
                    <a:pt x="337238" y="320920"/>
                    <a:pt x="334518" y="296443"/>
                  </a:cubicBezTo>
                  <a:cubicBezTo>
                    <a:pt x="331798" y="269246"/>
                    <a:pt x="329079" y="250209"/>
                    <a:pt x="329079" y="244769"/>
                  </a:cubicBezTo>
                  <a:cubicBezTo>
                    <a:pt x="323640" y="206694"/>
                    <a:pt x="318200" y="174058"/>
                    <a:pt x="307322" y="135983"/>
                  </a:cubicBezTo>
                  <a:cubicBezTo>
                    <a:pt x="304602" y="125105"/>
                    <a:pt x="304602" y="108787"/>
                    <a:pt x="271966" y="78870"/>
                  </a:cubicBezTo>
                  <a:cubicBezTo>
                    <a:pt x="263807" y="73431"/>
                    <a:pt x="233891" y="65272"/>
                    <a:pt x="214853" y="65272"/>
                  </a:cubicBezTo>
                  <a:close/>
                  <a:moveTo>
                    <a:pt x="114226" y="0"/>
                  </a:moveTo>
                  <a:cubicBezTo>
                    <a:pt x="119665" y="0"/>
                    <a:pt x="125105" y="0"/>
                    <a:pt x="127824" y="0"/>
                  </a:cubicBezTo>
                  <a:cubicBezTo>
                    <a:pt x="133264" y="0"/>
                    <a:pt x="141422" y="0"/>
                    <a:pt x="146862" y="2720"/>
                  </a:cubicBezTo>
                  <a:cubicBezTo>
                    <a:pt x="157741" y="5439"/>
                    <a:pt x="165900" y="13598"/>
                    <a:pt x="174059" y="21758"/>
                  </a:cubicBezTo>
                  <a:cubicBezTo>
                    <a:pt x="179498" y="21758"/>
                    <a:pt x="187657" y="21758"/>
                    <a:pt x="193096" y="21758"/>
                  </a:cubicBezTo>
                  <a:cubicBezTo>
                    <a:pt x="212134" y="21758"/>
                    <a:pt x="228452" y="27197"/>
                    <a:pt x="261088" y="27197"/>
                  </a:cubicBezTo>
                  <a:cubicBezTo>
                    <a:pt x="277405" y="27197"/>
                    <a:pt x="293723" y="35356"/>
                    <a:pt x="310042" y="35356"/>
                  </a:cubicBezTo>
                  <a:cubicBezTo>
                    <a:pt x="318200" y="35356"/>
                    <a:pt x="329079" y="35356"/>
                    <a:pt x="334518" y="40795"/>
                  </a:cubicBezTo>
                  <a:cubicBezTo>
                    <a:pt x="342677" y="46234"/>
                    <a:pt x="348117" y="54393"/>
                    <a:pt x="356276" y="59833"/>
                  </a:cubicBezTo>
                  <a:cubicBezTo>
                    <a:pt x="361715" y="65272"/>
                    <a:pt x="369874" y="67992"/>
                    <a:pt x="372593" y="76151"/>
                  </a:cubicBezTo>
                  <a:cubicBezTo>
                    <a:pt x="375313" y="81590"/>
                    <a:pt x="378033" y="89749"/>
                    <a:pt x="380752" y="95188"/>
                  </a:cubicBezTo>
                  <a:cubicBezTo>
                    <a:pt x="386192" y="103347"/>
                    <a:pt x="391631" y="106067"/>
                    <a:pt x="405230" y="114226"/>
                  </a:cubicBezTo>
                  <a:cubicBezTo>
                    <a:pt x="413388" y="119665"/>
                    <a:pt x="410669" y="133263"/>
                    <a:pt x="416108" y="141422"/>
                  </a:cubicBezTo>
                  <a:cubicBezTo>
                    <a:pt x="426987" y="160461"/>
                    <a:pt x="446025" y="182218"/>
                    <a:pt x="451464" y="201256"/>
                  </a:cubicBezTo>
                  <a:cubicBezTo>
                    <a:pt x="456903" y="220293"/>
                    <a:pt x="456903" y="236611"/>
                    <a:pt x="456903" y="252929"/>
                  </a:cubicBezTo>
                  <a:cubicBezTo>
                    <a:pt x="456903" y="266527"/>
                    <a:pt x="456903" y="277406"/>
                    <a:pt x="456903" y="291004"/>
                  </a:cubicBezTo>
                  <a:cubicBezTo>
                    <a:pt x="456903" y="299163"/>
                    <a:pt x="456903" y="307322"/>
                    <a:pt x="459623" y="318201"/>
                  </a:cubicBezTo>
                  <a:cubicBezTo>
                    <a:pt x="459623" y="320921"/>
                    <a:pt x="459623" y="323640"/>
                    <a:pt x="459623" y="326360"/>
                  </a:cubicBezTo>
                  <a:cubicBezTo>
                    <a:pt x="462342" y="331799"/>
                    <a:pt x="459623" y="337238"/>
                    <a:pt x="459623" y="348117"/>
                  </a:cubicBezTo>
                  <a:cubicBezTo>
                    <a:pt x="459623" y="350837"/>
                    <a:pt x="462342" y="361715"/>
                    <a:pt x="462342" y="367155"/>
                  </a:cubicBezTo>
                  <a:cubicBezTo>
                    <a:pt x="462342" y="375314"/>
                    <a:pt x="456903" y="383473"/>
                    <a:pt x="456903" y="391632"/>
                  </a:cubicBezTo>
                  <a:cubicBezTo>
                    <a:pt x="456903" y="399790"/>
                    <a:pt x="456903" y="410669"/>
                    <a:pt x="456903" y="418828"/>
                  </a:cubicBezTo>
                  <a:cubicBezTo>
                    <a:pt x="456903" y="421548"/>
                    <a:pt x="454183" y="429707"/>
                    <a:pt x="451464" y="437866"/>
                  </a:cubicBezTo>
                  <a:cubicBezTo>
                    <a:pt x="448744" y="443305"/>
                    <a:pt x="448744" y="451464"/>
                    <a:pt x="446025" y="454184"/>
                  </a:cubicBezTo>
                  <a:cubicBezTo>
                    <a:pt x="443305" y="462343"/>
                    <a:pt x="440585" y="473221"/>
                    <a:pt x="440585" y="481380"/>
                  </a:cubicBezTo>
                  <a:cubicBezTo>
                    <a:pt x="437865" y="489539"/>
                    <a:pt x="437865" y="500418"/>
                    <a:pt x="432426" y="508577"/>
                  </a:cubicBezTo>
                  <a:cubicBezTo>
                    <a:pt x="429706" y="516736"/>
                    <a:pt x="424267" y="522175"/>
                    <a:pt x="418828" y="530334"/>
                  </a:cubicBezTo>
                  <a:cubicBezTo>
                    <a:pt x="416108" y="535773"/>
                    <a:pt x="413388" y="543932"/>
                    <a:pt x="410669" y="549371"/>
                  </a:cubicBezTo>
                  <a:cubicBezTo>
                    <a:pt x="405230" y="557531"/>
                    <a:pt x="397071" y="573848"/>
                    <a:pt x="391631" y="579288"/>
                  </a:cubicBezTo>
                  <a:cubicBezTo>
                    <a:pt x="369874" y="609204"/>
                    <a:pt x="350836" y="620083"/>
                    <a:pt x="337238" y="630961"/>
                  </a:cubicBezTo>
                  <a:cubicBezTo>
                    <a:pt x="326359" y="639120"/>
                    <a:pt x="315481" y="641840"/>
                    <a:pt x="301883" y="647279"/>
                  </a:cubicBezTo>
                  <a:cubicBezTo>
                    <a:pt x="291004" y="649999"/>
                    <a:pt x="277405" y="652718"/>
                    <a:pt x="263807" y="652718"/>
                  </a:cubicBezTo>
                  <a:cubicBezTo>
                    <a:pt x="252929" y="652718"/>
                    <a:pt x="244770" y="649999"/>
                    <a:pt x="233891" y="649999"/>
                  </a:cubicBezTo>
                  <a:cubicBezTo>
                    <a:pt x="206694" y="649999"/>
                    <a:pt x="217573" y="652718"/>
                    <a:pt x="187657" y="652718"/>
                  </a:cubicBezTo>
                  <a:cubicBezTo>
                    <a:pt x="184937" y="660877"/>
                    <a:pt x="179498" y="666317"/>
                    <a:pt x="171339" y="669036"/>
                  </a:cubicBezTo>
                  <a:cubicBezTo>
                    <a:pt x="165900" y="671756"/>
                    <a:pt x="160460" y="671756"/>
                    <a:pt x="155021" y="671756"/>
                  </a:cubicBezTo>
                  <a:cubicBezTo>
                    <a:pt x="149581" y="671756"/>
                    <a:pt x="144142" y="674476"/>
                    <a:pt x="138703" y="674476"/>
                  </a:cubicBezTo>
                  <a:cubicBezTo>
                    <a:pt x="135983" y="674476"/>
                    <a:pt x="127824" y="677195"/>
                    <a:pt x="125105" y="677195"/>
                  </a:cubicBezTo>
                  <a:cubicBezTo>
                    <a:pt x="116946" y="677195"/>
                    <a:pt x="108787" y="671756"/>
                    <a:pt x="106067" y="671756"/>
                  </a:cubicBezTo>
                  <a:cubicBezTo>
                    <a:pt x="100628" y="669036"/>
                    <a:pt x="95188" y="663597"/>
                    <a:pt x="87029" y="658158"/>
                  </a:cubicBezTo>
                  <a:cubicBezTo>
                    <a:pt x="84310" y="655438"/>
                    <a:pt x="81590" y="655438"/>
                    <a:pt x="81590" y="652718"/>
                  </a:cubicBezTo>
                  <a:cubicBezTo>
                    <a:pt x="73431" y="652718"/>
                    <a:pt x="81590" y="652718"/>
                    <a:pt x="67992" y="652718"/>
                  </a:cubicBezTo>
                  <a:cubicBezTo>
                    <a:pt x="59833" y="652718"/>
                    <a:pt x="51674" y="652718"/>
                    <a:pt x="43515" y="652718"/>
                  </a:cubicBezTo>
                  <a:cubicBezTo>
                    <a:pt x="35356" y="652718"/>
                    <a:pt x="24477" y="652718"/>
                    <a:pt x="16318" y="647279"/>
                  </a:cubicBezTo>
                  <a:cubicBezTo>
                    <a:pt x="8159" y="644559"/>
                    <a:pt x="0" y="636401"/>
                    <a:pt x="0" y="630961"/>
                  </a:cubicBezTo>
                  <a:cubicBezTo>
                    <a:pt x="0" y="625522"/>
                    <a:pt x="0" y="622802"/>
                    <a:pt x="5439" y="620083"/>
                  </a:cubicBezTo>
                  <a:cubicBezTo>
                    <a:pt x="10879" y="617363"/>
                    <a:pt x="21758" y="614643"/>
                    <a:pt x="27197" y="611924"/>
                  </a:cubicBezTo>
                  <a:cubicBezTo>
                    <a:pt x="38076" y="609204"/>
                    <a:pt x="54393" y="609204"/>
                    <a:pt x="65272" y="609204"/>
                  </a:cubicBezTo>
                  <a:cubicBezTo>
                    <a:pt x="65272" y="601045"/>
                    <a:pt x="65272" y="592886"/>
                    <a:pt x="65272" y="584727"/>
                  </a:cubicBezTo>
                  <a:cubicBezTo>
                    <a:pt x="65272" y="541213"/>
                    <a:pt x="62552" y="500418"/>
                    <a:pt x="62552" y="456903"/>
                  </a:cubicBezTo>
                  <a:cubicBezTo>
                    <a:pt x="62552" y="440585"/>
                    <a:pt x="65272" y="397071"/>
                    <a:pt x="65272" y="337238"/>
                  </a:cubicBezTo>
                  <a:cubicBezTo>
                    <a:pt x="65272" y="293724"/>
                    <a:pt x="67992" y="247490"/>
                    <a:pt x="67992" y="203975"/>
                  </a:cubicBezTo>
                  <a:cubicBezTo>
                    <a:pt x="67992" y="179498"/>
                    <a:pt x="67992" y="149582"/>
                    <a:pt x="70712" y="119665"/>
                  </a:cubicBezTo>
                  <a:cubicBezTo>
                    <a:pt x="70712" y="103347"/>
                    <a:pt x="73431" y="84309"/>
                    <a:pt x="73431" y="67992"/>
                  </a:cubicBezTo>
                  <a:cubicBezTo>
                    <a:pt x="73431" y="67992"/>
                    <a:pt x="70712" y="67992"/>
                    <a:pt x="67992" y="67992"/>
                  </a:cubicBezTo>
                  <a:cubicBezTo>
                    <a:pt x="59833" y="67992"/>
                    <a:pt x="51674" y="67992"/>
                    <a:pt x="43515" y="67992"/>
                  </a:cubicBezTo>
                  <a:cubicBezTo>
                    <a:pt x="35356" y="67992"/>
                    <a:pt x="24477" y="67992"/>
                    <a:pt x="16318" y="62552"/>
                  </a:cubicBezTo>
                  <a:cubicBezTo>
                    <a:pt x="8159" y="59833"/>
                    <a:pt x="0" y="51674"/>
                    <a:pt x="0" y="46234"/>
                  </a:cubicBezTo>
                  <a:cubicBezTo>
                    <a:pt x="0" y="43515"/>
                    <a:pt x="0" y="38075"/>
                    <a:pt x="5439" y="35356"/>
                  </a:cubicBezTo>
                  <a:cubicBezTo>
                    <a:pt x="10879" y="32636"/>
                    <a:pt x="21758" y="29916"/>
                    <a:pt x="27197" y="27197"/>
                  </a:cubicBezTo>
                  <a:cubicBezTo>
                    <a:pt x="46234" y="24477"/>
                    <a:pt x="65272" y="21758"/>
                    <a:pt x="76151" y="21758"/>
                  </a:cubicBezTo>
                  <a:cubicBezTo>
                    <a:pt x="76151" y="19038"/>
                    <a:pt x="78871" y="16318"/>
                    <a:pt x="81590" y="13598"/>
                  </a:cubicBezTo>
                  <a:cubicBezTo>
                    <a:pt x="84310" y="10879"/>
                    <a:pt x="92469" y="5439"/>
                    <a:pt x="97908" y="5439"/>
                  </a:cubicBezTo>
                  <a:cubicBezTo>
                    <a:pt x="103347" y="2720"/>
                    <a:pt x="108787" y="0"/>
                    <a:pt x="114226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/>
            </a:p>
          </p:txBody>
        </p:sp>
        <p:sp>
          <p:nvSpPr>
            <p:cNvPr id="47" name="Freeform: Shape 46">
              <a:extLst>
                <a:ext uri="{FF2B5EF4-FFF2-40B4-BE49-F238E27FC236}">
                  <a16:creationId xmlns:a16="http://schemas.microsoft.com/office/drawing/2014/main" id="{DE7CE7BB-5D54-49B3-B53E-541559A726B8}"/>
                </a:ext>
              </a:extLst>
            </p:cNvPr>
            <p:cNvSpPr/>
            <p:nvPr/>
          </p:nvSpPr>
          <p:spPr bwMode="black">
            <a:xfrm>
              <a:off x="7310622" y="4197597"/>
              <a:ext cx="489539" cy="761503"/>
            </a:xfrm>
            <a:custGeom>
              <a:avLst/>
              <a:gdLst>
                <a:gd name="connsiteX0" fmla="*/ 433491 w 489538"/>
                <a:gd name="connsiteY0" fmla="*/ 651063 h 761503"/>
                <a:gd name="connsiteX1" fmla="*/ 438930 w 489538"/>
                <a:gd name="connsiteY1" fmla="*/ 661942 h 761503"/>
                <a:gd name="connsiteX2" fmla="*/ 425332 w 489538"/>
                <a:gd name="connsiteY2" fmla="*/ 683699 h 761503"/>
                <a:gd name="connsiteX3" fmla="*/ 400855 w 489538"/>
                <a:gd name="connsiteY3" fmla="*/ 691858 h 761503"/>
                <a:gd name="connsiteX4" fmla="*/ 343742 w 489538"/>
                <a:gd name="connsiteY4" fmla="*/ 700017 h 761503"/>
                <a:gd name="connsiteX5" fmla="*/ 316546 w 489538"/>
                <a:gd name="connsiteY5" fmla="*/ 705456 h 761503"/>
                <a:gd name="connsiteX6" fmla="*/ 275751 w 489538"/>
                <a:gd name="connsiteY6" fmla="*/ 705456 h 761503"/>
                <a:gd name="connsiteX7" fmla="*/ 264872 w 489538"/>
                <a:gd name="connsiteY7" fmla="*/ 708176 h 761503"/>
                <a:gd name="connsiteX8" fmla="*/ 253994 w 489538"/>
                <a:gd name="connsiteY8" fmla="*/ 708176 h 761503"/>
                <a:gd name="connsiteX9" fmla="*/ 240395 w 489538"/>
                <a:gd name="connsiteY9" fmla="*/ 719054 h 761503"/>
                <a:gd name="connsiteX10" fmla="*/ 224077 w 489538"/>
                <a:gd name="connsiteY10" fmla="*/ 721774 h 761503"/>
                <a:gd name="connsiteX11" fmla="*/ 205040 w 489538"/>
                <a:gd name="connsiteY11" fmla="*/ 724494 h 761503"/>
                <a:gd name="connsiteX12" fmla="*/ 191441 w 489538"/>
                <a:gd name="connsiteY12" fmla="*/ 727213 h 761503"/>
                <a:gd name="connsiteX13" fmla="*/ 169684 w 489538"/>
                <a:gd name="connsiteY13" fmla="*/ 721774 h 761503"/>
                <a:gd name="connsiteX14" fmla="*/ 150646 w 489538"/>
                <a:gd name="connsiteY14" fmla="*/ 708176 h 761503"/>
                <a:gd name="connsiteX15" fmla="*/ 139768 w 489538"/>
                <a:gd name="connsiteY15" fmla="*/ 708176 h 761503"/>
                <a:gd name="connsiteX16" fmla="*/ 120730 w 489538"/>
                <a:gd name="connsiteY16" fmla="*/ 708176 h 761503"/>
                <a:gd name="connsiteX17" fmla="*/ 98973 w 489538"/>
                <a:gd name="connsiteY17" fmla="*/ 708176 h 761503"/>
                <a:gd name="connsiteX18" fmla="*/ 74496 w 489538"/>
                <a:gd name="connsiteY18" fmla="*/ 702736 h 761503"/>
                <a:gd name="connsiteX19" fmla="*/ 58178 w 489538"/>
                <a:gd name="connsiteY19" fmla="*/ 683699 h 761503"/>
                <a:gd name="connsiteX20" fmla="*/ 63617 w 489538"/>
                <a:gd name="connsiteY20" fmla="*/ 675540 h 761503"/>
                <a:gd name="connsiteX21" fmla="*/ 85375 w 489538"/>
                <a:gd name="connsiteY21" fmla="*/ 667381 h 761503"/>
                <a:gd name="connsiteX22" fmla="*/ 128889 w 489538"/>
                <a:gd name="connsiteY22" fmla="*/ 661942 h 761503"/>
                <a:gd name="connsiteX23" fmla="*/ 128889 w 489538"/>
                <a:gd name="connsiteY23" fmla="*/ 602109 h 761503"/>
                <a:gd name="connsiteX24" fmla="*/ 126170 w 489538"/>
                <a:gd name="connsiteY24" fmla="*/ 523239 h 761503"/>
                <a:gd name="connsiteX25" fmla="*/ 126170 w 489538"/>
                <a:gd name="connsiteY25" fmla="*/ 468846 h 761503"/>
                <a:gd name="connsiteX26" fmla="*/ 123450 w 489538"/>
                <a:gd name="connsiteY26" fmla="*/ 409014 h 761503"/>
                <a:gd name="connsiteX27" fmla="*/ 123450 w 489538"/>
                <a:gd name="connsiteY27" fmla="*/ 384537 h 761503"/>
                <a:gd name="connsiteX28" fmla="*/ 126170 w 489538"/>
                <a:gd name="connsiteY28" fmla="*/ 349181 h 761503"/>
                <a:gd name="connsiteX29" fmla="*/ 126170 w 489538"/>
                <a:gd name="connsiteY29" fmla="*/ 324704 h 761503"/>
                <a:gd name="connsiteX30" fmla="*/ 128889 w 489538"/>
                <a:gd name="connsiteY30" fmla="*/ 292068 h 761503"/>
                <a:gd name="connsiteX31" fmla="*/ 134329 w 489538"/>
                <a:gd name="connsiteY31" fmla="*/ 234956 h 761503"/>
                <a:gd name="connsiteX32" fmla="*/ 134329 w 489538"/>
                <a:gd name="connsiteY32" fmla="*/ 172404 h 761503"/>
                <a:gd name="connsiteX33" fmla="*/ 137048 w 489538"/>
                <a:gd name="connsiteY33" fmla="*/ 123450 h 761503"/>
                <a:gd name="connsiteX34" fmla="*/ 123450 w 489538"/>
                <a:gd name="connsiteY34" fmla="*/ 123450 h 761503"/>
                <a:gd name="connsiteX35" fmla="*/ 101693 w 489538"/>
                <a:gd name="connsiteY35" fmla="*/ 123450 h 761503"/>
                <a:gd name="connsiteX36" fmla="*/ 77216 w 489538"/>
                <a:gd name="connsiteY36" fmla="*/ 118011 h 761503"/>
                <a:gd name="connsiteX37" fmla="*/ 60898 w 489538"/>
                <a:gd name="connsiteY37" fmla="*/ 98973 h 761503"/>
                <a:gd name="connsiteX38" fmla="*/ 66337 w 489538"/>
                <a:gd name="connsiteY38" fmla="*/ 90814 h 761503"/>
                <a:gd name="connsiteX39" fmla="*/ 88094 w 489538"/>
                <a:gd name="connsiteY39" fmla="*/ 82655 h 761503"/>
                <a:gd name="connsiteX40" fmla="*/ 145207 w 489538"/>
                <a:gd name="connsiteY40" fmla="*/ 77216 h 761503"/>
                <a:gd name="connsiteX41" fmla="*/ 145207 w 489538"/>
                <a:gd name="connsiteY41" fmla="*/ 77216 h 761503"/>
                <a:gd name="connsiteX42" fmla="*/ 153366 w 489538"/>
                <a:gd name="connsiteY42" fmla="*/ 69057 h 761503"/>
                <a:gd name="connsiteX43" fmla="*/ 177843 w 489538"/>
                <a:gd name="connsiteY43" fmla="*/ 60898 h 761503"/>
                <a:gd name="connsiteX44" fmla="*/ 196881 w 489538"/>
                <a:gd name="connsiteY44" fmla="*/ 58178 h 761503"/>
                <a:gd name="connsiteX45" fmla="*/ 205040 w 489538"/>
                <a:gd name="connsiteY45" fmla="*/ 58178 h 761503"/>
                <a:gd name="connsiteX46" fmla="*/ 215919 w 489538"/>
                <a:gd name="connsiteY46" fmla="*/ 63617 h 761503"/>
                <a:gd name="connsiteX47" fmla="*/ 229517 w 489538"/>
                <a:gd name="connsiteY47" fmla="*/ 69057 h 761503"/>
                <a:gd name="connsiteX48" fmla="*/ 256713 w 489538"/>
                <a:gd name="connsiteY48" fmla="*/ 77216 h 761503"/>
                <a:gd name="connsiteX49" fmla="*/ 264872 w 489538"/>
                <a:gd name="connsiteY49" fmla="*/ 77216 h 761503"/>
                <a:gd name="connsiteX50" fmla="*/ 281190 w 489538"/>
                <a:gd name="connsiteY50" fmla="*/ 77216 h 761503"/>
                <a:gd name="connsiteX51" fmla="*/ 330144 w 489538"/>
                <a:gd name="connsiteY51" fmla="*/ 77216 h 761503"/>
                <a:gd name="connsiteX52" fmla="*/ 357341 w 489538"/>
                <a:gd name="connsiteY52" fmla="*/ 79935 h 761503"/>
                <a:gd name="connsiteX53" fmla="*/ 387257 w 489538"/>
                <a:gd name="connsiteY53" fmla="*/ 82655 h 761503"/>
                <a:gd name="connsiteX54" fmla="*/ 406295 w 489538"/>
                <a:gd name="connsiteY54" fmla="*/ 85375 h 761503"/>
                <a:gd name="connsiteX55" fmla="*/ 417173 w 489538"/>
                <a:gd name="connsiteY55" fmla="*/ 79935 h 761503"/>
                <a:gd name="connsiteX56" fmla="*/ 425332 w 489538"/>
                <a:gd name="connsiteY56" fmla="*/ 85375 h 761503"/>
                <a:gd name="connsiteX57" fmla="*/ 433491 w 489538"/>
                <a:gd name="connsiteY57" fmla="*/ 104412 h 761503"/>
                <a:gd name="connsiteX58" fmla="*/ 436211 w 489538"/>
                <a:gd name="connsiteY58" fmla="*/ 137048 h 761503"/>
                <a:gd name="connsiteX59" fmla="*/ 438930 w 489538"/>
                <a:gd name="connsiteY59" fmla="*/ 183282 h 761503"/>
                <a:gd name="connsiteX60" fmla="*/ 422612 w 489538"/>
                <a:gd name="connsiteY60" fmla="*/ 218638 h 761503"/>
                <a:gd name="connsiteX61" fmla="*/ 406295 w 489538"/>
                <a:gd name="connsiteY61" fmla="*/ 213198 h 761503"/>
                <a:gd name="connsiteX62" fmla="*/ 398136 w 489538"/>
                <a:gd name="connsiteY62" fmla="*/ 196881 h 761503"/>
                <a:gd name="connsiteX63" fmla="*/ 395416 w 489538"/>
                <a:gd name="connsiteY63" fmla="*/ 175123 h 761503"/>
                <a:gd name="connsiteX64" fmla="*/ 395416 w 489538"/>
                <a:gd name="connsiteY64" fmla="*/ 153366 h 761503"/>
                <a:gd name="connsiteX65" fmla="*/ 395416 w 489538"/>
                <a:gd name="connsiteY65" fmla="*/ 126170 h 761503"/>
                <a:gd name="connsiteX66" fmla="*/ 370939 w 489538"/>
                <a:gd name="connsiteY66" fmla="*/ 128889 h 761503"/>
                <a:gd name="connsiteX67" fmla="*/ 338303 w 489538"/>
                <a:gd name="connsiteY67" fmla="*/ 131609 h 761503"/>
                <a:gd name="connsiteX68" fmla="*/ 286629 w 489538"/>
                <a:gd name="connsiteY68" fmla="*/ 134328 h 761503"/>
                <a:gd name="connsiteX69" fmla="*/ 273031 w 489538"/>
                <a:gd name="connsiteY69" fmla="*/ 137048 h 761503"/>
                <a:gd name="connsiteX70" fmla="*/ 262153 w 489538"/>
                <a:gd name="connsiteY70" fmla="*/ 142487 h 761503"/>
                <a:gd name="connsiteX71" fmla="*/ 259433 w 489538"/>
                <a:gd name="connsiteY71" fmla="*/ 153366 h 761503"/>
                <a:gd name="connsiteX72" fmla="*/ 262153 w 489538"/>
                <a:gd name="connsiteY72" fmla="*/ 166964 h 761503"/>
                <a:gd name="connsiteX73" fmla="*/ 262153 w 489538"/>
                <a:gd name="connsiteY73" fmla="*/ 196881 h 761503"/>
                <a:gd name="connsiteX74" fmla="*/ 262153 w 489538"/>
                <a:gd name="connsiteY74" fmla="*/ 215918 h 761503"/>
                <a:gd name="connsiteX75" fmla="*/ 262153 w 489538"/>
                <a:gd name="connsiteY75" fmla="*/ 251274 h 761503"/>
                <a:gd name="connsiteX76" fmla="*/ 259433 w 489538"/>
                <a:gd name="connsiteY76" fmla="*/ 278470 h 761503"/>
                <a:gd name="connsiteX77" fmla="*/ 259433 w 489538"/>
                <a:gd name="connsiteY77" fmla="*/ 308386 h 761503"/>
                <a:gd name="connsiteX78" fmla="*/ 259433 w 489538"/>
                <a:gd name="connsiteY78" fmla="*/ 321985 h 761503"/>
                <a:gd name="connsiteX79" fmla="*/ 259433 w 489538"/>
                <a:gd name="connsiteY79" fmla="*/ 332863 h 761503"/>
                <a:gd name="connsiteX80" fmla="*/ 267592 w 489538"/>
                <a:gd name="connsiteY80" fmla="*/ 335583 h 761503"/>
                <a:gd name="connsiteX81" fmla="*/ 281190 w 489538"/>
                <a:gd name="connsiteY81" fmla="*/ 335583 h 761503"/>
                <a:gd name="connsiteX82" fmla="*/ 327424 w 489538"/>
                <a:gd name="connsiteY82" fmla="*/ 338303 h 761503"/>
                <a:gd name="connsiteX83" fmla="*/ 351901 w 489538"/>
                <a:gd name="connsiteY83" fmla="*/ 341022 h 761503"/>
                <a:gd name="connsiteX84" fmla="*/ 351901 w 489538"/>
                <a:gd name="connsiteY84" fmla="*/ 335583 h 761503"/>
                <a:gd name="connsiteX85" fmla="*/ 351901 w 489538"/>
                <a:gd name="connsiteY85" fmla="*/ 313826 h 761503"/>
                <a:gd name="connsiteX86" fmla="*/ 357341 w 489538"/>
                <a:gd name="connsiteY86" fmla="*/ 289349 h 761503"/>
                <a:gd name="connsiteX87" fmla="*/ 373658 w 489538"/>
                <a:gd name="connsiteY87" fmla="*/ 273031 h 761503"/>
                <a:gd name="connsiteX88" fmla="*/ 381817 w 489538"/>
                <a:gd name="connsiteY88" fmla="*/ 278470 h 761503"/>
                <a:gd name="connsiteX89" fmla="*/ 389977 w 489538"/>
                <a:gd name="connsiteY89" fmla="*/ 300228 h 761503"/>
                <a:gd name="connsiteX90" fmla="*/ 395416 w 489538"/>
                <a:gd name="connsiteY90" fmla="*/ 351901 h 761503"/>
                <a:gd name="connsiteX91" fmla="*/ 398136 w 489538"/>
                <a:gd name="connsiteY91" fmla="*/ 409014 h 761503"/>
                <a:gd name="connsiteX92" fmla="*/ 381817 w 489538"/>
                <a:gd name="connsiteY92" fmla="*/ 444369 h 761503"/>
                <a:gd name="connsiteX93" fmla="*/ 365500 w 489538"/>
                <a:gd name="connsiteY93" fmla="*/ 438930 h 761503"/>
                <a:gd name="connsiteX94" fmla="*/ 357341 w 489538"/>
                <a:gd name="connsiteY94" fmla="*/ 422612 h 761503"/>
                <a:gd name="connsiteX95" fmla="*/ 354621 w 489538"/>
                <a:gd name="connsiteY95" fmla="*/ 400855 h 761503"/>
                <a:gd name="connsiteX96" fmla="*/ 354621 w 489538"/>
                <a:gd name="connsiteY96" fmla="*/ 381817 h 761503"/>
                <a:gd name="connsiteX97" fmla="*/ 270312 w 489538"/>
                <a:gd name="connsiteY97" fmla="*/ 381817 h 761503"/>
                <a:gd name="connsiteX98" fmla="*/ 256713 w 489538"/>
                <a:gd name="connsiteY98" fmla="*/ 395415 h 761503"/>
                <a:gd name="connsiteX99" fmla="*/ 253994 w 489538"/>
                <a:gd name="connsiteY99" fmla="*/ 422612 h 761503"/>
                <a:gd name="connsiteX100" fmla="*/ 253994 w 489538"/>
                <a:gd name="connsiteY100" fmla="*/ 433490 h 761503"/>
                <a:gd name="connsiteX101" fmla="*/ 253994 w 489538"/>
                <a:gd name="connsiteY101" fmla="*/ 449809 h 761503"/>
                <a:gd name="connsiteX102" fmla="*/ 256713 w 489538"/>
                <a:gd name="connsiteY102" fmla="*/ 474285 h 761503"/>
                <a:gd name="connsiteX103" fmla="*/ 256713 w 489538"/>
                <a:gd name="connsiteY103" fmla="*/ 496043 h 761503"/>
                <a:gd name="connsiteX104" fmla="*/ 259433 w 489538"/>
                <a:gd name="connsiteY104" fmla="*/ 534118 h 761503"/>
                <a:gd name="connsiteX105" fmla="*/ 259433 w 489538"/>
                <a:gd name="connsiteY105" fmla="*/ 591231 h 761503"/>
                <a:gd name="connsiteX106" fmla="*/ 262153 w 489538"/>
                <a:gd name="connsiteY106" fmla="*/ 618427 h 761503"/>
                <a:gd name="connsiteX107" fmla="*/ 267592 w 489538"/>
                <a:gd name="connsiteY107" fmla="*/ 648343 h 761503"/>
                <a:gd name="connsiteX108" fmla="*/ 292069 w 489538"/>
                <a:gd name="connsiteY108" fmla="*/ 651063 h 761503"/>
                <a:gd name="connsiteX109" fmla="*/ 327424 w 489538"/>
                <a:gd name="connsiteY109" fmla="*/ 651063 h 761503"/>
                <a:gd name="connsiteX110" fmla="*/ 362780 w 489538"/>
                <a:gd name="connsiteY110" fmla="*/ 653783 h 761503"/>
                <a:gd name="connsiteX111" fmla="*/ 395416 w 489538"/>
                <a:gd name="connsiteY111" fmla="*/ 648343 h 761503"/>
                <a:gd name="connsiteX112" fmla="*/ 395416 w 489538"/>
                <a:gd name="connsiteY112" fmla="*/ 618427 h 761503"/>
                <a:gd name="connsiteX113" fmla="*/ 395416 w 489538"/>
                <a:gd name="connsiteY113" fmla="*/ 596670 h 761503"/>
                <a:gd name="connsiteX114" fmla="*/ 398136 w 489538"/>
                <a:gd name="connsiteY114" fmla="*/ 574913 h 761503"/>
                <a:gd name="connsiteX115" fmla="*/ 406295 w 489538"/>
                <a:gd name="connsiteY115" fmla="*/ 558595 h 761503"/>
                <a:gd name="connsiteX116" fmla="*/ 422612 w 489538"/>
                <a:gd name="connsiteY116" fmla="*/ 553155 h 761503"/>
                <a:gd name="connsiteX117" fmla="*/ 438930 w 489538"/>
                <a:gd name="connsiteY117" fmla="*/ 588511 h 761503"/>
                <a:gd name="connsiteX118" fmla="*/ 436211 w 489538"/>
                <a:gd name="connsiteY118" fmla="*/ 645624 h 761503"/>
                <a:gd name="connsiteX119" fmla="*/ 433491 w 489538"/>
                <a:gd name="connsiteY119" fmla="*/ 651063 h 761503"/>
                <a:gd name="connsiteX120" fmla="*/ 433491 w 489538"/>
                <a:gd name="connsiteY120" fmla="*/ 651063 h 761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</a:cxnLst>
              <a:rect l="l" t="t" r="r" b="b"/>
              <a:pathLst>
                <a:path w="489538" h="761503">
                  <a:moveTo>
                    <a:pt x="433491" y="651063"/>
                  </a:moveTo>
                  <a:cubicBezTo>
                    <a:pt x="436211" y="653783"/>
                    <a:pt x="438930" y="656502"/>
                    <a:pt x="438930" y="661942"/>
                  </a:cubicBezTo>
                  <a:cubicBezTo>
                    <a:pt x="438930" y="670101"/>
                    <a:pt x="433491" y="678259"/>
                    <a:pt x="425332" y="683699"/>
                  </a:cubicBezTo>
                  <a:cubicBezTo>
                    <a:pt x="417173" y="689138"/>
                    <a:pt x="409014" y="689138"/>
                    <a:pt x="400855" y="691858"/>
                  </a:cubicBezTo>
                  <a:cubicBezTo>
                    <a:pt x="381817" y="694578"/>
                    <a:pt x="362780" y="694578"/>
                    <a:pt x="343742" y="700017"/>
                  </a:cubicBezTo>
                  <a:cubicBezTo>
                    <a:pt x="335583" y="702736"/>
                    <a:pt x="324705" y="702736"/>
                    <a:pt x="316546" y="705456"/>
                  </a:cubicBezTo>
                  <a:cubicBezTo>
                    <a:pt x="308387" y="705456"/>
                    <a:pt x="289349" y="705456"/>
                    <a:pt x="275751" y="705456"/>
                  </a:cubicBezTo>
                  <a:cubicBezTo>
                    <a:pt x="270312" y="705456"/>
                    <a:pt x="267592" y="708176"/>
                    <a:pt x="264872" y="708176"/>
                  </a:cubicBezTo>
                  <a:cubicBezTo>
                    <a:pt x="264872" y="708176"/>
                    <a:pt x="259433" y="708176"/>
                    <a:pt x="253994" y="708176"/>
                  </a:cubicBezTo>
                  <a:cubicBezTo>
                    <a:pt x="251274" y="713615"/>
                    <a:pt x="245835" y="716335"/>
                    <a:pt x="240395" y="719054"/>
                  </a:cubicBezTo>
                  <a:cubicBezTo>
                    <a:pt x="234956" y="721774"/>
                    <a:pt x="229517" y="721774"/>
                    <a:pt x="224077" y="721774"/>
                  </a:cubicBezTo>
                  <a:cubicBezTo>
                    <a:pt x="218638" y="721774"/>
                    <a:pt x="213199" y="724494"/>
                    <a:pt x="205040" y="724494"/>
                  </a:cubicBezTo>
                  <a:cubicBezTo>
                    <a:pt x="202320" y="724494"/>
                    <a:pt x="194161" y="727213"/>
                    <a:pt x="191441" y="727213"/>
                  </a:cubicBezTo>
                  <a:cubicBezTo>
                    <a:pt x="183282" y="727213"/>
                    <a:pt x="172404" y="721774"/>
                    <a:pt x="169684" y="721774"/>
                  </a:cubicBezTo>
                  <a:cubicBezTo>
                    <a:pt x="164245" y="719054"/>
                    <a:pt x="156086" y="713615"/>
                    <a:pt x="150646" y="708176"/>
                  </a:cubicBezTo>
                  <a:cubicBezTo>
                    <a:pt x="145207" y="708176"/>
                    <a:pt x="139768" y="708176"/>
                    <a:pt x="139768" y="708176"/>
                  </a:cubicBezTo>
                  <a:cubicBezTo>
                    <a:pt x="126170" y="708176"/>
                    <a:pt x="137048" y="708176"/>
                    <a:pt x="120730" y="708176"/>
                  </a:cubicBezTo>
                  <a:cubicBezTo>
                    <a:pt x="112571" y="708176"/>
                    <a:pt x="104412" y="708176"/>
                    <a:pt x="98973" y="708176"/>
                  </a:cubicBezTo>
                  <a:cubicBezTo>
                    <a:pt x="90814" y="708176"/>
                    <a:pt x="79936" y="708176"/>
                    <a:pt x="74496" y="702736"/>
                  </a:cubicBezTo>
                  <a:cubicBezTo>
                    <a:pt x="66337" y="700017"/>
                    <a:pt x="58178" y="689138"/>
                    <a:pt x="58178" y="683699"/>
                  </a:cubicBezTo>
                  <a:cubicBezTo>
                    <a:pt x="58178" y="680979"/>
                    <a:pt x="58178" y="678259"/>
                    <a:pt x="63617" y="675540"/>
                  </a:cubicBezTo>
                  <a:cubicBezTo>
                    <a:pt x="69057" y="672820"/>
                    <a:pt x="77216" y="670101"/>
                    <a:pt x="85375" y="667381"/>
                  </a:cubicBezTo>
                  <a:cubicBezTo>
                    <a:pt x="98973" y="664661"/>
                    <a:pt x="115291" y="664661"/>
                    <a:pt x="128889" y="661942"/>
                  </a:cubicBezTo>
                  <a:cubicBezTo>
                    <a:pt x="128889" y="645624"/>
                    <a:pt x="128889" y="623866"/>
                    <a:pt x="128889" y="602109"/>
                  </a:cubicBezTo>
                  <a:cubicBezTo>
                    <a:pt x="128889" y="566754"/>
                    <a:pt x="128889" y="531398"/>
                    <a:pt x="126170" y="523239"/>
                  </a:cubicBezTo>
                  <a:cubicBezTo>
                    <a:pt x="126170" y="517800"/>
                    <a:pt x="126170" y="487884"/>
                    <a:pt x="126170" y="468846"/>
                  </a:cubicBezTo>
                  <a:cubicBezTo>
                    <a:pt x="126170" y="449809"/>
                    <a:pt x="123450" y="430771"/>
                    <a:pt x="123450" y="409014"/>
                  </a:cubicBezTo>
                  <a:cubicBezTo>
                    <a:pt x="123450" y="400855"/>
                    <a:pt x="123450" y="392696"/>
                    <a:pt x="123450" y="384537"/>
                  </a:cubicBezTo>
                  <a:cubicBezTo>
                    <a:pt x="123450" y="373658"/>
                    <a:pt x="126170" y="360060"/>
                    <a:pt x="126170" y="349181"/>
                  </a:cubicBezTo>
                  <a:cubicBezTo>
                    <a:pt x="126170" y="341022"/>
                    <a:pt x="126170" y="332863"/>
                    <a:pt x="126170" y="324704"/>
                  </a:cubicBezTo>
                  <a:cubicBezTo>
                    <a:pt x="126170" y="313826"/>
                    <a:pt x="126170" y="302947"/>
                    <a:pt x="128889" y="292068"/>
                  </a:cubicBezTo>
                  <a:cubicBezTo>
                    <a:pt x="131609" y="273031"/>
                    <a:pt x="134329" y="253993"/>
                    <a:pt x="134329" y="234956"/>
                  </a:cubicBezTo>
                  <a:cubicBezTo>
                    <a:pt x="134329" y="213198"/>
                    <a:pt x="134329" y="191441"/>
                    <a:pt x="134329" y="172404"/>
                  </a:cubicBezTo>
                  <a:cubicBezTo>
                    <a:pt x="134329" y="156086"/>
                    <a:pt x="134329" y="139768"/>
                    <a:pt x="137048" y="123450"/>
                  </a:cubicBezTo>
                  <a:cubicBezTo>
                    <a:pt x="131609" y="123450"/>
                    <a:pt x="134329" y="123450"/>
                    <a:pt x="123450" y="123450"/>
                  </a:cubicBezTo>
                  <a:cubicBezTo>
                    <a:pt x="115291" y="123450"/>
                    <a:pt x="107132" y="123450"/>
                    <a:pt x="101693" y="123450"/>
                  </a:cubicBezTo>
                  <a:cubicBezTo>
                    <a:pt x="93534" y="123450"/>
                    <a:pt x="82655" y="123450"/>
                    <a:pt x="77216" y="118011"/>
                  </a:cubicBezTo>
                  <a:cubicBezTo>
                    <a:pt x="69057" y="115291"/>
                    <a:pt x="60898" y="101693"/>
                    <a:pt x="60898" y="98973"/>
                  </a:cubicBezTo>
                  <a:cubicBezTo>
                    <a:pt x="60898" y="96253"/>
                    <a:pt x="60898" y="93534"/>
                    <a:pt x="66337" y="90814"/>
                  </a:cubicBezTo>
                  <a:cubicBezTo>
                    <a:pt x="71777" y="88094"/>
                    <a:pt x="79936" y="85375"/>
                    <a:pt x="88094" y="82655"/>
                  </a:cubicBezTo>
                  <a:cubicBezTo>
                    <a:pt x="104412" y="79935"/>
                    <a:pt x="131609" y="77216"/>
                    <a:pt x="145207" y="77216"/>
                  </a:cubicBezTo>
                  <a:cubicBezTo>
                    <a:pt x="145207" y="77216"/>
                    <a:pt x="145207" y="77216"/>
                    <a:pt x="145207" y="77216"/>
                  </a:cubicBezTo>
                  <a:cubicBezTo>
                    <a:pt x="145207" y="74496"/>
                    <a:pt x="150646" y="71776"/>
                    <a:pt x="153366" y="69057"/>
                  </a:cubicBezTo>
                  <a:cubicBezTo>
                    <a:pt x="161525" y="63617"/>
                    <a:pt x="169684" y="63617"/>
                    <a:pt x="177843" y="60898"/>
                  </a:cubicBezTo>
                  <a:cubicBezTo>
                    <a:pt x="183282" y="58178"/>
                    <a:pt x="191441" y="58178"/>
                    <a:pt x="196881" y="58178"/>
                  </a:cubicBezTo>
                  <a:cubicBezTo>
                    <a:pt x="199600" y="58178"/>
                    <a:pt x="202320" y="58178"/>
                    <a:pt x="205040" y="58178"/>
                  </a:cubicBezTo>
                  <a:cubicBezTo>
                    <a:pt x="207759" y="58178"/>
                    <a:pt x="213199" y="60898"/>
                    <a:pt x="215919" y="63617"/>
                  </a:cubicBezTo>
                  <a:cubicBezTo>
                    <a:pt x="221358" y="66337"/>
                    <a:pt x="224077" y="66337"/>
                    <a:pt x="229517" y="69057"/>
                  </a:cubicBezTo>
                  <a:cubicBezTo>
                    <a:pt x="237675" y="71776"/>
                    <a:pt x="245835" y="77216"/>
                    <a:pt x="256713" y="77216"/>
                  </a:cubicBezTo>
                  <a:cubicBezTo>
                    <a:pt x="259433" y="77216"/>
                    <a:pt x="262153" y="77216"/>
                    <a:pt x="264872" y="77216"/>
                  </a:cubicBezTo>
                  <a:cubicBezTo>
                    <a:pt x="270312" y="77216"/>
                    <a:pt x="275751" y="77216"/>
                    <a:pt x="281190" y="77216"/>
                  </a:cubicBezTo>
                  <a:cubicBezTo>
                    <a:pt x="292069" y="77216"/>
                    <a:pt x="321985" y="77216"/>
                    <a:pt x="330144" y="77216"/>
                  </a:cubicBezTo>
                  <a:cubicBezTo>
                    <a:pt x="338303" y="77216"/>
                    <a:pt x="349182" y="77216"/>
                    <a:pt x="357341" y="79935"/>
                  </a:cubicBezTo>
                  <a:cubicBezTo>
                    <a:pt x="368219" y="79935"/>
                    <a:pt x="379098" y="82655"/>
                    <a:pt x="387257" y="82655"/>
                  </a:cubicBezTo>
                  <a:cubicBezTo>
                    <a:pt x="392696" y="82655"/>
                    <a:pt x="400855" y="85375"/>
                    <a:pt x="406295" y="85375"/>
                  </a:cubicBezTo>
                  <a:cubicBezTo>
                    <a:pt x="409014" y="82655"/>
                    <a:pt x="414453" y="79935"/>
                    <a:pt x="417173" y="79935"/>
                  </a:cubicBezTo>
                  <a:cubicBezTo>
                    <a:pt x="419893" y="79935"/>
                    <a:pt x="422612" y="79935"/>
                    <a:pt x="425332" y="85375"/>
                  </a:cubicBezTo>
                  <a:cubicBezTo>
                    <a:pt x="428052" y="90814"/>
                    <a:pt x="433491" y="98973"/>
                    <a:pt x="433491" y="104412"/>
                  </a:cubicBezTo>
                  <a:cubicBezTo>
                    <a:pt x="436211" y="131609"/>
                    <a:pt x="436211" y="120730"/>
                    <a:pt x="436211" y="137048"/>
                  </a:cubicBezTo>
                  <a:cubicBezTo>
                    <a:pt x="438930" y="158805"/>
                    <a:pt x="438930" y="158805"/>
                    <a:pt x="438930" y="183282"/>
                  </a:cubicBezTo>
                  <a:cubicBezTo>
                    <a:pt x="438930" y="194161"/>
                    <a:pt x="438930" y="218638"/>
                    <a:pt x="422612" y="218638"/>
                  </a:cubicBezTo>
                  <a:cubicBezTo>
                    <a:pt x="414453" y="218638"/>
                    <a:pt x="411734" y="215918"/>
                    <a:pt x="406295" y="213198"/>
                  </a:cubicBezTo>
                  <a:cubicBezTo>
                    <a:pt x="400855" y="210479"/>
                    <a:pt x="398136" y="202320"/>
                    <a:pt x="398136" y="196881"/>
                  </a:cubicBezTo>
                  <a:cubicBezTo>
                    <a:pt x="395416" y="188722"/>
                    <a:pt x="395416" y="183282"/>
                    <a:pt x="395416" y="175123"/>
                  </a:cubicBezTo>
                  <a:cubicBezTo>
                    <a:pt x="395416" y="169684"/>
                    <a:pt x="395416" y="164245"/>
                    <a:pt x="395416" y="153366"/>
                  </a:cubicBezTo>
                  <a:cubicBezTo>
                    <a:pt x="395416" y="145207"/>
                    <a:pt x="395416" y="134328"/>
                    <a:pt x="395416" y="126170"/>
                  </a:cubicBezTo>
                  <a:cubicBezTo>
                    <a:pt x="387257" y="128889"/>
                    <a:pt x="379098" y="128889"/>
                    <a:pt x="370939" y="128889"/>
                  </a:cubicBezTo>
                  <a:cubicBezTo>
                    <a:pt x="360060" y="128889"/>
                    <a:pt x="349182" y="128889"/>
                    <a:pt x="338303" y="131609"/>
                  </a:cubicBezTo>
                  <a:cubicBezTo>
                    <a:pt x="327424" y="131609"/>
                    <a:pt x="319265" y="134328"/>
                    <a:pt x="286629" y="134328"/>
                  </a:cubicBezTo>
                  <a:cubicBezTo>
                    <a:pt x="281190" y="134328"/>
                    <a:pt x="278470" y="134328"/>
                    <a:pt x="273031" y="137048"/>
                  </a:cubicBezTo>
                  <a:cubicBezTo>
                    <a:pt x="270312" y="137048"/>
                    <a:pt x="264872" y="137048"/>
                    <a:pt x="262153" y="142487"/>
                  </a:cubicBezTo>
                  <a:cubicBezTo>
                    <a:pt x="259433" y="145207"/>
                    <a:pt x="259433" y="150647"/>
                    <a:pt x="259433" y="153366"/>
                  </a:cubicBezTo>
                  <a:cubicBezTo>
                    <a:pt x="259433" y="158805"/>
                    <a:pt x="259433" y="164245"/>
                    <a:pt x="262153" y="166964"/>
                  </a:cubicBezTo>
                  <a:cubicBezTo>
                    <a:pt x="262153" y="177843"/>
                    <a:pt x="262153" y="186002"/>
                    <a:pt x="262153" y="196881"/>
                  </a:cubicBezTo>
                  <a:cubicBezTo>
                    <a:pt x="262153" y="202320"/>
                    <a:pt x="262153" y="210479"/>
                    <a:pt x="262153" y="215918"/>
                  </a:cubicBezTo>
                  <a:cubicBezTo>
                    <a:pt x="262153" y="229516"/>
                    <a:pt x="262153" y="240395"/>
                    <a:pt x="262153" y="251274"/>
                  </a:cubicBezTo>
                  <a:cubicBezTo>
                    <a:pt x="262153" y="259433"/>
                    <a:pt x="259433" y="270311"/>
                    <a:pt x="259433" y="278470"/>
                  </a:cubicBezTo>
                  <a:cubicBezTo>
                    <a:pt x="259433" y="289349"/>
                    <a:pt x="259433" y="297508"/>
                    <a:pt x="259433" y="308386"/>
                  </a:cubicBezTo>
                  <a:cubicBezTo>
                    <a:pt x="259433" y="313826"/>
                    <a:pt x="259433" y="319265"/>
                    <a:pt x="259433" y="321985"/>
                  </a:cubicBezTo>
                  <a:cubicBezTo>
                    <a:pt x="259433" y="324704"/>
                    <a:pt x="259433" y="330144"/>
                    <a:pt x="259433" y="332863"/>
                  </a:cubicBezTo>
                  <a:cubicBezTo>
                    <a:pt x="262153" y="335583"/>
                    <a:pt x="264872" y="335583"/>
                    <a:pt x="267592" y="335583"/>
                  </a:cubicBezTo>
                  <a:cubicBezTo>
                    <a:pt x="273031" y="335583"/>
                    <a:pt x="275751" y="335583"/>
                    <a:pt x="281190" y="335583"/>
                  </a:cubicBezTo>
                  <a:cubicBezTo>
                    <a:pt x="311107" y="335583"/>
                    <a:pt x="319265" y="335583"/>
                    <a:pt x="327424" y="338303"/>
                  </a:cubicBezTo>
                  <a:cubicBezTo>
                    <a:pt x="335583" y="341022"/>
                    <a:pt x="343742" y="341022"/>
                    <a:pt x="351901" y="341022"/>
                  </a:cubicBezTo>
                  <a:cubicBezTo>
                    <a:pt x="351901" y="338303"/>
                    <a:pt x="351901" y="338303"/>
                    <a:pt x="351901" y="335583"/>
                  </a:cubicBezTo>
                  <a:cubicBezTo>
                    <a:pt x="351901" y="327424"/>
                    <a:pt x="351901" y="319265"/>
                    <a:pt x="351901" y="313826"/>
                  </a:cubicBezTo>
                  <a:cubicBezTo>
                    <a:pt x="351901" y="305667"/>
                    <a:pt x="351901" y="294788"/>
                    <a:pt x="357341" y="289349"/>
                  </a:cubicBezTo>
                  <a:cubicBezTo>
                    <a:pt x="360060" y="281190"/>
                    <a:pt x="368219" y="273031"/>
                    <a:pt x="373658" y="273031"/>
                  </a:cubicBezTo>
                  <a:cubicBezTo>
                    <a:pt x="376378" y="273031"/>
                    <a:pt x="379098" y="273031"/>
                    <a:pt x="381817" y="278470"/>
                  </a:cubicBezTo>
                  <a:cubicBezTo>
                    <a:pt x="384537" y="283909"/>
                    <a:pt x="387257" y="292068"/>
                    <a:pt x="389977" y="300228"/>
                  </a:cubicBezTo>
                  <a:cubicBezTo>
                    <a:pt x="392696" y="316545"/>
                    <a:pt x="392696" y="335583"/>
                    <a:pt x="395416" y="351901"/>
                  </a:cubicBezTo>
                  <a:cubicBezTo>
                    <a:pt x="398136" y="373658"/>
                    <a:pt x="398136" y="384537"/>
                    <a:pt x="398136" y="409014"/>
                  </a:cubicBezTo>
                  <a:cubicBezTo>
                    <a:pt x="398136" y="422612"/>
                    <a:pt x="398136" y="444369"/>
                    <a:pt x="381817" y="444369"/>
                  </a:cubicBezTo>
                  <a:cubicBezTo>
                    <a:pt x="373658" y="444369"/>
                    <a:pt x="370939" y="441650"/>
                    <a:pt x="365500" y="438930"/>
                  </a:cubicBezTo>
                  <a:cubicBezTo>
                    <a:pt x="360060" y="436210"/>
                    <a:pt x="357341" y="428051"/>
                    <a:pt x="357341" y="422612"/>
                  </a:cubicBezTo>
                  <a:cubicBezTo>
                    <a:pt x="354621" y="414453"/>
                    <a:pt x="354621" y="409014"/>
                    <a:pt x="354621" y="400855"/>
                  </a:cubicBezTo>
                  <a:cubicBezTo>
                    <a:pt x="354621" y="395415"/>
                    <a:pt x="354621" y="389976"/>
                    <a:pt x="354621" y="381817"/>
                  </a:cubicBezTo>
                  <a:cubicBezTo>
                    <a:pt x="335583" y="381817"/>
                    <a:pt x="308387" y="384537"/>
                    <a:pt x="270312" y="381817"/>
                  </a:cubicBezTo>
                  <a:cubicBezTo>
                    <a:pt x="262153" y="381817"/>
                    <a:pt x="256713" y="387256"/>
                    <a:pt x="256713" y="395415"/>
                  </a:cubicBezTo>
                  <a:cubicBezTo>
                    <a:pt x="256713" y="403574"/>
                    <a:pt x="256713" y="414453"/>
                    <a:pt x="253994" y="422612"/>
                  </a:cubicBezTo>
                  <a:cubicBezTo>
                    <a:pt x="253994" y="425332"/>
                    <a:pt x="253994" y="430771"/>
                    <a:pt x="253994" y="433490"/>
                  </a:cubicBezTo>
                  <a:cubicBezTo>
                    <a:pt x="253994" y="438930"/>
                    <a:pt x="253994" y="444369"/>
                    <a:pt x="253994" y="449809"/>
                  </a:cubicBezTo>
                  <a:cubicBezTo>
                    <a:pt x="253994" y="457967"/>
                    <a:pt x="256713" y="466126"/>
                    <a:pt x="256713" y="474285"/>
                  </a:cubicBezTo>
                  <a:cubicBezTo>
                    <a:pt x="256713" y="482444"/>
                    <a:pt x="256713" y="490603"/>
                    <a:pt x="256713" y="496043"/>
                  </a:cubicBezTo>
                  <a:cubicBezTo>
                    <a:pt x="256713" y="509641"/>
                    <a:pt x="259433" y="520520"/>
                    <a:pt x="259433" y="534118"/>
                  </a:cubicBezTo>
                  <a:cubicBezTo>
                    <a:pt x="259433" y="553155"/>
                    <a:pt x="259433" y="572193"/>
                    <a:pt x="259433" y="591231"/>
                  </a:cubicBezTo>
                  <a:cubicBezTo>
                    <a:pt x="259433" y="602109"/>
                    <a:pt x="262153" y="610268"/>
                    <a:pt x="262153" y="618427"/>
                  </a:cubicBezTo>
                  <a:cubicBezTo>
                    <a:pt x="264872" y="626586"/>
                    <a:pt x="262153" y="642904"/>
                    <a:pt x="267592" y="648343"/>
                  </a:cubicBezTo>
                  <a:cubicBezTo>
                    <a:pt x="270312" y="651063"/>
                    <a:pt x="275751" y="651063"/>
                    <a:pt x="292069" y="651063"/>
                  </a:cubicBezTo>
                  <a:cubicBezTo>
                    <a:pt x="305667" y="651063"/>
                    <a:pt x="319265" y="651063"/>
                    <a:pt x="327424" y="651063"/>
                  </a:cubicBezTo>
                  <a:cubicBezTo>
                    <a:pt x="338303" y="651063"/>
                    <a:pt x="351901" y="653783"/>
                    <a:pt x="362780" y="653783"/>
                  </a:cubicBezTo>
                  <a:cubicBezTo>
                    <a:pt x="376378" y="653783"/>
                    <a:pt x="384537" y="651063"/>
                    <a:pt x="395416" y="648343"/>
                  </a:cubicBezTo>
                  <a:cubicBezTo>
                    <a:pt x="395416" y="637465"/>
                    <a:pt x="395416" y="629306"/>
                    <a:pt x="395416" y="618427"/>
                  </a:cubicBezTo>
                  <a:cubicBezTo>
                    <a:pt x="395416" y="610268"/>
                    <a:pt x="395416" y="602109"/>
                    <a:pt x="395416" y="596670"/>
                  </a:cubicBezTo>
                  <a:cubicBezTo>
                    <a:pt x="395416" y="591231"/>
                    <a:pt x="395416" y="585791"/>
                    <a:pt x="398136" y="574913"/>
                  </a:cubicBezTo>
                  <a:cubicBezTo>
                    <a:pt x="400855" y="569473"/>
                    <a:pt x="400855" y="564034"/>
                    <a:pt x="406295" y="558595"/>
                  </a:cubicBezTo>
                  <a:cubicBezTo>
                    <a:pt x="411734" y="553155"/>
                    <a:pt x="414453" y="553155"/>
                    <a:pt x="422612" y="553155"/>
                  </a:cubicBezTo>
                  <a:cubicBezTo>
                    <a:pt x="436211" y="553155"/>
                    <a:pt x="438930" y="577632"/>
                    <a:pt x="438930" y="588511"/>
                  </a:cubicBezTo>
                  <a:cubicBezTo>
                    <a:pt x="438930" y="612988"/>
                    <a:pt x="438930" y="623866"/>
                    <a:pt x="436211" y="645624"/>
                  </a:cubicBezTo>
                  <a:cubicBezTo>
                    <a:pt x="433491" y="648343"/>
                    <a:pt x="433491" y="648343"/>
                    <a:pt x="433491" y="651063"/>
                  </a:cubicBezTo>
                  <a:lnTo>
                    <a:pt x="433491" y="651063"/>
                  </a:ln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/>
            </a:p>
          </p:txBody>
        </p:sp>
        <p:sp>
          <p:nvSpPr>
            <p:cNvPr id="48" name="Freeform: Shape 47">
              <a:extLst>
                <a:ext uri="{FF2B5EF4-FFF2-40B4-BE49-F238E27FC236}">
                  <a16:creationId xmlns:a16="http://schemas.microsoft.com/office/drawing/2014/main" id="{E0134D3C-A529-412E-B918-F35B50DB4607}"/>
                </a:ext>
              </a:extLst>
            </p:cNvPr>
            <p:cNvSpPr/>
            <p:nvPr/>
          </p:nvSpPr>
          <p:spPr bwMode="black">
            <a:xfrm>
              <a:off x="7912732" y="4250336"/>
              <a:ext cx="465062" cy="658157"/>
            </a:xfrm>
            <a:custGeom>
              <a:avLst/>
              <a:gdLst>
                <a:gd name="connsiteX0" fmla="*/ 193096 w 465062"/>
                <a:gd name="connsiteY0" fmla="*/ 59832 h 658157"/>
                <a:gd name="connsiteX1" fmla="*/ 193096 w 465062"/>
                <a:gd name="connsiteY1" fmla="*/ 114226 h 658157"/>
                <a:gd name="connsiteX2" fmla="*/ 198536 w 465062"/>
                <a:gd name="connsiteY2" fmla="*/ 209414 h 658157"/>
                <a:gd name="connsiteX3" fmla="*/ 201255 w 465062"/>
                <a:gd name="connsiteY3" fmla="*/ 282845 h 658157"/>
                <a:gd name="connsiteX4" fmla="*/ 203975 w 465062"/>
                <a:gd name="connsiteY4" fmla="*/ 315481 h 658157"/>
                <a:gd name="connsiteX5" fmla="*/ 203975 w 465062"/>
                <a:gd name="connsiteY5" fmla="*/ 320920 h 658157"/>
                <a:gd name="connsiteX6" fmla="*/ 212134 w 465062"/>
                <a:gd name="connsiteY6" fmla="*/ 329079 h 658157"/>
                <a:gd name="connsiteX7" fmla="*/ 223013 w 465062"/>
                <a:gd name="connsiteY7" fmla="*/ 329079 h 658157"/>
                <a:gd name="connsiteX8" fmla="*/ 239331 w 465062"/>
                <a:gd name="connsiteY8" fmla="*/ 329079 h 658157"/>
                <a:gd name="connsiteX9" fmla="*/ 280126 w 465062"/>
                <a:gd name="connsiteY9" fmla="*/ 312761 h 658157"/>
                <a:gd name="connsiteX10" fmla="*/ 296443 w 465062"/>
                <a:gd name="connsiteY10" fmla="*/ 288284 h 658157"/>
                <a:gd name="connsiteX11" fmla="*/ 304602 w 465062"/>
                <a:gd name="connsiteY11" fmla="*/ 258368 h 658157"/>
                <a:gd name="connsiteX12" fmla="*/ 312761 w 465062"/>
                <a:gd name="connsiteY12" fmla="*/ 225732 h 658157"/>
                <a:gd name="connsiteX13" fmla="*/ 315481 w 465062"/>
                <a:gd name="connsiteY13" fmla="*/ 195816 h 658157"/>
                <a:gd name="connsiteX14" fmla="*/ 318201 w 465062"/>
                <a:gd name="connsiteY14" fmla="*/ 168619 h 658157"/>
                <a:gd name="connsiteX15" fmla="*/ 312761 w 465062"/>
                <a:gd name="connsiteY15" fmla="*/ 135983 h 658157"/>
                <a:gd name="connsiteX16" fmla="*/ 312761 w 465062"/>
                <a:gd name="connsiteY16" fmla="*/ 122385 h 658157"/>
                <a:gd name="connsiteX17" fmla="*/ 293724 w 465062"/>
                <a:gd name="connsiteY17" fmla="*/ 84309 h 658157"/>
                <a:gd name="connsiteX18" fmla="*/ 280126 w 465062"/>
                <a:gd name="connsiteY18" fmla="*/ 73430 h 658157"/>
                <a:gd name="connsiteX19" fmla="*/ 258368 w 465062"/>
                <a:gd name="connsiteY19" fmla="*/ 62552 h 658157"/>
                <a:gd name="connsiteX20" fmla="*/ 217573 w 465062"/>
                <a:gd name="connsiteY20" fmla="*/ 59832 h 658157"/>
                <a:gd name="connsiteX21" fmla="*/ 111506 w 465062"/>
                <a:gd name="connsiteY21" fmla="*/ 0 h 658157"/>
                <a:gd name="connsiteX22" fmla="*/ 127824 w 465062"/>
                <a:gd name="connsiteY22" fmla="*/ 0 h 658157"/>
                <a:gd name="connsiteX23" fmla="*/ 157741 w 465062"/>
                <a:gd name="connsiteY23" fmla="*/ 5440 h 658157"/>
                <a:gd name="connsiteX24" fmla="*/ 179497 w 465062"/>
                <a:gd name="connsiteY24" fmla="*/ 16318 h 658157"/>
                <a:gd name="connsiteX25" fmla="*/ 209414 w 465062"/>
                <a:gd name="connsiteY25" fmla="*/ 16318 h 658157"/>
                <a:gd name="connsiteX26" fmla="*/ 247489 w 465062"/>
                <a:gd name="connsiteY26" fmla="*/ 16318 h 658157"/>
                <a:gd name="connsiteX27" fmla="*/ 266527 w 465062"/>
                <a:gd name="connsiteY27" fmla="*/ 16318 h 658157"/>
                <a:gd name="connsiteX28" fmla="*/ 312761 w 465062"/>
                <a:gd name="connsiteY28" fmla="*/ 27197 h 658157"/>
                <a:gd name="connsiteX29" fmla="*/ 337238 w 465062"/>
                <a:gd name="connsiteY29" fmla="*/ 38075 h 658157"/>
                <a:gd name="connsiteX30" fmla="*/ 364434 w 465062"/>
                <a:gd name="connsiteY30" fmla="*/ 54393 h 658157"/>
                <a:gd name="connsiteX31" fmla="*/ 386192 w 465062"/>
                <a:gd name="connsiteY31" fmla="*/ 73431 h 658157"/>
                <a:gd name="connsiteX32" fmla="*/ 407949 w 465062"/>
                <a:gd name="connsiteY32" fmla="*/ 103347 h 658157"/>
                <a:gd name="connsiteX33" fmla="*/ 416108 w 465062"/>
                <a:gd name="connsiteY33" fmla="*/ 141422 h 658157"/>
                <a:gd name="connsiteX34" fmla="*/ 418828 w 465062"/>
                <a:gd name="connsiteY34" fmla="*/ 163179 h 658157"/>
                <a:gd name="connsiteX35" fmla="*/ 418828 w 465062"/>
                <a:gd name="connsiteY35" fmla="*/ 171339 h 658157"/>
                <a:gd name="connsiteX36" fmla="*/ 421547 w 465062"/>
                <a:gd name="connsiteY36" fmla="*/ 187656 h 658157"/>
                <a:gd name="connsiteX37" fmla="*/ 418828 w 465062"/>
                <a:gd name="connsiteY37" fmla="*/ 206694 h 658157"/>
                <a:gd name="connsiteX38" fmla="*/ 416108 w 465062"/>
                <a:gd name="connsiteY38" fmla="*/ 233891 h 658157"/>
                <a:gd name="connsiteX39" fmla="*/ 405229 w 465062"/>
                <a:gd name="connsiteY39" fmla="*/ 263807 h 658157"/>
                <a:gd name="connsiteX40" fmla="*/ 394351 w 465062"/>
                <a:gd name="connsiteY40" fmla="*/ 274686 h 658157"/>
                <a:gd name="connsiteX41" fmla="*/ 388912 w 465062"/>
                <a:gd name="connsiteY41" fmla="*/ 285564 h 658157"/>
                <a:gd name="connsiteX42" fmla="*/ 369874 w 465062"/>
                <a:gd name="connsiteY42" fmla="*/ 304602 h 658157"/>
                <a:gd name="connsiteX43" fmla="*/ 358995 w 465062"/>
                <a:gd name="connsiteY43" fmla="*/ 310041 h 658157"/>
                <a:gd name="connsiteX44" fmla="*/ 348117 w 465062"/>
                <a:gd name="connsiteY44" fmla="*/ 320920 h 658157"/>
                <a:gd name="connsiteX45" fmla="*/ 326359 w 465062"/>
                <a:gd name="connsiteY45" fmla="*/ 339957 h 658157"/>
                <a:gd name="connsiteX46" fmla="*/ 312761 w 465062"/>
                <a:gd name="connsiteY46" fmla="*/ 353555 h 658157"/>
                <a:gd name="connsiteX47" fmla="*/ 337238 w 465062"/>
                <a:gd name="connsiteY47" fmla="*/ 380752 h 658157"/>
                <a:gd name="connsiteX48" fmla="*/ 358995 w 465062"/>
                <a:gd name="connsiteY48" fmla="*/ 421547 h 658157"/>
                <a:gd name="connsiteX49" fmla="*/ 372593 w 465062"/>
                <a:gd name="connsiteY49" fmla="*/ 459622 h 658157"/>
                <a:gd name="connsiteX50" fmla="*/ 386192 w 465062"/>
                <a:gd name="connsiteY50" fmla="*/ 514015 h 658157"/>
                <a:gd name="connsiteX51" fmla="*/ 407949 w 465062"/>
                <a:gd name="connsiteY51" fmla="*/ 568408 h 658157"/>
                <a:gd name="connsiteX52" fmla="*/ 421547 w 465062"/>
                <a:gd name="connsiteY52" fmla="*/ 598324 h 658157"/>
                <a:gd name="connsiteX53" fmla="*/ 451463 w 465062"/>
                <a:gd name="connsiteY53" fmla="*/ 628241 h 658157"/>
                <a:gd name="connsiteX54" fmla="*/ 465062 w 465062"/>
                <a:gd name="connsiteY54" fmla="*/ 644559 h 658157"/>
                <a:gd name="connsiteX55" fmla="*/ 462342 w 465062"/>
                <a:gd name="connsiteY55" fmla="*/ 649998 h 658157"/>
                <a:gd name="connsiteX56" fmla="*/ 437865 w 465062"/>
                <a:gd name="connsiteY56" fmla="*/ 658157 h 658157"/>
                <a:gd name="connsiteX57" fmla="*/ 361715 w 465062"/>
                <a:gd name="connsiteY57" fmla="*/ 622801 h 658157"/>
                <a:gd name="connsiteX58" fmla="*/ 320920 w 465062"/>
                <a:gd name="connsiteY58" fmla="*/ 565689 h 658157"/>
                <a:gd name="connsiteX59" fmla="*/ 304602 w 465062"/>
                <a:gd name="connsiteY59" fmla="*/ 530333 h 658157"/>
                <a:gd name="connsiteX60" fmla="*/ 293723 w 465062"/>
                <a:gd name="connsiteY60" fmla="*/ 497697 h 658157"/>
                <a:gd name="connsiteX61" fmla="*/ 282845 w 465062"/>
                <a:gd name="connsiteY61" fmla="*/ 462342 h 658157"/>
                <a:gd name="connsiteX62" fmla="*/ 269246 w 465062"/>
                <a:gd name="connsiteY62" fmla="*/ 424267 h 658157"/>
                <a:gd name="connsiteX63" fmla="*/ 255648 w 465062"/>
                <a:gd name="connsiteY63" fmla="*/ 391631 h 658157"/>
                <a:gd name="connsiteX64" fmla="*/ 236610 w 465062"/>
                <a:gd name="connsiteY64" fmla="*/ 367154 h 658157"/>
                <a:gd name="connsiteX65" fmla="*/ 217573 w 465062"/>
                <a:gd name="connsiteY65" fmla="*/ 361714 h 658157"/>
                <a:gd name="connsiteX66" fmla="*/ 201255 w 465062"/>
                <a:gd name="connsiteY66" fmla="*/ 361714 h 658157"/>
                <a:gd name="connsiteX67" fmla="*/ 198535 w 465062"/>
                <a:gd name="connsiteY67" fmla="*/ 367154 h 658157"/>
                <a:gd name="connsiteX68" fmla="*/ 201255 w 465062"/>
                <a:gd name="connsiteY68" fmla="*/ 388911 h 658157"/>
                <a:gd name="connsiteX69" fmla="*/ 198535 w 465062"/>
                <a:gd name="connsiteY69" fmla="*/ 426986 h 658157"/>
                <a:gd name="connsiteX70" fmla="*/ 203975 w 465062"/>
                <a:gd name="connsiteY70" fmla="*/ 478660 h 658157"/>
                <a:gd name="connsiteX71" fmla="*/ 198535 w 465062"/>
                <a:gd name="connsiteY71" fmla="*/ 552090 h 658157"/>
                <a:gd name="connsiteX72" fmla="*/ 195816 w 465062"/>
                <a:gd name="connsiteY72" fmla="*/ 576567 h 658157"/>
                <a:gd name="connsiteX73" fmla="*/ 198535 w 465062"/>
                <a:gd name="connsiteY73" fmla="*/ 592885 h 658157"/>
                <a:gd name="connsiteX74" fmla="*/ 233891 w 465062"/>
                <a:gd name="connsiteY74" fmla="*/ 592885 h 658157"/>
                <a:gd name="connsiteX75" fmla="*/ 271966 w 465062"/>
                <a:gd name="connsiteY75" fmla="*/ 611923 h 658157"/>
                <a:gd name="connsiteX76" fmla="*/ 266527 w 465062"/>
                <a:gd name="connsiteY76" fmla="*/ 628241 h 658157"/>
                <a:gd name="connsiteX77" fmla="*/ 250209 w 465062"/>
                <a:gd name="connsiteY77" fmla="*/ 636400 h 658157"/>
                <a:gd name="connsiteX78" fmla="*/ 228451 w 465062"/>
                <a:gd name="connsiteY78" fmla="*/ 639119 h 658157"/>
                <a:gd name="connsiteX79" fmla="*/ 187657 w 465062"/>
                <a:gd name="connsiteY79" fmla="*/ 639119 h 658157"/>
                <a:gd name="connsiteX80" fmla="*/ 152301 w 465062"/>
                <a:gd name="connsiteY80" fmla="*/ 652717 h 658157"/>
                <a:gd name="connsiteX81" fmla="*/ 133263 w 465062"/>
                <a:gd name="connsiteY81" fmla="*/ 655437 h 658157"/>
                <a:gd name="connsiteX82" fmla="*/ 122385 w 465062"/>
                <a:gd name="connsiteY82" fmla="*/ 652717 h 658157"/>
                <a:gd name="connsiteX83" fmla="*/ 97908 w 465062"/>
                <a:gd name="connsiteY83" fmla="*/ 639119 h 658157"/>
                <a:gd name="connsiteX84" fmla="*/ 70711 w 465062"/>
                <a:gd name="connsiteY84" fmla="*/ 639119 h 658157"/>
                <a:gd name="connsiteX85" fmla="*/ 46234 w 465062"/>
                <a:gd name="connsiteY85" fmla="*/ 639119 h 658157"/>
                <a:gd name="connsiteX86" fmla="*/ 19038 w 465062"/>
                <a:gd name="connsiteY86" fmla="*/ 630960 h 658157"/>
                <a:gd name="connsiteX87" fmla="*/ 2720 w 465062"/>
                <a:gd name="connsiteY87" fmla="*/ 614642 h 658157"/>
                <a:gd name="connsiteX88" fmla="*/ 8159 w 465062"/>
                <a:gd name="connsiteY88" fmla="*/ 606483 h 658157"/>
                <a:gd name="connsiteX89" fmla="*/ 29916 w 465062"/>
                <a:gd name="connsiteY89" fmla="*/ 598324 h 658157"/>
                <a:gd name="connsiteX90" fmla="*/ 76151 w 465062"/>
                <a:gd name="connsiteY90" fmla="*/ 592885 h 658157"/>
                <a:gd name="connsiteX91" fmla="*/ 73431 w 465062"/>
                <a:gd name="connsiteY91" fmla="*/ 573848 h 658157"/>
                <a:gd name="connsiteX92" fmla="*/ 70711 w 465062"/>
                <a:gd name="connsiteY92" fmla="*/ 500417 h 658157"/>
                <a:gd name="connsiteX93" fmla="*/ 73431 w 465062"/>
                <a:gd name="connsiteY93" fmla="*/ 437865 h 658157"/>
                <a:gd name="connsiteX94" fmla="*/ 70711 w 465062"/>
                <a:gd name="connsiteY94" fmla="*/ 369873 h 658157"/>
                <a:gd name="connsiteX95" fmla="*/ 70711 w 465062"/>
                <a:gd name="connsiteY95" fmla="*/ 293723 h 658157"/>
                <a:gd name="connsiteX96" fmla="*/ 73431 w 465062"/>
                <a:gd name="connsiteY96" fmla="*/ 212133 h 658157"/>
                <a:gd name="connsiteX97" fmla="*/ 76151 w 465062"/>
                <a:gd name="connsiteY97" fmla="*/ 155021 h 658157"/>
                <a:gd name="connsiteX98" fmla="*/ 76151 w 465062"/>
                <a:gd name="connsiteY98" fmla="*/ 119665 h 658157"/>
                <a:gd name="connsiteX99" fmla="*/ 78870 w 465062"/>
                <a:gd name="connsiteY99" fmla="*/ 84310 h 658157"/>
                <a:gd name="connsiteX100" fmla="*/ 76151 w 465062"/>
                <a:gd name="connsiteY100" fmla="*/ 62552 h 658157"/>
                <a:gd name="connsiteX101" fmla="*/ 67992 w 465062"/>
                <a:gd name="connsiteY101" fmla="*/ 62552 h 658157"/>
                <a:gd name="connsiteX102" fmla="*/ 43515 w 465062"/>
                <a:gd name="connsiteY102" fmla="*/ 62552 h 658157"/>
                <a:gd name="connsiteX103" fmla="*/ 16318 w 465062"/>
                <a:gd name="connsiteY103" fmla="*/ 57113 h 658157"/>
                <a:gd name="connsiteX104" fmla="*/ 0 w 465062"/>
                <a:gd name="connsiteY104" fmla="*/ 40795 h 658157"/>
                <a:gd name="connsiteX105" fmla="*/ 5439 w 465062"/>
                <a:gd name="connsiteY105" fmla="*/ 32636 h 658157"/>
                <a:gd name="connsiteX106" fmla="*/ 27197 w 465062"/>
                <a:gd name="connsiteY106" fmla="*/ 24477 h 658157"/>
                <a:gd name="connsiteX107" fmla="*/ 76151 w 465062"/>
                <a:gd name="connsiteY107" fmla="*/ 19038 h 658157"/>
                <a:gd name="connsiteX108" fmla="*/ 78870 w 465062"/>
                <a:gd name="connsiteY108" fmla="*/ 13598 h 658157"/>
                <a:gd name="connsiteX109" fmla="*/ 95188 w 465062"/>
                <a:gd name="connsiteY109" fmla="*/ 5440 h 658157"/>
                <a:gd name="connsiteX110" fmla="*/ 111506 w 465062"/>
                <a:gd name="connsiteY110" fmla="*/ 0 h 6581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</a:cxnLst>
              <a:rect l="l" t="t" r="r" b="b"/>
              <a:pathLst>
                <a:path w="465062" h="658157">
                  <a:moveTo>
                    <a:pt x="193096" y="59832"/>
                  </a:moveTo>
                  <a:cubicBezTo>
                    <a:pt x="193096" y="73430"/>
                    <a:pt x="193096" y="89748"/>
                    <a:pt x="193096" y="114226"/>
                  </a:cubicBezTo>
                  <a:cubicBezTo>
                    <a:pt x="193096" y="144142"/>
                    <a:pt x="195816" y="176778"/>
                    <a:pt x="198536" y="209414"/>
                  </a:cubicBezTo>
                  <a:cubicBezTo>
                    <a:pt x="198536" y="247489"/>
                    <a:pt x="201255" y="277406"/>
                    <a:pt x="201255" y="282845"/>
                  </a:cubicBezTo>
                  <a:cubicBezTo>
                    <a:pt x="201255" y="293723"/>
                    <a:pt x="203975" y="304602"/>
                    <a:pt x="203975" y="315481"/>
                  </a:cubicBezTo>
                  <a:cubicBezTo>
                    <a:pt x="203975" y="318200"/>
                    <a:pt x="203975" y="318200"/>
                    <a:pt x="203975" y="320920"/>
                  </a:cubicBezTo>
                  <a:cubicBezTo>
                    <a:pt x="203975" y="326359"/>
                    <a:pt x="206695" y="329079"/>
                    <a:pt x="212134" y="329079"/>
                  </a:cubicBezTo>
                  <a:cubicBezTo>
                    <a:pt x="214854" y="329079"/>
                    <a:pt x="220293" y="329079"/>
                    <a:pt x="223013" y="329079"/>
                  </a:cubicBezTo>
                  <a:cubicBezTo>
                    <a:pt x="228452" y="329079"/>
                    <a:pt x="233891" y="329079"/>
                    <a:pt x="239331" y="329079"/>
                  </a:cubicBezTo>
                  <a:cubicBezTo>
                    <a:pt x="252929" y="329079"/>
                    <a:pt x="271967" y="323640"/>
                    <a:pt x="280126" y="312761"/>
                  </a:cubicBezTo>
                  <a:cubicBezTo>
                    <a:pt x="288284" y="304602"/>
                    <a:pt x="291004" y="299163"/>
                    <a:pt x="296443" y="288284"/>
                  </a:cubicBezTo>
                  <a:cubicBezTo>
                    <a:pt x="299163" y="277406"/>
                    <a:pt x="301883" y="269247"/>
                    <a:pt x="304602" y="258368"/>
                  </a:cubicBezTo>
                  <a:cubicBezTo>
                    <a:pt x="307322" y="244770"/>
                    <a:pt x="310042" y="239330"/>
                    <a:pt x="312761" y="225732"/>
                  </a:cubicBezTo>
                  <a:cubicBezTo>
                    <a:pt x="315481" y="212134"/>
                    <a:pt x="315481" y="209414"/>
                    <a:pt x="315481" y="195816"/>
                  </a:cubicBezTo>
                  <a:cubicBezTo>
                    <a:pt x="315481" y="179498"/>
                    <a:pt x="315481" y="184937"/>
                    <a:pt x="318201" y="168619"/>
                  </a:cubicBezTo>
                  <a:cubicBezTo>
                    <a:pt x="312761" y="152302"/>
                    <a:pt x="312761" y="149582"/>
                    <a:pt x="312761" y="135983"/>
                  </a:cubicBezTo>
                  <a:cubicBezTo>
                    <a:pt x="312761" y="133264"/>
                    <a:pt x="312761" y="127825"/>
                    <a:pt x="312761" y="122385"/>
                  </a:cubicBezTo>
                  <a:cubicBezTo>
                    <a:pt x="312761" y="111507"/>
                    <a:pt x="301883" y="95188"/>
                    <a:pt x="293724" y="84309"/>
                  </a:cubicBezTo>
                  <a:cubicBezTo>
                    <a:pt x="288284" y="78870"/>
                    <a:pt x="285565" y="76150"/>
                    <a:pt x="280126" y="73430"/>
                  </a:cubicBezTo>
                  <a:cubicBezTo>
                    <a:pt x="271967" y="67991"/>
                    <a:pt x="266527" y="65271"/>
                    <a:pt x="258368" y="62552"/>
                  </a:cubicBezTo>
                  <a:cubicBezTo>
                    <a:pt x="244770" y="59832"/>
                    <a:pt x="228452" y="59832"/>
                    <a:pt x="217573" y="59832"/>
                  </a:cubicBezTo>
                  <a:close/>
                  <a:moveTo>
                    <a:pt x="111506" y="0"/>
                  </a:moveTo>
                  <a:cubicBezTo>
                    <a:pt x="114226" y="0"/>
                    <a:pt x="122385" y="0"/>
                    <a:pt x="127824" y="0"/>
                  </a:cubicBezTo>
                  <a:cubicBezTo>
                    <a:pt x="135983" y="0"/>
                    <a:pt x="146862" y="2720"/>
                    <a:pt x="157741" y="5440"/>
                  </a:cubicBezTo>
                  <a:cubicBezTo>
                    <a:pt x="168619" y="8159"/>
                    <a:pt x="176778" y="10879"/>
                    <a:pt x="179497" y="16318"/>
                  </a:cubicBezTo>
                  <a:cubicBezTo>
                    <a:pt x="193096" y="16318"/>
                    <a:pt x="201255" y="16318"/>
                    <a:pt x="209414" y="16318"/>
                  </a:cubicBezTo>
                  <a:cubicBezTo>
                    <a:pt x="220292" y="16318"/>
                    <a:pt x="231171" y="16318"/>
                    <a:pt x="247489" y="16318"/>
                  </a:cubicBezTo>
                  <a:cubicBezTo>
                    <a:pt x="250209" y="16318"/>
                    <a:pt x="258368" y="16318"/>
                    <a:pt x="266527" y="16318"/>
                  </a:cubicBezTo>
                  <a:cubicBezTo>
                    <a:pt x="277405" y="16318"/>
                    <a:pt x="291004" y="21758"/>
                    <a:pt x="312761" y="27197"/>
                  </a:cubicBezTo>
                  <a:cubicBezTo>
                    <a:pt x="320920" y="29917"/>
                    <a:pt x="329079" y="35356"/>
                    <a:pt x="337238" y="38075"/>
                  </a:cubicBezTo>
                  <a:cubicBezTo>
                    <a:pt x="342677" y="40795"/>
                    <a:pt x="353556" y="48954"/>
                    <a:pt x="364434" y="54393"/>
                  </a:cubicBezTo>
                  <a:cubicBezTo>
                    <a:pt x="375313" y="62552"/>
                    <a:pt x="386192" y="67992"/>
                    <a:pt x="386192" y="73431"/>
                  </a:cubicBezTo>
                  <a:cubicBezTo>
                    <a:pt x="391631" y="84310"/>
                    <a:pt x="402510" y="92469"/>
                    <a:pt x="407949" y="103347"/>
                  </a:cubicBezTo>
                  <a:cubicBezTo>
                    <a:pt x="413388" y="116945"/>
                    <a:pt x="416108" y="130544"/>
                    <a:pt x="416108" y="141422"/>
                  </a:cubicBezTo>
                  <a:cubicBezTo>
                    <a:pt x="416108" y="152301"/>
                    <a:pt x="418828" y="157740"/>
                    <a:pt x="418828" y="163179"/>
                  </a:cubicBezTo>
                  <a:cubicBezTo>
                    <a:pt x="418828" y="165899"/>
                    <a:pt x="418828" y="168619"/>
                    <a:pt x="418828" y="171339"/>
                  </a:cubicBezTo>
                  <a:cubicBezTo>
                    <a:pt x="418828" y="174058"/>
                    <a:pt x="421547" y="182217"/>
                    <a:pt x="421547" y="187656"/>
                  </a:cubicBezTo>
                  <a:cubicBezTo>
                    <a:pt x="421547" y="193096"/>
                    <a:pt x="418828" y="201255"/>
                    <a:pt x="418828" y="206694"/>
                  </a:cubicBezTo>
                  <a:cubicBezTo>
                    <a:pt x="418828" y="217573"/>
                    <a:pt x="418828" y="223012"/>
                    <a:pt x="416108" y="233891"/>
                  </a:cubicBezTo>
                  <a:cubicBezTo>
                    <a:pt x="413388" y="244769"/>
                    <a:pt x="410668" y="255648"/>
                    <a:pt x="405229" y="263807"/>
                  </a:cubicBezTo>
                  <a:cubicBezTo>
                    <a:pt x="402510" y="269246"/>
                    <a:pt x="397070" y="269246"/>
                    <a:pt x="394351" y="274686"/>
                  </a:cubicBezTo>
                  <a:cubicBezTo>
                    <a:pt x="391631" y="277405"/>
                    <a:pt x="391631" y="282844"/>
                    <a:pt x="388912" y="285564"/>
                  </a:cubicBezTo>
                  <a:cubicBezTo>
                    <a:pt x="383472" y="291003"/>
                    <a:pt x="375313" y="301882"/>
                    <a:pt x="369874" y="304602"/>
                  </a:cubicBezTo>
                  <a:cubicBezTo>
                    <a:pt x="367154" y="307321"/>
                    <a:pt x="361715" y="307321"/>
                    <a:pt x="358995" y="310041"/>
                  </a:cubicBezTo>
                  <a:cubicBezTo>
                    <a:pt x="356275" y="312761"/>
                    <a:pt x="350836" y="318200"/>
                    <a:pt x="348117" y="320920"/>
                  </a:cubicBezTo>
                  <a:cubicBezTo>
                    <a:pt x="339958" y="326359"/>
                    <a:pt x="334518" y="334518"/>
                    <a:pt x="326359" y="339957"/>
                  </a:cubicBezTo>
                  <a:cubicBezTo>
                    <a:pt x="320920" y="342677"/>
                    <a:pt x="312761" y="342677"/>
                    <a:pt x="312761" y="353555"/>
                  </a:cubicBezTo>
                  <a:cubicBezTo>
                    <a:pt x="312761" y="361714"/>
                    <a:pt x="334518" y="372593"/>
                    <a:pt x="337238" y="380752"/>
                  </a:cubicBezTo>
                  <a:cubicBezTo>
                    <a:pt x="345397" y="394350"/>
                    <a:pt x="353556" y="407948"/>
                    <a:pt x="358995" y="421547"/>
                  </a:cubicBezTo>
                  <a:cubicBezTo>
                    <a:pt x="364434" y="435145"/>
                    <a:pt x="367154" y="446024"/>
                    <a:pt x="372593" y="459622"/>
                  </a:cubicBezTo>
                  <a:cubicBezTo>
                    <a:pt x="378033" y="478660"/>
                    <a:pt x="383472" y="494978"/>
                    <a:pt x="386192" y="514015"/>
                  </a:cubicBezTo>
                  <a:cubicBezTo>
                    <a:pt x="391631" y="533053"/>
                    <a:pt x="402510" y="549371"/>
                    <a:pt x="407949" y="568408"/>
                  </a:cubicBezTo>
                  <a:cubicBezTo>
                    <a:pt x="410668" y="579287"/>
                    <a:pt x="416108" y="590165"/>
                    <a:pt x="421547" y="598324"/>
                  </a:cubicBezTo>
                  <a:cubicBezTo>
                    <a:pt x="435146" y="614642"/>
                    <a:pt x="443305" y="622801"/>
                    <a:pt x="451463" y="628241"/>
                  </a:cubicBezTo>
                  <a:cubicBezTo>
                    <a:pt x="456903" y="630960"/>
                    <a:pt x="465062" y="636400"/>
                    <a:pt x="465062" y="644559"/>
                  </a:cubicBezTo>
                  <a:cubicBezTo>
                    <a:pt x="465062" y="647278"/>
                    <a:pt x="465062" y="647278"/>
                    <a:pt x="462342" y="649998"/>
                  </a:cubicBezTo>
                  <a:cubicBezTo>
                    <a:pt x="456903" y="655437"/>
                    <a:pt x="446024" y="658157"/>
                    <a:pt x="437865" y="658157"/>
                  </a:cubicBezTo>
                  <a:cubicBezTo>
                    <a:pt x="413388" y="658157"/>
                    <a:pt x="378033" y="641839"/>
                    <a:pt x="361715" y="622801"/>
                  </a:cubicBezTo>
                  <a:cubicBezTo>
                    <a:pt x="345397" y="606483"/>
                    <a:pt x="334518" y="584726"/>
                    <a:pt x="320920" y="565689"/>
                  </a:cubicBezTo>
                  <a:cubicBezTo>
                    <a:pt x="315480" y="554810"/>
                    <a:pt x="310041" y="543931"/>
                    <a:pt x="304602" y="530333"/>
                  </a:cubicBezTo>
                  <a:cubicBezTo>
                    <a:pt x="299163" y="519454"/>
                    <a:pt x="296443" y="508576"/>
                    <a:pt x="293723" y="497697"/>
                  </a:cubicBezTo>
                  <a:cubicBezTo>
                    <a:pt x="291004" y="486819"/>
                    <a:pt x="288284" y="473220"/>
                    <a:pt x="282845" y="462342"/>
                  </a:cubicBezTo>
                  <a:cubicBezTo>
                    <a:pt x="280125" y="448743"/>
                    <a:pt x="274686" y="437865"/>
                    <a:pt x="269246" y="424267"/>
                  </a:cubicBezTo>
                  <a:cubicBezTo>
                    <a:pt x="266527" y="416108"/>
                    <a:pt x="261087" y="402509"/>
                    <a:pt x="255648" y="391631"/>
                  </a:cubicBezTo>
                  <a:cubicBezTo>
                    <a:pt x="250209" y="380752"/>
                    <a:pt x="244770" y="375313"/>
                    <a:pt x="236610" y="367154"/>
                  </a:cubicBezTo>
                  <a:cubicBezTo>
                    <a:pt x="231171" y="361714"/>
                    <a:pt x="223012" y="361714"/>
                    <a:pt x="217573" y="361714"/>
                  </a:cubicBezTo>
                  <a:cubicBezTo>
                    <a:pt x="212134" y="361714"/>
                    <a:pt x="206694" y="361714"/>
                    <a:pt x="201255" y="361714"/>
                  </a:cubicBezTo>
                  <a:cubicBezTo>
                    <a:pt x="198535" y="361714"/>
                    <a:pt x="198535" y="364434"/>
                    <a:pt x="198535" y="367154"/>
                  </a:cubicBezTo>
                  <a:cubicBezTo>
                    <a:pt x="198535" y="375313"/>
                    <a:pt x="201255" y="386191"/>
                    <a:pt x="201255" y="388911"/>
                  </a:cubicBezTo>
                  <a:cubicBezTo>
                    <a:pt x="201255" y="402509"/>
                    <a:pt x="198535" y="413388"/>
                    <a:pt x="198535" y="426986"/>
                  </a:cubicBezTo>
                  <a:cubicBezTo>
                    <a:pt x="198535" y="446024"/>
                    <a:pt x="203975" y="456902"/>
                    <a:pt x="203975" y="478660"/>
                  </a:cubicBezTo>
                  <a:cubicBezTo>
                    <a:pt x="203975" y="503136"/>
                    <a:pt x="201255" y="527613"/>
                    <a:pt x="198535" y="552090"/>
                  </a:cubicBezTo>
                  <a:cubicBezTo>
                    <a:pt x="198535" y="560249"/>
                    <a:pt x="195816" y="568408"/>
                    <a:pt x="195816" y="576567"/>
                  </a:cubicBezTo>
                  <a:cubicBezTo>
                    <a:pt x="195816" y="582006"/>
                    <a:pt x="195816" y="587446"/>
                    <a:pt x="198535" y="592885"/>
                  </a:cubicBezTo>
                  <a:cubicBezTo>
                    <a:pt x="212134" y="592885"/>
                    <a:pt x="225732" y="592885"/>
                    <a:pt x="233891" y="592885"/>
                  </a:cubicBezTo>
                  <a:cubicBezTo>
                    <a:pt x="247489" y="592885"/>
                    <a:pt x="271966" y="592885"/>
                    <a:pt x="271966" y="611923"/>
                  </a:cubicBezTo>
                  <a:cubicBezTo>
                    <a:pt x="271966" y="620082"/>
                    <a:pt x="269246" y="622801"/>
                    <a:pt x="266527" y="628241"/>
                  </a:cubicBezTo>
                  <a:cubicBezTo>
                    <a:pt x="261087" y="633680"/>
                    <a:pt x="255648" y="636400"/>
                    <a:pt x="250209" y="636400"/>
                  </a:cubicBezTo>
                  <a:cubicBezTo>
                    <a:pt x="239330" y="639119"/>
                    <a:pt x="233891" y="639119"/>
                    <a:pt x="228451" y="639119"/>
                  </a:cubicBezTo>
                  <a:cubicBezTo>
                    <a:pt x="223012" y="639119"/>
                    <a:pt x="206694" y="639119"/>
                    <a:pt x="187657" y="639119"/>
                  </a:cubicBezTo>
                  <a:cubicBezTo>
                    <a:pt x="176778" y="647278"/>
                    <a:pt x="163180" y="649998"/>
                    <a:pt x="152301" y="652717"/>
                  </a:cubicBezTo>
                  <a:cubicBezTo>
                    <a:pt x="146862" y="652717"/>
                    <a:pt x="138703" y="655437"/>
                    <a:pt x="133263" y="655437"/>
                  </a:cubicBezTo>
                  <a:cubicBezTo>
                    <a:pt x="130544" y="655437"/>
                    <a:pt x="125104" y="655437"/>
                    <a:pt x="122385" y="652717"/>
                  </a:cubicBezTo>
                  <a:cubicBezTo>
                    <a:pt x="114226" y="649998"/>
                    <a:pt x="103347" y="644559"/>
                    <a:pt x="97908" y="639119"/>
                  </a:cubicBezTo>
                  <a:cubicBezTo>
                    <a:pt x="87029" y="639119"/>
                    <a:pt x="78870" y="639119"/>
                    <a:pt x="70711" y="639119"/>
                  </a:cubicBezTo>
                  <a:cubicBezTo>
                    <a:pt x="62552" y="639119"/>
                    <a:pt x="54393" y="639119"/>
                    <a:pt x="46234" y="639119"/>
                  </a:cubicBezTo>
                  <a:cubicBezTo>
                    <a:pt x="38075" y="639119"/>
                    <a:pt x="27197" y="633680"/>
                    <a:pt x="19038" y="630960"/>
                  </a:cubicBezTo>
                  <a:cubicBezTo>
                    <a:pt x="10879" y="628241"/>
                    <a:pt x="2720" y="620082"/>
                    <a:pt x="2720" y="614642"/>
                  </a:cubicBezTo>
                  <a:cubicBezTo>
                    <a:pt x="2720" y="611923"/>
                    <a:pt x="2720" y="609203"/>
                    <a:pt x="8159" y="606483"/>
                  </a:cubicBezTo>
                  <a:cubicBezTo>
                    <a:pt x="13599" y="603764"/>
                    <a:pt x="24477" y="601044"/>
                    <a:pt x="29916" y="598324"/>
                  </a:cubicBezTo>
                  <a:cubicBezTo>
                    <a:pt x="43515" y="595605"/>
                    <a:pt x="62552" y="595605"/>
                    <a:pt x="76151" y="592885"/>
                  </a:cubicBezTo>
                  <a:cubicBezTo>
                    <a:pt x="76151" y="587446"/>
                    <a:pt x="73431" y="582006"/>
                    <a:pt x="73431" y="573848"/>
                  </a:cubicBezTo>
                  <a:cubicBezTo>
                    <a:pt x="73431" y="565689"/>
                    <a:pt x="70711" y="516735"/>
                    <a:pt x="70711" y="500417"/>
                  </a:cubicBezTo>
                  <a:cubicBezTo>
                    <a:pt x="70711" y="481379"/>
                    <a:pt x="73431" y="456902"/>
                    <a:pt x="73431" y="437865"/>
                  </a:cubicBezTo>
                  <a:cubicBezTo>
                    <a:pt x="73431" y="416108"/>
                    <a:pt x="70711" y="391631"/>
                    <a:pt x="70711" y="369873"/>
                  </a:cubicBezTo>
                  <a:cubicBezTo>
                    <a:pt x="70711" y="345397"/>
                    <a:pt x="70711" y="318200"/>
                    <a:pt x="70711" y="293723"/>
                  </a:cubicBezTo>
                  <a:cubicBezTo>
                    <a:pt x="70711" y="266526"/>
                    <a:pt x="73431" y="239330"/>
                    <a:pt x="73431" y="212133"/>
                  </a:cubicBezTo>
                  <a:cubicBezTo>
                    <a:pt x="73431" y="187656"/>
                    <a:pt x="76151" y="179498"/>
                    <a:pt x="76151" y="155021"/>
                  </a:cubicBezTo>
                  <a:cubicBezTo>
                    <a:pt x="76151" y="144142"/>
                    <a:pt x="76151" y="130544"/>
                    <a:pt x="76151" y="119665"/>
                  </a:cubicBezTo>
                  <a:cubicBezTo>
                    <a:pt x="76151" y="106067"/>
                    <a:pt x="78870" y="95188"/>
                    <a:pt x="78870" y="84310"/>
                  </a:cubicBezTo>
                  <a:cubicBezTo>
                    <a:pt x="78870" y="78870"/>
                    <a:pt x="78870" y="70711"/>
                    <a:pt x="76151" y="62552"/>
                  </a:cubicBezTo>
                  <a:cubicBezTo>
                    <a:pt x="76151" y="62552"/>
                    <a:pt x="73431" y="62552"/>
                    <a:pt x="67992" y="62552"/>
                  </a:cubicBezTo>
                  <a:cubicBezTo>
                    <a:pt x="59833" y="62552"/>
                    <a:pt x="51674" y="62552"/>
                    <a:pt x="43515" y="62552"/>
                  </a:cubicBezTo>
                  <a:cubicBezTo>
                    <a:pt x="35356" y="62552"/>
                    <a:pt x="24477" y="59833"/>
                    <a:pt x="16318" y="57113"/>
                  </a:cubicBezTo>
                  <a:cubicBezTo>
                    <a:pt x="8159" y="54393"/>
                    <a:pt x="0" y="43515"/>
                    <a:pt x="0" y="40795"/>
                  </a:cubicBezTo>
                  <a:cubicBezTo>
                    <a:pt x="0" y="38075"/>
                    <a:pt x="0" y="35356"/>
                    <a:pt x="5439" y="32636"/>
                  </a:cubicBezTo>
                  <a:cubicBezTo>
                    <a:pt x="10879" y="29917"/>
                    <a:pt x="21758" y="27197"/>
                    <a:pt x="27197" y="24477"/>
                  </a:cubicBezTo>
                  <a:cubicBezTo>
                    <a:pt x="46234" y="21758"/>
                    <a:pt x="62552" y="19038"/>
                    <a:pt x="76151" y="19038"/>
                  </a:cubicBezTo>
                  <a:cubicBezTo>
                    <a:pt x="76151" y="16318"/>
                    <a:pt x="78870" y="16318"/>
                    <a:pt x="78870" y="13598"/>
                  </a:cubicBezTo>
                  <a:cubicBezTo>
                    <a:pt x="84309" y="10879"/>
                    <a:pt x="89749" y="8159"/>
                    <a:pt x="95188" y="5440"/>
                  </a:cubicBezTo>
                  <a:cubicBezTo>
                    <a:pt x="100628" y="2720"/>
                    <a:pt x="106067" y="0"/>
                    <a:pt x="111506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/>
            </a:p>
          </p:txBody>
        </p:sp>
        <p:sp>
          <p:nvSpPr>
            <p:cNvPr id="49" name="Freeform: Shape 48">
              <a:extLst>
                <a:ext uri="{FF2B5EF4-FFF2-40B4-BE49-F238E27FC236}">
                  <a16:creationId xmlns:a16="http://schemas.microsoft.com/office/drawing/2014/main" id="{C06216BF-A380-4FA9-9B4A-C9DC258CCF12}"/>
                </a:ext>
              </a:extLst>
            </p:cNvPr>
            <p:cNvSpPr/>
            <p:nvPr/>
          </p:nvSpPr>
          <p:spPr bwMode="black">
            <a:xfrm>
              <a:off x="8346812" y="4186718"/>
              <a:ext cx="353556" cy="761503"/>
            </a:xfrm>
            <a:custGeom>
              <a:avLst/>
              <a:gdLst>
                <a:gd name="connsiteX0" fmla="*/ 283910 w 353555"/>
                <a:gd name="connsiteY0" fmla="*/ 672820 h 761503"/>
                <a:gd name="connsiteX1" fmla="*/ 321985 w 353555"/>
                <a:gd name="connsiteY1" fmla="*/ 689138 h 761503"/>
                <a:gd name="connsiteX2" fmla="*/ 316546 w 353555"/>
                <a:gd name="connsiteY2" fmla="*/ 705456 h 761503"/>
                <a:gd name="connsiteX3" fmla="*/ 300228 w 353555"/>
                <a:gd name="connsiteY3" fmla="*/ 713615 h 761503"/>
                <a:gd name="connsiteX4" fmla="*/ 278471 w 353555"/>
                <a:gd name="connsiteY4" fmla="*/ 716335 h 761503"/>
                <a:gd name="connsiteX5" fmla="*/ 237676 w 353555"/>
                <a:gd name="connsiteY5" fmla="*/ 716335 h 761503"/>
                <a:gd name="connsiteX6" fmla="*/ 180563 w 353555"/>
                <a:gd name="connsiteY6" fmla="*/ 719054 h 761503"/>
                <a:gd name="connsiteX7" fmla="*/ 126170 w 353555"/>
                <a:gd name="connsiteY7" fmla="*/ 719054 h 761503"/>
                <a:gd name="connsiteX8" fmla="*/ 101693 w 353555"/>
                <a:gd name="connsiteY8" fmla="*/ 719054 h 761503"/>
                <a:gd name="connsiteX9" fmla="*/ 74496 w 353555"/>
                <a:gd name="connsiteY9" fmla="*/ 713615 h 761503"/>
                <a:gd name="connsiteX10" fmla="*/ 58178 w 353555"/>
                <a:gd name="connsiteY10" fmla="*/ 697297 h 761503"/>
                <a:gd name="connsiteX11" fmla="*/ 63618 w 353555"/>
                <a:gd name="connsiteY11" fmla="*/ 689138 h 761503"/>
                <a:gd name="connsiteX12" fmla="*/ 85375 w 353555"/>
                <a:gd name="connsiteY12" fmla="*/ 680979 h 761503"/>
                <a:gd name="connsiteX13" fmla="*/ 131609 w 353555"/>
                <a:gd name="connsiteY13" fmla="*/ 675540 h 761503"/>
                <a:gd name="connsiteX14" fmla="*/ 142488 w 353555"/>
                <a:gd name="connsiteY14" fmla="*/ 675540 h 761503"/>
                <a:gd name="connsiteX15" fmla="*/ 131609 w 353555"/>
                <a:gd name="connsiteY15" fmla="*/ 653783 h 761503"/>
                <a:gd name="connsiteX16" fmla="*/ 128890 w 353555"/>
                <a:gd name="connsiteY16" fmla="*/ 640184 h 761503"/>
                <a:gd name="connsiteX17" fmla="*/ 128890 w 353555"/>
                <a:gd name="connsiteY17" fmla="*/ 629306 h 761503"/>
                <a:gd name="connsiteX18" fmla="*/ 128890 w 353555"/>
                <a:gd name="connsiteY18" fmla="*/ 621147 h 761503"/>
                <a:gd name="connsiteX19" fmla="*/ 128890 w 353555"/>
                <a:gd name="connsiteY19" fmla="*/ 593950 h 761503"/>
                <a:gd name="connsiteX20" fmla="*/ 128890 w 353555"/>
                <a:gd name="connsiteY20" fmla="*/ 583072 h 761503"/>
                <a:gd name="connsiteX21" fmla="*/ 128890 w 353555"/>
                <a:gd name="connsiteY21" fmla="*/ 436210 h 761503"/>
                <a:gd name="connsiteX22" fmla="*/ 128890 w 353555"/>
                <a:gd name="connsiteY22" fmla="*/ 357340 h 761503"/>
                <a:gd name="connsiteX23" fmla="*/ 131609 w 353555"/>
                <a:gd name="connsiteY23" fmla="*/ 289349 h 761503"/>
                <a:gd name="connsiteX24" fmla="*/ 131609 w 353555"/>
                <a:gd name="connsiteY24" fmla="*/ 251274 h 761503"/>
                <a:gd name="connsiteX25" fmla="*/ 131609 w 353555"/>
                <a:gd name="connsiteY25" fmla="*/ 205040 h 761503"/>
                <a:gd name="connsiteX26" fmla="*/ 131609 w 353555"/>
                <a:gd name="connsiteY26" fmla="*/ 139768 h 761503"/>
                <a:gd name="connsiteX27" fmla="*/ 131609 w 353555"/>
                <a:gd name="connsiteY27" fmla="*/ 128889 h 761503"/>
                <a:gd name="connsiteX28" fmla="*/ 126170 w 353555"/>
                <a:gd name="connsiteY28" fmla="*/ 128889 h 761503"/>
                <a:gd name="connsiteX29" fmla="*/ 101693 w 353555"/>
                <a:gd name="connsiteY29" fmla="*/ 128889 h 761503"/>
                <a:gd name="connsiteX30" fmla="*/ 74496 w 353555"/>
                <a:gd name="connsiteY30" fmla="*/ 123450 h 761503"/>
                <a:gd name="connsiteX31" fmla="*/ 58178 w 353555"/>
                <a:gd name="connsiteY31" fmla="*/ 107132 h 761503"/>
                <a:gd name="connsiteX32" fmla="*/ 60898 w 353555"/>
                <a:gd name="connsiteY32" fmla="*/ 98973 h 761503"/>
                <a:gd name="connsiteX33" fmla="*/ 82655 w 353555"/>
                <a:gd name="connsiteY33" fmla="*/ 93534 h 761503"/>
                <a:gd name="connsiteX34" fmla="*/ 131609 w 353555"/>
                <a:gd name="connsiteY34" fmla="*/ 88094 h 761503"/>
                <a:gd name="connsiteX35" fmla="*/ 131609 w 353555"/>
                <a:gd name="connsiteY35" fmla="*/ 82655 h 761503"/>
                <a:gd name="connsiteX36" fmla="*/ 134329 w 353555"/>
                <a:gd name="connsiteY36" fmla="*/ 71776 h 761503"/>
                <a:gd name="connsiteX37" fmla="*/ 147927 w 353555"/>
                <a:gd name="connsiteY37" fmla="*/ 63617 h 761503"/>
                <a:gd name="connsiteX38" fmla="*/ 164245 w 353555"/>
                <a:gd name="connsiteY38" fmla="*/ 58178 h 761503"/>
                <a:gd name="connsiteX39" fmla="*/ 177843 w 353555"/>
                <a:gd name="connsiteY39" fmla="*/ 58178 h 761503"/>
                <a:gd name="connsiteX40" fmla="*/ 196881 w 353555"/>
                <a:gd name="connsiteY40" fmla="*/ 60898 h 761503"/>
                <a:gd name="connsiteX41" fmla="*/ 232237 w 353555"/>
                <a:gd name="connsiteY41" fmla="*/ 88094 h 761503"/>
                <a:gd name="connsiteX42" fmla="*/ 278471 w 353555"/>
                <a:gd name="connsiteY42" fmla="*/ 88094 h 761503"/>
                <a:gd name="connsiteX43" fmla="*/ 316546 w 353555"/>
                <a:gd name="connsiteY43" fmla="*/ 104412 h 761503"/>
                <a:gd name="connsiteX44" fmla="*/ 311107 w 353555"/>
                <a:gd name="connsiteY44" fmla="*/ 120730 h 761503"/>
                <a:gd name="connsiteX45" fmla="*/ 294789 w 353555"/>
                <a:gd name="connsiteY45" fmla="*/ 128889 h 761503"/>
                <a:gd name="connsiteX46" fmla="*/ 273032 w 353555"/>
                <a:gd name="connsiteY46" fmla="*/ 131609 h 761503"/>
                <a:gd name="connsiteX47" fmla="*/ 243115 w 353555"/>
                <a:gd name="connsiteY47" fmla="*/ 131609 h 761503"/>
                <a:gd name="connsiteX48" fmla="*/ 243115 w 353555"/>
                <a:gd name="connsiteY48" fmla="*/ 134329 h 761503"/>
                <a:gd name="connsiteX49" fmla="*/ 248554 w 353555"/>
                <a:gd name="connsiteY49" fmla="*/ 169684 h 761503"/>
                <a:gd name="connsiteX50" fmla="*/ 251274 w 353555"/>
                <a:gd name="connsiteY50" fmla="*/ 205040 h 761503"/>
                <a:gd name="connsiteX51" fmla="*/ 251274 w 353555"/>
                <a:gd name="connsiteY51" fmla="*/ 240395 h 761503"/>
                <a:gd name="connsiteX52" fmla="*/ 251274 w 353555"/>
                <a:gd name="connsiteY52" fmla="*/ 256713 h 761503"/>
                <a:gd name="connsiteX53" fmla="*/ 253994 w 353555"/>
                <a:gd name="connsiteY53" fmla="*/ 270311 h 761503"/>
                <a:gd name="connsiteX54" fmla="*/ 259433 w 353555"/>
                <a:gd name="connsiteY54" fmla="*/ 343742 h 761503"/>
                <a:gd name="connsiteX55" fmla="*/ 262153 w 353555"/>
                <a:gd name="connsiteY55" fmla="*/ 425332 h 761503"/>
                <a:gd name="connsiteX56" fmla="*/ 264872 w 353555"/>
                <a:gd name="connsiteY56" fmla="*/ 490603 h 761503"/>
                <a:gd name="connsiteX57" fmla="*/ 270312 w 353555"/>
                <a:gd name="connsiteY57" fmla="*/ 564034 h 761503"/>
                <a:gd name="connsiteX58" fmla="*/ 270312 w 353555"/>
                <a:gd name="connsiteY58" fmla="*/ 599390 h 761503"/>
                <a:gd name="connsiteX59" fmla="*/ 270312 w 353555"/>
                <a:gd name="connsiteY59" fmla="*/ 637465 h 761503"/>
                <a:gd name="connsiteX60" fmla="*/ 264872 w 353555"/>
                <a:gd name="connsiteY60" fmla="*/ 670101 h 761503"/>
                <a:gd name="connsiteX61" fmla="*/ 283910 w 353555"/>
                <a:gd name="connsiteY61" fmla="*/ 672820 h 761503"/>
                <a:gd name="connsiteX62" fmla="*/ 283910 w 353555"/>
                <a:gd name="connsiteY62" fmla="*/ 672820 h 761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</a:cxnLst>
              <a:rect l="l" t="t" r="r" b="b"/>
              <a:pathLst>
                <a:path w="353555" h="761503">
                  <a:moveTo>
                    <a:pt x="283910" y="672820"/>
                  </a:moveTo>
                  <a:cubicBezTo>
                    <a:pt x="297508" y="672820"/>
                    <a:pt x="321985" y="672820"/>
                    <a:pt x="321985" y="689138"/>
                  </a:cubicBezTo>
                  <a:cubicBezTo>
                    <a:pt x="321985" y="697297"/>
                    <a:pt x="319266" y="697297"/>
                    <a:pt x="316546" y="705456"/>
                  </a:cubicBezTo>
                  <a:cubicBezTo>
                    <a:pt x="311107" y="710895"/>
                    <a:pt x="305667" y="713615"/>
                    <a:pt x="300228" y="713615"/>
                  </a:cubicBezTo>
                  <a:cubicBezTo>
                    <a:pt x="292069" y="716335"/>
                    <a:pt x="283910" y="716335"/>
                    <a:pt x="278471" y="716335"/>
                  </a:cubicBezTo>
                  <a:cubicBezTo>
                    <a:pt x="275751" y="716335"/>
                    <a:pt x="256713" y="716335"/>
                    <a:pt x="237676" y="716335"/>
                  </a:cubicBezTo>
                  <a:cubicBezTo>
                    <a:pt x="213199" y="716335"/>
                    <a:pt x="186003" y="719054"/>
                    <a:pt x="180563" y="719054"/>
                  </a:cubicBezTo>
                  <a:cubicBezTo>
                    <a:pt x="166965" y="719054"/>
                    <a:pt x="142488" y="719054"/>
                    <a:pt x="126170" y="719054"/>
                  </a:cubicBezTo>
                  <a:cubicBezTo>
                    <a:pt x="118011" y="719054"/>
                    <a:pt x="109852" y="719054"/>
                    <a:pt x="101693" y="719054"/>
                  </a:cubicBezTo>
                  <a:cubicBezTo>
                    <a:pt x="93534" y="719054"/>
                    <a:pt x="82655" y="719054"/>
                    <a:pt x="74496" y="713615"/>
                  </a:cubicBezTo>
                  <a:cubicBezTo>
                    <a:pt x="66337" y="710895"/>
                    <a:pt x="58178" y="702736"/>
                    <a:pt x="58178" y="697297"/>
                  </a:cubicBezTo>
                  <a:cubicBezTo>
                    <a:pt x="58178" y="694578"/>
                    <a:pt x="58178" y="691858"/>
                    <a:pt x="63618" y="689138"/>
                  </a:cubicBezTo>
                  <a:cubicBezTo>
                    <a:pt x="69057" y="686418"/>
                    <a:pt x="79936" y="683699"/>
                    <a:pt x="85375" y="680979"/>
                  </a:cubicBezTo>
                  <a:cubicBezTo>
                    <a:pt x="104413" y="678260"/>
                    <a:pt x="123450" y="675540"/>
                    <a:pt x="131609" y="675540"/>
                  </a:cubicBezTo>
                  <a:cubicBezTo>
                    <a:pt x="134329" y="675540"/>
                    <a:pt x="137049" y="675540"/>
                    <a:pt x="142488" y="675540"/>
                  </a:cubicBezTo>
                  <a:cubicBezTo>
                    <a:pt x="134329" y="670101"/>
                    <a:pt x="131609" y="661942"/>
                    <a:pt x="131609" y="653783"/>
                  </a:cubicBezTo>
                  <a:cubicBezTo>
                    <a:pt x="131609" y="648343"/>
                    <a:pt x="131609" y="642904"/>
                    <a:pt x="128890" y="640184"/>
                  </a:cubicBezTo>
                  <a:cubicBezTo>
                    <a:pt x="128890" y="637465"/>
                    <a:pt x="128890" y="634745"/>
                    <a:pt x="128890" y="629306"/>
                  </a:cubicBezTo>
                  <a:cubicBezTo>
                    <a:pt x="128890" y="626586"/>
                    <a:pt x="128890" y="623867"/>
                    <a:pt x="128890" y="621147"/>
                  </a:cubicBezTo>
                  <a:cubicBezTo>
                    <a:pt x="128890" y="612988"/>
                    <a:pt x="128890" y="604829"/>
                    <a:pt x="128890" y="593950"/>
                  </a:cubicBezTo>
                  <a:cubicBezTo>
                    <a:pt x="128890" y="591231"/>
                    <a:pt x="128890" y="585791"/>
                    <a:pt x="128890" y="583072"/>
                  </a:cubicBezTo>
                  <a:cubicBezTo>
                    <a:pt x="128890" y="534118"/>
                    <a:pt x="131609" y="485164"/>
                    <a:pt x="128890" y="436210"/>
                  </a:cubicBezTo>
                  <a:cubicBezTo>
                    <a:pt x="128890" y="409014"/>
                    <a:pt x="128890" y="384537"/>
                    <a:pt x="128890" y="357340"/>
                  </a:cubicBezTo>
                  <a:cubicBezTo>
                    <a:pt x="128890" y="335583"/>
                    <a:pt x="131609" y="313826"/>
                    <a:pt x="131609" y="289349"/>
                  </a:cubicBezTo>
                  <a:cubicBezTo>
                    <a:pt x="131609" y="275751"/>
                    <a:pt x="131609" y="264872"/>
                    <a:pt x="131609" y="251274"/>
                  </a:cubicBezTo>
                  <a:cubicBezTo>
                    <a:pt x="131609" y="234956"/>
                    <a:pt x="131609" y="221357"/>
                    <a:pt x="131609" y="205040"/>
                  </a:cubicBezTo>
                  <a:cubicBezTo>
                    <a:pt x="131609" y="183282"/>
                    <a:pt x="131609" y="161525"/>
                    <a:pt x="131609" y="139768"/>
                  </a:cubicBezTo>
                  <a:cubicBezTo>
                    <a:pt x="131609" y="137048"/>
                    <a:pt x="131609" y="134329"/>
                    <a:pt x="131609" y="128889"/>
                  </a:cubicBezTo>
                  <a:cubicBezTo>
                    <a:pt x="128890" y="128889"/>
                    <a:pt x="126170" y="128889"/>
                    <a:pt x="126170" y="128889"/>
                  </a:cubicBezTo>
                  <a:cubicBezTo>
                    <a:pt x="118011" y="128889"/>
                    <a:pt x="109852" y="128889"/>
                    <a:pt x="101693" y="128889"/>
                  </a:cubicBezTo>
                  <a:cubicBezTo>
                    <a:pt x="93534" y="128889"/>
                    <a:pt x="82655" y="128889"/>
                    <a:pt x="74496" y="123450"/>
                  </a:cubicBezTo>
                  <a:cubicBezTo>
                    <a:pt x="66337" y="120730"/>
                    <a:pt x="58178" y="112571"/>
                    <a:pt x="58178" y="107132"/>
                  </a:cubicBezTo>
                  <a:cubicBezTo>
                    <a:pt x="58178" y="104412"/>
                    <a:pt x="58178" y="101693"/>
                    <a:pt x="60898" y="98973"/>
                  </a:cubicBezTo>
                  <a:cubicBezTo>
                    <a:pt x="63618" y="96253"/>
                    <a:pt x="77216" y="93534"/>
                    <a:pt x="82655" y="93534"/>
                  </a:cubicBezTo>
                  <a:cubicBezTo>
                    <a:pt x="98973" y="90814"/>
                    <a:pt x="123450" y="88094"/>
                    <a:pt x="131609" y="88094"/>
                  </a:cubicBezTo>
                  <a:cubicBezTo>
                    <a:pt x="131609" y="85375"/>
                    <a:pt x="131609" y="85375"/>
                    <a:pt x="131609" y="82655"/>
                  </a:cubicBezTo>
                  <a:cubicBezTo>
                    <a:pt x="131609" y="77216"/>
                    <a:pt x="131609" y="74496"/>
                    <a:pt x="134329" y="71776"/>
                  </a:cubicBezTo>
                  <a:cubicBezTo>
                    <a:pt x="137049" y="69057"/>
                    <a:pt x="145208" y="66337"/>
                    <a:pt x="147927" y="63617"/>
                  </a:cubicBezTo>
                  <a:cubicBezTo>
                    <a:pt x="153366" y="60898"/>
                    <a:pt x="158806" y="58178"/>
                    <a:pt x="164245" y="58178"/>
                  </a:cubicBezTo>
                  <a:cubicBezTo>
                    <a:pt x="169684" y="58178"/>
                    <a:pt x="175124" y="58178"/>
                    <a:pt x="177843" y="58178"/>
                  </a:cubicBezTo>
                  <a:cubicBezTo>
                    <a:pt x="183283" y="58178"/>
                    <a:pt x="191442" y="58178"/>
                    <a:pt x="196881" y="60898"/>
                  </a:cubicBezTo>
                  <a:cubicBezTo>
                    <a:pt x="213199" y="63617"/>
                    <a:pt x="224078" y="74496"/>
                    <a:pt x="232237" y="88094"/>
                  </a:cubicBezTo>
                  <a:cubicBezTo>
                    <a:pt x="253994" y="88094"/>
                    <a:pt x="270312" y="88094"/>
                    <a:pt x="278471" y="88094"/>
                  </a:cubicBezTo>
                  <a:cubicBezTo>
                    <a:pt x="292069" y="88094"/>
                    <a:pt x="316546" y="88094"/>
                    <a:pt x="316546" y="104412"/>
                  </a:cubicBezTo>
                  <a:cubicBezTo>
                    <a:pt x="316546" y="112571"/>
                    <a:pt x="313826" y="112571"/>
                    <a:pt x="311107" y="120730"/>
                  </a:cubicBezTo>
                  <a:cubicBezTo>
                    <a:pt x="305667" y="126170"/>
                    <a:pt x="300228" y="128889"/>
                    <a:pt x="294789" y="128889"/>
                  </a:cubicBezTo>
                  <a:cubicBezTo>
                    <a:pt x="286630" y="131609"/>
                    <a:pt x="278471" y="131609"/>
                    <a:pt x="273032" y="131609"/>
                  </a:cubicBezTo>
                  <a:cubicBezTo>
                    <a:pt x="270312" y="131609"/>
                    <a:pt x="259433" y="131609"/>
                    <a:pt x="243115" y="131609"/>
                  </a:cubicBezTo>
                  <a:lnTo>
                    <a:pt x="243115" y="134329"/>
                  </a:lnTo>
                  <a:cubicBezTo>
                    <a:pt x="245835" y="145207"/>
                    <a:pt x="245835" y="158805"/>
                    <a:pt x="248554" y="169684"/>
                  </a:cubicBezTo>
                  <a:cubicBezTo>
                    <a:pt x="251274" y="180563"/>
                    <a:pt x="251274" y="194161"/>
                    <a:pt x="251274" y="205040"/>
                  </a:cubicBezTo>
                  <a:cubicBezTo>
                    <a:pt x="251274" y="215918"/>
                    <a:pt x="251274" y="226797"/>
                    <a:pt x="251274" y="240395"/>
                  </a:cubicBezTo>
                  <a:cubicBezTo>
                    <a:pt x="251274" y="245834"/>
                    <a:pt x="251274" y="251274"/>
                    <a:pt x="251274" y="256713"/>
                  </a:cubicBezTo>
                  <a:cubicBezTo>
                    <a:pt x="251274" y="262152"/>
                    <a:pt x="251274" y="267592"/>
                    <a:pt x="253994" y="270311"/>
                  </a:cubicBezTo>
                  <a:cubicBezTo>
                    <a:pt x="256713" y="294788"/>
                    <a:pt x="256713" y="319265"/>
                    <a:pt x="259433" y="343742"/>
                  </a:cubicBezTo>
                  <a:cubicBezTo>
                    <a:pt x="259433" y="370939"/>
                    <a:pt x="262153" y="398135"/>
                    <a:pt x="262153" y="425332"/>
                  </a:cubicBezTo>
                  <a:cubicBezTo>
                    <a:pt x="262153" y="447089"/>
                    <a:pt x="262153" y="468846"/>
                    <a:pt x="264872" y="490603"/>
                  </a:cubicBezTo>
                  <a:cubicBezTo>
                    <a:pt x="264872" y="515080"/>
                    <a:pt x="270312" y="539557"/>
                    <a:pt x="270312" y="564034"/>
                  </a:cubicBezTo>
                  <a:cubicBezTo>
                    <a:pt x="270312" y="574913"/>
                    <a:pt x="270312" y="588511"/>
                    <a:pt x="270312" y="599390"/>
                  </a:cubicBezTo>
                  <a:cubicBezTo>
                    <a:pt x="270312" y="612988"/>
                    <a:pt x="270312" y="623867"/>
                    <a:pt x="270312" y="637465"/>
                  </a:cubicBezTo>
                  <a:cubicBezTo>
                    <a:pt x="270312" y="648343"/>
                    <a:pt x="270312" y="661942"/>
                    <a:pt x="264872" y="670101"/>
                  </a:cubicBezTo>
                  <a:cubicBezTo>
                    <a:pt x="273032" y="672820"/>
                    <a:pt x="278471" y="672820"/>
                    <a:pt x="283910" y="672820"/>
                  </a:cubicBezTo>
                  <a:lnTo>
                    <a:pt x="283910" y="672820"/>
                  </a:ln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/>
            </a:p>
          </p:txBody>
        </p:sp>
        <p:sp>
          <p:nvSpPr>
            <p:cNvPr id="50" name="Freeform: Shape 49">
              <a:extLst>
                <a:ext uri="{FF2B5EF4-FFF2-40B4-BE49-F238E27FC236}">
                  <a16:creationId xmlns:a16="http://schemas.microsoft.com/office/drawing/2014/main" id="{D3FA18A3-B765-448E-A96D-70ECA09B74C4}"/>
                </a:ext>
              </a:extLst>
            </p:cNvPr>
            <p:cNvSpPr/>
            <p:nvPr/>
          </p:nvSpPr>
          <p:spPr bwMode="black">
            <a:xfrm>
              <a:off x="8652924" y="4192158"/>
              <a:ext cx="516735" cy="788700"/>
            </a:xfrm>
            <a:custGeom>
              <a:avLst/>
              <a:gdLst>
                <a:gd name="connsiteX0" fmla="*/ 464616 w 516735"/>
                <a:gd name="connsiteY0" fmla="*/ 436210 h 788699"/>
                <a:gd name="connsiteX1" fmla="*/ 445578 w 516735"/>
                <a:gd name="connsiteY1" fmla="*/ 455248 h 788699"/>
                <a:gd name="connsiteX2" fmla="*/ 404783 w 516735"/>
                <a:gd name="connsiteY2" fmla="*/ 466126 h 788699"/>
                <a:gd name="connsiteX3" fmla="*/ 385746 w 516735"/>
                <a:gd name="connsiteY3" fmla="*/ 479725 h 788699"/>
                <a:gd name="connsiteX4" fmla="*/ 388466 w 516735"/>
                <a:gd name="connsiteY4" fmla="*/ 512361 h 788699"/>
                <a:gd name="connsiteX5" fmla="*/ 388466 w 516735"/>
                <a:gd name="connsiteY5" fmla="*/ 544997 h 788699"/>
                <a:gd name="connsiteX6" fmla="*/ 388466 w 516735"/>
                <a:gd name="connsiteY6" fmla="*/ 566754 h 788699"/>
                <a:gd name="connsiteX7" fmla="*/ 391185 w 516735"/>
                <a:gd name="connsiteY7" fmla="*/ 632026 h 788699"/>
                <a:gd name="connsiteX8" fmla="*/ 393905 w 516735"/>
                <a:gd name="connsiteY8" fmla="*/ 683699 h 788699"/>
                <a:gd name="connsiteX9" fmla="*/ 377587 w 516735"/>
                <a:gd name="connsiteY9" fmla="*/ 724494 h 788699"/>
                <a:gd name="connsiteX10" fmla="*/ 361269 w 516735"/>
                <a:gd name="connsiteY10" fmla="*/ 719054 h 788699"/>
                <a:gd name="connsiteX11" fmla="*/ 353110 w 516735"/>
                <a:gd name="connsiteY11" fmla="*/ 702737 h 788699"/>
                <a:gd name="connsiteX12" fmla="*/ 350390 w 516735"/>
                <a:gd name="connsiteY12" fmla="*/ 686419 h 788699"/>
                <a:gd name="connsiteX13" fmla="*/ 353110 w 516735"/>
                <a:gd name="connsiteY13" fmla="*/ 659222 h 788699"/>
                <a:gd name="connsiteX14" fmla="*/ 353110 w 516735"/>
                <a:gd name="connsiteY14" fmla="*/ 656502 h 788699"/>
                <a:gd name="connsiteX15" fmla="*/ 317754 w 516735"/>
                <a:gd name="connsiteY15" fmla="*/ 708176 h 788699"/>
                <a:gd name="connsiteX16" fmla="*/ 241604 w 516735"/>
                <a:gd name="connsiteY16" fmla="*/ 735372 h 788699"/>
                <a:gd name="connsiteX17" fmla="*/ 187211 w 516735"/>
                <a:gd name="connsiteY17" fmla="*/ 727214 h 788699"/>
                <a:gd name="connsiteX18" fmla="*/ 135537 w 516735"/>
                <a:gd name="connsiteY18" fmla="*/ 694578 h 788699"/>
                <a:gd name="connsiteX19" fmla="*/ 86583 w 516735"/>
                <a:gd name="connsiteY19" fmla="*/ 621147 h 788699"/>
                <a:gd name="connsiteX20" fmla="*/ 67546 w 516735"/>
                <a:gd name="connsiteY20" fmla="*/ 555875 h 788699"/>
                <a:gd name="connsiteX21" fmla="*/ 59387 w 516735"/>
                <a:gd name="connsiteY21" fmla="*/ 509641 h 788699"/>
                <a:gd name="connsiteX22" fmla="*/ 59387 w 516735"/>
                <a:gd name="connsiteY22" fmla="*/ 468846 h 788699"/>
                <a:gd name="connsiteX23" fmla="*/ 86583 w 516735"/>
                <a:gd name="connsiteY23" fmla="*/ 302947 h 788699"/>
                <a:gd name="connsiteX24" fmla="*/ 108341 w 516735"/>
                <a:gd name="connsiteY24" fmla="*/ 224077 h 788699"/>
                <a:gd name="connsiteX25" fmla="*/ 146416 w 516735"/>
                <a:gd name="connsiteY25" fmla="*/ 145207 h 788699"/>
                <a:gd name="connsiteX26" fmla="*/ 198090 w 516735"/>
                <a:gd name="connsiteY26" fmla="*/ 85375 h 788699"/>
                <a:gd name="connsiteX27" fmla="*/ 228006 w 516735"/>
                <a:gd name="connsiteY27" fmla="*/ 69057 h 788699"/>
                <a:gd name="connsiteX28" fmla="*/ 268801 w 516735"/>
                <a:gd name="connsiteY28" fmla="*/ 58178 h 788699"/>
                <a:gd name="connsiteX29" fmla="*/ 274240 w 516735"/>
                <a:gd name="connsiteY29" fmla="*/ 58178 h 788699"/>
                <a:gd name="connsiteX30" fmla="*/ 295997 w 516735"/>
                <a:gd name="connsiteY30" fmla="*/ 60898 h 788699"/>
                <a:gd name="connsiteX31" fmla="*/ 331353 w 516735"/>
                <a:gd name="connsiteY31" fmla="*/ 71776 h 788699"/>
                <a:gd name="connsiteX32" fmla="*/ 350390 w 516735"/>
                <a:gd name="connsiteY32" fmla="*/ 93534 h 788699"/>
                <a:gd name="connsiteX33" fmla="*/ 353110 w 516735"/>
                <a:gd name="connsiteY33" fmla="*/ 74496 h 788699"/>
                <a:gd name="connsiteX34" fmla="*/ 358549 w 516735"/>
                <a:gd name="connsiteY34" fmla="*/ 63618 h 788699"/>
                <a:gd name="connsiteX35" fmla="*/ 366708 w 516735"/>
                <a:gd name="connsiteY35" fmla="*/ 58178 h 788699"/>
                <a:gd name="connsiteX36" fmla="*/ 374867 w 516735"/>
                <a:gd name="connsiteY36" fmla="*/ 63618 h 788699"/>
                <a:gd name="connsiteX37" fmla="*/ 383027 w 516735"/>
                <a:gd name="connsiteY37" fmla="*/ 82655 h 788699"/>
                <a:gd name="connsiteX38" fmla="*/ 385746 w 516735"/>
                <a:gd name="connsiteY38" fmla="*/ 126170 h 788699"/>
                <a:gd name="connsiteX39" fmla="*/ 388466 w 516735"/>
                <a:gd name="connsiteY39" fmla="*/ 186002 h 788699"/>
                <a:gd name="connsiteX40" fmla="*/ 391185 w 516735"/>
                <a:gd name="connsiteY40" fmla="*/ 237676 h 788699"/>
                <a:gd name="connsiteX41" fmla="*/ 374867 w 516735"/>
                <a:gd name="connsiteY41" fmla="*/ 278470 h 788699"/>
                <a:gd name="connsiteX42" fmla="*/ 358549 w 516735"/>
                <a:gd name="connsiteY42" fmla="*/ 273031 h 788699"/>
                <a:gd name="connsiteX43" fmla="*/ 350390 w 516735"/>
                <a:gd name="connsiteY43" fmla="*/ 256713 h 788699"/>
                <a:gd name="connsiteX44" fmla="*/ 347671 w 516735"/>
                <a:gd name="connsiteY44" fmla="*/ 240395 h 788699"/>
                <a:gd name="connsiteX45" fmla="*/ 347671 w 516735"/>
                <a:gd name="connsiteY45" fmla="*/ 213199 h 788699"/>
                <a:gd name="connsiteX46" fmla="*/ 344951 w 516735"/>
                <a:gd name="connsiteY46" fmla="*/ 194161 h 788699"/>
                <a:gd name="connsiteX47" fmla="*/ 339512 w 516735"/>
                <a:gd name="connsiteY47" fmla="*/ 150647 h 788699"/>
                <a:gd name="connsiteX48" fmla="*/ 323194 w 516735"/>
                <a:gd name="connsiteY48" fmla="*/ 112571 h 788699"/>
                <a:gd name="connsiteX49" fmla="*/ 293278 w 516735"/>
                <a:gd name="connsiteY49" fmla="*/ 101693 h 788699"/>
                <a:gd name="connsiteX50" fmla="*/ 263361 w 516735"/>
                <a:gd name="connsiteY50" fmla="*/ 120730 h 788699"/>
                <a:gd name="connsiteX51" fmla="*/ 241604 w 516735"/>
                <a:gd name="connsiteY51" fmla="*/ 153366 h 788699"/>
                <a:gd name="connsiteX52" fmla="*/ 233445 w 516735"/>
                <a:gd name="connsiteY52" fmla="*/ 194161 h 788699"/>
                <a:gd name="connsiteX53" fmla="*/ 225286 w 516735"/>
                <a:gd name="connsiteY53" fmla="*/ 232236 h 788699"/>
                <a:gd name="connsiteX54" fmla="*/ 217127 w 516735"/>
                <a:gd name="connsiteY54" fmla="*/ 275751 h 788699"/>
                <a:gd name="connsiteX55" fmla="*/ 211688 w 516735"/>
                <a:gd name="connsiteY55" fmla="*/ 316545 h 788699"/>
                <a:gd name="connsiteX56" fmla="*/ 206249 w 516735"/>
                <a:gd name="connsiteY56" fmla="*/ 354621 h 788699"/>
                <a:gd name="connsiteX57" fmla="*/ 200809 w 516735"/>
                <a:gd name="connsiteY57" fmla="*/ 398135 h 788699"/>
                <a:gd name="connsiteX58" fmla="*/ 195370 w 516735"/>
                <a:gd name="connsiteY58" fmla="*/ 438930 h 788699"/>
                <a:gd name="connsiteX59" fmla="*/ 192650 w 516735"/>
                <a:gd name="connsiteY59" fmla="*/ 474286 h 788699"/>
                <a:gd name="connsiteX60" fmla="*/ 195370 w 516735"/>
                <a:gd name="connsiteY60" fmla="*/ 525959 h 788699"/>
                <a:gd name="connsiteX61" fmla="*/ 208968 w 516735"/>
                <a:gd name="connsiteY61" fmla="*/ 596670 h 788699"/>
                <a:gd name="connsiteX62" fmla="*/ 214407 w 516735"/>
                <a:gd name="connsiteY62" fmla="*/ 623867 h 788699"/>
                <a:gd name="connsiteX63" fmla="*/ 228006 w 516735"/>
                <a:gd name="connsiteY63" fmla="*/ 656502 h 788699"/>
                <a:gd name="connsiteX64" fmla="*/ 271520 w 516735"/>
                <a:gd name="connsiteY64" fmla="*/ 689138 h 788699"/>
                <a:gd name="connsiteX65" fmla="*/ 306876 w 516735"/>
                <a:gd name="connsiteY65" fmla="*/ 664661 h 788699"/>
                <a:gd name="connsiteX66" fmla="*/ 331353 w 516735"/>
                <a:gd name="connsiteY66" fmla="*/ 602109 h 788699"/>
                <a:gd name="connsiteX67" fmla="*/ 336792 w 516735"/>
                <a:gd name="connsiteY67" fmla="*/ 544997 h 788699"/>
                <a:gd name="connsiteX68" fmla="*/ 336792 w 516735"/>
                <a:gd name="connsiteY68" fmla="*/ 498762 h 788699"/>
                <a:gd name="connsiteX69" fmla="*/ 336792 w 516735"/>
                <a:gd name="connsiteY69" fmla="*/ 490603 h 788699"/>
                <a:gd name="connsiteX70" fmla="*/ 320474 w 516735"/>
                <a:gd name="connsiteY70" fmla="*/ 477005 h 788699"/>
                <a:gd name="connsiteX71" fmla="*/ 282399 w 516735"/>
                <a:gd name="connsiteY71" fmla="*/ 479725 h 788699"/>
                <a:gd name="connsiteX72" fmla="*/ 252483 w 516735"/>
                <a:gd name="connsiteY72" fmla="*/ 474286 h 788699"/>
                <a:gd name="connsiteX73" fmla="*/ 247044 w 516735"/>
                <a:gd name="connsiteY73" fmla="*/ 466126 h 788699"/>
                <a:gd name="connsiteX74" fmla="*/ 249763 w 516735"/>
                <a:gd name="connsiteY74" fmla="*/ 457968 h 788699"/>
                <a:gd name="connsiteX75" fmla="*/ 268801 w 516735"/>
                <a:gd name="connsiteY75" fmla="*/ 447089 h 788699"/>
                <a:gd name="connsiteX76" fmla="*/ 312315 w 516735"/>
                <a:gd name="connsiteY76" fmla="*/ 436210 h 788699"/>
                <a:gd name="connsiteX77" fmla="*/ 353110 w 516735"/>
                <a:gd name="connsiteY77" fmla="*/ 430771 h 788699"/>
                <a:gd name="connsiteX78" fmla="*/ 385746 w 516735"/>
                <a:gd name="connsiteY78" fmla="*/ 430771 h 788699"/>
                <a:gd name="connsiteX79" fmla="*/ 437420 w 516735"/>
                <a:gd name="connsiteY79" fmla="*/ 428051 h 788699"/>
                <a:gd name="connsiteX80" fmla="*/ 464616 w 516735"/>
                <a:gd name="connsiteY80" fmla="*/ 436210 h 7886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</a:cxnLst>
              <a:rect l="l" t="t" r="r" b="b"/>
              <a:pathLst>
                <a:path w="516735" h="788699">
                  <a:moveTo>
                    <a:pt x="464616" y="436210"/>
                  </a:moveTo>
                  <a:cubicBezTo>
                    <a:pt x="464616" y="447089"/>
                    <a:pt x="453738" y="452528"/>
                    <a:pt x="445578" y="455248"/>
                  </a:cubicBezTo>
                  <a:cubicBezTo>
                    <a:pt x="434700" y="460687"/>
                    <a:pt x="415662" y="463407"/>
                    <a:pt x="404783" y="466126"/>
                  </a:cubicBezTo>
                  <a:cubicBezTo>
                    <a:pt x="393905" y="466126"/>
                    <a:pt x="385746" y="468846"/>
                    <a:pt x="385746" y="479725"/>
                  </a:cubicBezTo>
                  <a:cubicBezTo>
                    <a:pt x="385746" y="487884"/>
                    <a:pt x="388466" y="506921"/>
                    <a:pt x="388466" y="512361"/>
                  </a:cubicBezTo>
                  <a:cubicBezTo>
                    <a:pt x="388466" y="515080"/>
                    <a:pt x="388466" y="539557"/>
                    <a:pt x="388466" y="544997"/>
                  </a:cubicBezTo>
                  <a:cubicBezTo>
                    <a:pt x="388466" y="550436"/>
                    <a:pt x="388466" y="558595"/>
                    <a:pt x="388466" y="566754"/>
                  </a:cubicBezTo>
                  <a:cubicBezTo>
                    <a:pt x="388466" y="591231"/>
                    <a:pt x="388466" y="621147"/>
                    <a:pt x="391185" y="632026"/>
                  </a:cubicBezTo>
                  <a:cubicBezTo>
                    <a:pt x="393905" y="653783"/>
                    <a:pt x="393905" y="661942"/>
                    <a:pt x="393905" y="683699"/>
                  </a:cubicBezTo>
                  <a:cubicBezTo>
                    <a:pt x="393905" y="694578"/>
                    <a:pt x="393905" y="724494"/>
                    <a:pt x="377587" y="724494"/>
                  </a:cubicBezTo>
                  <a:cubicBezTo>
                    <a:pt x="369428" y="724494"/>
                    <a:pt x="366708" y="721774"/>
                    <a:pt x="361269" y="719054"/>
                  </a:cubicBezTo>
                  <a:cubicBezTo>
                    <a:pt x="355830" y="716335"/>
                    <a:pt x="353110" y="708176"/>
                    <a:pt x="353110" y="702737"/>
                  </a:cubicBezTo>
                  <a:cubicBezTo>
                    <a:pt x="350390" y="694578"/>
                    <a:pt x="350390" y="689138"/>
                    <a:pt x="350390" y="686419"/>
                  </a:cubicBezTo>
                  <a:cubicBezTo>
                    <a:pt x="350390" y="678260"/>
                    <a:pt x="353110" y="672820"/>
                    <a:pt x="353110" y="659222"/>
                  </a:cubicBezTo>
                  <a:lnTo>
                    <a:pt x="353110" y="656502"/>
                  </a:lnTo>
                  <a:cubicBezTo>
                    <a:pt x="347671" y="675540"/>
                    <a:pt x="334073" y="694578"/>
                    <a:pt x="317754" y="708176"/>
                  </a:cubicBezTo>
                  <a:cubicBezTo>
                    <a:pt x="293278" y="727214"/>
                    <a:pt x="274240" y="735372"/>
                    <a:pt x="241604" y="735372"/>
                  </a:cubicBezTo>
                  <a:cubicBezTo>
                    <a:pt x="222566" y="735372"/>
                    <a:pt x="203529" y="732653"/>
                    <a:pt x="187211" y="727214"/>
                  </a:cubicBezTo>
                  <a:cubicBezTo>
                    <a:pt x="165454" y="719054"/>
                    <a:pt x="149136" y="708176"/>
                    <a:pt x="135537" y="694578"/>
                  </a:cubicBezTo>
                  <a:cubicBezTo>
                    <a:pt x="113780" y="672820"/>
                    <a:pt x="100182" y="648343"/>
                    <a:pt x="86583" y="621147"/>
                  </a:cubicBezTo>
                  <a:cubicBezTo>
                    <a:pt x="75705" y="599390"/>
                    <a:pt x="70266" y="580352"/>
                    <a:pt x="67546" y="555875"/>
                  </a:cubicBezTo>
                  <a:cubicBezTo>
                    <a:pt x="64826" y="539557"/>
                    <a:pt x="62107" y="525959"/>
                    <a:pt x="59387" y="509641"/>
                  </a:cubicBezTo>
                  <a:cubicBezTo>
                    <a:pt x="56667" y="493323"/>
                    <a:pt x="59387" y="485164"/>
                    <a:pt x="59387" y="468846"/>
                  </a:cubicBezTo>
                  <a:cubicBezTo>
                    <a:pt x="59387" y="414453"/>
                    <a:pt x="72985" y="362780"/>
                    <a:pt x="86583" y="302947"/>
                  </a:cubicBezTo>
                  <a:cubicBezTo>
                    <a:pt x="92023" y="275751"/>
                    <a:pt x="100182" y="248554"/>
                    <a:pt x="108341" y="224077"/>
                  </a:cubicBezTo>
                  <a:cubicBezTo>
                    <a:pt x="116500" y="196881"/>
                    <a:pt x="130098" y="169684"/>
                    <a:pt x="146416" y="145207"/>
                  </a:cubicBezTo>
                  <a:cubicBezTo>
                    <a:pt x="160014" y="123450"/>
                    <a:pt x="176332" y="101693"/>
                    <a:pt x="198090" y="85375"/>
                  </a:cubicBezTo>
                  <a:cubicBezTo>
                    <a:pt x="206249" y="77216"/>
                    <a:pt x="217127" y="71776"/>
                    <a:pt x="228006" y="69057"/>
                  </a:cubicBezTo>
                  <a:cubicBezTo>
                    <a:pt x="241604" y="63618"/>
                    <a:pt x="255202" y="58178"/>
                    <a:pt x="268801" y="58178"/>
                  </a:cubicBezTo>
                  <a:cubicBezTo>
                    <a:pt x="271520" y="58178"/>
                    <a:pt x="274240" y="58178"/>
                    <a:pt x="274240" y="58178"/>
                  </a:cubicBezTo>
                  <a:cubicBezTo>
                    <a:pt x="279679" y="58178"/>
                    <a:pt x="285119" y="58178"/>
                    <a:pt x="295997" y="60898"/>
                  </a:cubicBezTo>
                  <a:cubicBezTo>
                    <a:pt x="309595" y="63618"/>
                    <a:pt x="320474" y="66337"/>
                    <a:pt x="331353" y="71776"/>
                  </a:cubicBezTo>
                  <a:cubicBezTo>
                    <a:pt x="339512" y="77216"/>
                    <a:pt x="347671" y="85375"/>
                    <a:pt x="350390" y="93534"/>
                  </a:cubicBezTo>
                  <a:cubicBezTo>
                    <a:pt x="350390" y="88095"/>
                    <a:pt x="353110" y="79936"/>
                    <a:pt x="353110" y="74496"/>
                  </a:cubicBezTo>
                  <a:cubicBezTo>
                    <a:pt x="355830" y="71776"/>
                    <a:pt x="355830" y="69057"/>
                    <a:pt x="358549" y="63618"/>
                  </a:cubicBezTo>
                  <a:cubicBezTo>
                    <a:pt x="361269" y="60898"/>
                    <a:pt x="363989" y="58178"/>
                    <a:pt x="366708" y="58178"/>
                  </a:cubicBezTo>
                  <a:cubicBezTo>
                    <a:pt x="369428" y="58178"/>
                    <a:pt x="372148" y="60898"/>
                    <a:pt x="374867" y="63618"/>
                  </a:cubicBezTo>
                  <a:cubicBezTo>
                    <a:pt x="377587" y="69057"/>
                    <a:pt x="380307" y="77216"/>
                    <a:pt x="383027" y="82655"/>
                  </a:cubicBezTo>
                  <a:cubicBezTo>
                    <a:pt x="383027" y="90814"/>
                    <a:pt x="385746" y="107132"/>
                    <a:pt x="385746" y="126170"/>
                  </a:cubicBezTo>
                  <a:cubicBezTo>
                    <a:pt x="385746" y="150647"/>
                    <a:pt x="385746" y="177843"/>
                    <a:pt x="388466" y="186002"/>
                  </a:cubicBezTo>
                  <a:cubicBezTo>
                    <a:pt x="391185" y="207759"/>
                    <a:pt x="391185" y="215918"/>
                    <a:pt x="391185" y="237676"/>
                  </a:cubicBezTo>
                  <a:cubicBezTo>
                    <a:pt x="391185" y="248554"/>
                    <a:pt x="391185" y="278470"/>
                    <a:pt x="374867" y="278470"/>
                  </a:cubicBezTo>
                  <a:cubicBezTo>
                    <a:pt x="366708" y="278470"/>
                    <a:pt x="363989" y="275751"/>
                    <a:pt x="358549" y="273031"/>
                  </a:cubicBezTo>
                  <a:cubicBezTo>
                    <a:pt x="353110" y="270311"/>
                    <a:pt x="350390" y="262152"/>
                    <a:pt x="350390" y="256713"/>
                  </a:cubicBezTo>
                  <a:cubicBezTo>
                    <a:pt x="350390" y="251274"/>
                    <a:pt x="347671" y="245834"/>
                    <a:pt x="347671" y="240395"/>
                  </a:cubicBezTo>
                  <a:cubicBezTo>
                    <a:pt x="347671" y="232236"/>
                    <a:pt x="347671" y="224077"/>
                    <a:pt x="347671" y="213199"/>
                  </a:cubicBezTo>
                  <a:cubicBezTo>
                    <a:pt x="347671" y="207759"/>
                    <a:pt x="347671" y="199600"/>
                    <a:pt x="344951" y="194161"/>
                  </a:cubicBezTo>
                  <a:cubicBezTo>
                    <a:pt x="342232" y="180563"/>
                    <a:pt x="342232" y="164245"/>
                    <a:pt x="339512" y="150647"/>
                  </a:cubicBezTo>
                  <a:cubicBezTo>
                    <a:pt x="336792" y="137048"/>
                    <a:pt x="331353" y="123450"/>
                    <a:pt x="323194" y="112571"/>
                  </a:cubicBezTo>
                  <a:cubicBezTo>
                    <a:pt x="317754" y="104412"/>
                    <a:pt x="304156" y="101693"/>
                    <a:pt x="293278" y="101693"/>
                  </a:cubicBezTo>
                  <a:cubicBezTo>
                    <a:pt x="279679" y="101693"/>
                    <a:pt x="271520" y="109852"/>
                    <a:pt x="263361" y="120730"/>
                  </a:cubicBezTo>
                  <a:cubicBezTo>
                    <a:pt x="257922" y="131609"/>
                    <a:pt x="247044" y="139768"/>
                    <a:pt x="241604" y="153366"/>
                  </a:cubicBezTo>
                  <a:cubicBezTo>
                    <a:pt x="236165" y="166964"/>
                    <a:pt x="233445" y="180563"/>
                    <a:pt x="233445" y="194161"/>
                  </a:cubicBezTo>
                  <a:cubicBezTo>
                    <a:pt x="233445" y="207759"/>
                    <a:pt x="230725" y="218638"/>
                    <a:pt x="225286" y="232236"/>
                  </a:cubicBezTo>
                  <a:cubicBezTo>
                    <a:pt x="219847" y="245834"/>
                    <a:pt x="219847" y="262152"/>
                    <a:pt x="217127" y="275751"/>
                  </a:cubicBezTo>
                  <a:cubicBezTo>
                    <a:pt x="214407" y="289349"/>
                    <a:pt x="214407" y="302947"/>
                    <a:pt x="211688" y="316545"/>
                  </a:cubicBezTo>
                  <a:cubicBezTo>
                    <a:pt x="211688" y="330144"/>
                    <a:pt x="206249" y="341022"/>
                    <a:pt x="206249" y="354621"/>
                  </a:cubicBezTo>
                  <a:cubicBezTo>
                    <a:pt x="203529" y="368219"/>
                    <a:pt x="203529" y="381817"/>
                    <a:pt x="200809" y="398135"/>
                  </a:cubicBezTo>
                  <a:cubicBezTo>
                    <a:pt x="198090" y="411733"/>
                    <a:pt x="198090" y="425332"/>
                    <a:pt x="195370" y="438930"/>
                  </a:cubicBezTo>
                  <a:cubicBezTo>
                    <a:pt x="195370" y="449809"/>
                    <a:pt x="192650" y="463407"/>
                    <a:pt x="192650" y="474286"/>
                  </a:cubicBezTo>
                  <a:cubicBezTo>
                    <a:pt x="192650" y="490603"/>
                    <a:pt x="195370" y="509641"/>
                    <a:pt x="195370" y="525959"/>
                  </a:cubicBezTo>
                  <a:cubicBezTo>
                    <a:pt x="195370" y="550436"/>
                    <a:pt x="203529" y="572193"/>
                    <a:pt x="208968" y="596670"/>
                  </a:cubicBezTo>
                  <a:cubicBezTo>
                    <a:pt x="211688" y="604829"/>
                    <a:pt x="211688" y="615708"/>
                    <a:pt x="214407" y="623867"/>
                  </a:cubicBezTo>
                  <a:cubicBezTo>
                    <a:pt x="217127" y="634745"/>
                    <a:pt x="222566" y="645624"/>
                    <a:pt x="228006" y="656502"/>
                  </a:cubicBezTo>
                  <a:cubicBezTo>
                    <a:pt x="236165" y="670101"/>
                    <a:pt x="252483" y="689138"/>
                    <a:pt x="271520" y="689138"/>
                  </a:cubicBezTo>
                  <a:cubicBezTo>
                    <a:pt x="287838" y="689138"/>
                    <a:pt x="298717" y="675540"/>
                    <a:pt x="306876" y="664661"/>
                  </a:cubicBezTo>
                  <a:cubicBezTo>
                    <a:pt x="320474" y="645624"/>
                    <a:pt x="325914" y="623867"/>
                    <a:pt x="331353" y="602109"/>
                  </a:cubicBezTo>
                  <a:cubicBezTo>
                    <a:pt x="334073" y="583072"/>
                    <a:pt x="336792" y="564034"/>
                    <a:pt x="336792" y="544997"/>
                  </a:cubicBezTo>
                  <a:cubicBezTo>
                    <a:pt x="336792" y="531398"/>
                    <a:pt x="336792" y="512361"/>
                    <a:pt x="336792" y="498762"/>
                  </a:cubicBezTo>
                  <a:cubicBezTo>
                    <a:pt x="336792" y="496043"/>
                    <a:pt x="336792" y="493323"/>
                    <a:pt x="336792" y="490603"/>
                  </a:cubicBezTo>
                  <a:cubicBezTo>
                    <a:pt x="336792" y="479725"/>
                    <a:pt x="336792" y="477005"/>
                    <a:pt x="320474" y="477005"/>
                  </a:cubicBezTo>
                  <a:cubicBezTo>
                    <a:pt x="309595" y="477005"/>
                    <a:pt x="295997" y="479725"/>
                    <a:pt x="282399" y="479725"/>
                  </a:cubicBezTo>
                  <a:cubicBezTo>
                    <a:pt x="271520" y="479725"/>
                    <a:pt x="260642" y="479725"/>
                    <a:pt x="252483" y="474286"/>
                  </a:cubicBezTo>
                  <a:cubicBezTo>
                    <a:pt x="249763" y="471566"/>
                    <a:pt x="247044" y="468846"/>
                    <a:pt x="247044" y="466126"/>
                  </a:cubicBezTo>
                  <a:cubicBezTo>
                    <a:pt x="247044" y="463407"/>
                    <a:pt x="247044" y="460687"/>
                    <a:pt x="249763" y="457968"/>
                  </a:cubicBezTo>
                  <a:cubicBezTo>
                    <a:pt x="255202" y="452528"/>
                    <a:pt x="260642" y="449809"/>
                    <a:pt x="268801" y="447089"/>
                  </a:cubicBezTo>
                  <a:cubicBezTo>
                    <a:pt x="282399" y="441650"/>
                    <a:pt x="295997" y="438930"/>
                    <a:pt x="312315" y="436210"/>
                  </a:cubicBezTo>
                  <a:cubicBezTo>
                    <a:pt x="325914" y="433491"/>
                    <a:pt x="339512" y="433491"/>
                    <a:pt x="353110" y="430771"/>
                  </a:cubicBezTo>
                  <a:cubicBezTo>
                    <a:pt x="363989" y="430771"/>
                    <a:pt x="374867" y="430771"/>
                    <a:pt x="385746" y="430771"/>
                  </a:cubicBezTo>
                  <a:cubicBezTo>
                    <a:pt x="402064" y="430771"/>
                    <a:pt x="426541" y="428051"/>
                    <a:pt x="437420" y="428051"/>
                  </a:cubicBezTo>
                  <a:cubicBezTo>
                    <a:pt x="451018" y="422612"/>
                    <a:pt x="464616" y="425332"/>
                    <a:pt x="464616" y="436210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/>
            </a:p>
          </p:txBody>
        </p:sp>
        <p:sp>
          <p:nvSpPr>
            <p:cNvPr id="51" name="Freeform: Shape 50">
              <a:extLst>
                <a:ext uri="{FF2B5EF4-FFF2-40B4-BE49-F238E27FC236}">
                  <a16:creationId xmlns:a16="http://schemas.microsoft.com/office/drawing/2014/main" id="{C909F6E8-DEAA-40C5-A466-3C2C305FF26A}"/>
                </a:ext>
              </a:extLst>
            </p:cNvPr>
            <p:cNvSpPr/>
            <p:nvPr/>
          </p:nvSpPr>
          <p:spPr bwMode="black">
            <a:xfrm>
              <a:off x="9053923" y="4178559"/>
              <a:ext cx="625521" cy="788700"/>
            </a:xfrm>
            <a:custGeom>
              <a:avLst/>
              <a:gdLst>
                <a:gd name="connsiteX0" fmla="*/ 536838 w 625521"/>
                <a:gd name="connsiteY0" fmla="*/ 680979 h 788699"/>
                <a:gd name="connsiteX1" fmla="*/ 574913 w 625521"/>
                <a:gd name="connsiteY1" fmla="*/ 697297 h 788699"/>
                <a:gd name="connsiteX2" fmla="*/ 566755 w 625521"/>
                <a:gd name="connsiteY2" fmla="*/ 713615 h 788699"/>
                <a:gd name="connsiteX3" fmla="*/ 550437 w 625521"/>
                <a:gd name="connsiteY3" fmla="*/ 721774 h 788699"/>
                <a:gd name="connsiteX4" fmla="*/ 528680 w 625521"/>
                <a:gd name="connsiteY4" fmla="*/ 724494 h 788699"/>
                <a:gd name="connsiteX5" fmla="*/ 417174 w 625521"/>
                <a:gd name="connsiteY5" fmla="*/ 724494 h 788699"/>
                <a:gd name="connsiteX6" fmla="*/ 398136 w 625521"/>
                <a:gd name="connsiteY6" fmla="*/ 724494 h 788699"/>
                <a:gd name="connsiteX7" fmla="*/ 373659 w 625521"/>
                <a:gd name="connsiteY7" fmla="*/ 724494 h 788699"/>
                <a:gd name="connsiteX8" fmla="*/ 346462 w 625521"/>
                <a:gd name="connsiteY8" fmla="*/ 719054 h 788699"/>
                <a:gd name="connsiteX9" fmla="*/ 330144 w 625521"/>
                <a:gd name="connsiteY9" fmla="*/ 702737 h 788699"/>
                <a:gd name="connsiteX10" fmla="*/ 335584 w 625521"/>
                <a:gd name="connsiteY10" fmla="*/ 694578 h 788699"/>
                <a:gd name="connsiteX11" fmla="*/ 357341 w 625521"/>
                <a:gd name="connsiteY11" fmla="*/ 686419 h 788699"/>
                <a:gd name="connsiteX12" fmla="*/ 395416 w 625521"/>
                <a:gd name="connsiteY12" fmla="*/ 680979 h 788699"/>
                <a:gd name="connsiteX13" fmla="*/ 381817 w 625521"/>
                <a:gd name="connsiteY13" fmla="*/ 656502 h 788699"/>
                <a:gd name="connsiteX14" fmla="*/ 379098 w 625521"/>
                <a:gd name="connsiteY14" fmla="*/ 585791 h 788699"/>
                <a:gd name="connsiteX15" fmla="*/ 379098 w 625521"/>
                <a:gd name="connsiteY15" fmla="*/ 517800 h 788699"/>
                <a:gd name="connsiteX16" fmla="*/ 379098 w 625521"/>
                <a:gd name="connsiteY16" fmla="*/ 474286 h 788699"/>
                <a:gd name="connsiteX17" fmla="*/ 379098 w 625521"/>
                <a:gd name="connsiteY17" fmla="*/ 430771 h 788699"/>
                <a:gd name="connsiteX18" fmla="*/ 381817 w 625521"/>
                <a:gd name="connsiteY18" fmla="*/ 411733 h 788699"/>
                <a:gd name="connsiteX19" fmla="*/ 379098 w 625521"/>
                <a:gd name="connsiteY19" fmla="*/ 400855 h 788699"/>
                <a:gd name="connsiteX20" fmla="*/ 370939 w 625521"/>
                <a:gd name="connsiteY20" fmla="*/ 398135 h 788699"/>
                <a:gd name="connsiteX21" fmla="*/ 338304 w 625521"/>
                <a:gd name="connsiteY21" fmla="*/ 400855 h 788699"/>
                <a:gd name="connsiteX22" fmla="*/ 289349 w 625521"/>
                <a:gd name="connsiteY22" fmla="*/ 403575 h 788699"/>
                <a:gd name="connsiteX23" fmla="*/ 264872 w 625521"/>
                <a:gd name="connsiteY23" fmla="*/ 400855 h 788699"/>
                <a:gd name="connsiteX24" fmla="*/ 259433 w 625521"/>
                <a:gd name="connsiteY24" fmla="*/ 406294 h 788699"/>
                <a:gd name="connsiteX25" fmla="*/ 259433 w 625521"/>
                <a:gd name="connsiteY25" fmla="*/ 425332 h 788699"/>
                <a:gd name="connsiteX26" fmla="*/ 259433 w 625521"/>
                <a:gd name="connsiteY26" fmla="*/ 449809 h 788699"/>
                <a:gd name="connsiteX27" fmla="*/ 259433 w 625521"/>
                <a:gd name="connsiteY27" fmla="*/ 471566 h 788699"/>
                <a:gd name="connsiteX28" fmla="*/ 259433 w 625521"/>
                <a:gd name="connsiteY28" fmla="*/ 504202 h 788699"/>
                <a:gd name="connsiteX29" fmla="*/ 259433 w 625521"/>
                <a:gd name="connsiteY29" fmla="*/ 509641 h 788699"/>
                <a:gd name="connsiteX30" fmla="*/ 256714 w 625521"/>
                <a:gd name="connsiteY30" fmla="*/ 542277 h 788699"/>
                <a:gd name="connsiteX31" fmla="*/ 256714 w 625521"/>
                <a:gd name="connsiteY31" fmla="*/ 577632 h 788699"/>
                <a:gd name="connsiteX32" fmla="*/ 256714 w 625521"/>
                <a:gd name="connsiteY32" fmla="*/ 612988 h 788699"/>
                <a:gd name="connsiteX33" fmla="*/ 253994 w 625521"/>
                <a:gd name="connsiteY33" fmla="*/ 656502 h 788699"/>
                <a:gd name="connsiteX34" fmla="*/ 256714 w 625521"/>
                <a:gd name="connsiteY34" fmla="*/ 678260 h 788699"/>
                <a:gd name="connsiteX35" fmla="*/ 286629 w 625521"/>
                <a:gd name="connsiteY35" fmla="*/ 694578 h 788699"/>
                <a:gd name="connsiteX36" fmla="*/ 281191 w 625521"/>
                <a:gd name="connsiteY36" fmla="*/ 710895 h 788699"/>
                <a:gd name="connsiteX37" fmla="*/ 264872 w 625521"/>
                <a:gd name="connsiteY37" fmla="*/ 719054 h 788699"/>
                <a:gd name="connsiteX38" fmla="*/ 243116 w 625521"/>
                <a:gd name="connsiteY38" fmla="*/ 721774 h 788699"/>
                <a:gd name="connsiteX39" fmla="*/ 243116 w 625521"/>
                <a:gd name="connsiteY39" fmla="*/ 721774 h 788699"/>
                <a:gd name="connsiteX40" fmla="*/ 232236 w 625521"/>
                <a:gd name="connsiteY40" fmla="*/ 727214 h 788699"/>
                <a:gd name="connsiteX41" fmla="*/ 224078 w 625521"/>
                <a:gd name="connsiteY41" fmla="*/ 735372 h 788699"/>
                <a:gd name="connsiteX42" fmla="*/ 213199 w 625521"/>
                <a:gd name="connsiteY42" fmla="*/ 738092 h 788699"/>
                <a:gd name="connsiteX43" fmla="*/ 183283 w 625521"/>
                <a:gd name="connsiteY43" fmla="*/ 727214 h 788699"/>
                <a:gd name="connsiteX44" fmla="*/ 175124 w 625521"/>
                <a:gd name="connsiteY44" fmla="*/ 719054 h 788699"/>
                <a:gd name="connsiteX45" fmla="*/ 145208 w 625521"/>
                <a:gd name="connsiteY45" fmla="*/ 719054 h 788699"/>
                <a:gd name="connsiteX46" fmla="*/ 126170 w 625521"/>
                <a:gd name="connsiteY46" fmla="*/ 719054 h 788699"/>
                <a:gd name="connsiteX47" fmla="*/ 101693 w 625521"/>
                <a:gd name="connsiteY47" fmla="*/ 719054 h 788699"/>
                <a:gd name="connsiteX48" fmla="*/ 74496 w 625521"/>
                <a:gd name="connsiteY48" fmla="*/ 713615 h 788699"/>
                <a:gd name="connsiteX49" fmla="*/ 58178 w 625521"/>
                <a:gd name="connsiteY49" fmla="*/ 697297 h 788699"/>
                <a:gd name="connsiteX50" fmla="*/ 63618 w 625521"/>
                <a:gd name="connsiteY50" fmla="*/ 689138 h 788699"/>
                <a:gd name="connsiteX51" fmla="*/ 85375 w 625521"/>
                <a:gd name="connsiteY51" fmla="*/ 680979 h 788699"/>
                <a:gd name="connsiteX52" fmla="*/ 131609 w 625521"/>
                <a:gd name="connsiteY52" fmla="*/ 675540 h 788699"/>
                <a:gd name="connsiteX53" fmla="*/ 131609 w 625521"/>
                <a:gd name="connsiteY53" fmla="*/ 667381 h 788699"/>
                <a:gd name="connsiteX54" fmla="*/ 131609 w 625521"/>
                <a:gd name="connsiteY54" fmla="*/ 651063 h 788699"/>
                <a:gd name="connsiteX55" fmla="*/ 131609 w 625521"/>
                <a:gd name="connsiteY55" fmla="*/ 618427 h 788699"/>
                <a:gd name="connsiteX56" fmla="*/ 131609 w 625521"/>
                <a:gd name="connsiteY56" fmla="*/ 580352 h 788699"/>
                <a:gd name="connsiteX57" fmla="*/ 131609 w 625521"/>
                <a:gd name="connsiteY57" fmla="*/ 531398 h 788699"/>
                <a:gd name="connsiteX58" fmla="*/ 131609 w 625521"/>
                <a:gd name="connsiteY58" fmla="*/ 466126 h 788699"/>
                <a:gd name="connsiteX59" fmla="*/ 131609 w 625521"/>
                <a:gd name="connsiteY59" fmla="*/ 422612 h 788699"/>
                <a:gd name="connsiteX60" fmla="*/ 131609 w 625521"/>
                <a:gd name="connsiteY60" fmla="*/ 411733 h 788699"/>
                <a:gd name="connsiteX61" fmla="*/ 131609 w 625521"/>
                <a:gd name="connsiteY61" fmla="*/ 398135 h 788699"/>
                <a:gd name="connsiteX62" fmla="*/ 126170 w 625521"/>
                <a:gd name="connsiteY62" fmla="*/ 389976 h 788699"/>
                <a:gd name="connsiteX63" fmla="*/ 101693 w 625521"/>
                <a:gd name="connsiteY63" fmla="*/ 387257 h 788699"/>
                <a:gd name="connsiteX64" fmla="*/ 77216 w 625521"/>
                <a:gd name="connsiteY64" fmla="*/ 376378 h 788699"/>
                <a:gd name="connsiteX65" fmla="*/ 82655 w 625521"/>
                <a:gd name="connsiteY65" fmla="*/ 368219 h 788699"/>
                <a:gd name="connsiteX66" fmla="*/ 98973 w 625521"/>
                <a:gd name="connsiteY66" fmla="*/ 360060 h 788699"/>
                <a:gd name="connsiteX67" fmla="*/ 118011 w 625521"/>
                <a:gd name="connsiteY67" fmla="*/ 357340 h 788699"/>
                <a:gd name="connsiteX68" fmla="*/ 131609 w 625521"/>
                <a:gd name="connsiteY68" fmla="*/ 351901 h 788699"/>
                <a:gd name="connsiteX69" fmla="*/ 131609 w 625521"/>
                <a:gd name="connsiteY69" fmla="*/ 343742 h 788699"/>
                <a:gd name="connsiteX70" fmla="*/ 131609 w 625521"/>
                <a:gd name="connsiteY70" fmla="*/ 270311 h 788699"/>
                <a:gd name="connsiteX71" fmla="*/ 137048 w 625521"/>
                <a:gd name="connsiteY71" fmla="*/ 145207 h 788699"/>
                <a:gd name="connsiteX72" fmla="*/ 139768 w 625521"/>
                <a:gd name="connsiteY72" fmla="*/ 123450 h 788699"/>
                <a:gd name="connsiteX73" fmla="*/ 123450 w 625521"/>
                <a:gd name="connsiteY73" fmla="*/ 123450 h 788699"/>
                <a:gd name="connsiteX74" fmla="*/ 118011 w 625521"/>
                <a:gd name="connsiteY74" fmla="*/ 123450 h 788699"/>
                <a:gd name="connsiteX75" fmla="*/ 101693 w 625521"/>
                <a:gd name="connsiteY75" fmla="*/ 123450 h 788699"/>
                <a:gd name="connsiteX76" fmla="*/ 74496 w 625521"/>
                <a:gd name="connsiteY76" fmla="*/ 118011 h 788699"/>
                <a:gd name="connsiteX77" fmla="*/ 58178 w 625521"/>
                <a:gd name="connsiteY77" fmla="*/ 101693 h 788699"/>
                <a:gd name="connsiteX78" fmla="*/ 63618 w 625521"/>
                <a:gd name="connsiteY78" fmla="*/ 93534 h 788699"/>
                <a:gd name="connsiteX79" fmla="*/ 85375 w 625521"/>
                <a:gd name="connsiteY79" fmla="*/ 85375 h 788699"/>
                <a:gd name="connsiteX80" fmla="*/ 137048 w 625521"/>
                <a:gd name="connsiteY80" fmla="*/ 82655 h 788699"/>
                <a:gd name="connsiteX81" fmla="*/ 147927 w 625521"/>
                <a:gd name="connsiteY81" fmla="*/ 82655 h 788699"/>
                <a:gd name="connsiteX82" fmla="*/ 186003 w 625521"/>
                <a:gd name="connsiteY82" fmla="*/ 58178 h 788699"/>
                <a:gd name="connsiteX83" fmla="*/ 226797 w 625521"/>
                <a:gd name="connsiteY83" fmla="*/ 79936 h 788699"/>
                <a:gd name="connsiteX84" fmla="*/ 253994 w 625521"/>
                <a:gd name="connsiteY84" fmla="*/ 79936 h 788699"/>
                <a:gd name="connsiteX85" fmla="*/ 294789 w 625521"/>
                <a:gd name="connsiteY85" fmla="*/ 96253 h 788699"/>
                <a:gd name="connsiteX86" fmla="*/ 283910 w 625521"/>
                <a:gd name="connsiteY86" fmla="*/ 112571 h 788699"/>
                <a:gd name="connsiteX87" fmla="*/ 267592 w 625521"/>
                <a:gd name="connsiteY87" fmla="*/ 120730 h 788699"/>
                <a:gd name="connsiteX88" fmla="*/ 245835 w 625521"/>
                <a:gd name="connsiteY88" fmla="*/ 123450 h 788699"/>
                <a:gd name="connsiteX89" fmla="*/ 237676 w 625521"/>
                <a:gd name="connsiteY89" fmla="*/ 123450 h 788699"/>
                <a:gd name="connsiteX90" fmla="*/ 240396 w 625521"/>
                <a:gd name="connsiteY90" fmla="*/ 128889 h 788699"/>
                <a:gd name="connsiteX91" fmla="*/ 251274 w 625521"/>
                <a:gd name="connsiteY91" fmla="*/ 177843 h 788699"/>
                <a:gd name="connsiteX92" fmla="*/ 256714 w 625521"/>
                <a:gd name="connsiteY92" fmla="*/ 226797 h 788699"/>
                <a:gd name="connsiteX93" fmla="*/ 262153 w 625521"/>
                <a:gd name="connsiteY93" fmla="*/ 273031 h 788699"/>
                <a:gd name="connsiteX94" fmla="*/ 262153 w 625521"/>
                <a:gd name="connsiteY94" fmla="*/ 289349 h 788699"/>
                <a:gd name="connsiteX95" fmla="*/ 262153 w 625521"/>
                <a:gd name="connsiteY95" fmla="*/ 297508 h 788699"/>
                <a:gd name="connsiteX96" fmla="*/ 264872 w 625521"/>
                <a:gd name="connsiteY96" fmla="*/ 321985 h 788699"/>
                <a:gd name="connsiteX97" fmla="*/ 270312 w 625521"/>
                <a:gd name="connsiteY97" fmla="*/ 335583 h 788699"/>
                <a:gd name="connsiteX98" fmla="*/ 270312 w 625521"/>
                <a:gd name="connsiteY98" fmla="*/ 338303 h 788699"/>
                <a:gd name="connsiteX99" fmla="*/ 270312 w 625521"/>
                <a:gd name="connsiteY99" fmla="*/ 346462 h 788699"/>
                <a:gd name="connsiteX100" fmla="*/ 278471 w 625521"/>
                <a:gd name="connsiteY100" fmla="*/ 354621 h 788699"/>
                <a:gd name="connsiteX101" fmla="*/ 338304 w 625521"/>
                <a:gd name="connsiteY101" fmla="*/ 349181 h 788699"/>
                <a:gd name="connsiteX102" fmla="*/ 365500 w 625521"/>
                <a:gd name="connsiteY102" fmla="*/ 349181 h 788699"/>
                <a:gd name="connsiteX103" fmla="*/ 381817 w 625521"/>
                <a:gd name="connsiteY103" fmla="*/ 349181 h 788699"/>
                <a:gd name="connsiteX104" fmla="*/ 392697 w 625521"/>
                <a:gd name="connsiteY104" fmla="*/ 338303 h 788699"/>
                <a:gd name="connsiteX105" fmla="*/ 389977 w 625521"/>
                <a:gd name="connsiteY105" fmla="*/ 313826 h 788699"/>
                <a:gd name="connsiteX106" fmla="*/ 392697 w 625521"/>
                <a:gd name="connsiteY106" fmla="*/ 262152 h 788699"/>
                <a:gd name="connsiteX107" fmla="*/ 395416 w 625521"/>
                <a:gd name="connsiteY107" fmla="*/ 224077 h 788699"/>
                <a:gd name="connsiteX108" fmla="*/ 398136 w 625521"/>
                <a:gd name="connsiteY108" fmla="*/ 177843 h 788699"/>
                <a:gd name="connsiteX109" fmla="*/ 395416 w 625521"/>
                <a:gd name="connsiteY109" fmla="*/ 153366 h 788699"/>
                <a:gd name="connsiteX110" fmla="*/ 395416 w 625521"/>
                <a:gd name="connsiteY110" fmla="*/ 137048 h 788699"/>
                <a:gd name="connsiteX111" fmla="*/ 379098 w 625521"/>
                <a:gd name="connsiteY111" fmla="*/ 137048 h 788699"/>
                <a:gd name="connsiteX112" fmla="*/ 351902 w 625521"/>
                <a:gd name="connsiteY112" fmla="*/ 131609 h 788699"/>
                <a:gd name="connsiteX113" fmla="*/ 338304 w 625521"/>
                <a:gd name="connsiteY113" fmla="*/ 115291 h 788699"/>
                <a:gd name="connsiteX114" fmla="*/ 343742 w 625521"/>
                <a:gd name="connsiteY114" fmla="*/ 107132 h 788699"/>
                <a:gd name="connsiteX115" fmla="*/ 362780 w 625521"/>
                <a:gd name="connsiteY115" fmla="*/ 98973 h 788699"/>
                <a:gd name="connsiteX116" fmla="*/ 395416 w 625521"/>
                <a:gd name="connsiteY116" fmla="*/ 96253 h 788699"/>
                <a:gd name="connsiteX117" fmla="*/ 403575 w 625521"/>
                <a:gd name="connsiteY117" fmla="*/ 90814 h 788699"/>
                <a:gd name="connsiteX118" fmla="*/ 422612 w 625521"/>
                <a:gd name="connsiteY118" fmla="*/ 88095 h 788699"/>
                <a:gd name="connsiteX119" fmla="*/ 428052 w 625521"/>
                <a:gd name="connsiteY119" fmla="*/ 88095 h 788699"/>
                <a:gd name="connsiteX120" fmla="*/ 447090 w 625521"/>
                <a:gd name="connsiteY120" fmla="*/ 90814 h 788699"/>
                <a:gd name="connsiteX121" fmla="*/ 455249 w 625521"/>
                <a:gd name="connsiteY121" fmla="*/ 96253 h 788699"/>
                <a:gd name="connsiteX122" fmla="*/ 525960 w 625521"/>
                <a:gd name="connsiteY122" fmla="*/ 93534 h 788699"/>
                <a:gd name="connsiteX123" fmla="*/ 561315 w 625521"/>
                <a:gd name="connsiteY123" fmla="*/ 109852 h 788699"/>
                <a:gd name="connsiteX124" fmla="*/ 555876 w 625521"/>
                <a:gd name="connsiteY124" fmla="*/ 126170 h 788699"/>
                <a:gd name="connsiteX125" fmla="*/ 539558 w 625521"/>
                <a:gd name="connsiteY125" fmla="*/ 134329 h 788699"/>
                <a:gd name="connsiteX126" fmla="*/ 517800 w 625521"/>
                <a:gd name="connsiteY126" fmla="*/ 137048 h 788699"/>
                <a:gd name="connsiteX127" fmla="*/ 477006 w 625521"/>
                <a:gd name="connsiteY127" fmla="*/ 137048 h 788699"/>
                <a:gd name="connsiteX128" fmla="*/ 485165 w 625521"/>
                <a:gd name="connsiteY128" fmla="*/ 161525 h 788699"/>
                <a:gd name="connsiteX129" fmla="*/ 496043 w 625521"/>
                <a:gd name="connsiteY129" fmla="*/ 210479 h 788699"/>
                <a:gd name="connsiteX130" fmla="*/ 501483 w 625521"/>
                <a:gd name="connsiteY130" fmla="*/ 251274 h 788699"/>
                <a:gd name="connsiteX131" fmla="*/ 506922 w 625521"/>
                <a:gd name="connsiteY131" fmla="*/ 292069 h 788699"/>
                <a:gd name="connsiteX132" fmla="*/ 506922 w 625521"/>
                <a:gd name="connsiteY132" fmla="*/ 321985 h 788699"/>
                <a:gd name="connsiteX133" fmla="*/ 509642 w 625521"/>
                <a:gd name="connsiteY133" fmla="*/ 341022 h 788699"/>
                <a:gd name="connsiteX134" fmla="*/ 509642 w 625521"/>
                <a:gd name="connsiteY134" fmla="*/ 343742 h 788699"/>
                <a:gd name="connsiteX135" fmla="*/ 517800 w 625521"/>
                <a:gd name="connsiteY135" fmla="*/ 349181 h 788699"/>
                <a:gd name="connsiteX136" fmla="*/ 528680 w 625521"/>
                <a:gd name="connsiteY136" fmla="*/ 349181 h 788699"/>
                <a:gd name="connsiteX137" fmla="*/ 550437 w 625521"/>
                <a:gd name="connsiteY137" fmla="*/ 357340 h 788699"/>
                <a:gd name="connsiteX138" fmla="*/ 550437 w 625521"/>
                <a:gd name="connsiteY138" fmla="*/ 362780 h 788699"/>
                <a:gd name="connsiteX139" fmla="*/ 534119 w 625521"/>
                <a:gd name="connsiteY139" fmla="*/ 384537 h 788699"/>
                <a:gd name="connsiteX140" fmla="*/ 520520 w 625521"/>
                <a:gd name="connsiteY140" fmla="*/ 389976 h 788699"/>
                <a:gd name="connsiteX141" fmla="*/ 512362 w 625521"/>
                <a:gd name="connsiteY141" fmla="*/ 395415 h 788699"/>
                <a:gd name="connsiteX142" fmla="*/ 512362 w 625521"/>
                <a:gd name="connsiteY142" fmla="*/ 398135 h 788699"/>
                <a:gd name="connsiteX143" fmla="*/ 512362 w 625521"/>
                <a:gd name="connsiteY143" fmla="*/ 409014 h 788699"/>
                <a:gd name="connsiteX144" fmla="*/ 512362 w 625521"/>
                <a:gd name="connsiteY144" fmla="*/ 414453 h 788699"/>
                <a:gd name="connsiteX145" fmla="*/ 512362 w 625521"/>
                <a:gd name="connsiteY145" fmla="*/ 438930 h 788699"/>
                <a:gd name="connsiteX146" fmla="*/ 515081 w 625521"/>
                <a:gd name="connsiteY146" fmla="*/ 504202 h 788699"/>
                <a:gd name="connsiteX147" fmla="*/ 520520 w 625521"/>
                <a:gd name="connsiteY147" fmla="*/ 572193 h 788699"/>
                <a:gd name="connsiteX148" fmla="*/ 517800 w 625521"/>
                <a:gd name="connsiteY148" fmla="*/ 604829 h 788699"/>
                <a:gd name="connsiteX149" fmla="*/ 512362 w 625521"/>
                <a:gd name="connsiteY149" fmla="*/ 661942 h 788699"/>
                <a:gd name="connsiteX150" fmla="*/ 509642 w 625521"/>
                <a:gd name="connsiteY150" fmla="*/ 670101 h 788699"/>
                <a:gd name="connsiteX151" fmla="*/ 512362 w 625521"/>
                <a:gd name="connsiteY151" fmla="*/ 680979 h 788699"/>
                <a:gd name="connsiteX152" fmla="*/ 512362 w 625521"/>
                <a:gd name="connsiteY152" fmla="*/ 686419 h 788699"/>
                <a:gd name="connsiteX153" fmla="*/ 536838 w 625521"/>
                <a:gd name="connsiteY153" fmla="*/ 680979 h 788699"/>
                <a:gd name="connsiteX154" fmla="*/ 536838 w 625521"/>
                <a:gd name="connsiteY154" fmla="*/ 680979 h 7886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</a:cxnLst>
              <a:rect l="l" t="t" r="r" b="b"/>
              <a:pathLst>
                <a:path w="625521" h="788699">
                  <a:moveTo>
                    <a:pt x="536838" y="680979"/>
                  </a:moveTo>
                  <a:cubicBezTo>
                    <a:pt x="550437" y="680979"/>
                    <a:pt x="574913" y="680979"/>
                    <a:pt x="574913" y="697297"/>
                  </a:cubicBezTo>
                  <a:cubicBezTo>
                    <a:pt x="574913" y="705456"/>
                    <a:pt x="572194" y="708176"/>
                    <a:pt x="566755" y="713615"/>
                  </a:cubicBezTo>
                  <a:cubicBezTo>
                    <a:pt x="561315" y="719054"/>
                    <a:pt x="555876" y="721774"/>
                    <a:pt x="550437" y="721774"/>
                  </a:cubicBezTo>
                  <a:cubicBezTo>
                    <a:pt x="539558" y="724494"/>
                    <a:pt x="534119" y="724494"/>
                    <a:pt x="528680" y="724494"/>
                  </a:cubicBezTo>
                  <a:cubicBezTo>
                    <a:pt x="517800" y="724494"/>
                    <a:pt x="428052" y="724494"/>
                    <a:pt x="417174" y="724494"/>
                  </a:cubicBezTo>
                  <a:cubicBezTo>
                    <a:pt x="403575" y="724494"/>
                    <a:pt x="414454" y="724494"/>
                    <a:pt x="398136" y="724494"/>
                  </a:cubicBezTo>
                  <a:cubicBezTo>
                    <a:pt x="389977" y="724494"/>
                    <a:pt x="381817" y="724494"/>
                    <a:pt x="373659" y="724494"/>
                  </a:cubicBezTo>
                  <a:cubicBezTo>
                    <a:pt x="365500" y="724494"/>
                    <a:pt x="354621" y="721774"/>
                    <a:pt x="346462" y="719054"/>
                  </a:cubicBezTo>
                  <a:cubicBezTo>
                    <a:pt x="338304" y="716335"/>
                    <a:pt x="330144" y="708176"/>
                    <a:pt x="330144" y="702737"/>
                  </a:cubicBezTo>
                  <a:cubicBezTo>
                    <a:pt x="330144" y="700017"/>
                    <a:pt x="330144" y="697297"/>
                    <a:pt x="335584" y="694578"/>
                  </a:cubicBezTo>
                  <a:cubicBezTo>
                    <a:pt x="341023" y="691858"/>
                    <a:pt x="351902" y="689138"/>
                    <a:pt x="357341" y="686419"/>
                  </a:cubicBezTo>
                  <a:cubicBezTo>
                    <a:pt x="373659" y="683699"/>
                    <a:pt x="387257" y="680979"/>
                    <a:pt x="395416" y="680979"/>
                  </a:cubicBezTo>
                  <a:cubicBezTo>
                    <a:pt x="387257" y="675540"/>
                    <a:pt x="384537" y="670101"/>
                    <a:pt x="381817" y="656502"/>
                  </a:cubicBezTo>
                  <a:cubicBezTo>
                    <a:pt x="379098" y="632026"/>
                    <a:pt x="379098" y="610268"/>
                    <a:pt x="379098" y="585791"/>
                  </a:cubicBezTo>
                  <a:cubicBezTo>
                    <a:pt x="379098" y="564034"/>
                    <a:pt x="379098" y="542277"/>
                    <a:pt x="379098" y="517800"/>
                  </a:cubicBezTo>
                  <a:cubicBezTo>
                    <a:pt x="379098" y="504202"/>
                    <a:pt x="379098" y="487884"/>
                    <a:pt x="379098" y="474286"/>
                  </a:cubicBezTo>
                  <a:cubicBezTo>
                    <a:pt x="379098" y="457968"/>
                    <a:pt x="376379" y="444369"/>
                    <a:pt x="379098" y="430771"/>
                  </a:cubicBezTo>
                  <a:cubicBezTo>
                    <a:pt x="379098" y="425332"/>
                    <a:pt x="381817" y="417173"/>
                    <a:pt x="381817" y="411733"/>
                  </a:cubicBezTo>
                  <a:cubicBezTo>
                    <a:pt x="381817" y="406294"/>
                    <a:pt x="381817" y="403575"/>
                    <a:pt x="379098" y="400855"/>
                  </a:cubicBezTo>
                  <a:cubicBezTo>
                    <a:pt x="376379" y="400855"/>
                    <a:pt x="373659" y="398135"/>
                    <a:pt x="370939" y="398135"/>
                  </a:cubicBezTo>
                  <a:cubicBezTo>
                    <a:pt x="360061" y="398135"/>
                    <a:pt x="343742" y="400855"/>
                    <a:pt x="338304" y="400855"/>
                  </a:cubicBezTo>
                  <a:cubicBezTo>
                    <a:pt x="330144" y="400855"/>
                    <a:pt x="319266" y="403575"/>
                    <a:pt x="289349" y="403575"/>
                  </a:cubicBezTo>
                  <a:cubicBezTo>
                    <a:pt x="275751" y="403575"/>
                    <a:pt x="267592" y="400855"/>
                    <a:pt x="264872" y="400855"/>
                  </a:cubicBezTo>
                  <a:cubicBezTo>
                    <a:pt x="262153" y="400855"/>
                    <a:pt x="259433" y="400855"/>
                    <a:pt x="259433" y="406294"/>
                  </a:cubicBezTo>
                  <a:cubicBezTo>
                    <a:pt x="259433" y="414453"/>
                    <a:pt x="259433" y="419892"/>
                    <a:pt x="259433" y="425332"/>
                  </a:cubicBezTo>
                  <a:cubicBezTo>
                    <a:pt x="259433" y="433491"/>
                    <a:pt x="259433" y="441650"/>
                    <a:pt x="259433" y="449809"/>
                  </a:cubicBezTo>
                  <a:cubicBezTo>
                    <a:pt x="259433" y="457968"/>
                    <a:pt x="259433" y="463407"/>
                    <a:pt x="259433" y="471566"/>
                  </a:cubicBezTo>
                  <a:cubicBezTo>
                    <a:pt x="259433" y="482445"/>
                    <a:pt x="259433" y="493323"/>
                    <a:pt x="259433" y="504202"/>
                  </a:cubicBezTo>
                  <a:cubicBezTo>
                    <a:pt x="259433" y="506921"/>
                    <a:pt x="259433" y="506921"/>
                    <a:pt x="259433" y="509641"/>
                  </a:cubicBezTo>
                  <a:cubicBezTo>
                    <a:pt x="259433" y="520520"/>
                    <a:pt x="256714" y="531398"/>
                    <a:pt x="256714" y="542277"/>
                  </a:cubicBezTo>
                  <a:cubicBezTo>
                    <a:pt x="256714" y="553156"/>
                    <a:pt x="256714" y="566754"/>
                    <a:pt x="256714" y="577632"/>
                  </a:cubicBezTo>
                  <a:cubicBezTo>
                    <a:pt x="256714" y="588511"/>
                    <a:pt x="256714" y="599390"/>
                    <a:pt x="256714" y="612988"/>
                  </a:cubicBezTo>
                  <a:cubicBezTo>
                    <a:pt x="256714" y="629306"/>
                    <a:pt x="253994" y="642904"/>
                    <a:pt x="253994" y="656502"/>
                  </a:cubicBezTo>
                  <a:cubicBezTo>
                    <a:pt x="253994" y="664661"/>
                    <a:pt x="256714" y="672820"/>
                    <a:pt x="256714" y="678260"/>
                  </a:cubicBezTo>
                  <a:cubicBezTo>
                    <a:pt x="270312" y="678260"/>
                    <a:pt x="286629" y="680979"/>
                    <a:pt x="286629" y="694578"/>
                  </a:cubicBezTo>
                  <a:cubicBezTo>
                    <a:pt x="286629" y="702737"/>
                    <a:pt x="283910" y="705456"/>
                    <a:pt x="281191" y="710895"/>
                  </a:cubicBezTo>
                  <a:cubicBezTo>
                    <a:pt x="275751" y="716335"/>
                    <a:pt x="270312" y="719054"/>
                    <a:pt x="264872" y="719054"/>
                  </a:cubicBezTo>
                  <a:cubicBezTo>
                    <a:pt x="256714" y="721774"/>
                    <a:pt x="248554" y="721774"/>
                    <a:pt x="243116" y="721774"/>
                  </a:cubicBezTo>
                  <a:cubicBezTo>
                    <a:pt x="243116" y="721774"/>
                    <a:pt x="243116" y="721774"/>
                    <a:pt x="243116" y="721774"/>
                  </a:cubicBezTo>
                  <a:cubicBezTo>
                    <a:pt x="237676" y="724494"/>
                    <a:pt x="237676" y="724494"/>
                    <a:pt x="232236" y="727214"/>
                  </a:cubicBezTo>
                  <a:cubicBezTo>
                    <a:pt x="229517" y="729933"/>
                    <a:pt x="229517" y="732653"/>
                    <a:pt x="224078" y="735372"/>
                  </a:cubicBezTo>
                  <a:cubicBezTo>
                    <a:pt x="221358" y="738092"/>
                    <a:pt x="215919" y="738092"/>
                    <a:pt x="213199" y="738092"/>
                  </a:cubicBezTo>
                  <a:cubicBezTo>
                    <a:pt x="199601" y="738092"/>
                    <a:pt x="188722" y="735372"/>
                    <a:pt x="183283" y="727214"/>
                  </a:cubicBezTo>
                  <a:cubicBezTo>
                    <a:pt x="180563" y="724494"/>
                    <a:pt x="177843" y="721774"/>
                    <a:pt x="175124" y="719054"/>
                  </a:cubicBezTo>
                  <a:cubicBezTo>
                    <a:pt x="161526" y="719054"/>
                    <a:pt x="150646" y="719054"/>
                    <a:pt x="145208" y="719054"/>
                  </a:cubicBezTo>
                  <a:cubicBezTo>
                    <a:pt x="131609" y="719054"/>
                    <a:pt x="142488" y="719054"/>
                    <a:pt x="126170" y="719054"/>
                  </a:cubicBezTo>
                  <a:cubicBezTo>
                    <a:pt x="118011" y="719054"/>
                    <a:pt x="109852" y="719054"/>
                    <a:pt x="101693" y="719054"/>
                  </a:cubicBezTo>
                  <a:cubicBezTo>
                    <a:pt x="93534" y="719054"/>
                    <a:pt x="82655" y="719054"/>
                    <a:pt x="74496" y="713615"/>
                  </a:cubicBezTo>
                  <a:cubicBezTo>
                    <a:pt x="66338" y="710895"/>
                    <a:pt x="58178" y="702737"/>
                    <a:pt x="58178" y="697297"/>
                  </a:cubicBezTo>
                  <a:cubicBezTo>
                    <a:pt x="58178" y="694578"/>
                    <a:pt x="58178" y="691858"/>
                    <a:pt x="63618" y="689138"/>
                  </a:cubicBezTo>
                  <a:cubicBezTo>
                    <a:pt x="69057" y="686419"/>
                    <a:pt x="79936" y="683699"/>
                    <a:pt x="85375" y="680979"/>
                  </a:cubicBezTo>
                  <a:cubicBezTo>
                    <a:pt x="98973" y="678260"/>
                    <a:pt x="118011" y="678260"/>
                    <a:pt x="131609" y="675540"/>
                  </a:cubicBezTo>
                  <a:cubicBezTo>
                    <a:pt x="131609" y="672820"/>
                    <a:pt x="131609" y="670101"/>
                    <a:pt x="131609" y="667381"/>
                  </a:cubicBezTo>
                  <a:cubicBezTo>
                    <a:pt x="131609" y="661942"/>
                    <a:pt x="131609" y="656502"/>
                    <a:pt x="131609" y="651063"/>
                  </a:cubicBezTo>
                  <a:cubicBezTo>
                    <a:pt x="131609" y="640184"/>
                    <a:pt x="131609" y="629306"/>
                    <a:pt x="131609" y="618427"/>
                  </a:cubicBezTo>
                  <a:cubicBezTo>
                    <a:pt x="131609" y="604829"/>
                    <a:pt x="131609" y="593950"/>
                    <a:pt x="131609" y="580352"/>
                  </a:cubicBezTo>
                  <a:cubicBezTo>
                    <a:pt x="131609" y="564034"/>
                    <a:pt x="131609" y="547716"/>
                    <a:pt x="131609" y="531398"/>
                  </a:cubicBezTo>
                  <a:cubicBezTo>
                    <a:pt x="131609" y="509641"/>
                    <a:pt x="131609" y="487884"/>
                    <a:pt x="131609" y="466126"/>
                  </a:cubicBezTo>
                  <a:cubicBezTo>
                    <a:pt x="131609" y="452528"/>
                    <a:pt x="131609" y="436210"/>
                    <a:pt x="131609" y="422612"/>
                  </a:cubicBezTo>
                  <a:cubicBezTo>
                    <a:pt x="131609" y="419892"/>
                    <a:pt x="131609" y="414453"/>
                    <a:pt x="131609" y="411733"/>
                  </a:cubicBezTo>
                  <a:cubicBezTo>
                    <a:pt x="131609" y="409014"/>
                    <a:pt x="131609" y="400855"/>
                    <a:pt x="131609" y="398135"/>
                  </a:cubicBezTo>
                  <a:cubicBezTo>
                    <a:pt x="131609" y="392696"/>
                    <a:pt x="131609" y="392696"/>
                    <a:pt x="126170" y="389976"/>
                  </a:cubicBezTo>
                  <a:cubicBezTo>
                    <a:pt x="123450" y="389976"/>
                    <a:pt x="109852" y="387257"/>
                    <a:pt x="101693" y="387257"/>
                  </a:cubicBezTo>
                  <a:cubicBezTo>
                    <a:pt x="90814" y="384537"/>
                    <a:pt x="77216" y="381817"/>
                    <a:pt x="77216" y="376378"/>
                  </a:cubicBezTo>
                  <a:cubicBezTo>
                    <a:pt x="77216" y="373658"/>
                    <a:pt x="79936" y="370939"/>
                    <a:pt x="82655" y="368219"/>
                  </a:cubicBezTo>
                  <a:cubicBezTo>
                    <a:pt x="88095" y="365499"/>
                    <a:pt x="93534" y="362780"/>
                    <a:pt x="98973" y="360060"/>
                  </a:cubicBezTo>
                  <a:cubicBezTo>
                    <a:pt x="104413" y="360060"/>
                    <a:pt x="112571" y="357340"/>
                    <a:pt x="118011" y="357340"/>
                  </a:cubicBezTo>
                  <a:cubicBezTo>
                    <a:pt x="126170" y="354621"/>
                    <a:pt x="128890" y="357340"/>
                    <a:pt x="131609" y="351901"/>
                  </a:cubicBezTo>
                  <a:cubicBezTo>
                    <a:pt x="131609" y="349181"/>
                    <a:pt x="131609" y="346462"/>
                    <a:pt x="131609" y="343742"/>
                  </a:cubicBezTo>
                  <a:cubicBezTo>
                    <a:pt x="131609" y="319265"/>
                    <a:pt x="131609" y="294788"/>
                    <a:pt x="131609" y="270311"/>
                  </a:cubicBezTo>
                  <a:cubicBezTo>
                    <a:pt x="131609" y="226797"/>
                    <a:pt x="131609" y="186002"/>
                    <a:pt x="137048" y="145207"/>
                  </a:cubicBezTo>
                  <a:cubicBezTo>
                    <a:pt x="137048" y="139768"/>
                    <a:pt x="137048" y="131609"/>
                    <a:pt x="139768" y="123450"/>
                  </a:cubicBezTo>
                  <a:cubicBezTo>
                    <a:pt x="134329" y="123450"/>
                    <a:pt x="137048" y="123450"/>
                    <a:pt x="123450" y="123450"/>
                  </a:cubicBezTo>
                  <a:cubicBezTo>
                    <a:pt x="120731" y="123450"/>
                    <a:pt x="120731" y="123450"/>
                    <a:pt x="118011" y="123450"/>
                  </a:cubicBezTo>
                  <a:cubicBezTo>
                    <a:pt x="112571" y="123450"/>
                    <a:pt x="107133" y="123450"/>
                    <a:pt x="101693" y="123450"/>
                  </a:cubicBezTo>
                  <a:cubicBezTo>
                    <a:pt x="93534" y="123450"/>
                    <a:pt x="82655" y="120730"/>
                    <a:pt x="74496" y="118011"/>
                  </a:cubicBezTo>
                  <a:cubicBezTo>
                    <a:pt x="66338" y="115291"/>
                    <a:pt x="58178" y="107132"/>
                    <a:pt x="58178" y="101693"/>
                  </a:cubicBezTo>
                  <a:cubicBezTo>
                    <a:pt x="58178" y="98973"/>
                    <a:pt x="58178" y="96253"/>
                    <a:pt x="63618" y="93534"/>
                  </a:cubicBezTo>
                  <a:cubicBezTo>
                    <a:pt x="66338" y="90814"/>
                    <a:pt x="77216" y="88095"/>
                    <a:pt x="85375" y="85375"/>
                  </a:cubicBezTo>
                  <a:cubicBezTo>
                    <a:pt x="104413" y="82655"/>
                    <a:pt x="128890" y="82655"/>
                    <a:pt x="137048" y="82655"/>
                  </a:cubicBezTo>
                  <a:cubicBezTo>
                    <a:pt x="139768" y="82655"/>
                    <a:pt x="142488" y="82655"/>
                    <a:pt x="147927" y="82655"/>
                  </a:cubicBezTo>
                  <a:cubicBezTo>
                    <a:pt x="153366" y="69057"/>
                    <a:pt x="164245" y="58178"/>
                    <a:pt x="186003" y="58178"/>
                  </a:cubicBezTo>
                  <a:cubicBezTo>
                    <a:pt x="202321" y="58178"/>
                    <a:pt x="215919" y="66337"/>
                    <a:pt x="226797" y="79936"/>
                  </a:cubicBezTo>
                  <a:cubicBezTo>
                    <a:pt x="237676" y="79936"/>
                    <a:pt x="248554" y="79936"/>
                    <a:pt x="253994" y="79936"/>
                  </a:cubicBezTo>
                  <a:cubicBezTo>
                    <a:pt x="267592" y="79936"/>
                    <a:pt x="294789" y="79936"/>
                    <a:pt x="294789" y="96253"/>
                  </a:cubicBezTo>
                  <a:cubicBezTo>
                    <a:pt x="294789" y="104412"/>
                    <a:pt x="289349" y="107132"/>
                    <a:pt x="283910" y="112571"/>
                  </a:cubicBezTo>
                  <a:cubicBezTo>
                    <a:pt x="278471" y="118011"/>
                    <a:pt x="273031" y="120730"/>
                    <a:pt x="267592" y="120730"/>
                  </a:cubicBezTo>
                  <a:cubicBezTo>
                    <a:pt x="259433" y="123450"/>
                    <a:pt x="251274" y="123450"/>
                    <a:pt x="245835" y="123450"/>
                  </a:cubicBezTo>
                  <a:cubicBezTo>
                    <a:pt x="245835" y="123450"/>
                    <a:pt x="243116" y="123450"/>
                    <a:pt x="237676" y="123450"/>
                  </a:cubicBezTo>
                  <a:cubicBezTo>
                    <a:pt x="237676" y="126170"/>
                    <a:pt x="237676" y="126170"/>
                    <a:pt x="240396" y="128889"/>
                  </a:cubicBezTo>
                  <a:cubicBezTo>
                    <a:pt x="245835" y="145207"/>
                    <a:pt x="248554" y="161525"/>
                    <a:pt x="251274" y="177843"/>
                  </a:cubicBezTo>
                  <a:cubicBezTo>
                    <a:pt x="253994" y="194161"/>
                    <a:pt x="253994" y="210479"/>
                    <a:pt x="256714" y="226797"/>
                  </a:cubicBezTo>
                  <a:cubicBezTo>
                    <a:pt x="259433" y="243115"/>
                    <a:pt x="262153" y="256713"/>
                    <a:pt x="262153" y="273031"/>
                  </a:cubicBezTo>
                  <a:cubicBezTo>
                    <a:pt x="262153" y="278470"/>
                    <a:pt x="262153" y="283910"/>
                    <a:pt x="262153" y="289349"/>
                  </a:cubicBezTo>
                  <a:lnTo>
                    <a:pt x="262153" y="297508"/>
                  </a:lnTo>
                  <a:cubicBezTo>
                    <a:pt x="262153" y="305667"/>
                    <a:pt x="262153" y="313826"/>
                    <a:pt x="264872" y="321985"/>
                  </a:cubicBezTo>
                  <a:cubicBezTo>
                    <a:pt x="264872" y="327424"/>
                    <a:pt x="270312" y="330144"/>
                    <a:pt x="270312" y="335583"/>
                  </a:cubicBezTo>
                  <a:cubicBezTo>
                    <a:pt x="270312" y="335583"/>
                    <a:pt x="270312" y="338303"/>
                    <a:pt x="270312" y="338303"/>
                  </a:cubicBezTo>
                  <a:cubicBezTo>
                    <a:pt x="270312" y="341022"/>
                    <a:pt x="270312" y="343742"/>
                    <a:pt x="270312" y="346462"/>
                  </a:cubicBezTo>
                  <a:cubicBezTo>
                    <a:pt x="270312" y="351901"/>
                    <a:pt x="273031" y="354621"/>
                    <a:pt x="278471" y="354621"/>
                  </a:cubicBezTo>
                  <a:cubicBezTo>
                    <a:pt x="289349" y="354621"/>
                    <a:pt x="335584" y="351901"/>
                    <a:pt x="338304" y="349181"/>
                  </a:cubicBezTo>
                  <a:cubicBezTo>
                    <a:pt x="346462" y="349181"/>
                    <a:pt x="357341" y="349181"/>
                    <a:pt x="365500" y="349181"/>
                  </a:cubicBezTo>
                  <a:cubicBezTo>
                    <a:pt x="370939" y="349181"/>
                    <a:pt x="376379" y="349181"/>
                    <a:pt x="381817" y="349181"/>
                  </a:cubicBezTo>
                  <a:cubicBezTo>
                    <a:pt x="387257" y="349181"/>
                    <a:pt x="392697" y="346462"/>
                    <a:pt x="392697" y="338303"/>
                  </a:cubicBezTo>
                  <a:cubicBezTo>
                    <a:pt x="392697" y="330144"/>
                    <a:pt x="389977" y="316545"/>
                    <a:pt x="389977" y="313826"/>
                  </a:cubicBezTo>
                  <a:cubicBezTo>
                    <a:pt x="389977" y="294788"/>
                    <a:pt x="389977" y="278470"/>
                    <a:pt x="392697" y="262152"/>
                  </a:cubicBezTo>
                  <a:cubicBezTo>
                    <a:pt x="392697" y="259433"/>
                    <a:pt x="395416" y="243115"/>
                    <a:pt x="395416" y="224077"/>
                  </a:cubicBezTo>
                  <a:cubicBezTo>
                    <a:pt x="395416" y="207759"/>
                    <a:pt x="398136" y="188722"/>
                    <a:pt x="398136" y="177843"/>
                  </a:cubicBezTo>
                  <a:cubicBezTo>
                    <a:pt x="398136" y="169684"/>
                    <a:pt x="395416" y="158806"/>
                    <a:pt x="395416" y="153366"/>
                  </a:cubicBezTo>
                  <a:cubicBezTo>
                    <a:pt x="395416" y="145207"/>
                    <a:pt x="395416" y="142488"/>
                    <a:pt x="395416" y="137048"/>
                  </a:cubicBezTo>
                  <a:cubicBezTo>
                    <a:pt x="389977" y="137048"/>
                    <a:pt x="384537" y="137048"/>
                    <a:pt x="379098" y="137048"/>
                  </a:cubicBezTo>
                  <a:cubicBezTo>
                    <a:pt x="370939" y="137048"/>
                    <a:pt x="360061" y="134329"/>
                    <a:pt x="351902" y="131609"/>
                  </a:cubicBezTo>
                  <a:cubicBezTo>
                    <a:pt x="343742" y="128889"/>
                    <a:pt x="338304" y="120730"/>
                    <a:pt x="338304" y="115291"/>
                  </a:cubicBezTo>
                  <a:cubicBezTo>
                    <a:pt x="338304" y="112571"/>
                    <a:pt x="338304" y="109852"/>
                    <a:pt x="343742" y="107132"/>
                  </a:cubicBezTo>
                  <a:cubicBezTo>
                    <a:pt x="349182" y="104412"/>
                    <a:pt x="357341" y="101693"/>
                    <a:pt x="362780" y="98973"/>
                  </a:cubicBezTo>
                  <a:cubicBezTo>
                    <a:pt x="373659" y="96253"/>
                    <a:pt x="387257" y="96253"/>
                    <a:pt x="395416" y="96253"/>
                  </a:cubicBezTo>
                  <a:cubicBezTo>
                    <a:pt x="398136" y="93534"/>
                    <a:pt x="400855" y="90814"/>
                    <a:pt x="403575" y="90814"/>
                  </a:cubicBezTo>
                  <a:cubicBezTo>
                    <a:pt x="411734" y="90814"/>
                    <a:pt x="419893" y="88095"/>
                    <a:pt x="422612" y="88095"/>
                  </a:cubicBezTo>
                  <a:cubicBezTo>
                    <a:pt x="425332" y="88095"/>
                    <a:pt x="425332" y="88095"/>
                    <a:pt x="428052" y="88095"/>
                  </a:cubicBezTo>
                  <a:cubicBezTo>
                    <a:pt x="433492" y="88095"/>
                    <a:pt x="441650" y="88095"/>
                    <a:pt x="447090" y="90814"/>
                  </a:cubicBezTo>
                  <a:cubicBezTo>
                    <a:pt x="449809" y="90814"/>
                    <a:pt x="452529" y="93534"/>
                    <a:pt x="455249" y="96253"/>
                  </a:cubicBezTo>
                  <a:cubicBezTo>
                    <a:pt x="482445" y="96253"/>
                    <a:pt x="509642" y="93534"/>
                    <a:pt x="525960" y="93534"/>
                  </a:cubicBezTo>
                  <a:cubicBezTo>
                    <a:pt x="539558" y="93534"/>
                    <a:pt x="561315" y="93534"/>
                    <a:pt x="561315" y="109852"/>
                  </a:cubicBezTo>
                  <a:cubicBezTo>
                    <a:pt x="561315" y="118011"/>
                    <a:pt x="561315" y="120730"/>
                    <a:pt x="555876" y="126170"/>
                  </a:cubicBezTo>
                  <a:cubicBezTo>
                    <a:pt x="550437" y="131609"/>
                    <a:pt x="544997" y="134329"/>
                    <a:pt x="539558" y="134329"/>
                  </a:cubicBezTo>
                  <a:cubicBezTo>
                    <a:pt x="531399" y="137048"/>
                    <a:pt x="523240" y="137048"/>
                    <a:pt x="517800" y="137048"/>
                  </a:cubicBezTo>
                  <a:cubicBezTo>
                    <a:pt x="515081" y="137048"/>
                    <a:pt x="498763" y="137048"/>
                    <a:pt x="477006" y="137048"/>
                  </a:cubicBezTo>
                  <a:cubicBezTo>
                    <a:pt x="479725" y="145207"/>
                    <a:pt x="485165" y="153366"/>
                    <a:pt x="485165" y="161525"/>
                  </a:cubicBezTo>
                  <a:cubicBezTo>
                    <a:pt x="487885" y="177843"/>
                    <a:pt x="493324" y="194161"/>
                    <a:pt x="496043" y="210479"/>
                  </a:cubicBezTo>
                  <a:cubicBezTo>
                    <a:pt x="498763" y="224077"/>
                    <a:pt x="498763" y="237676"/>
                    <a:pt x="501483" y="251274"/>
                  </a:cubicBezTo>
                  <a:cubicBezTo>
                    <a:pt x="504202" y="264872"/>
                    <a:pt x="506922" y="275751"/>
                    <a:pt x="506922" y="292069"/>
                  </a:cubicBezTo>
                  <a:cubicBezTo>
                    <a:pt x="506922" y="302947"/>
                    <a:pt x="506922" y="311106"/>
                    <a:pt x="506922" y="321985"/>
                  </a:cubicBezTo>
                  <a:cubicBezTo>
                    <a:pt x="506922" y="327424"/>
                    <a:pt x="509642" y="335583"/>
                    <a:pt x="509642" y="341022"/>
                  </a:cubicBezTo>
                  <a:cubicBezTo>
                    <a:pt x="509642" y="343742"/>
                    <a:pt x="509642" y="343742"/>
                    <a:pt x="509642" y="343742"/>
                  </a:cubicBezTo>
                  <a:cubicBezTo>
                    <a:pt x="509642" y="349181"/>
                    <a:pt x="515081" y="349181"/>
                    <a:pt x="517800" y="349181"/>
                  </a:cubicBezTo>
                  <a:cubicBezTo>
                    <a:pt x="520520" y="349181"/>
                    <a:pt x="523240" y="349181"/>
                    <a:pt x="528680" y="349181"/>
                  </a:cubicBezTo>
                  <a:cubicBezTo>
                    <a:pt x="536838" y="349181"/>
                    <a:pt x="547717" y="349181"/>
                    <a:pt x="550437" y="357340"/>
                  </a:cubicBezTo>
                  <a:cubicBezTo>
                    <a:pt x="550437" y="360060"/>
                    <a:pt x="550437" y="360060"/>
                    <a:pt x="550437" y="362780"/>
                  </a:cubicBezTo>
                  <a:cubicBezTo>
                    <a:pt x="550437" y="370939"/>
                    <a:pt x="539558" y="381817"/>
                    <a:pt x="534119" y="384537"/>
                  </a:cubicBezTo>
                  <a:cubicBezTo>
                    <a:pt x="531399" y="387257"/>
                    <a:pt x="523240" y="387257"/>
                    <a:pt x="520520" y="389976"/>
                  </a:cubicBezTo>
                  <a:cubicBezTo>
                    <a:pt x="515081" y="389976"/>
                    <a:pt x="512362" y="392696"/>
                    <a:pt x="512362" y="395415"/>
                  </a:cubicBezTo>
                  <a:cubicBezTo>
                    <a:pt x="512362" y="395415"/>
                    <a:pt x="512362" y="398135"/>
                    <a:pt x="512362" y="398135"/>
                  </a:cubicBezTo>
                  <a:cubicBezTo>
                    <a:pt x="512362" y="400855"/>
                    <a:pt x="512362" y="406294"/>
                    <a:pt x="512362" y="409014"/>
                  </a:cubicBezTo>
                  <a:cubicBezTo>
                    <a:pt x="512362" y="411733"/>
                    <a:pt x="512362" y="411733"/>
                    <a:pt x="512362" y="414453"/>
                  </a:cubicBezTo>
                  <a:cubicBezTo>
                    <a:pt x="512362" y="422612"/>
                    <a:pt x="512362" y="430771"/>
                    <a:pt x="512362" y="438930"/>
                  </a:cubicBezTo>
                  <a:cubicBezTo>
                    <a:pt x="512362" y="460687"/>
                    <a:pt x="512362" y="482445"/>
                    <a:pt x="515081" y="504202"/>
                  </a:cubicBezTo>
                  <a:cubicBezTo>
                    <a:pt x="517800" y="525959"/>
                    <a:pt x="520520" y="550436"/>
                    <a:pt x="520520" y="572193"/>
                  </a:cubicBezTo>
                  <a:cubicBezTo>
                    <a:pt x="520520" y="583072"/>
                    <a:pt x="520520" y="593950"/>
                    <a:pt x="517800" y="604829"/>
                  </a:cubicBezTo>
                  <a:cubicBezTo>
                    <a:pt x="515081" y="623867"/>
                    <a:pt x="515081" y="642904"/>
                    <a:pt x="512362" y="661942"/>
                  </a:cubicBezTo>
                  <a:cubicBezTo>
                    <a:pt x="512362" y="664661"/>
                    <a:pt x="509642" y="667381"/>
                    <a:pt x="509642" y="670101"/>
                  </a:cubicBezTo>
                  <a:cubicBezTo>
                    <a:pt x="509642" y="672820"/>
                    <a:pt x="512362" y="678260"/>
                    <a:pt x="512362" y="680979"/>
                  </a:cubicBezTo>
                  <a:cubicBezTo>
                    <a:pt x="512362" y="683699"/>
                    <a:pt x="512362" y="686419"/>
                    <a:pt x="512362" y="686419"/>
                  </a:cubicBezTo>
                  <a:cubicBezTo>
                    <a:pt x="517800" y="680979"/>
                    <a:pt x="528680" y="680979"/>
                    <a:pt x="536838" y="680979"/>
                  </a:cubicBezTo>
                  <a:lnTo>
                    <a:pt x="536838" y="680979"/>
                  </a:ln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/>
            </a:p>
          </p:txBody>
        </p:sp>
        <p:sp>
          <p:nvSpPr>
            <p:cNvPr id="52" name="Freeform: Shape 51">
              <a:extLst>
                <a:ext uri="{FF2B5EF4-FFF2-40B4-BE49-F238E27FC236}">
                  <a16:creationId xmlns:a16="http://schemas.microsoft.com/office/drawing/2014/main" id="{EC730DF2-B7B8-470D-B166-19B7C7F51A75}"/>
                </a:ext>
              </a:extLst>
            </p:cNvPr>
            <p:cNvSpPr/>
            <p:nvPr/>
          </p:nvSpPr>
          <p:spPr bwMode="black">
            <a:xfrm>
              <a:off x="9592416" y="4192158"/>
              <a:ext cx="516735" cy="761503"/>
            </a:xfrm>
            <a:custGeom>
              <a:avLst/>
              <a:gdLst>
                <a:gd name="connsiteX0" fmla="*/ 463407 w 516735"/>
                <a:gd name="connsiteY0" fmla="*/ 194161 h 761503"/>
                <a:gd name="connsiteX1" fmla="*/ 447089 w 516735"/>
                <a:gd name="connsiteY1" fmla="*/ 226797 h 761503"/>
                <a:gd name="connsiteX2" fmla="*/ 430771 w 516735"/>
                <a:gd name="connsiteY2" fmla="*/ 221357 h 761503"/>
                <a:gd name="connsiteX3" fmla="*/ 422612 w 516735"/>
                <a:gd name="connsiteY3" fmla="*/ 207759 h 761503"/>
                <a:gd name="connsiteX4" fmla="*/ 419893 w 516735"/>
                <a:gd name="connsiteY4" fmla="*/ 188722 h 761503"/>
                <a:gd name="connsiteX5" fmla="*/ 419893 w 516735"/>
                <a:gd name="connsiteY5" fmla="*/ 139768 h 761503"/>
                <a:gd name="connsiteX6" fmla="*/ 419893 w 516735"/>
                <a:gd name="connsiteY6" fmla="*/ 120730 h 761503"/>
                <a:gd name="connsiteX7" fmla="*/ 395416 w 516735"/>
                <a:gd name="connsiteY7" fmla="*/ 120730 h 761503"/>
                <a:gd name="connsiteX8" fmla="*/ 370939 w 516735"/>
                <a:gd name="connsiteY8" fmla="*/ 120730 h 761503"/>
                <a:gd name="connsiteX9" fmla="*/ 346461 w 516735"/>
                <a:gd name="connsiteY9" fmla="*/ 123450 h 761503"/>
                <a:gd name="connsiteX10" fmla="*/ 335583 w 516735"/>
                <a:gd name="connsiteY10" fmla="*/ 123450 h 761503"/>
                <a:gd name="connsiteX11" fmla="*/ 335583 w 516735"/>
                <a:gd name="connsiteY11" fmla="*/ 123450 h 761503"/>
                <a:gd name="connsiteX12" fmla="*/ 324704 w 516735"/>
                <a:gd name="connsiteY12" fmla="*/ 128889 h 761503"/>
                <a:gd name="connsiteX13" fmla="*/ 327424 w 516735"/>
                <a:gd name="connsiteY13" fmla="*/ 139768 h 761503"/>
                <a:gd name="connsiteX14" fmla="*/ 330144 w 516735"/>
                <a:gd name="connsiteY14" fmla="*/ 175123 h 761503"/>
                <a:gd name="connsiteX15" fmla="*/ 330144 w 516735"/>
                <a:gd name="connsiteY15" fmla="*/ 199600 h 761503"/>
                <a:gd name="connsiteX16" fmla="*/ 327424 w 516735"/>
                <a:gd name="connsiteY16" fmla="*/ 224077 h 761503"/>
                <a:gd name="connsiteX17" fmla="*/ 330144 w 516735"/>
                <a:gd name="connsiteY17" fmla="*/ 251274 h 761503"/>
                <a:gd name="connsiteX18" fmla="*/ 327424 w 516735"/>
                <a:gd name="connsiteY18" fmla="*/ 278470 h 761503"/>
                <a:gd name="connsiteX19" fmla="*/ 327424 w 516735"/>
                <a:gd name="connsiteY19" fmla="*/ 332864 h 761503"/>
                <a:gd name="connsiteX20" fmla="*/ 330144 w 516735"/>
                <a:gd name="connsiteY20" fmla="*/ 357340 h 761503"/>
                <a:gd name="connsiteX21" fmla="*/ 330144 w 516735"/>
                <a:gd name="connsiteY21" fmla="*/ 368219 h 761503"/>
                <a:gd name="connsiteX22" fmla="*/ 332863 w 516735"/>
                <a:gd name="connsiteY22" fmla="*/ 387257 h 761503"/>
                <a:gd name="connsiteX23" fmla="*/ 332863 w 516735"/>
                <a:gd name="connsiteY23" fmla="*/ 433491 h 761503"/>
                <a:gd name="connsiteX24" fmla="*/ 332863 w 516735"/>
                <a:gd name="connsiteY24" fmla="*/ 487884 h 761503"/>
                <a:gd name="connsiteX25" fmla="*/ 330144 w 516735"/>
                <a:gd name="connsiteY25" fmla="*/ 512361 h 761503"/>
                <a:gd name="connsiteX26" fmla="*/ 330144 w 516735"/>
                <a:gd name="connsiteY26" fmla="*/ 539557 h 761503"/>
                <a:gd name="connsiteX27" fmla="*/ 332863 w 516735"/>
                <a:gd name="connsiteY27" fmla="*/ 593950 h 761503"/>
                <a:gd name="connsiteX28" fmla="*/ 332863 w 516735"/>
                <a:gd name="connsiteY28" fmla="*/ 648343 h 761503"/>
                <a:gd name="connsiteX29" fmla="*/ 332863 w 516735"/>
                <a:gd name="connsiteY29" fmla="*/ 656502 h 761503"/>
                <a:gd name="connsiteX30" fmla="*/ 357341 w 516735"/>
                <a:gd name="connsiteY30" fmla="*/ 656502 h 761503"/>
                <a:gd name="connsiteX31" fmla="*/ 395416 w 516735"/>
                <a:gd name="connsiteY31" fmla="*/ 675540 h 761503"/>
                <a:gd name="connsiteX32" fmla="*/ 389976 w 516735"/>
                <a:gd name="connsiteY32" fmla="*/ 691858 h 761503"/>
                <a:gd name="connsiteX33" fmla="*/ 373658 w 516735"/>
                <a:gd name="connsiteY33" fmla="*/ 700017 h 761503"/>
                <a:gd name="connsiteX34" fmla="*/ 351901 w 516735"/>
                <a:gd name="connsiteY34" fmla="*/ 702737 h 761503"/>
                <a:gd name="connsiteX35" fmla="*/ 319265 w 516735"/>
                <a:gd name="connsiteY35" fmla="*/ 702737 h 761503"/>
                <a:gd name="connsiteX36" fmla="*/ 311106 w 516735"/>
                <a:gd name="connsiteY36" fmla="*/ 708176 h 761503"/>
                <a:gd name="connsiteX37" fmla="*/ 289349 w 516735"/>
                <a:gd name="connsiteY37" fmla="*/ 713615 h 761503"/>
                <a:gd name="connsiteX38" fmla="*/ 270311 w 516735"/>
                <a:gd name="connsiteY38" fmla="*/ 713615 h 761503"/>
                <a:gd name="connsiteX39" fmla="*/ 243115 w 516735"/>
                <a:gd name="connsiteY39" fmla="*/ 705456 h 761503"/>
                <a:gd name="connsiteX40" fmla="*/ 237675 w 516735"/>
                <a:gd name="connsiteY40" fmla="*/ 702737 h 761503"/>
                <a:gd name="connsiteX41" fmla="*/ 199600 w 516735"/>
                <a:gd name="connsiteY41" fmla="*/ 702737 h 761503"/>
                <a:gd name="connsiteX42" fmla="*/ 175123 w 516735"/>
                <a:gd name="connsiteY42" fmla="*/ 702737 h 761503"/>
                <a:gd name="connsiteX43" fmla="*/ 147927 w 516735"/>
                <a:gd name="connsiteY43" fmla="*/ 697297 h 761503"/>
                <a:gd name="connsiteX44" fmla="*/ 131609 w 516735"/>
                <a:gd name="connsiteY44" fmla="*/ 678260 h 761503"/>
                <a:gd name="connsiteX45" fmla="*/ 137048 w 516735"/>
                <a:gd name="connsiteY45" fmla="*/ 670101 h 761503"/>
                <a:gd name="connsiteX46" fmla="*/ 158805 w 516735"/>
                <a:gd name="connsiteY46" fmla="*/ 661942 h 761503"/>
                <a:gd name="connsiteX47" fmla="*/ 199600 w 516735"/>
                <a:gd name="connsiteY47" fmla="*/ 659222 h 761503"/>
                <a:gd name="connsiteX48" fmla="*/ 199600 w 516735"/>
                <a:gd name="connsiteY48" fmla="*/ 659222 h 761503"/>
                <a:gd name="connsiteX49" fmla="*/ 196880 w 516735"/>
                <a:gd name="connsiteY49" fmla="*/ 629306 h 761503"/>
                <a:gd name="connsiteX50" fmla="*/ 199600 w 516735"/>
                <a:gd name="connsiteY50" fmla="*/ 574913 h 761503"/>
                <a:gd name="connsiteX51" fmla="*/ 202320 w 516735"/>
                <a:gd name="connsiteY51" fmla="*/ 523239 h 761503"/>
                <a:gd name="connsiteX52" fmla="*/ 205040 w 516735"/>
                <a:gd name="connsiteY52" fmla="*/ 460687 h 761503"/>
                <a:gd name="connsiteX53" fmla="*/ 205040 w 516735"/>
                <a:gd name="connsiteY53" fmla="*/ 417173 h 761503"/>
                <a:gd name="connsiteX54" fmla="*/ 207759 w 516735"/>
                <a:gd name="connsiteY54" fmla="*/ 392696 h 761503"/>
                <a:gd name="connsiteX55" fmla="*/ 210478 w 516735"/>
                <a:gd name="connsiteY55" fmla="*/ 368219 h 761503"/>
                <a:gd name="connsiteX56" fmla="*/ 210478 w 516735"/>
                <a:gd name="connsiteY56" fmla="*/ 313826 h 761503"/>
                <a:gd name="connsiteX57" fmla="*/ 210478 w 516735"/>
                <a:gd name="connsiteY57" fmla="*/ 259433 h 761503"/>
                <a:gd name="connsiteX58" fmla="*/ 210478 w 516735"/>
                <a:gd name="connsiteY58" fmla="*/ 213199 h 761503"/>
                <a:gd name="connsiteX59" fmla="*/ 210478 w 516735"/>
                <a:gd name="connsiteY59" fmla="*/ 145207 h 761503"/>
                <a:gd name="connsiteX60" fmla="*/ 213198 w 516735"/>
                <a:gd name="connsiteY60" fmla="*/ 131609 h 761503"/>
                <a:gd name="connsiteX61" fmla="*/ 205040 w 516735"/>
                <a:gd name="connsiteY61" fmla="*/ 123450 h 761503"/>
                <a:gd name="connsiteX62" fmla="*/ 161525 w 516735"/>
                <a:gd name="connsiteY62" fmla="*/ 123450 h 761503"/>
                <a:gd name="connsiteX63" fmla="*/ 112571 w 516735"/>
                <a:gd name="connsiteY63" fmla="*/ 120730 h 761503"/>
                <a:gd name="connsiteX64" fmla="*/ 104412 w 516735"/>
                <a:gd name="connsiteY64" fmla="*/ 118011 h 761503"/>
                <a:gd name="connsiteX65" fmla="*/ 107132 w 516735"/>
                <a:gd name="connsiteY65" fmla="*/ 191441 h 761503"/>
                <a:gd name="connsiteX66" fmla="*/ 90814 w 516735"/>
                <a:gd name="connsiteY66" fmla="*/ 224077 h 761503"/>
                <a:gd name="connsiteX67" fmla="*/ 74496 w 516735"/>
                <a:gd name="connsiteY67" fmla="*/ 218638 h 761503"/>
                <a:gd name="connsiteX68" fmla="*/ 66337 w 516735"/>
                <a:gd name="connsiteY68" fmla="*/ 205040 h 761503"/>
                <a:gd name="connsiteX69" fmla="*/ 63617 w 516735"/>
                <a:gd name="connsiteY69" fmla="*/ 186002 h 761503"/>
                <a:gd name="connsiteX70" fmla="*/ 63617 w 516735"/>
                <a:gd name="connsiteY70" fmla="*/ 145207 h 761503"/>
                <a:gd name="connsiteX71" fmla="*/ 63617 w 516735"/>
                <a:gd name="connsiteY71" fmla="*/ 109852 h 761503"/>
                <a:gd name="connsiteX72" fmla="*/ 58178 w 516735"/>
                <a:gd name="connsiteY72" fmla="*/ 96253 h 761503"/>
                <a:gd name="connsiteX73" fmla="*/ 66337 w 516735"/>
                <a:gd name="connsiteY73" fmla="*/ 85375 h 761503"/>
                <a:gd name="connsiteX74" fmla="*/ 93533 w 516735"/>
                <a:gd name="connsiteY74" fmla="*/ 77216 h 761503"/>
                <a:gd name="connsiteX75" fmla="*/ 115290 w 516735"/>
                <a:gd name="connsiteY75" fmla="*/ 77216 h 761503"/>
                <a:gd name="connsiteX76" fmla="*/ 169684 w 516735"/>
                <a:gd name="connsiteY76" fmla="*/ 74496 h 761503"/>
                <a:gd name="connsiteX77" fmla="*/ 194161 w 516735"/>
                <a:gd name="connsiteY77" fmla="*/ 71776 h 761503"/>
                <a:gd name="connsiteX78" fmla="*/ 196880 w 516735"/>
                <a:gd name="connsiteY78" fmla="*/ 71776 h 761503"/>
                <a:gd name="connsiteX79" fmla="*/ 210478 w 516735"/>
                <a:gd name="connsiteY79" fmla="*/ 71776 h 761503"/>
                <a:gd name="connsiteX80" fmla="*/ 218638 w 516735"/>
                <a:gd name="connsiteY80" fmla="*/ 71776 h 761503"/>
                <a:gd name="connsiteX81" fmla="*/ 237675 w 516735"/>
                <a:gd name="connsiteY81" fmla="*/ 60898 h 761503"/>
                <a:gd name="connsiteX82" fmla="*/ 253993 w 516735"/>
                <a:gd name="connsiteY82" fmla="*/ 58178 h 761503"/>
                <a:gd name="connsiteX83" fmla="*/ 283910 w 516735"/>
                <a:gd name="connsiteY83" fmla="*/ 60898 h 761503"/>
                <a:gd name="connsiteX84" fmla="*/ 294788 w 516735"/>
                <a:gd name="connsiteY84" fmla="*/ 66337 h 761503"/>
                <a:gd name="connsiteX85" fmla="*/ 305667 w 516735"/>
                <a:gd name="connsiteY85" fmla="*/ 74496 h 761503"/>
                <a:gd name="connsiteX86" fmla="*/ 313826 w 516735"/>
                <a:gd name="connsiteY86" fmla="*/ 74496 h 761503"/>
                <a:gd name="connsiteX87" fmla="*/ 327424 w 516735"/>
                <a:gd name="connsiteY87" fmla="*/ 74496 h 761503"/>
                <a:gd name="connsiteX88" fmla="*/ 354621 w 516735"/>
                <a:gd name="connsiteY88" fmla="*/ 74496 h 761503"/>
                <a:gd name="connsiteX89" fmla="*/ 422612 w 516735"/>
                <a:gd name="connsiteY89" fmla="*/ 74496 h 761503"/>
                <a:gd name="connsiteX90" fmla="*/ 455248 w 516735"/>
                <a:gd name="connsiteY90" fmla="*/ 79936 h 761503"/>
                <a:gd name="connsiteX91" fmla="*/ 466127 w 516735"/>
                <a:gd name="connsiteY91" fmla="*/ 98973 h 761503"/>
                <a:gd name="connsiteX92" fmla="*/ 463407 w 516735"/>
                <a:gd name="connsiteY92" fmla="*/ 109852 h 761503"/>
                <a:gd name="connsiteX93" fmla="*/ 463407 w 516735"/>
                <a:gd name="connsiteY93" fmla="*/ 120730 h 761503"/>
                <a:gd name="connsiteX94" fmla="*/ 463407 w 516735"/>
                <a:gd name="connsiteY94" fmla="*/ 194161 h 761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</a:cxnLst>
              <a:rect l="l" t="t" r="r" b="b"/>
              <a:pathLst>
                <a:path w="516735" h="761503">
                  <a:moveTo>
                    <a:pt x="463407" y="194161"/>
                  </a:moveTo>
                  <a:cubicBezTo>
                    <a:pt x="463407" y="205040"/>
                    <a:pt x="463407" y="226797"/>
                    <a:pt x="447089" y="226797"/>
                  </a:cubicBezTo>
                  <a:cubicBezTo>
                    <a:pt x="438930" y="226797"/>
                    <a:pt x="436211" y="226797"/>
                    <a:pt x="430771" y="221357"/>
                  </a:cubicBezTo>
                  <a:cubicBezTo>
                    <a:pt x="425332" y="218638"/>
                    <a:pt x="422612" y="210479"/>
                    <a:pt x="422612" y="207759"/>
                  </a:cubicBezTo>
                  <a:cubicBezTo>
                    <a:pt x="419893" y="199600"/>
                    <a:pt x="419893" y="194161"/>
                    <a:pt x="419893" y="188722"/>
                  </a:cubicBezTo>
                  <a:cubicBezTo>
                    <a:pt x="419893" y="183282"/>
                    <a:pt x="419893" y="147927"/>
                    <a:pt x="419893" y="139768"/>
                  </a:cubicBezTo>
                  <a:cubicBezTo>
                    <a:pt x="419893" y="134329"/>
                    <a:pt x="419893" y="128889"/>
                    <a:pt x="419893" y="120730"/>
                  </a:cubicBezTo>
                  <a:cubicBezTo>
                    <a:pt x="411734" y="120730"/>
                    <a:pt x="403574" y="120730"/>
                    <a:pt x="395416" y="120730"/>
                  </a:cubicBezTo>
                  <a:cubicBezTo>
                    <a:pt x="387256" y="120730"/>
                    <a:pt x="379098" y="120730"/>
                    <a:pt x="370939" y="120730"/>
                  </a:cubicBezTo>
                  <a:cubicBezTo>
                    <a:pt x="362780" y="120730"/>
                    <a:pt x="354621" y="123450"/>
                    <a:pt x="346461" y="123450"/>
                  </a:cubicBezTo>
                  <a:cubicBezTo>
                    <a:pt x="343742" y="123450"/>
                    <a:pt x="341023" y="123450"/>
                    <a:pt x="335583" y="123450"/>
                  </a:cubicBezTo>
                  <a:cubicBezTo>
                    <a:pt x="335583" y="123450"/>
                    <a:pt x="335583" y="123450"/>
                    <a:pt x="335583" y="123450"/>
                  </a:cubicBezTo>
                  <a:cubicBezTo>
                    <a:pt x="327424" y="123450"/>
                    <a:pt x="324704" y="126170"/>
                    <a:pt x="324704" y="128889"/>
                  </a:cubicBezTo>
                  <a:cubicBezTo>
                    <a:pt x="324704" y="131609"/>
                    <a:pt x="324704" y="137048"/>
                    <a:pt x="327424" y="139768"/>
                  </a:cubicBezTo>
                  <a:cubicBezTo>
                    <a:pt x="330144" y="147927"/>
                    <a:pt x="330144" y="166964"/>
                    <a:pt x="330144" y="175123"/>
                  </a:cubicBezTo>
                  <a:cubicBezTo>
                    <a:pt x="330144" y="183282"/>
                    <a:pt x="330144" y="191441"/>
                    <a:pt x="330144" y="199600"/>
                  </a:cubicBezTo>
                  <a:cubicBezTo>
                    <a:pt x="330144" y="207759"/>
                    <a:pt x="327424" y="215918"/>
                    <a:pt x="327424" y="224077"/>
                  </a:cubicBezTo>
                  <a:cubicBezTo>
                    <a:pt x="327424" y="232236"/>
                    <a:pt x="330144" y="243115"/>
                    <a:pt x="330144" y="251274"/>
                  </a:cubicBezTo>
                  <a:cubicBezTo>
                    <a:pt x="330144" y="259433"/>
                    <a:pt x="330144" y="267592"/>
                    <a:pt x="327424" y="278470"/>
                  </a:cubicBezTo>
                  <a:cubicBezTo>
                    <a:pt x="327424" y="294788"/>
                    <a:pt x="327424" y="313826"/>
                    <a:pt x="327424" y="332864"/>
                  </a:cubicBezTo>
                  <a:cubicBezTo>
                    <a:pt x="327424" y="341022"/>
                    <a:pt x="327424" y="349181"/>
                    <a:pt x="330144" y="357340"/>
                  </a:cubicBezTo>
                  <a:cubicBezTo>
                    <a:pt x="330144" y="360060"/>
                    <a:pt x="330144" y="365499"/>
                    <a:pt x="330144" y="368219"/>
                  </a:cubicBezTo>
                  <a:cubicBezTo>
                    <a:pt x="330144" y="373658"/>
                    <a:pt x="332863" y="384537"/>
                    <a:pt x="332863" y="387257"/>
                  </a:cubicBezTo>
                  <a:cubicBezTo>
                    <a:pt x="332863" y="406294"/>
                    <a:pt x="332863" y="414453"/>
                    <a:pt x="332863" y="433491"/>
                  </a:cubicBezTo>
                  <a:cubicBezTo>
                    <a:pt x="332863" y="452528"/>
                    <a:pt x="335583" y="468846"/>
                    <a:pt x="332863" y="487884"/>
                  </a:cubicBezTo>
                  <a:cubicBezTo>
                    <a:pt x="332863" y="496043"/>
                    <a:pt x="330144" y="504202"/>
                    <a:pt x="330144" y="512361"/>
                  </a:cubicBezTo>
                  <a:cubicBezTo>
                    <a:pt x="330144" y="520520"/>
                    <a:pt x="330144" y="531398"/>
                    <a:pt x="330144" y="539557"/>
                  </a:cubicBezTo>
                  <a:cubicBezTo>
                    <a:pt x="330144" y="558595"/>
                    <a:pt x="330144" y="574913"/>
                    <a:pt x="332863" y="593950"/>
                  </a:cubicBezTo>
                  <a:cubicBezTo>
                    <a:pt x="332863" y="610268"/>
                    <a:pt x="332863" y="632026"/>
                    <a:pt x="332863" y="648343"/>
                  </a:cubicBezTo>
                  <a:cubicBezTo>
                    <a:pt x="332863" y="651063"/>
                    <a:pt x="332863" y="653783"/>
                    <a:pt x="332863" y="656502"/>
                  </a:cubicBezTo>
                  <a:cubicBezTo>
                    <a:pt x="343742" y="656502"/>
                    <a:pt x="351901" y="656502"/>
                    <a:pt x="357341" y="656502"/>
                  </a:cubicBezTo>
                  <a:cubicBezTo>
                    <a:pt x="370939" y="656502"/>
                    <a:pt x="395416" y="659222"/>
                    <a:pt x="395416" y="675540"/>
                  </a:cubicBezTo>
                  <a:cubicBezTo>
                    <a:pt x="395416" y="683699"/>
                    <a:pt x="392696" y="686419"/>
                    <a:pt x="389976" y="691858"/>
                  </a:cubicBezTo>
                  <a:cubicBezTo>
                    <a:pt x="384537" y="697297"/>
                    <a:pt x="379098" y="700017"/>
                    <a:pt x="373658" y="700017"/>
                  </a:cubicBezTo>
                  <a:cubicBezTo>
                    <a:pt x="365499" y="702737"/>
                    <a:pt x="357341" y="702737"/>
                    <a:pt x="351901" y="702737"/>
                  </a:cubicBezTo>
                  <a:cubicBezTo>
                    <a:pt x="349181" y="702737"/>
                    <a:pt x="335583" y="702737"/>
                    <a:pt x="319265" y="702737"/>
                  </a:cubicBezTo>
                  <a:cubicBezTo>
                    <a:pt x="316546" y="705456"/>
                    <a:pt x="313826" y="705456"/>
                    <a:pt x="311106" y="708176"/>
                  </a:cubicBezTo>
                  <a:cubicBezTo>
                    <a:pt x="302948" y="713615"/>
                    <a:pt x="297508" y="713615"/>
                    <a:pt x="289349" y="713615"/>
                  </a:cubicBezTo>
                  <a:cubicBezTo>
                    <a:pt x="283910" y="713615"/>
                    <a:pt x="278470" y="713615"/>
                    <a:pt x="270311" y="713615"/>
                  </a:cubicBezTo>
                  <a:cubicBezTo>
                    <a:pt x="259433" y="713615"/>
                    <a:pt x="251273" y="710895"/>
                    <a:pt x="243115" y="705456"/>
                  </a:cubicBezTo>
                  <a:cubicBezTo>
                    <a:pt x="240395" y="705456"/>
                    <a:pt x="237675" y="702737"/>
                    <a:pt x="237675" y="702737"/>
                  </a:cubicBezTo>
                  <a:cubicBezTo>
                    <a:pt x="224077" y="702737"/>
                    <a:pt x="213198" y="702737"/>
                    <a:pt x="199600" y="702737"/>
                  </a:cubicBezTo>
                  <a:cubicBezTo>
                    <a:pt x="191441" y="702737"/>
                    <a:pt x="183282" y="702737"/>
                    <a:pt x="175123" y="702737"/>
                  </a:cubicBezTo>
                  <a:cubicBezTo>
                    <a:pt x="166965" y="702737"/>
                    <a:pt x="156085" y="702737"/>
                    <a:pt x="147927" y="697297"/>
                  </a:cubicBezTo>
                  <a:cubicBezTo>
                    <a:pt x="139768" y="694578"/>
                    <a:pt x="131609" y="680979"/>
                    <a:pt x="131609" y="678260"/>
                  </a:cubicBezTo>
                  <a:cubicBezTo>
                    <a:pt x="131609" y="675540"/>
                    <a:pt x="131609" y="672820"/>
                    <a:pt x="137048" y="670101"/>
                  </a:cubicBezTo>
                  <a:cubicBezTo>
                    <a:pt x="142487" y="667381"/>
                    <a:pt x="153366" y="664661"/>
                    <a:pt x="158805" y="661942"/>
                  </a:cubicBezTo>
                  <a:cubicBezTo>
                    <a:pt x="175123" y="659222"/>
                    <a:pt x="191441" y="659222"/>
                    <a:pt x="199600" y="659222"/>
                  </a:cubicBezTo>
                  <a:lnTo>
                    <a:pt x="199600" y="659222"/>
                  </a:lnTo>
                  <a:cubicBezTo>
                    <a:pt x="199600" y="648343"/>
                    <a:pt x="196880" y="640184"/>
                    <a:pt x="196880" y="629306"/>
                  </a:cubicBezTo>
                  <a:cubicBezTo>
                    <a:pt x="196880" y="612988"/>
                    <a:pt x="196880" y="591231"/>
                    <a:pt x="199600" y="574913"/>
                  </a:cubicBezTo>
                  <a:cubicBezTo>
                    <a:pt x="199600" y="558595"/>
                    <a:pt x="199600" y="539557"/>
                    <a:pt x="202320" y="523239"/>
                  </a:cubicBezTo>
                  <a:cubicBezTo>
                    <a:pt x="202320" y="501482"/>
                    <a:pt x="205040" y="482445"/>
                    <a:pt x="205040" y="460687"/>
                  </a:cubicBezTo>
                  <a:cubicBezTo>
                    <a:pt x="205040" y="447089"/>
                    <a:pt x="205040" y="430771"/>
                    <a:pt x="205040" y="417173"/>
                  </a:cubicBezTo>
                  <a:cubicBezTo>
                    <a:pt x="205040" y="409014"/>
                    <a:pt x="207759" y="400855"/>
                    <a:pt x="207759" y="392696"/>
                  </a:cubicBezTo>
                  <a:cubicBezTo>
                    <a:pt x="207759" y="384537"/>
                    <a:pt x="210478" y="376378"/>
                    <a:pt x="210478" y="368219"/>
                  </a:cubicBezTo>
                  <a:cubicBezTo>
                    <a:pt x="210478" y="351901"/>
                    <a:pt x="210478" y="332864"/>
                    <a:pt x="210478" y="313826"/>
                  </a:cubicBezTo>
                  <a:cubicBezTo>
                    <a:pt x="210478" y="294788"/>
                    <a:pt x="210478" y="275751"/>
                    <a:pt x="210478" y="259433"/>
                  </a:cubicBezTo>
                  <a:cubicBezTo>
                    <a:pt x="210478" y="243115"/>
                    <a:pt x="210478" y="226797"/>
                    <a:pt x="210478" y="213199"/>
                  </a:cubicBezTo>
                  <a:cubicBezTo>
                    <a:pt x="210478" y="194161"/>
                    <a:pt x="210478" y="164245"/>
                    <a:pt x="210478" y="145207"/>
                  </a:cubicBezTo>
                  <a:cubicBezTo>
                    <a:pt x="210478" y="139768"/>
                    <a:pt x="213198" y="134329"/>
                    <a:pt x="213198" y="131609"/>
                  </a:cubicBezTo>
                  <a:cubicBezTo>
                    <a:pt x="213198" y="126170"/>
                    <a:pt x="207759" y="123450"/>
                    <a:pt x="205040" y="123450"/>
                  </a:cubicBezTo>
                  <a:cubicBezTo>
                    <a:pt x="199600" y="123450"/>
                    <a:pt x="166965" y="123450"/>
                    <a:pt x="161525" y="123450"/>
                  </a:cubicBezTo>
                  <a:cubicBezTo>
                    <a:pt x="145207" y="123450"/>
                    <a:pt x="128889" y="123450"/>
                    <a:pt x="112571" y="120730"/>
                  </a:cubicBezTo>
                  <a:cubicBezTo>
                    <a:pt x="109852" y="120730"/>
                    <a:pt x="107132" y="120730"/>
                    <a:pt x="104412" y="118011"/>
                  </a:cubicBezTo>
                  <a:cubicBezTo>
                    <a:pt x="107132" y="137048"/>
                    <a:pt x="107132" y="172404"/>
                    <a:pt x="107132" y="191441"/>
                  </a:cubicBezTo>
                  <a:cubicBezTo>
                    <a:pt x="107132" y="202320"/>
                    <a:pt x="107132" y="224077"/>
                    <a:pt x="90814" y="224077"/>
                  </a:cubicBezTo>
                  <a:cubicBezTo>
                    <a:pt x="82655" y="224077"/>
                    <a:pt x="79935" y="221357"/>
                    <a:pt x="74496" y="218638"/>
                  </a:cubicBezTo>
                  <a:cubicBezTo>
                    <a:pt x="69057" y="215918"/>
                    <a:pt x="66337" y="210479"/>
                    <a:pt x="66337" y="205040"/>
                  </a:cubicBezTo>
                  <a:cubicBezTo>
                    <a:pt x="63617" y="196881"/>
                    <a:pt x="63617" y="191441"/>
                    <a:pt x="63617" y="186002"/>
                  </a:cubicBezTo>
                  <a:cubicBezTo>
                    <a:pt x="63617" y="180563"/>
                    <a:pt x="63617" y="153366"/>
                    <a:pt x="63617" y="145207"/>
                  </a:cubicBezTo>
                  <a:cubicBezTo>
                    <a:pt x="63617" y="134329"/>
                    <a:pt x="63617" y="120730"/>
                    <a:pt x="63617" y="109852"/>
                  </a:cubicBezTo>
                  <a:cubicBezTo>
                    <a:pt x="60897" y="104412"/>
                    <a:pt x="58178" y="101693"/>
                    <a:pt x="58178" y="96253"/>
                  </a:cubicBezTo>
                  <a:cubicBezTo>
                    <a:pt x="58178" y="93534"/>
                    <a:pt x="60897" y="88095"/>
                    <a:pt x="66337" y="85375"/>
                  </a:cubicBezTo>
                  <a:cubicBezTo>
                    <a:pt x="74496" y="79936"/>
                    <a:pt x="77215" y="77216"/>
                    <a:pt x="93533" y="77216"/>
                  </a:cubicBezTo>
                  <a:cubicBezTo>
                    <a:pt x="101692" y="77216"/>
                    <a:pt x="109852" y="77216"/>
                    <a:pt x="115290" y="77216"/>
                  </a:cubicBezTo>
                  <a:cubicBezTo>
                    <a:pt x="134328" y="77216"/>
                    <a:pt x="150646" y="77216"/>
                    <a:pt x="169684" y="74496"/>
                  </a:cubicBezTo>
                  <a:cubicBezTo>
                    <a:pt x="177843" y="74496"/>
                    <a:pt x="186002" y="71776"/>
                    <a:pt x="194161" y="71776"/>
                  </a:cubicBezTo>
                  <a:cubicBezTo>
                    <a:pt x="194161" y="71776"/>
                    <a:pt x="196880" y="71776"/>
                    <a:pt x="196880" y="71776"/>
                  </a:cubicBezTo>
                  <a:cubicBezTo>
                    <a:pt x="199600" y="71776"/>
                    <a:pt x="205040" y="71776"/>
                    <a:pt x="210478" y="71776"/>
                  </a:cubicBezTo>
                  <a:cubicBezTo>
                    <a:pt x="213198" y="71776"/>
                    <a:pt x="215918" y="71776"/>
                    <a:pt x="218638" y="71776"/>
                  </a:cubicBezTo>
                  <a:cubicBezTo>
                    <a:pt x="224077" y="69057"/>
                    <a:pt x="229516" y="63618"/>
                    <a:pt x="237675" y="60898"/>
                  </a:cubicBezTo>
                  <a:cubicBezTo>
                    <a:pt x="243115" y="58178"/>
                    <a:pt x="248554" y="58178"/>
                    <a:pt x="253993" y="58178"/>
                  </a:cubicBezTo>
                  <a:cubicBezTo>
                    <a:pt x="264872" y="58178"/>
                    <a:pt x="273031" y="58178"/>
                    <a:pt x="283910" y="60898"/>
                  </a:cubicBezTo>
                  <a:cubicBezTo>
                    <a:pt x="286629" y="60898"/>
                    <a:pt x="292068" y="63618"/>
                    <a:pt x="294788" y="66337"/>
                  </a:cubicBezTo>
                  <a:cubicBezTo>
                    <a:pt x="297508" y="69057"/>
                    <a:pt x="302948" y="71776"/>
                    <a:pt x="305667" y="74496"/>
                  </a:cubicBezTo>
                  <a:cubicBezTo>
                    <a:pt x="308386" y="74496"/>
                    <a:pt x="311106" y="74496"/>
                    <a:pt x="313826" y="74496"/>
                  </a:cubicBezTo>
                  <a:cubicBezTo>
                    <a:pt x="319265" y="74496"/>
                    <a:pt x="321985" y="74496"/>
                    <a:pt x="327424" y="74496"/>
                  </a:cubicBezTo>
                  <a:cubicBezTo>
                    <a:pt x="335583" y="74496"/>
                    <a:pt x="346461" y="74496"/>
                    <a:pt x="354621" y="74496"/>
                  </a:cubicBezTo>
                  <a:cubicBezTo>
                    <a:pt x="376378" y="74496"/>
                    <a:pt x="400855" y="74496"/>
                    <a:pt x="422612" y="74496"/>
                  </a:cubicBezTo>
                  <a:cubicBezTo>
                    <a:pt x="433491" y="74496"/>
                    <a:pt x="447089" y="74496"/>
                    <a:pt x="455248" y="79936"/>
                  </a:cubicBezTo>
                  <a:cubicBezTo>
                    <a:pt x="460687" y="82655"/>
                    <a:pt x="466127" y="90814"/>
                    <a:pt x="466127" y="98973"/>
                  </a:cubicBezTo>
                  <a:cubicBezTo>
                    <a:pt x="466127" y="101693"/>
                    <a:pt x="466127" y="107132"/>
                    <a:pt x="463407" y="109852"/>
                  </a:cubicBezTo>
                  <a:cubicBezTo>
                    <a:pt x="463407" y="112571"/>
                    <a:pt x="463407" y="112571"/>
                    <a:pt x="463407" y="120730"/>
                  </a:cubicBezTo>
                  <a:cubicBezTo>
                    <a:pt x="463407" y="142488"/>
                    <a:pt x="463407" y="172404"/>
                    <a:pt x="463407" y="194161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/>
            </a:p>
          </p:txBody>
        </p:sp>
      </p:grpSp>
      <p:sp>
        <p:nvSpPr>
          <p:cNvPr id="55" name="Text Placeholder 53">
            <a:extLst>
              <a:ext uri="{FF2B5EF4-FFF2-40B4-BE49-F238E27FC236}">
                <a16:creationId xmlns:a16="http://schemas.microsoft.com/office/drawing/2014/main" id="{6C6F15D6-83AC-4099-9946-CE8B5A1B72B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21333" y="4370504"/>
            <a:ext cx="4389120" cy="73152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20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buNone/>
              <a:defRPr sz="200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None/>
              <a:defRPr sz="200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buNone/>
              <a:defRPr sz="200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None/>
              <a:defRPr sz="20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None/>
              <a:defRPr sz="200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buNone/>
              <a:defRPr sz="200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buNone/>
              <a:defRPr sz="200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buNone/>
              <a:defRPr sz="2000">
                <a:solidFill>
                  <a:schemeClr val="tx1"/>
                </a:solidFill>
              </a:defRPr>
            </a:lvl9pPr>
          </a:lstStyle>
          <a:p>
            <a:pPr lvl="0"/>
            <a:r>
              <a:t>Subtitle or Presenter Name</a:t>
            </a:r>
          </a:p>
          <a:p>
            <a:pPr lvl="1"/>
            <a:endParaRPr/>
          </a:p>
        </p:txBody>
      </p:sp>
    </p:spTree>
    <p:extLst>
      <p:ext uri="{BB962C8B-B14F-4D97-AF65-F5344CB8AC3E}">
        <p14:creationId xmlns:p14="http://schemas.microsoft.com/office/powerpoint/2010/main" val="337847822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oup 7">
            <a:extLst>
              <a:ext uri="{FF2B5EF4-FFF2-40B4-BE49-F238E27FC236}">
                <a16:creationId xmlns:a16="http://schemas.microsoft.com/office/drawing/2014/main" id="{F2257C3D-9932-4452-82C6-B5C9E5DE453C}"/>
              </a:ext>
            </a:extLst>
          </p:cNvPr>
          <p:cNvGrpSpPr/>
          <p:nvPr userDrawn="1"/>
        </p:nvGrpSpPr>
        <p:grpSpPr>
          <a:xfrm>
            <a:off x="252177" y="306889"/>
            <a:ext cx="2363121" cy="588647"/>
            <a:chOff x="246919" y="254412"/>
            <a:chExt cx="2363121" cy="588647"/>
          </a:xfrm>
        </p:grpSpPr>
        <p:sp>
          <p:nvSpPr>
            <p:cNvPr id="9" name="Freeform: Shape 6">
              <a:extLst>
                <a:ext uri="{FF2B5EF4-FFF2-40B4-BE49-F238E27FC236}">
                  <a16:creationId xmlns:a16="http://schemas.microsoft.com/office/drawing/2014/main" id="{E2A6EBA8-A91A-4CC8-B977-C61FC81A528A}"/>
                </a:ext>
              </a:extLst>
            </p:cNvPr>
            <p:cNvSpPr/>
            <p:nvPr/>
          </p:nvSpPr>
          <p:spPr>
            <a:xfrm>
              <a:off x="246919" y="544204"/>
              <a:ext cx="280308" cy="192211"/>
            </a:xfrm>
            <a:custGeom>
              <a:avLst/>
              <a:gdLst>
                <a:gd name="connsiteX0" fmla="*/ 903041 w 951880"/>
                <a:gd name="connsiteY0" fmla="*/ 330574 h 652717"/>
                <a:gd name="connsiteX1" fmla="*/ 780656 w 951880"/>
                <a:gd name="connsiteY1" fmla="*/ 379528 h 652717"/>
                <a:gd name="connsiteX2" fmla="*/ 598439 w 951880"/>
                <a:gd name="connsiteY2" fmla="*/ 311537 h 652717"/>
                <a:gd name="connsiteX3" fmla="*/ 505970 w 951880"/>
                <a:gd name="connsiteY3" fmla="*/ 164675 h 652717"/>
                <a:gd name="connsiteX4" fmla="*/ 266640 w 951880"/>
                <a:gd name="connsiteY4" fmla="*/ 61329 h 652717"/>
                <a:gd name="connsiteX5" fmla="*/ 103461 w 951880"/>
                <a:gd name="connsiteY5" fmla="*/ 458398 h 652717"/>
                <a:gd name="connsiteX6" fmla="*/ 756179 w 951880"/>
                <a:gd name="connsiteY6" fmla="*/ 485595 h 652717"/>
                <a:gd name="connsiteX7" fmla="*/ 903041 w 951880"/>
                <a:gd name="connsiteY7" fmla="*/ 330574 h 6527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51880" h="652717">
                  <a:moveTo>
                    <a:pt x="903041" y="330574"/>
                  </a:moveTo>
                  <a:cubicBezTo>
                    <a:pt x="867685" y="363210"/>
                    <a:pt x="813292" y="374089"/>
                    <a:pt x="780656" y="379528"/>
                  </a:cubicBezTo>
                  <a:cubicBezTo>
                    <a:pt x="712664" y="387687"/>
                    <a:pt x="641953" y="365930"/>
                    <a:pt x="598439" y="311537"/>
                  </a:cubicBezTo>
                  <a:cubicBezTo>
                    <a:pt x="563083" y="268022"/>
                    <a:pt x="544046" y="210910"/>
                    <a:pt x="505970" y="164675"/>
                  </a:cubicBezTo>
                  <a:cubicBezTo>
                    <a:pt x="448858" y="93964"/>
                    <a:pt x="359109" y="45011"/>
                    <a:pt x="266640" y="61329"/>
                  </a:cubicBezTo>
                  <a:cubicBezTo>
                    <a:pt x="81704" y="93964"/>
                    <a:pt x="114" y="308817"/>
                    <a:pt x="103461" y="458398"/>
                  </a:cubicBezTo>
                  <a:cubicBezTo>
                    <a:pt x="253042" y="670531"/>
                    <a:pt x="584840" y="635176"/>
                    <a:pt x="756179" y="485595"/>
                  </a:cubicBezTo>
                  <a:cubicBezTo>
                    <a:pt x="813292" y="442080"/>
                    <a:pt x="862246" y="390407"/>
                    <a:pt x="903041" y="330574"/>
                  </a:cubicBezTo>
                </a:path>
              </a:pathLst>
            </a:custGeom>
            <a:solidFill>
              <a:srgbClr val="FFFFFF"/>
            </a:solidFill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0" name="Freeform: Shape 8">
              <a:extLst>
                <a:ext uri="{FF2B5EF4-FFF2-40B4-BE49-F238E27FC236}">
                  <a16:creationId xmlns:a16="http://schemas.microsoft.com/office/drawing/2014/main" id="{D718DFEE-CCCF-4806-9B04-B65866E5FF92}"/>
                </a:ext>
              </a:extLst>
            </p:cNvPr>
            <p:cNvSpPr/>
            <p:nvPr/>
          </p:nvSpPr>
          <p:spPr>
            <a:xfrm>
              <a:off x="2329732" y="544204"/>
              <a:ext cx="280308" cy="192211"/>
            </a:xfrm>
            <a:custGeom>
              <a:avLst/>
              <a:gdLst>
                <a:gd name="connsiteX0" fmla="*/ 58178 w 951880"/>
                <a:gd name="connsiteY0" fmla="*/ 330574 h 652717"/>
                <a:gd name="connsiteX1" fmla="*/ 180563 w 951880"/>
                <a:gd name="connsiteY1" fmla="*/ 379528 h 652717"/>
                <a:gd name="connsiteX2" fmla="*/ 362780 w 951880"/>
                <a:gd name="connsiteY2" fmla="*/ 311537 h 652717"/>
                <a:gd name="connsiteX3" fmla="*/ 455249 w 951880"/>
                <a:gd name="connsiteY3" fmla="*/ 164675 h 652717"/>
                <a:gd name="connsiteX4" fmla="*/ 694578 w 951880"/>
                <a:gd name="connsiteY4" fmla="*/ 61329 h 652717"/>
                <a:gd name="connsiteX5" fmla="*/ 857758 w 951880"/>
                <a:gd name="connsiteY5" fmla="*/ 458398 h 652717"/>
                <a:gd name="connsiteX6" fmla="*/ 205040 w 951880"/>
                <a:gd name="connsiteY6" fmla="*/ 485595 h 652717"/>
                <a:gd name="connsiteX7" fmla="*/ 58178 w 951880"/>
                <a:gd name="connsiteY7" fmla="*/ 330574 h 6527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51880" h="652717">
                  <a:moveTo>
                    <a:pt x="58178" y="330574"/>
                  </a:moveTo>
                  <a:cubicBezTo>
                    <a:pt x="96253" y="363210"/>
                    <a:pt x="147927" y="374089"/>
                    <a:pt x="180563" y="379528"/>
                  </a:cubicBezTo>
                  <a:cubicBezTo>
                    <a:pt x="248554" y="387687"/>
                    <a:pt x="319266" y="365930"/>
                    <a:pt x="362780" y="311537"/>
                  </a:cubicBezTo>
                  <a:cubicBezTo>
                    <a:pt x="398136" y="268022"/>
                    <a:pt x="417174" y="210910"/>
                    <a:pt x="455249" y="164675"/>
                  </a:cubicBezTo>
                  <a:cubicBezTo>
                    <a:pt x="512362" y="93964"/>
                    <a:pt x="602110" y="45011"/>
                    <a:pt x="694578" y="61329"/>
                  </a:cubicBezTo>
                  <a:cubicBezTo>
                    <a:pt x="879515" y="93964"/>
                    <a:pt x="961105" y="308817"/>
                    <a:pt x="857758" y="458398"/>
                  </a:cubicBezTo>
                  <a:cubicBezTo>
                    <a:pt x="708176" y="670531"/>
                    <a:pt x="376379" y="635176"/>
                    <a:pt x="205040" y="485595"/>
                  </a:cubicBezTo>
                  <a:cubicBezTo>
                    <a:pt x="150646" y="442080"/>
                    <a:pt x="101693" y="390407"/>
                    <a:pt x="58178" y="330574"/>
                  </a:cubicBezTo>
                </a:path>
              </a:pathLst>
            </a:custGeom>
            <a:solidFill>
              <a:srgbClr val="FFFFFF"/>
            </a:solidFill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F6E34884-3142-46B5-8FC9-7652AEACBAE5}"/>
                </a:ext>
              </a:extLst>
            </p:cNvPr>
            <p:cNvSpPr/>
            <p:nvPr/>
          </p:nvSpPr>
          <p:spPr>
            <a:xfrm>
              <a:off x="1990923" y="290452"/>
              <a:ext cx="216238" cy="88097"/>
            </a:xfrm>
            <a:custGeom>
              <a:avLst/>
              <a:gdLst>
                <a:gd name="connsiteX0" fmla="*/ 596792 w 734307"/>
                <a:gd name="connsiteY0" fmla="*/ 58178 h 299162"/>
                <a:gd name="connsiteX1" fmla="*/ 148048 w 734307"/>
                <a:gd name="connsiteY1" fmla="*/ 58178 h 299162"/>
                <a:gd name="connsiteX2" fmla="*/ 58299 w 734307"/>
                <a:gd name="connsiteY2" fmla="*/ 150646 h 299162"/>
                <a:gd name="connsiteX3" fmla="*/ 148048 w 734307"/>
                <a:gd name="connsiteY3" fmla="*/ 251274 h 299162"/>
                <a:gd name="connsiteX4" fmla="*/ 596792 w 734307"/>
                <a:gd name="connsiteY4" fmla="*/ 251274 h 299162"/>
                <a:gd name="connsiteX5" fmla="*/ 686541 w 734307"/>
                <a:gd name="connsiteY5" fmla="*/ 158805 h 299162"/>
                <a:gd name="connsiteX6" fmla="*/ 596792 w 734307"/>
                <a:gd name="connsiteY6" fmla="*/ 58178 h 2991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34307" h="299162">
                  <a:moveTo>
                    <a:pt x="596792" y="58178"/>
                  </a:moveTo>
                  <a:cubicBezTo>
                    <a:pt x="591353" y="58178"/>
                    <a:pt x="153487" y="58178"/>
                    <a:pt x="148048" y="58178"/>
                  </a:cubicBezTo>
                  <a:cubicBezTo>
                    <a:pt x="99094" y="60898"/>
                    <a:pt x="61019" y="104412"/>
                    <a:pt x="58299" y="150646"/>
                  </a:cubicBezTo>
                  <a:cubicBezTo>
                    <a:pt x="55580" y="199600"/>
                    <a:pt x="99094" y="248554"/>
                    <a:pt x="148048" y="251274"/>
                  </a:cubicBezTo>
                  <a:cubicBezTo>
                    <a:pt x="153487" y="251274"/>
                    <a:pt x="591353" y="251274"/>
                    <a:pt x="596792" y="251274"/>
                  </a:cubicBezTo>
                  <a:cubicBezTo>
                    <a:pt x="645746" y="248554"/>
                    <a:pt x="683821" y="205040"/>
                    <a:pt x="686541" y="158805"/>
                  </a:cubicBezTo>
                  <a:cubicBezTo>
                    <a:pt x="689260" y="109852"/>
                    <a:pt x="648465" y="60898"/>
                    <a:pt x="596792" y="58178"/>
                  </a:cubicBezTo>
                </a:path>
              </a:pathLst>
            </a:custGeom>
            <a:solidFill>
              <a:srgbClr val="FFFFFF"/>
            </a:solidFill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2B9ABB82-9A23-4E6C-8E86-0BEA09232873}"/>
                </a:ext>
              </a:extLst>
            </p:cNvPr>
            <p:cNvSpPr/>
            <p:nvPr/>
          </p:nvSpPr>
          <p:spPr>
            <a:xfrm>
              <a:off x="1083560" y="368938"/>
              <a:ext cx="296326" cy="280308"/>
            </a:xfrm>
            <a:custGeom>
              <a:avLst/>
              <a:gdLst>
                <a:gd name="connsiteX0" fmla="*/ 884954 w 1006273"/>
                <a:gd name="connsiteY0" fmla="*/ 746251 h 951879"/>
                <a:gd name="connsiteX1" fmla="*/ 874076 w 1006273"/>
                <a:gd name="connsiteY1" fmla="*/ 670101 h 951879"/>
                <a:gd name="connsiteX2" fmla="*/ 874076 w 1006273"/>
                <a:gd name="connsiteY2" fmla="*/ 536837 h 951879"/>
                <a:gd name="connsiteX3" fmla="*/ 689139 w 1006273"/>
                <a:gd name="connsiteY3" fmla="*/ 88094 h 951879"/>
                <a:gd name="connsiteX4" fmla="*/ 428052 w 1006273"/>
                <a:gd name="connsiteY4" fmla="*/ 253993 h 951879"/>
                <a:gd name="connsiteX5" fmla="*/ 196881 w 1006273"/>
                <a:gd name="connsiteY5" fmla="*/ 58178 h 951879"/>
                <a:gd name="connsiteX6" fmla="*/ 58178 w 1006273"/>
                <a:gd name="connsiteY6" fmla="*/ 128889 h 951879"/>
                <a:gd name="connsiteX7" fmla="*/ 142488 w 1006273"/>
                <a:gd name="connsiteY7" fmla="*/ 273031 h 951879"/>
                <a:gd name="connsiteX8" fmla="*/ 142488 w 1006273"/>
                <a:gd name="connsiteY8" fmla="*/ 757130 h 951879"/>
                <a:gd name="connsiteX9" fmla="*/ 283910 w 1006273"/>
                <a:gd name="connsiteY9" fmla="*/ 895832 h 951879"/>
                <a:gd name="connsiteX10" fmla="*/ 428052 w 1006273"/>
                <a:gd name="connsiteY10" fmla="*/ 757130 h 951879"/>
                <a:gd name="connsiteX11" fmla="*/ 428052 w 1006273"/>
                <a:gd name="connsiteY11" fmla="*/ 400855 h 951879"/>
                <a:gd name="connsiteX12" fmla="*/ 523240 w 1006273"/>
                <a:gd name="connsiteY12" fmla="*/ 283910 h 951879"/>
                <a:gd name="connsiteX13" fmla="*/ 591231 w 1006273"/>
                <a:gd name="connsiteY13" fmla="*/ 354621 h 951879"/>
                <a:gd name="connsiteX14" fmla="*/ 591231 w 1006273"/>
                <a:gd name="connsiteY14" fmla="*/ 697297 h 951879"/>
                <a:gd name="connsiteX15" fmla="*/ 593951 w 1006273"/>
                <a:gd name="connsiteY15" fmla="*/ 729933 h 951879"/>
                <a:gd name="connsiteX16" fmla="*/ 610269 w 1006273"/>
                <a:gd name="connsiteY16" fmla="*/ 778887 h 951879"/>
                <a:gd name="connsiteX17" fmla="*/ 822402 w 1006273"/>
                <a:gd name="connsiteY17" fmla="*/ 893112 h 951879"/>
                <a:gd name="connsiteX18" fmla="*/ 961105 w 1006273"/>
                <a:gd name="connsiteY18" fmla="*/ 822401 h 951879"/>
                <a:gd name="connsiteX19" fmla="*/ 884954 w 1006273"/>
                <a:gd name="connsiteY19" fmla="*/ 746251 h 9518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006273" h="951879">
                  <a:moveTo>
                    <a:pt x="884954" y="746251"/>
                  </a:moveTo>
                  <a:cubicBezTo>
                    <a:pt x="879515" y="721774"/>
                    <a:pt x="876795" y="694578"/>
                    <a:pt x="874076" y="670101"/>
                  </a:cubicBezTo>
                  <a:cubicBezTo>
                    <a:pt x="874076" y="634745"/>
                    <a:pt x="874076" y="583072"/>
                    <a:pt x="874076" y="536837"/>
                  </a:cubicBezTo>
                  <a:cubicBezTo>
                    <a:pt x="879515" y="373658"/>
                    <a:pt x="909431" y="88094"/>
                    <a:pt x="689139" y="88094"/>
                  </a:cubicBezTo>
                  <a:cubicBezTo>
                    <a:pt x="539558" y="88094"/>
                    <a:pt x="452529" y="213199"/>
                    <a:pt x="428052" y="253993"/>
                  </a:cubicBezTo>
                  <a:cubicBezTo>
                    <a:pt x="425332" y="139768"/>
                    <a:pt x="335583" y="58178"/>
                    <a:pt x="196881" y="58178"/>
                  </a:cubicBezTo>
                  <a:cubicBezTo>
                    <a:pt x="109852" y="58178"/>
                    <a:pt x="58178" y="128889"/>
                    <a:pt x="58178" y="128889"/>
                  </a:cubicBezTo>
                  <a:cubicBezTo>
                    <a:pt x="58178" y="128889"/>
                    <a:pt x="142488" y="158805"/>
                    <a:pt x="142488" y="273031"/>
                  </a:cubicBezTo>
                  <a:cubicBezTo>
                    <a:pt x="142488" y="354621"/>
                    <a:pt x="142488" y="757130"/>
                    <a:pt x="142488" y="757130"/>
                  </a:cubicBezTo>
                  <a:cubicBezTo>
                    <a:pt x="145207" y="827841"/>
                    <a:pt x="194161" y="895832"/>
                    <a:pt x="283910" y="895832"/>
                  </a:cubicBezTo>
                  <a:cubicBezTo>
                    <a:pt x="373659" y="895832"/>
                    <a:pt x="428052" y="827841"/>
                    <a:pt x="428052" y="757130"/>
                  </a:cubicBezTo>
                  <a:lnTo>
                    <a:pt x="428052" y="400855"/>
                  </a:lnTo>
                  <a:cubicBezTo>
                    <a:pt x="441650" y="343742"/>
                    <a:pt x="474286" y="283910"/>
                    <a:pt x="523240" y="283910"/>
                  </a:cubicBezTo>
                  <a:cubicBezTo>
                    <a:pt x="585792" y="283910"/>
                    <a:pt x="591231" y="354621"/>
                    <a:pt x="591231" y="354621"/>
                  </a:cubicBezTo>
                  <a:lnTo>
                    <a:pt x="591231" y="697297"/>
                  </a:lnTo>
                  <a:cubicBezTo>
                    <a:pt x="591231" y="708176"/>
                    <a:pt x="593951" y="719054"/>
                    <a:pt x="593951" y="729933"/>
                  </a:cubicBezTo>
                  <a:cubicBezTo>
                    <a:pt x="596671" y="748971"/>
                    <a:pt x="602110" y="765289"/>
                    <a:pt x="610269" y="778887"/>
                  </a:cubicBezTo>
                  <a:cubicBezTo>
                    <a:pt x="645624" y="846878"/>
                    <a:pt x="719055" y="893112"/>
                    <a:pt x="822402" y="893112"/>
                  </a:cubicBezTo>
                  <a:cubicBezTo>
                    <a:pt x="909431" y="893112"/>
                    <a:pt x="961105" y="822401"/>
                    <a:pt x="961105" y="822401"/>
                  </a:cubicBezTo>
                  <a:cubicBezTo>
                    <a:pt x="961105" y="822401"/>
                    <a:pt x="909431" y="808803"/>
                    <a:pt x="884954" y="746251"/>
                  </a:cubicBezTo>
                </a:path>
              </a:pathLst>
            </a:custGeom>
            <a:solidFill>
              <a:srgbClr val="FFFFFF"/>
            </a:solidFill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9B1131D4-D2AE-492F-9B86-D7FB518AB5BF}"/>
                </a:ext>
              </a:extLst>
            </p:cNvPr>
            <p:cNvSpPr/>
            <p:nvPr/>
          </p:nvSpPr>
          <p:spPr>
            <a:xfrm>
              <a:off x="1858713" y="254412"/>
              <a:ext cx="144159" cy="392432"/>
            </a:xfrm>
            <a:custGeom>
              <a:avLst/>
              <a:gdLst>
                <a:gd name="connsiteX0" fmla="*/ 368560 w 489538"/>
                <a:gd name="connsiteY0" fmla="*/ 1135162 h 1332630"/>
                <a:gd name="connsiteX1" fmla="*/ 357681 w 489538"/>
                <a:gd name="connsiteY1" fmla="*/ 1059011 h 1332630"/>
                <a:gd name="connsiteX2" fmla="*/ 357681 w 489538"/>
                <a:gd name="connsiteY2" fmla="*/ 207759 h 1332630"/>
                <a:gd name="connsiteX3" fmla="*/ 208099 w 489538"/>
                <a:gd name="connsiteY3" fmla="*/ 58178 h 1332630"/>
                <a:gd name="connsiteX4" fmla="*/ 58518 w 489538"/>
                <a:gd name="connsiteY4" fmla="*/ 207759 h 1332630"/>
                <a:gd name="connsiteX5" fmla="*/ 58518 w 489538"/>
                <a:gd name="connsiteY5" fmla="*/ 961104 h 1332630"/>
                <a:gd name="connsiteX6" fmla="*/ 85715 w 489538"/>
                <a:gd name="connsiteY6" fmla="*/ 1159639 h 1332630"/>
                <a:gd name="connsiteX7" fmla="*/ 306007 w 489538"/>
                <a:gd name="connsiteY7" fmla="*/ 1282023 h 1332630"/>
                <a:gd name="connsiteX8" fmla="*/ 444710 w 489538"/>
                <a:gd name="connsiteY8" fmla="*/ 1211312 h 1332630"/>
                <a:gd name="connsiteX9" fmla="*/ 368560 w 489538"/>
                <a:gd name="connsiteY9" fmla="*/ 1135162 h 13326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89538" h="1332630">
                  <a:moveTo>
                    <a:pt x="368560" y="1135162"/>
                  </a:moveTo>
                  <a:cubicBezTo>
                    <a:pt x="363120" y="1110685"/>
                    <a:pt x="357681" y="1083488"/>
                    <a:pt x="357681" y="1059011"/>
                  </a:cubicBezTo>
                  <a:lnTo>
                    <a:pt x="357681" y="207759"/>
                  </a:lnTo>
                  <a:cubicBezTo>
                    <a:pt x="357681" y="126170"/>
                    <a:pt x="289689" y="58178"/>
                    <a:pt x="208099" y="58178"/>
                  </a:cubicBezTo>
                  <a:cubicBezTo>
                    <a:pt x="126510" y="58178"/>
                    <a:pt x="58518" y="126170"/>
                    <a:pt x="58518" y="207759"/>
                  </a:cubicBezTo>
                  <a:lnTo>
                    <a:pt x="58518" y="961104"/>
                  </a:lnTo>
                  <a:cubicBezTo>
                    <a:pt x="58518" y="1029095"/>
                    <a:pt x="53079" y="1097086"/>
                    <a:pt x="85715" y="1159639"/>
                  </a:cubicBezTo>
                  <a:cubicBezTo>
                    <a:pt x="118351" y="1227630"/>
                    <a:pt x="202660" y="1282023"/>
                    <a:pt x="306007" y="1282023"/>
                  </a:cubicBezTo>
                  <a:cubicBezTo>
                    <a:pt x="393036" y="1282023"/>
                    <a:pt x="444710" y="1211312"/>
                    <a:pt x="444710" y="1211312"/>
                  </a:cubicBezTo>
                  <a:cubicBezTo>
                    <a:pt x="444710" y="1211312"/>
                    <a:pt x="393036" y="1197714"/>
                    <a:pt x="368560" y="1135162"/>
                  </a:cubicBezTo>
                </a:path>
              </a:pathLst>
            </a:custGeom>
            <a:solidFill>
              <a:srgbClr val="FFFFFF"/>
            </a:solidFill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97935BDF-D835-4A48-A6AF-5DA9639D0464}"/>
                </a:ext>
              </a:extLst>
            </p:cNvPr>
            <p:cNvSpPr/>
            <p:nvPr/>
          </p:nvSpPr>
          <p:spPr>
            <a:xfrm>
              <a:off x="860428" y="392477"/>
              <a:ext cx="240265" cy="240265"/>
            </a:xfrm>
            <a:custGeom>
              <a:avLst/>
              <a:gdLst>
                <a:gd name="connsiteX0" fmla="*/ 407949 w 815899"/>
                <a:gd name="connsiteY0" fmla="*/ 174058 h 815898"/>
                <a:gd name="connsiteX1" fmla="*/ 293723 w 815899"/>
                <a:gd name="connsiteY1" fmla="*/ 407950 h 815898"/>
                <a:gd name="connsiteX2" fmla="*/ 410669 w 815899"/>
                <a:gd name="connsiteY2" fmla="*/ 641840 h 815898"/>
                <a:gd name="connsiteX3" fmla="*/ 522175 w 815899"/>
                <a:gd name="connsiteY3" fmla="*/ 407950 h 815898"/>
                <a:gd name="connsiteX4" fmla="*/ 407949 w 815899"/>
                <a:gd name="connsiteY4" fmla="*/ 174058 h 815898"/>
                <a:gd name="connsiteX5" fmla="*/ 407950 w 815899"/>
                <a:gd name="connsiteY5" fmla="*/ 0 h 815898"/>
                <a:gd name="connsiteX6" fmla="*/ 815899 w 815899"/>
                <a:gd name="connsiteY6" fmla="*/ 407949 h 815898"/>
                <a:gd name="connsiteX7" fmla="*/ 407950 w 815899"/>
                <a:gd name="connsiteY7" fmla="*/ 815898 h 815898"/>
                <a:gd name="connsiteX8" fmla="*/ 0 w 815899"/>
                <a:gd name="connsiteY8" fmla="*/ 407949 h 815898"/>
                <a:gd name="connsiteX9" fmla="*/ 407950 w 815899"/>
                <a:gd name="connsiteY9" fmla="*/ 0 h 815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15899" h="815898">
                  <a:moveTo>
                    <a:pt x="407949" y="174058"/>
                  </a:moveTo>
                  <a:cubicBezTo>
                    <a:pt x="342677" y="174058"/>
                    <a:pt x="293723" y="263807"/>
                    <a:pt x="293723" y="407950"/>
                  </a:cubicBezTo>
                  <a:cubicBezTo>
                    <a:pt x="293723" y="552091"/>
                    <a:pt x="331799" y="639120"/>
                    <a:pt x="410669" y="641840"/>
                  </a:cubicBezTo>
                  <a:cubicBezTo>
                    <a:pt x="489539" y="641840"/>
                    <a:pt x="527614" y="552091"/>
                    <a:pt x="522175" y="407950"/>
                  </a:cubicBezTo>
                  <a:cubicBezTo>
                    <a:pt x="522175" y="263807"/>
                    <a:pt x="473221" y="176778"/>
                    <a:pt x="407949" y="174058"/>
                  </a:cubicBezTo>
                  <a:close/>
                  <a:moveTo>
                    <a:pt x="407950" y="0"/>
                  </a:moveTo>
                  <a:cubicBezTo>
                    <a:pt x="633682" y="0"/>
                    <a:pt x="815899" y="182217"/>
                    <a:pt x="815899" y="407949"/>
                  </a:cubicBezTo>
                  <a:cubicBezTo>
                    <a:pt x="815899" y="633681"/>
                    <a:pt x="633682" y="815898"/>
                    <a:pt x="407950" y="815898"/>
                  </a:cubicBezTo>
                  <a:cubicBezTo>
                    <a:pt x="182218" y="815898"/>
                    <a:pt x="0" y="633681"/>
                    <a:pt x="0" y="407949"/>
                  </a:cubicBezTo>
                  <a:cubicBezTo>
                    <a:pt x="0" y="182217"/>
                    <a:pt x="182218" y="0"/>
                    <a:pt x="407950" y="0"/>
                  </a:cubicBezTo>
                  <a:close/>
                </a:path>
              </a:pathLst>
            </a:custGeom>
            <a:solidFill>
              <a:srgbClr val="FFFFFF"/>
            </a:solidFill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DEDACB9B-77C7-4D7B-86A8-863585F8650B}"/>
                </a:ext>
              </a:extLst>
            </p:cNvPr>
            <p:cNvSpPr/>
            <p:nvPr/>
          </p:nvSpPr>
          <p:spPr>
            <a:xfrm>
              <a:off x="1367681" y="271544"/>
              <a:ext cx="268801" cy="360397"/>
            </a:xfrm>
            <a:custGeom>
              <a:avLst/>
              <a:gdLst>
                <a:gd name="connsiteX0" fmla="*/ 387907 w 912802"/>
                <a:gd name="connsiteY0" fmla="*/ 620081 h 1223846"/>
                <a:gd name="connsiteX1" fmla="*/ 273681 w 912802"/>
                <a:gd name="connsiteY1" fmla="*/ 824055 h 1223846"/>
                <a:gd name="connsiteX2" fmla="*/ 390627 w 912802"/>
                <a:gd name="connsiteY2" fmla="*/ 1028029 h 1223846"/>
                <a:gd name="connsiteX3" fmla="*/ 502132 w 912802"/>
                <a:gd name="connsiteY3" fmla="*/ 824055 h 1223846"/>
                <a:gd name="connsiteX4" fmla="*/ 387907 w 912802"/>
                <a:gd name="connsiteY4" fmla="*/ 620081 h 1223846"/>
                <a:gd name="connsiteX5" fmla="*/ 676192 w 912802"/>
                <a:gd name="connsiteY5" fmla="*/ 0 h 1223846"/>
                <a:gd name="connsiteX6" fmla="*/ 825773 w 912802"/>
                <a:gd name="connsiteY6" fmla="*/ 149581 h 1223846"/>
                <a:gd name="connsiteX7" fmla="*/ 825773 w 912802"/>
                <a:gd name="connsiteY7" fmla="*/ 1000834 h 1223846"/>
                <a:gd name="connsiteX8" fmla="*/ 836651 w 912802"/>
                <a:gd name="connsiteY8" fmla="*/ 1076985 h 1223846"/>
                <a:gd name="connsiteX9" fmla="*/ 912802 w 912802"/>
                <a:gd name="connsiteY9" fmla="*/ 1150415 h 1223846"/>
                <a:gd name="connsiteX10" fmla="*/ 774099 w 912802"/>
                <a:gd name="connsiteY10" fmla="*/ 1221126 h 1223846"/>
                <a:gd name="connsiteX11" fmla="*/ 553807 w 912802"/>
                <a:gd name="connsiteY11" fmla="*/ 1098742 h 1223846"/>
                <a:gd name="connsiteX12" fmla="*/ 548367 w 912802"/>
                <a:gd name="connsiteY12" fmla="*/ 1085144 h 1223846"/>
                <a:gd name="connsiteX13" fmla="*/ 398786 w 912802"/>
                <a:gd name="connsiteY13" fmla="*/ 1212967 h 1223846"/>
                <a:gd name="connsiteX14" fmla="*/ 156736 w 912802"/>
                <a:gd name="connsiteY14" fmla="*/ 1180332 h 1223846"/>
                <a:gd name="connsiteX15" fmla="*/ 287280 w 912802"/>
                <a:gd name="connsiteY15" fmla="*/ 416107 h 1223846"/>
                <a:gd name="connsiteX16" fmla="*/ 526611 w 912802"/>
                <a:gd name="connsiteY16" fmla="*/ 552091 h 1223846"/>
                <a:gd name="connsiteX17" fmla="*/ 526611 w 912802"/>
                <a:gd name="connsiteY17" fmla="*/ 149581 h 1223846"/>
                <a:gd name="connsiteX18" fmla="*/ 676192 w 912802"/>
                <a:gd name="connsiteY18" fmla="*/ 0 h 1223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912802" h="1223846">
                  <a:moveTo>
                    <a:pt x="387907" y="620081"/>
                  </a:moveTo>
                  <a:cubicBezTo>
                    <a:pt x="322635" y="620081"/>
                    <a:pt x="273681" y="698951"/>
                    <a:pt x="273681" y="824055"/>
                  </a:cubicBezTo>
                  <a:cubicBezTo>
                    <a:pt x="273681" y="949160"/>
                    <a:pt x="311756" y="1028029"/>
                    <a:pt x="390627" y="1028029"/>
                  </a:cubicBezTo>
                  <a:cubicBezTo>
                    <a:pt x="466777" y="1025310"/>
                    <a:pt x="504852" y="949160"/>
                    <a:pt x="502132" y="824055"/>
                  </a:cubicBezTo>
                  <a:cubicBezTo>
                    <a:pt x="502132" y="698951"/>
                    <a:pt x="455898" y="622801"/>
                    <a:pt x="387907" y="620081"/>
                  </a:cubicBezTo>
                  <a:close/>
                  <a:moveTo>
                    <a:pt x="676192" y="0"/>
                  </a:moveTo>
                  <a:cubicBezTo>
                    <a:pt x="757781" y="0"/>
                    <a:pt x="825773" y="67992"/>
                    <a:pt x="825773" y="149581"/>
                  </a:cubicBezTo>
                  <a:lnTo>
                    <a:pt x="825773" y="1000834"/>
                  </a:lnTo>
                  <a:cubicBezTo>
                    <a:pt x="828492" y="1025311"/>
                    <a:pt x="831212" y="1052508"/>
                    <a:pt x="836651" y="1076985"/>
                  </a:cubicBezTo>
                  <a:cubicBezTo>
                    <a:pt x="861128" y="1139537"/>
                    <a:pt x="912802" y="1150415"/>
                    <a:pt x="912802" y="1150415"/>
                  </a:cubicBezTo>
                  <a:cubicBezTo>
                    <a:pt x="912802" y="1150415"/>
                    <a:pt x="861128" y="1221126"/>
                    <a:pt x="774099" y="1221126"/>
                  </a:cubicBezTo>
                  <a:cubicBezTo>
                    <a:pt x="670752" y="1221126"/>
                    <a:pt x="589162" y="1166733"/>
                    <a:pt x="553807" y="1098742"/>
                  </a:cubicBezTo>
                  <a:cubicBezTo>
                    <a:pt x="551087" y="1093303"/>
                    <a:pt x="551087" y="1090583"/>
                    <a:pt x="548367" y="1085144"/>
                  </a:cubicBezTo>
                  <a:cubicBezTo>
                    <a:pt x="534769" y="1147696"/>
                    <a:pt x="450460" y="1199369"/>
                    <a:pt x="398786" y="1212967"/>
                  </a:cubicBezTo>
                  <a:cubicBezTo>
                    <a:pt x="322636" y="1234725"/>
                    <a:pt x="222008" y="1223846"/>
                    <a:pt x="156736" y="1180332"/>
                  </a:cubicBezTo>
                  <a:cubicBezTo>
                    <a:pt x="-79874" y="1028031"/>
                    <a:pt x="-58117" y="416107"/>
                    <a:pt x="287280" y="416107"/>
                  </a:cubicBezTo>
                  <a:cubicBezTo>
                    <a:pt x="412385" y="416107"/>
                    <a:pt x="491255" y="503137"/>
                    <a:pt x="526611" y="552091"/>
                  </a:cubicBezTo>
                  <a:lnTo>
                    <a:pt x="526611" y="149581"/>
                  </a:lnTo>
                  <a:cubicBezTo>
                    <a:pt x="526611" y="67992"/>
                    <a:pt x="594602" y="0"/>
                    <a:pt x="676192" y="0"/>
                  </a:cubicBezTo>
                  <a:close/>
                </a:path>
              </a:pathLst>
            </a:custGeom>
            <a:solidFill>
              <a:srgbClr val="FFFFFF"/>
            </a:solidFill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68DBE358-78A9-4A94-A6F9-8F3A8AC620ED}"/>
                </a:ext>
              </a:extLst>
            </p:cNvPr>
            <p:cNvSpPr/>
            <p:nvPr/>
          </p:nvSpPr>
          <p:spPr>
            <a:xfrm>
              <a:off x="1634079" y="394079"/>
              <a:ext cx="220242" cy="238663"/>
            </a:xfrm>
            <a:custGeom>
              <a:avLst/>
              <a:gdLst>
                <a:gd name="connsiteX0" fmla="*/ 394818 w 747906"/>
                <a:gd name="connsiteY0" fmla="*/ 163222 h 810458"/>
                <a:gd name="connsiteX1" fmla="*/ 356275 w 747906"/>
                <a:gd name="connsiteY1" fmla="*/ 174058 h 810458"/>
                <a:gd name="connsiteX2" fmla="*/ 274685 w 747906"/>
                <a:gd name="connsiteY2" fmla="*/ 356275 h 810458"/>
                <a:gd name="connsiteX3" fmla="*/ 375313 w 747906"/>
                <a:gd name="connsiteY3" fmla="*/ 358994 h 810458"/>
                <a:gd name="connsiteX4" fmla="*/ 473220 w 747906"/>
                <a:gd name="connsiteY4" fmla="*/ 239329 h 810458"/>
                <a:gd name="connsiteX5" fmla="*/ 394818 w 747906"/>
                <a:gd name="connsiteY5" fmla="*/ 163222 h 810458"/>
                <a:gd name="connsiteX6" fmla="*/ 386192 w 747906"/>
                <a:gd name="connsiteY6" fmla="*/ 0 h 810458"/>
                <a:gd name="connsiteX7" fmla="*/ 747906 w 747906"/>
                <a:gd name="connsiteY7" fmla="*/ 266526 h 810458"/>
                <a:gd name="connsiteX8" fmla="*/ 291004 w 747906"/>
                <a:gd name="connsiteY8" fmla="*/ 484100 h 810458"/>
                <a:gd name="connsiteX9" fmla="*/ 497698 w 747906"/>
                <a:gd name="connsiteY9" fmla="*/ 617363 h 810458"/>
                <a:gd name="connsiteX10" fmla="*/ 712551 w 747906"/>
                <a:gd name="connsiteY10" fmla="*/ 557530 h 810458"/>
                <a:gd name="connsiteX11" fmla="*/ 388912 w 747906"/>
                <a:gd name="connsiteY11" fmla="*/ 810458 h 810458"/>
                <a:gd name="connsiteX12" fmla="*/ 0 w 747906"/>
                <a:gd name="connsiteY12" fmla="*/ 413389 h 810458"/>
                <a:gd name="connsiteX13" fmla="*/ 386192 w 747906"/>
                <a:gd name="connsiteY13" fmla="*/ 0 h 8104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747906" h="810458">
                  <a:moveTo>
                    <a:pt x="394818" y="163222"/>
                  </a:moveTo>
                  <a:cubicBezTo>
                    <a:pt x="381772" y="163179"/>
                    <a:pt x="368514" y="166579"/>
                    <a:pt x="356275" y="174058"/>
                  </a:cubicBezTo>
                  <a:cubicBezTo>
                    <a:pt x="299162" y="212133"/>
                    <a:pt x="282844" y="291003"/>
                    <a:pt x="274685" y="356275"/>
                  </a:cubicBezTo>
                  <a:cubicBezTo>
                    <a:pt x="274685" y="364434"/>
                    <a:pt x="369873" y="358994"/>
                    <a:pt x="375313" y="358994"/>
                  </a:cubicBezTo>
                  <a:cubicBezTo>
                    <a:pt x="432425" y="345396"/>
                    <a:pt x="473220" y="301881"/>
                    <a:pt x="473220" y="239329"/>
                  </a:cubicBezTo>
                  <a:cubicBezTo>
                    <a:pt x="471181" y="194455"/>
                    <a:pt x="433956" y="163349"/>
                    <a:pt x="394818" y="163222"/>
                  </a:cubicBezTo>
                  <a:close/>
                  <a:moveTo>
                    <a:pt x="386192" y="0"/>
                  </a:moveTo>
                  <a:cubicBezTo>
                    <a:pt x="519455" y="0"/>
                    <a:pt x="747906" y="65272"/>
                    <a:pt x="747906" y="266526"/>
                  </a:cubicBezTo>
                  <a:cubicBezTo>
                    <a:pt x="747906" y="467782"/>
                    <a:pt x="538493" y="484100"/>
                    <a:pt x="291004" y="484100"/>
                  </a:cubicBezTo>
                  <a:cubicBezTo>
                    <a:pt x="291004" y="484100"/>
                    <a:pt x="326359" y="617363"/>
                    <a:pt x="497698" y="617363"/>
                  </a:cubicBezTo>
                  <a:cubicBezTo>
                    <a:pt x="669036" y="617363"/>
                    <a:pt x="712551" y="557530"/>
                    <a:pt x="712551" y="557530"/>
                  </a:cubicBezTo>
                  <a:cubicBezTo>
                    <a:pt x="712551" y="557530"/>
                    <a:pt x="696233" y="810458"/>
                    <a:pt x="388912" y="810458"/>
                  </a:cubicBezTo>
                  <a:cubicBezTo>
                    <a:pt x="212134" y="810458"/>
                    <a:pt x="0" y="677195"/>
                    <a:pt x="0" y="413389"/>
                  </a:cubicBezTo>
                  <a:cubicBezTo>
                    <a:pt x="0" y="176778"/>
                    <a:pt x="163180" y="0"/>
                    <a:pt x="386192" y="0"/>
                  </a:cubicBezTo>
                  <a:close/>
                </a:path>
              </a:pathLst>
            </a:custGeom>
            <a:solidFill>
              <a:srgbClr val="FFFFFF"/>
            </a:solidFill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6C3BCDA8-E0D6-47C2-A2AF-52151D12E9A8}"/>
                </a:ext>
              </a:extLst>
            </p:cNvPr>
            <p:cNvSpPr/>
            <p:nvPr/>
          </p:nvSpPr>
          <p:spPr>
            <a:xfrm>
              <a:off x="1987268" y="394079"/>
              <a:ext cx="220242" cy="238663"/>
            </a:xfrm>
            <a:custGeom>
              <a:avLst/>
              <a:gdLst>
                <a:gd name="connsiteX0" fmla="*/ 394818 w 747906"/>
                <a:gd name="connsiteY0" fmla="*/ 163222 h 810458"/>
                <a:gd name="connsiteX1" fmla="*/ 356275 w 747906"/>
                <a:gd name="connsiteY1" fmla="*/ 174058 h 810458"/>
                <a:gd name="connsiteX2" fmla="*/ 274685 w 747906"/>
                <a:gd name="connsiteY2" fmla="*/ 356275 h 810458"/>
                <a:gd name="connsiteX3" fmla="*/ 375313 w 747906"/>
                <a:gd name="connsiteY3" fmla="*/ 358994 h 810458"/>
                <a:gd name="connsiteX4" fmla="*/ 473220 w 747906"/>
                <a:gd name="connsiteY4" fmla="*/ 239329 h 810458"/>
                <a:gd name="connsiteX5" fmla="*/ 394818 w 747906"/>
                <a:gd name="connsiteY5" fmla="*/ 163222 h 810458"/>
                <a:gd name="connsiteX6" fmla="*/ 386192 w 747906"/>
                <a:gd name="connsiteY6" fmla="*/ 0 h 810458"/>
                <a:gd name="connsiteX7" fmla="*/ 747906 w 747906"/>
                <a:gd name="connsiteY7" fmla="*/ 266526 h 810458"/>
                <a:gd name="connsiteX8" fmla="*/ 291004 w 747906"/>
                <a:gd name="connsiteY8" fmla="*/ 484100 h 810458"/>
                <a:gd name="connsiteX9" fmla="*/ 497697 w 747906"/>
                <a:gd name="connsiteY9" fmla="*/ 617363 h 810458"/>
                <a:gd name="connsiteX10" fmla="*/ 712551 w 747906"/>
                <a:gd name="connsiteY10" fmla="*/ 557530 h 810458"/>
                <a:gd name="connsiteX11" fmla="*/ 388911 w 747906"/>
                <a:gd name="connsiteY11" fmla="*/ 810458 h 810458"/>
                <a:gd name="connsiteX12" fmla="*/ 0 w 747906"/>
                <a:gd name="connsiteY12" fmla="*/ 413389 h 810458"/>
                <a:gd name="connsiteX13" fmla="*/ 386192 w 747906"/>
                <a:gd name="connsiteY13" fmla="*/ 0 h 8104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747906" h="810458">
                  <a:moveTo>
                    <a:pt x="394818" y="163222"/>
                  </a:moveTo>
                  <a:cubicBezTo>
                    <a:pt x="381772" y="163179"/>
                    <a:pt x="368514" y="166579"/>
                    <a:pt x="356275" y="174058"/>
                  </a:cubicBezTo>
                  <a:cubicBezTo>
                    <a:pt x="299162" y="212133"/>
                    <a:pt x="282844" y="291003"/>
                    <a:pt x="274685" y="356275"/>
                  </a:cubicBezTo>
                  <a:cubicBezTo>
                    <a:pt x="274685" y="364434"/>
                    <a:pt x="369873" y="358994"/>
                    <a:pt x="375313" y="358994"/>
                  </a:cubicBezTo>
                  <a:cubicBezTo>
                    <a:pt x="432426" y="345396"/>
                    <a:pt x="473220" y="301881"/>
                    <a:pt x="473220" y="239329"/>
                  </a:cubicBezTo>
                  <a:cubicBezTo>
                    <a:pt x="471181" y="194455"/>
                    <a:pt x="433955" y="163349"/>
                    <a:pt x="394818" y="163222"/>
                  </a:cubicBezTo>
                  <a:close/>
                  <a:moveTo>
                    <a:pt x="386192" y="0"/>
                  </a:moveTo>
                  <a:cubicBezTo>
                    <a:pt x="519455" y="0"/>
                    <a:pt x="747906" y="65272"/>
                    <a:pt x="747906" y="266526"/>
                  </a:cubicBezTo>
                  <a:cubicBezTo>
                    <a:pt x="747906" y="467782"/>
                    <a:pt x="538492" y="484100"/>
                    <a:pt x="291004" y="484100"/>
                  </a:cubicBezTo>
                  <a:cubicBezTo>
                    <a:pt x="291004" y="484100"/>
                    <a:pt x="326359" y="617363"/>
                    <a:pt x="497697" y="617363"/>
                  </a:cubicBezTo>
                  <a:cubicBezTo>
                    <a:pt x="669036" y="617363"/>
                    <a:pt x="712551" y="557530"/>
                    <a:pt x="712551" y="557530"/>
                  </a:cubicBezTo>
                  <a:cubicBezTo>
                    <a:pt x="712551" y="557530"/>
                    <a:pt x="696233" y="810458"/>
                    <a:pt x="388911" y="810458"/>
                  </a:cubicBezTo>
                  <a:cubicBezTo>
                    <a:pt x="212133" y="810458"/>
                    <a:pt x="0" y="677195"/>
                    <a:pt x="0" y="413389"/>
                  </a:cubicBezTo>
                  <a:cubicBezTo>
                    <a:pt x="0" y="176778"/>
                    <a:pt x="163180" y="0"/>
                    <a:pt x="386192" y="0"/>
                  </a:cubicBezTo>
                  <a:close/>
                </a:path>
              </a:pathLst>
            </a:custGeom>
            <a:solidFill>
              <a:srgbClr val="FFFFFF"/>
            </a:solidFill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9F0CC119-4F7D-4E52-B14F-6D057AEF824D}"/>
                </a:ext>
              </a:extLst>
            </p:cNvPr>
            <p:cNvSpPr/>
            <p:nvPr/>
          </p:nvSpPr>
          <p:spPr>
            <a:xfrm>
              <a:off x="2191793" y="368137"/>
              <a:ext cx="264291" cy="280308"/>
            </a:xfrm>
            <a:custGeom>
              <a:avLst/>
              <a:gdLst>
                <a:gd name="connsiteX0" fmla="*/ 580988 w 897487"/>
                <a:gd name="connsiteY0" fmla="*/ 667381 h 951879"/>
                <a:gd name="connsiteX1" fmla="*/ 409649 w 897487"/>
                <a:gd name="connsiteY1" fmla="*/ 667381 h 951879"/>
                <a:gd name="connsiteX2" fmla="*/ 591866 w 897487"/>
                <a:gd name="connsiteY2" fmla="*/ 525959 h 951879"/>
                <a:gd name="connsiteX3" fmla="*/ 842075 w 897487"/>
                <a:gd name="connsiteY3" fmla="*/ 123450 h 951879"/>
                <a:gd name="connsiteX4" fmla="*/ 842075 w 897487"/>
                <a:gd name="connsiteY4" fmla="*/ 123450 h 951879"/>
                <a:gd name="connsiteX5" fmla="*/ 798560 w 897487"/>
                <a:gd name="connsiteY5" fmla="*/ 58178 h 951879"/>
                <a:gd name="connsiteX6" fmla="*/ 746887 w 897487"/>
                <a:gd name="connsiteY6" fmla="*/ 107132 h 951879"/>
                <a:gd name="connsiteX7" fmla="*/ 697933 w 897487"/>
                <a:gd name="connsiteY7" fmla="*/ 115291 h 951879"/>
                <a:gd name="connsiteX8" fmla="*/ 219273 w 897487"/>
                <a:gd name="connsiteY8" fmla="*/ 115291 h 951879"/>
                <a:gd name="connsiteX9" fmla="*/ 102328 w 897487"/>
                <a:gd name="connsiteY9" fmla="*/ 224077 h 951879"/>
                <a:gd name="connsiteX10" fmla="*/ 213834 w 897487"/>
                <a:gd name="connsiteY10" fmla="*/ 332863 h 951879"/>
                <a:gd name="connsiteX11" fmla="*/ 485800 w 897487"/>
                <a:gd name="connsiteY11" fmla="*/ 335583 h 951879"/>
                <a:gd name="connsiteX12" fmla="*/ 134964 w 897487"/>
                <a:gd name="connsiteY12" fmla="*/ 615708 h 951879"/>
                <a:gd name="connsiteX13" fmla="*/ 61533 w 897487"/>
                <a:gd name="connsiteY13" fmla="*/ 884953 h 951879"/>
                <a:gd name="connsiteX14" fmla="*/ 398771 w 897487"/>
                <a:gd name="connsiteY14" fmla="*/ 806083 h 951879"/>
                <a:gd name="connsiteX15" fmla="*/ 529314 w 897487"/>
                <a:gd name="connsiteY15" fmla="*/ 863196 h 951879"/>
                <a:gd name="connsiteX16" fmla="*/ 782242 w 897487"/>
                <a:gd name="connsiteY16" fmla="*/ 607549 h 951879"/>
                <a:gd name="connsiteX17" fmla="*/ 580988 w 897487"/>
                <a:gd name="connsiteY17" fmla="*/ 667381 h 9518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897487" h="951879">
                  <a:moveTo>
                    <a:pt x="580988" y="667381"/>
                  </a:moveTo>
                  <a:lnTo>
                    <a:pt x="409649" y="667381"/>
                  </a:lnTo>
                  <a:cubicBezTo>
                    <a:pt x="423248" y="667381"/>
                    <a:pt x="548352" y="561314"/>
                    <a:pt x="591866" y="525959"/>
                  </a:cubicBezTo>
                  <a:cubicBezTo>
                    <a:pt x="700653" y="433491"/>
                    <a:pt x="899188" y="297508"/>
                    <a:pt x="842075" y="123450"/>
                  </a:cubicBezTo>
                  <a:lnTo>
                    <a:pt x="842075" y="123450"/>
                  </a:lnTo>
                  <a:cubicBezTo>
                    <a:pt x="831197" y="82655"/>
                    <a:pt x="798560" y="58178"/>
                    <a:pt x="798560" y="58178"/>
                  </a:cubicBezTo>
                  <a:cubicBezTo>
                    <a:pt x="798560" y="58178"/>
                    <a:pt x="787682" y="90814"/>
                    <a:pt x="746887" y="107132"/>
                  </a:cubicBezTo>
                  <a:cubicBezTo>
                    <a:pt x="730569" y="109852"/>
                    <a:pt x="714251" y="115291"/>
                    <a:pt x="697933" y="115291"/>
                  </a:cubicBezTo>
                  <a:cubicBezTo>
                    <a:pt x="684334" y="115291"/>
                    <a:pt x="219273" y="115291"/>
                    <a:pt x="219273" y="115291"/>
                  </a:cubicBezTo>
                  <a:cubicBezTo>
                    <a:pt x="156721" y="115291"/>
                    <a:pt x="105048" y="166964"/>
                    <a:pt x="102328" y="224077"/>
                  </a:cubicBezTo>
                  <a:cubicBezTo>
                    <a:pt x="102328" y="283910"/>
                    <a:pt x="151282" y="332863"/>
                    <a:pt x="213834" y="332863"/>
                  </a:cubicBezTo>
                  <a:lnTo>
                    <a:pt x="485800" y="335583"/>
                  </a:lnTo>
                  <a:cubicBezTo>
                    <a:pt x="360695" y="406294"/>
                    <a:pt x="211114" y="487884"/>
                    <a:pt x="134964" y="615708"/>
                  </a:cubicBezTo>
                  <a:cubicBezTo>
                    <a:pt x="91449" y="689138"/>
                    <a:pt x="45215" y="800644"/>
                    <a:pt x="61533" y="884953"/>
                  </a:cubicBezTo>
                  <a:cubicBezTo>
                    <a:pt x="121366" y="830560"/>
                    <a:pt x="279106" y="778887"/>
                    <a:pt x="398771" y="806083"/>
                  </a:cubicBezTo>
                  <a:cubicBezTo>
                    <a:pt x="445005" y="814242"/>
                    <a:pt x="491239" y="838719"/>
                    <a:pt x="529314" y="863196"/>
                  </a:cubicBezTo>
                  <a:cubicBezTo>
                    <a:pt x="755046" y="1004618"/>
                    <a:pt x="891029" y="727213"/>
                    <a:pt x="782242" y="607549"/>
                  </a:cubicBezTo>
                  <a:cubicBezTo>
                    <a:pt x="784962" y="607549"/>
                    <a:pt x="722410" y="667381"/>
                    <a:pt x="580988" y="667381"/>
                  </a:cubicBezTo>
                </a:path>
              </a:pathLst>
            </a:custGeom>
            <a:solidFill>
              <a:srgbClr val="FFFFFF"/>
            </a:solidFill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036E956D-057B-4544-9B1F-6F10ED1D1D12}"/>
                </a:ext>
              </a:extLst>
            </p:cNvPr>
            <p:cNvSpPr/>
            <p:nvPr/>
          </p:nvSpPr>
          <p:spPr>
            <a:xfrm>
              <a:off x="407616" y="272031"/>
              <a:ext cx="560617" cy="464511"/>
            </a:xfrm>
            <a:custGeom>
              <a:avLst/>
              <a:gdLst>
                <a:gd name="connsiteX0" fmla="*/ 1559430 w 1903760"/>
                <a:gd name="connsiteY0" fmla="*/ 1165078 h 1577399"/>
                <a:gd name="connsiteX1" fmla="*/ 1369054 w 1903760"/>
                <a:gd name="connsiteY1" fmla="*/ 593950 h 1577399"/>
                <a:gd name="connsiteX2" fmla="*/ 1483279 w 1903760"/>
                <a:gd name="connsiteY2" fmla="*/ 126170 h 1577399"/>
                <a:gd name="connsiteX3" fmla="*/ 1311941 w 1903760"/>
                <a:gd name="connsiteY3" fmla="*/ 58178 h 1577399"/>
                <a:gd name="connsiteX4" fmla="*/ 1078050 w 1903760"/>
                <a:gd name="connsiteY4" fmla="*/ 205040 h 1577399"/>
                <a:gd name="connsiteX5" fmla="*/ 846879 w 1903760"/>
                <a:gd name="connsiteY5" fmla="*/ 523239 h 1577399"/>
                <a:gd name="connsiteX6" fmla="*/ 645624 w 1903760"/>
                <a:gd name="connsiteY6" fmla="*/ 210479 h 1577399"/>
                <a:gd name="connsiteX7" fmla="*/ 455248 w 1903760"/>
                <a:gd name="connsiteY7" fmla="*/ 63617 h 1577399"/>
                <a:gd name="connsiteX8" fmla="*/ 234956 w 1903760"/>
                <a:gd name="connsiteY8" fmla="*/ 137048 h 1577399"/>
                <a:gd name="connsiteX9" fmla="*/ 316546 w 1903760"/>
                <a:gd name="connsiteY9" fmla="*/ 588511 h 1577399"/>
                <a:gd name="connsiteX10" fmla="*/ 58178 w 1903760"/>
                <a:gd name="connsiteY10" fmla="*/ 1072610 h 1577399"/>
                <a:gd name="connsiteX11" fmla="*/ 474286 w 1903760"/>
                <a:gd name="connsiteY11" fmla="*/ 1020936 h 1577399"/>
                <a:gd name="connsiteX12" fmla="*/ 555876 w 1903760"/>
                <a:gd name="connsiteY12" fmla="*/ 572193 h 1577399"/>
                <a:gd name="connsiteX13" fmla="*/ 830561 w 1903760"/>
                <a:gd name="connsiteY13" fmla="*/ 993740 h 1577399"/>
                <a:gd name="connsiteX14" fmla="*/ 1140602 w 1903760"/>
                <a:gd name="connsiteY14" fmla="*/ 574913 h 1577399"/>
                <a:gd name="connsiteX15" fmla="*/ 1567589 w 1903760"/>
                <a:gd name="connsiteY15" fmla="*/ 1526792 h 1577399"/>
                <a:gd name="connsiteX16" fmla="*/ 1866751 w 1903760"/>
                <a:gd name="connsiteY16" fmla="*/ 1322818 h 1577399"/>
                <a:gd name="connsiteX17" fmla="*/ 1559430 w 1903760"/>
                <a:gd name="connsiteY17" fmla="*/ 1165078 h 15773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903760" h="1577399">
                  <a:moveTo>
                    <a:pt x="1559430" y="1165078"/>
                  </a:moveTo>
                  <a:cubicBezTo>
                    <a:pt x="1420727" y="1012777"/>
                    <a:pt x="1377213" y="762569"/>
                    <a:pt x="1369054" y="593950"/>
                  </a:cubicBezTo>
                  <a:cubicBezTo>
                    <a:pt x="1360895" y="449809"/>
                    <a:pt x="1369054" y="199600"/>
                    <a:pt x="1483279" y="126170"/>
                  </a:cubicBezTo>
                  <a:cubicBezTo>
                    <a:pt x="1445204" y="77216"/>
                    <a:pt x="1369054" y="58178"/>
                    <a:pt x="1311941" y="58178"/>
                  </a:cubicBezTo>
                  <a:cubicBezTo>
                    <a:pt x="1184117" y="58178"/>
                    <a:pt x="1121565" y="142488"/>
                    <a:pt x="1078050" y="205040"/>
                  </a:cubicBezTo>
                  <a:cubicBezTo>
                    <a:pt x="1064452" y="224077"/>
                    <a:pt x="846879" y="523239"/>
                    <a:pt x="846879" y="523239"/>
                  </a:cubicBezTo>
                  <a:cubicBezTo>
                    <a:pt x="846879" y="523239"/>
                    <a:pt x="667382" y="243115"/>
                    <a:pt x="645624" y="210479"/>
                  </a:cubicBezTo>
                  <a:cubicBezTo>
                    <a:pt x="615708" y="164245"/>
                    <a:pt x="555876" y="77216"/>
                    <a:pt x="455248" y="63617"/>
                  </a:cubicBezTo>
                  <a:cubicBezTo>
                    <a:pt x="411734" y="58178"/>
                    <a:pt x="297508" y="52739"/>
                    <a:pt x="234956" y="137048"/>
                  </a:cubicBezTo>
                  <a:cubicBezTo>
                    <a:pt x="341023" y="221357"/>
                    <a:pt x="338303" y="438930"/>
                    <a:pt x="316546" y="588511"/>
                  </a:cubicBezTo>
                  <a:cubicBezTo>
                    <a:pt x="248554" y="1031815"/>
                    <a:pt x="58178" y="1072610"/>
                    <a:pt x="58178" y="1072610"/>
                  </a:cubicBezTo>
                  <a:cubicBezTo>
                    <a:pt x="156086" y="1333696"/>
                    <a:pt x="403575" y="1230350"/>
                    <a:pt x="474286" y="1020936"/>
                  </a:cubicBezTo>
                  <a:cubicBezTo>
                    <a:pt x="520520" y="884953"/>
                    <a:pt x="550436" y="713615"/>
                    <a:pt x="555876" y="572193"/>
                  </a:cubicBezTo>
                  <a:lnTo>
                    <a:pt x="830561" y="993740"/>
                  </a:lnTo>
                  <a:cubicBezTo>
                    <a:pt x="830561" y="993740"/>
                    <a:pt x="1140602" y="574913"/>
                    <a:pt x="1140602" y="574913"/>
                  </a:cubicBezTo>
                  <a:cubicBezTo>
                    <a:pt x="1088929" y="1314659"/>
                    <a:pt x="1344577" y="1526792"/>
                    <a:pt x="1567589" y="1526792"/>
                  </a:cubicBezTo>
                  <a:cubicBezTo>
                    <a:pt x="1790601" y="1526792"/>
                    <a:pt x="1866751" y="1322818"/>
                    <a:pt x="1866751" y="1322818"/>
                  </a:cubicBezTo>
                  <a:cubicBezTo>
                    <a:pt x="1744367" y="1314659"/>
                    <a:pt x="1641019" y="1252107"/>
                    <a:pt x="1559430" y="1165078"/>
                  </a:cubicBezTo>
                </a:path>
              </a:pathLst>
            </a:custGeom>
            <a:solidFill>
              <a:srgbClr val="FFFFFF"/>
            </a:solidFill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38445FE2-B427-4746-8DF8-B635BF355D5E}"/>
                </a:ext>
              </a:extLst>
            </p:cNvPr>
            <p:cNvSpPr/>
            <p:nvPr/>
          </p:nvSpPr>
          <p:spPr>
            <a:xfrm>
              <a:off x="1045918" y="650848"/>
              <a:ext cx="80088" cy="192211"/>
            </a:xfrm>
            <a:custGeom>
              <a:avLst/>
              <a:gdLst>
                <a:gd name="connsiteX0" fmla="*/ 88095 w 271965"/>
                <a:gd name="connsiteY0" fmla="*/ 120730 h 652717"/>
                <a:gd name="connsiteX1" fmla="*/ 93534 w 271965"/>
                <a:gd name="connsiteY1" fmla="*/ 153366 h 652717"/>
                <a:gd name="connsiteX2" fmla="*/ 93534 w 271965"/>
                <a:gd name="connsiteY2" fmla="*/ 544997 h 652717"/>
                <a:gd name="connsiteX3" fmla="*/ 156086 w 271965"/>
                <a:gd name="connsiteY3" fmla="*/ 604829 h 652717"/>
                <a:gd name="connsiteX4" fmla="*/ 221358 w 271965"/>
                <a:gd name="connsiteY4" fmla="*/ 544997 h 652717"/>
                <a:gd name="connsiteX5" fmla="*/ 221358 w 271965"/>
                <a:gd name="connsiteY5" fmla="*/ 194161 h 652717"/>
                <a:gd name="connsiteX6" fmla="*/ 210479 w 271965"/>
                <a:gd name="connsiteY6" fmla="*/ 109852 h 652717"/>
                <a:gd name="connsiteX7" fmla="*/ 118011 w 271965"/>
                <a:gd name="connsiteY7" fmla="*/ 58178 h 652717"/>
                <a:gd name="connsiteX8" fmla="*/ 58178 w 271965"/>
                <a:gd name="connsiteY8" fmla="*/ 88094 h 652717"/>
                <a:gd name="connsiteX9" fmla="*/ 88095 w 271965"/>
                <a:gd name="connsiteY9" fmla="*/ 120730 h 6527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71965" h="652717">
                  <a:moveTo>
                    <a:pt x="88095" y="120730"/>
                  </a:moveTo>
                  <a:cubicBezTo>
                    <a:pt x="90814" y="131609"/>
                    <a:pt x="90814" y="142487"/>
                    <a:pt x="93534" y="153366"/>
                  </a:cubicBezTo>
                  <a:cubicBezTo>
                    <a:pt x="93534" y="156086"/>
                    <a:pt x="93534" y="542277"/>
                    <a:pt x="93534" y="544997"/>
                  </a:cubicBezTo>
                  <a:cubicBezTo>
                    <a:pt x="93534" y="577632"/>
                    <a:pt x="123450" y="604829"/>
                    <a:pt x="156086" y="604829"/>
                  </a:cubicBezTo>
                  <a:cubicBezTo>
                    <a:pt x="188722" y="607548"/>
                    <a:pt x="221358" y="577632"/>
                    <a:pt x="221358" y="544997"/>
                  </a:cubicBezTo>
                  <a:cubicBezTo>
                    <a:pt x="221358" y="539557"/>
                    <a:pt x="221358" y="194161"/>
                    <a:pt x="221358" y="194161"/>
                  </a:cubicBezTo>
                  <a:cubicBezTo>
                    <a:pt x="221358" y="164245"/>
                    <a:pt x="224078" y="134329"/>
                    <a:pt x="210479" y="109852"/>
                  </a:cubicBezTo>
                  <a:cubicBezTo>
                    <a:pt x="196881" y="79935"/>
                    <a:pt x="158806" y="58178"/>
                    <a:pt x="118011" y="58178"/>
                  </a:cubicBezTo>
                  <a:cubicBezTo>
                    <a:pt x="79936" y="58178"/>
                    <a:pt x="58178" y="88094"/>
                    <a:pt x="58178" y="88094"/>
                  </a:cubicBezTo>
                  <a:cubicBezTo>
                    <a:pt x="58178" y="88094"/>
                    <a:pt x="77216" y="93534"/>
                    <a:pt x="88095" y="120730"/>
                  </a:cubicBezTo>
                </a:path>
              </a:pathLst>
            </a:custGeom>
            <a:solidFill>
              <a:srgbClr val="FFFFFF"/>
            </a:solidFill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185F8DC5-F9D4-49E8-A475-459AA642E656}"/>
                </a:ext>
              </a:extLst>
            </p:cNvPr>
            <p:cNvSpPr/>
            <p:nvPr/>
          </p:nvSpPr>
          <p:spPr>
            <a:xfrm>
              <a:off x="2211937" y="650797"/>
              <a:ext cx="80088" cy="192211"/>
            </a:xfrm>
            <a:custGeom>
              <a:avLst/>
              <a:gdLst>
                <a:gd name="connsiteX0" fmla="*/ 191663 w 271965"/>
                <a:gd name="connsiteY0" fmla="*/ 542449 h 652717"/>
                <a:gd name="connsiteX1" fmla="*/ 186224 w 271965"/>
                <a:gd name="connsiteY1" fmla="*/ 509813 h 652717"/>
                <a:gd name="connsiteX2" fmla="*/ 186224 w 271965"/>
                <a:gd name="connsiteY2" fmla="*/ 118183 h 652717"/>
                <a:gd name="connsiteX3" fmla="*/ 123672 w 271965"/>
                <a:gd name="connsiteY3" fmla="*/ 58350 h 652717"/>
                <a:gd name="connsiteX4" fmla="*/ 58400 w 271965"/>
                <a:gd name="connsiteY4" fmla="*/ 118183 h 652717"/>
                <a:gd name="connsiteX5" fmla="*/ 58400 w 271965"/>
                <a:gd name="connsiteY5" fmla="*/ 469018 h 652717"/>
                <a:gd name="connsiteX6" fmla="*/ 69279 w 271965"/>
                <a:gd name="connsiteY6" fmla="*/ 553328 h 652717"/>
                <a:gd name="connsiteX7" fmla="*/ 161747 w 271965"/>
                <a:gd name="connsiteY7" fmla="*/ 605001 h 652717"/>
                <a:gd name="connsiteX8" fmla="*/ 221580 w 271965"/>
                <a:gd name="connsiteY8" fmla="*/ 575085 h 652717"/>
                <a:gd name="connsiteX9" fmla="*/ 191663 w 271965"/>
                <a:gd name="connsiteY9" fmla="*/ 542449 h 6527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71965" h="652717">
                  <a:moveTo>
                    <a:pt x="191663" y="542449"/>
                  </a:moveTo>
                  <a:cubicBezTo>
                    <a:pt x="188944" y="531570"/>
                    <a:pt x="186224" y="520692"/>
                    <a:pt x="186224" y="509813"/>
                  </a:cubicBezTo>
                  <a:cubicBezTo>
                    <a:pt x="186224" y="507093"/>
                    <a:pt x="186224" y="120902"/>
                    <a:pt x="186224" y="118183"/>
                  </a:cubicBezTo>
                  <a:cubicBezTo>
                    <a:pt x="186224" y="85547"/>
                    <a:pt x="156308" y="58350"/>
                    <a:pt x="123672" y="58350"/>
                  </a:cubicBezTo>
                  <a:cubicBezTo>
                    <a:pt x="91036" y="55631"/>
                    <a:pt x="58400" y="85547"/>
                    <a:pt x="58400" y="118183"/>
                  </a:cubicBezTo>
                  <a:cubicBezTo>
                    <a:pt x="58400" y="123622"/>
                    <a:pt x="58400" y="469018"/>
                    <a:pt x="58400" y="469018"/>
                  </a:cubicBezTo>
                  <a:cubicBezTo>
                    <a:pt x="58400" y="498934"/>
                    <a:pt x="55680" y="528851"/>
                    <a:pt x="69279" y="553328"/>
                  </a:cubicBezTo>
                  <a:cubicBezTo>
                    <a:pt x="82877" y="583244"/>
                    <a:pt x="120953" y="605001"/>
                    <a:pt x="161747" y="605001"/>
                  </a:cubicBezTo>
                  <a:cubicBezTo>
                    <a:pt x="199822" y="605001"/>
                    <a:pt x="221580" y="575085"/>
                    <a:pt x="221580" y="575085"/>
                  </a:cubicBezTo>
                  <a:cubicBezTo>
                    <a:pt x="221580" y="575085"/>
                    <a:pt x="202542" y="566926"/>
                    <a:pt x="191663" y="542449"/>
                  </a:cubicBezTo>
                </a:path>
              </a:pathLst>
            </a:custGeom>
            <a:solidFill>
              <a:srgbClr val="FFFFFF"/>
            </a:solidFill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73369137-60D0-454D-821D-42F23AEE3575}"/>
                </a:ext>
              </a:extLst>
            </p:cNvPr>
            <p:cNvSpPr/>
            <p:nvPr/>
          </p:nvSpPr>
          <p:spPr>
            <a:xfrm>
              <a:off x="1496014" y="704452"/>
              <a:ext cx="128141" cy="136150"/>
            </a:xfrm>
            <a:custGeom>
              <a:avLst/>
              <a:gdLst>
                <a:gd name="connsiteX0" fmla="*/ 302948 w 435145"/>
                <a:gd name="connsiteY0" fmla="*/ 74684 h 462341"/>
                <a:gd name="connsiteX1" fmla="*/ 186003 w 435145"/>
                <a:gd name="connsiteY1" fmla="*/ 148115 h 462341"/>
                <a:gd name="connsiteX2" fmla="*/ 186003 w 435145"/>
                <a:gd name="connsiteY2" fmla="*/ 148115 h 462341"/>
                <a:gd name="connsiteX3" fmla="*/ 186003 w 435145"/>
                <a:gd name="connsiteY3" fmla="*/ 115479 h 462341"/>
                <a:gd name="connsiteX4" fmla="*/ 123450 w 435145"/>
                <a:gd name="connsiteY4" fmla="*/ 58366 h 462341"/>
                <a:gd name="connsiteX5" fmla="*/ 58178 w 435145"/>
                <a:gd name="connsiteY5" fmla="*/ 115479 h 462341"/>
                <a:gd name="connsiteX6" fmla="*/ 58178 w 435145"/>
                <a:gd name="connsiteY6" fmla="*/ 362967 h 462341"/>
                <a:gd name="connsiteX7" fmla="*/ 120730 w 435145"/>
                <a:gd name="connsiteY7" fmla="*/ 422800 h 462341"/>
                <a:gd name="connsiteX8" fmla="*/ 186003 w 435145"/>
                <a:gd name="connsiteY8" fmla="*/ 362967 h 462341"/>
                <a:gd name="connsiteX9" fmla="*/ 186003 w 435145"/>
                <a:gd name="connsiteY9" fmla="*/ 213386 h 462341"/>
                <a:gd name="connsiteX10" fmla="*/ 186003 w 435145"/>
                <a:gd name="connsiteY10" fmla="*/ 213386 h 462341"/>
                <a:gd name="connsiteX11" fmla="*/ 229517 w 435145"/>
                <a:gd name="connsiteY11" fmla="*/ 161713 h 462341"/>
                <a:gd name="connsiteX12" fmla="*/ 259433 w 435145"/>
                <a:gd name="connsiteY12" fmla="*/ 194349 h 462341"/>
                <a:gd name="connsiteX13" fmla="*/ 259433 w 435145"/>
                <a:gd name="connsiteY13" fmla="*/ 362967 h 462341"/>
                <a:gd name="connsiteX14" fmla="*/ 321985 w 435145"/>
                <a:gd name="connsiteY14" fmla="*/ 422800 h 462341"/>
                <a:gd name="connsiteX15" fmla="*/ 387257 w 435145"/>
                <a:gd name="connsiteY15" fmla="*/ 362967 h 462341"/>
                <a:gd name="connsiteX16" fmla="*/ 387257 w 435145"/>
                <a:gd name="connsiteY16" fmla="*/ 273219 h 462341"/>
                <a:gd name="connsiteX17" fmla="*/ 302948 w 435145"/>
                <a:gd name="connsiteY17" fmla="*/ 74684 h 4623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435145" h="462341">
                  <a:moveTo>
                    <a:pt x="302948" y="74684"/>
                  </a:moveTo>
                  <a:cubicBezTo>
                    <a:pt x="234956" y="74684"/>
                    <a:pt x="196881" y="131797"/>
                    <a:pt x="186003" y="148115"/>
                  </a:cubicBezTo>
                  <a:lnTo>
                    <a:pt x="186003" y="148115"/>
                  </a:lnTo>
                  <a:cubicBezTo>
                    <a:pt x="186003" y="129077"/>
                    <a:pt x="186003" y="115479"/>
                    <a:pt x="186003" y="115479"/>
                  </a:cubicBezTo>
                  <a:cubicBezTo>
                    <a:pt x="186003" y="82843"/>
                    <a:pt x="156086" y="58366"/>
                    <a:pt x="123450" y="58366"/>
                  </a:cubicBezTo>
                  <a:cubicBezTo>
                    <a:pt x="90814" y="55646"/>
                    <a:pt x="58178" y="82843"/>
                    <a:pt x="58178" y="115479"/>
                  </a:cubicBezTo>
                  <a:cubicBezTo>
                    <a:pt x="58178" y="120918"/>
                    <a:pt x="58178" y="360248"/>
                    <a:pt x="58178" y="362967"/>
                  </a:cubicBezTo>
                  <a:cubicBezTo>
                    <a:pt x="58178" y="395603"/>
                    <a:pt x="88095" y="422800"/>
                    <a:pt x="120730" y="422800"/>
                  </a:cubicBezTo>
                  <a:cubicBezTo>
                    <a:pt x="153366" y="425519"/>
                    <a:pt x="186003" y="395603"/>
                    <a:pt x="186003" y="362967"/>
                  </a:cubicBezTo>
                  <a:cubicBezTo>
                    <a:pt x="186003" y="360248"/>
                    <a:pt x="186003" y="281378"/>
                    <a:pt x="186003" y="213386"/>
                  </a:cubicBezTo>
                  <a:lnTo>
                    <a:pt x="186003" y="213386"/>
                  </a:lnTo>
                  <a:cubicBezTo>
                    <a:pt x="191442" y="186190"/>
                    <a:pt x="205040" y="161713"/>
                    <a:pt x="229517" y="161713"/>
                  </a:cubicBezTo>
                  <a:cubicBezTo>
                    <a:pt x="259433" y="161713"/>
                    <a:pt x="259433" y="194349"/>
                    <a:pt x="259433" y="194349"/>
                  </a:cubicBezTo>
                  <a:lnTo>
                    <a:pt x="259433" y="362967"/>
                  </a:lnTo>
                  <a:cubicBezTo>
                    <a:pt x="259433" y="395603"/>
                    <a:pt x="289349" y="422800"/>
                    <a:pt x="321985" y="422800"/>
                  </a:cubicBezTo>
                  <a:cubicBezTo>
                    <a:pt x="354621" y="425519"/>
                    <a:pt x="387257" y="395603"/>
                    <a:pt x="387257" y="362967"/>
                  </a:cubicBezTo>
                  <a:lnTo>
                    <a:pt x="387257" y="273219"/>
                  </a:lnTo>
                  <a:cubicBezTo>
                    <a:pt x="387257" y="183470"/>
                    <a:pt x="395416" y="71964"/>
                    <a:pt x="302948" y="74684"/>
                  </a:cubicBezTo>
                </a:path>
              </a:pathLst>
            </a:custGeom>
            <a:solidFill>
              <a:srgbClr val="FFFFFF"/>
            </a:solidFill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69D35008-CF76-4804-A603-6C8130DF4BAC}"/>
                </a:ext>
              </a:extLst>
            </p:cNvPr>
            <p:cNvSpPr/>
            <p:nvPr/>
          </p:nvSpPr>
          <p:spPr>
            <a:xfrm>
              <a:off x="1978945" y="704452"/>
              <a:ext cx="128141" cy="136150"/>
            </a:xfrm>
            <a:custGeom>
              <a:avLst/>
              <a:gdLst>
                <a:gd name="connsiteX0" fmla="*/ 302948 w 435145"/>
                <a:gd name="connsiteY0" fmla="*/ 74684 h 462341"/>
                <a:gd name="connsiteX1" fmla="*/ 186002 w 435145"/>
                <a:gd name="connsiteY1" fmla="*/ 148115 h 462341"/>
                <a:gd name="connsiteX2" fmla="*/ 186002 w 435145"/>
                <a:gd name="connsiteY2" fmla="*/ 148115 h 462341"/>
                <a:gd name="connsiteX3" fmla="*/ 186002 w 435145"/>
                <a:gd name="connsiteY3" fmla="*/ 115479 h 462341"/>
                <a:gd name="connsiteX4" fmla="*/ 123450 w 435145"/>
                <a:gd name="connsiteY4" fmla="*/ 58366 h 462341"/>
                <a:gd name="connsiteX5" fmla="*/ 58178 w 435145"/>
                <a:gd name="connsiteY5" fmla="*/ 115479 h 462341"/>
                <a:gd name="connsiteX6" fmla="*/ 58178 w 435145"/>
                <a:gd name="connsiteY6" fmla="*/ 362967 h 462341"/>
                <a:gd name="connsiteX7" fmla="*/ 120730 w 435145"/>
                <a:gd name="connsiteY7" fmla="*/ 422800 h 462341"/>
                <a:gd name="connsiteX8" fmla="*/ 186002 w 435145"/>
                <a:gd name="connsiteY8" fmla="*/ 362967 h 462341"/>
                <a:gd name="connsiteX9" fmla="*/ 186002 w 435145"/>
                <a:gd name="connsiteY9" fmla="*/ 213386 h 462341"/>
                <a:gd name="connsiteX10" fmla="*/ 186002 w 435145"/>
                <a:gd name="connsiteY10" fmla="*/ 213386 h 462341"/>
                <a:gd name="connsiteX11" fmla="*/ 229517 w 435145"/>
                <a:gd name="connsiteY11" fmla="*/ 161713 h 462341"/>
                <a:gd name="connsiteX12" fmla="*/ 259433 w 435145"/>
                <a:gd name="connsiteY12" fmla="*/ 194349 h 462341"/>
                <a:gd name="connsiteX13" fmla="*/ 259433 w 435145"/>
                <a:gd name="connsiteY13" fmla="*/ 362967 h 462341"/>
                <a:gd name="connsiteX14" fmla="*/ 321985 w 435145"/>
                <a:gd name="connsiteY14" fmla="*/ 422800 h 462341"/>
                <a:gd name="connsiteX15" fmla="*/ 387257 w 435145"/>
                <a:gd name="connsiteY15" fmla="*/ 362967 h 462341"/>
                <a:gd name="connsiteX16" fmla="*/ 387257 w 435145"/>
                <a:gd name="connsiteY16" fmla="*/ 273219 h 462341"/>
                <a:gd name="connsiteX17" fmla="*/ 302948 w 435145"/>
                <a:gd name="connsiteY17" fmla="*/ 74684 h 4623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435145" h="462341">
                  <a:moveTo>
                    <a:pt x="302948" y="74684"/>
                  </a:moveTo>
                  <a:cubicBezTo>
                    <a:pt x="234956" y="74684"/>
                    <a:pt x="196881" y="131797"/>
                    <a:pt x="186002" y="148115"/>
                  </a:cubicBezTo>
                  <a:lnTo>
                    <a:pt x="186002" y="148115"/>
                  </a:lnTo>
                  <a:cubicBezTo>
                    <a:pt x="186002" y="129077"/>
                    <a:pt x="186002" y="115479"/>
                    <a:pt x="186002" y="115479"/>
                  </a:cubicBezTo>
                  <a:cubicBezTo>
                    <a:pt x="186002" y="82843"/>
                    <a:pt x="156086" y="58366"/>
                    <a:pt x="123450" y="58366"/>
                  </a:cubicBezTo>
                  <a:cubicBezTo>
                    <a:pt x="90814" y="55646"/>
                    <a:pt x="58178" y="82843"/>
                    <a:pt x="58178" y="115479"/>
                  </a:cubicBezTo>
                  <a:cubicBezTo>
                    <a:pt x="58178" y="120918"/>
                    <a:pt x="58178" y="360248"/>
                    <a:pt x="58178" y="362967"/>
                  </a:cubicBezTo>
                  <a:cubicBezTo>
                    <a:pt x="58178" y="395603"/>
                    <a:pt x="88095" y="422800"/>
                    <a:pt x="120730" y="422800"/>
                  </a:cubicBezTo>
                  <a:cubicBezTo>
                    <a:pt x="153366" y="425519"/>
                    <a:pt x="186002" y="395603"/>
                    <a:pt x="186002" y="362967"/>
                  </a:cubicBezTo>
                  <a:cubicBezTo>
                    <a:pt x="186002" y="360248"/>
                    <a:pt x="186002" y="281378"/>
                    <a:pt x="186002" y="213386"/>
                  </a:cubicBezTo>
                  <a:lnTo>
                    <a:pt x="186002" y="213386"/>
                  </a:lnTo>
                  <a:cubicBezTo>
                    <a:pt x="191442" y="186190"/>
                    <a:pt x="205040" y="161713"/>
                    <a:pt x="229517" y="161713"/>
                  </a:cubicBezTo>
                  <a:cubicBezTo>
                    <a:pt x="259433" y="161713"/>
                    <a:pt x="259433" y="194349"/>
                    <a:pt x="259433" y="194349"/>
                  </a:cubicBezTo>
                  <a:lnTo>
                    <a:pt x="259433" y="362967"/>
                  </a:lnTo>
                  <a:cubicBezTo>
                    <a:pt x="259433" y="395603"/>
                    <a:pt x="289349" y="422800"/>
                    <a:pt x="321985" y="422800"/>
                  </a:cubicBezTo>
                  <a:cubicBezTo>
                    <a:pt x="354621" y="425519"/>
                    <a:pt x="387257" y="395603"/>
                    <a:pt x="387257" y="362967"/>
                  </a:cubicBezTo>
                  <a:lnTo>
                    <a:pt x="387257" y="273219"/>
                  </a:lnTo>
                  <a:cubicBezTo>
                    <a:pt x="384537" y="183470"/>
                    <a:pt x="395416" y="71964"/>
                    <a:pt x="302948" y="74684"/>
                  </a:cubicBezTo>
                </a:path>
              </a:pathLst>
            </a:custGeom>
            <a:solidFill>
              <a:srgbClr val="FFFFFF"/>
            </a:solidFill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70ECA3BC-07C2-4B47-B5E2-312D7DA6E6C9}"/>
                </a:ext>
              </a:extLst>
            </p:cNvPr>
            <p:cNvSpPr/>
            <p:nvPr/>
          </p:nvSpPr>
          <p:spPr>
            <a:xfrm>
              <a:off x="1113192" y="704452"/>
              <a:ext cx="128141" cy="136150"/>
            </a:xfrm>
            <a:custGeom>
              <a:avLst/>
              <a:gdLst>
                <a:gd name="connsiteX0" fmla="*/ 302948 w 435145"/>
                <a:gd name="connsiteY0" fmla="*/ 74684 h 462341"/>
                <a:gd name="connsiteX1" fmla="*/ 186002 w 435145"/>
                <a:gd name="connsiteY1" fmla="*/ 148115 h 462341"/>
                <a:gd name="connsiteX2" fmla="*/ 186002 w 435145"/>
                <a:gd name="connsiteY2" fmla="*/ 148115 h 462341"/>
                <a:gd name="connsiteX3" fmla="*/ 186002 w 435145"/>
                <a:gd name="connsiteY3" fmla="*/ 115479 h 462341"/>
                <a:gd name="connsiteX4" fmla="*/ 123450 w 435145"/>
                <a:gd name="connsiteY4" fmla="*/ 58366 h 462341"/>
                <a:gd name="connsiteX5" fmla="*/ 58178 w 435145"/>
                <a:gd name="connsiteY5" fmla="*/ 115479 h 462341"/>
                <a:gd name="connsiteX6" fmla="*/ 58178 w 435145"/>
                <a:gd name="connsiteY6" fmla="*/ 362967 h 462341"/>
                <a:gd name="connsiteX7" fmla="*/ 120730 w 435145"/>
                <a:gd name="connsiteY7" fmla="*/ 422800 h 462341"/>
                <a:gd name="connsiteX8" fmla="*/ 186002 w 435145"/>
                <a:gd name="connsiteY8" fmla="*/ 362967 h 462341"/>
                <a:gd name="connsiteX9" fmla="*/ 186002 w 435145"/>
                <a:gd name="connsiteY9" fmla="*/ 213386 h 462341"/>
                <a:gd name="connsiteX10" fmla="*/ 186002 w 435145"/>
                <a:gd name="connsiteY10" fmla="*/ 213386 h 462341"/>
                <a:gd name="connsiteX11" fmla="*/ 229517 w 435145"/>
                <a:gd name="connsiteY11" fmla="*/ 161713 h 462341"/>
                <a:gd name="connsiteX12" fmla="*/ 259433 w 435145"/>
                <a:gd name="connsiteY12" fmla="*/ 194349 h 462341"/>
                <a:gd name="connsiteX13" fmla="*/ 259433 w 435145"/>
                <a:gd name="connsiteY13" fmla="*/ 362967 h 462341"/>
                <a:gd name="connsiteX14" fmla="*/ 321985 w 435145"/>
                <a:gd name="connsiteY14" fmla="*/ 422800 h 462341"/>
                <a:gd name="connsiteX15" fmla="*/ 387257 w 435145"/>
                <a:gd name="connsiteY15" fmla="*/ 362967 h 462341"/>
                <a:gd name="connsiteX16" fmla="*/ 387257 w 435145"/>
                <a:gd name="connsiteY16" fmla="*/ 273219 h 462341"/>
                <a:gd name="connsiteX17" fmla="*/ 302948 w 435145"/>
                <a:gd name="connsiteY17" fmla="*/ 74684 h 4623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435145" h="462341">
                  <a:moveTo>
                    <a:pt x="302948" y="74684"/>
                  </a:moveTo>
                  <a:cubicBezTo>
                    <a:pt x="234956" y="74684"/>
                    <a:pt x="196881" y="131797"/>
                    <a:pt x="186002" y="148115"/>
                  </a:cubicBezTo>
                  <a:lnTo>
                    <a:pt x="186002" y="148115"/>
                  </a:lnTo>
                  <a:cubicBezTo>
                    <a:pt x="186002" y="129077"/>
                    <a:pt x="186002" y="115479"/>
                    <a:pt x="186002" y="115479"/>
                  </a:cubicBezTo>
                  <a:cubicBezTo>
                    <a:pt x="186002" y="82843"/>
                    <a:pt x="156086" y="58366"/>
                    <a:pt x="123450" y="58366"/>
                  </a:cubicBezTo>
                  <a:cubicBezTo>
                    <a:pt x="90814" y="55646"/>
                    <a:pt x="58178" y="82843"/>
                    <a:pt x="58178" y="115479"/>
                  </a:cubicBezTo>
                  <a:cubicBezTo>
                    <a:pt x="58178" y="120918"/>
                    <a:pt x="58178" y="360248"/>
                    <a:pt x="58178" y="362967"/>
                  </a:cubicBezTo>
                  <a:cubicBezTo>
                    <a:pt x="58178" y="395603"/>
                    <a:pt x="88094" y="422800"/>
                    <a:pt x="120730" y="422800"/>
                  </a:cubicBezTo>
                  <a:cubicBezTo>
                    <a:pt x="153366" y="425519"/>
                    <a:pt x="186002" y="395603"/>
                    <a:pt x="186002" y="362967"/>
                  </a:cubicBezTo>
                  <a:cubicBezTo>
                    <a:pt x="186002" y="360248"/>
                    <a:pt x="186002" y="281378"/>
                    <a:pt x="186002" y="213386"/>
                  </a:cubicBezTo>
                  <a:lnTo>
                    <a:pt x="186002" y="213386"/>
                  </a:lnTo>
                  <a:cubicBezTo>
                    <a:pt x="191442" y="186190"/>
                    <a:pt x="205040" y="161713"/>
                    <a:pt x="229517" y="161713"/>
                  </a:cubicBezTo>
                  <a:cubicBezTo>
                    <a:pt x="259433" y="161713"/>
                    <a:pt x="259433" y="194349"/>
                    <a:pt x="259433" y="194349"/>
                  </a:cubicBezTo>
                  <a:lnTo>
                    <a:pt x="259433" y="362967"/>
                  </a:lnTo>
                  <a:cubicBezTo>
                    <a:pt x="259433" y="395603"/>
                    <a:pt x="289349" y="422800"/>
                    <a:pt x="321985" y="422800"/>
                  </a:cubicBezTo>
                  <a:cubicBezTo>
                    <a:pt x="354621" y="425519"/>
                    <a:pt x="387257" y="395603"/>
                    <a:pt x="387257" y="362967"/>
                  </a:cubicBezTo>
                  <a:lnTo>
                    <a:pt x="387257" y="273219"/>
                  </a:lnTo>
                  <a:cubicBezTo>
                    <a:pt x="384537" y="183470"/>
                    <a:pt x="395416" y="71964"/>
                    <a:pt x="302948" y="74684"/>
                  </a:cubicBezTo>
                </a:path>
              </a:pathLst>
            </a:custGeom>
            <a:solidFill>
              <a:srgbClr val="FFFFFF"/>
            </a:solidFill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E3964362-9201-4761-9A48-C0B87C180823}"/>
                </a:ext>
              </a:extLst>
            </p:cNvPr>
            <p:cNvSpPr/>
            <p:nvPr/>
          </p:nvSpPr>
          <p:spPr>
            <a:xfrm>
              <a:off x="1877547" y="721639"/>
              <a:ext cx="107319" cy="107318"/>
            </a:xfrm>
            <a:custGeom>
              <a:avLst/>
              <a:gdLst>
                <a:gd name="connsiteX0" fmla="*/ 182218 w 364436"/>
                <a:gd name="connsiteY0" fmla="*/ 73431 h 364434"/>
                <a:gd name="connsiteX1" fmla="*/ 130544 w 364436"/>
                <a:gd name="connsiteY1" fmla="*/ 179499 h 364434"/>
                <a:gd name="connsiteX2" fmla="*/ 182218 w 364436"/>
                <a:gd name="connsiteY2" fmla="*/ 285565 h 364434"/>
                <a:gd name="connsiteX3" fmla="*/ 233891 w 364436"/>
                <a:gd name="connsiteY3" fmla="*/ 179499 h 364434"/>
                <a:gd name="connsiteX4" fmla="*/ 182218 w 364436"/>
                <a:gd name="connsiteY4" fmla="*/ 73431 h 364434"/>
                <a:gd name="connsiteX5" fmla="*/ 182219 w 364436"/>
                <a:gd name="connsiteY5" fmla="*/ 0 h 364434"/>
                <a:gd name="connsiteX6" fmla="*/ 364436 w 364436"/>
                <a:gd name="connsiteY6" fmla="*/ 182217 h 364434"/>
                <a:gd name="connsiteX7" fmla="*/ 182219 w 364436"/>
                <a:gd name="connsiteY7" fmla="*/ 364434 h 364434"/>
                <a:gd name="connsiteX8" fmla="*/ 0 w 364436"/>
                <a:gd name="connsiteY8" fmla="*/ 182217 h 364434"/>
                <a:gd name="connsiteX9" fmla="*/ 182219 w 364436"/>
                <a:gd name="connsiteY9" fmla="*/ 0 h 3644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64436" h="364434">
                  <a:moveTo>
                    <a:pt x="182218" y="73431"/>
                  </a:moveTo>
                  <a:cubicBezTo>
                    <a:pt x="152302" y="76151"/>
                    <a:pt x="130544" y="114226"/>
                    <a:pt x="130544" y="179499"/>
                  </a:cubicBezTo>
                  <a:cubicBezTo>
                    <a:pt x="130544" y="244770"/>
                    <a:pt x="146862" y="285565"/>
                    <a:pt x="182218" y="285565"/>
                  </a:cubicBezTo>
                  <a:cubicBezTo>
                    <a:pt x="217573" y="285565"/>
                    <a:pt x="233891" y="247490"/>
                    <a:pt x="233891" y="179499"/>
                  </a:cubicBezTo>
                  <a:cubicBezTo>
                    <a:pt x="233891" y="114226"/>
                    <a:pt x="212134" y="73431"/>
                    <a:pt x="182218" y="73431"/>
                  </a:cubicBezTo>
                  <a:close/>
                  <a:moveTo>
                    <a:pt x="182219" y="0"/>
                  </a:moveTo>
                  <a:cubicBezTo>
                    <a:pt x="282846" y="0"/>
                    <a:pt x="364436" y="81590"/>
                    <a:pt x="364436" y="182217"/>
                  </a:cubicBezTo>
                  <a:cubicBezTo>
                    <a:pt x="364436" y="282844"/>
                    <a:pt x="282846" y="364434"/>
                    <a:pt x="182219" y="364434"/>
                  </a:cubicBezTo>
                  <a:cubicBezTo>
                    <a:pt x="81591" y="364434"/>
                    <a:pt x="0" y="282844"/>
                    <a:pt x="0" y="182217"/>
                  </a:cubicBezTo>
                  <a:cubicBezTo>
                    <a:pt x="0" y="81590"/>
                    <a:pt x="81591" y="0"/>
                    <a:pt x="182219" y="0"/>
                  </a:cubicBezTo>
                  <a:close/>
                </a:path>
              </a:pathLst>
            </a:custGeom>
            <a:solidFill>
              <a:srgbClr val="FFFFFF"/>
            </a:solidFill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73656213-9D5F-4892-9BAE-D1FBE4DD8417}"/>
                </a:ext>
              </a:extLst>
            </p:cNvPr>
            <p:cNvSpPr/>
            <p:nvPr/>
          </p:nvSpPr>
          <p:spPr>
            <a:xfrm>
              <a:off x="1620412" y="718385"/>
              <a:ext cx="109774" cy="110623"/>
            </a:xfrm>
            <a:custGeom>
              <a:avLst/>
              <a:gdLst>
                <a:gd name="connsiteX0" fmla="*/ 176958 w 372773"/>
                <a:gd name="connsiteY0" fmla="*/ 98080 h 375657"/>
                <a:gd name="connsiteX1" fmla="*/ 125284 w 372773"/>
                <a:gd name="connsiteY1" fmla="*/ 190548 h 375657"/>
                <a:gd name="connsiteX2" fmla="*/ 176958 w 372773"/>
                <a:gd name="connsiteY2" fmla="*/ 283017 h 375657"/>
                <a:gd name="connsiteX3" fmla="*/ 228631 w 372773"/>
                <a:gd name="connsiteY3" fmla="*/ 190548 h 375657"/>
                <a:gd name="connsiteX4" fmla="*/ 176958 w 372773"/>
                <a:gd name="connsiteY4" fmla="*/ 98080 h 375657"/>
                <a:gd name="connsiteX5" fmla="*/ 307501 w 372773"/>
                <a:gd name="connsiteY5" fmla="*/ 172 h 375657"/>
                <a:gd name="connsiteX6" fmla="*/ 372773 w 372773"/>
                <a:gd name="connsiteY6" fmla="*/ 62724 h 375657"/>
                <a:gd name="connsiteX7" fmla="*/ 372773 w 372773"/>
                <a:gd name="connsiteY7" fmla="*/ 312934 h 375657"/>
                <a:gd name="connsiteX8" fmla="*/ 302061 w 372773"/>
                <a:gd name="connsiteY8" fmla="*/ 375486 h 375657"/>
                <a:gd name="connsiteX9" fmla="*/ 239509 w 372773"/>
                <a:gd name="connsiteY9" fmla="*/ 326532 h 375657"/>
                <a:gd name="connsiteX10" fmla="*/ 179677 w 372773"/>
                <a:gd name="connsiteY10" fmla="*/ 370046 h 375657"/>
                <a:gd name="connsiteX11" fmla="*/ 70890 w 372773"/>
                <a:gd name="connsiteY11" fmla="*/ 353728 h 375657"/>
                <a:gd name="connsiteX12" fmla="*/ 128003 w 372773"/>
                <a:gd name="connsiteY12" fmla="*/ 11051 h 375657"/>
                <a:gd name="connsiteX13" fmla="*/ 236790 w 372773"/>
                <a:gd name="connsiteY13" fmla="*/ 70883 h 375657"/>
                <a:gd name="connsiteX14" fmla="*/ 236790 w 372773"/>
                <a:gd name="connsiteY14" fmla="*/ 62724 h 375657"/>
                <a:gd name="connsiteX15" fmla="*/ 307501 w 372773"/>
                <a:gd name="connsiteY15" fmla="*/ 172 h 3756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72773" h="375657">
                  <a:moveTo>
                    <a:pt x="176958" y="98080"/>
                  </a:moveTo>
                  <a:cubicBezTo>
                    <a:pt x="147042" y="100800"/>
                    <a:pt x="125284" y="133436"/>
                    <a:pt x="125284" y="190548"/>
                  </a:cubicBezTo>
                  <a:cubicBezTo>
                    <a:pt x="125284" y="247661"/>
                    <a:pt x="141602" y="283017"/>
                    <a:pt x="176958" y="283017"/>
                  </a:cubicBezTo>
                  <a:cubicBezTo>
                    <a:pt x="212314" y="283017"/>
                    <a:pt x="228631" y="247661"/>
                    <a:pt x="228631" y="190548"/>
                  </a:cubicBezTo>
                  <a:cubicBezTo>
                    <a:pt x="228631" y="133436"/>
                    <a:pt x="206874" y="98080"/>
                    <a:pt x="176958" y="98080"/>
                  </a:cubicBezTo>
                  <a:close/>
                  <a:moveTo>
                    <a:pt x="307501" y="172"/>
                  </a:moveTo>
                  <a:cubicBezTo>
                    <a:pt x="340137" y="172"/>
                    <a:pt x="372773" y="30088"/>
                    <a:pt x="372773" y="62724"/>
                  </a:cubicBezTo>
                  <a:cubicBezTo>
                    <a:pt x="372773" y="65444"/>
                    <a:pt x="372773" y="307494"/>
                    <a:pt x="372773" y="312934"/>
                  </a:cubicBezTo>
                  <a:cubicBezTo>
                    <a:pt x="370053" y="348289"/>
                    <a:pt x="337417" y="378205"/>
                    <a:pt x="302061" y="375486"/>
                  </a:cubicBezTo>
                  <a:cubicBezTo>
                    <a:pt x="274865" y="372766"/>
                    <a:pt x="247668" y="353728"/>
                    <a:pt x="239509" y="326532"/>
                  </a:cubicBezTo>
                  <a:cubicBezTo>
                    <a:pt x="225911" y="348289"/>
                    <a:pt x="198715" y="364607"/>
                    <a:pt x="179677" y="370046"/>
                  </a:cubicBezTo>
                  <a:cubicBezTo>
                    <a:pt x="147041" y="378205"/>
                    <a:pt x="100807" y="372766"/>
                    <a:pt x="70890" y="353728"/>
                  </a:cubicBezTo>
                  <a:cubicBezTo>
                    <a:pt x="-35177" y="285737"/>
                    <a:pt x="-27018" y="11051"/>
                    <a:pt x="128003" y="11051"/>
                  </a:cubicBezTo>
                  <a:cubicBezTo>
                    <a:pt x="185116" y="11051"/>
                    <a:pt x="220471" y="49126"/>
                    <a:pt x="236790" y="70883"/>
                  </a:cubicBezTo>
                  <a:cubicBezTo>
                    <a:pt x="236790" y="70883"/>
                    <a:pt x="236790" y="65444"/>
                    <a:pt x="236790" y="62724"/>
                  </a:cubicBezTo>
                  <a:cubicBezTo>
                    <a:pt x="239509" y="27369"/>
                    <a:pt x="272145" y="-2547"/>
                    <a:pt x="307501" y="172"/>
                  </a:cubicBezTo>
                  <a:close/>
                </a:path>
              </a:pathLst>
            </a:custGeom>
            <a:solidFill>
              <a:srgbClr val="FFFFFF"/>
            </a:solidFill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67920402-9F02-42D6-B93E-36B5E194A375}"/>
                </a:ext>
              </a:extLst>
            </p:cNvPr>
            <p:cNvSpPr/>
            <p:nvPr/>
          </p:nvSpPr>
          <p:spPr>
            <a:xfrm>
              <a:off x="2102542" y="718385"/>
              <a:ext cx="109773" cy="110623"/>
            </a:xfrm>
            <a:custGeom>
              <a:avLst/>
              <a:gdLst>
                <a:gd name="connsiteX0" fmla="*/ 176957 w 372772"/>
                <a:gd name="connsiteY0" fmla="*/ 98080 h 375657"/>
                <a:gd name="connsiteX1" fmla="*/ 125282 w 372772"/>
                <a:gd name="connsiteY1" fmla="*/ 190548 h 375657"/>
                <a:gd name="connsiteX2" fmla="*/ 176957 w 372772"/>
                <a:gd name="connsiteY2" fmla="*/ 283017 h 375657"/>
                <a:gd name="connsiteX3" fmla="*/ 228630 w 372772"/>
                <a:gd name="connsiteY3" fmla="*/ 190548 h 375657"/>
                <a:gd name="connsiteX4" fmla="*/ 176957 w 372772"/>
                <a:gd name="connsiteY4" fmla="*/ 98080 h 375657"/>
                <a:gd name="connsiteX5" fmla="*/ 307501 w 372772"/>
                <a:gd name="connsiteY5" fmla="*/ 172 h 375657"/>
                <a:gd name="connsiteX6" fmla="*/ 372772 w 372772"/>
                <a:gd name="connsiteY6" fmla="*/ 62724 h 375657"/>
                <a:gd name="connsiteX7" fmla="*/ 372772 w 372772"/>
                <a:gd name="connsiteY7" fmla="*/ 312934 h 375657"/>
                <a:gd name="connsiteX8" fmla="*/ 302062 w 372772"/>
                <a:gd name="connsiteY8" fmla="*/ 375486 h 375657"/>
                <a:gd name="connsiteX9" fmla="*/ 239509 w 372772"/>
                <a:gd name="connsiteY9" fmla="*/ 326532 h 375657"/>
                <a:gd name="connsiteX10" fmla="*/ 179677 w 372772"/>
                <a:gd name="connsiteY10" fmla="*/ 370046 h 375657"/>
                <a:gd name="connsiteX11" fmla="*/ 70890 w 372772"/>
                <a:gd name="connsiteY11" fmla="*/ 353728 h 375657"/>
                <a:gd name="connsiteX12" fmla="*/ 128002 w 372772"/>
                <a:gd name="connsiteY12" fmla="*/ 11051 h 375657"/>
                <a:gd name="connsiteX13" fmla="*/ 236790 w 372772"/>
                <a:gd name="connsiteY13" fmla="*/ 70883 h 375657"/>
                <a:gd name="connsiteX14" fmla="*/ 236790 w 372772"/>
                <a:gd name="connsiteY14" fmla="*/ 62724 h 375657"/>
                <a:gd name="connsiteX15" fmla="*/ 307501 w 372772"/>
                <a:gd name="connsiteY15" fmla="*/ 172 h 3756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72772" h="375657">
                  <a:moveTo>
                    <a:pt x="176957" y="98080"/>
                  </a:moveTo>
                  <a:cubicBezTo>
                    <a:pt x="147039" y="100800"/>
                    <a:pt x="125282" y="133436"/>
                    <a:pt x="125282" y="190548"/>
                  </a:cubicBezTo>
                  <a:cubicBezTo>
                    <a:pt x="125282" y="247661"/>
                    <a:pt x="141600" y="283017"/>
                    <a:pt x="176957" y="283017"/>
                  </a:cubicBezTo>
                  <a:cubicBezTo>
                    <a:pt x="212312" y="283017"/>
                    <a:pt x="228630" y="247661"/>
                    <a:pt x="228630" y="190548"/>
                  </a:cubicBezTo>
                  <a:cubicBezTo>
                    <a:pt x="228630" y="133436"/>
                    <a:pt x="206873" y="98080"/>
                    <a:pt x="176957" y="98080"/>
                  </a:cubicBezTo>
                  <a:close/>
                  <a:moveTo>
                    <a:pt x="307501" y="172"/>
                  </a:moveTo>
                  <a:cubicBezTo>
                    <a:pt x="340137" y="172"/>
                    <a:pt x="372772" y="30088"/>
                    <a:pt x="372772" y="62724"/>
                  </a:cubicBezTo>
                  <a:cubicBezTo>
                    <a:pt x="372772" y="65444"/>
                    <a:pt x="372772" y="307494"/>
                    <a:pt x="372772" y="312934"/>
                  </a:cubicBezTo>
                  <a:cubicBezTo>
                    <a:pt x="370053" y="348289"/>
                    <a:pt x="337417" y="378205"/>
                    <a:pt x="302062" y="375486"/>
                  </a:cubicBezTo>
                  <a:cubicBezTo>
                    <a:pt x="274865" y="372766"/>
                    <a:pt x="247668" y="353728"/>
                    <a:pt x="239509" y="326532"/>
                  </a:cubicBezTo>
                  <a:cubicBezTo>
                    <a:pt x="228630" y="348289"/>
                    <a:pt x="198714" y="364607"/>
                    <a:pt x="179677" y="370046"/>
                  </a:cubicBezTo>
                  <a:cubicBezTo>
                    <a:pt x="147040" y="378205"/>
                    <a:pt x="100806" y="372766"/>
                    <a:pt x="70890" y="353728"/>
                  </a:cubicBezTo>
                  <a:cubicBezTo>
                    <a:pt x="-35177" y="285737"/>
                    <a:pt x="-27018" y="11051"/>
                    <a:pt x="128002" y="11051"/>
                  </a:cubicBezTo>
                  <a:cubicBezTo>
                    <a:pt x="185116" y="11051"/>
                    <a:pt x="220472" y="49126"/>
                    <a:pt x="236790" y="70883"/>
                  </a:cubicBezTo>
                  <a:cubicBezTo>
                    <a:pt x="236790" y="70883"/>
                    <a:pt x="236790" y="65444"/>
                    <a:pt x="236790" y="62724"/>
                  </a:cubicBezTo>
                  <a:cubicBezTo>
                    <a:pt x="239509" y="27369"/>
                    <a:pt x="272145" y="-2547"/>
                    <a:pt x="307501" y="172"/>
                  </a:cubicBezTo>
                  <a:close/>
                </a:path>
              </a:pathLst>
            </a:custGeom>
            <a:solidFill>
              <a:srgbClr val="FFFFFF"/>
            </a:solidFill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49B87069-D313-4E85-AF3B-5104B787FDFE}"/>
                </a:ext>
              </a:extLst>
            </p:cNvPr>
            <p:cNvSpPr/>
            <p:nvPr/>
          </p:nvSpPr>
          <p:spPr>
            <a:xfrm>
              <a:off x="1810760" y="712516"/>
              <a:ext cx="64071" cy="128141"/>
            </a:xfrm>
            <a:custGeom>
              <a:avLst/>
              <a:gdLst>
                <a:gd name="connsiteX0" fmla="*/ 186002 w 217572"/>
                <a:gd name="connsiteY0" fmla="*/ 118011 h 435144"/>
                <a:gd name="connsiteX1" fmla="*/ 128890 w 217572"/>
                <a:gd name="connsiteY1" fmla="*/ 58178 h 435144"/>
                <a:gd name="connsiteX2" fmla="*/ 123450 w 217572"/>
                <a:gd name="connsiteY2" fmla="*/ 58178 h 435144"/>
                <a:gd name="connsiteX3" fmla="*/ 58178 w 217572"/>
                <a:gd name="connsiteY3" fmla="*/ 115291 h 435144"/>
                <a:gd name="connsiteX4" fmla="*/ 58178 w 217572"/>
                <a:gd name="connsiteY4" fmla="*/ 232236 h 435144"/>
                <a:gd name="connsiteX5" fmla="*/ 58178 w 217572"/>
                <a:gd name="connsiteY5" fmla="*/ 232236 h 435144"/>
                <a:gd name="connsiteX6" fmla="*/ 58178 w 217572"/>
                <a:gd name="connsiteY6" fmla="*/ 335583 h 435144"/>
                <a:gd name="connsiteX7" fmla="*/ 115291 w 217572"/>
                <a:gd name="connsiteY7" fmla="*/ 395415 h 435144"/>
                <a:gd name="connsiteX8" fmla="*/ 120730 w 217572"/>
                <a:gd name="connsiteY8" fmla="*/ 395415 h 435144"/>
                <a:gd name="connsiteX9" fmla="*/ 186002 w 217572"/>
                <a:gd name="connsiteY9" fmla="*/ 338303 h 435144"/>
                <a:gd name="connsiteX10" fmla="*/ 186002 w 217572"/>
                <a:gd name="connsiteY10" fmla="*/ 240395 h 435144"/>
                <a:gd name="connsiteX11" fmla="*/ 186002 w 217572"/>
                <a:gd name="connsiteY11" fmla="*/ 240395 h 435144"/>
                <a:gd name="connsiteX12" fmla="*/ 186002 w 217572"/>
                <a:gd name="connsiteY12" fmla="*/ 118011 h 4351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17572" h="435144">
                  <a:moveTo>
                    <a:pt x="186002" y="118011"/>
                  </a:moveTo>
                  <a:cubicBezTo>
                    <a:pt x="183283" y="85375"/>
                    <a:pt x="158806" y="60898"/>
                    <a:pt x="128890" y="58178"/>
                  </a:cubicBezTo>
                  <a:cubicBezTo>
                    <a:pt x="126170" y="58178"/>
                    <a:pt x="126170" y="58178"/>
                    <a:pt x="123450" y="58178"/>
                  </a:cubicBezTo>
                  <a:cubicBezTo>
                    <a:pt x="96254" y="58178"/>
                    <a:pt x="58178" y="82655"/>
                    <a:pt x="58178" y="115291"/>
                  </a:cubicBezTo>
                  <a:lnTo>
                    <a:pt x="58178" y="232236"/>
                  </a:lnTo>
                  <a:lnTo>
                    <a:pt x="58178" y="232236"/>
                  </a:lnTo>
                  <a:cubicBezTo>
                    <a:pt x="58178" y="270311"/>
                    <a:pt x="58178" y="335583"/>
                    <a:pt x="58178" y="335583"/>
                  </a:cubicBezTo>
                  <a:cubicBezTo>
                    <a:pt x="60898" y="368219"/>
                    <a:pt x="85375" y="392696"/>
                    <a:pt x="115291" y="395415"/>
                  </a:cubicBezTo>
                  <a:cubicBezTo>
                    <a:pt x="118011" y="395415"/>
                    <a:pt x="118011" y="395415"/>
                    <a:pt x="120730" y="395415"/>
                  </a:cubicBezTo>
                  <a:cubicBezTo>
                    <a:pt x="147927" y="395415"/>
                    <a:pt x="186002" y="370938"/>
                    <a:pt x="186002" y="338303"/>
                  </a:cubicBezTo>
                  <a:lnTo>
                    <a:pt x="186002" y="240395"/>
                  </a:lnTo>
                  <a:lnTo>
                    <a:pt x="186002" y="240395"/>
                  </a:lnTo>
                  <a:cubicBezTo>
                    <a:pt x="186002" y="202320"/>
                    <a:pt x="186002" y="118011"/>
                    <a:pt x="186002" y="118011"/>
                  </a:cubicBezTo>
                </a:path>
              </a:pathLst>
            </a:custGeom>
            <a:solidFill>
              <a:srgbClr val="FFFFFF"/>
            </a:solidFill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D8D7181F-2284-4A80-89F5-C8D0717B18E5}"/>
                </a:ext>
              </a:extLst>
            </p:cNvPr>
            <p:cNvSpPr/>
            <p:nvPr/>
          </p:nvSpPr>
          <p:spPr>
            <a:xfrm>
              <a:off x="1811561" y="664412"/>
              <a:ext cx="64071" cy="64070"/>
            </a:xfrm>
            <a:custGeom>
              <a:avLst/>
              <a:gdLst>
                <a:gd name="connsiteX0" fmla="*/ 183282 w 217572"/>
                <a:gd name="connsiteY0" fmla="*/ 120902 h 217572"/>
                <a:gd name="connsiteX1" fmla="*/ 120730 w 217572"/>
                <a:gd name="connsiteY1" fmla="*/ 183454 h 217572"/>
                <a:gd name="connsiteX2" fmla="*/ 58178 w 217572"/>
                <a:gd name="connsiteY2" fmla="*/ 120902 h 217572"/>
                <a:gd name="connsiteX3" fmla="*/ 120730 w 217572"/>
                <a:gd name="connsiteY3" fmla="*/ 58350 h 217572"/>
                <a:gd name="connsiteX4" fmla="*/ 183282 w 217572"/>
                <a:gd name="connsiteY4" fmla="*/ 120902 h 2175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17572" h="217572">
                  <a:moveTo>
                    <a:pt x="183282" y="120902"/>
                  </a:moveTo>
                  <a:cubicBezTo>
                    <a:pt x="183282" y="156258"/>
                    <a:pt x="156086" y="183454"/>
                    <a:pt x="120730" y="183454"/>
                  </a:cubicBezTo>
                  <a:cubicBezTo>
                    <a:pt x="85375" y="183454"/>
                    <a:pt x="58178" y="156258"/>
                    <a:pt x="58178" y="120902"/>
                  </a:cubicBezTo>
                  <a:cubicBezTo>
                    <a:pt x="58178" y="85547"/>
                    <a:pt x="85375" y="58350"/>
                    <a:pt x="120730" y="58350"/>
                  </a:cubicBezTo>
                  <a:cubicBezTo>
                    <a:pt x="153366" y="55630"/>
                    <a:pt x="183282" y="85547"/>
                    <a:pt x="183282" y="120902"/>
                  </a:cubicBezTo>
                </a:path>
              </a:pathLst>
            </a:custGeom>
            <a:solidFill>
              <a:srgbClr val="FFFFFF"/>
            </a:solidFill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E5C16C19-9C8C-4B42-AD26-3BEAA1810DE1}"/>
                </a:ext>
              </a:extLst>
            </p:cNvPr>
            <p:cNvSpPr/>
            <p:nvPr/>
          </p:nvSpPr>
          <p:spPr>
            <a:xfrm>
              <a:off x="1403112" y="704457"/>
              <a:ext cx="112123" cy="136150"/>
            </a:xfrm>
            <a:custGeom>
              <a:avLst/>
              <a:gdLst>
                <a:gd name="connsiteX0" fmla="*/ 270312 w 380752"/>
                <a:gd name="connsiteY0" fmla="*/ 69229 h 462341"/>
                <a:gd name="connsiteX1" fmla="*/ 188722 w 380752"/>
                <a:gd name="connsiteY1" fmla="*/ 134501 h 462341"/>
                <a:gd name="connsiteX2" fmla="*/ 188722 w 380752"/>
                <a:gd name="connsiteY2" fmla="*/ 118183 h 462341"/>
                <a:gd name="connsiteX3" fmla="*/ 126170 w 380752"/>
                <a:gd name="connsiteY3" fmla="*/ 58350 h 462341"/>
                <a:gd name="connsiteX4" fmla="*/ 58178 w 380752"/>
                <a:gd name="connsiteY4" fmla="*/ 118183 h 462341"/>
                <a:gd name="connsiteX5" fmla="*/ 58178 w 380752"/>
                <a:gd name="connsiteY5" fmla="*/ 210651 h 462341"/>
                <a:gd name="connsiteX6" fmla="*/ 58178 w 380752"/>
                <a:gd name="connsiteY6" fmla="*/ 365671 h 462341"/>
                <a:gd name="connsiteX7" fmla="*/ 58178 w 380752"/>
                <a:gd name="connsiteY7" fmla="*/ 365671 h 462341"/>
                <a:gd name="connsiteX8" fmla="*/ 120730 w 380752"/>
                <a:gd name="connsiteY8" fmla="*/ 425504 h 462341"/>
                <a:gd name="connsiteX9" fmla="*/ 186002 w 380752"/>
                <a:gd name="connsiteY9" fmla="*/ 365671 h 462341"/>
                <a:gd name="connsiteX10" fmla="*/ 186002 w 380752"/>
                <a:gd name="connsiteY10" fmla="*/ 365671 h 462341"/>
                <a:gd name="connsiteX11" fmla="*/ 186002 w 380752"/>
                <a:gd name="connsiteY11" fmla="*/ 210651 h 462341"/>
                <a:gd name="connsiteX12" fmla="*/ 215919 w 380752"/>
                <a:gd name="connsiteY12" fmla="*/ 158978 h 462341"/>
                <a:gd name="connsiteX13" fmla="*/ 275751 w 380752"/>
                <a:gd name="connsiteY13" fmla="*/ 221530 h 462341"/>
                <a:gd name="connsiteX14" fmla="*/ 270312 w 380752"/>
                <a:gd name="connsiteY14" fmla="*/ 69229 h 4623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80752" h="462341">
                  <a:moveTo>
                    <a:pt x="270312" y="69229"/>
                  </a:moveTo>
                  <a:cubicBezTo>
                    <a:pt x="232236" y="71949"/>
                    <a:pt x="213199" y="99145"/>
                    <a:pt x="188722" y="134501"/>
                  </a:cubicBezTo>
                  <a:cubicBezTo>
                    <a:pt x="188722" y="134501"/>
                    <a:pt x="188722" y="118183"/>
                    <a:pt x="188722" y="118183"/>
                  </a:cubicBezTo>
                  <a:cubicBezTo>
                    <a:pt x="188722" y="85547"/>
                    <a:pt x="158806" y="58350"/>
                    <a:pt x="126170" y="58350"/>
                  </a:cubicBezTo>
                  <a:cubicBezTo>
                    <a:pt x="93534" y="55631"/>
                    <a:pt x="60898" y="85547"/>
                    <a:pt x="58178" y="118183"/>
                  </a:cubicBezTo>
                  <a:lnTo>
                    <a:pt x="58178" y="210651"/>
                  </a:lnTo>
                  <a:lnTo>
                    <a:pt x="58178" y="365671"/>
                  </a:lnTo>
                  <a:lnTo>
                    <a:pt x="58178" y="365671"/>
                  </a:lnTo>
                  <a:cubicBezTo>
                    <a:pt x="58178" y="398307"/>
                    <a:pt x="88094" y="425504"/>
                    <a:pt x="120730" y="425504"/>
                  </a:cubicBezTo>
                  <a:cubicBezTo>
                    <a:pt x="153366" y="428224"/>
                    <a:pt x="186002" y="398307"/>
                    <a:pt x="186002" y="365671"/>
                  </a:cubicBezTo>
                  <a:lnTo>
                    <a:pt x="186002" y="365671"/>
                  </a:lnTo>
                  <a:lnTo>
                    <a:pt x="186002" y="210651"/>
                  </a:lnTo>
                  <a:cubicBezTo>
                    <a:pt x="188722" y="188894"/>
                    <a:pt x="196881" y="158978"/>
                    <a:pt x="215919" y="158978"/>
                  </a:cubicBezTo>
                  <a:cubicBezTo>
                    <a:pt x="243115" y="158978"/>
                    <a:pt x="215919" y="221530"/>
                    <a:pt x="275751" y="221530"/>
                  </a:cubicBezTo>
                  <a:cubicBezTo>
                    <a:pt x="362780" y="221530"/>
                    <a:pt x="373658" y="63790"/>
                    <a:pt x="270312" y="69229"/>
                  </a:cubicBezTo>
                </a:path>
              </a:pathLst>
            </a:custGeom>
            <a:solidFill>
              <a:srgbClr val="FFFFFF"/>
            </a:solidFill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7E54EE48-BDC8-4FC7-95E6-E6761E8E0BB2}"/>
                </a:ext>
              </a:extLst>
            </p:cNvPr>
            <p:cNvSpPr/>
            <p:nvPr/>
          </p:nvSpPr>
          <p:spPr>
            <a:xfrm>
              <a:off x="1311324" y="721639"/>
              <a:ext cx="99309" cy="107318"/>
            </a:xfrm>
            <a:custGeom>
              <a:avLst/>
              <a:gdLst>
                <a:gd name="connsiteX0" fmla="*/ 180433 w 337238"/>
                <a:gd name="connsiteY0" fmla="*/ 73984 h 364434"/>
                <a:gd name="connsiteX1" fmla="*/ 163180 w 337238"/>
                <a:gd name="connsiteY1" fmla="*/ 78870 h 364434"/>
                <a:gd name="connsiteX2" fmla="*/ 125105 w 337238"/>
                <a:gd name="connsiteY2" fmla="*/ 160461 h 364434"/>
                <a:gd name="connsiteX3" fmla="*/ 171339 w 337238"/>
                <a:gd name="connsiteY3" fmla="*/ 163180 h 364434"/>
                <a:gd name="connsiteX4" fmla="*/ 214854 w 337238"/>
                <a:gd name="connsiteY4" fmla="*/ 108787 h 364434"/>
                <a:gd name="connsiteX5" fmla="*/ 180433 w 337238"/>
                <a:gd name="connsiteY5" fmla="*/ 73984 h 364434"/>
                <a:gd name="connsiteX6" fmla="*/ 174059 w 337238"/>
                <a:gd name="connsiteY6" fmla="*/ 0 h 364434"/>
                <a:gd name="connsiteX7" fmla="*/ 337238 w 337238"/>
                <a:gd name="connsiteY7" fmla="*/ 119665 h 364434"/>
                <a:gd name="connsiteX8" fmla="*/ 133264 w 337238"/>
                <a:gd name="connsiteY8" fmla="*/ 217573 h 364434"/>
                <a:gd name="connsiteX9" fmla="*/ 225732 w 337238"/>
                <a:gd name="connsiteY9" fmla="*/ 277405 h 364434"/>
                <a:gd name="connsiteX10" fmla="*/ 320920 w 337238"/>
                <a:gd name="connsiteY10" fmla="*/ 250208 h 364434"/>
                <a:gd name="connsiteX11" fmla="*/ 174059 w 337238"/>
                <a:gd name="connsiteY11" fmla="*/ 364434 h 364434"/>
                <a:gd name="connsiteX12" fmla="*/ 0 w 337238"/>
                <a:gd name="connsiteY12" fmla="*/ 184937 h 364434"/>
                <a:gd name="connsiteX13" fmla="*/ 174059 w 337238"/>
                <a:gd name="connsiteY13" fmla="*/ 0 h 3644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37238" h="364434">
                  <a:moveTo>
                    <a:pt x="180433" y="73984"/>
                  </a:moveTo>
                  <a:cubicBezTo>
                    <a:pt x="174569" y="73941"/>
                    <a:pt x="168620" y="75471"/>
                    <a:pt x="163180" y="78870"/>
                  </a:cubicBezTo>
                  <a:cubicBezTo>
                    <a:pt x="135984" y="95189"/>
                    <a:pt x="127825" y="130544"/>
                    <a:pt x="125105" y="160461"/>
                  </a:cubicBezTo>
                  <a:cubicBezTo>
                    <a:pt x="125105" y="163180"/>
                    <a:pt x="168620" y="160461"/>
                    <a:pt x="171339" y="163180"/>
                  </a:cubicBezTo>
                  <a:cubicBezTo>
                    <a:pt x="195816" y="157741"/>
                    <a:pt x="214854" y="135984"/>
                    <a:pt x="214854" y="108787"/>
                  </a:cubicBezTo>
                  <a:cubicBezTo>
                    <a:pt x="214854" y="88389"/>
                    <a:pt x="198026" y="74111"/>
                    <a:pt x="180433" y="73984"/>
                  </a:cubicBezTo>
                  <a:close/>
                  <a:moveTo>
                    <a:pt x="174059" y="0"/>
                  </a:moveTo>
                  <a:cubicBezTo>
                    <a:pt x="233891" y="0"/>
                    <a:pt x="337238" y="29916"/>
                    <a:pt x="337238" y="119665"/>
                  </a:cubicBezTo>
                  <a:cubicBezTo>
                    <a:pt x="337238" y="209414"/>
                    <a:pt x="244770" y="217573"/>
                    <a:pt x="133264" y="217573"/>
                  </a:cubicBezTo>
                  <a:cubicBezTo>
                    <a:pt x="133264" y="217573"/>
                    <a:pt x="149581" y="277405"/>
                    <a:pt x="225732" y="277405"/>
                  </a:cubicBezTo>
                  <a:cubicBezTo>
                    <a:pt x="301883" y="277405"/>
                    <a:pt x="320920" y="250208"/>
                    <a:pt x="320920" y="250208"/>
                  </a:cubicBezTo>
                  <a:cubicBezTo>
                    <a:pt x="320920" y="250208"/>
                    <a:pt x="315481" y="364434"/>
                    <a:pt x="174059" y="364434"/>
                  </a:cubicBezTo>
                  <a:cubicBezTo>
                    <a:pt x="95188" y="364434"/>
                    <a:pt x="0" y="304602"/>
                    <a:pt x="0" y="184937"/>
                  </a:cubicBezTo>
                  <a:cubicBezTo>
                    <a:pt x="0" y="78870"/>
                    <a:pt x="73431" y="0"/>
                    <a:pt x="174059" y="0"/>
                  </a:cubicBezTo>
                  <a:close/>
                </a:path>
              </a:pathLst>
            </a:custGeom>
            <a:solidFill>
              <a:srgbClr val="FFFFFF"/>
            </a:solidFill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807FB7B5-29BD-4658-B0F4-3060DF3C6929}"/>
                </a:ext>
              </a:extLst>
            </p:cNvPr>
            <p:cNvSpPr/>
            <p:nvPr/>
          </p:nvSpPr>
          <p:spPr>
            <a:xfrm>
              <a:off x="1218108" y="681231"/>
              <a:ext cx="104115" cy="160176"/>
            </a:xfrm>
            <a:custGeom>
              <a:avLst/>
              <a:gdLst>
                <a:gd name="connsiteX0" fmla="*/ 311107 w 353555"/>
                <a:gd name="connsiteY0" fmla="*/ 433663 h 543931"/>
                <a:gd name="connsiteX1" fmla="*/ 215919 w 353555"/>
                <a:gd name="connsiteY1" fmla="*/ 501654 h 543931"/>
                <a:gd name="connsiteX2" fmla="*/ 98973 w 353555"/>
                <a:gd name="connsiteY2" fmla="*/ 392868 h 543931"/>
                <a:gd name="connsiteX3" fmla="*/ 98973 w 353555"/>
                <a:gd name="connsiteY3" fmla="*/ 221530 h 543931"/>
                <a:gd name="connsiteX4" fmla="*/ 82655 w 353555"/>
                <a:gd name="connsiteY4" fmla="*/ 221530 h 543931"/>
                <a:gd name="connsiteX5" fmla="*/ 58178 w 353555"/>
                <a:gd name="connsiteY5" fmla="*/ 191614 h 543931"/>
                <a:gd name="connsiteX6" fmla="*/ 85375 w 353555"/>
                <a:gd name="connsiteY6" fmla="*/ 164417 h 543931"/>
                <a:gd name="connsiteX7" fmla="*/ 101693 w 353555"/>
                <a:gd name="connsiteY7" fmla="*/ 164417 h 543931"/>
                <a:gd name="connsiteX8" fmla="*/ 101693 w 353555"/>
                <a:gd name="connsiteY8" fmla="*/ 118183 h 543931"/>
                <a:gd name="connsiteX9" fmla="*/ 166965 w 353555"/>
                <a:gd name="connsiteY9" fmla="*/ 58350 h 543931"/>
                <a:gd name="connsiteX10" fmla="*/ 229517 w 353555"/>
                <a:gd name="connsiteY10" fmla="*/ 118183 h 543931"/>
                <a:gd name="connsiteX11" fmla="*/ 229517 w 353555"/>
                <a:gd name="connsiteY11" fmla="*/ 118183 h 543931"/>
                <a:gd name="connsiteX12" fmla="*/ 229517 w 353555"/>
                <a:gd name="connsiteY12" fmla="*/ 164417 h 543931"/>
                <a:gd name="connsiteX13" fmla="*/ 283910 w 353555"/>
                <a:gd name="connsiteY13" fmla="*/ 164417 h 543931"/>
                <a:gd name="connsiteX14" fmla="*/ 308387 w 353555"/>
                <a:gd name="connsiteY14" fmla="*/ 194333 h 543931"/>
                <a:gd name="connsiteX15" fmla="*/ 281190 w 353555"/>
                <a:gd name="connsiteY15" fmla="*/ 221530 h 543931"/>
                <a:gd name="connsiteX16" fmla="*/ 229517 w 353555"/>
                <a:gd name="connsiteY16" fmla="*/ 221530 h 543931"/>
                <a:gd name="connsiteX17" fmla="*/ 229517 w 353555"/>
                <a:gd name="connsiteY17" fmla="*/ 365671 h 543931"/>
                <a:gd name="connsiteX18" fmla="*/ 311107 w 353555"/>
                <a:gd name="connsiteY18" fmla="*/ 433663 h 5439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353555" h="543931">
                  <a:moveTo>
                    <a:pt x="311107" y="433663"/>
                  </a:moveTo>
                  <a:cubicBezTo>
                    <a:pt x="311107" y="433663"/>
                    <a:pt x="278471" y="501654"/>
                    <a:pt x="215919" y="501654"/>
                  </a:cubicBezTo>
                  <a:cubicBezTo>
                    <a:pt x="164245" y="501654"/>
                    <a:pt x="101693" y="458140"/>
                    <a:pt x="98973" y="392868"/>
                  </a:cubicBezTo>
                  <a:cubicBezTo>
                    <a:pt x="98973" y="392868"/>
                    <a:pt x="98973" y="297680"/>
                    <a:pt x="98973" y="221530"/>
                  </a:cubicBezTo>
                  <a:lnTo>
                    <a:pt x="82655" y="221530"/>
                  </a:lnTo>
                  <a:cubicBezTo>
                    <a:pt x="74496" y="221530"/>
                    <a:pt x="58178" y="216090"/>
                    <a:pt x="58178" y="191614"/>
                  </a:cubicBezTo>
                  <a:cubicBezTo>
                    <a:pt x="58178" y="167137"/>
                    <a:pt x="77216" y="164417"/>
                    <a:pt x="85375" y="164417"/>
                  </a:cubicBezTo>
                  <a:lnTo>
                    <a:pt x="101693" y="164417"/>
                  </a:lnTo>
                  <a:cubicBezTo>
                    <a:pt x="101693" y="137220"/>
                    <a:pt x="101693" y="118183"/>
                    <a:pt x="101693" y="118183"/>
                  </a:cubicBezTo>
                  <a:cubicBezTo>
                    <a:pt x="104413" y="85547"/>
                    <a:pt x="134329" y="55631"/>
                    <a:pt x="166965" y="58350"/>
                  </a:cubicBezTo>
                  <a:cubicBezTo>
                    <a:pt x="196881" y="61070"/>
                    <a:pt x="229517" y="85547"/>
                    <a:pt x="229517" y="118183"/>
                  </a:cubicBezTo>
                  <a:lnTo>
                    <a:pt x="229517" y="118183"/>
                  </a:lnTo>
                  <a:lnTo>
                    <a:pt x="229517" y="164417"/>
                  </a:lnTo>
                  <a:lnTo>
                    <a:pt x="283910" y="164417"/>
                  </a:lnTo>
                  <a:cubicBezTo>
                    <a:pt x="292069" y="164417"/>
                    <a:pt x="308387" y="169856"/>
                    <a:pt x="308387" y="194333"/>
                  </a:cubicBezTo>
                  <a:cubicBezTo>
                    <a:pt x="308387" y="218810"/>
                    <a:pt x="292069" y="221530"/>
                    <a:pt x="281190" y="221530"/>
                  </a:cubicBezTo>
                  <a:lnTo>
                    <a:pt x="229517" y="221530"/>
                  </a:lnTo>
                  <a:lnTo>
                    <a:pt x="229517" y="365671"/>
                  </a:lnTo>
                  <a:cubicBezTo>
                    <a:pt x="226797" y="409186"/>
                    <a:pt x="267592" y="433663"/>
                    <a:pt x="311107" y="433663"/>
                  </a:cubicBezTo>
                </a:path>
              </a:pathLst>
            </a:custGeom>
            <a:solidFill>
              <a:srgbClr val="FFFFFF"/>
            </a:solidFill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B3D9ECEB-1AF5-494A-ABA9-58D2377DA5A4}"/>
                </a:ext>
              </a:extLst>
            </p:cNvPr>
            <p:cNvSpPr/>
            <p:nvPr/>
          </p:nvSpPr>
          <p:spPr>
            <a:xfrm>
              <a:off x="1722663" y="681231"/>
              <a:ext cx="104115" cy="160176"/>
            </a:xfrm>
            <a:custGeom>
              <a:avLst/>
              <a:gdLst>
                <a:gd name="connsiteX0" fmla="*/ 311107 w 353555"/>
                <a:gd name="connsiteY0" fmla="*/ 433663 h 543931"/>
                <a:gd name="connsiteX1" fmla="*/ 215919 w 353555"/>
                <a:gd name="connsiteY1" fmla="*/ 501654 h 543931"/>
                <a:gd name="connsiteX2" fmla="*/ 98973 w 353555"/>
                <a:gd name="connsiteY2" fmla="*/ 392868 h 543931"/>
                <a:gd name="connsiteX3" fmla="*/ 98973 w 353555"/>
                <a:gd name="connsiteY3" fmla="*/ 221530 h 543931"/>
                <a:gd name="connsiteX4" fmla="*/ 82655 w 353555"/>
                <a:gd name="connsiteY4" fmla="*/ 221530 h 543931"/>
                <a:gd name="connsiteX5" fmla="*/ 58178 w 353555"/>
                <a:gd name="connsiteY5" fmla="*/ 191614 h 543931"/>
                <a:gd name="connsiteX6" fmla="*/ 85375 w 353555"/>
                <a:gd name="connsiteY6" fmla="*/ 164417 h 543931"/>
                <a:gd name="connsiteX7" fmla="*/ 101693 w 353555"/>
                <a:gd name="connsiteY7" fmla="*/ 164417 h 543931"/>
                <a:gd name="connsiteX8" fmla="*/ 101693 w 353555"/>
                <a:gd name="connsiteY8" fmla="*/ 118183 h 543931"/>
                <a:gd name="connsiteX9" fmla="*/ 166965 w 353555"/>
                <a:gd name="connsiteY9" fmla="*/ 58350 h 543931"/>
                <a:gd name="connsiteX10" fmla="*/ 229517 w 353555"/>
                <a:gd name="connsiteY10" fmla="*/ 118183 h 543931"/>
                <a:gd name="connsiteX11" fmla="*/ 229517 w 353555"/>
                <a:gd name="connsiteY11" fmla="*/ 118183 h 543931"/>
                <a:gd name="connsiteX12" fmla="*/ 229517 w 353555"/>
                <a:gd name="connsiteY12" fmla="*/ 164417 h 543931"/>
                <a:gd name="connsiteX13" fmla="*/ 283910 w 353555"/>
                <a:gd name="connsiteY13" fmla="*/ 164417 h 543931"/>
                <a:gd name="connsiteX14" fmla="*/ 308387 w 353555"/>
                <a:gd name="connsiteY14" fmla="*/ 194333 h 543931"/>
                <a:gd name="connsiteX15" fmla="*/ 281190 w 353555"/>
                <a:gd name="connsiteY15" fmla="*/ 221530 h 543931"/>
                <a:gd name="connsiteX16" fmla="*/ 229517 w 353555"/>
                <a:gd name="connsiteY16" fmla="*/ 221530 h 543931"/>
                <a:gd name="connsiteX17" fmla="*/ 229517 w 353555"/>
                <a:gd name="connsiteY17" fmla="*/ 365671 h 543931"/>
                <a:gd name="connsiteX18" fmla="*/ 311107 w 353555"/>
                <a:gd name="connsiteY18" fmla="*/ 433663 h 5439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353555" h="543931">
                  <a:moveTo>
                    <a:pt x="311107" y="433663"/>
                  </a:moveTo>
                  <a:cubicBezTo>
                    <a:pt x="311107" y="433663"/>
                    <a:pt x="278471" y="501654"/>
                    <a:pt x="215919" y="501654"/>
                  </a:cubicBezTo>
                  <a:cubicBezTo>
                    <a:pt x="164245" y="501654"/>
                    <a:pt x="101693" y="458140"/>
                    <a:pt x="98973" y="392868"/>
                  </a:cubicBezTo>
                  <a:cubicBezTo>
                    <a:pt x="98973" y="392868"/>
                    <a:pt x="98973" y="297680"/>
                    <a:pt x="98973" y="221530"/>
                  </a:cubicBezTo>
                  <a:lnTo>
                    <a:pt x="82655" y="221530"/>
                  </a:lnTo>
                  <a:cubicBezTo>
                    <a:pt x="74496" y="221530"/>
                    <a:pt x="58178" y="216090"/>
                    <a:pt x="58178" y="191614"/>
                  </a:cubicBezTo>
                  <a:cubicBezTo>
                    <a:pt x="58178" y="167137"/>
                    <a:pt x="77216" y="164417"/>
                    <a:pt x="85375" y="164417"/>
                  </a:cubicBezTo>
                  <a:lnTo>
                    <a:pt x="101693" y="164417"/>
                  </a:lnTo>
                  <a:cubicBezTo>
                    <a:pt x="101693" y="137220"/>
                    <a:pt x="101693" y="118183"/>
                    <a:pt x="101693" y="118183"/>
                  </a:cubicBezTo>
                  <a:cubicBezTo>
                    <a:pt x="104412" y="85547"/>
                    <a:pt x="134329" y="55631"/>
                    <a:pt x="166965" y="58350"/>
                  </a:cubicBezTo>
                  <a:cubicBezTo>
                    <a:pt x="196881" y="61070"/>
                    <a:pt x="229517" y="85547"/>
                    <a:pt x="229517" y="118183"/>
                  </a:cubicBezTo>
                  <a:lnTo>
                    <a:pt x="229517" y="118183"/>
                  </a:lnTo>
                  <a:lnTo>
                    <a:pt x="229517" y="164417"/>
                  </a:lnTo>
                  <a:lnTo>
                    <a:pt x="283910" y="164417"/>
                  </a:lnTo>
                  <a:cubicBezTo>
                    <a:pt x="292069" y="164417"/>
                    <a:pt x="308387" y="169856"/>
                    <a:pt x="308387" y="194333"/>
                  </a:cubicBezTo>
                  <a:cubicBezTo>
                    <a:pt x="308387" y="218810"/>
                    <a:pt x="292069" y="221530"/>
                    <a:pt x="281190" y="221530"/>
                  </a:cubicBezTo>
                  <a:lnTo>
                    <a:pt x="229517" y="221530"/>
                  </a:lnTo>
                  <a:lnTo>
                    <a:pt x="229517" y="365671"/>
                  </a:lnTo>
                  <a:cubicBezTo>
                    <a:pt x="229517" y="409186"/>
                    <a:pt x="270312" y="433663"/>
                    <a:pt x="311107" y="433663"/>
                  </a:cubicBezTo>
                </a:path>
              </a:pathLst>
            </a:custGeom>
            <a:solidFill>
              <a:srgbClr val="FFFFFF"/>
            </a:solidFill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</p:grpSp>
      <p:sp>
        <p:nvSpPr>
          <p:cNvPr id="34" name="Content Placeholder 2">
            <a:extLst>
              <a:ext uri="{FF2B5EF4-FFF2-40B4-BE49-F238E27FC236}">
                <a16:creationId xmlns:a16="http://schemas.microsoft.com/office/drawing/2014/main" id="{E442ECE1-0628-4823-BE59-38ECBEA38F98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81000" y="1565269"/>
            <a:ext cx="11430000" cy="51054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 or choose an icon below to insert other conten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5" name="Graphic 2">
            <a:extLst>
              <a:ext uri="{FF2B5EF4-FFF2-40B4-BE49-F238E27FC236}">
                <a16:creationId xmlns:a16="http://schemas.microsoft.com/office/drawing/2014/main" id="{8B489ADF-096C-4552-B715-86471BE9D2E0}"/>
              </a:ext>
            </a:extLst>
          </p:cNvPr>
          <p:cNvSpPr/>
          <p:nvPr userDrawn="1"/>
        </p:nvSpPr>
        <p:spPr>
          <a:xfrm>
            <a:off x="163902" y="6451601"/>
            <a:ext cx="11922081" cy="307007"/>
          </a:xfrm>
          <a:custGeom>
            <a:avLst/>
            <a:gdLst>
              <a:gd name="connsiteX0" fmla="*/ 7391400 w 7391400"/>
              <a:gd name="connsiteY0" fmla="*/ 45500 h 473512"/>
              <a:gd name="connsiteX1" fmla="*/ 7364837 w 7391400"/>
              <a:gd name="connsiteY1" fmla="*/ 40495 h 473512"/>
              <a:gd name="connsiteX2" fmla="*/ 6945606 w 7391400"/>
              <a:gd name="connsiteY2" fmla="*/ 20862 h 473512"/>
              <a:gd name="connsiteX3" fmla="*/ 5507363 w 7391400"/>
              <a:gd name="connsiteY3" fmla="*/ 50889 h 473512"/>
              <a:gd name="connsiteX4" fmla="*/ 4159587 w 7391400"/>
              <a:gd name="connsiteY4" fmla="*/ 73 h 473512"/>
              <a:gd name="connsiteX5" fmla="*/ 1666530 w 7391400"/>
              <a:gd name="connsiteY5" fmla="*/ 30486 h 473512"/>
              <a:gd name="connsiteX6" fmla="*/ 498535 w 7391400"/>
              <a:gd name="connsiteY6" fmla="*/ 31256 h 473512"/>
              <a:gd name="connsiteX7" fmla="*/ 169771 w 7391400"/>
              <a:gd name="connsiteY7" fmla="*/ 17012 h 473512"/>
              <a:gd name="connsiteX8" fmla="*/ 0 w 7391400"/>
              <a:gd name="connsiteY8" fmla="*/ 28561 h 473512"/>
              <a:gd name="connsiteX9" fmla="*/ 0 w 7391400"/>
              <a:gd name="connsiteY9" fmla="*/ 421614 h 473512"/>
              <a:gd name="connsiteX10" fmla="*/ 52741 w 7391400"/>
              <a:gd name="connsiteY10" fmla="*/ 433163 h 473512"/>
              <a:gd name="connsiteX11" fmla="*/ 471972 w 7391400"/>
              <a:gd name="connsiteY11" fmla="*/ 452797 h 473512"/>
              <a:gd name="connsiteX12" fmla="*/ 1910215 w 7391400"/>
              <a:gd name="connsiteY12" fmla="*/ 422769 h 473512"/>
              <a:gd name="connsiteX13" fmla="*/ 3257991 w 7391400"/>
              <a:gd name="connsiteY13" fmla="*/ 473585 h 473512"/>
              <a:gd name="connsiteX14" fmla="*/ 5750664 w 7391400"/>
              <a:gd name="connsiteY14" fmla="*/ 443173 h 473512"/>
              <a:gd name="connsiteX15" fmla="*/ 6918658 w 7391400"/>
              <a:gd name="connsiteY15" fmla="*/ 442403 h 473512"/>
              <a:gd name="connsiteX16" fmla="*/ 7247422 w 7391400"/>
              <a:gd name="connsiteY16" fmla="*/ 456262 h 473512"/>
              <a:gd name="connsiteX17" fmla="*/ 7391400 w 7391400"/>
              <a:gd name="connsiteY17" fmla="*/ 447792 h 473512"/>
              <a:gd name="connsiteX18" fmla="*/ 7391400 w 7391400"/>
              <a:gd name="connsiteY18" fmla="*/ 45500 h 4735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7391400" h="473512">
                <a:moveTo>
                  <a:pt x="7391400" y="45500"/>
                </a:moveTo>
                <a:cubicBezTo>
                  <a:pt x="7382931" y="43575"/>
                  <a:pt x="7374077" y="42035"/>
                  <a:pt x="7364837" y="40495"/>
                </a:cubicBezTo>
                <a:cubicBezTo>
                  <a:pt x="7248192" y="21246"/>
                  <a:pt x="7091125" y="20477"/>
                  <a:pt x="6945606" y="20862"/>
                </a:cubicBezTo>
                <a:cubicBezTo>
                  <a:pt x="6397411" y="21631"/>
                  <a:pt x="6055559" y="50889"/>
                  <a:pt x="5507363" y="50889"/>
                </a:cubicBezTo>
                <a:cubicBezTo>
                  <a:pt x="5113925" y="50889"/>
                  <a:pt x="4553796" y="-2237"/>
                  <a:pt x="4159587" y="73"/>
                </a:cubicBezTo>
                <a:cubicBezTo>
                  <a:pt x="3109393" y="5463"/>
                  <a:pt x="2715955" y="23171"/>
                  <a:pt x="1666530" y="30486"/>
                </a:cubicBezTo>
                <a:cubicBezTo>
                  <a:pt x="1497913" y="31641"/>
                  <a:pt x="665226" y="32411"/>
                  <a:pt x="498535" y="31256"/>
                </a:cubicBezTo>
                <a:cubicBezTo>
                  <a:pt x="393823" y="30486"/>
                  <a:pt x="269093" y="14702"/>
                  <a:pt x="169771" y="17012"/>
                </a:cubicBezTo>
                <a:cubicBezTo>
                  <a:pt x="100477" y="18552"/>
                  <a:pt x="44656" y="22401"/>
                  <a:pt x="0" y="28561"/>
                </a:cubicBezTo>
                <a:lnTo>
                  <a:pt x="0" y="421614"/>
                </a:lnTo>
                <a:cubicBezTo>
                  <a:pt x="16169" y="426234"/>
                  <a:pt x="33492" y="430084"/>
                  <a:pt x="52741" y="433163"/>
                </a:cubicBezTo>
                <a:cubicBezTo>
                  <a:pt x="169386" y="452412"/>
                  <a:pt x="326454" y="453182"/>
                  <a:pt x="471972" y="452797"/>
                </a:cubicBezTo>
                <a:cubicBezTo>
                  <a:pt x="1020167" y="452027"/>
                  <a:pt x="1362019" y="422769"/>
                  <a:pt x="1910215" y="422769"/>
                </a:cubicBezTo>
                <a:cubicBezTo>
                  <a:pt x="2303653" y="422769"/>
                  <a:pt x="2863783" y="475895"/>
                  <a:pt x="3257991" y="473585"/>
                </a:cubicBezTo>
                <a:cubicBezTo>
                  <a:pt x="4307801" y="468196"/>
                  <a:pt x="4701238" y="450102"/>
                  <a:pt x="5750664" y="443173"/>
                </a:cubicBezTo>
                <a:cubicBezTo>
                  <a:pt x="5919280" y="442018"/>
                  <a:pt x="6751967" y="441248"/>
                  <a:pt x="6918658" y="442403"/>
                </a:cubicBezTo>
                <a:cubicBezTo>
                  <a:pt x="7023370" y="443173"/>
                  <a:pt x="7148100" y="458571"/>
                  <a:pt x="7247422" y="456262"/>
                </a:cubicBezTo>
                <a:cubicBezTo>
                  <a:pt x="7304013" y="455107"/>
                  <a:pt x="7351748" y="452027"/>
                  <a:pt x="7391400" y="447792"/>
                </a:cubicBezTo>
                <a:lnTo>
                  <a:pt x="7391400" y="45500"/>
                </a:lnTo>
                <a:close/>
              </a:path>
            </a:pathLst>
          </a:custGeom>
          <a:solidFill>
            <a:srgbClr val="EAAB5E"/>
          </a:solidFill>
          <a:ln w="3850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1350" dirty="0"/>
          </a:p>
        </p:txBody>
      </p:sp>
      <p:sp>
        <p:nvSpPr>
          <p:cNvPr id="36" name="Graphic 2">
            <a:extLst>
              <a:ext uri="{FF2B5EF4-FFF2-40B4-BE49-F238E27FC236}">
                <a16:creationId xmlns:a16="http://schemas.microsoft.com/office/drawing/2014/main" id="{6505EF19-86FD-422C-A00F-2578FDFEC02A}"/>
              </a:ext>
            </a:extLst>
          </p:cNvPr>
          <p:cNvSpPr/>
          <p:nvPr userDrawn="1"/>
        </p:nvSpPr>
        <p:spPr>
          <a:xfrm>
            <a:off x="112314" y="152401"/>
            <a:ext cx="11922081" cy="307007"/>
          </a:xfrm>
          <a:custGeom>
            <a:avLst/>
            <a:gdLst>
              <a:gd name="connsiteX0" fmla="*/ 7391400 w 7391400"/>
              <a:gd name="connsiteY0" fmla="*/ 45500 h 473512"/>
              <a:gd name="connsiteX1" fmla="*/ 7364837 w 7391400"/>
              <a:gd name="connsiteY1" fmla="*/ 40495 h 473512"/>
              <a:gd name="connsiteX2" fmla="*/ 6945606 w 7391400"/>
              <a:gd name="connsiteY2" fmla="*/ 20862 h 473512"/>
              <a:gd name="connsiteX3" fmla="*/ 5507363 w 7391400"/>
              <a:gd name="connsiteY3" fmla="*/ 50889 h 473512"/>
              <a:gd name="connsiteX4" fmla="*/ 4159587 w 7391400"/>
              <a:gd name="connsiteY4" fmla="*/ 73 h 473512"/>
              <a:gd name="connsiteX5" fmla="*/ 1666530 w 7391400"/>
              <a:gd name="connsiteY5" fmla="*/ 30486 h 473512"/>
              <a:gd name="connsiteX6" fmla="*/ 498535 w 7391400"/>
              <a:gd name="connsiteY6" fmla="*/ 31256 h 473512"/>
              <a:gd name="connsiteX7" fmla="*/ 169771 w 7391400"/>
              <a:gd name="connsiteY7" fmla="*/ 17012 h 473512"/>
              <a:gd name="connsiteX8" fmla="*/ 0 w 7391400"/>
              <a:gd name="connsiteY8" fmla="*/ 28561 h 473512"/>
              <a:gd name="connsiteX9" fmla="*/ 0 w 7391400"/>
              <a:gd name="connsiteY9" fmla="*/ 421614 h 473512"/>
              <a:gd name="connsiteX10" fmla="*/ 52741 w 7391400"/>
              <a:gd name="connsiteY10" fmla="*/ 433163 h 473512"/>
              <a:gd name="connsiteX11" fmla="*/ 471972 w 7391400"/>
              <a:gd name="connsiteY11" fmla="*/ 452797 h 473512"/>
              <a:gd name="connsiteX12" fmla="*/ 1910215 w 7391400"/>
              <a:gd name="connsiteY12" fmla="*/ 422769 h 473512"/>
              <a:gd name="connsiteX13" fmla="*/ 3257991 w 7391400"/>
              <a:gd name="connsiteY13" fmla="*/ 473585 h 473512"/>
              <a:gd name="connsiteX14" fmla="*/ 5750664 w 7391400"/>
              <a:gd name="connsiteY14" fmla="*/ 443173 h 473512"/>
              <a:gd name="connsiteX15" fmla="*/ 6918658 w 7391400"/>
              <a:gd name="connsiteY15" fmla="*/ 442403 h 473512"/>
              <a:gd name="connsiteX16" fmla="*/ 7247422 w 7391400"/>
              <a:gd name="connsiteY16" fmla="*/ 456262 h 473512"/>
              <a:gd name="connsiteX17" fmla="*/ 7391400 w 7391400"/>
              <a:gd name="connsiteY17" fmla="*/ 447792 h 473512"/>
              <a:gd name="connsiteX18" fmla="*/ 7391400 w 7391400"/>
              <a:gd name="connsiteY18" fmla="*/ 45500 h 4735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7391400" h="473512">
                <a:moveTo>
                  <a:pt x="7391400" y="45500"/>
                </a:moveTo>
                <a:cubicBezTo>
                  <a:pt x="7382931" y="43575"/>
                  <a:pt x="7374077" y="42035"/>
                  <a:pt x="7364837" y="40495"/>
                </a:cubicBezTo>
                <a:cubicBezTo>
                  <a:pt x="7248192" y="21246"/>
                  <a:pt x="7091125" y="20477"/>
                  <a:pt x="6945606" y="20862"/>
                </a:cubicBezTo>
                <a:cubicBezTo>
                  <a:pt x="6397411" y="21631"/>
                  <a:pt x="6055559" y="50889"/>
                  <a:pt x="5507363" y="50889"/>
                </a:cubicBezTo>
                <a:cubicBezTo>
                  <a:pt x="5113925" y="50889"/>
                  <a:pt x="4553796" y="-2237"/>
                  <a:pt x="4159587" y="73"/>
                </a:cubicBezTo>
                <a:cubicBezTo>
                  <a:pt x="3109393" y="5463"/>
                  <a:pt x="2715955" y="23171"/>
                  <a:pt x="1666530" y="30486"/>
                </a:cubicBezTo>
                <a:cubicBezTo>
                  <a:pt x="1497913" y="31641"/>
                  <a:pt x="665226" y="32411"/>
                  <a:pt x="498535" y="31256"/>
                </a:cubicBezTo>
                <a:cubicBezTo>
                  <a:pt x="393823" y="30486"/>
                  <a:pt x="269093" y="14702"/>
                  <a:pt x="169771" y="17012"/>
                </a:cubicBezTo>
                <a:cubicBezTo>
                  <a:pt x="100477" y="18552"/>
                  <a:pt x="44656" y="22401"/>
                  <a:pt x="0" y="28561"/>
                </a:cubicBezTo>
                <a:lnTo>
                  <a:pt x="0" y="421614"/>
                </a:lnTo>
                <a:cubicBezTo>
                  <a:pt x="16169" y="426234"/>
                  <a:pt x="33492" y="430084"/>
                  <a:pt x="52741" y="433163"/>
                </a:cubicBezTo>
                <a:cubicBezTo>
                  <a:pt x="169386" y="452412"/>
                  <a:pt x="326454" y="453182"/>
                  <a:pt x="471972" y="452797"/>
                </a:cubicBezTo>
                <a:cubicBezTo>
                  <a:pt x="1020167" y="452027"/>
                  <a:pt x="1362019" y="422769"/>
                  <a:pt x="1910215" y="422769"/>
                </a:cubicBezTo>
                <a:cubicBezTo>
                  <a:pt x="2303653" y="422769"/>
                  <a:pt x="2863783" y="475895"/>
                  <a:pt x="3257991" y="473585"/>
                </a:cubicBezTo>
                <a:cubicBezTo>
                  <a:pt x="4307801" y="468196"/>
                  <a:pt x="4701238" y="450102"/>
                  <a:pt x="5750664" y="443173"/>
                </a:cubicBezTo>
                <a:cubicBezTo>
                  <a:pt x="5919280" y="442018"/>
                  <a:pt x="6751967" y="441248"/>
                  <a:pt x="6918658" y="442403"/>
                </a:cubicBezTo>
                <a:cubicBezTo>
                  <a:pt x="7023370" y="443173"/>
                  <a:pt x="7148100" y="458571"/>
                  <a:pt x="7247422" y="456262"/>
                </a:cubicBezTo>
                <a:cubicBezTo>
                  <a:pt x="7304013" y="455107"/>
                  <a:pt x="7351748" y="452027"/>
                  <a:pt x="7391400" y="447792"/>
                </a:cubicBezTo>
                <a:lnTo>
                  <a:pt x="7391400" y="45500"/>
                </a:lnTo>
                <a:close/>
              </a:path>
            </a:pathLst>
          </a:custGeom>
          <a:solidFill>
            <a:srgbClr val="957AA9"/>
          </a:solidFill>
          <a:ln w="3850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1350" dirty="0"/>
          </a:p>
        </p:txBody>
      </p:sp>
    </p:spTree>
    <p:extLst>
      <p:ext uri="{BB962C8B-B14F-4D97-AF65-F5344CB8AC3E}">
        <p14:creationId xmlns:p14="http://schemas.microsoft.com/office/powerpoint/2010/main" val="37151062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Circle Pictur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10">
            <a:extLst>
              <a:ext uri="{FF2B5EF4-FFF2-40B4-BE49-F238E27FC236}">
                <a16:creationId xmlns:a16="http://schemas.microsoft.com/office/drawing/2014/main" id="{655B1FCA-4D49-4122-B6E9-D550AA0C5E76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2"/>
            <a:ext cx="5266036" cy="6857999"/>
          </a:xfrm>
          <a:custGeom>
            <a:avLst/>
            <a:gdLst>
              <a:gd name="connsiteX0" fmla="*/ 0 w 5266036"/>
              <a:gd name="connsiteY0" fmla="*/ 0 h 6857999"/>
              <a:gd name="connsiteX1" fmla="*/ 3014696 w 5266036"/>
              <a:gd name="connsiteY1" fmla="*/ 0 h 6857999"/>
              <a:gd name="connsiteX2" fmla="*/ 3040982 w 5266036"/>
              <a:gd name="connsiteY2" fmla="*/ 11408 h 6857999"/>
              <a:gd name="connsiteX3" fmla="*/ 5250901 w 5266036"/>
              <a:gd name="connsiteY3" fmla="*/ 4085922 h 6857999"/>
              <a:gd name="connsiteX4" fmla="*/ 3435696 w 5266036"/>
              <a:gd name="connsiteY4" fmla="*/ 6839477 h 6857999"/>
              <a:gd name="connsiteX5" fmla="*/ 3398838 w 5266036"/>
              <a:gd name="connsiteY5" fmla="*/ 6857999 h 6857999"/>
              <a:gd name="connsiteX6" fmla="*/ 0 w 5266036"/>
              <a:gd name="connsiteY6" fmla="*/ 6857999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266036" h="6857999">
                <a:moveTo>
                  <a:pt x="0" y="0"/>
                </a:moveTo>
                <a:lnTo>
                  <a:pt x="3014696" y="0"/>
                </a:lnTo>
                <a:lnTo>
                  <a:pt x="3040982" y="11408"/>
                </a:lnTo>
                <a:cubicBezTo>
                  <a:pt x="4562919" y="717837"/>
                  <a:pt x="5390071" y="2397951"/>
                  <a:pt x="5250901" y="4085922"/>
                </a:cubicBezTo>
                <a:cubicBezTo>
                  <a:pt x="5138669" y="5484335"/>
                  <a:pt x="4361602" y="6343612"/>
                  <a:pt x="3435696" y="6839477"/>
                </a:cubicBezTo>
                <a:lnTo>
                  <a:pt x="3398838" y="6857999"/>
                </a:lnTo>
                <a:lnTo>
                  <a:pt x="0" y="6857999"/>
                </a:lnTo>
                <a:close/>
              </a:path>
            </a:pathLst>
          </a:custGeom>
          <a:solidFill>
            <a:srgbClr val="D9D9D9"/>
          </a:solidFill>
        </p:spPr>
        <p:txBody>
          <a:bodyPr wrap="square" tIns="3657600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Arial" panose="020B0604020202020204" pitchFamily="34" charset="0"/>
              <a:buNone/>
              <a:tabLst/>
              <a:defRPr sz="160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insert picture</a:t>
            </a:r>
            <a:br>
              <a:rPr lang="en-US"/>
            </a:br>
            <a:r>
              <a:rPr lang="en-US"/>
              <a:t>(minimum recommended size for </a:t>
            </a:r>
            <a:br>
              <a:rPr lang="en-US"/>
            </a:br>
            <a:r>
              <a:rPr lang="en-US"/>
              <a:t>half slide image is 640 x 720 pixels)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76608E2E-E744-4878-A234-60F6B6711C8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096000" y="3306349"/>
            <a:ext cx="5638800" cy="72208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2000"/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Subtitle or Presenter Name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3534CB02-81D9-4803-9899-8E6A2EABA97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0" y="457200"/>
            <a:ext cx="5715000" cy="2565401"/>
          </a:xfrm>
          <a:prstGeom prst="rect">
            <a:avLst/>
          </a:prstGeom>
        </p:spPr>
        <p:txBody>
          <a:bodyPr/>
          <a:lstStyle>
            <a:lvl1pPr>
              <a:lnSpc>
                <a:spcPct val="82000"/>
              </a:lnSpc>
              <a:defRPr sz="6600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8A3D9FA7-D2DB-46FB-BE00-B926A730276E}"/>
              </a:ext>
            </a:extLst>
          </p:cNvPr>
          <p:cNvGrpSpPr>
            <a:grpSpLocks noChangeAspect="1"/>
          </p:cNvGrpSpPr>
          <p:nvPr/>
        </p:nvGrpSpPr>
        <p:grpSpPr>
          <a:xfrm>
            <a:off x="9544152" y="5543531"/>
            <a:ext cx="2286000" cy="880288"/>
            <a:chOff x="2078951" y="1888610"/>
            <a:chExt cx="8030200" cy="3092248"/>
          </a:xfrm>
          <a:solidFill>
            <a:srgbClr val="FFFFFF"/>
          </a:solidFill>
        </p:grpSpPr>
        <p:sp>
          <p:nvSpPr>
            <p:cNvPr id="7" name="Freeform: Shape 6">
              <a:extLst>
                <a:ext uri="{FF2B5EF4-FFF2-40B4-BE49-F238E27FC236}">
                  <a16:creationId xmlns:a16="http://schemas.microsoft.com/office/drawing/2014/main" id="{958E2998-F3DA-4CEC-9A7D-6C088E1B4977}"/>
                </a:ext>
              </a:extLst>
            </p:cNvPr>
            <p:cNvSpPr/>
            <p:nvPr/>
          </p:nvSpPr>
          <p:spPr>
            <a:xfrm>
              <a:off x="2078951" y="2872694"/>
              <a:ext cx="951880" cy="652717"/>
            </a:xfrm>
            <a:custGeom>
              <a:avLst/>
              <a:gdLst>
                <a:gd name="connsiteX0" fmla="*/ 903041 w 951880"/>
                <a:gd name="connsiteY0" fmla="*/ 330574 h 652717"/>
                <a:gd name="connsiteX1" fmla="*/ 780656 w 951880"/>
                <a:gd name="connsiteY1" fmla="*/ 379528 h 652717"/>
                <a:gd name="connsiteX2" fmla="*/ 598439 w 951880"/>
                <a:gd name="connsiteY2" fmla="*/ 311537 h 652717"/>
                <a:gd name="connsiteX3" fmla="*/ 505970 w 951880"/>
                <a:gd name="connsiteY3" fmla="*/ 164675 h 652717"/>
                <a:gd name="connsiteX4" fmla="*/ 266640 w 951880"/>
                <a:gd name="connsiteY4" fmla="*/ 61329 h 652717"/>
                <a:gd name="connsiteX5" fmla="*/ 103461 w 951880"/>
                <a:gd name="connsiteY5" fmla="*/ 458398 h 652717"/>
                <a:gd name="connsiteX6" fmla="*/ 756179 w 951880"/>
                <a:gd name="connsiteY6" fmla="*/ 485595 h 652717"/>
                <a:gd name="connsiteX7" fmla="*/ 903041 w 951880"/>
                <a:gd name="connsiteY7" fmla="*/ 330574 h 6527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51880" h="652717">
                  <a:moveTo>
                    <a:pt x="903041" y="330574"/>
                  </a:moveTo>
                  <a:cubicBezTo>
                    <a:pt x="867685" y="363210"/>
                    <a:pt x="813292" y="374089"/>
                    <a:pt x="780656" y="379528"/>
                  </a:cubicBezTo>
                  <a:cubicBezTo>
                    <a:pt x="712664" y="387687"/>
                    <a:pt x="641953" y="365930"/>
                    <a:pt x="598439" y="311537"/>
                  </a:cubicBezTo>
                  <a:cubicBezTo>
                    <a:pt x="563083" y="268022"/>
                    <a:pt x="544046" y="210910"/>
                    <a:pt x="505970" y="164675"/>
                  </a:cubicBezTo>
                  <a:cubicBezTo>
                    <a:pt x="448858" y="93964"/>
                    <a:pt x="359109" y="45011"/>
                    <a:pt x="266640" y="61329"/>
                  </a:cubicBezTo>
                  <a:cubicBezTo>
                    <a:pt x="81704" y="93964"/>
                    <a:pt x="114" y="308817"/>
                    <a:pt x="103461" y="458398"/>
                  </a:cubicBezTo>
                  <a:cubicBezTo>
                    <a:pt x="253042" y="670531"/>
                    <a:pt x="584840" y="635176"/>
                    <a:pt x="756179" y="485595"/>
                  </a:cubicBezTo>
                  <a:cubicBezTo>
                    <a:pt x="813292" y="442080"/>
                    <a:pt x="862246" y="390407"/>
                    <a:pt x="903041" y="330574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" name="Freeform: Shape 8">
              <a:extLst>
                <a:ext uri="{FF2B5EF4-FFF2-40B4-BE49-F238E27FC236}">
                  <a16:creationId xmlns:a16="http://schemas.microsoft.com/office/drawing/2014/main" id="{994CA604-4385-462E-97F5-497C4C504015}"/>
                </a:ext>
              </a:extLst>
            </p:cNvPr>
            <p:cNvSpPr/>
            <p:nvPr/>
          </p:nvSpPr>
          <p:spPr>
            <a:xfrm>
              <a:off x="9151831" y="2872694"/>
              <a:ext cx="951880" cy="652717"/>
            </a:xfrm>
            <a:custGeom>
              <a:avLst/>
              <a:gdLst>
                <a:gd name="connsiteX0" fmla="*/ 58178 w 951880"/>
                <a:gd name="connsiteY0" fmla="*/ 330574 h 652717"/>
                <a:gd name="connsiteX1" fmla="*/ 180563 w 951880"/>
                <a:gd name="connsiteY1" fmla="*/ 379528 h 652717"/>
                <a:gd name="connsiteX2" fmla="*/ 362780 w 951880"/>
                <a:gd name="connsiteY2" fmla="*/ 311537 h 652717"/>
                <a:gd name="connsiteX3" fmla="*/ 455249 w 951880"/>
                <a:gd name="connsiteY3" fmla="*/ 164675 h 652717"/>
                <a:gd name="connsiteX4" fmla="*/ 694578 w 951880"/>
                <a:gd name="connsiteY4" fmla="*/ 61329 h 652717"/>
                <a:gd name="connsiteX5" fmla="*/ 857758 w 951880"/>
                <a:gd name="connsiteY5" fmla="*/ 458398 h 652717"/>
                <a:gd name="connsiteX6" fmla="*/ 205040 w 951880"/>
                <a:gd name="connsiteY6" fmla="*/ 485595 h 652717"/>
                <a:gd name="connsiteX7" fmla="*/ 58178 w 951880"/>
                <a:gd name="connsiteY7" fmla="*/ 330574 h 6527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51880" h="652717">
                  <a:moveTo>
                    <a:pt x="58178" y="330574"/>
                  </a:moveTo>
                  <a:cubicBezTo>
                    <a:pt x="96253" y="363210"/>
                    <a:pt x="147927" y="374089"/>
                    <a:pt x="180563" y="379528"/>
                  </a:cubicBezTo>
                  <a:cubicBezTo>
                    <a:pt x="248554" y="387687"/>
                    <a:pt x="319266" y="365930"/>
                    <a:pt x="362780" y="311537"/>
                  </a:cubicBezTo>
                  <a:cubicBezTo>
                    <a:pt x="398136" y="268022"/>
                    <a:pt x="417174" y="210910"/>
                    <a:pt x="455249" y="164675"/>
                  </a:cubicBezTo>
                  <a:cubicBezTo>
                    <a:pt x="512362" y="93964"/>
                    <a:pt x="602110" y="45011"/>
                    <a:pt x="694578" y="61329"/>
                  </a:cubicBezTo>
                  <a:cubicBezTo>
                    <a:pt x="879515" y="93964"/>
                    <a:pt x="961105" y="308817"/>
                    <a:pt x="857758" y="458398"/>
                  </a:cubicBezTo>
                  <a:cubicBezTo>
                    <a:pt x="708176" y="670531"/>
                    <a:pt x="376379" y="635176"/>
                    <a:pt x="205040" y="485595"/>
                  </a:cubicBezTo>
                  <a:cubicBezTo>
                    <a:pt x="150646" y="442080"/>
                    <a:pt x="101693" y="390407"/>
                    <a:pt x="58178" y="330574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0115F7ED-889E-4F9E-A1EC-B09712AAF8F4}"/>
                </a:ext>
              </a:extLst>
            </p:cNvPr>
            <p:cNvSpPr/>
            <p:nvPr/>
          </p:nvSpPr>
          <p:spPr>
            <a:xfrm>
              <a:off x="8001294" y="2010994"/>
              <a:ext cx="734308" cy="299162"/>
            </a:xfrm>
            <a:custGeom>
              <a:avLst/>
              <a:gdLst>
                <a:gd name="connsiteX0" fmla="*/ 596792 w 734307"/>
                <a:gd name="connsiteY0" fmla="*/ 58178 h 299162"/>
                <a:gd name="connsiteX1" fmla="*/ 148048 w 734307"/>
                <a:gd name="connsiteY1" fmla="*/ 58178 h 299162"/>
                <a:gd name="connsiteX2" fmla="*/ 58299 w 734307"/>
                <a:gd name="connsiteY2" fmla="*/ 150646 h 299162"/>
                <a:gd name="connsiteX3" fmla="*/ 148048 w 734307"/>
                <a:gd name="connsiteY3" fmla="*/ 251274 h 299162"/>
                <a:gd name="connsiteX4" fmla="*/ 596792 w 734307"/>
                <a:gd name="connsiteY4" fmla="*/ 251274 h 299162"/>
                <a:gd name="connsiteX5" fmla="*/ 686541 w 734307"/>
                <a:gd name="connsiteY5" fmla="*/ 158805 h 299162"/>
                <a:gd name="connsiteX6" fmla="*/ 596792 w 734307"/>
                <a:gd name="connsiteY6" fmla="*/ 58178 h 2991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34307" h="299162">
                  <a:moveTo>
                    <a:pt x="596792" y="58178"/>
                  </a:moveTo>
                  <a:cubicBezTo>
                    <a:pt x="591353" y="58178"/>
                    <a:pt x="153487" y="58178"/>
                    <a:pt x="148048" y="58178"/>
                  </a:cubicBezTo>
                  <a:cubicBezTo>
                    <a:pt x="99094" y="60898"/>
                    <a:pt x="61019" y="104412"/>
                    <a:pt x="58299" y="150646"/>
                  </a:cubicBezTo>
                  <a:cubicBezTo>
                    <a:pt x="55580" y="199600"/>
                    <a:pt x="99094" y="248554"/>
                    <a:pt x="148048" y="251274"/>
                  </a:cubicBezTo>
                  <a:cubicBezTo>
                    <a:pt x="153487" y="251274"/>
                    <a:pt x="591353" y="251274"/>
                    <a:pt x="596792" y="251274"/>
                  </a:cubicBezTo>
                  <a:cubicBezTo>
                    <a:pt x="645746" y="248554"/>
                    <a:pt x="683821" y="205040"/>
                    <a:pt x="686541" y="158805"/>
                  </a:cubicBezTo>
                  <a:cubicBezTo>
                    <a:pt x="689260" y="109852"/>
                    <a:pt x="648465" y="60898"/>
                    <a:pt x="596792" y="58178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DF6E4E17-2397-4CA3-ABA9-61E3BD559404}"/>
                </a:ext>
              </a:extLst>
            </p:cNvPr>
            <p:cNvSpPr/>
            <p:nvPr/>
          </p:nvSpPr>
          <p:spPr>
            <a:xfrm>
              <a:off x="4920042" y="2277520"/>
              <a:ext cx="1006274" cy="951879"/>
            </a:xfrm>
            <a:custGeom>
              <a:avLst/>
              <a:gdLst>
                <a:gd name="connsiteX0" fmla="*/ 884954 w 1006273"/>
                <a:gd name="connsiteY0" fmla="*/ 746251 h 951879"/>
                <a:gd name="connsiteX1" fmla="*/ 874076 w 1006273"/>
                <a:gd name="connsiteY1" fmla="*/ 670101 h 951879"/>
                <a:gd name="connsiteX2" fmla="*/ 874076 w 1006273"/>
                <a:gd name="connsiteY2" fmla="*/ 536837 h 951879"/>
                <a:gd name="connsiteX3" fmla="*/ 689139 w 1006273"/>
                <a:gd name="connsiteY3" fmla="*/ 88094 h 951879"/>
                <a:gd name="connsiteX4" fmla="*/ 428052 w 1006273"/>
                <a:gd name="connsiteY4" fmla="*/ 253993 h 951879"/>
                <a:gd name="connsiteX5" fmla="*/ 196881 w 1006273"/>
                <a:gd name="connsiteY5" fmla="*/ 58178 h 951879"/>
                <a:gd name="connsiteX6" fmla="*/ 58178 w 1006273"/>
                <a:gd name="connsiteY6" fmla="*/ 128889 h 951879"/>
                <a:gd name="connsiteX7" fmla="*/ 142488 w 1006273"/>
                <a:gd name="connsiteY7" fmla="*/ 273031 h 951879"/>
                <a:gd name="connsiteX8" fmla="*/ 142488 w 1006273"/>
                <a:gd name="connsiteY8" fmla="*/ 757130 h 951879"/>
                <a:gd name="connsiteX9" fmla="*/ 283910 w 1006273"/>
                <a:gd name="connsiteY9" fmla="*/ 895832 h 951879"/>
                <a:gd name="connsiteX10" fmla="*/ 428052 w 1006273"/>
                <a:gd name="connsiteY10" fmla="*/ 757130 h 951879"/>
                <a:gd name="connsiteX11" fmla="*/ 428052 w 1006273"/>
                <a:gd name="connsiteY11" fmla="*/ 400855 h 951879"/>
                <a:gd name="connsiteX12" fmla="*/ 523240 w 1006273"/>
                <a:gd name="connsiteY12" fmla="*/ 283910 h 951879"/>
                <a:gd name="connsiteX13" fmla="*/ 591231 w 1006273"/>
                <a:gd name="connsiteY13" fmla="*/ 354621 h 951879"/>
                <a:gd name="connsiteX14" fmla="*/ 591231 w 1006273"/>
                <a:gd name="connsiteY14" fmla="*/ 697297 h 951879"/>
                <a:gd name="connsiteX15" fmla="*/ 593951 w 1006273"/>
                <a:gd name="connsiteY15" fmla="*/ 729933 h 951879"/>
                <a:gd name="connsiteX16" fmla="*/ 610269 w 1006273"/>
                <a:gd name="connsiteY16" fmla="*/ 778887 h 951879"/>
                <a:gd name="connsiteX17" fmla="*/ 822402 w 1006273"/>
                <a:gd name="connsiteY17" fmla="*/ 893112 h 951879"/>
                <a:gd name="connsiteX18" fmla="*/ 961105 w 1006273"/>
                <a:gd name="connsiteY18" fmla="*/ 822401 h 951879"/>
                <a:gd name="connsiteX19" fmla="*/ 884954 w 1006273"/>
                <a:gd name="connsiteY19" fmla="*/ 746251 h 9518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006273" h="951879">
                  <a:moveTo>
                    <a:pt x="884954" y="746251"/>
                  </a:moveTo>
                  <a:cubicBezTo>
                    <a:pt x="879515" y="721774"/>
                    <a:pt x="876795" y="694578"/>
                    <a:pt x="874076" y="670101"/>
                  </a:cubicBezTo>
                  <a:cubicBezTo>
                    <a:pt x="874076" y="634745"/>
                    <a:pt x="874076" y="583072"/>
                    <a:pt x="874076" y="536837"/>
                  </a:cubicBezTo>
                  <a:cubicBezTo>
                    <a:pt x="879515" y="373658"/>
                    <a:pt x="909431" y="88094"/>
                    <a:pt x="689139" y="88094"/>
                  </a:cubicBezTo>
                  <a:cubicBezTo>
                    <a:pt x="539558" y="88094"/>
                    <a:pt x="452529" y="213199"/>
                    <a:pt x="428052" y="253993"/>
                  </a:cubicBezTo>
                  <a:cubicBezTo>
                    <a:pt x="425332" y="139768"/>
                    <a:pt x="335583" y="58178"/>
                    <a:pt x="196881" y="58178"/>
                  </a:cubicBezTo>
                  <a:cubicBezTo>
                    <a:pt x="109852" y="58178"/>
                    <a:pt x="58178" y="128889"/>
                    <a:pt x="58178" y="128889"/>
                  </a:cubicBezTo>
                  <a:cubicBezTo>
                    <a:pt x="58178" y="128889"/>
                    <a:pt x="142488" y="158805"/>
                    <a:pt x="142488" y="273031"/>
                  </a:cubicBezTo>
                  <a:cubicBezTo>
                    <a:pt x="142488" y="354621"/>
                    <a:pt x="142488" y="757130"/>
                    <a:pt x="142488" y="757130"/>
                  </a:cubicBezTo>
                  <a:cubicBezTo>
                    <a:pt x="145207" y="827841"/>
                    <a:pt x="194161" y="895832"/>
                    <a:pt x="283910" y="895832"/>
                  </a:cubicBezTo>
                  <a:cubicBezTo>
                    <a:pt x="373659" y="895832"/>
                    <a:pt x="428052" y="827841"/>
                    <a:pt x="428052" y="757130"/>
                  </a:cubicBezTo>
                  <a:lnTo>
                    <a:pt x="428052" y="400855"/>
                  </a:lnTo>
                  <a:cubicBezTo>
                    <a:pt x="441650" y="343742"/>
                    <a:pt x="474286" y="283910"/>
                    <a:pt x="523240" y="283910"/>
                  </a:cubicBezTo>
                  <a:cubicBezTo>
                    <a:pt x="585792" y="283910"/>
                    <a:pt x="591231" y="354621"/>
                    <a:pt x="591231" y="354621"/>
                  </a:cubicBezTo>
                  <a:lnTo>
                    <a:pt x="591231" y="697297"/>
                  </a:lnTo>
                  <a:cubicBezTo>
                    <a:pt x="591231" y="708176"/>
                    <a:pt x="593951" y="719054"/>
                    <a:pt x="593951" y="729933"/>
                  </a:cubicBezTo>
                  <a:cubicBezTo>
                    <a:pt x="596671" y="748971"/>
                    <a:pt x="602110" y="765289"/>
                    <a:pt x="610269" y="778887"/>
                  </a:cubicBezTo>
                  <a:cubicBezTo>
                    <a:pt x="645624" y="846878"/>
                    <a:pt x="719055" y="893112"/>
                    <a:pt x="822402" y="893112"/>
                  </a:cubicBezTo>
                  <a:cubicBezTo>
                    <a:pt x="909431" y="893112"/>
                    <a:pt x="961105" y="822401"/>
                    <a:pt x="961105" y="822401"/>
                  </a:cubicBezTo>
                  <a:cubicBezTo>
                    <a:pt x="961105" y="822401"/>
                    <a:pt x="909431" y="808803"/>
                    <a:pt x="884954" y="746251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F13A5CD1-6182-4595-B8A8-D785063BF716}"/>
                </a:ext>
              </a:extLst>
            </p:cNvPr>
            <p:cNvSpPr/>
            <p:nvPr/>
          </p:nvSpPr>
          <p:spPr>
            <a:xfrm>
              <a:off x="7552331" y="1888610"/>
              <a:ext cx="489539" cy="1332631"/>
            </a:xfrm>
            <a:custGeom>
              <a:avLst/>
              <a:gdLst>
                <a:gd name="connsiteX0" fmla="*/ 368560 w 489538"/>
                <a:gd name="connsiteY0" fmla="*/ 1135162 h 1332630"/>
                <a:gd name="connsiteX1" fmla="*/ 357681 w 489538"/>
                <a:gd name="connsiteY1" fmla="*/ 1059011 h 1332630"/>
                <a:gd name="connsiteX2" fmla="*/ 357681 w 489538"/>
                <a:gd name="connsiteY2" fmla="*/ 207759 h 1332630"/>
                <a:gd name="connsiteX3" fmla="*/ 208099 w 489538"/>
                <a:gd name="connsiteY3" fmla="*/ 58178 h 1332630"/>
                <a:gd name="connsiteX4" fmla="*/ 58518 w 489538"/>
                <a:gd name="connsiteY4" fmla="*/ 207759 h 1332630"/>
                <a:gd name="connsiteX5" fmla="*/ 58518 w 489538"/>
                <a:gd name="connsiteY5" fmla="*/ 961104 h 1332630"/>
                <a:gd name="connsiteX6" fmla="*/ 85715 w 489538"/>
                <a:gd name="connsiteY6" fmla="*/ 1159639 h 1332630"/>
                <a:gd name="connsiteX7" fmla="*/ 306007 w 489538"/>
                <a:gd name="connsiteY7" fmla="*/ 1282023 h 1332630"/>
                <a:gd name="connsiteX8" fmla="*/ 444710 w 489538"/>
                <a:gd name="connsiteY8" fmla="*/ 1211312 h 1332630"/>
                <a:gd name="connsiteX9" fmla="*/ 368560 w 489538"/>
                <a:gd name="connsiteY9" fmla="*/ 1135162 h 13326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89538" h="1332630">
                  <a:moveTo>
                    <a:pt x="368560" y="1135162"/>
                  </a:moveTo>
                  <a:cubicBezTo>
                    <a:pt x="363120" y="1110685"/>
                    <a:pt x="357681" y="1083488"/>
                    <a:pt x="357681" y="1059011"/>
                  </a:cubicBezTo>
                  <a:lnTo>
                    <a:pt x="357681" y="207759"/>
                  </a:lnTo>
                  <a:cubicBezTo>
                    <a:pt x="357681" y="126170"/>
                    <a:pt x="289689" y="58178"/>
                    <a:pt x="208099" y="58178"/>
                  </a:cubicBezTo>
                  <a:cubicBezTo>
                    <a:pt x="126510" y="58178"/>
                    <a:pt x="58518" y="126170"/>
                    <a:pt x="58518" y="207759"/>
                  </a:cubicBezTo>
                  <a:lnTo>
                    <a:pt x="58518" y="961104"/>
                  </a:lnTo>
                  <a:cubicBezTo>
                    <a:pt x="58518" y="1029095"/>
                    <a:pt x="53079" y="1097086"/>
                    <a:pt x="85715" y="1159639"/>
                  </a:cubicBezTo>
                  <a:cubicBezTo>
                    <a:pt x="118351" y="1227630"/>
                    <a:pt x="202660" y="1282023"/>
                    <a:pt x="306007" y="1282023"/>
                  </a:cubicBezTo>
                  <a:cubicBezTo>
                    <a:pt x="393036" y="1282023"/>
                    <a:pt x="444710" y="1211312"/>
                    <a:pt x="444710" y="1211312"/>
                  </a:cubicBezTo>
                  <a:cubicBezTo>
                    <a:pt x="444710" y="1211312"/>
                    <a:pt x="393036" y="1197714"/>
                    <a:pt x="368560" y="1135162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5D0FE459-FDBA-4224-BF8C-7FB56F088B01}"/>
                </a:ext>
              </a:extLst>
            </p:cNvPr>
            <p:cNvSpPr/>
            <p:nvPr/>
          </p:nvSpPr>
          <p:spPr>
            <a:xfrm>
              <a:off x="4162324" y="2357456"/>
              <a:ext cx="815899" cy="815898"/>
            </a:xfrm>
            <a:custGeom>
              <a:avLst/>
              <a:gdLst>
                <a:gd name="connsiteX0" fmla="*/ 407949 w 815899"/>
                <a:gd name="connsiteY0" fmla="*/ 174058 h 815898"/>
                <a:gd name="connsiteX1" fmla="*/ 293723 w 815899"/>
                <a:gd name="connsiteY1" fmla="*/ 407950 h 815898"/>
                <a:gd name="connsiteX2" fmla="*/ 410669 w 815899"/>
                <a:gd name="connsiteY2" fmla="*/ 641840 h 815898"/>
                <a:gd name="connsiteX3" fmla="*/ 522175 w 815899"/>
                <a:gd name="connsiteY3" fmla="*/ 407950 h 815898"/>
                <a:gd name="connsiteX4" fmla="*/ 407949 w 815899"/>
                <a:gd name="connsiteY4" fmla="*/ 174058 h 815898"/>
                <a:gd name="connsiteX5" fmla="*/ 407950 w 815899"/>
                <a:gd name="connsiteY5" fmla="*/ 0 h 815898"/>
                <a:gd name="connsiteX6" fmla="*/ 815899 w 815899"/>
                <a:gd name="connsiteY6" fmla="*/ 407949 h 815898"/>
                <a:gd name="connsiteX7" fmla="*/ 407950 w 815899"/>
                <a:gd name="connsiteY7" fmla="*/ 815898 h 815898"/>
                <a:gd name="connsiteX8" fmla="*/ 0 w 815899"/>
                <a:gd name="connsiteY8" fmla="*/ 407949 h 815898"/>
                <a:gd name="connsiteX9" fmla="*/ 407950 w 815899"/>
                <a:gd name="connsiteY9" fmla="*/ 0 h 815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15899" h="815898">
                  <a:moveTo>
                    <a:pt x="407949" y="174058"/>
                  </a:moveTo>
                  <a:cubicBezTo>
                    <a:pt x="342677" y="174058"/>
                    <a:pt x="293723" y="263807"/>
                    <a:pt x="293723" y="407950"/>
                  </a:cubicBezTo>
                  <a:cubicBezTo>
                    <a:pt x="293723" y="552091"/>
                    <a:pt x="331799" y="639120"/>
                    <a:pt x="410669" y="641840"/>
                  </a:cubicBezTo>
                  <a:cubicBezTo>
                    <a:pt x="489539" y="641840"/>
                    <a:pt x="527614" y="552091"/>
                    <a:pt x="522175" y="407950"/>
                  </a:cubicBezTo>
                  <a:cubicBezTo>
                    <a:pt x="522175" y="263807"/>
                    <a:pt x="473221" y="176778"/>
                    <a:pt x="407949" y="174058"/>
                  </a:cubicBezTo>
                  <a:close/>
                  <a:moveTo>
                    <a:pt x="407950" y="0"/>
                  </a:moveTo>
                  <a:cubicBezTo>
                    <a:pt x="633682" y="0"/>
                    <a:pt x="815899" y="182217"/>
                    <a:pt x="815899" y="407949"/>
                  </a:cubicBezTo>
                  <a:cubicBezTo>
                    <a:pt x="815899" y="633681"/>
                    <a:pt x="633682" y="815898"/>
                    <a:pt x="407950" y="815898"/>
                  </a:cubicBezTo>
                  <a:cubicBezTo>
                    <a:pt x="182218" y="815898"/>
                    <a:pt x="0" y="633681"/>
                    <a:pt x="0" y="407949"/>
                  </a:cubicBezTo>
                  <a:cubicBezTo>
                    <a:pt x="0" y="182217"/>
                    <a:pt x="182218" y="0"/>
                    <a:pt x="407950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6792F31E-ABF9-488A-BA83-294468B5A968}"/>
                </a:ext>
              </a:extLst>
            </p:cNvPr>
            <p:cNvSpPr/>
            <p:nvPr/>
          </p:nvSpPr>
          <p:spPr>
            <a:xfrm>
              <a:off x="5884871" y="1946788"/>
              <a:ext cx="912802" cy="1223846"/>
            </a:xfrm>
            <a:custGeom>
              <a:avLst/>
              <a:gdLst>
                <a:gd name="connsiteX0" fmla="*/ 387907 w 912802"/>
                <a:gd name="connsiteY0" fmla="*/ 620081 h 1223846"/>
                <a:gd name="connsiteX1" fmla="*/ 273681 w 912802"/>
                <a:gd name="connsiteY1" fmla="*/ 824055 h 1223846"/>
                <a:gd name="connsiteX2" fmla="*/ 390627 w 912802"/>
                <a:gd name="connsiteY2" fmla="*/ 1028029 h 1223846"/>
                <a:gd name="connsiteX3" fmla="*/ 502132 w 912802"/>
                <a:gd name="connsiteY3" fmla="*/ 824055 h 1223846"/>
                <a:gd name="connsiteX4" fmla="*/ 387907 w 912802"/>
                <a:gd name="connsiteY4" fmla="*/ 620081 h 1223846"/>
                <a:gd name="connsiteX5" fmla="*/ 676192 w 912802"/>
                <a:gd name="connsiteY5" fmla="*/ 0 h 1223846"/>
                <a:gd name="connsiteX6" fmla="*/ 825773 w 912802"/>
                <a:gd name="connsiteY6" fmla="*/ 149581 h 1223846"/>
                <a:gd name="connsiteX7" fmla="*/ 825773 w 912802"/>
                <a:gd name="connsiteY7" fmla="*/ 1000834 h 1223846"/>
                <a:gd name="connsiteX8" fmla="*/ 836651 w 912802"/>
                <a:gd name="connsiteY8" fmla="*/ 1076985 h 1223846"/>
                <a:gd name="connsiteX9" fmla="*/ 912802 w 912802"/>
                <a:gd name="connsiteY9" fmla="*/ 1150415 h 1223846"/>
                <a:gd name="connsiteX10" fmla="*/ 774099 w 912802"/>
                <a:gd name="connsiteY10" fmla="*/ 1221126 h 1223846"/>
                <a:gd name="connsiteX11" fmla="*/ 553807 w 912802"/>
                <a:gd name="connsiteY11" fmla="*/ 1098742 h 1223846"/>
                <a:gd name="connsiteX12" fmla="*/ 548367 w 912802"/>
                <a:gd name="connsiteY12" fmla="*/ 1085144 h 1223846"/>
                <a:gd name="connsiteX13" fmla="*/ 398786 w 912802"/>
                <a:gd name="connsiteY13" fmla="*/ 1212967 h 1223846"/>
                <a:gd name="connsiteX14" fmla="*/ 156736 w 912802"/>
                <a:gd name="connsiteY14" fmla="*/ 1180332 h 1223846"/>
                <a:gd name="connsiteX15" fmla="*/ 287280 w 912802"/>
                <a:gd name="connsiteY15" fmla="*/ 416107 h 1223846"/>
                <a:gd name="connsiteX16" fmla="*/ 526611 w 912802"/>
                <a:gd name="connsiteY16" fmla="*/ 552091 h 1223846"/>
                <a:gd name="connsiteX17" fmla="*/ 526611 w 912802"/>
                <a:gd name="connsiteY17" fmla="*/ 149581 h 1223846"/>
                <a:gd name="connsiteX18" fmla="*/ 676192 w 912802"/>
                <a:gd name="connsiteY18" fmla="*/ 0 h 1223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912802" h="1223846">
                  <a:moveTo>
                    <a:pt x="387907" y="620081"/>
                  </a:moveTo>
                  <a:cubicBezTo>
                    <a:pt x="322635" y="620081"/>
                    <a:pt x="273681" y="698951"/>
                    <a:pt x="273681" y="824055"/>
                  </a:cubicBezTo>
                  <a:cubicBezTo>
                    <a:pt x="273681" y="949160"/>
                    <a:pt x="311756" y="1028029"/>
                    <a:pt x="390627" y="1028029"/>
                  </a:cubicBezTo>
                  <a:cubicBezTo>
                    <a:pt x="466777" y="1025310"/>
                    <a:pt x="504852" y="949160"/>
                    <a:pt x="502132" y="824055"/>
                  </a:cubicBezTo>
                  <a:cubicBezTo>
                    <a:pt x="502132" y="698951"/>
                    <a:pt x="455898" y="622801"/>
                    <a:pt x="387907" y="620081"/>
                  </a:cubicBezTo>
                  <a:close/>
                  <a:moveTo>
                    <a:pt x="676192" y="0"/>
                  </a:moveTo>
                  <a:cubicBezTo>
                    <a:pt x="757781" y="0"/>
                    <a:pt x="825773" y="67992"/>
                    <a:pt x="825773" y="149581"/>
                  </a:cubicBezTo>
                  <a:lnTo>
                    <a:pt x="825773" y="1000834"/>
                  </a:lnTo>
                  <a:cubicBezTo>
                    <a:pt x="828492" y="1025311"/>
                    <a:pt x="831212" y="1052508"/>
                    <a:pt x="836651" y="1076985"/>
                  </a:cubicBezTo>
                  <a:cubicBezTo>
                    <a:pt x="861128" y="1139537"/>
                    <a:pt x="912802" y="1150415"/>
                    <a:pt x="912802" y="1150415"/>
                  </a:cubicBezTo>
                  <a:cubicBezTo>
                    <a:pt x="912802" y="1150415"/>
                    <a:pt x="861128" y="1221126"/>
                    <a:pt x="774099" y="1221126"/>
                  </a:cubicBezTo>
                  <a:cubicBezTo>
                    <a:pt x="670752" y="1221126"/>
                    <a:pt x="589162" y="1166733"/>
                    <a:pt x="553807" y="1098742"/>
                  </a:cubicBezTo>
                  <a:cubicBezTo>
                    <a:pt x="551087" y="1093303"/>
                    <a:pt x="551087" y="1090583"/>
                    <a:pt x="548367" y="1085144"/>
                  </a:cubicBezTo>
                  <a:cubicBezTo>
                    <a:pt x="534769" y="1147696"/>
                    <a:pt x="450460" y="1199369"/>
                    <a:pt x="398786" y="1212967"/>
                  </a:cubicBezTo>
                  <a:cubicBezTo>
                    <a:pt x="322636" y="1234725"/>
                    <a:pt x="222008" y="1223846"/>
                    <a:pt x="156736" y="1180332"/>
                  </a:cubicBezTo>
                  <a:cubicBezTo>
                    <a:pt x="-79874" y="1028031"/>
                    <a:pt x="-58117" y="416107"/>
                    <a:pt x="287280" y="416107"/>
                  </a:cubicBezTo>
                  <a:cubicBezTo>
                    <a:pt x="412385" y="416107"/>
                    <a:pt x="491255" y="503137"/>
                    <a:pt x="526611" y="552091"/>
                  </a:cubicBezTo>
                  <a:lnTo>
                    <a:pt x="526611" y="149581"/>
                  </a:lnTo>
                  <a:cubicBezTo>
                    <a:pt x="526611" y="67992"/>
                    <a:pt x="594602" y="0"/>
                    <a:pt x="676192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C33162D5-7247-412F-A7EA-E2527FDDE86B}"/>
                </a:ext>
              </a:extLst>
            </p:cNvPr>
            <p:cNvSpPr/>
            <p:nvPr/>
          </p:nvSpPr>
          <p:spPr>
            <a:xfrm>
              <a:off x="6789513" y="2362895"/>
              <a:ext cx="747906" cy="810458"/>
            </a:xfrm>
            <a:custGeom>
              <a:avLst/>
              <a:gdLst>
                <a:gd name="connsiteX0" fmla="*/ 394818 w 747906"/>
                <a:gd name="connsiteY0" fmla="*/ 163222 h 810458"/>
                <a:gd name="connsiteX1" fmla="*/ 356275 w 747906"/>
                <a:gd name="connsiteY1" fmla="*/ 174058 h 810458"/>
                <a:gd name="connsiteX2" fmla="*/ 274685 w 747906"/>
                <a:gd name="connsiteY2" fmla="*/ 356275 h 810458"/>
                <a:gd name="connsiteX3" fmla="*/ 375313 w 747906"/>
                <a:gd name="connsiteY3" fmla="*/ 358994 h 810458"/>
                <a:gd name="connsiteX4" fmla="*/ 473220 w 747906"/>
                <a:gd name="connsiteY4" fmla="*/ 239329 h 810458"/>
                <a:gd name="connsiteX5" fmla="*/ 394818 w 747906"/>
                <a:gd name="connsiteY5" fmla="*/ 163222 h 810458"/>
                <a:gd name="connsiteX6" fmla="*/ 386192 w 747906"/>
                <a:gd name="connsiteY6" fmla="*/ 0 h 810458"/>
                <a:gd name="connsiteX7" fmla="*/ 747906 w 747906"/>
                <a:gd name="connsiteY7" fmla="*/ 266526 h 810458"/>
                <a:gd name="connsiteX8" fmla="*/ 291004 w 747906"/>
                <a:gd name="connsiteY8" fmla="*/ 484100 h 810458"/>
                <a:gd name="connsiteX9" fmla="*/ 497698 w 747906"/>
                <a:gd name="connsiteY9" fmla="*/ 617363 h 810458"/>
                <a:gd name="connsiteX10" fmla="*/ 712551 w 747906"/>
                <a:gd name="connsiteY10" fmla="*/ 557530 h 810458"/>
                <a:gd name="connsiteX11" fmla="*/ 388912 w 747906"/>
                <a:gd name="connsiteY11" fmla="*/ 810458 h 810458"/>
                <a:gd name="connsiteX12" fmla="*/ 0 w 747906"/>
                <a:gd name="connsiteY12" fmla="*/ 413389 h 810458"/>
                <a:gd name="connsiteX13" fmla="*/ 386192 w 747906"/>
                <a:gd name="connsiteY13" fmla="*/ 0 h 8104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747906" h="810458">
                  <a:moveTo>
                    <a:pt x="394818" y="163222"/>
                  </a:moveTo>
                  <a:cubicBezTo>
                    <a:pt x="381772" y="163179"/>
                    <a:pt x="368514" y="166579"/>
                    <a:pt x="356275" y="174058"/>
                  </a:cubicBezTo>
                  <a:cubicBezTo>
                    <a:pt x="299162" y="212133"/>
                    <a:pt x="282844" y="291003"/>
                    <a:pt x="274685" y="356275"/>
                  </a:cubicBezTo>
                  <a:cubicBezTo>
                    <a:pt x="274685" y="364434"/>
                    <a:pt x="369873" y="358994"/>
                    <a:pt x="375313" y="358994"/>
                  </a:cubicBezTo>
                  <a:cubicBezTo>
                    <a:pt x="432425" y="345396"/>
                    <a:pt x="473220" y="301881"/>
                    <a:pt x="473220" y="239329"/>
                  </a:cubicBezTo>
                  <a:cubicBezTo>
                    <a:pt x="471181" y="194455"/>
                    <a:pt x="433956" y="163349"/>
                    <a:pt x="394818" y="163222"/>
                  </a:cubicBezTo>
                  <a:close/>
                  <a:moveTo>
                    <a:pt x="386192" y="0"/>
                  </a:moveTo>
                  <a:cubicBezTo>
                    <a:pt x="519455" y="0"/>
                    <a:pt x="747906" y="65272"/>
                    <a:pt x="747906" y="266526"/>
                  </a:cubicBezTo>
                  <a:cubicBezTo>
                    <a:pt x="747906" y="467782"/>
                    <a:pt x="538493" y="484100"/>
                    <a:pt x="291004" y="484100"/>
                  </a:cubicBezTo>
                  <a:cubicBezTo>
                    <a:pt x="291004" y="484100"/>
                    <a:pt x="326359" y="617363"/>
                    <a:pt x="497698" y="617363"/>
                  </a:cubicBezTo>
                  <a:cubicBezTo>
                    <a:pt x="669036" y="617363"/>
                    <a:pt x="712551" y="557530"/>
                    <a:pt x="712551" y="557530"/>
                  </a:cubicBezTo>
                  <a:cubicBezTo>
                    <a:pt x="712551" y="557530"/>
                    <a:pt x="696233" y="810458"/>
                    <a:pt x="388912" y="810458"/>
                  </a:cubicBezTo>
                  <a:cubicBezTo>
                    <a:pt x="212134" y="810458"/>
                    <a:pt x="0" y="677195"/>
                    <a:pt x="0" y="413389"/>
                  </a:cubicBezTo>
                  <a:cubicBezTo>
                    <a:pt x="0" y="176778"/>
                    <a:pt x="163180" y="0"/>
                    <a:pt x="386192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C2A5EB49-78D9-47C5-8F4C-92D82FF96117}"/>
                </a:ext>
              </a:extLst>
            </p:cNvPr>
            <p:cNvSpPr/>
            <p:nvPr/>
          </p:nvSpPr>
          <p:spPr>
            <a:xfrm>
              <a:off x="7988882" y="2362895"/>
              <a:ext cx="747906" cy="810458"/>
            </a:xfrm>
            <a:custGeom>
              <a:avLst/>
              <a:gdLst>
                <a:gd name="connsiteX0" fmla="*/ 394818 w 747906"/>
                <a:gd name="connsiteY0" fmla="*/ 163222 h 810458"/>
                <a:gd name="connsiteX1" fmla="*/ 356275 w 747906"/>
                <a:gd name="connsiteY1" fmla="*/ 174058 h 810458"/>
                <a:gd name="connsiteX2" fmla="*/ 274685 w 747906"/>
                <a:gd name="connsiteY2" fmla="*/ 356275 h 810458"/>
                <a:gd name="connsiteX3" fmla="*/ 375313 w 747906"/>
                <a:gd name="connsiteY3" fmla="*/ 358994 h 810458"/>
                <a:gd name="connsiteX4" fmla="*/ 473220 w 747906"/>
                <a:gd name="connsiteY4" fmla="*/ 239329 h 810458"/>
                <a:gd name="connsiteX5" fmla="*/ 394818 w 747906"/>
                <a:gd name="connsiteY5" fmla="*/ 163222 h 810458"/>
                <a:gd name="connsiteX6" fmla="*/ 386192 w 747906"/>
                <a:gd name="connsiteY6" fmla="*/ 0 h 810458"/>
                <a:gd name="connsiteX7" fmla="*/ 747906 w 747906"/>
                <a:gd name="connsiteY7" fmla="*/ 266526 h 810458"/>
                <a:gd name="connsiteX8" fmla="*/ 291004 w 747906"/>
                <a:gd name="connsiteY8" fmla="*/ 484100 h 810458"/>
                <a:gd name="connsiteX9" fmla="*/ 497697 w 747906"/>
                <a:gd name="connsiteY9" fmla="*/ 617363 h 810458"/>
                <a:gd name="connsiteX10" fmla="*/ 712551 w 747906"/>
                <a:gd name="connsiteY10" fmla="*/ 557530 h 810458"/>
                <a:gd name="connsiteX11" fmla="*/ 388911 w 747906"/>
                <a:gd name="connsiteY11" fmla="*/ 810458 h 810458"/>
                <a:gd name="connsiteX12" fmla="*/ 0 w 747906"/>
                <a:gd name="connsiteY12" fmla="*/ 413389 h 810458"/>
                <a:gd name="connsiteX13" fmla="*/ 386192 w 747906"/>
                <a:gd name="connsiteY13" fmla="*/ 0 h 8104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747906" h="810458">
                  <a:moveTo>
                    <a:pt x="394818" y="163222"/>
                  </a:moveTo>
                  <a:cubicBezTo>
                    <a:pt x="381772" y="163179"/>
                    <a:pt x="368514" y="166579"/>
                    <a:pt x="356275" y="174058"/>
                  </a:cubicBezTo>
                  <a:cubicBezTo>
                    <a:pt x="299162" y="212133"/>
                    <a:pt x="282844" y="291003"/>
                    <a:pt x="274685" y="356275"/>
                  </a:cubicBezTo>
                  <a:cubicBezTo>
                    <a:pt x="274685" y="364434"/>
                    <a:pt x="369873" y="358994"/>
                    <a:pt x="375313" y="358994"/>
                  </a:cubicBezTo>
                  <a:cubicBezTo>
                    <a:pt x="432426" y="345396"/>
                    <a:pt x="473220" y="301881"/>
                    <a:pt x="473220" y="239329"/>
                  </a:cubicBezTo>
                  <a:cubicBezTo>
                    <a:pt x="471181" y="194455"/>
                    <a:pt x="433955" y="163349"/>
                    <a:pt x="394818" y="163222"/>
                  </a:cubicBezTo>
                  <a:close/>
                  <a:moveTo>
                    <a:pt x="386192" y="0"/>
                  </a:moveTo>
                  <a:cubicBezTo>
                    <a:pt x="519455" y="0"/>
                    <a:pt x="747906" y="65272"/>
                    <a:pt x="747906" y="266526"/>
                  </a:cubicBezTo>
                  <a:cubicBezTo>
                    <a:pt x="747906" y="467782"/>
                    <a:pt x="538492" y="484100"/>
                    <a:pt x="291004" y="484100"/>
                  </a:cubicBezTo>
                  <a:cubicBezTo>
                    <a:pt x="291004" y="484100"/>
                    <a:pt x="326359" y="617363"/>
                    <a:pt x="497697" y="617363"/>
                  </a:cubicBezTo>
                  <a:cubicBezTo>
                    <a:pt x="669036" y="617363"/>
                    <a:pt x="712551" y="557530"/>
                    <a:pt x="712551" y="557530"/>
                  </a:cubicBezTo>
                  <a:cubicBezTo>
                    <a:pt x="712551" y="557530"/>
                    <a:pt x="696233" y="810458"/>
                    <a:pt x="388911" y="810458"/>
                  </a:cubicBezTo>
                  <a:cubicBezTo>
                    <a:pt x="212133" y="810458"/>
                    <a:pt x="0" y="677195"/>
                    <a:pt x="0" y="413389"/>
                  </a:cubicBezTo>
                  <a:cubicBezTo>
                    <a:pt x="0" y="176778"/>
                    <a:pt x="163180" y="0"/>
                    <a:pt x="386192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3153BD94-FC6C-491C-87CC-FE707C871FD4}"/>
                </a:ext>
              </a:extLst>
            </p:cNvPr>
            <p:cNvSpPr/>
            <p:nvPr/>
          </p:nvSpPr>
          <p:spPr>
            <a:xfrm>
              <a:off x="8683414" y="2274801"/>
              <a:ext cx="897487" cy="951879"/>
            </a:xfrm>
            <a:custGeom>
              <a:avLst/>
              <a:gdLst>
                <a:gd name="connsiteX0" fmla="*/ 580988 w 897487"/>
                <a:gd name="connsiteY0" fmla="*/ 667381 h 951879"/>
                <a:gd name="connsiteX1" fmla="*/ 409649 w 897487"/>
                <a:gd name="connsiteY1" fmla="*/ 667381 h 951879"/>
                <a:gd name="connsiteX2" fmla="*/ 591866 w 897487"/>
                <a:gd name="connsiteY2" fmla="*/ 525959 h 951879"/>
                <a:gd name="connsiteX3" fmla="*/ 842075 w 897487"/>
                <a:gd name="connsiteY3" fmla="*/ 123450 h 951879"/>
                <a:gd name="connsiteX4" fmla="*/ 842075 w 897487"/>
                <a:gd name="connsiteY4" fmla="*/ 123450 h 951879"/>
                <a:gd name="connsiteX5" fmla="*/ 798560 w 897487"/>
                <a:gd name="connsiteY5" fmla="*/ 58178 h 951879"/>
                <a:gd name="connsiteX6" fmla="*/ 746887 w 897487"/>
                <a:gd name="connsiteY6" fmla="*/ 107132 h 951879"/>
                <a:gd name="connsiteX7" fmla="*/ 697933 w 897487"/>
                <a:gd name="connsiteY7" fmla="*/ 115291 h 951879"/>
                <a:gd name="connsiteX8" fmla="*/ 219273 w 897487"/>
                <a:gd name="connsiteY8" fmla="*/ 115291 h 951879"/>
                <a:gd name="connsiteX9" fmla="*/ 102328 w 897487"/>
                <a:gd name="connsiteY9" fmla="*/ 224077 h 951879"/>
                <a:gd name="connsiteX10" fmla="*/ 213834 w 897487"/>
                <a:gd name="connsiteY10" fmla="*/ 332863 h 951879"/>
                <a:gd name="connsiteX11" fmla="*/ 485800 w 897487"/>
                <a:gd name="connsiteY11" fmla="*/ 335583 h 951879"/>
                <a:gd name="connsiteX12" fmla="*/ 134964 w 897487"/>
                <a:gd name="connsiteY12" fmla="*/ 615708 h 951879"/>
                <a:gd name="connsiteX13" fmla="*/ 61533 w 897487"/>
                <a:gd name="connsiteY13" fmla="*/ 884953 h 951879"/>
                <a:gd name="connsiteX14" fmla="*/ 398771 w 897487"/>
                <a:gd name="connsiteY14" fmla="*/ 806083 h 951879"/>
                <a:gd name="connsiteX15" fmla="*/ 529314 w 897487"/>
                <a:gd name="connsiteY15" fmla="*/ 863196 h 951879"/>
                <a:gd name="connsiteX16" fmla="*/ 782242 w 897487"/>
                <a:gd name="connsiteY16" fmla="*/ 607549 h 951879"/>
                <a:gd name="connsiteX17" fmla="*/ 580988 w 897487"/>
                <a:gd name="connsiteY17" fmla="*/ 667381 h 9518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897487" h="951879">
                  <a:moveTo>
                    <a:pt x="580988" y="667381"/>
                  </a:moveTo>
                  <a:lnTo>
                    <a:pt x="409649" y="667381"/>
                  </a:lnTo>
                  <a:cubicBezTo>
                    <a:pt x="423248" y="667381"/>
                    <a:pt x="548352" y="561314"/>
                    <a:pt x="591866" y="525959"/>
                  </a:cubicBezTo>
                  <a:cubicBezTo>
                    <a:pt x="700653" y="433491"/>
                    <a:pt x="899188" y="297508"/>
                    <a:pt x="842075" y="123450"/>
                  </a:cubicBezTo>
                  <a:lnTo>
                    <a:pt x="842075" y="123450"/>
                  </a:lnTo>
                  <a:cubicBezTo>
                    <a:pt x="831197" y="82655"/>
                    <a:pt x="798560" y="58178"/>
                    <a:pt x="798560" y="58178"/>
                  </a:cubicBezTo>
                  <a:cubicBezTo>
                    <a:pt x="798560" y="58178"/>
                    <a:pt x="787682" y="90814"/>
                    <a:pt x="746887" y="107132"/>
                  </a:cubicBezTo>
                  <a:cubicBezTo>
                    <a:pt x="730569" y="109852"/>
                    <a:pt x="714251" y="115291"/>
                    <a:pt x="697933" y="115291"/>
                  </a:cubicBezTo>
                  <a:cubicBezTo>
                    <a:pt x="684334" y="115291"/>
                    <a:pt x="219273" y="115291"/>
                    <a:pt x="219273" y="115291"/>
                  </a:cubicBezTo>
                  <a:cubicBezTo>
                    <a:pt x="156721" y="115291"/>
                    <a:pt x="105048" y="166964"/>
                    <a:pt x="102328" y="224077"/>
                  </a:cubicBezTo>
                  <a:cubicBezTo>
                    <a:pt x="102328" y="283910"/>
                    <a:pt x="151282" y="332863"/>
                    <a:pt x="213834" y="332863"/>
                  </a:cubicBezTo>
                  <a:lnTo>
                    <a:pt x="485800" y="335583"/>
                  </a:lnTo>
                  <a:cubicBezTo>
                    <a:pt x="360695" y="406294"/>
                    <a:pt x="211114" y="487884"/>
                    <a:pt x="134964" y="615708"/>
                  </a:cubicBezTo>
                  <a:cubicBezTo>
                    <a:pt x="91449" y="689138"/>
                    <a:pt x="45215" y="800644"/>
                    <a:pt x="61533" y="884953"/>
                  </a:cubicBezTo>
                  <a:cubicBezTo>
                    <a:pt x="121366" y="830560"/>
                    <a:pt x="279106" y="778887"/>
                    <a:pt x="398771" y="806083"/>
                  </a:cubicBezTo>
                  <a:cubicBezTo>
                    <a:pt x="445005" y="814242"/>
                    <a:pt x="491239" y="838719"/>
                    <a:pt x="529314" y="863196"/>
                  </a:cubicBezTo>
                  <a:cubicBezTo>
                    <a:pt x="755046" y="1004618"/>
                    <a:pt x="891029" y="727213"/>
                    <a:pt x="782242" y="607549"/>
                  </a:cubicBezTo>
                  <a:cubicBezTo>
                    <a:pt x="784962" y="607549"/>
                    <a:pt x="722410" y="667381"/>
                    <a:pt x="580988" y="667381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3BC82946-E68D-4E5D-A508-7F6DEA272480}"/>
                </a:ext>
              </a:extLst>
            </p:cNvPr>
            <p:cNvSpPr/>
            <p:nvPr/>
          </p:nvSpPr>
          <p:spPr>
            <a:xfrm>
              <a:off x="2624650" y="1948442"/>
              <a:ext cx="1903761" cy="1577400"/>
            </a:xfrm>
            <a:custGeom>
              <a:avLst/>
              <a:gdLst>
                <a:gd name="connsiteX0" fmla="*/ 1559430 w 1903760"/>
                <a:gd name="connsiteY0" fmla="*/ 1165078 h 1577399"/>
                <a:gd name="connsiteX1" fmla="*/ 1369054 w 1903760"/>
                <a:gd name="connsiteY1" fmla="*/ 593950 h 1577399"/>
                <a:gd name="connsiteX2" fmla="*/ 1483279 w 1903760"/>
                <a:gd name="connsiteY2" fmla="*/ 126170 h 1577399"/>
                <a:gd name="connsiteX3" fmla="*/ 1311941 w 1903760"/>
                <a:gd name="connsiteY3" fmla="*/ 58178 h 1577399"/>
                <a:gd name="connsiteX4" fmla="*/ 1078050 w 1903760"/>
                <a:gd name="connsiteY4" fmla="*/ 205040 h 1577399"/>
                <a:gd name="connsiteX5" fmla="*/ 846879 w 1903760"/>
                <a:gd name="connsiteY5" fmla="*/ 523239 h 1577399"/>
                <a:gd name="connsiteX6" fmla="*/ 645624 w 1903760"/>
                <a:gd name="connsiteY6" fmla="*/ 210479 h 1577399"/>
                <a:gd name="connsiteX7" fmla="*/ 455248 w 1903760"/>
                <a:gd name="connsiteY7" fmla="*/ 63617 h 1577399"/>
                <a:gd name="connsiteX8" fmla="*/ 234956 w 1903760"/>
                <a:gd name="connsiteY8" fmla="*/ 137048 h 1577399"/>
                <a:gd name="connsiteX9" fmla="*/ 316546 w 1903760"/>
                <a:gd name="connsiteY9" fmla="*/ 588511 h 1577399"/>
                <a:gd name="connsiteX10" fmla="*/ 58178 w 1903760"/>
                <a:gd name="connsiteY10" fmla="*/ 1072610 h 1577399"/>
                <a:gd name="connsiteX11" fmla="*/ 474286 w 1903760"/>
                <a:gd name="connsiteY11" fmla="*/ 1020936 h 1577399"/>
                <a:gd name="connsiteX12" fmla="*/ 555876 w 1903760"/>
                <a:gd name="connsiteY12" fmla="*/ 572193 h 1577399"/>
                <a:gd name="connsiteX13" fmla="*/ 830561 w 1903760"/>
                <a:gd name="connsiteY13" fmla="*/ 993740 h 1577399"/>
                <a:gd name="connsiteX14" fmla="*/ 1140602 w 1903760"/>
                <a:gd name="connsiteY14" fmla="*/ 574913 h 1577399"/>
                <a:gd name="connsiteX15" fmla="*/ 1567589 w 1903760"/>
                <a:gd name="connsiteY15" fmla="*/ 1526792 h 1577399"/>
                <a:gd name="connsiteX16" fmla="*/ 1866751 w 1903760"/>
                <a:gd name="connsiteY16" fmla="*/ 1322818 h 1577399"/>
                <a:gd name="connsiteX17" fmla="*/ 1559430 w 1903760"/>
                <a:gd name="connsiteY17" fmla="*/ 1165078 h 15773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903760" h="1577399">
                  <a:moveTo>
                    <a:pt x="1559430" y="1165078"/>
                  </a:moveTo>
                  <a:cubicBezTo>
                    <a:pt x="1420727" y="1012777"/>
                    <a:pt x="1377213" y="762569"/>
                    <a:pt x="1369054" y="593950"/>
                  </a:cubicBezTo>
                  <a:cubicBezTo>
                    <a:pt x="1360895" y="449809"/>
                    <a:pt x="1369054" y="199600"/>
                    <a:pt x="1483279" y="126170"/>
                  </a:cubicBezTo>
                  <a:cubicBezTo>
                    <a:pt x="1445204" y="77216"/>
                    <a:pt x="1369054" y="58178"/>
                    <a:pt x="1311941" y="58178"/>
                  </a:cubicBezTo>
                  <a:cubicBezTo>
                    <a:pt x="1184117" y="58178"/>
                    <a:pt x="1121565" y="142488"/>
                    <a:pt x="1078050" y="205040"/>
                  </a:cubicBezTo>
                  <a:cubicBezTo>
                    <a:pt x="1064452" y="224077"/>
                    <a:pt x="846879" y="523239"/>
                    <a:pt x="846879" y="523239"/>
                  </a:cubicBezTo>
                  <a:cubicBezTo>
                    <a:pt x="846879" y="523239"/>
                    <a:pt x="667382" y="243115"/>
                    <a:pt x="645624" y="210479"/>
                  </a:cubicBezTo>
                  <a:cubicBezTo>
                    <a:pt x="615708" y="164245"/>
                    <a:pt x="555876" y="77216"/>
                    <a:pt x="455248" y="63617"/>
                  </a:cubicBezTo>
                  <a:cubicBezTo>
                    <a:pt x="411734" y="58178"/>
                    <a:pt x="297508" y="52739"/>
                    <a:pt x="234956" y="137048"/>
                  </a:cubicBezTo>
                  <a:cubicBezTo>
                    <a:pt x="341023" y="221357"/>
                    <a:pt x="338303" y="438930"/>
                    <a:pt x="316546" y="588511"/>
                  </a:cubicBezTo>
                  <a:cubicBezTo>
                    <a:pt x="248554" y="1031815"/>
                    <a:pt x="58178" y="1072610"/>
                    <a:pt x="58178" y="1072610"/>
                  </a:cubicBezTo>
                  <a:cubicBezTo>
                    <a:pt x="156086" y="1333696"/>
                    <a:pt x="403575" y="1230350"/>
                    <a:pt x="474286" y="1020936"/>
                  </a:cubicBezTo>
                  <a:cubicBezTo>
                    <a:pt x="520520" y="884953"/>
                    <a:pt x="550436" y="713615"/>
                    <a:pt x="555876" y="572193"/>
                  </a:cubicBezTo>
                  <a:lnTo>
                    <a:pt x="830561" y="993740"/>
                  </a:lnTo>
                  <a:cubicBezTo>
                    <a:pt x="830561" y="993740"/>
                    <a:pt x="1140602" y="574913"/>
                    <a:pt x="1140602" y="574913"/>
                  </a:cubicBezTo>
                  <a:cubicBezTo>
                    <a:pt x="1088929" y="1314659"/>
                    <a:pt x="1344577" y="1526792"/>
                    <a:pt x="1567589" y="1526792"/>
                  </a:cubicBezTo>
                  <a:cubicBezTo>
                    <a:pt x="1790601" y="1526792"/>
                    <a:pt x="1866751" y="1322818"/>
                    <a:pt x="1866751" y="1322818"/>
                  </a:cubicBezTo>
                  <a:cubicBezTo>
                    <a:pt x="1744367" y="1314659"/>
                    <a:pt x="1641019" y="1252107"/>
                    <a:pt x="1559430" y="1165078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91FFC926-DCB2-4DFD-8921-31D3740A1576}"/>
                </a:ext>
              </a:extLst>
            </p:cNvPr>
            <p:cNvSpPr/>
            <p:nvPr/>
          </p:nvSpPr>
          <p:spPr>
            <a:xfrm>
              <a:off x="4792218" y="3234839"/>
              <a:ext cx="271966" cy="652717"/>
            </a:xfrm>
            <a:custGeom>
              <a:avLst/>
              <a:gdLst>
                <a:gd name="connsiteX0" fmla="*/ 88095 w 271965"/>
                <a:gd name="connsiteY0" fmla="*/ 120730 h 652717"/>
                <a:gd name="connsiteX1" fmla="*/ 93534 w 271965"/>
                <a:gd name="connsiteY1" fmla="*/ 153366 h 652717"/>
                <a:gd name="connsiteX2" fmla="*/ 93534 w 271965"/>
                <a:gd name="connsiteY2" fmla="*/ 544997 h 652717"/>
                <a:gd name="connsiteX3" fmla="*/ 156086 w 271965"/>
                <a:gd name="connsiteY3" fmla="*/ 604829 h 652717"/>
                <a:gd name="connsiteX4" fmla="*/ 221358 w 271965"/>
                <a:gd name="connsiteY4" fmla="*/ 544997 h 652717"/>
                <a:gd name="connsiteX5" fmla="*/ 221358 w 271965"/>
                <a:gd name="connsiteY5" fmla="*/ 194161 h 652717"/>
                <a:gd name="connsiteX6" fmla="*/ 210479 w 271965"/>
                <a:gd name="connsiteY6" fmla="*/ 109852 h 652717"/>
                <a:gd name="connsiteX7" fmla="*/ 118011 w 271965"/>
                <a:gd name="connsiteY7" fmla="*/ 58178 h 652717"/>
                <a:gd name="connsiteX8" fmla="*/ 58178 w 271965"/>
                <a:gd name="connsiteY8" fmla="*/ 88094 h 652717"/>
                <a:gd name="connsiteX9" fmla="*/ 88095 w 271965"/>
                <a:gd name="connsiteY9" fmla="*/ 120730 h 6527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71965" h="652717">
                  <a:moveTo>
                    <a:pt x="88095" y="120730"/>
                  </a:moveTo>
                  <a:cubicBezTo>
                    <a:pt x="90814" y="131609"/>
                    <a:pt x="90814" y="142487"/>
                    <a:pt x="93534" y="153366"/>
                  </a:cubicBezTo>
                  <a:cubicBezTo>
                    <a:pt x="93534" y="156086"/>
                    <a:pt x="93534" y="542277"/>
                    <a:pt x="93534" y="544997"/>
                  </a:cubicBezTo>
                  <a:cubicBezTo>
                    <a:pt x="93534" y="577632"/>
                    <a:pt x="123450" y="604829"/>
                    <a:pt x="156086" y="604829"/>
                  </a:cubicBezTo>
                  <a:cubicBezTo>
                    <a:pt x="188722" y="607548"/>
                    <a:pt x="221358" y="577632"/>
                    <a:pt x="221358" y="544997"/>
                  </a:cubicBezTo>
                  <a:cubicBezTo>
                    <a:pt x="221358" y="539557"/>
                    <a:pt x="221358" y="194161"/>
                    <a:pt x="221358" y="194161"/>
                  </a:cubicBezTo>
                  <a:cubicBezTo>
                    <a:pt x="221358" y="164245"/>
                    <a:pt x="224078" y="134329"/>
                    <a:pt x="210479" y="109852"/>
                  </a:cubicBezTo>
                  <a:cubicBezTo>
                    <a:pt x="196881" y="79935"/>
                    <a:pt x="158806" y="58178"/>
                    <a:pt x="118011" y="58178"/>
                  </a:cubicBezTo>
                  <a:cubicBezTo>
                    <a:pt x="79936" y="58178"/>
                    <a:pt x="58178" y="88094"/>
                    <a:pt x="58178" y="88094"/>
                  </a:cubicBezTo>
                  <a:cubicBezTo>
                    <a:pt x="58178" y="88094"/>
                    <a:pt x="77216" y="93534"/>
                    <a:pt x="88095" y="120730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B7D561CC-A307-418B-BB5B-2E9F6029C1FE}"/>
                </a:ext>
              </a:extLst>
            </p:cNvPr>
            <p:cNvSpPr/>
            <p:nvPr/>
          </p:nvSpPr>
          <p:spPr>
            <a:xfrm>
              <a:off x="8751819" y="3234667"/>
              <a:ext cx="271966" cy="652717"/>
            </a:xfrm>
            <a:custGeom>
              <a:avLst/>
              <a:gdLst>
                <a:gd name="connsiteX0" fmla="*/ 191663 w 271965"/>
                <a:gd name="connsiteY0" fmla="*/ 542449 h 652717"/>
                <a:gd name="connsiteX1" fmla="*/ 186224 w 271965"/>
                <a:gd name="connsiteY1" fmla="*/ 509813 h 652717"/>
                <a:gd name="connsiteX2" fmla="*/ 186224 w 271965"/>
                <a:gd name="connsiteY2" fmla="*/ 118183 h 652717"/>
                <a:gd name="connsiteX3" fmla="*/ 123672 w 271965"/>
                <a:gd name="connsiteY3" fmla="*/ 58350 h 652717"/>
                <a:gd name="connsiteX4" fmla="*/ 58400 w 271965"/>
                <a:gd name="connsiteY4" fmla="*/ 118183 h 652717"/>
                <a:gd name="connsiteX5" fmla="*/ 58400 w 271965"/>
                <a:gd name="connsiteY5" fmla="*/ 469018 h 652717"/>
                <a:gd name="connsiteX6" fmla="*/ 69279 w 271965"/>
                <a:gd name="connsiteY6" fmla="*/ 553328 h 652717"/>
                <a:gd name="connsiteX7" fmla="*/ 161747 w 271965"/>
                <a:gd name="connsiteY7" fmla="*/ 605001 h 652717"/>
                <a:gd name="connsiteX8" fmla="*/ 221580 w 271965"/>
                <a:gd name="connsiteY8" fmla="*/ 575085 h 652717"/>
                <a:gd name="connsiteX9" fmla="*/ 191663 w 271965"/>
                <a:gd name="connsiteY9" fmla="*/ 542449 h 6527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71965" h="652717">
                  <a:moveTo>
                    <a:pt x="191663" y="542449"/>
                  </a:moveTo>
                  <a:cubicBezTo>
                    <a:pt x="188944" y="531570"/>
                    <a:pt x="186224" y="520692"/>
                    <a:pt x="186224" y="509813"/>
                  </a:cubicBezTo>
                  <a:cubicBezTo>
                    <a:pt x="186224" y="507093"/>
                    <a:pt x="186224" y="120902"/>
                    <a:pt x="186224" y="118183"/>
                  </a:cubicBezTo>
                  <a:cubicBezTo>
                    <a:pt x="186224" y="85547"/>
                    <a:pt x="156308" y="58350"/>
                    <a:pt x="123672" y="58350"/>
                  </a:cubicBezTo>
                  <a:cubicBezTo>
                    <a:pt x="91036" y="55631"/>
                    <a:pt x="58400" y="85547"/>
                    <a:pt x="58400" y="118183"/>
                  </a:cubicBezTo>
                  <a:cubicBezTo>
                    <a:pt x="58400" y="123622"/>
                    <a:pt x="58400" y="469018"/>
                    <a:pt x="58400" y="469018"/>
                  </a:cubicBezTo>
                  <a:cubicBezTo>
                    <a:pt x="58400" y="498934"/>
                    <a:pt x="55680" y="528851"/>
                    <a:pt x="69279" y="553328"/>
                  </a:cubicBezTo>
                  <a:cubicBezTo>
                    <a:pt x="82877" y="583244"/>
                    <a:pt x="120953" y="605001"/>
                    <a:pt x="161747" y="605001"/>
                  </a:cubicBezTo>
                  <a:cubicBezTo>
                    <a:pt x="199822" y="605001"/>
                    <a:pt x="221580" y="575085"/>
                    <a:pt x="221580" y="575085"/>
                  </a:cubicBezTo>
                  <a:cubicBezTo>
                    <a:pt x="221580" y="575085"/>
                    <a:pt x="202542" y="566926"/>
                    <a:pt x="191663" y="542449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3B41DF09-4DE2-4BA3-8850-42F1FE05A316}"/>
                </a:ext>
              </a:extLst>
            </p:cNvPr>
            <p:cNvSpPr/>
            <p:nvPr/>
          </p:nvSpPr>
          <p:spPr>
            <a:xfrm>
              <a:off x="6320666" y="3416868"/>
              <a:ext cx="435145" cy="462341"/>
            </a:xfrm>
            <a:custGeom>
              <a:avLst/>
              <a:gdLst>
                <a:gd name="connsiteX0" fmla="*/ 302948 w 435145"/>
                <a:gd name="connsiteY0" fmla="*/ 74684 h 462341"/>
                <a:gd name="connsiteX1" fmla="*/ 186003 w 435145"/>
                <a:gd name="connsiteY1" fmla="*/ 148115 h 462341"/>
                <a:gd name="connsiteX2" fmla="*/ 186003 w 435145"/>
                <a:gd name="connsiteY2" fmla="*/ 148115 h 462341"/>
                <a:gd name="connsiteX3" fmla="*/ 186003 w 435145"/>
                <a:gd name="connsiteY3" fmla="*/ 115479 h 462341"/>
                <a:gd name="connsiteX4" fmla="*/ 123450 w 435145"/>
                <a:gd name="connsiteY4" fmla="*/ 58366 h 462341"/>
                <a:gd name="connsiteX5" fmla="*/ 58178 w 435145"/>
                <a:gd name="connsiteY5" fmla="*/ 115479 h 462341"/>
                <a:gd name="connsiteX6" fmla="*/ 58178 w 435145"/>
                <a:gd name="connsiteY6" fmla="*/ 362967 h 462341"/>
                <a:gd name="connsiteX7" fmla="*/ 120730 w 435145"/>
                <a:gd name="connsiteY7" fmla="*/ 422800 h 462341"/>
                <a:gd name="connsiteX8" fmla="*/ 186003 w 435145"/>
                <a:gd name="connsiteY8" fmla="*/ 362967 h 462341"/>
                <a:gd name="connsiteX9" fmla="*/ 186003 w 435145"/>
                <a:gd name="connsiteY9" fmla="*/ 213386 h 462341"/>
                <a:gd name="connsiteX10" fmla="*/ 186003 w 435145"/>
                <a:gd name="connsiteY10" fmla="*/ 213386 h 462341"/>
                <a:gd name="connsiteX11" fmla="*/ 229517 w 435145"/>
                <a:gd name="connsiteY11" fmla="*/ 161713 h 462341"/>
                <a:gd name="connsiteX12" fmla="*/ 259433 w 435145"/>
                <a:gd name="connsiteY12" fmla="*/ 194349 h 462341"/>
                <a:gd name="connsiteX13" fmla="*/ 259433 w 435145"/>
                <a:gd name="connsiteY13" fmla="*/ 362967 h 462341"/>
                <a:gd name="connsiteX14" fmla="*/ 321985 w 435145"/>
                <a:gd name="connsiteY14" fmla="*/ 422800 h 462341"/>
                <a:gd name="connsiteX15" fmla="*/ 387257 w 435145"/>
                <a:gd name="connsiteY15" fmla="*/ 362967 h 462341"/>
                <a:gd name="connsiteX16" fmla="*/ 387257 w 435145"/>
                <a:gd name="connsiteY16" fmla="*/ 273219 h 462341"/>
                <a:gd name="connsiteX17" fmla="*/ 302948 w 435145"/>
                <a:gd name="connsiteY17" fmla="*/ 74684 h 4623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435145" h="462341">
                  <a:moveTo>
                    <a:pt x="302948" y="74684"/>
                  </a:moveTo>
                  <a:cubicBezTo>
                    <a:pt x="234956" y="74684"/>
                    <a:pt x="196881" y="131797"/>
                    <a:pt x="186003" y="148115"/>
                  </a:cubicBezTo>
                  <a:lnTo>
                    <a:pt x="186003" y="148115"/>
                  </a:lnTo>
                  <a:cubicBezTo>
                    <a:pt x="186003" y="129077"/>
                    <a:pt x="186003" y="115479"/>
                    <a:pt x="186003" y="115479"/>
                  </a:cubicBezTo>
                  <a:cubicBezTo>
                    <a:pt x="186003" y="82843"/>
                    <a:pt x="156086" y="58366"/>
                    <a:pt x="123450" y="58366"/>
                  </a:cubicBezTo>
                  <a:cubicBezTo>
                    <a:pt x="90814" y="55646"/>
                    <a:pt x="58178" y="82843"/>
                    <a:pt x="58178" y="115479"/>
                  </a:cubicBezTo>
                  <a:cubicBezTo>
                    <a:pt x="58178" y="120918"/>
                    <a:pt x="58178" y="360248"/>
                    <a:pt x="58178" y="362967"/>
                  </a:cubicBezTo>
                  <a:cubicBezTo>
                    <a:pt x="58178" y="395603"/>
                    <a:pt x="88095" y="422800"/>
                    <a:pt x="120730" y="422800"/>
                  </a:cubicBezTo>
                  <a:cubicBezTo>
                    <a:pt x="153366" y="425519"/>
                    <a:pt x="186003" y="395603"/>
                    <a:pt x="186003" y="362967"/>
                  </a:cubicBezTo>
                  <a:cubicBezTo>
                    <a:pt x="186003" y="360248"/>
                    <a:pt x="186003" y="281378"/>
                    <a:pt x="186003" y="213386"/>
                  </a:cubicBezTo>
                  <a:lnTo>
                    <a:pt x="186003" y="213386"/>
                  </a:lnTo>
                  <a:cubicBezTo>
                    <a:pt x="191442" y="186190"/>
                    <a:pt x="205040" y="161713"/>
                    <a:pt x="229517" y="161713"/>
                  </a:cubicBezTo>
                  <a:cubicBezTo>
                    <a:pt x="259433" y="161713"/>
                    <a:pt x="259433" y="194349"/>
                    <a:pt x="259433" y="194349"/>
                  </a:cubicBezTo>
                  <a:lnTo>
                    <a:pt x="259433" y="362967"/>
                  </a:lnTo>
                  <a:cubicBezTo>
                    <a:pt x="259433" y="395603"/>
                    <a:pt x="289349" y="422800"/>
                    <a:pt x="321985" y="422800"/>
                  </a:cubicBezTo>
                  <a:cubicBezTo>
                    <a:pt x="354621" y="425519"/>
                    <a:pt x="387257" y="395603"/>
                    <a:pt x="387257" y="362967"/>
                  </a:cubicBezTo>
                  <a:lnTo>
                    <a:pt x="387257" y="273219"/>
                  </a:lnTo>
                  <a:cubicBezTo>
                    <a:pt x="387257" y="183470"/>
                    <a:pt x="395416" y="71964"/>
                    <a:pt x="302948" y="74684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2F743D14-4DD4-4BBF-9C77-D2CF60D0443C}"/>
                </a:ext>
              </a:extLst>
            </p:cNvPr>
            <p:cNvSpPr/>
            <p:nvPr/>
          </p:nvSpPr>
          <p:spPr>
            <a:xfrm>
              <a:off x="7960620" y="3416868"/>
              <a:ext cx="435145" cy="462341"/>
            </a:xfrm>
            <a:custGeom>
              <a:avLst/>
              <a:gdLst>
                <a:gd name="connsiteX0" fmla="*/ 302948 w 435145"/>
                <a:gd name="connsiteY0" fmla="*/ 74684 h 462341"/>
                <a:gd name="connsiteX1" fmla="*/ 186002 w 435145"/>
                <a:gd name="connsiteY1" fmla="*/ 148115 h 462341"/>
                <a:gd name="connsiteX2" fmla="*/ 186002 w 435145"/>
                <a:gd name="connsiteY2" fmla="*/ 148115 h 462341"/>
                <a:gd name="connsiteX3" fmla="*/ 186002 w 435145"/>
                <a:gd name="connsiteY3" fmla="*/ 115479 h 462341"/>
                <a:gd name="connsiteX4" fmla="*/ 123450 w 435145"/>
                <a:gd name="connsiteY4" fmla="*/ 58366 h 462341"/>
                <a:gd name="connsiteX5" fmla="*/ 58178 w 435145"/>
                <a:gd name="connsiteY5" fmla="*/ 115479 h 462341"/>
                <a:gd name="connsiteX6" fmla="*/ 58178 w 435145"/>
                <a:gd name="connsiteY6" fmla="*/ 362967 h 462341"/>
                <a:gd name="connsiteX7" fmla="*/ 120730 w 435145"/>
                <a:gd name="connsiteY7" fmla="*/ 422800 h 462341"/>
                <a:gd name="connsiteX8" fmla="*/ 186002 w 435145"/>
                <a:gd name="connsiteY8" fmla="*/ 362967 h 462341"/>
                <a:gd name="connsiteX9" fmla="*/ 186002 w 435145"/>
                <a:gd name="connsiteY9" fmla="*/ 213386 h 462341"/>
                <a:gd name="connsiteX10" fmla="*/ 186002 w 435145"/>
                <a:gd name="connsiteY10" fmla="*/ 213386 h 462341"/>
                <a:gd name="connsiteX11" fmla="*/ 229517 w 435145"/>
                <a:gd name="connsiteY11" fmla="*/ 161713 h 462341"/>
                <a:gd name="connsiteX12" fmla="*/ 259433 w 435145"/>
                <a:gd name="connsiteY12" fmla="*/ 194349 h 462341"/>
                <a:gd name="connsiteX13" fmla="*/ 259433 w 435145"/>
                <a:gd name="connsiteY13" fmla="*/ 362967 h 462341"/>
                <a:gd name="connsiteX14" fmla="*/ 321985 w 435145"/>
                <a:gd name="connsiteY14" fmla="*/ 422800 h 462341"/>
                <a:gd name="connsiteX15" fmla="*/ 387257 w 435145"/>
                <a:gd name="connsiteY15" fmla="*/ 362967 h 462341"/>
                <a:gd name="connsiteX16" fmla="*/ 387257 w 435145"/>
                <a:gd name="connsiteY16" fmla="*/ 273219 h 462341"/>
                <a:gd name="connsiteX17" fmla="*/ 302948 w 435145"/>
                <a:gd name="connsiteY17" fmla="*/ 74684 h 4623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435145" h="462341">
                  <a:moveTo>
                    <a:pt x="302948" y="74684"/>
                  </a:moveTo>
                  <a:cubicBezTo>
                    <a:pt x="234956" y="74684"/>
                    <a:pt x="196881" y="131797"/>
                    <a:pt x="186002" y="148115"/>
                  </a:cubicBezTo>
                  <a:lnTo>
                    <a:pt x="186002" y="148115"/>
                  </a:lnTo>
                  <a:cubicBezTo>
                    <a:pt x="186002" y="129077"/>
                    <a:pt x="186002" y="115479"/>
                    <a:pt x="186002" y="115479"/>
                  </a:cubicBezTo>
                  <a:cubicBezTo>
                    <a:pt x="186002" y="82843"/>
                    <a:pt x="156086" y="58366"/>
                    <a:pt x="123450" y="58366"/>
                  </a:cubicBezTo>
                  <a:cubicBezTo>
                    <a:pt x="90814" y="55646"/>
                    <a:pt x="58178" y="82843"/>
                    <a:pt x="58178" y="115479"/>
                  </a:cubicBezTo>
                  <a:cubicBezTo>
                    <a:pt x="58178" y="120918"/>
                    <a:pt x="58178" y="360248"/>
                    <a:pt x="58178" y="362967"/>
                  </a:cubicBezTo>
                  <a:cubicBezTo>
                    <a:pt x="58178" y="395603"/>
                    <a:pt x="88095" y="422800"/>
                    <a:pt x="120730" y="422800"/>
                  </a:cubicBezTo>
                  <a:cubicBezTo>
                    <a:pt x="153366" y="425519"/>
                    <a:pt x="186002" y="395603"/>
                    <a:pt x="186002" y="362967"/>
                  </a:cubicBezTo>
                  <a:cubicBezTo>
                    <a:pt x="186002" y="360248"/>
                    <a:pt x="186002" y="281378"/>
                    <a:pt x="186002" y="213386"/>
                  </a:cubicBezTo>
                  <a:lnTo>
                    <a:pt x="186002" y="213386"/>
                  </a:lnTo>
                  <a:cubicBezTo>
                    <a:pt x="191442" y="186190"/>
                    <a:pt x="205040" y="161713"/>
                    <a:pt x="229517" y="161713"/>
                  </a:cubicBezTo>
                  <a:cubicBezTo>
                    <a:pt x="259433" y="161713"/>
                    <a:pt x="259433" y="194349"/>
                    <a:pt x="259433" y="194349"/>
                  </a:cubicBezTo>
                  <a:lnTo>
                    <a:pt x="259433" y="362967"/>
                  </a:lnTo>
                  <a:cubicBezTo>
                    <a:pt x="259433" y="395603"/>
                    <a:pt x="289349" y="422800"/>
                    <a:pt x="321985" y="422800"/>
                  </a:cubicBezTo>
                  <a:cubicBezTo>
                    <a:pt x="354621" y="425519"/>
                    <a:pt x="387257" y="395603"/>
                    <a:pt x="387257" y="362967"/>
                  </a:cubicBezTo>
                  <a:lnTo>
                    <a:pt x="387257" y="273219"/>
                  </a:lnTo>
                  <a:cubicBezTo>
                    <a:pt x="384537" y="183470"/>
                    <a:pt x="395416" y="71964"/>
                    <a:pt x="302948" y="74684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39390E2C-0C7D-4CE4-9EDE-DDC867E57F7C}"/>
                </a:ext>
              </a:extLst>
            </p:cNvPr>
            <p:cNvSpPr/>
            <p:nvPr/>
          </p:nvSpPr>
          <p:spPr>
            <a:xfrm>
              <a:off x="5020669" y="3416868"/>
              <a:ext cx="435145" cy="462341"/>
            </a:xfrm>
            <a:custGeom>
              <a:avLst/>
              <a:gdLst>
                <a:gd name="connsiteX0" fmla="*/ 302948 w 435145"/>
                <a:gd name="connsiteY0" fmla="*/ 74684 h 462341"/>
                <a:gd name="connsiteX1" fmla="*/ 186002 w 435145"/>
                <a:gd name="connsiteY1" fmla="*/ 148115 h 462341"/>
                <a:gd name="connsiteX2" fmla="*/ 186002 w 435145"/>
                <a:gd name="connsiteY2" fmla="*/ 148115 h 462341"/>
                <a:gd name="connsiteX3" fmla="*/ 186002 w 435145"/>
                <a:gd name="connsiteY3" fmla="*/ 115479 h 462341"/>
                <a:gd name="connsiteX4" fmla="*/ 123450 w 435145"/>
                <a:gd name="connsiteY4" fmla="*/ 58366 h 462341"/>
                <a:gd name="connsiteX5" fmla="*/ 58178 w 435145"/>
                <a:gd name="connsiteY5" fmla="*/ 115479 h 462341"/>
                <a:gd name="connsiteX6" fmla="*/ 58178 w 435145"/>
                <a:gd name="connsiteY6" fmla="*/ 362967 h 462341"/>
                <a:gd name="connsiteX7" fmla="*/ 120730 w 435145"/>
                <a:gd name="connsiteY7" fmla="*/ 422800 h 462341"/>
                <a:gd name="connsiteX8" fmla="*/ 186002 w 435145"/>
                <a:gd name="connsiteY8" fmla="*/ 362967 h 462341"/>
                <a:gd name="connsiteX9" fmla="*/ 186002 w 435145"/>
                <a:gd name="connsiteY9" fmla="*/ 213386 h 462341"/>
                <a:gd name="connsiteX10" fmla="*/ 186002 w 435145"/>
                <a:gd name="connsiteY10" fmla="*/ 213386 h 462341"/>
                <a:gd name="connsiteX11" fmla="*/ 229517 w 435145"/>
                <a:gd name="connsiteY11" fmla="*/ 161713 h 462341"/>
                <a:gd name="connsiteX12" fmla="*/ 259433 w 435145"/>
                <a:gd name="connsiteY12" fmla="*/ 194349 h 462341"/>
                <a:gd name="connsiteX13" fmla="*/ 259433 w 435145"/>
                <a:gd name="connsiteY13" fmla="*/ 362967 h 462341"/>
                <a:gd name="connsiteX14" fmla="*/ 321985 w 435145"/>
                <a:gd name="connsiteY14" fmla="*/ 422800 h 462341"/>
                <a:gd name="connsiteX15" fmla="*/ 387257 w 435145"/>
                <a:gd name="connsiteY15" fmla="*/ 362967 h 462341"/>
                <a:gd name="connsiteX16" fmla="*/ 387257 w 435145"/>
                <a:gd name="connsiteY16" fmla="*/ 273219 h 462341"/>
                <a:gd name="connsiteX17" fmla="*/ 302948 w 435145"/>
                <a:gd name="connsiteY17" fmla="*/ 74684 h 4623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435145" h="462341">
                  <a:moveTo>
                    <a:pt x="302948" y="74684"/>
                  </a:moveTo>
                  <a:cubicBezTo>
                    <a:pt x="234956" y="74684"/>
                    <a:pt x="196881" y="131797"/>
                    <a:pt x="186002" y="148115"/>
                  </a:cubicBezTo>
                  <a:lnTo>
                    <a:pt x="186002" y="148115"/>
                  </a:lnTo>
                  <a:cubicBezTo>
                    <a:pt x="186002" y="129077"/>
                    <a:pt x="186002" y="115479"/>
                    <a:pt x="186002" y="115479"/>
                  </a:cubicBezTo>
                  <a:cubicBezTo>
                    <a:pt x="186002" y="82843"/>
                    <a:pt x="156086" y="58366"/>
                    <a:pt x="123450" y="58366"/>
                  </a:cubicBezTo>
                  <a:cubicBezTo>
                    <a:pt x="90814" y="55646"/>
                    <a:pt x="58178" y="82843"/>
                    <a:pt x="58178" y="115479"/>
                  </a:cubicBezTo>
                  <a:cubicBezTo>
                    <a:pt x="58178" y="120918"/>
                    <a:pt x="58178" y="360248"/>
                    <a:pt x="58178" y="362967"/>
                  </a:cubicBezTo>
                  <a:cubicBezTo>
                    <a:pt x="58178" y="395603"/>
                    <a:pt x="88094" y="422800"/>
                    <a:pt x="120730" y="422800"/>
                  </a:cubicBezTo>
                  <a:cubicBezTo>
                    <a:pt x="153366" y="425519"/>
                    <a:pt x="186002" y="395603"/>
                    <a:pt x="186002" y="362967"/>
                  </a:cubicBezTo>
                  <a:cubicBezTo>
                    <a:pt x="186002" y="360248"/>
                    <a:pt x="186002" y="281378"/>
                    <a:pt x="186002" y="213386"/>
                  </a:cubicBezTo>
                  <a:lnTo>
                    <a:pt x="186002" y="213386"/>
                  </a:lnTo>
                  <a:cubicBezTo>
                    <a:pt x="191442" y="186190"/>
                    <a:pt x="205040" y="161713"/>
                    <a:pt x="229517" y="161713"/>
                  </a:cubicBezTo>
                  <a:cubicBezTo>
                    <a:pt x="259433" y="161713"/>
                    <a:pt x="259433" y="194349"/>
                    <a:pt x="259433" y="194349"/>
                  </a:cubicBezTo>
                  <a:lnTo>
                    <a:pt x="259433" y="362967"/>
                  </a:lnTo>
                  <a:cubicBezTo>
                    <a:pt x="259433" y="395603"/>
                    <a:pt x="289349" y="422800"/>
                    <a:pt x="321985" y="422800"/>
                  </a:cubicBezTo>
                  <a:cubicBezTo>
                    <a:pt x="354621" y="425519"/>
                    <a:pt x="387257" y="395603"/>
                    <a:pt x="387257" y="362967"/>
                  </a:cubicBezTo>
                  <a:lnTo>
                    <a:pt x="387257" y="273219"/>
                  </a:lnTo>
                  <a:cubicBezTo>
                    <a:pt x="384537" y="183470"/>
                    <a:pt x="395416" y="71964"/>
                    <a:pt x="302948" y="74684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54A0F7AE-90E5-429D-94C7-CEF924483DC2}"/>
                </a:ext>
              </a:extLst>
            </p:cNvPr>
            <p:cNvSpPr/>
            <p:nvPr/>
          </p:nvSpPr>
          <p:spPr>
            <a:xfrm>
              <a:off x="7616289" y="3475234"/>
              <a:ext cx="364436" cy="364434"/>
            </a:xfrm>
            <a:custGeom>
              <a:avLst/>
              <a:gdLst>
                <a:gd name="connsiteX0" fmla="*/ 182218 w 364436"/>
                <a:gd name="connsiteY0" fmla="*/ 73431 h 364434"/>
                <a:gd name="connsiteX1" fmla="*/ 130544 w 364436"/>
                <a:gd name="connsiteY1" fmla="*/ 179499 h 364434"/>
                <a:gd name="connsiteX2" fmla="*/ 182218 w 364436"/>
                <a:gd name="connsiteY2" fmla="*/ 285565 h 364434"/>
                <a:gd name="connsiteX3" fmla="*/ 233891 w 364436"/>
                <a:gd name="connsiteY3" fmla="*/ 179499 h 364434"/>
                <a:gd name="connsiteX4" fmla="*/ 182218 w 364436"/>
                <a:gd name="connsiteY4" fmla="*/ 73431 h 364434"/>
                <a:gd name="connsiteX5" fmla="*/ 182219 w 364436"/>
                <a:gd name="connsiteY5" fmla="*/ 0 h 364434"/>
                <a:gd name="connsiteX6" fmla="*/ 364436 w 364436"/>
                <a:gd name="connsiteY6" fmla="*/ 182217 h 364434"/>
                <a:gd name="connsiteX7" fmla="*/ 182219 w 364436"/>
                <a:gd name="connsiteY7" fmla="*/ 364434 h 364434"/>
                <a:gd name="connsiteX8" fmla="*/ 0 w 364436"/>
                <a:gd name="connsiteY8" fmla="*/ 182217 h 364434"/>
                <a:gd name="connsiteX9" fmla="*/ 182219 w 364436"/>
                <a:gd name="connsiteY9" fmla="*/ 0 h 3644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64436" h="364434">
                  <a:moveTo>
                    <a:pt x="182218" y="73431"/>
                  </a:moveTo>
                  <a:cubicBezTo>
                    <a:pt x="152302" y="76151"/>
                    <a:pt x="130544" y="114226"/>
                    <a:pt x="130544" y="179499"/>
                  </a:cubicBezTo>
                  <a:cubicBezTo>
                    <a:pt x="130544" y="244770"/>
                    <a:pt x="146862" y="285565"/>
                    <a:pt x="182218" y="285565"/>
                  </a:cubicBezTo>
                  <a:cubicBezTo>
                    <a:pt x="217573" y="285565"/>
                    <a:pt x="233891" y="247490"/>
                    <a:pt x="233891" y="179499"/>
                  </a:cubicBezTo>
                  <a:cubicBezTo>
                    <a:pt x="233891" y="114226"/>
                    <a:pt x="212134" y="73431"/>
                    <a:pt x="182218" y="73431"/>
                  </a:cubicBezTo>
                  <a:close/>
                  <a:moveTo>
                    <a:pt x="182219" y="0"/>
                  </a:moveTo>
                  <a:cubicBezTo>
                    <a:pt x="282846" y="0"/>
                    <a:pt x="364436" y="81590"/>
                    <a:pt x="364436" y="182217"/>
                  </a:cubicBezTo>
                  <a:cubicBezTo>
                    <a:pt x="364436" y="282844"/>
                    <a:pt x="282846" y="364434"/>
                    <a:pt x="182219" y="364434"/>
                  </a:cubicBezTo>
                  <a:cubicBezTo>
                    <a:pt x="81591" y="364434"/>
                    <a:pt x="0" y="282844"/>
                    <a:pt x="0" y="182217"/>
                  </a:cubicBezTo>
                  <a:cubicBezTo>
                    <a:pt x="0" y="81590"/>
                    <a:pt x="81591" y="0"/>
                    <a:pt x="182219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975E2EAA-30F6-4FD9-AD9B-7853CD78081E}"/>
                </a:ext>
              </a:extLst>
            </p:cNvPr>
            <p:cNvSpPr/>
            <p:nvPr/>
          </p:nvSpPr>
          <p:spPr>
            <a:xfrm>
              <a:off x="6743101" y="3464184"/>
              <a:ext cx="372773" cy="375657"/>
            </a:xfrm>
            <a:custGeom>
              <a:avLst/>
              <a:gdLst>
                <a:gd name="connsiteX0" fmla="*/ 176958 w 372773"/>
                <a:gd name="connsiteY0" fmla="*/ 98080 h 375657"/>
                <a:gd name="connsiteX1" fmla="*/ 125284 w 372773"/>
                <a:gd name="connsiteY1" fmla="*/ 190548 h 375657"/>
                <a:gd name="connsiteX2" fmla="*/ 176958 w 372773"/>
                <a:gd name="connsiteY2" fmla="*/ 283017 h 375657"/>
                <a:gd name="connsiteX3" fmla="*/ 228631 w 372773"/>
                <a:gd name="connsiteY3" fmla="*/ 190548 h 375657"/>
                <a:gd name="connsiteX4" fmla="*/ 176958 w 372773"/>
                <a:gd name="connsiteY4" fmla="*/ 98080 h 375657"/>
                <a:gd name="connsiteX5" fmla="*/ 307501 w 372773"/>
                <a:gd name="connsiteY5" fmla="*/ 172 h 375657"/>
                <a:gd name="connsiteX6" fmla="*/ 372773 w 372773"/>
                <a:gd name="connsiteY6" fmla="*/ 62724 h 375657"/>
                <a:gd name="connsiteX7" fmla="*/ 372773 w 372773"/>
                <a:gd name="connsiteY7" fmla="*/ 312934 h 375657"/>
                <a:gd name="connsiteX8" fmla="*/ 302061 w 372773"/>
                <a:gd name="connsiteY8" fmla="*/ 375486 h 375657"/>
                <a:gd name="connsiteX9" fmla="*/ 239509 w 372773"/>
                <a:gd name="connsiteY9" fmla="*/ 326532 h 375657"/>
                <a:gd name="connsiteX10" fmla="*/ 179677 w 372773"/>
                <a:gd name="connsiteY10" fmla="*/ 370046 h 375657"/>
                <a:gd name="connsiteX11" fmla="*/ 70890 w 372773"/>
                <a:gd name="connsiteY11" fmla="*/ 353728 h 375657"/>
                <a:gd name="connsiteX12" fmla="*/ 128003 w 372773"/>
                <a:gd name="connsiteY12" fmla="*/ 11051 h 375657"/>
                <a:gd name="connsiteX13" fmla="*/ 236790 w 372773"/>
                <a:gd name="connsiteY13" fmla="*/ 70883 h 375657"/>
                <a:gd name="connsiteX14" fmla="*/ 236790 w 372773"/>
                <a:gd name="connsiteY14" fmla="*/ 62724 h 375657"/>
                <a:gd name="connsiteX15" fmla="*/ 307501 w 372773"/>
                <a:gd name="connsiteY15" fmla="*/ 172 h 3756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72773" h="375657">
                  <a:moveTo>
                    <a:pt x="176958" y="98080"/>
                  </a:moveTo>
                  <a:cubicBezTo>
                    <a:pt x="147042" y="100800"/>
                    <a:pt x="125284" y="133436"/>
                    <a:pt x="125284" y="190548"/>
                  </a:cubicBezTo>
                  <a:cubicBezTo>
                    <a:pt x="125284" y="247661"/>
                    <a:pt x="141602" y="283017"/>
                    <a:pt x="176958" y="283017"/>
                  </a:cubicBezTo>
                  <a:cubicBezTo>
                    <a:pt x="212314" y="283017"/>
                    <a:pt x="228631" y="247661"/>
                    <a:pt x="228631" y="190548"/>
                  </a:cubicBezTo>
                  <a:cubicBezTo>
                    <a:pt x="228631" y="133436"/>
                    <a:pt x="206874" y="98080"/>
                    <a:pt x="176958" y="98080"/>
                  </a:cubicBezTo>
                  <a:close/>
                  <a:moveTo>
                    <a:pt x="307501" y="172"/>
                  </a:moveTo>
                  <a:cubicBezTo>
                    <a:pt x="340137" y="172"/>
                    <a:pt x="372773" y="30088"/>
                    <a:pt x="372773" y="62724"/>
                  </a:cubicBezTo>
                  <a:cubicBezTo>
                    <a:pt x="372773" y="65444"/>
                    <a:pt x="372773" y="307494"/>
                    <a:pt x="372773" y="312934"/>
                  </a:cubicBezTo>
                  <a:cubicBezTo>
                    <a:pt x="370053" y="348289"/>
                    <a:pt x="337417" y="378205"/>
                    <a:pt x="302061" y="375486"/>
                  </a:cubicBezTo>
                  <a:cubicBezTo>
                    <a:pt x="274865" y="372766"/>
                    <a:pt x="247668" y="353728"/>
                    <a:pt x="239509" y="326532"/>
                  </a:cubicBezTo>
                  <a:cubicBezTo>
                    <a:pt x="225911" y="348289"/>
                    <a:pt x="198715" y="364607"/>
                    <a:pt x="179677" y="370046"/>
                  </a:cubicBezTo>
                  <a:cubicBezTo>
                    <a:pt x="147041" y="378205"/>
                    <a:pt x="100807" y="372766"/>
                    <a:pt x="70890" y="353728"/>
                  </a:cubicBezTo>
                  <a:cubicBezTo>
                    <a:pt x="-35177" y="285737"/>
                    <a:pt x="-27018" y="11051"/>
                    <a:pt x="128003" y="11051"/>
                  </a:cubicBezTo>
                  <a:cubicBezTo>
                    <a:pt x="185116" y="11051"/>
                    <a:pt x="220471" y="49126"/>
                    <a:pt x="236790" y="70883"/>
                  </a:cubicBezTo>
                  <a:cubicBezTo>
                    <a:pt x="236790" y="70883"/>
                    <a:pt x="236790" y="65444"/>
                    <a:pt x="236790" y="62724"/>
                  </a:cubicBezTo>
                  <a:cubicBezTo>
                    <a:pt x="239509" y="27369"/>
                    <a:pt x="272145" y="-2547"/>
                    <a:pt x="307501" y="172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B527C85E-1B82-4FE6-BBB7-5F2120F9A818}"/>
                </a:ext>
              </a:extLst>
            </p:cNvPr>
            <p:cNvSpPr/>
            <p:nvPr/>
          </p:nvSpPr>
          <p:spPr>
            <a:xfrm>
              <a:off x="8380335" y="3464184"/>
              <a:ext cx="372772" cy="375657"/>
            </a:xfrm>
            <a:custGeom>
              <a:avLst/>
              <a:gdLst>
                <a:gd name="connsiteX0" fmla="*/ 176957 w 372772"/>
                <a:gd name="connsiteY0" fmla="*/ 98080 h 375657"/>
                <a:gd name="connsiteX1" fmla="*/ 125282 w 372772"/>
                <a:gd name="connsiteY1" fmla="*/ 190548 h 375657"/>
                <a:gd name="connsiteX2" fmla="*/ 176957 w 372772"/>
                <a:gd name="connsiteY2" fmla="*/ 283017 h 375657"/>
                <a:gd name="connsiteX3" fmla="*/ 228630 w 372772"/>
                <a:gd name="connsiteY3" fmla="*/ 190548 h 375657"/>
                <a:gd name="connsiteX4" fmla="*/ 176957 w 372772"/>
                <a:gd name="connsiteY4" fmla="*/ 98080 h 375657"/>
                <a:gd name="connsiteX5" fmla="*/ 307501 w 372772"/>
                <a:gd name="connsiteY5" fmla="*/ 172 h 375657"/>
                <a:gd name="connsiteX6" fmla="*/ 372772 w 372772"/>
                <a:gd name="connsiteY6" fmla="*/ 62724 h 375657"/>
                <a:gd name="connsiteX7" fmla="*/ 372772 w 372772"/>
                <a:gd name="connsiteY7" fmla="*/ 312934 h 375657"/>
                <a:gd name="connsiteX8" fmla="*/ 302062 w 372772"/>
                <a:gd name="connsiteY8" fmla="*/ 375486 h 375657"/>
                <a:gd name="connsiteX9" fmla="*/ 239509 w 372772"/>
                <a:gd name="connsiteY9" fmla="*/ 326532 h 375657"/>
                <a:gd name="connsiteX10" fmla="*/ 179677 w 372772"/>
                <a:gd name="connsiteY10" fmla="*/ 370046 h 375657"/>
                <a:gd name="connsiteX11" fmla="*/ 70890 w 372772"/>
                <a:gd name="connsiteY11" fmla="*/ 353728 h 375657"/>
                <a:gd name="connsiteX12" fmla="*/ 128002 w 372772"/>
                <a:gd name="connsiteY12" fmla="*/ 11051 h 375657"/>
                <a:gd name="connsiteX13" fmla="*/ 236790 w 372772"/>
                <a:gd name="connsiteY13" fmla="*/ 70883 h 375657"/>
                <a:gd name="connsiteX14" fmla="*/ 236790 w 372772"/>
                <a:gd name="connsiteY14" fmla="*/ 62724 h 375657"/>
                <a:gd name="connsiteX15" fmla="*/ 307501 w 372772"/>
                <a:gd name="connsiteY15" fmla="*/ 172 h 3756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72772" h="375657">
                  <a:moveTo>
                    <a:pt x="176957" y="98080"/>
                  </a:moveTo>
                  <a:cubicBezTo>
                    <a:pt x="147039" y="100800"/>
                    <a:pt x="125282" y="133436"/>
                    <a:pt x="125282" y="190548"/>
                  </a:cubicBezTo>
                  <a:cubicBezTo>
                    <a:pt x="125282" y="247661"/>
                    <a:pt x="141600" y="283017"/>
                    <a:pt x="176957" y="283017"/>
                  </a:cubicBezTo>
                  <a:cubicBezTo>
                    <a:pt x="212312" y="283017"/>
                    <a:pt x="228630" y="247661"/>
                    <a:pt x="228630" y="190548"/>
                  </a:cubicBezTo>
                  <a:cubicBezTo>
                    <a:pt x="228630" y="133436"/>
                    <a:pt x="206873" y="98080"/>
                    <a:pt x="176957" y="98080"/>
                  </a:cubicBezTo>
                  <a:close/>
                  <a:moveTo>
                    <a:pt x="307501" y="172"/>
                  </a:moveTo>
                  <a:cubicBezTo>
                    <a:pt x="340137" y="172"/>
                    <a:pt x="372772" y="30088"/>
                    <a:pt x="372772" y="62724"/>
                  </a:cubicBezTo>
                  <a:cubicBezTo>
                    <a:pt x="372772" y="65444"/>
                    <a:pt x="372772" y="307494"/>
                    <a:pt x="372772" y="312934"/>
                  </a:cubicBezTo>
                  <a:cubicBezTo>
                    <a:pt x="370053" y="348289"/>
                    <a:pt x="337417" y="378205"/>
                    <a:pt x="302062" y="375486"/>
                  </a:cubicBezTo>
                  <a:cubicBezTo>
                    <a:pt x="274865" y="372766"/>
                    <a:pt x="247668" y="353728"/>
                    <a:pt x="239509" y="326532"/>
                  </a:cubicBezTo>
                  <a:cubicBezTo>
                    <a:pt x="228630" y="348289"/>
                    <a:pt x="198714" y="364607"/>
                    <a:pt x="179677" y="370046"/>
                  </a:cubicBezTo>
                  <a:cubicBezTo>
                    <a:pt x="147040" y="378205"/>
                    <a:pt x="100806" y="372766"/>
                    <a:pt x="70890" y="353728"/>
                  </a:cubicBezTo>
                  <a:cubicBezTo>
                    <a:pt x="-35177" y="285737"/>
                    <a:pt x="-27018" y="11051"/>
                    <a:pt x="128002" y="11051"/>
                  </a:cubicBezTo>
                  <a:cubicBezTo>
                    <a:pt x="185116" y="11051"/>
                    <a:pt x="220472" y="49126"/>
                    <a:pt x="236790" y="70883"/>
                  </a:cubicBezTo>
                  <a:cubicBezTo>
                    <a:pt x="236790" y="70883"/>
                    <a:pt x="236790" y="65444"/>
                    <a:pt x="236790" y="62724"/>
                  </a:cubicBezTo>
                  <a:cubicBezTo>
                    <a:pt x="239509" y="27369"/>
                    <a:pt x="272145" y="-2547"/>
                    <a:pt x="307501" y="172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9B55D4A9-FB64-4681-89C3-FE7FC1BA5D7D}"/>
                </a:ext>
              </a:extLst>
            </p:cNvPr>
            <p:cNvSpPr/>
            <p:nvPr/>
          </p:nvSpPr>
          <p:spPr>
            <a:xfrm>
              <a:off x="7389492" y="3444253"/>
              <a:ext cx="217573" cy="435145"/>
            </a:xfrm>
            <a:custGeom>
              <a:avLst/>
              <a:gdLst>
                <a:gd name="connsiteX0" fmla="*/ 186002 w 217572"/>
                <a:gd name="connsiteY0" fmla="*/ 118011 h 435144"/>
                <a:gd name="connsiteX1" fmla="*/ 128890 w 217572"/>
                <a:gd name="connsiteY1" fmla="*/ 58178 h 435144"/>
                <a:gd name="connsiteX2" fmla="*/ 123450 w 217572"/>
                <a:gd name="connsiteY2" fmla="*/ 58178 h 435144"/>
                <a:gd name="connsiteX3" fmla="*/ 58178 w 217572"/>
                <a:gd name="connsiteY3" fmla="*/ 115291 h 435144"/>
                <a:gd name="connsiteX4" fmla="*/ 58178 w 217572"/>
                <a:gd name="connsiteY4" fmla="*/ 232236 h 435144"/>
                <a:gd name="connsiteX5" fmla="*/ 58178 w 217572"/>
                <a:gd name="connsiteY5" fmla="*/ 232236 h 435144"/>
                <a:gd name="connsiteX6" fmla="*/ 58178 w 217572"/>
                <a:gd name="connsiteY6" fmla="*/ 335583 h 435144"/>
                <a:gd name="connsiteX7" fmla="*/ 115291 w 217572"/>
                <a:gd name="connsiteY7" fmla="*/ 395415 h 435144"/>
                <a:gd name="connsiteX8" fmla="*/ 120730 w 217572"/>
                <a:gd name="connsiteY8" fmla="*/ 395415 h 435144"/>
                <a:gd name="connsiteX9" fmla="*/ 186002 w 217572"/>
                <a:gd name="connsiteY9" fmla="*/ 338303 h 435144"/>
                <a:gd name="connsiteX10" fmla="*/ 186002 w 217572"/>
                <a:gd name="connsiteY10" fmla="*/ 240395 h 435144"/>
                <a:gd name="connsiteX11" fmla="*/ 186002 w 217572"/>
                <a:gd name="connsiteY11" fmla="*/ 240395 h 435144"/>
                <a:gd name="connsiteX12" fmla="*/ 186002 w 217572"/>
                <a:gd name="connsiteY12" fmla="*/ 118011 h 4351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17572" h="435144">
                  <a:moveTo>
                    <a:pt x="186002" y="118011"/>
                  </a:moveTo>
                  <a:cubicBezTo>
                    <a:pt x="183283" y="85375"/>
                    <a:pt x="158806" y="60898"/>
                    <a:pt x="128890" y="58178"/>
                  </a:cubicBezTo>
                  <a:cubicBezTo>
                    <a:pt x="126170" y="58178"/>
                    <a:pt x="126170" y="58178"/>
                    <a:pt x="123450" y="58178"/>
                  </a:cubicBezTo>
                  <a:cubicBezTo>
                    <a:pt x="96254" y="58178"/>
                    <a:pt x="58178" y="82655"/>
                    <a:pt x="58178" y="115291"/>
                  </a:cubicBezTo>
                  <a:lnTo>
                    <a:pt x="58178" y="232236"/>
                  </a:lnTo>
                  <a:lnTo>
                    <a:pt x="58178" y="232236"/>
                  </a:lnTo>
                  <a:cubicBezTo>
                    <a:pt x="58178" y="270311"/>
                    <a:pt x="58178" y="335583"/>
                    <a:pt x="58178" y="335583"/>
                  </a:cubicBezTo>
                  <a:cubicBezTo>
                    <a:pt x="60898" y="368219"/>
                    <a:pt x="85375" y="392696"/>
                    <a:pt x="115291" y="395415"/>
                  </a:cubicBezTo>
                  <a:cubicBezTo>
                    <a:pt x="118011" y="395415"/>
                    <a:pt x="118011" y="395415"/>
                    <a:pt x="120730" y="395415"/>
                  </a:cubicBezTo>
                  <a:cubicBezTo>
                    <a:pt x="147927" y="395415"/>
                    <a:pt x="186002" y="370938"/>
                    <a:pt x="186002" y="338303"/>
                  </a:cubicBezTo>
                  <a:lnTo>
                    <a:pt x="186002" y="240395"/>
                  </a:lnTo>
                  <a:lnTo>
                    <a:pt x="186002" y="240395"/>
                  </a:lnTo>
                  <a:cubicBezTo>
                    <a:pt x="186002" y="202320"/>
                    <a:pt x="186002" y="118011"/>
                    <a:pt x="186002" y="118011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B0CF25C3-5B20-4C65-97E6-2FCBDCF69FA5}"/>
                </a:ext>
              </a:extLst>
            </p:cNvPr>
            <p:cNvSpPr/>
            <p:nvPr/>
          </p:nvSpPr>
          <p:spPr>
            <a:xfrm>
              <a:off x="7392212" y="3280901"/>
              <a:ext cx="217573" cy="217572"/>
            </a:xfrm>
            <a:custGeom>
              <a:avLst/>
              <a:gdLst>
                <a:gd name="connsiteX0" fmla="*/ 183282 w 217572"/>
                <a:gd name="connsiteY0" fmla="*/ 120902 h 217572"/>
                <a:gd name="connsiteX1" fmla="*/ 120730 w 217572"/>
                <a:gd name="connsiteY1" fmla="*/ 183454 h 217572"/>
                <a:gd name="connsiteX2" fmla="*/ 58178 w 217572"/>
                <a:gd name="connsiteY2" fmla="*/ 120902 h 217572"/>
                <a:gd name="connsiteX3" fmla="*/ 120730 w 217572"/>
                <a:gd name="connsiteY3" fmla="*/ 58350 h 217572"/>
                <a:gd name="connsiteX4" fmla="*/ 183282 w 217572"/>
                <a:gd name="connsiteY4" fmla="*/ 120902 h 2175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17572" h="217572">
                  <a:moveTo>
                    <a:pt x="183282" y="120902"/>
                  </a:moveTo>
                  <a:cubicBezTo>
                    <a:pt x="183282" y="156258"/>
                    <a:pt x="156086" y="183454"/>
                    <a:pt x="120730" y="183454"/>
                  </a:cubicBezTo>
                  <a:cubicBezTo>
                    <a:pt x="85375" y="183454"/>
                    <a:pt x="58178" y="156258"/>
                    <a:pt x="58178" y="120902"/>
                  </a:cubicBezTo>
                  <a:cubicBezTo>
                    <a:pt x="58178" y="85547"/>
                    <a:pt x="85375" y="58350"/>
                    <a:pt x="120730" y="58350"/>
                  </a:cubicBezTo>
                  <a:cubicBezTo>
                    <a:pt x="153366" y="55630"/>
                    <a:pt x="183282" y="85547"/>
                    <a:pt x="183282" y="120902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75C2C835-ACA7-4713-BA24-2EC3F725F54B}"/>
                </a:ext>
              </a:extLst>
            </p:cNvPr>
            <p:cNvSpPr/>
            <p:nvPr/>
          </p:nvSpPr>
          <p:spPr>
            <a:xfrm>
              <a:off x="6005186" y="3416884"/>
              <a:ext cx="380752" cy="462341"/>
            </a:xfrm>
            <a:custGeom>
              <a:avLst/>
              <a:gdLst>
                <a:gd name="connsiteX0" fmla="*/ 270312 w 380752"/>
                <a:gd name="connsiteY0" fmla="*/ 69229 h 462341"/>
                <a:gd name="connsiteX1" fmla="*/ 188722 w 380752"/>
                <a:gd name="connsiteY1" fmla="*/ 134501 h 462341"/>
                <a:gd name="connsiteX2" fmla="*/ 188722 w 380752"/>
                <a:gd name="connsiteY2" fmla="*/ 118183 h 462341"/>
                <a:gd name="connsiteX3" fmla="*/ 126170 w 380752"/>
                <a:gd name="connsiteY3" fmla="*/ 58350 h 462341"/>
                <a:gd name="connsiteX4" fmla="*/ 58178 w 380752"/>
                <a:gd name="connsiteY4" fmla="*/ 118183 h 462341"/>
                <a:gd name="connsiteX5" fmla="*/ 58178 w 380752"/>
                <a:gd name="connsiteY5" fmla="*/ 210651 h 462341"/>
                <a:gd name="connsiteX6" fmla="*/ 58178 w 380752"/>
                <a:gd name="connsiteY6" fmla="*/ 365671 h 462341"/>
                <a:gd name="connsiteX7" fmla="*/ 58178 w 380752"/>
                <a:gd name="connsiteY7" fmla="*/ 365671 h 462341"/>
                <a:gd name="connsiteX8" fmla="*/ 120730 w 380752"/>
                <a:gd name="connsiteY8" fmla="*/ 425504 h 462341"/>
                <a:gd name="connsiteX9" fmla="*/ 186002 w 380752"/>
                <a:gd name="connsiteY9" fmla="*/ 365671 h 462341"/>
                <a:gd name="connsiteX10" fmla="*/ 186002 w 380752"/>
                <a:gd name="connsiteY10" fmla="*/ 365671 h 462341"/>
                <a:gd name="connsiteX11" fmla="*/ 186002 w 380752"/>
                <a:gd name="connsiteY11" fmla="*/ 210651 h 462341"/>
                <a:gd name="connsiteX12" fmla="*/ 215919 w 380752"/>
                <a:gd name="connsiteY12" fmla="*/ 158978 h 462341"/>
                <a:gd name="connsiteX13" fmla="*/ 275751 w 380752"/>
                <a:gd name="connsiteY13" fmla="*/ 221530 h 462341"/>
                <a:gd name="connsiteX14" fmla="*/ 270312 w 380752"/>
                <a:gd name="connsiteY14" fmla="*/ 69229 h 4623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80752" h="462341">
                  <a:moveTo>
                    <a:pt x="270312" y="69229"/>
                  </a:moveTo>
                  <a:cubicBezTo>
                    <a:pt x="232236" y="71949"/>
                    <a:pt x="213199" y="99145"/>
                    <a:pt x="188722" y="134501"/>
                  </a:cubicBezTo>
                  <a:cubicBezTo>
                    <a:pt x="188722" y="134501"/>
                    <a:pt x="188722" y="118183"/>
                    <a:pt x="188722" y="118183"/>
                  </a:cubicBezTo>
                  <a:cubicBezTo>
                    <a:pt x="188722" y="85547"/>
                    <a:pt x="158806" y="58350"/>
                    <a:pt x="126170" y="58350"/>
                  </a:cubicBezTo>
                  <a:cubicBezTo>
                    <a:pt x="93534" y="55631"/>
                    <a:pt x="60898" y="85547"/>
                    <a:pt x="58178" y="118183"/>
                  </a:cubicBezTo>
                  <a:lnTo>
                    <a:pt x="58178" y="210651"/>
                  </a:lnTo>
                  <a:lnTo>
                    <a:pt x="58178" y="365671"/>
                  </a:lnTo>
                  <a:lnTo>
                    <a:pt x="58178" y="365671"/>
                  </a:lnTo>
                  <a:cubicBezTo>
                    <a:pt x="58178" y="398307"/>
                    <a:pt x="88094" y="425504"/>
                    <a:pt x="120730" y="425504"/>
                  </a:cubicBezTo>
                  <a:cubicBezTo>
                    <a:pt x="153366" y="428224"/>
                    <a:pt x="186002" y="398307"/>
                    <a:pt x="186002" y="365671"/>
                  </a:cubicBezTo>
                  <a:lnTo>
                    <a:pt x="186002" y="365671"/>
                  </a:lnTo>
                  <a:lnTo>
                    <a:pt x="186002" y="210651"/>
                  </a:lnTo>
                  <a:cubicBezTo>
                    <a:pt x="188722" y="188894"/>
                    <a:pt x="196881" y="158978"/>
                    <a:pt x="215919" y="158978"/>
                  </a:cubicBezTo>
                  <a:cubicBezTo>
                    <a:pt x="243115" y="158978"/>
                    <a:pt x="215919" y="221530"/>
                    <a:pt x="275751" y="221530"/>
                  </a:cubicBezTo>
                  <a:cubicBezTo>
                    <a:pt x="362780" y="221530"/>
                    <a:pt x="373658" y="63790"/>
                    <a:pt x="270312" y="69229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4D839F09-6869-4782-997A-C1DB13D3FAFD}"/>
                </a:ext>
              </a:extLst>
            </p:cNvPr>
            <p:cNvSpPr/>
            <p:nvPr/>
          </p:nvSpPr>
          <p:spPr>
            <a:xfrm>
              <a:off x="5693490" y="3475234"/>
              <a:ext cx="337238" cy="364434"/>
            </a:xfrm>
            <a:custGeom>
              <a:avLst/>
              <a:gdLst>
                <a:gd name="connsiteX0" fmla="*/ 180433 w 337238"/>
                <a:gd name="connsiteY0" fmla="*/ 73984 h 364434"/>
                <a:gd name="connsiteX1" fmla="*/ 163180 w 337238"/>
                <a:gd name="connsiteY1" fmla="*/ 78870 h 364434"/>
                <a:gd name="connsiteX2" fmla="*/ 125105 w 337238"/>
                <a:gd name="connsiteY2" fmla="*/ 160461 h 364434"/>
                <a:gd name="connsiteX3" fmla="*/ 171339 w 337238"/>
                <a:gd name="connsiteY3" fmla="*/ 163180 h 364434"/>
                <a:gd name="connsiteX4" fmla="*/ 214854 w 337238"/>
                <a:gd name="connsiteY4" fmla="*/ 108787 h 364434"/>
                <a:gd name="connsiteX5" fmla="*/ 180433 w 337238"/>
                <a:gd name="connsiteY5" fmla="*/ 73984 h 364434"/>
                <a:gd name="connsiteX6" fmla="*/ 174059 w 337238"/>
                <a:gd name="connsiteY6" fmla="*/ 0 h 364434"/>
                <a:gd name="connsiteX7" fmla="*/ 337238 w 337238"/>
                <a:gd name="connsiteY7" fmla="*/ 119665 h 364434"/>
                <a:gd name="connsiteX8" fmla="*/ 133264 w 337238"/>
                <a:gd name="connsiteY8" fmla="*/ 217573 h 364434"/>
                <a:gd name="connsiteX9" fmla="*/ 225732 w 337238"/>
                <a:gd name="connsiteY9" fmla="*/ 277405 h 364434"/>
                <a:gd name="connsiteX10" fmla="*/ 320920 w 337238"/>
                <a:gd name="connsiteY10" fmla="*/ 250208 h 364434"/>
                <a:gd name="connsiteX11" fmla="*/ 174059 w 337238"/>
                <a:gd name="connsiteY11" fmla="*/ 364434 h 364434"/>
                <a:gd name="connsiteX12" fmla="*/ 0 w 337238"/>
                <a:gd name="connsiteY12" fmla="*/ 184937 h 364434"/>
                <a:gd name="connsiteX13" fmla="*/ 174059 w 337238"/>
                <a:gd name="connsiteY13" fmla="*/ 0 h 3644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37238" h="364434">
                  <a:moveTo>
                    <a:pt x="180433" y="73984"/>
                  </a:moveTo>
                  <a:cubicBezTo>
                    <a:pt x="174569" y="73941"/>
                    <a:pt x="168620" y="75471"/>
                    <a:pt x="163180" y="78870"/>
                  </a:cubicBezTo>
                  <a:cubicBezTo>
                    <a:pt x="135984" y="95189"/>
                    <a:pt x="127825" y="130544"/>
                    <a:pt x="125105" y="160461"/>
                  </a:cubicBezTo>
                  <a:cubicBezTo>
                    <a:pt x="125105" y="163180"/>
                    <a:pt x="168620" y="160461"/>
                    <a:pt x="171339" y="163180"/>
                  </a:cubicBezTo>
                  <a:cubicBezTo>
                    <a:pt x="195816" y="157741"/>
                    <a:pt x="214854" y="135984"/>
                    <a:pt x="214854" y="108787"/>
                  </a:cubicBezTo>
                  <a:cubicBezTo>
                    <a:pt x="214854" y="88389"/>
                    <a:pt x="198026" y="74111"/>
                    <a:pt x="180433" y="73984"/>
                  </a:cubicBezTo>
                  <a:close/>
                  <a:moveTo>
                    <a:pt x="174059" y="0"/>
                  </a:moveTo>
                  <a:cubicBezTo>
                    <a:pt x="233891" y="0"/>
                    <a:pt x="337238" y="29916"/>
                    <a:pt x="337238" y="119665"/>
                  </a:cubicBezTo>
                  <a:cubicBezTo>
                    <a:pt x="337238" y="209414"/>
                    <a:pt x="244770" y="217573"/>
                    <a:pt x="133264" y="217573"/>
                  </a:cubicBezTo>
                  <a:cubicBezTo>
                    <a:pt x="133264" y="217573"/>
                    <a:pt x="149581" y="277405"/>
                    <a:pt x="225732" y="277405"/>
                  </a:cubicBezTo>
                  <a:cubicBezTo>
                    <a:pt x="301883" y="277405"/>
                    <a:pt x="320920" y="250208"/>
                    <a:pt x="320920" y="250208"/>
                  </a:cubicBezTo>
                  <a:cubicBezTo>
                    <a:pt x="320920" y="250208"/>
                    <a:pt x="315481" y="364434"/>
                    <a:pt x="174059" y="364434"/>
                  </a:cubicBezTo>
                  <a:cubicBezTo>
                    <a:pt x="95188" y="364434"/>
                    <a:pt x="0" y="304602"/>
                    <a:pt x="0" y="184937"/>
                  </a:cubicBezTo>
                  <a:cubicBezTo>
                    <a:pt x="0" y="78870"/>
                    <a:pt x="73431" y="0"/>
                    <a:pt x="174059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43EAC811-8309-4A43-8AAB-7D47E24129FF}"/>
                </a:ext>
              </a:extLst>
            </p:cNvPr>
            <p:cNvSpPr/>
            <p:nvPr/>
          </p:nvSpPr>
          <p:spPr>
            <a:xfrm>
              <a:off x="5376945" y="3338014"/>
              <a:ext cx="353556" cy="543931"/>
            </a:xfrm>
            <a:custGeom>
              <a:avLst/>
              <a:gdLst>
                <a:gd name="connsiteX0" fmla="*/ 311107 w 353555"/>
                <a:gd name="connsiteY0" fmla="*/ 433663 h 543931"/>
                <a:gd name="connsiteX1" fmla="*/ 215919 w 353555"/>
                <a:gd name="connsiteY1" fmla="*/ 501654 h 543931"/>
                <a:gd name="connsiteX2" fmla="*/ 98973 w 353555"/>
                <a:gd name="connsiteY2" fmla="*/ 392868 h 543931"/>
                <a:gd name="connsiteX3" fmla="*/ 98973 w 353555"/>
                <a:gd name="connsiteY3" fmla="*/ 221530 h 543931"/>
                <a:gd name="connsiteX4" fmla="*/ 82655 w 353555"/>
                <a:gd name="connsiteY4" fmla="*/ 221530 h 543931"/>
                <a:gd name="connsiteX5" fmla="*/ 58178 w 353555"/>
                <a:gd name="connsiteY5" fmla="*/ 191614 h 543931"/>
                <a:gd name="connsiteX6" fmla="*/ 85375 w 353555"/>
                <a:gd name="connsiteY6" fmla="*/ 164417 h 543931"/>
                <a:gd name="connsiteX7" fmla="*/ 101693 w 353555"/>
                <a:gd name="connsiteY7" fmla="*/ 164417 h 543931"/>
                <a:gd name="connsiteX8" fmla="*/ 101693 w 353555"/>
                <a:gd name="connsiteY8" fmla="*/ 118183 h 543931"/>
                <a:gd name="connsiteX9" fmla="*/ 166965 w 353555"/>
                <a:gd name="connsiteY9" fmla="*/ 58350 h 543931"/>
                <a:gd name="connsiteX10" fmla="*/ 229517 w 353555"/>
                <a:gd name="connsiteY10" fmla="*/ 118183 h 543931"/>
                <a:gd name="connsiteX11" fmla="*/ 229517 w 353555"/>
                <a:gd name="connsiteY11" fmla="*/ 118183 h 543931"/>
                <a:gd name="connsiteX12" fmla="*/ 229517 w 353555"/>
                <a:gd name="connsiteY12" fmla="*/ 164417 h 543931"/>
                <a:gd name="connsiteX13" fmla="*/ 283910 w 353555"/>
                <a:gd name="connsiteY13" fmla="*/ 164417 h 543931"/>
                <a:gd name="connsiteX14" fmla="*/ 308387 w 353555"/>
                <a:gd name="connsiteY14" fmla="*/ 194333 h 543931"/>
                <a:gd name="connsiteX15" fmla="*/ 281190 w 353555"/>
                <a:gd name="connsiteY15" fmla="*/ 221530 h 543931"/>
                <a:gd name="connsiteX16" fmla="*/ 229517 w 353555"/>
                <a:gd name="connsiteY16" fmla="*/ 221530 h 543931"/>
                <a:gd name="connsiteX17" fmla="*/ 229517 w 353555"/>
                <a:gd name="connsiteY17" fmla="*/ 365671 h 543931"/>
                <a:gd name="connsiteX18" fmla="*/ 311107 w 353555"/>
                <a:gd name="connsiteY18" fmla="*/ 433663 h 5439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353555" h="543931">
                  <a:moveTo>
                    <a:pt x="311107" y="433663"/>
                  </a:moveTo>
                  <a:cubicBezTo>
                    <a:pt x="311107" y="433663"/>
                    <a:pt x="278471" y="501654"/>
                    <a:pt x="215919" y="501654"/>
                  </a:cubicBezTo>
                  <a:cubicBezTo>
                    <a:pt x="164245" y="501654"/>
                    <a:pt x="101693" y="458140"/>
                    <a:pt x="98973" y="392868"/>
                  </a:cubicBezTo>
                  <a:cubicBezTo>
                    <a:pt x="98973" y="392868"/>
                    <a:pt x="98973" y="297680"/>
                    <a:pt x="98973" y="221530"/>
                  </a:cubicBezTo>
                  <a:lnTo>
                    <a:pt x="82655" y="221530"/>
                  </a:lnTo>
                  <a:cubicBezTo>
                    <a:pt x="74496" y="221530"/>
                    <a:pt x="58178" y="216090"/>
                    <a:pt x="58178" y="191614"/>
                  </a:cubicBezTo>
                  <a:cubicBezTo>
                    <a:pt x="58178" y="167137"/>
                    <a:pt x="77216" y="164417"/>
                    <a:pt x="85375" y="164417"/>
                  </a:cubicBezTo>
                  <a:lnTo>
                    <a:pt x="101693" y="164417"/>
                  </a:lnTo>
                  <a:cubicBezTo>
                    <a:pt x="101693" y="137220"/>
                    <a:pt x="101693" y="118183"/>
                    <a:pt x="101693" y="118183"/>
                  </a:cubicBezTo>
                  <a:cubicBezTo>
                    <a:pt x="104413" y="85547"/>
                    <a:pt x="134329" y="55631"/>
                    <a:pt x="166965" y="58350"/>
                  </a:cubicBezTo>
                  <a:cubicBezTo>
                    <a:pt x="196881" y="61070"/>
                    <a:pt x="229517" y="85547"/>
                    <a:pt x="229517" y="118183"/>
                  </a:cubicBezTo>
                  <a:lnTo>
                    <a:pt x="229517" y="118183"/>
                  </a:lnTo>
                  <a:lnTo>
                    <a:pt x="229517" y="164417"/>
                  </a:lnTo>
                  <a:lnTo>
                    <a:pt x="283910" y="164417"/>
                  </a:lnTo>
                  <a:cubicBezTo>
                    <a:pt x="292069" y="164417"/>
                    <a:pt x="308387" y="169856"/>
                    <a:pt x="308387" y="194333"/>
                  </a:cubicBezTo>
                  <a:cubicBezTo>
                    <a:pt x="308387" y="218810"/>
                    <a:pt x="292069" y="221530"/>
                    <a:pt x="281190" y="221530"/>
                  </a:cubicBezTo>
                  <a:lnTo>
                    <a:pt x="229517" y="221530"/>
                  </a:lnTo>
                  <a:lnTo>
                    <a:pt x="229517" y="365671"/>
                  </a:lnTo>
                  <a:cubicBezTo>
                    <a:pt x="226797" y="409186"/>
                    <a:pt x="267592" y="433663"/>
                    <a:pt x="311107" y="433663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AB8AA284-744C-4339-8893-D6368FD10AAE}"/>
                </a:ext>
              </a:extLst>
            </p:cNvPr>
            <p:cNvSpPr/>
            <p:nvPr/>
          </p:nvSpPr>
          <p:spPr>
            <a:xfrm>
              <a:off x="7090329" y="3338014"/>
              <a:ext cx="353556" cy="543931"/>
            </a:xfrm>
            <a:custGeom>
              <a:avLst/>
              <a:gdLst>
                <a:gd name="connsiteX0" fmla="*/ 311107 w 353555"/>
                <a:gd name="connsiteY0" fmla="*/ 433663 h 543931"/>
                <a:gd name="connsiteX1" fmla="*/ 215919 w 353555"/>
                <a:gd name="connsiteY1" fmla="*/ 501654 h 543931"/>
                <a:gd name="connsiteX2" fmla="*/ 98973 w 353555"/>
                <a:gd name="connsiteY2" fmla="*/ 392868 h 543931"/>
                <a:gd name="connsiteX3" fmla="*/ 98973 w 353555"/>
                <a:gd name="connsiteY3" fmla="*/ 221530 h 543931"/>
                <a:gd name="connsiteX4" fmla="*/ 82655 w 353555"/>
                <a:gd name="connsiteY4" fmla="*/ 221530 h 543931"/>
                <a:gd name="connsiteX5" fmla="*/ 58178 w 353555"/>
                <a:gd name="connsiteY5" fmla="*/ 191614 h 543931"/>
                <a:gd name="connsiteX6" fmla="*/ 85375 w 353555"/>
                <a:gd name="connsiteY6" fmla="*/ 164417 h 543931"/>
                <a:gd name="connsiteX7" fmla="*/ 101693 w 353555"/>
                <a:gd name="connsiteY7" fmla="*/ 164417 h 543931"/>
                <a:gd name="connsiteX8" fmla="*/ 101693 w 353555"/>
                <a:gd name="connsiteY8" fmla="*/ 118183 h 543931"/>
                <a:gd name="connsiteX9" fmla="*/ 166965 w 353555"/>
                <a:gd name="connsiteY9" fmla="*/ 58350 h 543931"/>
                <a:gd name="connsiteX10" fmla="*/ 229517 w 353555"/>
                <a:gd name="connsiteY10" fmla="*/ 118183 h 543931"/>
                <a:gd name="connsiteX11" fmla="*/ 229517 w 353555"/>
                <a:gd name="connsiteY11" fmla="*/ 118183 h 543931"/>
                <a:gd name="connsiteX12" fmla="*/ 229517 w 353555"/>
                <a:gd name="connsiteY12" fmla="*/ 164417 h 543931"/>
                <a:gd name="connsiteX13" fmla="*/ 283910 w 353555"/>
                <a:gd name="connsiteY13" fmla="*/ 164417 h 543931"/>
                <a:gd name="connsiteX14" fmla="*/ 308387 w 353555"/>
                <a:gd name="connsiteY14" fmla="*/ 194333 h 543931"/>
                <a:gd name="connsiteX15" fmla="*/ 281190 w 353555"/>
                <a:gd name="connsiteY15" fmla="*/ 221530 h 543931"/>
                <a:gd name="connsiteX16" fmla="*/ 229517 w 353555"/>
                <a:gd name="connsiteY16" fmla="*/ 221530 h 543931"/>
                <a:gd name="connsiteX17" fmla="*/ 229517 w 353555"/>
                <a:gd name="connsiteY17" fmla="*/ 365671 h 543931"/>
                <a:gd name="connsiteX18" fmla="*/ 311107 w 353555"/>
                <a:gd name="connsiteY18" fmla="*/ 433663 h 5439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353555" h="543931">
                  <a:moveTo>
                    <a:pt x="311107" y="433663"/>
                  </a:moveTo>
                  <a:cubicBezTo>
                    <a:pt x="311107" y="433663"/>
                    <a:pt x="278471" y="501654"/>
                    <a:pt x="215919" y="501654"/>
                  </a:cubicBezTo>
                  <a:cubicBezTo>
                    <a:pt x="164245" y="501654"/>
                    <a:pt x="101693" y="458140"/>
                    <a:pt x="98973" y="392868"/>
                  </a:cubicBezTo>
                  <a:cubicBezTo>
                    <a:pt x="98973" y="392868"/>
                    <a:pt x="98973" y="297680"/>
                    <a:pt x="98973" y="221530"/>
                  </a:cubicBezTo>
                  <a:lnTo>
                    <a:pt x="82655" y="221530"/>
                  </a:lnTo>
                  <a:cubicBezTo>
                    <a:pt x="74496" y="221530"/>
                    <a:pt x="58178" y="216090"/>
                    <a:pt x="58178" y="191614"/>
                  </a:cubicBezTo>
                  <a:cubicBezTo>
                    <a:pt x="58178" y="167137"/>
                    <a:pt x="77216" y="164417"/>
                    <a:pt x="85375" y="164417"/>
                  </a:cubicBezTo>
                  <a:lnTo>
                    <a:pt x="101693" y="164417"/>
                  </a:lnTo>
                  <a:cubicBezTo>
                    <a:pt x="101693" y="137220"/>
                    <a:pt x="101693" y="118183"/>
                    <a:pt x="101693" y="118183"/>
                  </a:cubicBezTo>
                  <a:cubicBezTo>
                    <a:pt x="104412" y="85547"/>
                    <a:pt x="134329" y="55631"/>
                    <a:pt x="166965" y="58350"/>
                  </a:cubicBezTo>
                  <a:cubicBezTo>
                    <a:pt x="196881" y="61070"/>
                    <a:pt x="229517" y="85547"/>
                    <a:pt x="229517" y="118183"/>
                  </a:cubicBezTo>
                  <a:lnTo>
                    <a:pt x="229517" y="118183"/>
                  </a:lnTo>
                  <a:lnTo>
                    <a:pt x="229517" y="164417"/>
                  </a:lnTo>
                  <a:lnTo>
                    <a:pt x="283910" y="164417"/>
                  </a:lnTo>
                  <a:cubicBezTo>
                    <a:pt x="292069" y="164417"/>
                    <a:pt x="308387" y="169856"/>
                    <a:pt x="308387" y="194333"/>
                  </a:cubicBezTo>
                  <a:cubicBezTo>
                    <a:pt x="308387" y="218810"/>
                    <a:pt x="292069" y="221530"/>
                    <a:pt x="281190" y="221530"/>
                  </a:cubicBezTo>
                  <a:lnTo>
                    <a:pt x="229517" y="221530"/>
                  </a:lnTo>
                  <a:lnTo>
                    <a:pt x="229517" y="365671"/>
                  </a:lnTo>
                  <a:cubicBezTo>
                    <a:pt x="229517" y="409186"/>
                    <a:pt x="270312" y="433663"/>
                    <a:pt x="311107" y="433663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id="{C865B7A3-B595-43E8-9EBD-1FED225C9FCB}"/>
                </a:ext>
              </a:extLst>
            </p:cNvPr>
            <p:cNvSpPr/>
            <p:nvPr/>
          </p:nvSpPr>
          <p:spPr>
            <a:xfrm>
              <a:off x="2080719" y="4178559"/>
              <a:ext cx="462342" cy="788700"/>
            </a:xfrm>
            <a:custGeom>
              <a:avLst/>
              <a:gdLst>
                <a:gd name="connsiteX0" fmla="*/ 403575 w 462341"/>
                <a:gd name="connsiteY0" fmla="*/ 583072 h 788699"/>
                <a:gd name="connsiteX1" fmla="*/ 406295 w 462341"/>
                <a:gd name="connsiteY1" fmla="*/ 596670 h 788699"/>
                <a:gd name="connsiteX2" fmla="*/ 400855 w 462341"/>
                <a:gd name="connsiteY2" fmla="*/ 610268 h 788699"/>
                <a:gd name="connsiteX3" fmla="*/ 389977 w 462341"/>
                <a:gd name="connsiteY3" fmla="*/ 626586 h 788699"/>
                <a:gd name="connsiteX4" fmla="*/ 354621 w 462341"/>
                <a:gd name="connsiteY4" fmla="*/ 675540 h 788699"/>
                <a:gd name="connsiteX5" fmla="*/ 327424 w 462341"/>
                <a:gd name="connsiteY5" fmla="*/ 691858 h 788699"/>
                <a:gd name="connsiteX6" fmla="*/ 292069 w 462341"/>
                <a:gd name="connsiteY6" fmla="*/ 713615 h 788699"/>
                <a:gd name="connsiteX7" fmla="*/ 251274 w 462341"/>
                <a:gd name="connsiteY7" fmla="*/ 724494 h 788699"/>
                <a:gd name="connsiteX8" fmla="*/ 221358 w 462341"/>
                <a:gd name="connsiteY8" fmla="*/ 721774 h 788699"/>
                <a:gd name="connsiteX9" fmla="*/ 191442 w 462341"/>
                <a:gd name="connsiteY9" fmla="*/ 721774 h 788699"/>
                <a:gd name="connsiteX10" fmla="*/ 153366 w 462341"/>
                <a:gd name="connsiteY10" fmla="*/ 713615 h 788699"/>
                <a:gd name="connsiteX11" fmla="*/ 104412 w 462341"/>
                <a:gd name="connsiteY11" fmla="*/ 675540 h 788699"/>
                <a:gd name="connsiteX12" fmla="*/ 104412 w 462341"/>
                <a:gd name="connsiteY12" fmla="*/ 689138 h 788699"/>
                <a:gd name="connsiteX13" fmla="*/ 101693 w 462341"/>
                <a:gd name="connsiteY13" fmla="*/ 710895 h 788699"/>
                <a:gd name="connsiteX14" fmla="*/ 85375 w 462341"/>
                <a:gd name="connsiteY14" fmla="*/ 732653 h 788699"/>
                <a:gd name="connsiteX15" fmla="*/ 69057 w 462341"/>
                <a:gd name="connsiteY15" fmla="*/ 727214 h 788699"/>
                <a:gd name="connsiteX16" fmla="*/ 60898 w 462341"/>
                <a:gd name="connsiteY16" fmla="*/ 710895 h 788699"/>
                <a:gd name="connsiteX17" fmla="*/ 58178 w 462341"/>
                <a:gd name="connsiteY17" fmla="*/ 691858 h 788699"/>
                <a:gd name="connsiteX18" fmla="*/ 60898 w 462341"/>
                <a:gd name="connsiteY18" fmla="*/ 664661 h 788699"/>
                <a:gd name="connsiteX19" fmla="*/ 60898 w 462341"/>
                <a:gd name="connsiteY19" fmla="*/ 607549 h 788699"/>
                <a:gd name="connsiteX20" fmla="*/ 63618 w 462341"/>
                <a:gd name="connsiteY20" fmla="*/ 528679 h 788699"/>
                <a:gd name="connsiteX21" fmla="*/ 69057 w 462341"/>
                <a:gd name="connsiteY21" fmla="*/ 504202 h 788699"/>
                <a:gd name="connsiteX22" fmla="*/ 74496 w 462341"/>
                <a:gd name="connsiteY22" fmla="*/ 493323 h 788699"/>
                <a:gd name="connsiteX23" fmla="*/ 82655 w 462341"/>
                <a:gd name="connsiteY23" fmla="*/ 487884 h 788699"/>
                <a:gd name="connsiteX24" fmla="*/ 90814 w 462341"/>
                <a:gd name="connsiteY24" fmla="*/ 493323 h 788699"/>
                <a:gd name="connsiteX25" fmla="*/ 98973 w 462341"/>
                <a:gd name="connsiteY25" fmla="*/ 512361 h 788699"/>
                <a:gd name="connsiteX26" fmla="*/ 101693 w 462341"/>
                <a:gd name="connsiteY26" fmla="*/ 555875 h 788699"/>
                <a:gd name="connsiteX27" fmla="*/ 101693 w 462341"/>
                <a:gd name="connsiteY27" fmla="*/ 596670 h 788699"/>
                <a:gd name="connsiteX28" fmla="*/ 109852 w 462341"/>
                <a:gd name="connsiteY28" fmla="*/ 626586 h 788699"/>
                <a:gd name="connsiteX29" fmla="*/ 128889 w 462341"/>
                <a:gd name="connsiteY29" fmla="*/ 651063 h 788699"/>
                <a:gd name="connsiteX30" fmla="*/ 153366 w 462341"/>
                <a:gd name="connsiteY30" fmla="*/ 670101 h 788699"/>
                <a:gd name="connsiteX31" fmla="*/ 196881 w 462341"/>
                <a:gd name="connsiteY31" fmla="*/ 678260 h 788699"/>
                <a:gd name="connsiteX32" fmla="*/ 221358 w 462341"/>
                <a:gd name="connsiteY32" fmla="*/ 667381 h 788699"/>
                <a:gd name="connsiteX33" fmla="*/ 253994 w 462341"/>
                <a:gd name="connsiteY33" fmla="*/ 659222 h 788699"/>
                <a:gd name="connsiteX34" fmla="*/ 275751 w 462341"/>
                <a:gd name="connsiteY34" fmla="*/ 637465 h 788699"/>
                <a:gd name="connsiteX35" fmla="*/ 281190 w 462341"/>
                <a:gd name="connsiteY35" fmla="*/ 615708 h 788699"/>
                <a:gd name="connsiteX36" fmla="*/ 278471 w 462341"/>
                <a:gd name="connsiteY36" fmla="*/ 602109 h 788699"/>
                <a:gd name="connsiteX37" fmla="*/ 262153 w 462341"/>
                <a:gd name="connsiteY37" fmla="*/ 572193 h 788699"/>
                <a:gd name="connsiteX38" fmla="*/ 245835 w 462341"/>
                <a:gd name="connsiteY38" fmla="*/ 536838 h 788699"/>
                <a:gd name="connsiteX39" fmla="*/ 196881 w 462341"/>
                <a:gd name="connsiteY39" fmla="*/ 477005 h 788699"/>
                <a:gd name="connsiteX40" fmla="*/ 145207 w 462341"/>
                <a:gd name="connsiteY40" fmla="*/ 419892 h 788699"/>
                <a:gd name="connsiteX41" fmla="*/ 93534 w 462341"/>
                <a:gd name="connsiteY41" fmla="*/ 357340 h 788699"/>
                <a:gd name="connsiteX42" fmla="*/ 66337 w 462341"/>
                <a:gd name="connsiteY42" fmla="*/ 283910 h 788699"/>
                <a:gd name="connsiteX43" fmla="*/ 58178 w 462341"/>
                <a:gd name="connsiteY43" fmla="*/ 224077 h 788699"/>
                <a:gd name="connsiteX44" fmla="*/ 82655 w 462341"/>
                <a:gd name="connsiteY44" fmla="*/ 150647 h 788699"/>
                <a:gd name="connsiteX45" fmla="*/ 137048 w 462341"/>
                <a:gd name="connsiteY45" fmla="*/ 96253 h 788699"/>
                <a:gd name="connsiteX46" fmla="*/ 196881 w 462341"/>
                <a:gd name="connsiteY46" fmla="*/ 77216 h 788699"/>
                <a:gd name="connsiteX47" fmla="*/ 232236 w 462341"/>
                <a:gd name="connsiteY47" fmla="*/ 69057 h 788699"/>
                <a:gd name="connsiteX48" fmla="*/ 262153 w 462341"/>
                <a:gd name="connsiteY48" fmla="*/ 74496 h 788699"/>
                <a:gd name="connsiteX49" fmla="*/ 294789 w 462341"/>
                <a:gd name="connsiteY49" fmla="*/ 85375 h 788699"/>
                <a:gd name="connsiteX50" fmla="*/ 327424 w 462341"/>
                <a:gd name="connsiteY50" fmla="*/ 104412 h 788699"/>
                <a:gd name="connsiteX51" fmla="*/ 332864 w 462341"/>
                <a:gd name="connsiteY51" fmla="*/ 74496 h 788699"/>
                <a:gd name="connsiteX52" fmla="*/ 338303 w 462341"/>
                <a:gd name="connsiteY52" fmla="*/ 63618 h 788699"/>
                <a:gd name="connsiteX53" fmla="*/ 349182 w 462341"/>
                <a:gd name="connsiteY53" fmla="*/ 58178 h 788699"/>
                <a:gd name="connsiteX54" fmla="*/ 357341 w 462341"/>
                <a:gd name="connsiteY54" fmla="*/ 63618 h 788699"/>
                <a:gd name="connsiteX55" fmla="*/ 365500 w 462341"/>
                <a:gd name="connsiteY55" fmla="*/ 82655 h 788699"/>
                <a:gd name="connsiteX56" fmla="*/ 368219 w 462341"/>
                <a:gd name="connsiteY56" fmla="*/ 142488 h 788699"/>
                <a:gd name="connsiteX57" fmla="*/ 368219 w 462341"/>
                <a:gd name="connsiteY57" fmla="*/ 188722 h 788699"/>
                <a:gd name="connsiteX58" fmla="*/ 370939 w 462341"/>
                <a:gd name="connsiteY58" fmla="*/ 245834 h 788699"/>
                <a:gd name="connsiteX59" fmla="*/ 354621 w 462341"/>
                <a:gd name="connsiteY59" fmla="*/ 286629 h 788699"/>
                <a:gd name="connsiteX60" fmla="*/ 338303 w 462341"/>
                <a:gd name="connsiteY60" fmla="*/ 281190 h 788699"/>
                <a:gd name="connsiteX61" fmla="*/ 330144 w 462341"/>
                <a:gd name="connsiteY61" fmla="*/ 264872 h 788699"/>
                <a:gd name="connsiteX62" fmla="*/ 327424 w 462341"/>
                <a:gd name="connsiteY62" fmla="*/ 248554 h 788699"/>
                <a:gd name="connsiteX63" fmla="*/ 330144 w 462341"/>
                <a:gd name="connsiteY63" fmla="*/ 221357 h 788699"/>
                <a:gd name="connsiteX64" fmla="*/ 330144 w 462341"/>
                <a:gd name="connsiteY64" fmla="*/ 188722 h 788699"/>
                <a:gd name="connsiteX65" fmla="*/ 327424 w 462341"/>
                <a:gd name="connsiteY65" fmla="*/ 164245 h 788699"/>
                <a:gd name="connsiteX66" fmla="*/ 311107 w 462341"/>
                <a:gd name="connsiteY66" fmla="*/ 134329 h 788699"/>
                <a:gd name="connsiteX67" fmla="*/ 283910 w 462341"/>
                <a:gd name="connsiteY67" fmla="*/ 118011 h 788699"/>
                <a:gd name="connsiteX68" fmla="*/ 251274 w 462341"/>
                <a:gd name="connsiteY68" fmla="*/ 112571 h 788699"/>
                <a:gd name="connsiteX69" fmla="*/ 215918 w 462341"/>
                <a:gd name="connsiteY69" fmla="*/ 123450 h 788699"/>
                <a:gd name="connsiteX70" fmla="*/ 202320 w 462341"/>
                <a:gd name="connsiteY70" fmla="*/ 147927 h 788699"/>
                <a:gd name="connsiteX71" fmla="*/ 188722 w 462341"/>
                <a:gd name="connsiteY71" fmla="*/ 180563 h 788699"/>
                <a:gd name="connsiteX72" fmla="*/ 183283 w 462341"/>
                <a:gd name="connsiteY72" fmla="*/ 210479 h 788699"/>
                <a:gd name="connsiteX73" fmla="*/ 188722 w 462341"/>
                <a:gd name="connsiteY73" fmla="*/ 226797 h 788699"/>
                <a:gd name="connsiteX74" fmla="*/ 188722 w 462341"/>
                <a:gd name="connsiteY74" fmla="*/ 248554 h 788699"/>
                <a:gd name="connsiteX75" fmla="*/ 210479 w 462341"/>
                <a:gd name="connsiteY75" fmla="*/ 273031 h 788699"/>
                <a:gd name="connsiteX76" fmla="*/ 226797 w 462341"/>
                <a:gd name="connsiteY76" fmla="*/ 300228 h 788699"/>
                <a:gd name="connsiteX77" fmla="*/ 256713 w 462341"/>
                <a:gd name="connsiteY77" fmla="*/ 332864 h 788699"/>
                <a:gd name="connsiteX78" fmla="*/ 275751 w 462341"/>
                <a:gd name="connsiteY78" fmla="*/ 351901 h 788699"/>
                <a:gd name="connsiteX79" fmla="*/ 324705 w 462341"/>
                <a:gd name="connsiteY79" fmla="*/ 400855 h 788699"/>
                <a:gd name="connsiteX80" fmla="*/ 343742 w 462341"/>
                <a:gd name="connsiteY80" fmla="*/ 428051 h 788699"/>
                <a:gd name="connsiteX81" fmla="*/ 351901 w 462341"/>
                <a:gd name="connsiteY81" fmla="*/ 433491 h 788699"/>
                <a:gd name="connsiteX82" fmla="*/ 360060 w 462341"/>
                <a:gd name="connsiteY82" fmla="*/ 447089 h 788699"/>
                <a:gd name="connsiteX83" fmla="*/ 384537 w 462341"/>
                <a:gd name="connsiteY83" fmla="*/ 474286 h 788699"/>
                <a:gd name="connsiteX84" fmla="*/ 395416 w 462341"/>
                <a:gd name="connsiteY84" fmla="*/ 506921 h 788699"/>
                <a:gd name="connsiteX85" fmla="*/ 406295 w 462341"/>
                <a:gd name="connsiteY85" fmla="*/ 536838 h 788699"/>
                <a:gd name="connsiteX86" fmla="*/ 409014 w 462341"/>
                <a:gd name="connsiteY86" fmla="*/ 547716 h 788699"/>
                <a:gd name="connsiteX87" fmla="*/ 406295 w 462341"/>
                <a:gd name="connsiteY87" fmla="*/ 569473 h 788699"/>
                <a:gd name="connsiteX88" fmla="*/ 403575 w 462341"/>
                <a:gd name="connsiteY88" fmla="*/ 583072 h 788699"/>
                <a:gd name="connsiteX89" fmla="*/ 403575 w 462341"/>
                <a:gd name="connsiteY89" fmla="*/ 583072 h 7886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</a:cxnLst>
              <a:rect l="l" t="t" r="r" b="b"/>
              <a:pathLst>
                <a:path w="462341" h="788699">
                  <a:moveTo>
                    <a:pt x="403575" y="583072"/>
                  </a:moveTo>
                  <a:cubicBezTo>
                    <a:pt x="403575" y="588511"/>
                    <a:pt x="406295" y="591231"/>
                    <a:pt x="406295" y="596670"/>
                  </a:cubicBezTo>
                  <a:cubicBezTo>
                    <a:pt x="406295" y="602109"/>
                    <a:pt x="403575" y="604829"/>
                    <a:pt x="400855" y="610268"/>
                  </a:cubicBezTo>
                  <a:cubicBezTo>
                    <a:pt x="398136" y="615708"/>
                    <a:pt x="392696" y="621147"/>
                    <a:pt x="389977" y="626586"/>
                  </a:cubicBezTo>
                  <a:cubicBezTo>
                    <a:pt x="381818" y="645624"/>
                    <a:pt x="368219" y="661942"/>
                    <a:pt x="354621" y="675540"/>
                  </a:cubicBezTo>
                  <a:cubicBezTo>
                    <a:pt x="346462" y="683699"/>
                    <a:pt x="338303" y="686419"/>
                    <a:pt x="327424" y="691858"/>
                  </a:cubicBezTo>
                  <a:cubicBezTo>
                    <a:pt x="316546" y="700017"/>
                    <a:pt x="302948" y="708176"/>
                    <a:pt x="292069" y="713615"/>
                  </a:cubicBezTo>
                  <a:cubicBezTo>
                    <a:pt x="281190" y="719054"/>
                    <a:pt x="264872" y="724494"/>
                    <a:pt x="251274" y="724494"/>
                  </a:cubicBezTo>
                  <a:cubicBezTo>
                    <a:pt x="240395" y="724494"/>
                    <a:pt x="229517" y="721774"/>
                    <a:pt x="221358" y="721774"/>
                  </a:cubicBezTo>
                  <a:cubicBezTo>
                    <a:pt x="213199" y="721774"/>
                    <a:pt x="202320" y="721774"/>
                    <a:pt x="191442" y="721774"/>
                  </a:cubicBezTo>
                  <a:cubicBezTo>
                    <a:pt x="172404" y="721774"/>
                    <a:pt x="172404" y="721774"/>
                    <a:pt x="153366" y="713615"/>
                  </a:cubicBezTo>
                  <a:cubicBezTo>
                    <a:pt x="134329" y="708176"/>
                    <a:pt x="118011" y="691858"/>
                    <a:pt x="104412" y="675540"/>
                  </a:cubicBezTo>
                  <a:cubicBezTo>
                    <a:pt x="104412" y="678260"/>
                    <a:pt x="104412" y="680979"/>
                    <a:pt x="104412" y="689138"/>
                  </a:cubicBezTo>
                  <a:cubicBezTo>
                    <a:pt x="104412" y="694578"/>
                    <a:pt x="104412" y="702737"/>
                    <a:pt x="101693" y="710895"/>
                  </a:cubicBezTo>
                  <a:cubicBezTo>
                    <a:pt x="101693" y="721774"/>
                    <a:pt x="96253" y="732653"/>
                    <a:pt x="85375" y="732653"/>
                  </a:cubicBezTo>
                  <a:cubicBezTo>
                    <a:pt x="77216" y="732653"/>
                    <a:pt x="74496" y="729933"/>
                    <a:pt x="69057" y="727214"/>
                  </a:cubicBezTo>
                  <a:cubicBezTo>
                    <a:pt x="63618" y="724494"/>
                    <a:pt x="60898" y="716335"/>
                    <a:pt x="60898" y="710895"/>
                  </a:cubicBezTo>
                  <a:cubicBezTo>
                    <a:pt x="58178" y="702737"/>
                    <a:pt x="58178" y="697297"/>
                    <a:pt x="58178" y="691858"/>
                  </a:cubicBezTo>
                  <a:cubicBezTo>
                    <a:pt x="58178" y="683699"/>
                    <a:pt x="60898" y="678260"/>
                    <a:pt x="60898" y="664661"/>
                  </a:cubicBezTo>
                  <a:cubicBezTo>
                    <a:pt x="60898" y="656502"/>
                    <a:pt x="60898" y="632026"/>
                    <a:pt x="60898" y="607549"/>
                  </a:cubicBezTo>
                  <a:cubicBezTo>
                    <a:pt x="60898" y="574913"/>
                    <a:pt x="60898" y="542277"/>
                    <a:pt x="63618" y="528679"/>
                  </a:cubicBezTo>
                  <a:cubicBezTo>
                    <a:pt x="63618" y="520520"/>
                    <a:pt x="63618" y="509641"/>
                    <a:pt x="69057" y="504202"/>
                  </a:cubicBezTo>
                  <a:cubicBezTo>
                    <a:pt x="71777" y="501482"/>
                    <a:pt x="71777" y="498762"/>
                    <a:pt x="74496" y="493323"/>
                  </a:cubicBezTo>
                  <a:cubicBezTo>
                    <a:pt x="77216" y="490603"/>
                    <a:pt x="79936" y="487884"/>
                    <a:pt x="82655" y="487884"/>
                  </a:cubicBezTo>
                  <a:cubicBezTo>
                    <a:pt x="85375" y="487884"/>
                    <a:pt x="90814" y="490603"/>
                    <a:pt x="90814" y="493323"/>
                  </a:cubicBezTo>
                  <a:cubicBezTo>
                    <a:pt x="93534" y="498762"/>
                    <a:pt x="98973" y="506921"/>
                    <a:pt x="98973" y="512361"/>
                  </a:cubicBezTo>
                  <a:cubicBezTo>
                    <a:pt x="98973" y="520520"/>
                    <a:pt x="101693" y="536838"/>
                    <a:pt x="101693" y="555875"/>
                  </a:cubicBezTo>
                  <a:cubicBezTo>
                    <a:pt x="101693" y="569473"/>
                    <a:pt x="101693" y="583072"/>
                    <a:pt x="101693" y="596670"/>
                  </a:cubicBezTo>
                  <a:cubicBezTo>
                    <a:pt x="101693" y="607549"/>
                    <a:pt x="104412" y="618427"/>
                    <a:pt x="109852" y="626586"/>
                  </a:cubicBezTo>
                  <a:cubicBezTo>
                    <a:pt x="115291" y="637465"/>
                    <a:pt x="123450" y="642904"/>
                    <a:pt x="128889" y="651063"/>
                  </a:cubicBezTo>
                  <a:cubicBezTo>
                    <a:pt x="137048" y="661942"/>
                    <a:pt x="139768" y="667381"/>
                    <a:pt x="153366" y="670101"/>
                  </a:cubicBezTo>
                  <a:cubicBezTo>
                    <a:pt x="161525" y="670101"/>
                    <a:pt x="183283" y="678260"/>
                    <a:pt x="196881" y="678260"/>
                  </a:cubicBezTo>
                  <a:cubicBezTo>
                    <a:pt x="207759" y="678260"/>
                    <a:pt x="210479" y="672820"/>
                    <a:pt x="221358" y="667381"/>
                  </a:cubicBezTo>
                  <a:cubicBezTo>
                    <a:pt x="232236" y="661942"/>
                    <a:pt x="245835" y="664661"/>
                    <a:pt x="253994" y="659222"/>
                  </a:cubicBezTo>
                  <a:cubicBezTo>
                    <a:pt x="262153" y="653783"/>
                    <a:pt x="273031" y="645624"/>
                    <a:pt x="275751" y="637465"/>
                  </a:cubicBezTo>
                  <a:cubicBezTo>
                    <a:pt x="281190" y="629306"/>
                    <a:pt x="281190" y="621147"/>
                    <a:pt x="281190" y="615708"/>
                  </a:cubicBezTo>
                  <a:cubicBezTo>
                    <a:pt x="281190" y="610268"/>
                    <a:pt x="281190" y="607549"/>
                    <a:pt x="278471" y="602109"/>
                  </a:cubicBezTo>
                  <a:cubicBezTo>
                    <a:pt x="275751" y="591231"/>
                    <a:pt x="267592" y="583072"/>
                    <a:pt x="262153" y="572193"/>
                  </a:cubicBezTo>
                  <a:cubicBezTo>
                    <a:pt x="256713" y="561314"/>
                    <a:pt x="253994" y="547716"/>
                    <a:pt x="245835" y="536838"/>
                  </a:cubicBezTo>
                  <a:cubicBezTo>
                    <a:pt x="232236" y="515080"/>
                    <a:pt x="213199" y="498762"/>
                    <a:pt x="196881" y="477005"/>
                  </a:cubicBezTo>
                  <a:cubicBezTo>
                    <a:pt x="180563" y="457968"/>
                    <a:pt x="164245" y="438930"/>
                    <a:pt x="145207" y="419892"/>
                  </a:cubicBezTo>
                  <a:cubicBezTo>
                    <a:pt x="126170" y="400855"/>
                    <a:pt x="109852" y="379098"/>
                    <a:pt x="93534" y="357340"/>
                  </a:cubicBezTo>
                  <a:cubicBezTo>
                    <a:pt x="77216" y="335583"/>
                    <a:pt x="71777" y="308387"/>
                    <a:pt x="66337" y="283910"/>
                  </a:cubicBezTo>
                  <a:cubicBezTo>
                    <a:pt x="63618" y="267592"/>
                    <a:pt x="58178" y="245834"/>
                    <a:pt x="58178" y="224077"/>
                  </a:cubicBezTo>
                  <a:cubicBezTo>
                    <a:pt x="58178" y="194161"/>
                    <a:pt x="69057" y="175123"/>
                    <a:pt x="82655" y="150647"/>
                  </a:cubicBezTo>
                  <a:cubicBezTo>
                    <a:pt x="96253" y="128889"/>
                    <a:pt x="115291" y="109852"/>
                    <a:pt x="137048" y="96253"/>
                  </a:cubicBezTo>
                  <a:cubicBezTo>
                    <a:pt x="158806" y="82655"/>
                    <a:pt x="172404" y="79936"/>
                    <a:pt x="196881" y="77216"/>
                  </a:cubicBezTo>
                  <a:cubicBezTo>
                    <a:pt x="210479" y="77216"/>
                    <a:pt x="215918" y="69057"/>
                    <a:pt x="232236" y="69057"/>
                  </a:cubicBezTo>
                  <a:cubicBezTo>
                    <a:pt x="243115" y="69057"/>
                    <a:pt x="251274" y="71776"/>
                    <a:pt x="262153" y="74496"/>
                  </a:cubicBezTo>
                  <a:cubicBezTo>
                    <a:pt x="273031" y="77216"/>
                    <a:pt x="283910" y="82655"/>
                    <a:pt x="294789" y="85375"/>
                  </a:cubicBezTo>
                  <a:cubicBezTo>
                    <a:pt x="308387" y="90814"/>
                    <a:pt x="319265" y="96253"/>
                    <a:pt x="327424" y="104412"/>
                  </a:cubicBezTo>
                  <a:cubicBezTo>
                    <a:pt x="327424" y="90814"/>
                    <a:pt x="327424" y="79936"/>
                    <a:pt x="332864" y="74496"/>
                  </a:cubicBezTo>
                  <a:cubicBezTo>
                    <a:pt x="335583" y="71776"/>
                    <a:pt x="335583" y="69057"/>
                    <a:pt x="338303" y="63618"/>
                  </a:cubicBezTo>
                  <a:cubicBezTo>
                    <a:pt x="341023" y="60898"/>
                    <a:pt x="346462" y="58178"/>
                    <a:pt x="349182" y="58178"/>
                  </a:cubicBezTo>
                  <a:cubicBezTo>
                    <a:pt x="351901" y="58178"/>
                    <a:pt x="357341" y="60898"/>
                    <a:pt x="357341" y="63618"/>
                  </a:cubicBezTo>
                  <a:cubicBezTo>
                    <a:pt x="360060" y="69057"/>
                    <a:pt x="365500" y="77216"/>
                    <a:pt x="365500" y="82655"/>
                  </a:cubicBezTo>
                  <a:cubicBezTo>
                    <a:pt x="365500" y="90814"/>
                    <a:pt x="368219" y="123450"/>
                    <a:pt x="368219" y="142488"/>
                  </a:cubicBezTo>
                  <a:cubicBezTo>
                    <a:pt x="368219" y="158806"/>
                    <a:pt x="368219" y="177843"/>
                    <a:pt x="368219" y="188722"/>
                  </a:cubicBezTo>
                  <a:cubicBezTo>
                    <a:pt x="368219" y="213199"/>
                    <a:pt x="370939" y="224077"/>
                    <a:pt x="370939" y="245834"/>
                  </a:cubicBezTo>
                  <a:cubicBezTo>
                    <a:pt x="370939" y="256713"/>
                    <a:pt x="370939" y="286629"/>
                    <a:pt x="354621" y="286629"/>
                  </a:cubicBezTo>
                  <a:cubicBezTo>
                    <a:pt x="346462" y="286629"/>
                    <a:pt x="343742" y="283910"/>
                    <a:pt x="338303" y="281190"/>
                  </a:cubicBezTo>
                  <a:cubicBezTo>
                    <a:pt x="332864" y="278470"/>
                    <a:pt x="330144" y="270311"/>
                    <a:pt x="330144" y="264872"/>
                  </a:cubicBezTo>
                  <a:cubicBezTo>
                    <a:pt x="327424" y="256713"/>
                    <a:pt x="327424" y="251274"/>
                    <a:pt x="327424" y="248554"/>
                  </a:cubicBezTo>
                  <a:cubicBezTo>
                    <a:pt x="327424" y="240395"/>
                    <a:pt x="330144" y="234956"/>
                    <a:pt x="330144" y="221357"/>
                  </a:cubicBezTo>
                  <a:cubicBezTo>
                    <a:pt x="330144" y="213199"/>
                    <a:pt x="330144" y="202320"/>
                    <a:pt x="330144" y="188722"/>
                  </a:cubicBezTo>
                  <a:cubicBezTo>
                    <a:pt x="330144" y="180563"/>
                    <a:pt x="327424" y="172404"/>
                    <a:pt x="327424" y="164245"/>
                  </a:cubicBezTo>
                  <a:cubicBezTo>
                    <a:pt x="324705" y="153366"/>
                    <a:pt x="319265" y="142488"/>
                    <a:pt x="311107" y="134329"/>
                  </a:cubicBezTo>
                  <a:cubicBezTo>
                    <a:pt x="302948" y="126170"/>
                    <a:pt x="294789" y="120730"/>
                    <a:pt x="283910" y="118011"/>
                  </a:cubicBezTo>
                  <a:cubicBezTo>
                    <a:pt x="275751" y="115291"/>
                    <a:pt x="262153" y="112571"/>
                    <a:pt x="251274" y="112571"/>
                  </a:cubicBezTo>
                  <a:cubicBezTo>
                    <a:pt x="237676" y="112571"/>
                    <a:pt x="224077" y="115291"/>
                    <a:pt x="215918" y="123450"/>
                  </a:cubicBezTo>
                  <a:cubicBezTo>
                    <a:pt x="207759" y="128889"/>
                    <a:pt x="205040" y="139768"/>
                    <a:pt x="202320" y="147927"/>
                  </a:cubicBezTo>
                  <a:cubicBezTo>
                    <a:pt x="196881" y="158806"/>
                    <a:pt x="191442" y="166964"/>
                    <a:pt x="188722" y="180563"/>
                  </a:cubicBezTo>
                  <a:cubicBezTo>
                    <a:pt x="186002" y="191441"/>
                    <a:pt x="183283" y="199600"/>
                    <a:pt x="183283" y="210479"/>
                  </a:cubicBezTo>
                  <a:cubicBezTo>
                    <a:pt x="183283" y="215918"/>
                    <a:pt x="186002" y="221357"/>
                    <a:pt x="188722" y="226797"/>
                  </a:cubicBezTo>
                  <a:cubicBezTo>
                    <a:pt x="191442" y="234956"/>
                    <a:pt x="188722" y="243115"/>
                    <a:pt x="188722" y="248554"/>
                  </a:cubicBezTo>
                  <a:cubicBezTo>
                    <a:pt x="191442" y="259433"/>
                    <a:pt x="202320" y="264872"/>
                    <a:pt x="210479" y="273031"/>
                  </a:cubicBezTo>
                  <a:cubicBezTo>
                    <a:pt x="218638" y="281190"/>
                    <a:pt x="221358" y="292069"/>
                    <a:pt x="226797" y="300228"/>
                  </a:cubicBezTo>
                  <a:cubicBezTo>
                    <a:pt x="234956" y="311106"/>
                    <a:pt x="245835" y="321985"/>
                    <a:pt x="256713" y="332864"/>
                  </a:cubicBezTo>
                  <a:cubicBezTo>
                    <a:pt x="259433" y="338303"/>
                    <a:pt x="267592" y="343742"/>
                    <a:pt x="275751" y="351901"/>
                  </a:cubicBezTo>
                  <a:cubicBezTo>
                    <a:pt x="292069" y="368219"/>
                    <a:pt x="311107" y="384537"/>
                    <a:pt x="324705" y="400855"/>
                  </a:cubicBezTo>
                  <a:cubicBezTo>
                    <a:pt x="332864" y="409014"/>
                    <a:pt x="335583" y="419892"/>
                    <a:pt x="343742" y="428051"/>
                  </a:cubicBezTo>
                  <a:cubicBezTo>
                    <a:pt x="346462" y="430771"/>
                    <a:pt x="349182" y="430771"/>
                    <a:pt x="351901" y="433491"/>
                  </a:cubicBezTo>
                  <a:cubicBezTo>
                    <a:pt x="354621" y="436210"/>
                    <a:pt x="357341" y="441650"/>
                    <a:pt x="360060" y="447089"/>
                  </a:cubicBezTo>
                  <a:cubicBezTo>
                    <a:pt x="368219" y="455248"/>
                    <a:pt x="376378" y="463407"/>
                    <a:pt x="384537" y="474286"/>
                  </a:cubicBezTo>
                  <a:cubicBezTo>
                    <a:pt x="389977" y="482445"/>
                    <a:pt x="392696" y="496043"/>
                    <a:pt x="395416" y="506921"/>
                  </a:cubicBezTo>
                  <a:cubicBezTo>
                    <a:pt x="400855" y="517800"/>
                    <a:pt x="400855" y="528679"/>
                    <a:pt x="406295" y="536838"/>
                  </a:cubicBezTo>
                  <a:cubicBezTo>
                    <a:pt x="409014" y="539557"/>
                    <a:pt x="409014" y="544997"/>
                    <a:pt x="409014" y="547716"/>
                  </a:cubicBezTo>
                  <a:cubicBezTo>
                    <a:pt x="409014" y="555875"/>
                    <a:pt x="406295" y="561314"/>
                    <a:pt x="406295" y="569473"/>
                  </a:cubicBezTo>
                  <a:cubicBezTo>
                    <a:pt x="406295" y="574913"/>
                    <a:pt x="403575" y="577632"/>
                    <a:pt x="403575" y="583072"/>
                  </a:cubicBezTo>
                  <a:lnTo>
                    <a:pt x="403575" y="583072"/>
                  </a:ln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5" name="Freeform: Shape 34">
              <a:extLst>
                <a:ext uri="{FF2B5EF4-FFF2-40B4-BE49-F238E27FC236}">
                  <a16:creationId xmlns:a16="http://schemas.microsoft.com/office/drawing/2014/main" id="{BD1848C6-7FFC-4763-9871-A8C7CE2CBD6C}"/>
                </a:ext>
              </a:extLst>
            </p:cNvPr>
            <p:cNvSpPr/>
            <p:nvPr/>
          </p:nvSpPr>
          <p:spPr>
            <a:xfrm>
              <a:off x="2456032" y="4192158"/>
              <a:ext cx="571128" cy="761503"/>
            </a:xfrm>
            <a:custGeom>
              <a:avLst/>
              <a:gdLst>
                <a:gd name="connsiteX0" fmla="*/ 512361 w 571128"/>
                <a:gd name="connsiteY0" fmla="*/ 79936 h 761503"/>
                <a:gd name="connsiteX1" fmla="*/ 539558 w 571128"/>
                <a:gd name="connsiteY1" fmla="*/ 96253 h 761503"/>
                <a:gd name="connsiteX2" fmla="*/ 534118 w 571128"/>
                <a:gd name="connsiteY2" fmla="*/ 112571 h 761503"/>
                <a:gd name="connsiteX3" fmla="*/ 523240 w 571128"/>
                <a:gd name="connsiteY3" fmla="*/ 120730 h 761503"/>
                <a:gd name="connsiteX4" fmla="*/ 506922 w 571128"/>
                <a:gd name="connsiteY4" fmla="*/ 123450 h 761503"/>
                <a:gd name="connsiteX5" fmla="*/ 477006 w 571128"/>
                <a:gd name="connsiteY5" fmla="*/ 123450 h 761503"/>
                <a:gd name="connsiteX6" fmla="*/ 479725 w 571128"/>
                <a:gd name="connsiteY6" fmla="*/ 145207 h 761503"/>
                <a:gd name="connsiteX7" fmla="*/ 477006 w 571128"/>
                <a:gd name="connsiteY7" fmla="*/ 180563 h 761503"/>
                <a:gd name="connsiteX8" fmla="*/ 482445 w 571128"/>
                <a:gd name="connsiteY8" fmla="*/ 232236 h 761503"/>
                <a:gd name="connsiteX9" fmla="*/ 485165 w 571128"/>
                <a:gd name="connsiteY9" fmla="*/ 283910 h 761503"/>
                <a:gd name="connsiteX10" fmla="*/ 485165 w 571128"/>
                <a:gd name="connsiteY10" fmla="*/ 327424 h 761503"/>
                <a:gd name="connsiteX11" fmla="*/ 487884 w 571128"/>
                <a:gd name="connsiteY11" fmla="*/ 373658 h 761503"/>
                <a:gd name="connsiteX12" fmla="*/ 485165 w 571128"/>
                <a:gd name="connsiteY12" fmla="*/ 419892 h 761503"/>
                <a:gd name="connsiteX13" fmla="*/ 485165 w 571128"/>
                <a:gd name="connsiteY13" fmla="*/ 463407 h 761503"/>
                <a:gd name="connsiteX14" fmla="*/ 482445 w 571128"/>
                <a:gd name="connsiteY14" fmla="*/ 515080 h 761503"/>
                <a:gd name="connsiteX15" fmla="*/ 482445 w 571128"/>
                <a:gd name="connsiteY15" fmla="*/ 558595 h 761503"/>
                <a:gd name="connsiteX16" fmla="*/ 479725 w 571128"/>
                <a:gd name="connsiteY16" fmla="*/ 602109 h 761503"/>
                <a:gd name="connsiteX17" fmla="*/ 485165 w 571128"/>
                <a:gd name="connsiteY17" fmla="*/ 648343 h 761503"/>
                <a:gd name="connsiteX18" fmla="*/ 474286 w 571128"/>
                <a:gd name="connsiteY18" fmla="*/ 675540 h 761503"/>
                <a:gd name="connsiteX19" fmla="*/ 428052 w 571128"/>
                <a:gd name="connsiteY19" fmla="*/ 691858 h 761503"/>
                <a:gd name="connsiteX20" fmla="*/ 387257 w 571128"/>
                <a:gd name="connsiteY20" fmla="*/ 683699 h 761503"/>
                <a:gd name="connsiteX21" fmla="*/ 351901 w 571128"/>
                <a:gd name="connsiteY21" fmla="*/ 664661 h 761503"/>
                <a:gd name="connsiteX22" fmla="*/ 305667 w 571128"/>
                <a:gd name="connsiteY22" fmla="*/ 596670 h 761503"/>
                <a:gd name="connsiteX23" fmla="*/ 270312 w 571128"/>
                <a:gd name="connsiteY23" fmla="*/ 509641 h 761503"/>
                <a:gd name="connsiteX24" fmla="*/ 251274 w 571128"/>
                <a:gd name="connsiteY24" fmla="*/ 460687 h 761503"/>
                <a:gd name="connsiteX25" fmla="*/ 224077 w 571128"/>
                <a:gd name="connsiteY25" fmla="*/ 381817 h 761503"/>
                <a:gd name="connsiteX26" fmla="*/ 207759 w 571128"/>
                <a:gd name="connsiteY26" fmla="*/ 330144 h 761503"/>
                <a:gd name="connsiteX27" fmla="*/ 191442 w 571128"/>
                <a:gd name="connsiteY27" fmla="*/ 286629 h 761503"/>
                <a:gd name="connsiteX28" fmla="*/ 183283 w 571128"/>
                <a:gd name="connsiteY28" fmla="*/ 278470 h 761503"/>
                <a:gd name="connsiteX29" fmla="*/ 180563 w 571128"/>
                <a:gd name="connsiteY29" fmla="*/ 292069 h 761503"/>
                <a:gd name="connsiteX30" fmla="*/ 180563 w 571128"/>
                <a:gd name="connsiteY30" fmla="*/ 305667 h 761503"/>
                <a:gd name="connsiteX31" fmla="*/ 183283 w 571128"/>
                <a:gd name="connsiteY31" fmla="*/ 354621 h 761503"/>
                <a:gd name="connsiteX32" fmla="*/ 188722 w 571128"/>
                <a:gd name="connsiteY32" fmla="*/ 449809 h 761503"/>
                <a:gd name="connsiteX33" fmla="*/ 188722 w 571128"/>
                <a:gd name="connsiteY33" fmla="*/ 479725 h 761503"/>
                <a:gd name="connsiteX34" fmla="*/ 188722 w 571128"/>
                <a:gd name="connsiteY34" fmla="*/ 542277 h 761503"/>
                <a:gd name="connsiteX35" fmla="*/ 186002 w 571128"/>
                <a:gd name="connsiteY35" fmla="*/ 615708 h 761503"/>
                <a:gd name="connsiteX36" fmla="*/ 186002 w 571128"/>
                <a:gd name="connsiteY36" fmla="*/ 637465 h 761503"/>
                <a:gd name="connsiteX37" fmla="*/ 183283 w 571128"/>
                <a:gd name="connsiteY37" fmla="*/ 664661 h 761503"/>
                <a:gd name="connsiteX38" fmla="*/ 226797 w 571128"/>
                <a:gd name="connsiteY38" fmla="*/ 664661 h 761503"/>
                <a:gd name="connsiteX39" fmla="*/ 253994 w 571128"/>
                <a:gd name="connsiteY39" fmla="*/ 680979 h 761503"/>
                <a:gd name="connsiteX40" fmla="*/ 248554 w 571128"/>
                <a:gd name="connsiteY40" fmla="*/ 697297 h 761503"/>
                <a:gd name="connsiteX41" fmla="*/ 234956 w 571128"/>
                <a:gd name="connsiteY41" fmla="*/ 705456 h 761503"/>
                <a:gd name="connsiteX42" fmla="*/ 218638 w 571128"/>
                <a:gd name="connsiteY42" fmla="*/ 708176 h 761503"/>
                <a:gd name="connsiteX43" fmla="*/ 183283 w 571128"/>
                <a:gd name="connsiteY43" fmla="*/ 708176 h 761503"/>
                <a:gd name="connsiteX44" fmla="*/ 150647 w 571128"/>
                <a:gd name="connsiteY44" fmla="*/ 708176 h 761503"/>
                <a:gd name="connsiteX45" fmla="*/ 107132 w 571128"/>
                <a:gd name="connsiteY45" fmla="*/ 708176 h 761503"/>
                <a:gd name="connsiteX46" fmla="*/ 88094 w 571128"/>
                <a:gd name="connsiteY46" fmla="*/ 708176 h 761503"/>
                <a:gd name="connsiteX47" fmla="*/ 69057 w 571128"/>
                <a:gd name="connsiteY47" fmla="*/ 702737 h 761503"/>
                <a:gd name="connsiteX48" fmla="*/ 58178 w 571128"/>
                <a:gd name="connsiteY48" fmla="*/ 686419 h 761503"/>
                <a:gd name="connsiteX49" fmla="*/ 60898 w 571128"/>
                <a:gd name="connsiteY49" fmla="*/ 678260 h 761503"/>
                <a:gd name="connsiteX50" fmla="*/ 77216 w 571128"/>
                <a:gd name="connsiteY50" fmla="*/ 670101 h 761503"/>
                <a:gd name="connsiteX51" fmla="*/ 120730 w 571128"/>
                <a:gd name="connsiteY51" fmla="*/ 664661 h 761503"/>
                <a:gd name="connsiteX52" fmla="*/ 131609 w 571128"/>
                <a:gd name="connsiteY52" fmla="*/ 664661 h 761503"/>
                <a:gd name="connsiteX53" fmla="*/ 134329 w 571128"/>
                <a:gd name="connsiteY53" fmla="*/ 539557 h 761503"/>
                <a:gd name="connsiteX54" fmla="*/ 134329 w 571128"/>
                <a:gd name="connsiteY54" fmla="*/ 504202 h 761503"/>
                <a:gd name="connsiteX55" fmla="*/ 131609 w 571128"/>
                <a:gd name="connsiteY55" fmla="*/ 376378 h 761503"/>
                <a:gd name="connsiteX56" fmla="*/ 131609 w 571128"/>
                <a:gd name="connsiteY56" fmla="*/ 302947 h 761503"/>
                <a:gd name="connsiteX57" fmla="*/ 134329 w 571128"/>
                <a:gd name="connsiteY57" fmla="*/ 221357 h 761503"/>
                <a:gd name="connsiteX58" fmla="*/ 137048 w 571128"/>
                <a:gd name="connsiteY58" fmla="*/ 123450 h 761503"/>
                <a:gd name="connsiteX59" fmla="*/ 107132 w 571128"/>
                <a:gd name="connsiteY59" fmla="*/ 123450 h 761503"/>
                <a:gd name="connsiteX60" fmla="*/ 88094 w 571128"/>
                <a:gd name="connsiteY60" fmla="*/ 123450 h 761503"/>
                <a:gd name="connsiteX61" fmla="*/ 69057 w 571128"/>
                <a:gd name="connsiteY61" fmla="*/ 118011 h 761503"/>
                <a:gd name="connsiteX62" fmla="*/ 58178 w 571128"/>
                <a:gd name="connsiteY62" fmla="*/ 101693 h 761503"/>
                <a:gd name="connsiteX63" fmla="*/ 60898 w 571128"/>
                <a:gd name="connsiteY63" fmla="*/ 93534 h 761503"/>
                <a:gd name="connsiteX64" fmla="*/ 77216 w 571128"/>
                <a:gd name="connsiteY64" fmla="*/ 85375 h 761503"/>
                <a:gd name="connsiteX65" fmla="*/ 131609 w 571128"/>
                <a:gd name="connsiteY65" fmla="*/ 79936 h 761503"/>
                <a:gd name="connsiteX66" fmla="*/ 161525 w 571128"/>
                <a:gd name="connsiteY66" fmla="*/ 79936 h 761503"/>
                <a:gd name="connsiteX67" fmla="*/ 177843 w 571128"/>
                <a:gd name="connsiteY67" fmla="*/ 66337 h 761503"/>
                <a:gd name="connsiteX68" fmla="*/ 202320 w 571128"/>
                <a:gd name="connsiteY68" fmla="*/ 58178 h 761503"/>
                <a:gd name="connsiteX69" fmla="*/ 234956 w 571128"/>
                <a:gd name="connsiteY69" fmla="*/ 77216 h 761503"/>
                <a:gd name="connsiteX70" fmla="*/ 251274 w 571128"/>
                <a:gd name="connsiteY70" fmla="*/ 107132 h 761503"/>
                <a:gd name="connsiteX71" fmla="*/ 267592 w 571128"/>
                <a:gd name="connsiteY71" fmla="*/ 147927 h 761503"/>
                <a:gd name="connsiteX72" fmla="*/ 281190 w 571128"/>
                <a:gd name="connsiteY72" fmla="*/ 183282 h 761503"/>
                <a:gd name="connsiteX73" fmla="*/ 297508 w 571128"/>
                <a:gd name="connsiteY73" fmla="*/ 224077 h 761503"/>
                <a:gd name="connsiteX74" fmla="*/ 308387 w 571128"/>
                <a:gd name="connsiteY74" fmla="*/ 264872 h 761503"/>
                <a:gd name="connsiteX75" fmla="*/ 319265 w 571128"/>
                <a:gd name="connsiteY75" fmla="*/ 300228 h 761503"/>
                <a:gd name="connsiteX76" fmla="*/ 351901 w 571128"/>
                <a:gd name="connsiteY76" fmla="*/ 379098 h 761503"/>
                <a:gd name="connsiteX77" fmla="*/ 365500 w 571128"/>
                <a:gd name="connsiteY77" fmla="*/ 417173 h 761503"/>
                <a:gd name="connsiteX78" fmla="*/ 379098 w 571128"/>
                <a:gd name="connsiteY78" fmla="*/ 457968 h 761503"/>
                <a:gd name="connsiteX79" fmla="*/ 395416 w 571128"/>
                <a:gd name="connsiteY79" fmla="*/ 496043 h 761503"/>
                <a:gd name="connsiteX80" fmla="*/ 406295 w 571128"/>
                <a:gd name="connsiteY80" fmla="*/ 512361 h 761503"/>
                <a:gd name="connsiteX81" fmla="*/ 411734 w 571128"/>
                <a:gd name="connsiteY81" fmla="*/ 531398 h 761503"/>
                <a:gd name="connsiteX82" fmla="*/ 419893 w 571128"/>
                <a:gd name="connsiteY82" fmla="*/ 558595 h 761503"/>
                <a:gd name="connsiteX83" fmla="*/ 425332 w 571128"/>
                <a:gd name="connsiteY83" fmla="*/ 564034 h 761503"/>
                <a:gd name="connsiteX84" fmla="*/ 430771 w 571128"/>
                <a:gd name="connsiteY84" fmla="*/ 558595 h 761503"/>
                <a:gd name="connsiteX85" fmla="*/ 430771 w 571128"/>
                <a:gd name="connsiteY85" fmla="*/ 550436 h 761503"/>
                <a:gd name="connsiteX86" fmla="*/ 430771 w 571128"/>
                <a:gd name="connsiteY86" fmla="*/ 501482 h 761503"/>
                <a:gd name="connsiteX87" fmla="*/ 430771 w 571128"/>
                <a:gd name="connsiteY87" fmla="*/ 403575 h 761503"/>
                <a:gd name="connsiteX88" fmla="*/ 425332 w 571128"/>
                <a:gd name="connsiteY88" fmla="*/ 313826 h 761503"/>
                <a:gd name="connsiteX89" fmla="*/ 425332 w 571128"/>
                <a:gd name="connsiteY89" fmla="*/ 248554 h 761503"/>
                <a:gd name="connsiteX90" fmla="*/ 425332 w 571128"/>
                <a:gd name="connsiteY90" fmla="*/ 210479 h 761503"/>
                <a:gd name="connsiteX91" fmla="*/ 422613 w 571128"/>
                <a:gd name="connsiteY91" fmla="*/ 153366 h 761503"/>
                <a:gd name="connsiteX92" fmla="*/ 425332 w 571128"/>
                <a:gd name="connsiteY92" fmla="*/ 123450 h 761503"/>
                <a:gd name="connsiteX93" fmla="*/ 398136 w 571128"/>
                <a:gd name="connsiteY93" fmla="*/ 123450 h 761503"/>
                <a:gd name="connsiteX94" fmla="*/ 379098 w 571128"/>
                <a:gd name="connsiteY94" fmla="*/ 123450 h 761503"/>
                <a:gd name="connsiteX95" fmla="*/ 360060 w 571128"/>
                <a:gd name="connsiteY95" fmla="*/ 118011 h 761503"/>
                <a:gd name="connsiteX96" fmla="*/ 349182 w 571128"/>
                <a:gd name="connsiteY96" fmla="*/ 101693 h 761503"/>
                <a:gd name="connsiteX97" fmla="*/ 351901 w 571128"/>
                <a:gd name="connsiteY97" fmla="*/ 93534 h 761503"/>
                <a:gd name="connsiteX98" fmla="*/ 368219 w 571128"/>
                <a:gd name="connsiteY98" fmla="*/ 85375 h 761503"/>
                <a:gd name="connsiteX99" fmla="*/ 422613 w 571128"/>
                <a:gd name="connsiteY99" fmla="*/ 79936 h 761503"/>
                <a:gd name="connsiteX100" fmla="*/ 444370 w 571128"/>
                <a:gd name="connsiteY100" fmla="*/ 79936 h 761503"/>
                <a:gd name="connsiteX101" fmla="*/ 463407 w 571128"/>
                <a:gd name="connsiteY101" fmla="*/ 71776 h 761503"/>
                <a:gd name="connsiteX102" fmla="*/ 477006 w 571128"/>
                <a:gd name="connsiteY102" fmla="*/ 79936 h 761503"/>
                <a:gd name="connsiteX103" fmla="*/ 512361 w 571128"/>
                <a:gd name="connsiteY103" fmla="*/ 79936 h 761503"/>
                <a:gd name="connsiteX104" fmla="*/ 512361 w 571128"/>
                <a:gd name="connsiteY104" fmla="*/ 79936 h 761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</a:cxnLst>
              <a:rect l="l" t="t" r="r" b="b"/>
              <a:pathLst>
                <a:path w="571128" h="761503">
                  <a:moveTo>
                    <a:pt x="512361" y="79936"/>
                  </a:moveTo>
                  <a:cubicBezTo>
                    <a:pt x="520520" y="79936"/>
                    <a:pt x="539558" y="79936"/>
                    <a:pt x="539558" y="96253"/>
                  </a:cubicBezTo>
                  <a:cubicBezTo>
                    <a:pt x="539558" y="104412"/>
                    <a:pt x="539558" y="107132"/>
                    <a:pt x="534118" y="112571"/>
                  </a:cubicBezTo>
                  <a:cubicBezTo>
                    <a:pt x="531399" y="118011"/>
                    <a:pt x="525960" y="120730"/>
                    <a:pt x="523240" y="120730"/>
                  </a:cubicBezTo>
                  <a:cubicBezTo>
                    <a:pt x="515081" y="123450"/>
                    <a:pt x="512361" y="123450"/>
                    <a:pt x="506922" y="123450"/>
                  </a:cubicBezTo>
                  <a:cubicBezTo>
                    <a:pt x="504202" y="123450"/>
                    <a:pt x="490604" y="123450"/>
                    <a:pt x="477006" y="123450"/>
                  </a:cubicBezTo>
                  <a:cubicBezTo>
                    <a:pt x="477006" y="131609"/>
                    <a:pt x="479725" y="137048"/>
                    <a:pt x="479725" y="145207"/>
                  </a:cubicBezTo>
                  <a:cubicBezTo>
                    <a:pt x="479725" y="156086"/>
                    <a:pt x="477006" y="166964"/>
                    <a:pt x="477006" y="180563"/>
                  </a:cubicBezTo>
                  <a:cubicBezTo>
                    <a:pt x="477006" y="196881"/>
                    <a:pt x="479725" y="215918"/>
                    <a:pt x="482445" y="232236"/>
                  </a:cubicBezTo>
                  <a:cubicBezTo>
                    <a:pt x="485165" y="248554"/>
                    <a:pt x="485165" y="267592"/>
                    <a:pt x="485165" y="283910"/>
                  </a:cubicBezTo>
                  <a:cubicBezTo>
                    <a:pt x="485165" y="297508"/>
                    <a:pt x="485165" y="313826"/>
                    <a:pt x="485165" y="327424"/>
                  </a:cubicBezTo>
                  <a:cubicBezTo>
                    <a:pt x="485165" y="343742"/>
                    <a:pt x="487884" y="357340"/>
                    <a:pt x="487884" y="373658"/>
                  </a:cubicBezTo>
                  <a:cubicBezTo>
                    <a:pt x="487884" y="389976"/>
                    <a:pt x="485165" y="403575"/>
                    <a:pt x="485165" y="419892"/>
                  </a:cubicBezTo>
                  <a:cubicBezTo>
                    <a:pt x="485165" y="436210"/>
                    <a:pt x="485165" y="449809"/>
                    <a:pt x="485165" y="463407"/>
                  </a:cubicBezTo>
                  <a:cubicBezTo>
                    <a:pt x="485165" y="479725"/>
                    <a:pt x="485165" y="498762"/>
                    <a:pt x="482445" y="515080"/>
                  </a:cubicBezTo>
                  <a:cubicBezTo>
                    <a:pt x="482445" y="528679"/>
                    <a:pt x="482445" y="542277"/>
                    <a:pt x="482445" y="558595"/>
                  </a:cubicBezTo>
                  <a:cubicBezTo>
                    <a:pt x="482445" y="572193"/>
                    <a:pt x="479725" y="588511"/>
                    <a:pt x="479725" y="602109"/>
                  </a:cubicBezTo>
                  <a:cubicBezTo>
                    <a:pt x="479725" y="615708"/>
                    <a:pt x="485165" y="632026"/>
                    <a:pt x="485165" y="648343"/>
                  </a:cubicBezTo>
                  <a:cubicBezTo>
                    <a:pt x="485165" y="659222"/>
                    <a:pt x="482445" y="670101"/>
                    <a:pt x="474286" y="675540"/>
                  </a:cubicBezTo>
                  <a:cubicBezTo>
                    <a:pt x="460688" y="686419"/>
                    <a:pt x="444370" y="691858"/>
                    <a:pt x="428052" y="691858"/>
                  </a:cubicBezTo>
                  <a:cubicBezTo>
                    <a:pt x="414454" y="691858"/>
                    <a:pt x="400855" y="689138"/>
                    <a:pt x="387257" y="683699"/>
                  </a:cubicBezTo>
                  <a:cubicBezTo>
                    <a:pt x="373659" y="678260"/>
                    <a:pt x="360060" y="672820"/>
                    <a:pt x="351901" y="664661"/>
                  </a:cubicBezTo>
                  <a:cubicBezTo>
                    <a:pt x="330144" y="645624"/>
                    <a:pt x="316546" y="621147"/>
                    <a:pt x="305667" y="596670"/>
                  </a:cubicBezTo>
                  <a:cubicBezTo>
                    <a:pt x="292069" y="569473"/>
                    <a:pt x="281190" y="539557"/>
                    <a:pt x="270312" y="509641"/>
                  </a:cubicBezTo>
                  <a:cubicBezTo>
                    <a:pt x="264872" y="493323"/>
                    <a:pt x="256713" y="477005"/>
                    <a:pt x="251274" y="460687"/>
                  </a:cubicBezTo>
                  <a:cubicBezTo>
                    <a:pt x="240395" y="433491"/>
                    <a:pt x="232236" y="409014"/>
                    <a:pt x="224077" y="381817"/>
                  </a:cubicBezTo>
                  <a:cubicBezTo>
                    <a:pt x="218638" y="365499"/>
                    <a:pt x="213199" y="346462"/>
                    <a:pt x="207759" y="330144"/>
                  </a:cubicBezTo>
                  <a:cubicBezTo>
                    <a:pt x="202320" y="316545"/>
                    <a:pt x="196881" y="300228"/>
                    <a:pt x="191442" y="286629"/>
                  </a:cubicBezTo>
                  <a:cubicBezTo>
                    <a:pt x="188722" y="281190"/>
                    <a:pt x="186002" y="278470"/>
                    <a:pt x="183283" y="278470"/>
                  </a:cubicBezTo>
                  <a:cubicBezTo>
                    <a:pt x="180563" y="278470"/>
                    <a:pt x="180563" y="286629"/>
                    <a:pt x="180563" y="292069"/>
                  </a:cubicBezTo>
                  <a:cubicBezTo>
                    <a:pt x="180563" y="297508"/>
                    <a:pt x="180563" y="302947"/>
                    <a:pt x="180563" y="305667"/>
                  </a:cubicBezTo>
                  <a:cubicBezTo>
                    <a:pt x="180563" y="321985"/>
                    <a:pt x="183283" y="338303"/>
                    <a:pt x="183283" y="354621"/>
                  </a:cubicBezTo>
                  <a:cubicBezTo>
                    <a:pt x="183283" y="387257"/>
                    <a:pt x="186002" y="417173"/>
                    <a:pt x="188722" y="449809"/>
                  </a:cubicBezTo>
                  <a:cubicBezTo>
                    <a:pt x="188722" y="460687"/>
                    <a:pt x="188722" y="468846"/>
                    <a:pt x="188722" y="479725"/>
                  </a:cubicBezTo>
                  <a:cubicBezTo>
                    <a:pt x="188722" y="501482"/>
                    <a:pt x="188722" y="523239"/>
                    <a:pt x="188722" y="542277"/>
                  </a:cubicBezTo>
                  <a:cubicBezTo>
                    <a:pt x="188722" y="566754"/>
                    <a:pt x="186002" y="591231"/>
                    <a:pt x="186002" y="615708"/>
                  </a:cubicBezTo>
                  <a:cubicBezTo>
                    <a:pt x="186002" y="623867"/>
                    <a:pt x="186002" y="632026"/>
                    <a:pt x="186002" y="637465"/>
                  </a:cubicBezTo>
                  <a:cubicBezTo>
                    <a:pt x="186002" y="645624"/>
                    <a:pt x="183283" y="656502"/>
                    <a:pt x="183283" y="664661"/>
                  </a:cubicBezTo>
                  <a:cubicBezTo>
                    <a:pt x="202320" y="664661"/>
                    <a:pt x="218638" y="664661"/>
                    <a:pt x="226797" y="664661"/>
                  </a:cubicBezTo>
                  <a:cubicBezTo>
                    <a:pt x="234956" y="664661"/>
                    <a:pt x="253994" y="664661"/>
                    <a:pt x="253994" y="680979"/>
                  </a:cubicBezTo>
                  <a:cubicBezTo>
                    <a:pt x="253994" y="689138"/>
                    <a:pt x="253994" y="691858"/>
                    <a:pt x="248554" y="697297"/>
                  </a:cubicBezTo>
                  <a:cubicBezTo>
                    <a:pt x="245835" y="702737"/>
                    <a:pt x="240395" y="705456"/>
                    <a:pt x="234956" y="705456"/>
                  </a:cubicBezTo>
                  <a:cubicBezTo>
                    <a:pt x="226797" y="708176"/>
                    <a:pt x="224077" y="708176"/>
                    <a:pt x="218638" y="708176"/>
                  </a:cubicBezTo>
                  <a:cubicBezTo>
                    <a:pt x="215918" y="708176"/>
                    <a:pt x="199600" y="708176"/>
                    <a:pt x="183283" y="708176"/>
                  </a:cubicBezTo>
                  <a:cubicBezTo>
                    <a:pt x="166965" y="708176"/>
                    <a:pt x="153366" y="708176"/>
                    <a:pt x="150647" y="708176"/>
                  </a:cubicBezTo>
                  <a:cubicBezTo>
                    <a:pt x="139768" y="708176"/>
                    <a:pt x="120730" y="708176"/>
                    <a:pt x="107132" y="708176"/>
                  </a:cubicBezTo>
                  <a:cubicBezTo>
                    <a:pt x="101693" y="708176"/>
                    <a:pt x="96253" y="708176"/>
                    <a:pt x="88094" y="708176"/>
                  </a:cubicBezTo>
                  <a:cubicBezTo>
                    <a:pt x="82655" y="708176"/>
                    <a:pt x="74496" y="708176"/>
                    <a:pt x="69057" y="702737"/>
                  </a:cubicBezTo>
                  <a:cubicBezTo>
                    <a:pt x="63618" y="700017"/>
                    <a:pt x="58178" y="691858"/>
                    <a:pt x="58178" y="686419"/>
                  </a:cubicBezTo>
                  <a:cubicBezTo>
                    <a:pt x="58178" y="683699"/>
                    <a:pt x="58178" y="680979"/>
                    <a:pt x="60898" y="678260"/>
                  </a:cubicBezTo>
                  <a:cubicBezTo>
                    <a:pt x="63618" y="675540"/>
                    <a:pt x="71777" y="672820"/>
                    <a:pt x="77216" y="670101"/>
                  </a:cubicBezTo>
                  <a:cubicBezTo>
                    <a:pt x="90814" y="667381"/>
                    <a:pt x="115291" y="664661"/>
                    <a:pt x="120730" y="664661"/>
                  </a:cubicBezTo>
                  <a:cubicBezTo>
                    <a:pt x="123450" y="664661"/>
                    <a:pt x="126170" y="664661"/>
                    <a:pt x="131609" y="664661"/>
                  </a:cubicBezTo>
                  <a:cubicBezTo>
                    <a:pt x="131609" y="623867"/>
                    <a:pt x="134329" y="583072"/>
                    <a:pt x="134329" y="539557"/>
                  </a:cubicBezTo>
                  <a:cubicBezTo>
                    <a:pt x="134329" y="528679"/>
                    <a:pt x="134329" y="515080"/>
                    <a:pt x="134329" y="504202"/>
                  </a:cubicBezTo>
                  <a:cubicBezTo>
                    <a:pt x="131609" y="460687"/>
                    <a:pt x="131609" y="417173"/>
                    <a:pt x="131609" y="376378"/>
                  </a:cubicBezTo>
                  <a:cubicBezTo>
                    <a:pt x="131609" y="351901"/>
                    <a:pt x="131609" y="327424"/>
                    <a:pt x="131609" y="302947"/>
                  </a:cubicBezTo>
                  <a:cubicBezTo>
                    <a:pt x="131609" y="275751"/>
                    <a:pt x="131609" y="248554"/>
                    <a:pt x="134329" y="221357"/>
                  </a:cubicBezTo>
                  <a:cubicBezTo>
                    <a:pt x="134329" y="188722"/>
                    <a:pt x="137048" y="156086"/>
                    <a:pt x="137048" y="123450"/>
                  </a:cubicBezTo>
                  <a:cubicBezTo>
                    <a:pt x="126170" y="123450"/>
                    <a:pt x="115291" y="123450"/>
                    <a:pt x="107132" y="123450"/>
                  </a:cubicBezTo>
                  <a:cubicBezTo>
                    <a:pt x="101693" y="123450"/>
                    <a:pt x="96253" y="123450"/>
                    <a:pt x="88094" y="123450"/>
                  </a:cubicBezTo>
                  <a:cubicBezTo>
                    <a:pt x="82655" y="123450"/>
                    <a:pt x="74496" y="120730"/>
                    <a:pt x="69057" y="118011"/>
                  </a:cubicBezTo>
                  <a:cubicBezTo>
                    <a:pt x="63618" y="115291"/>
                    <a:pt x="58178" y="107132"/>
                    <a:pt x="58178" y="101693"/>
                  </a:cubicBezTo>
                  <a:cubicBezTo>
                    <a:pt x="58178" y="98973"/>
                    <a:pt x="58178" y="96253"/>
                    <a:pt x="60898" y="93534"/>
                  </a:cubicBezTo>
                  <a:cubicBezTo>
                    <a:pt x="63618" y="90814"/>
                    <a:pt x="71777" y="88095"/>
                    <a:pt x="77216" y="85375"/>
                  </a:cubicBezTo>
                  <a:cubicBezTo>
                    <a:pt x="90814" y="82655"/>
                    <a:pt x="126170" y="79936"/>
                    <a:pt x="131609" y="79936"/>
                  </a:cubicBezTo>
                  <a:cubicBezTo>
                    <a:pt x="137048" y="79936"/>
                    <a:pt x="147927" y="79936"/>
                    <a:pt x="161525" y="79936"/>
                  </a:cubicBezTo>
                  <a:cubicBezTo>
                    <a:pt x="166965" y="74496"/>
                    <a:pt x="172404" y="71776"/>
                    <a:pt x="177843" y="66337"/>
                  </a:cubicBezTo>
                  <a:cubicBezTo>
                    <a:pt x="186002" y="60898"/>
                    <a:pt x="194161" y="58178"/>
                    <a:pt x="202320" y="58178"/>
                  </a:cubicBezTo>
                  <a:cubicBezTo>
                    <a:pt x="215918" y="58178"/>
                    <a:pt x="226797" y="63618"/>
                    <a:pt x="234956" y="77216"/>
                  </a:cubicBezTo>
                  <a:cubicBezTo>
                    <a:pt x="240395" y="88095"/>
                    <a:pt x="248554" y="96253"/>
                    <a:pt x="251274" y="107132"/>
                  </a:cubicBezTo>
                  <a:cubicBezTo>
                    <a:pt x="256713" y="120730"/>
                    <a:pt x="259433" y="134329"/>
                    <a:pt x="267592" y="147927"/>
                  </a:cubicBezTo>
                  <a:cubicBezTo>
                    <a:pt x="273031" y="158806"/>
                    <a:pt x="275751" y="172404"/>
                    <a:pt x="281190" y="183282"/>
                  </a:cubicBezTo>
                  <a:cubicBezTo>
                    <a:pt x="286630" y="196881"/>
                    <a:pt x="292069" y="210479"/>
                    <a:pt x="297508" y="224077"/>
                  </a:cubicBezTo>
                  <a:cubicBezTo>
                    <a:pt x="300228" y="237676"/>
                    <a:pt x="305667" y="251274"/>
                    <a:pt x="308387" y="264872"/>
                  </a:cubicBezTo>
                  <a:cubicBezTo>
                    <a:pt x="311107" y="278470"/>
                    <a:pt x="311107" y="289349"/>
                    <a:pt x="319265" y="300228"/>
                  </a:cubicBezTo>
                  <a:cubicBezTo>
                    <a:pt x="332864" y="324704"/>
                    <a:pt x="346462" y="351901"/>
                    <a:pt x="351901" y="379098"/>
                  </a:cubicBezTo>
                  <a:cubicBezTo>
                    <a:pt x="354621" y="392696"/>
                    <a:pt x="360060" y="403575"/>
                    <a:pt x="365500" y="417173"/>
                  </a:cubicBezTo>
                  <a:cubicBezTo>
                    <a:pt x="373659" y="430771"/>
                    <a:pt x="373659" y="444369"/>
                    <a:pt x="379098" y="457968"/>
                  </a:cubicBezTo>
                  <a:cubicBezTo>
                    <a:pt x="381818" y="471566"/>
                    <a:pt x="387257" y="482445"/>
                    <a:pt x="395416" y="496043"/>
                  </a:cubicBezTo>
                  <a:cubicBezTo>
                    <a:pt x="398136" y="501482"/>
                    <a:pt x="403575" y="506921"/>
                    <a:pt x="406295" y="512361"/>
                  </a:cubicBezTo>
                  <a:cubicBezTo>
                    <a:pt x="409014" y="517800"/>
                    <a:pt x="409014" y="525959"/>
                    <a:pt x="411734" y="531398"/>
                  </a:cubicBezTo>
                  <a:cubicBezTo>
                    <a:pt x="414454" y="539557"/>
                    <a:pt x="417173" y="550436"/>
                    <a:pt x="419893" y="558595"/>
                  </a:cubicBezTo>
                  <a:cubicBezTo>
                    <a:pt x="422613" y="561314"/>
                    <a:pt x="422613" y="564034"/>
                    <a:pt x="425332" y="564034"/>
                  </a:cubicBezTo>
                  <a:cubicBezTo>
                    <a:pt x="428052" y="564034"/>
                    <a:pt x="428052" y="561314"/>
                    <a:pt x="430771" y="558595"/>
                  </a:cubicBezTo>
                  <a:cubicBezTo>
                    <a:pt x="430771" y="555875"/>
                    <a:pt x="430771" y="553156"/>
                    <a:pt x="430771" y="550436"/>
                  </a:cubicBezTo>
                  <a:cubicBezTo>
                    <a:pt x="430771" y="534118"/>
                    <a:pt x="430771" y="517800"/>
                    <a:pt x="430771" y="501482"/>
                  </a:cubicBezTo>
                  <a:cubicBezTo>
                    <a:pt x="430771" y="468846"/>
                    <a:pt x="433491" y="436210"/>
                    <a:pt x="430771" y="403575"/>
                  </a:cubicBezTo>
                  <a:cubicBezTo>
                    <a:pt x="430771" y="373658"/>
                    <a:pt x="425332" y="343742"/>
                    <a:pt x="425332" y="313826"/>
                  </a:cubicBezTo>
                  <a:cubicBezTo>
                    <a:pt x="425332" y="292069"/>
                    <a:pt x="425332" y="270311"/>
                    <a:pt x="425332" y="248554"/>
                  </a:cubicBezTo>
                  <a:cubicBezTo>
                    <a:pt x="425332" y="234956"/>
                    <a:pt x="425332" y="224077"/>
                    <a:pt x="425332" y="210479"/>
                  </a:cubicBezTo>
                  <a:cubicBezTo>
                    <a:pt x="425332" y="191441"/>
                    <a:pt x="422613" y="172404"/>
                    <a:pt x="422613" y="153366"/>
                  </a:cubicBezTo>
                  <a:cubicBezTo>
                    <a:pt x="422613" y="142488"/>
                    <a:pt x="422613" y="134329"/>
                    <a:pt x="425332" y="123450"/>
                  </a:cubicBezTo>
                  <a:cubicBezTo>
                    <a:pt x="417173" y="123450"/>
                    <a:pt x="406295" y="123450"/>
                    <a:pt x="398136" y="123450"/>
                  </a:cubicBezTo>
                  <a:cubicBezTo>
                    <a:pt x="392696" y="123450"/>
                    <a:pt x="387257" y="123450"/>
                    <a:pt x="379098" y="123450"/>
                  </a:cubicBezTo>
                  <a:cubicBezTo>
                    <a:pt x="373659" y="123450"/>
                    <a:pt x="365500" y="120730"/>
                    <a:pt x="360060" y="118011"/>
                  </a:cubicBezTo>
                  <a:cubicBezTo>
                    <a:pt x="354621" y="115291"/>
                    <a:pt x="349182" y="107132"/>
                    <a:pt x="349182" y="101693"/>
                  </a:cubicBezTo>
                  <a:cubicBezTo>
                    <a:pt x="349182" y="98973"/>
                    <a:pt x="349182" y="96253"/>
                    <a:pt x="351901" y="93534"/>
                  </a:cubicBezTo>
                  <a:cubicBezTo>
                    <a:pt x="354621" y="90814"/>
                    <a:pt x="362780" y="88095"/>
                    <a:pt x="368219" y="85375"/>
                  </a:cubicBezTo>
                  <a:cubicBezTo>
                    <a:pt x="381818" y="82655"/>
                    <a:pt x="417173" y="79936"/>
                    <a:pt x="422613" y="79936"/>
                  </a:cubicBezTo>
                  <a:cubicBezTo>
                    <a:pt x="428052" y="79936"/>
                    <a:pt x="433491" y="79936"/>
                    <a:pt x="444370" y="79936"/>
                  </a:cubicBezTo>
                  <a:cubicBezTo>
                    <a:pt x="449809" y="74496"/>
                    <a:pt x="455248" y="71776"/>
                    <a:pt x="463407" y="71776"/>
                  </a:cubicBezTo>
                  <a:cubicBezTo>
                    <a:pt x="471566" y="71776"/>
                    <a:pt x="477006" y="74496"/>
                    <a:pt x="477006" y="79936"/>
                  </a:cubicBezTo>
                  <a:cubicBezTo>
                    <a:pt x="490604" y="82655"/>
                    <a:pt x="504202" y="79936"/>
                    <a:pt x="512361" y="79936"/>
                  </a:cubicBezTo>
                  <a:lnTo>
                    <a:pt x="512361" y="79936"/>
                  </a:ln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6" name="Freeform: Shape 35">
              <a:extLst>
                <a:ext uri="{FF2B5EF4-FFF2-40B4-BE49-F238E27FC236}">
                  <a16:creationId xmlns:a16="http://schemas.microsoft.com/office/drawing/2014/main" id="{397BA53C-5927-4890-95E0-16501B2A2A63}"/>
                </a:ext>
              </a:extLst>
            </p:cNvPr>
            <p:cNvSpPr/>
            <p:nvPr/>
          </p:nvSpPr>
          <p:spPr>
            <a:xfrm>
              <a:off x="2987430" y="4242177"/>
              <a:ext cx="494979" cy="674476"/>
            </a:xfrm>
            <a:custGeom>
              <a:avLst/>
              <a:gdLst>
                <a:gd name="connsiteX0" fmla="*/ 228453 w 494979"/>
                <a:gd name="connsiteY0" fmla="*/ 97907 h 674476"/>
                <a:gd name="connsiteX1" fmla="*/ 212135 w 494979"/>
                <a:gd name="connsiteY1" fmla="*/ 119665 h 674476"/>
                <a:gd name="connsiteX2" fmla="*/ 203976 w 494979"/>
                <a:gd name="connsiteY2" fmla="*/ 152300 h 674476"/>
                <a:gd name="connsiteX3" fmla="*/ 201256 w 494979"/>
                <a:gd name="connsiteY3" fmla="*/ 168618 h 674476"/>
                <a:gd name="connsiteX4" fmla="*/ 198537 w 494979"/>
                <a:gd name="connsiteY4" fmla="*/ 184936 h 674476"/>
                <a:gd name="connsiteX5" fmla="*/ 190378 w 494979"/>
                <a:gd name="connsiteY5" fmla="*/ 220292 h 674476"/>
                <a:gd name="connsiteX6" fmla="*/ 171340 w 494979"/>
                <a:gd name="connsiteY6" fmla="*/ 291003 h 674476"/>
                <a:gd name="connsiteX7" fmla="*/ 163180 w 494979"/>
                <a:gd name="connsiteY7" fmla="*/ 323639 h 674476"/>
                <a:gd name="connsiteX8" fmla="*/ 152302 w 494979"/>
                <a:gd name="connsiteY8" fmla="*/ 361714 h 674476"/>
                <a:gd name="connsiteX9" fmla="*/ 146862 w 494979"/>
                <a:gd name="connsiteY9" fmla="*/ 388910 h 674476"/>
                <a:gd name="connsiteX10" fmla="*/ 152302 w 494979"/>
                <a:gd name="connsiteY10" fmla="*/ 391630 h 674476"/>
                <a:gd name="connsiteX11" fmla="*/ 174060 w 494979"/>
                <a:gd name="connsiteY11" fmla="*/ 391630 h 674476"/>
                <a:gd name="connsiteX12" fmla="*/ 195817 w 494979"/>
                <a:gd name="connsiteY12" fmla="*/ 388910 h 674476"/>
                <a:gd name="connsiteX13" fmla="*/ 214855 w 494979"/>
                <a:gd name="connsiteY13" fmla="*/ 388910 h 674476"/>
                <a:gd name="connsiteX14" fmla="*/ 239332 w 494979"/>
                <a:gd name="connsiteY14" fmla="*/ 388910 h 674476"/>
                <a:gd name="connsiteX15" fmla="*/ 252930 w 494979"/>
                <a:gd name="connsiteY15" fmla="*/ 386191 h 674476"/>
                <a:gd name="connsiteX16" fmla="*/ 261089 w 494979"/>
                <a:gd name="connsiteY16" fmla="*/ 386191 h 674476"/>
                <a:gd name="connsiteX17" fmla="*/ 258369 w 494979"/>
                <a:gd name="connsiteY17" fmla="*/ 367153 h 674476"/>
                <a:gd name="connsiteX18" fmla="*/ 252930 w 494979"/>
                <a:gd name="connsiteY18" fmla="*/ 331797 h 674476"/>
                <a:gd name="connsiteX19" fmla="*/ 250210 w 494979"/>
                <a:gd name="connsiteY19" fmla="*/ 244769 h 674476"/>
                <a:gd name="connsiteX20" fmla="*/ 244771 w 494979"/>
                <a:gd name="connsiteY20" fmla="*/ 203974 h 674476"/>
                <a:gd name="connsiteX21" fmla="*/ 239332 w 494979"/>
                <a:gd name="connsiteY21" fmla="*/ 157740 h 674476"/>
                <a:gd name="connsiteX22" fmla="*/ 236612 w 494979"/>
                <a:gd name="connsiteY22" fmla="*/ 119665 h 674476"/>
                <a:gd name="connsiteX23" fmla="*/ 228453 w 494979"/>
                <a:gd name="connsiteY23" fmla="*/ 97907 h 674476"/>
                <a:gd name="connsiteX24" fmla="*/ 274687 w 494979"/>
                <a:gd name="connsiteY24" fmla="*/ 0 h 674476"/>
                <a:gd name="connsiteX25" fmla="*/ 304603 w 494979"/>
                <a:gd name="connsiteY25" fmla="*/ 5439 h 674476"/>
                <a:gd name="connsiteX26" fmla="*/ 320921 w 494979"/>
                <a:gd name="connsiteY26" fmla="*/ 24477 h 674476"/>
                <a:gd name="connsiteX27" fmla="*/ 334519 w 494979"/>
                <a:gd name="connsiteY27" fmla="*/ 43515 h 674476"/>
                <a:gd name="connsiteX28" fmla="*/ 339959 w 494979"/>
                <a:gd name="connsiteY28" fmla="*/ 65272 h 674476"/>
                <a:gd name="connsiteX29" fmla="*/ 348118 w 494979"/>
                <a:gd name="connsiteY29" fmla="*/ 114226 h 674476"/>
                <a:gd name="connsiteX30" fmla="*/ 361716 w 494979"/>
                <a:gd name="connsiteY30" fmla="*/ 163180 h 674476"/>
                <a:gd name="connsiteX31" fmla="*/ 369875 w 494979"/>
                <a:gd name="connsiteY31" fmla="*/ 220293 h 674476"/>
                <a:gd name="connsiteX32" fmla="*/ 378034 w 494979"/>
                <a:gd name="connsiteY32" fmla="*/ 274686 h 674476"/>
                <a:gd name="connsiteX33" fmla="*/ 383473 w 494979"/>
                <a:gd name="connsiteY33" fmla="*/ 301883 h 674476"/>
                <a:gd name="connsiteX34" fmla="*/ 391632 w 494979"/>
                <a:gd name="connsiteY34" fmla="*/ 337238 h 674476"/>
                <a:gd name="connsiteX35" fmla="*/ 397071 w 494979"/>
                <a:gd name="connsiteY35" fmla="*/ 364435 h 674476"/>
                <a:gd name="connsiteX36" fmla="*/ 405230 w 494979"/>
                <a:gd name="connsiteY36" fmla="*/ 383473 h 674476"/>
                <a:gd name="connsiteX37" fmla="*/ 416109 w 494979"/>
                <a:gd name="connsiteY37" fmla="*/ 386192 h 674476"/>
                <a:gd name="connsiteX38" fmla="*/ 426988 w 494979"/>
                <a:gd name="connsiteY38" fmla="*/ 386192 h 674476"/>
                <a:gd name="connsiteX39" fmla="*/ 454184 w 494979"/>
                <a:gd name="connsiteY39" fmla="*/ 397071 h 674476"/>
                <a:gd name="connsiteX40" fmla="*/ 456904 w 494979"/>
                <a:gd name="connsiteY40" fmla="*/ 405230 h 674476"/>
                <a:gd name="connsiteX41" fmla="*/ 451465 w 494979"/>
                <a:gd name="connsiteY41" fmla="*/ 416108 h 674476"/>
                <a:gd name="connsiteX42" fmla="*/ 432427 w 494979"/>
                <a:gd name="connsiteY42" fmla="*/ 429707 h 674476"/>
                <a:gd name="connsiteX43" fmla="*/ 421548 w 494979"/>
                <a:gd name="connsiteY43" fmla="*/ 432426 h 674476"/>
                <a:gd name="connsiteX44" fmla="*/ 413389 w 494979"/>
                <a:gd name="connsiteY44" fmla="*/ 435146 h 674476"/>
                <a:gd name="connsiteX45" fmla="*/ 413389 w 494979"/>
                <a:gd name="connsiteY45" fmla="*/ 440585 h 674476"/>
                <a:gd name="connsiteX46" fmla="*/ 416109 w 494979"/>
                <a:gd name="connsiteY46" fmla="*/ 451464 h 674476"/>
                <a:gd name="connsiteX47" fmla="*/ 418829 w 494979"/>
                <a:gd name="connsiteY47" fmla="*/ 465062 h 674476"/>
                <a:gd name="connsiteX48" fmla="*/ 418829 w 494979"/>
                <a:gd name="connsiteY48" fmla="*/ 475941 h 674476"/>
                <a:gd name="connsiteX49" fmla="*/ 418829 w 494979"/>
                <a:gd name="connsiteY49" fmla="*/ 486820 h 674476"/>
                <a:gd name="connsiteX50" fmla="*/ 426988 w 494979"/>
                <a:gd name="connsiteY50" fmla="*/ 516736 h 674476"/>
                <a:gd name="connsiteX51" fmla="*/ 432427 w 494979"/>
                <a:gd name="connsiteY51" fmla="*/ 543932 h 674476"/>
                <a:gd name="connsiteX52" fmla="*/ 437866 w 494979"/>
                <a:gd name="connsiteY52" fmla="*/ 573848 h 674476"/>
                <a:gd name="connsiteX53" fmla="*/ 443306 w 494979"/>
                <a:gd name="connsiteY53" fmla="*/ 606484 h 674476"/>
                <a:gd name="connsiteX54" fmla="*/ 446025 w 494979"/>
                <a:gd name="connsiteY54" fmla="*/ 617363 h 674476"/>
                <a:gd name="connsiteX55" fmla="*/ 470502 w 494979"/>
                <a:gd name="connsiteY55" fmla="*/ 617363 h 674476"/>
                <a:gd name="connsiteX56" fmla="*/ 494979 w 494979"/>
                <a:gd name="connsiteY56" fmla="*/ 641840 h 674476"/>
                <a:gd name="connsiteX57" fmla="*/ 486820 w 494979"/>
                <a:gd name="connsiteY57" fmla="*/ 655438 h 674476"/>
                <a:gd name="connsiteX58" fmla="*/ 470502 w 494979"/>
                <a:gd name="connsiteY58" fmla="*/ 663597 h 674476"/>
                <a:gd name="connsiteX59" fmla="*/ 446025 w 494979"/>
                <a:gd name="connsiteY59" fmla="*/ 666317 h 674476"/>
                <a:gd name="connsiteX60" fmla="*/ 424268 w 494979"/>
                <a:gd name="connsiteY60" fmla="*/ 666317 h 674476"/>
                <a:gd name="connsiteX61" fmla="*/ 416109 w 494979"/>
                <a:gd name="connsiteY61" fmla="*/ 666317 h 674476"/>
                <a:gd name="connsiteX62" fmla="*/ 402511 w 494979"/>
                <a:gd name="connsiteY62" fmla="*/ 671756 h 674476"/>
                <a:gd name="connsiteX63" fmla="*/ 386193 w 494979"/>
                <a:gd name="connsiteY63" fmla="*/ 674476 h 674476"/>
                <a:gd name="connsiteX64" fmla="*/ 350837 w 494979"/>
                <a:gd name="connsiteY64" fmla="*/ 669036 h 674476"/>
                <a:gd name="connsiteX65" fmla="*/ 329080 w 494979"/>
                <a:gd name="connsiteY65" fmla="*/ 669036 h 674476"/>
                <a:gd name="connsiteX66" fmla="*/ 280126 w 494979"/>
                <a:gd name="connsiteY66" fmla="*/ 669036 h 674476"/>
                <a:gd name="connsiteX67" fmla="*/ 255649 w 494979"/>
                <a:gd name="connsiteY67" fmla="*/ 663597 h 674476"/>
                <a:gd name="connsiteX68" fmla="*/ 239331 w 494979"/>
                <a:gd name="connsiteY68" fmla="*/ 647279 h 674476"/>
                <a:gd name="connsiteX69" fmla="*/ 263808 w 494979"/>
                <a:gd name="connsiteY69" fmla="*/ 630961 h 674476"/>
                <a:gd name="connsiteX70" fmla="*/ 291005 w 494979"/>
                <a:gd name="connsiteY70" fmla="*/ 628241 h 674476"/>
                <a:gd name="connsiteX71" fmla="*/ 288285 w 494979"/>
                <a:gd name="connsiteY71" fmla="*/ 609204 h 674476"/>
                <a:gd name="connsiteX72" fmla="*/ 285565 w 494979"/>
                <a:gd name="connsiteY72" fmla="*/ 582007 h 674476"/>
                <a:gd name="connsiteX73" fmla="*/ 282846 w 494979"/>
                <a:gd name="connsiteY73" fmla="*/ 568409 h 674476"/>
                <a:gd name="connsiteX74" fmla="*/ 285565 w 494979"/>
                <a:gd name="connsiteY74" fmla="*/ 554811 h 674476"/>
                <a:gd name="connsiteX75" fmla="*/ 280126 w 494979"/>
                <a:gd name="connsiteY75" fmla="*/ 538493 h 674476"/>
                <a:gd name="connsiteX76" fmla="*/ 274687 w 494979"/>
                <a:gd name="connsiteY76" fmla="*/ 505857 h 674476"/>
                <a:gd name="connsiteX77" fmla="*/ 271967 w 494979"/>
                <a:gd name="connsiteY77" fmla="*/ 478660 h 674476"/>
                <a:gd name="connsiteX78" fmla="*/ 269247 w 494979"/>
                <a:gd name="connsiteY78" fmla="*/ 446025 h 674476"/>
                <a:gd name="connsiteX79" fmla="*/ 263808 w 494979"/>
                <a:gd name="connsiteY79" fmla="*/ 437866 h 674476"/>
                <a:gd name="connsiteX80" fmla="*/ 252929 w 494979"/>
                <a:gd name="connsiteY80" fmla="*/ 437866 h 674476"/>
                <a:gd name="connsiteX81" fmla="*/ 223013 w 494979"/>
                <a:gd name="connsiteY81" fmla="*/ 440585 h 674476"/>
                <a:gd name="connsiteX82" fmla="*/ 193097 w 494979"/>
                <a:gd name="connsiteY82" fmla="*/ 443305 h 674476"/>
                <a:gd name="connsiteX83" fmla="*/ 168620 w 494979"/>
                <a:gd name="connsiteY83" fmla="*/ 443305 h 674476"/>
                <a:gd name="connsiteX84" fmla="*/ 146862 w 494979"/>
                <a:gd name="connsiteY84" fmla="*/ 440585 h 674476"/>
                <a:gd name="connsiteX85" fmla="*/ 138703 w 494979"/>
                <a:gd name="connsiteY85" fmla="*/ 454184 h 674476"/>
                <a:gd name="connsiteX86" fmla="*/ 133263 w 494979"/>
                <a:gd name="connsiteY86" fmla="*/ 486820 h 674476"/>
                <a:gd name="connsiteX87" fmla="*/ 122385 w 494979"/>
                <a:gd name="connsiteY87" fmla="*/ 541213 h 674476"/>
                <a:gd name="connsiteX88" fmla="*/ 106067 w 494979"/>
                <a:gd name="connsiteY88" fmla="*/ 614643 h 674476"/>
                <a:gd name="connsiteX89" fmla="*/ 135983 w 494979"/>
                <a:gd name="connsiteY89" fmla="*/ 614643 h 674476"/>
                <a:gd name="connsiteX90" fmla="*/ 171340 w 494979"/>
                <a:gd name="connsiteY90" fmla="*/ 630961 h 674476"/>
                <a:gd name="connsiteX91" fmla="*/ 165900 w 494979"/>
                <a:gd name="connsiteY91" fmla="*/ 647279 h 674476"/>
                <a:gd name="connsiteX92" fmla="*/ 149581 w 494979"/>
                <a:gd name="connsiteY92" fmla="*/ 655438 h 674476"/>
                <a:gd name="connsiteX93" fmla="*/ 127824 w 494979"/>
                <a:gd name="connsiteY93" fmla="*/ 658158 h 674476"/>
                <a:gd name="connsiteX94" fmla="*/ 106067 w 494979"/>
                <a:gd name="connsiteY94" fmla="*/ 658158 h 674476"/>
                <a:gd name="connsiteX95" fmla="*/ 62552 w 494979"/>
                <a:gd name="connsiteY95" fmla="*/ 658158 h 674476"/>
                <a:gd name="connsiteX96" fmla="*/ 40795 w 494979"/>
                <a:gd name="connsiteY96" fmla="*/ 658158 h 674476"/>
                <a:gd name="connsiteX97" fmla="*/ 16318 w 494979"/>
                <a:gd name="connsiteY97" fmla="*/ 652718 h 674476"/>
                <a:gd name="connsiteX98" fmla="*/ 0 w 494979"/>
                <a:gd name="connsiteY98" fmla="*/ 636401 h 674476"/>
                <a:gd name="connsiteX99" fmla="*/ 2720 w 494979"/>
                <a:gd name="connsiteY99" fmla="*/ 628241 h 674476"/>
                <a:gd name="connsiteX100" fmla="*/ 24477 w 494979"/>
                <a:gd name="connsiteY100" fmla="*/ 620082 h 674476"/>
                <a:gd name="connsiteX101" fmla="*/ 62552 w 494979"/>
                <a:gd name="connsiteY101" fmla="*/ 617363 h 674476"/>
                <a:gd name="connsiteX102" fmla="*/ 62552 w 494979"/>
                <a:gd name="connsiteY102" fmla="*/ 614643 h 674476"/>
                <a:gd name="connsiteX103" fmla="*/ 65272 w 494979"/>
                <a:gd name="connsiteY103" fmla="*/ 587447 h 674476"/>
                <a:gd name="connsiteX104" fmla="*/ 76151 w 494979"/>
                <a:gd name="connsiteY104" fmla="*/ 522175 h 674476"/>
                <a:gd name="connsiteX105" fmla="*/ 87029 w 494979"/>
                <a:gd name="connsiteY105" fmla="*/ 470501 h 674476"/>
                <a:gd name="connsiteX106" fmla="*/ 92469 w 494979"/>
                <a:gd name="connsiteY106" fmla="*/ 446025 h 674476"/>
                <a:gd name="connsiteX107" fmla="*/ 65272 w 494979"/>
                <a:gd name="connsiteY107" fmla="*/ 432426 h 674476"/>
                <a:gd name="connsiteX108" fmla="*/ 54393 w 494979"/>
                <a:gd name="connsiteY108" fmla="*/ 421548 h 674476"/>
                <a:gd name="connsiteX109" fmla="*/ 73431 w 494979"/>
                <a:gd name="connsiteY109" fmla="*/ 407949 h 674476"/>
                <a:gd name="connsiteX110" fmla="*/ 100628 w 494979"/>
                <a:gd name="connsiteY110" fmla="*/ 399790 h 674476"/>
                <a:gd name="connsiteX111" fmla="*/ 108787 w 494979"/>
                <a:gd name="connsiteY111" fmla="*/ 369874 h 674476"/>
                <a:gd name="connsiteX112" fmla="*/ 125105 w 494979"/>
                <a:gd name="connsiteY112" fmla="*/ 307322 h 674476"/>
                <a:gd name="connsiteX113" fmla="*/ 141423 w 494979"/>
                <a:gd name="connsiteY113" fmla="*/ 242051 h 674476"/>
                <a:gd name="connsiteX114" fmla="*/ 155021 w 494979"/>
                <a:gd name="connsiteY114" fmla="*/ 179498 h 674476"/>
                <a:gd name="connsiteX115" fmla="*/ 168620 w 494979"/>
                <a:gd name="connsiteY115" fmla="*/ 119665 h 674476"/>
                <a:gd name="connsiteX116" fmla="*/ 193097 w 494979"/>
                <a:gd name="connsiteY116" fmla="*/ 57113 h 674476"/>
                <a:gd name="connsiteX117" fmla="*/ 201256 w 494979"/>
                <a:gd name="connsiteY117" fmla="*/ 38075 h 674476"/>
                <a:gd name="connsiteX118" fmla="*/ 217574 w 494979"/>
                <a:gd name="connsiteY118" fmla="*/ 13598 h 674476"/>
                <a:gd name="connsiteX119" fmla="*/ 274687 w 494979"/>
                <a:gd name="connsiteY119" fmla="*/ 0 h 6744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</a:cxnLst>
              <a:rect l="l" t="t" r="r" b="b"/>
              <a:pathLst>
                <a:path w="494979" h="674476">
                  <a:moveTo>
                    <a:pt x="228453" y="97907"/>
                  </a:moveTo>
                  <a:cubicBezTo>
                    <a:pt x="220294" y="97907"/>
                    <a:pt x="212135" y="114225"/>
                    <a:pt x="212135" y="119665"/>
                  </a:cubicBezTo>
                  <a:cubicBezTo>
                    <a:pt x="209415" y="130543"/>
                    <a:pt x="206696" y="144141"/>
                    <a:pt x="203976" y="152300"/>
                  </a:cubicBezTo>
                  <a:cubicBezTo>
                    <a:pt x="201256" y="157740"/>
                    <a:pt x="201256" y="163179"/>
                    <a:pt x="201256" y="168618"/>
                  </a:cubicBezTo>
                  <a:cubicBezTo>
                    <a:pt x="201256" y="174058"/>
                    <a:pt x="198537" y="179497"/>
                    <a:pt x="198537" y="184936"/>
                  </a:cubicBezTo>
                  <a:cubicBezTo>
                    <a:pt x="195817" y="195815"/>
                    <a:pt x="193097" y="209413"/>
                    <a:pt x="190378" y="220292"/>
                  </a:cubicBezTo>
                  <a:cubicBezTo>
                    <a:pt x="187658" y="244769"/>
                    <a:pt x="179499" y="269246"/>
                    <a:pt x="171340" y="291003"/>
                  </a:cubicBezTo>
                  <a:cubicBezTo>
                    <a:pt x="168620" y="301881"/>
                    <a:pt x="165900" y="312760"/>
                    <a:pt x="163180" y="323639"/>
                  </a:cubicBezTo>
                  <a:cubicBezTo>
                    <a:pt x="160461" y="337237"/>
                    <a:pt x="157741" y="348115"/>
                    <a:pt x="152302" y="361714"/>
                  </a:cubicBezTo>
                  <a:cubicBezTo>
                    <a:pt x="149582" y="367153"/>
                    <a:pt x="146862" y="383471"/>
                    <a:pt x="146862" y="388910"/>
                  </a:cubicBezTo>
                  <a:cubicBezTo>
                    <a:pt x="146862" y="391630"/>
                    <a:pt x="149582" y="391630"/>
                    <a:pt x="152302" y="391630"/>
                  </a:cubicBezTo>
                  <a:cubicBezTo>
                    <a:pt x="157741" y="391630"/>
                    <a:pt x="171340" y="391630"/>
                    <a:pt x="174060" y="391630"/>
                  </a:cubicBezTo>
                  <a:cubicBezTo>
                    <a:pt x="182219" y="391630"/>
                    <a:pt x="190378" y="391630"/>
                    <a:pt x="195817" y="388910"/>
                  </a:cubicBezTo>
                  <a:cubicBezTo>
                    <a:pt x="201256" y="388910"/>
                    <a:pt x="206696" y="388910"/>
                    <a:pt x="214855" y="388910"/>
                  </a:cubicBezTo>
                  <a:cubicBezTo>
                    <a:pt x="220294" y="388910"/>
                    <a:pt x="228453" y="388910"/>
                    <a:pt x="239332" y="388910"/>
                  </a:cubicBezTo>
                  <a:cubicBezTo>
                    <a:pt x="244771" y="388910"/>
                    <a:pt x="250210" y="388910"/>
                    <a:pt x="252930" y="386191"/>
                  </a:cubicBezTo>
                  <a:cubicBezTo>
                    <a:pt x="258369" y="391630"/>
                    <a:pt x="261089" y="388910"/>
                    <a:pt x="261089" y="386191"/>
                  </a:cubicBezTo>
                  <a:cubicBezTo>
                    <a:pt x="261089" y="380751"/>
                    <a:pt x="258369" y="372592"/>
                    <a:pt x="258369" y="367153"/>
                  </a:cubicBezTo>
                  <a:cubicBezTo>
                    <a:pt x="255650" y="353555"/>
                    <a:pt x="252930" y="342676"/>
                    <a:pt x="252930" y="331797"/>
                  </a:cubicBezTo>
                  <a:cubicBezTo>
                    <a:pt x="252930" y="301881"/>
                    <a:pt x="252930" y="274685"/>
                    <a:pt x="250210" y="244769"/>
                  </a:cubicBezTo>
                  <a:cubicBezTo>
                    <a:pt x="250210" y="231170"/>
                    <a:pt x="247491" y="217572"/>
                    <a:pt x="244771" y="203974"/>
                  </a:cubicBezTo>
                  <a:cubicBezTo>
                    <a:pt x="242051" y="187656"/>
                    <a:pt x="239332" y="174058"/>
                    <a:pt x="239332" y="157740"/>
                  </a:cubicBezTo>
                  <a:cubicBezTo>
                    <a:pt x="239332" y="152300"/>
                    <a:pt x="239332" y="133263"/>
                    <a:pt x="236612" y="119665"/>
                  </a:cubicBezTo>
                  <a:cubicBezTo>
                    <a:pt x="236612" y="106066"/>
                    <a:pt x="233892" y="97907"/>
                    <a:pt x="228453" y="97907"/>
                  </a:cubicBezTo>
                  <a:close/>
                  <a:moveTo>
                    <a:pt x="274687" y="0"/>
                  </a:moveTo>
                  <a:cubicBezTo>
                    <a:pt x="288285" y="0"/>
                    <a:pt x="293724" y="2720"/>
                    <a:pt x="304603" y="5439"/>
                  </a:cubicBezTo>
                  <a:cubicBezTo>
                    <a:pt x="315482" y="10879"/>
                    <a:pt x="315482" y="16318"/>
                    <a:pt x="320921" y="24477"/>
                  </a:cubicBezTo>
                  <a:cubicBezTo>
                    <a:pt x="326360" y="29916"/>
                    <a:pt x="331800" y="35356"/>
                    <a:pt x="334519" y="43515"/>
                  </a:cubicBezTo>
                  <a:cubicBezTo>
                    <a:pt x="337239" y="51674"/>
                    <a:pt x="337239" y="57113"/>
                    <a:pt x="339959" y="65272"/>
                  </a:cubicBezTo>
                  <a:cubicBezTo>
                    <a:pt x="345398" y="78870"/>
                    <a:pt x="342678" y="97908"/>
                    <a:pt x="348118" y="114226"/>
                  </a:cubicBezTo>
                  <a:cubicBezTo>
                    <a:pt x="350837" y="130544"/>
                    <a:pt x="358996" y="146863"/>
                    <a:pt x="361716" y="163180"/>
                  </a:cubicBezTo>
                  <a:cubicBezTo>
                    <a:pt x="364435" y="182218"/>
                    <a:pt x="364435" y="201256"/>
                    <a:pt x="369875" y="220293"/>
                  </a:cubicBezTo>
                  <a:cubicBezTo>
                    <a:pt x="375314" y="239331"/>
                    <a:pt x="378034" y="255649"/>
                    <a:pt x="378034" y="274686"/>
                  </a:cubicBezTo>
                  <a:cubicBezTo>
                    <a:pt x="378034" y="282845"/>
                    <a:pt x="380753" y="293724"/>
                    <a:pt x="383473" y="301883"/>
                  </a:cubicBezTo>
                  <a:cubicBezTo>
                    <a:pt x="386193" y="312762"/>
                    <a:pt x="388912" y="326360"/>
                    <a:pt x="391632" y="337238"/>
                  </a:cubicBezTo>
                  <a:cubicBezTo>
                    <a:pt x="391632" y="342678"/>
                    <a:pt x="394352" y="353556"/>
                    <a:pt x="397071" y="364435"/>
                  </a:cubicBezTo>
                  <a:cubicBezTo>
                    <a:pt x="399791" y="372594"/>
                    <a:pt x="402511" y="380753"/>
                    <a:pt x="405230" y="383473"/>
                  </a:cubicBezTo>
                  <a:cubicBezTo>
                    <a:pt x="407950" y="386192"/>
                    <a:pt x="413389" y="386192"/>
                    <a:pt x="416109" y="386192"/>
                  </a:cubicBezTo>
                  <a:cubicBezTo>
                    <a:pt x="418829" y="386192"/>
                    <a:pt x="424268" y="386192"/>
                    <a:pt x="426988" y="386192"/>
                  </a:cubicBezTo>
                  <a:cubicBezTo>
                    <a:pt x="437866" y="386192"/>
                    <a:pt x="448745" y="388912"/>
                    <a:pt x="454184" y="397071"/>
                  </a:cubicBezTo>
                  <a:cubicBezTo>
                    <a:pt x="456904" y="399790"/>
                    <a:pt x="456904" y="402510"/>
                    <a:pt x="456904" y="405230"/>
                  </a:cubicBezTo>
                  <a:cubicBezTo>
                    <a:pt x="456904" y="407949"/>
                    <a:pt x="454184" y="410669"/>
                    <a:pt x="451465" y="416108"/>
                  </a:cubicBezTo>
                  <a:cubicBezTo>
                    <a:pt x="446025" y="421548"/>
                    <a:pt x="440586" y="426987"/>
                    <a:pt x="432427" y="429707"/>
                  </a:cubicBezTo>
                  <a:cubicBezTo>
                    <a:pt x="429707" y="429707"/>
                    <a:pt x="426988" y="432426"/>
                    <a:pt x="421548" y="432426"/>
                  </a:cubicBezTo>
                  <a:cubicBezTo>
                    <a:pt x="418829" y="432426"/>
                    <a:pt x="416109" y="432426"/>
                    <a:pt x="413389" y="435146"/>
                  </a:cubicBezTo>
                  <a:cubicBezTo>
                    <a:pt x="413389" y="435146"/>
                    <a:pt x="413389" y="437866"/>
                    <a:pt x="413389" y="440585"/>
                  </a:cubicBezTo>
                  <a:cubicBezTo>
                    <a:pt x="413389" y="443305"/>
                    <a:pt x="413389" y="448744"/>
                    <a:pt x="416109" y="451464"/>
                  </a:cubicBezTo>
                  <a:cubicBezTo>
                    <a:pt x="416109" y="456903"/>
                    <a:pt x="418829" y="462343"/>
                    <a:pt x="418829" y="465062"/>
                  </a:cubicBezTo>
                  <a:lnTo>
                    <a:pt x="418829" y="475941"/>
                  </a:lnTo>
                  <a:cubicBezTo>
                    <a:pt x="418829" y="481380"/>
                    <a:pt x="418829" y="484100"/>
                    <a:pt x="418829" y="486820"/>
                  </a:cubicBezTo>
                  <a:cubicBezTo>
                    <a:pt x="421548" y="497698"/>
                    <a:pt x="424268" y="505857"/>
                    <a:pt x="426988" y="516736"/>
                  </a:cubicBezTo>
                  <a:cubicBezTo>
                    <a:pt x="426988" y="524895"/>
                    <a:pt x="429707" y="535773"/>
                    <a:pt x="432427" y="543932"/>
                  </a:cubicBezTo>
                  <a:cubicBezTo>
                    <a:pt x="435147" y="554811"/>
                    <a:pt x="437866" y="562970"/>
                    <a:pt x="437866" y="573848"/>
                  </a:cubicBezTo>
                  <a:cubicBezTo>
                    <a:pt x="437866" y="587447"/>
                    <a:pt x="440586" y="595606"/>
                    <a:pt x="443306" y="606484"/>
                  </a:cubicBezTo>
                  <a:cubicBezTo>
                    <a:pt x="443306" y="609204"/>
                    <a:pt x="446025" y="614643"/>
                    <a:pt x="446025" y="617363"/>
                  </a:cubicBezTo>
                  <a:cubicBezTo>
                    <a:pt x="454184" y="617363"/>
                    <a:pt x="462343" y="617363"/>
                    <a:pt x="470502" y="617363"/>
                  </a:cubicBezTo>
                  <a:cubicBezTo>
                    <a:pt x="478661" y="625522"/>
                    <a:pt x="492259" y="630961"/>
                    <a:pt x="494979" y="641840"/>
                  </a:cubicBezTo>
                  <a:cubicBezTo>
                    <a:pt x="494979" y="647279"/>
                    <a:pt x="489540" y="649999"/>
                    <a:pt x="486820" y="655438"/>
                  </a:cubicBezTo>
                  <a:cubicBezTo>
                    <a:pt x="484100" y="660877"/>
                    <a:pt x="475942" y="663597"/>
                    <a:pt x="470502" y="663597"/>
                  </a:cubicBezTo>
                  <a:cubicBezTo>
                    <a:pt x="459623" y="666317"/>
                    <a:pt x="454184" y="666317"/>
                    <a:pt x="446025" y="666317"/>
                  </a:cubicBezTo>
                  <a:cubicBezTo>
                    <a:pt x="440586" y="666317"/>
                    <a:pt x="432427" y="666317"/>
                    <a:pt x="424268" y="666317"/>
                  </a:cubicBezTo>
                  <a:cubicBezTo>
                    <a:pt x="421548" y="666317"/>
                    <a:pt x="418829" y="666317"/>
                    <a:pt x="416109" y="666317"/>
                  </a:cubicBezTo>
                  <a:cubicBezTo>
                    <a:pt x="410670" y="669036"/>
                    <a:pt x="407950" y="669036"/>
                    <a:pt x="402511" y="671756"/>
                  </a:cubicBezTo>
                  <a:cubicBezTo>
                    <a:pt x="397071" y="671756"/>
                    <a:pt x="391632" y="674476"/>
                    <a:pt x="386193" y="674476"/>
                  </a:cubicBezTo>
                  <a:cubicBezTo>
                    <a:pt x="375314" y="674476"/>
                    <a:pt x="361716" y="671756"/>
                    <a:pt x="350837" y="669036"/>
                  </a:cubicBezTo>
                  <a:cubicBezTo>
                    <a:pt x="342678" y="669036"/>
                    <a:pt x="334519" y="669036"/>
                    <a:pt x="329080" y="669036"/>
                  </a:cubicBezTo>
                  <a:cubicBezTo>
                    <a:pt x="307323" y="669036"/>
                    <a:pt x="288285" y="669036"/>
                    <a:pt x="280126" y="669036"/>
                  </a:cubicBezTo>
                  <a:cubicBezTo>
                    <a:pt x="271967" y="669036"/>
                    <a:pt x="261088" y="669036"/>
                    <a:pt x="255649" y="663597"/>
                  </a:cubicBezTo>
                  <a:cubicBezTo>
                    <a:pt x="250210" y="660877"/>
                    <a:pt x="239331" y="655438"/>
                    <a:pt x="239331" y="647279"/>
                  </a:cubicBezTo>
                  <a:cubicBezTo>
                    <a:pt x="239331" y="636401"/>
                    <a:pt x="255649" y="633681"/>
                    <a:pt x="263808" y="630961"/>
                  </a:cubicBezTo>
                  <a:cubicBezTo>
                    <a:pt x="269247" y="630961"/>
                    <a:pt x="277406" y="630961"/>
                    <a:pt x="291005" y="628241"/>
                  </a:cubicBezTo>
                  <a:cubicBezTo>
                    <a:pt x="291005" y="620082"/>
                    <a:pt x="291005" y="614643"/>
                    <a:pt x="288285" y="609204"/>
                  </a:cubicBezTo>
                  <a:cubicBezTo>
                    <a:pt x="288285" y="601045"/>
                    <a:pt x="285565" y="590166"/>
                    <a:pt x="285565" y="582007"/>
                  </a:cubicBezTo>
                  <a:cubicBezTo>
                    <a:pt x="285565" y="576568"/>
                    <a:pt x="282846" y="573848"/>
                    <a:pt x="282846" y="568409"/>
                  </a:cubicBezTo>
                  <a:cubicBezTo>
                    <a:pt x="282846" y="562970"/>
                    <a:pt x="285565" y="557531"/>
                    <a:pt x="285565" y="554811"/>
                  </a:cubicBezTo>
                  <a:cubicBezTo>
                    <a:pt x="285565" y="549371"/>
                    <a:pt x="282846" y="546652"/>
                    <a:pt x="280126" y="538493"/>
                  </a:cubicBezTo>
                  <a:cubicBezTo>
                    <a:pt x="280126" y="527614"/>
                    <a:pt x="274687" y="516736"/>
                    <a:pt x="274687" y="505857"/>
                  </a:cubicBezTo>
                  <a:cubicBezTo>
                    <a:pt x="274687" y="494978"/>
                    <a:pt x="274687" y="486820"/>
                    <a:pt x="271967" y="478660"/>
                  </a:cubicBezTo>
                  <a:cubicBezTo>
                    <a:pt x="269247" y="467782"/>
                    <a:pt x="269247" y="456903"/>
                    <a:pt x="269247" y="446025"/>
                  </a:cubicBezTo>
                  <a:cubicBezTo>
                    <a:pt x="269247" y="440585"/>
                    <a:pt x="266528" y="437866"/>
                    <a:pt x="263808" y="437866"/>
                  </a:cubicBezTo>
                  <a:cubicBezTo>
                    <a:pt x="261088" y="437866"/>
                    <a:pt x="258369" y="437866"/>
                    <a:pt x="252929" y="437866"/>
                  </a:cubicBezTo>
                  <a:cubicBezTo>
                    <a:pt x="242051" y="437866"/>
                    <a:pt x="231172" y="437866"/>
                    <a:pt x="223013" y="440585"/>
                  </a:cubicBezTo>
                  <a:cubicBezTo>
                    <a:pt x="212135" y="440585"/>
                    <a:pt x="203976" y="443305"/>
                    <a:pt x="193097" y="443305"/>
                  </a:cubicBezTo>
                  <a:cubicBezTo>
                    <a:pt x="184938" y="443305"/>
                    <a:pt x="176779" y="443305"/>
                    <a:pt x="168620" y="443305"/>
                  </a:cubicBezTo>
                  <a:cubicBezTo>
                    <a:pt x="165900" y="443305"/>
                    <a:pt x="155021" y="440585"/>
                    <a:pt x="146862" y="440585"/>
                  </a:cubicBezTo>
                  <a:cubicBezTo>
                    <a:pt x="138703" y="440585"/>
                    <a:pt x="138703" y="448744"/>
                    <a:pt x="138703" y="454184"/>
                  </a:cubicBezTo>
                  <a:cubicBezTo>
                    <a:pt x="138703" y="465062"/>
                    <a:pt x="135983" y="475941"/>
                    <a:pt x="133263" y="486820"/>
                  </a:cubicBezTo>
                  <a:cubicBezTo>
                    <a:pt x="130544" y="505857"/>
                    <a:pt x="125105" y="522175"/>
                    <a:pt x="122385" y="541213"/>
                  </a:cubicBezTo>
                  <a:cubicBezTo>
                    <a:pt x="119665" y="560250"/>
                    <a:pt x="111506" y="595606"/>
                    <a:pt x="106067" y="614643"/>
                  </a:cubicBezTo>
                  <a:cubicBezTo>
                    <a:pt x="114226" y="614643"/>
                    <a:pt x="125105" y="614643"/>
                    <a:pt x="135983" y="614643"/>
                  </a:cubicBezTo>
                  <a:cubicBezTo>
                    <a:pt x="149581" y="614643"/>
                    <a:pt x="171340" y="614643"/>
                    <a:pt x="171340" y="630961"/>
                  </a:cubicBezTo>
                  <a:cubicBezTo>
                    <a:pt x="171340" y="639120"/>
                    <a:pt x="168620" y="639120"/>
                    <a:pt x="165900" y="647279"/>
                  </a:cubicBezTo>
                  <a:cubicBezTo>
                    <a:pt x="163181" y="652718"/>
                    <a:pt x="155021" y="655438"/>
                    <a:pt x="149581" y="655438"/>
                  </a:cubicBezTo>
                  <a:cubicBezTo>
                    <a:pt x="141423" y="658158"/>
                    <a:pt x="135983" y="658158"/>
                    <a:pt x="127824" y="658158"/>
                  </a:cubicBezTo>
                  <a:cubicBezTo>
                    <a:pt x="122385" y="658158"/>
                    <a:pt x="116946" y="658158"/>
                    <a:pt x="106067" y="658158"/>
                  </a:cubicBezTo>
                  <a:cubicBezTo>
                    <a:pt x="92469" y="658158"/>
                    <a:pt x="78870" y="658158"/>
                    <a:pt x="62552" y="658158"/>
                  </a:cubicBezTo>
                  <a:cubicBezTo>
                    <a:pt x="54393" y="658158"/>
                    <a:pt x="46234" y="658158"/>
                    <a:pt x="40795" y="658158"/>
                  </a:cubicBezTo>
                  <a:cubicBezTo>
                    <a:pt x="32636" y="658158"/>
                    <a:pt x="21758" y="658158"/>
                    <a:pt x="16318" y="652718"/>
                  </a:cubicBezTo>
                  <a:cubicBezTo>
                    <a:pt x="8159" y="649999"/>
                    <a:pt x="0" y="641840"/>
                    <a:pt x="0" y="636401"/>
                  </a:cubicBezTo>
                  <a:cubicBezTo>
                    <a:pt x="0" y="633681"/>
                    <a:pt x="0" y="630961"/>
                    <a:pt x="2720" y="628241"/>
                  </a:cubicBezTo>
                  <a:cubicBezTo>
                    <a:pt x="8159" y="625522"/>
                    <a:pt x="16318" y="622802"/>
                    <a:pt x="24477" y="620082"/>
                  </a:cubicBezTo>
                  <a:cubicBezTo>
                    <a:pt x="38075" y="617363"/>
                    <a:pt x="48954" y="617363"/>
                    <a:pt x="62552" y="617363"/>
                  </a:cubicBezTo>
                  <a:cubicBezTo>
                    <a:pt x="62552" y="617363"/>
                    <a:pt x="62552" y="614643"/>
                    <a:pt x="62552" y="614643"/>
                  </a:cubicBezTo>
                  <a:cubicBezTo>
                    <a:pt x="62552" y="603765"/>
                    <a:pt x="65272" y="590166"/>
                    <a:pt x="65272" y="587447"/>
                  </a:cubicBezTo>
                  <a:cubicBezTo>
                    <a:pt x="67992" y="565689"/>
                    <a:pt x="73431" y="543932"/>
                    <a:pt x="76151" y="522175"/>
                  </a:cubicBezTo>
                  <a:cubicBezTo>
                    <a:pt x="78870" y="505857"/>
                    <a:pt x="81590" y="486820"/>
                    <a:pt x="87029" y="470501"/>
                  </a:cubicBezTo>
                  <a:cubicBezTo>
                    <a:pt x="87029" y="465062"/>
                    <a:pt x="92469" y="451464"/>
                    <a:pt x="92469" y="446025"/>
                  </a:cubicBezTo>
                  <a:cubicBezTo>
                    <a:pt x="92469" y="437866"/>
                    <a:pt x="73431" y="437866"/>
                    <a:pt x="65272" y="432426"/>
                  </a:cubicBezTo>
                  <a:cubicBezTo>
                    <a:pt x="59833" y="429707"/>
                    <a:pt x="54393" y="426987"/>
                    <a:pt x="54393" y="421548"/>
                  </a:cubicBezTo>
                  <a:cubicBezTo>
                    <a:pt x="54393" y="413389"/>
                    <a:pt x="62552" y="410669"/>
                    <a:pt x="73431" y="407949"/>
                  </a:cubicBezTo>
                  <a:cubicBezTo>
                    <a:pt x="78870" y="407949"/>
                    <a:pt x="92469" y="405230"/>
                    <a:pt x="100628" y="399790"/>
                  </a:cubicBezTo>
                  <a:cubicBezTo>
                    <a:pt x="106067" y="394351"/>
                    <a:pt x="106067" y="378033"/>
                    <a:pt x="108787" y="369874"/>
                  </a:cubicBezTo>
                  <a:cubicBezTo>
                    <a:pt x="114226" y="348117"/>
                    <a:pt x="119665" y="326360"/>
                    <a:pt x="125105" y="307322"/>
                  </a:cubicBezTo>
                  <a:cubicBezTo>
                    <a:pt x="130544" y="285565"/>
                    <a:pt x="135983" y="263808"/>
                    <a:pt x="141423" y="242051"/>
                  </a:cubicBezTo>
                  <a:cubicBezTo>
                    <a:pt x="146862" y="220293"/>
                    <a:pt x="152301" y="198536"/>
                    <a:pt x="155021" y="179498"/>
                  </a:cubicBezTo>
                  <a:cubicBezTo>
                    <a:pt x="157740" y="160461"/>
                    <a:pt x="163181" y="138703"/>
                    <a:pt x="168620" y="119665"/>
                  </a:cubicBezTo>
                  <a:cubicBezTo>
                    <a:pt x="176779" y="100627"/>
                    <a:pt x="182218" y="76150"/>
                    <a:pt x="193097" y="57113"/>
                  </a:cubicBezTo>
                  <a:lnTo>
                    <a:pt x="201256" y="38075"/>
                  </a:lnTo>
                  <a:cubicBezTo>
                    <a:pt x="206695" y="29916"/>
                    <a:pt x="209415" y="19038"/>
                    <a:pt x="217574" y="13598"/>
                  </a:cubicBezTo>
                  <a:cubicBezTo>
                    <a:pt x="231172" y="2720"/>
                    <a:pt x="255649" y="0"/>
                    <a:pt x="274687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7" name="Freeform: Shape 36">
              <a:extLst>
                <a:ext uri="{FF2B5EF4-FFF2-40B4-BE49-F238E27FC236}">
                  <a16:creationId xmlns:a16="http://schemas.microsoft.com/office/drawing/2014/main" id="{3C9EF25D-B45E-483F-A696-70FB19DAB924}"/>
                </a:ext>
              </a:extLst>
            </p:cNvPr>
            <p:cNvSpPr/>
            <p:nvPr/>
          </p:nvSpPr>
          <p:spPr>
            <a:xfrm>
              <a:off x="3443268" y="4186718"/>
              <a:ext cx="435145" cy="761503"/>
            </a:xfrm>
            <a:custGeom>
              <a:avLst/>
              <a:gdLst>
                <a:gd name="connsiteX0" fmla="*/ 400855 w 435145"/>
                <a:gd name="connsiteY0" fmla="*/ 678260 h 761503"/>
                <a:gd name="connsiteX1" fmla="*/ 384537 w 435145"/>
                <a:gd name="connsiteY1" fmla="*/ 719054 h 761503"/>
                <a:gd name="connsiteX2" fmla="*/ 368219 w 435145"/>
                <a:gd name="connsiteY2" fmla="*/ 713615 h 761503"/>
                <a:gd name="connsiteX3" fmla="*/ 360060 w 435145"/>
                <a:gd name="connsiteY3" fmla="*/ 697297 h 761503"/>
                <a:gd name="connsiteX4" fmla="*/ 360060 w 435145"/>
                <a:gd name="connsiteY4" fmla="*/ 651063 h 761503"/>
                <a:gd name="connsiteX5" fmla="*/ 332864 w 435145"/>
                <a:gd name="connsiteY5" fmla="*/ 686418 h 761503"/>
                <a:gd name="connsiteX6" fmla="*/ 251274 w 435145"/>
                <a:gd name="connsiteY6" fmla="*/ 721774 h 761503"/>
                <a:gd name="connsiteX7" fmla="*/ 229517 w 435145"/>
                <a:gd name="connsiteY7" fmla="*/ 719054 h 761503"/>
                <a:gd name="connsiteX8" fmla="*/ 158806 w 435145"/>
                <a:gd name="connsiteY8" fmla="*/ 694578 h 761503"/>
                <a:gd name="connsiteX9" fmla="*/ 112571 w 435145"/>
                <a:gd name="connsiteY9" fmla="*/ 659222 h 761503"/>
                <a:gd name="connsiteX10" fmla="*/ 79936 w 435145"/>
                <a:gd name="connsiteY10" fmla="*/ 607548 h 761503"/>
                <a:gd name="connsiteX11" fmla="*/ 63618 w 435145"/>
                <a:gd name="connsiteY11" fmla="*/ 542277 h 761503"/>
                <a:gd name="connsiteX12" fmla="*/ 58178 w 435145"/>
                <a:gd name="connsiteY12" fmla="*/ 471566 h 761503"/>
                <a:gd name="connsiteX13" fmla="*/ 60898 w 435145"/>
                <a:gd name="connsiteY13" fmla="*/ 400855 h 761503"/>
                <a:gd name="connsiteX14" fmla="*/ 66337 w 435145"/>
                <a:gd name="connsiteY14" fmla="*/ 335583 h 761503"/>
                <a:gd name="connsiteX15" fmla="*/ 85375 w 435145"/>
                <a:gd name="connsiteY15" fmla="*/ 267592 h 761503"/>
                <a:gd name="connsiteX16" fmla="*/ 109852 w 435145"/>
                <a:gd name="connsiteY16" fmla="*/ 199600 h 761503"/>
                <a:gd name="connsiteX17" fmla="*/ 145207 w 435145"/>
                <a:gd name="connsiteY17" fmla="*/ 145207 h 761503"/>
                <a:gd name="connsiteX18" fmla="*/ 188722 w 435145"/>
                <a:gd name="connsiteY18" fmla="*/ 96253 h 761503"/>
                <a:gd name="connsiteX19" fmla="*/ 243115 w 435145"/>
                <a:gd name="connsiteY19" fmla="*/ 71776 h 761503"/>
                <a:gd name="connsiteX20" fmla="*/ 286630 w 435145"/>
                <a:gd name="connsiteY20" fmla="*/ 63617 h 761503"/>
                <a:gd name="connsiteX21" fmla="*/ 305667 w 435145"/>
                <a:gd name="connsiteY21" fmla="*/ 66337 h 761503"/>
                <a:gd name="connsiteX22" fmla="*/ 324705 w 435145"/>
                <a:gd name="connsiteY22" fmla="*/ 79936 h 761503"/>
                <a:gd name="connsiteX23" fmla="*/ 341023 w 435145"/>
                <a:gd name="connsiteY23" fmla="*/ 101693 h 761503"/>
                <a:gd name="connsiteX24" fmla="*/ 354621 w 435145"/>
                <a:gd name="connsiteY24" fmla="*/ 123450 h 761503"/>
                <a:gd name="connsiteX25" fmla="*/ 354621 w 435145"/>
                <a:gd name="connsiteY25" fmla="*/ 98973 h 761503"/>
                <a:gd name="connsiteX26" fmla="*/ 360060 w 435145"/>
                <a:gd name="connsiteY26" fmla="*/ 74496 h 761503"/>
                <a:gd name="connsiteX27" fmla="*/ 365500 w 435145"/>
                <a:gd name="connsiteY27" fmla="*/ 63617 h 761503"/>
                <a:gd name="connsiteX28" fmla="*/ 373659 w 435145"/>
                <a:gd name="connsiteY28" fmla="*/ 58178 h 761503"/>
                <a:gd name="connsiteX29" fmla="*/ 381818 w 435145"/>
                <a:gd name="connsiteY29" fmla="*/ 63617 h 761503"/>
                <a:gd name="connsiteX30" fmla="*/ 389977 w 435145"/>
                <a:gd name="connsiteY30" fmla="*/ 82655 h 761503"/>
                <a:gd name="connsiteX31" fmla="*/ 392696 w 435145"/>
                <a:gd name="connsiteY31" fmla="*/ 126170 h 761503"/>
                <a:gd name="connsiteX32" fmla="*/ 395416 w 435145"/>
                <a:gd name="connsiteY32" fmla="*/ 186002 h 761503"/>
                <a:gd name="connsiteX33" fmla="*/ 398136 w 435145"/>
                <a:gd name="connsiteY33" fmla="*/ 237675 h 761503"/>
                <a:gd name="connsiteX34" fmla="*/ 398136 w 435145"/>
                <a:gd name="connsiteY34" fmla="*/ 243115 h 761503"/>
                <a:gd name="connsiteX35" fmla="*/ 395416 w 435145"/>
                <a:gd name="connsiteY35" fmla="*/ 256713 h 761503"/>
                <a:gd name="connsiteX36" fmla="*/ 379098 w 435145"/>
                <a:gd name="connsiteY36" fmla="*/ 278470 h 761503"/>
                <a:gd name="connsiteX37" fmla="*/ 362780 w 435145"/>
                <a:gd name="connsiteY37" fmla="*/ 273031 h 761503"/>
                <a:gd name="connsiteX38" fmla="*/ 354621 w 435145"/>
                <a:gd name="connsiteY38" fmla="*/ 256713 h 761503"/>
                <a:gd name="connsiteX39" fmla="*/ 354621 w 435145"/>
                <a:gd name="connsiteY39" fmla="*/ 213198 h 761503"/>
                <a:gd name="connsiteX40" fmla="*/ 354621 w 435145"/>
                <a:gd name="connsiteY40" fmla="*/ 205040 h 761503"/>
                <a:gd name="connsiteX41" fmla="*/ 338303 w 435145"/>
                <a:gd name="connsiteY41" fmla="*/ 147927 h 761503"/>
                <a:gd name="connsiteX42" fmla="*/ 292069 w 435145"/>
                <a:gd name="connsiteY42" fmla="*/ 107132 h 761503"/>
                <a:gd name="connsiteX43" fmla="*/ 262153 w 435145"/>
                <a:gd name="connsiteY43" fmla="*/ 120730 h 761503"/>
                <a:gd name="connsiteX44" fmla="*/ 251274 w 435145"/>
                <a:gd name="connsiteY44" fmla="*/ 131609 h 761503"/>
                <a:gd name="connsiteX45" fmla="*/ 240395 w 435145"/>
                <a:gd name="connsiteY45" fmla="*/ 139768 h 761503"/>
                <a:gd name="connsiteX46" fmla="*/ 237676 w 435145"/>
                <a:gd name="connsiteY46" fmla="*/ 164245 h 761503"/>
                <a:gd name="connsiteX47" fmla="*/ 226797 w 435145"/>
                <a:gd name="connsiteY47" fmla="*/ 196881 h 761503"/>
                <a:gd name="connsiteX48" fmla="*/ 213199 w 435145"/>
                <a:gd name="connsiteY48" fmla="*/ 259433 h 761503"/>
                <a:gd name="connsiteX49" fmla="*/ 207759 w 435145"/>
                <a:gd name="connsiteY49" fmla="*/ 324704 h 761503"/>
                <a:gd name="connsiteX50" fmla="*/ 207759 w 435145"/>
                <a:gd name="connsiteY50" fmla="*/ 335583 h 761503"/>
                <a:gd name="connsiteX51" fmla="*/ 205040 w 435145"/>
                <a:gd name="connsiteY51" fmla="*/ 349181 h 761503"/>
                <a:gd name="connsiteX52" fmla="*/ 207759 w 435145"/>
                <a:gd name="connsiteY52" fmla="*/ 368219 h 761503"/>
                <a:gd name="connsiteX53" fmla="*/ 207759 w 435145"/>
                <a:gd name="connsiteY53" fmla="*/ 376378 h 761503"/>
                <a:gd name="connsiteX54" fmla="*/ 205040 w 435145"/>
                <a:gd name="connsiteY54" fmla="*/ 387256 h 761503"/>
                <a:gd name="connsiteX55" fmla="*/ 205040 w 435145"/>
                <a:gd name="connsiteY55" fmla="*/ 395415 h 761503"/>
                <a:gd name="connsiteX56" fmla="*/ 205040 w 435145"/>
                <a:gd name="connsiteY56" fmla="*/ 406294 h 761503"/>
                <a:gd name="connsiteX57" fmla="*/ 205040 w 435145"/>
                <a:gd name="connsiteY57" fmla="*/ 425332 h 761503"/>
                <a:gd name="connsiteX58" fmla="*/ 213199 w 435145"/>
                <a:gd name="connsiteY58" fmla="*/ 493323 h 761503"/>
                <a:gd name="connsiteX59" fmla="*/ 221358 w 435145"/>
                <a:gd name="connsiteY59" fmla="*/ 561314 h 761503"/>
                <a:gd name="connsiteX60" fmla="*/ 226797 w 435145"/>
                <a:gd name="connsiteY60" fmla="*/ 591231 h 761503"/>
                <a:gd name="connsiteX61" fmla="*/ 240395 w 435145"/>
                <a:gd name="connsiteY61" fmla="*/ 618427 h 761503"/>
                <a:gd name="connsiteX62" fmla="*/ 283910 w 435145"/>
                <a:gd name="connsiteY62" fmla="*/ 651063 h 761503"/>
                <a:gd name="connsiteX63" fmla="*/ 338303 w 435145"/>
                <a:gd name="connsiteY63" fmla="*/ 612988 h 761503"/>
                <a:gd name="connsiteX64" fmla="*/ 354621 w 435145"/>
                <a:gd name="connsiteY64" fmla="*/ 577632 h 761503"/>
                <a:gd name="connsiteX65" fmla="*/ 357341 w 435145"/>
                <a:gd name="connsiteY65" fmla="*/ 509641 h 761503"/>
                <a:gd name="connsiteX66" fmla="*/ 362780 w 435145"/>
                <a:gd name="connsiteY66" fmla="*/ 485164 h 761503"/>
                <a:gd name="connsiteX67" fmla="*/ 368219 w 435145"/>
                <a:gd name="connsiteY67" fmla="*/ 474286 h 761503"/>
                <a:gd name="connsiteX68" fmla="*/ 376378 w 435145"/>
                <a:gd name="connsiteY68" fmla="*/ 468846 h 761503"/>
                <a:gd name="connsiteX69" fmla="*/ 384537 w 435145"/>
                <a:gd name="connsiteY69" fmla="*/ 474286 h 761503"/>
                <a:gd name="connsiteX70" fmla="*/ 392696 w 435145"/>
                <a:gd name="connsiteY70" fmla="*/ 493323 h 761503"/>
                <a:gd name="connsiteX71" fmla="*/ 395416 w 435145"/>
                <a:gd name="connsiteY71" fmla="*/ 558595 h 761503"/>
                <a:gd name="connsiteX72" fmla="*/ 398136 w 435145"/>
                <a:gd name="connsiteY72" fmla="*/ 618427 h 761503"/>
                <a:gd name="connsiteX73" fmla="*/ 400855 w 435145"/>
                <a:gd name="connsiteY73" fmla="*/ 678260 h 761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</a:cxnLst>
              <a:rect l="l" t="t" r="r" b="b"/>
              <a:pathLst>
                <a:path w="435145" h="761503">
                  <a:moveTo>
                    <a:pt x="400855" y="678260"/>
                  </a:moveTo>
                  <a:cubicBezTo>
                    <a:pt x="400855" y="689138"/>
                    <a:pt x="400855" y="719054"/>
                    <a:pt x="384537" y="719054"/>
                  </a:cubicBezTo>
                  <a:cubicBezTo>
                    <a:pt x="376378" y="719054"/>
                    <a:pt x="373659" y="716335"/>
                    <a:pt x="368219" y="713615"/>
                  </a:cubicBezTo>
                  <a:cubicBezTo>
                    <a:pt x="362780" y="710895"/>
                    <a:pt x="360060" y="702736"/>
                    <a:pt x="360060" y="697297"/>
                  </a:cubicBezTo>
                  <a:cubicBezTo>
                    <a:pt x="357341" y="680979"/>
                    <a:pt x="357341" y="664661"/>
                    <a:pt x="360060" y="651063"/>
                  </a:cubicBezTo>
                  <a:cubicBezTo>
                    <a:pt x="354621" y="659222"/>
                    <a:pt x="341023" y="678260"/>
                    <a:pt x="332864" y="686418"/>
                  </a:cubicBezTo>
                  <a:cubicBezTo>
                    <a:pt x="311107" y="708176"/>
                    <a:pt x="283910" y="721774"/>
                    <a:pt x="251274" y="721774"/>
                  </a:cubicBezTo>
                  <a:cubicBezTo>
                    <a:pt x="243115" y="721774"/>
                    <a:pt x="237676" y="721774"/>
                    <a:pt x="229517" y="719054"/>
                  </a:cubicBezTo>
                  <a:cubicBezTo>
                    <a:pt x="207759" y="716335"/>
                    <a:pt x="183283" y="708176"/>
                    <a:pt x="158806" y="694578"/>
                  </a:cubicBezTo>
                  <a:cubicBezTo>
                    <a:pt x="142488" y="686418"/>
                    <a:pt x="126170" y="672820"/>
                    <a:pt x="112571" y="659222"/>
                  </a:cubicBezTo>
                  <a:cubicBezTo>
                    <a:pt x="98973" y="642904"/>
                    <a:pt x="88095" y="626586"/>
                    <a:pt x="79936" y="607548"/>
                  </a:cubicBezTo>
                  <a:cubicBezTo>
                    <a:pt x="71777" y="585791"/>
                    <a:pt x="66337" y="566754"/>
                    <a:pt x="63618" y="542277"/>
                  </a:cubicBezTo>
                  <a:cubicBezTo>
                    <a:pt x="60898" y="517800"/>
                    <a:pt x="58178" y="493323"/>
                    <a:pt x="58178" y="471566"/>
                  </a:cubicBezTo>
                  <a:cubicBezTo>
                    <a:pt x="58178" y="447089"/>
                    <a:pt x="58178" y="425332"/>
                    <a:pt x="60898" y="400855"/>
                  </a:cubicBezTo>
                  <a:cubicBezTo>
                    <a:pt x="63618" y="379098"/>
                    <a:pt x="60898" y="357340"/>
                    <a:pt x="66337" y="335583"/>
                  </a:cubicBezTo>
                  <a:cubicBezTo>
                    <a:pt x="69057" y="313826"/>
                    <a:pt x="77216" y="289349"/>
                    <a:pt x="85375" y="267592"/>
                  </a:cubicBezTo>
                  <a:cubicBezTo>
                    <a:pt x="93534" y="243115"/>
                    <a:pt x="98973" y="221357"/>
                    <a:pt x="109852" y="199600"/>
                  </a:cubicBezTo>
                  <a:cubicBezTo>
                    <a:pt x="118011" y="177843"/>
                    <a:pt x="131609" y="161525"/>
                    <a:pt x="145207" y="145207"/>
                  </a:cubicBezTo>
                  <a:cubicBezTo>
                    <a:pt x="158806" y="128889"/>
                    <a:pt x="172404" y="109852"/>
                    <a:pt x="188722" y="96253"/>
                  </a:cubicBezTo>
                  <a:cubicBezTo>
                    <a:pt x="205040" y="82655"/>
                    <a:pt x="224077" y="77216"/>
                    <a:pt x="243115" y="71776"/>
                  </a:cubicBezTo>
                  <a:cubicBezTo>
                    <a:pt x="256713" y="69057"/>
                    <a:pt x="273031" y="63617"/>
                    <a:pt x="286630" y="63617"/>
                  </a:cubicBezTo>
                  <a:cubicBezTo>
                    <a:pt x="292069" y="63617"/>
                    <a:pt x="297508" y="63617"/>
                    <a:pt x="305667" y="66337"/>
                  </a:cubicBezTo>
                  <a:cubicBezTo>
                    <a:pt x="313826" y="69057"/>
                    <a:pt x="319266" y="74496"/>
                    <a:pt x="324705" y="79936"/>
                  </a:cubicBezTo>
                  <a:cubicBezTo>
                    <a:pt x="332864" y="85375"/>
                    <a:pt x="332864" y="93534"/>
                    <a:pt x="341023" y="101693"/>
                  </a:cubicBezTo>
                  <a:cubicBezTo>
                    <a:pt x="346462" y="107132"/>
                    <a:pt x="349182" y="118011"/>
                    <a:pt x="354621" y="123450"/>
                  </a:cubicBezTo>
                  <a:cubicBezTo>
                    <a:pt x="354621" y="115291"/>
                    <a:pt x="354621" y="101693"/>
                    <a:pt x="354621" y="98973"/>
                  </a:cubicBezTo>
                  <a:cubicBezTo>
                    <a:pt x="354621" y="90814"/>
                    <a:pt x="354621" y="79936"/>
                    <a:pt x="360060" y="74496"/>
                  </a:cubicBezTo>
                  <a:cubicBezTo>
                    <a:pt x="362780" y="71776"/>
                    <a:pt x="362780" y="69057"/>
                    <a:pt x="365500" y="63617"/>
                  </a:cubicBezTo>
                  <a:cubicBezTo>
                    <a:pt x="368219" y="60898"/>
                    <a:pt x="370939" y="58178"/>
                    <a:pt x="373659" y="58178"/>
                  </a:cubicBezTo>
                  <a:cubicBezTo>
                    <a:pt x="376378" y="58178"/>
                    <a:pt x="379098" y="60898"/>
                    <a:pt x="381818" y="63617"/>
                  </a:cubicBezTo>
                  <a:cubicBezTo>
                    <a:pt x="384537" y="69057"/>
                    <a:pt x="387257" y="77216"/>
                    <a:pt x="389977" y="82655"/>
                  </a:cubicBezTo>
                  <a:cubicBezTo>
                    <a:pt x="389977" y="90814"/>
                    <a:pt x="392696" y="107132"/>
                    <a:pt x="392696" y="126170"/>
                  </a:cubicBezTo>
                  <a:cubicBezTo>
                    <a:pt x="392696" y="150647"/>
                    <a:pt x="392696" y="177843"/>
                    <a:pt x="395416" y="186002"/>
                  </a:cubicBezTo>
                  <a:cubicBezTo>
                    <a:pt x="398136" y="205040"/>
                    <a:pt x="398136" y="215918"/>
                    <a:pt x="398136" y="237675"/>
                  </a:cubicBezTo>
                  <a:cubicBezTo>
                    <a:pt x="398136" y="240395"/>
                    <a:pt x="398136" y="243115"/>
                    <a:pt x="398136" y="243115"/>
                  </a:cubicBezTo>
                  <a:cubicBezTo>
                    <a:pt x="398136" y="248554"/>
                    <a:pt x="398136" y="251274"/>
                    <a:pt x="395416" y="256713"/>
                  </a:cubicBezTo>
                  <a:cubicBezTo>
                    <a:pt x="392696" y="267592"/>
                    <a:pt x="389977" y="278470"/>
                    <a:pt x="379098" y="278470"/>
                  </a:cubicBezTo>
                  <a:cubicBezTo>
                    <a:pt x="370939" y="278470"/>
                    <a:pt x="368219" y="275751"/>
                    <a:pt x="362780" y="273031"/>
                  </a:cubicBezTo>
                  <a:cubicBezTo>
                    <a:pt x="357341" y="270311"/>
                    <a:pt x="354621" y="262152"/>
                    <a:pt x="354621" y="256713"/>
                  </a:cubicBezTo>
                  <a:cubicBezTo>
                    <a:pt x="349182" y="237675"/>
                    <a:pt x="354621" y="232236"/>
                    <a:pt x="354621" y="213198"/>
                  </a:cubicBezTo>
                  <a:cubicBezTo>
                    <a:pt x="354621" y="210479"/>
                    <a:pt x="354621" y="207759"/>
                    <a:pt x="354621" y="205040"/>
                  </a:cubicBezTo>
                  <a:cubicBezTo>
                    <a:pt x="349182" y="186002"/>
                    <a:pt x="343742" y="169684"/>
                    <a:pt x="338303" y="147927"/>
                  </a:cubicBezTo>
                  <a:cubicBezTo>
                    <a:pt x="332864" y="131609"/>
                    <a:pt x="311107" y="107132"/>
                    <a:pt x="292069" y="107132"/>
                  </a:cubicBezTo>
                  <a:cubicBezTo>
                    <a:pt x="281190" y="107132"/>
                    <a:pt x="270312" y="115291"/>
                    <a:pt x="262153" y="120730"/>
                  </a:cubicBezTo>
                  <a:cubicBezTo>
                    <a:pt x="259433" y="123450"/>
                    <a:pt x="256713" y="126170"/>
                    <a:pt x="251274" y="131609"/>
                  </a:cubicBezTo>
                  <a:cubicBezTo>
                    <a:pt x="248554" y="134329"/>
                    <a:pt x="243115" y="137048"/>
                    <a:pt x="240395" y="139768"/>
                  </a:cubicBezTo>
                  <a:cubicBezTo>
                    <a:pt x="237676" y="145207"/>
                    <a:pt x="240395" y="156086"/>
                    <a:pt x="237676" y="164245"/>
                  </a:cubicBezTo>
                  <a:cubicBezTo>
                    <a:pt x="232236" y="175123"/>
                    <a:pt x="229517" y="186002"/>
                    <a:pt x="226797" y="196881"/>
                  </a:cubicBezTo>
                  <a:cubicBezTo>
                    <a:pt x="221358" y="218638"/>
                    <a:pt x="218638" y="237675"/>
                    <a:pt x="213199" y="259433"/>
                  </a:cubicBezTo>
                  <a:cubicBezTo>
                    <a:pt x="210479" y="281190"/>
                    <a:pt x="207759" y="302947"/>
                    <a:pt x="207759" y="324704"/>
                  </a:cubicBezTo>
                  <a:cubicBezTo>
                    <a:pt x="207759" y="327424"/>
                    <a:pt x="207759" y="332863"/>
                    <a:pt x="207759" y="335583"/>
                  </a:cubicBezTo>
                  <a:cubicBezTo>
                    <a:pt x="207759" y="341022"/>
                    <a:pt x="205040" y="343742"/>
                    <a:pt x="205040" y="349181"/>
                  </a:cubicBezTo>
                  <a:cubicBezTo>
                    <a:pt x="205040" y="354621"/>
                    <a:pt x="207759" y="362779"/>
                    <a:pt x="207759" y="368219"/>
                  </a:cubicBezTo>
                  <a:cubicBezTo>
                    <a:pt x="207759" y="370939"/>
                    <a:pt x="207759" y="373658"/>
                    <a:pt x="207759" y="376378"/>
                  </a:cubicBezTo>
                  <a:cubicBezTo>
                    <a:pt x="205040" y="381817"/>
                    <a:pt x="205040" y="384537"/>
                    <a:pt x="205040" y="387256"/>
                  </a:cubicBezTo>
                  <a:cubicBezTo>
                    <a:pt x="205040" y="389976"/>
                    <a:pt x="205040" y="392696"/>
                    <a:pt x="205040" y="395415"/>
                  </a:cubicBezTo>
                  <a:cubicBezTo>
                    <a:pt x="205040" y="398135"/>
                    <a:pt x="205040" y="403574"/>
                    <a:pt x="205040" y="406294"/>
                  </a:cubicBezTo>
                  <a:cubicBezTo>
                    <a:pt x="205040" y="411733"/>
                    <a:pt x="205040" y="417173"/>
                    <a:pt x="205040" y="425332"/>
                  </a:cubicBezTo>
                  <a:cubicBezTo>
                    <a:pt x="205040" y="449809"/>
                    <a:pt x="213199" y="471566"/>
                    <a:pt x="213199" y="493323"/>
                  </a:cubicBezTo>
                  <a:cubicBezTo>
                    <a:pt x="213199" y="517800"/>
                    <a:pt x="215919" y="539557"/>
                    <a:pt x="221358" y="561314"/>
                  </a:cubicBezTo>
                  <a:cubicBezTo>
                    <a:pt x="224077" y="572193"/>
                    <a:pt x="224077" y="580352"/>
                    <a:pt x="226797" y="591231"/>
                  </a:cubicBezTo>
                  <a:cubicBezTo>
                    <a:pt x="229517" y="599390"/>
                    <a:pt x="237676" y="607548"/>
                    <a:pt x="240395" y="618427"/>
                  </a:cubicBezTo>
                  <a:cubicBezTo>
                    <a:pt x="248554" y="637465"/>
                    <a:pt x="262153" y="651063"/>
                    <a:pt x="283910" y="651063"/>
                  </a:cubicBezTo>
                  <a:cubicBezTo>
                    <a:pt x="302948" y="651063"/>
                    <a:pt x="330144" y="629306"/>
                    <a:pt x="338303" y="612988"/>
                  </a:cubicBezTo>
                  <a:cubicBezTo>
                    <a:pt x="346462" y="599390"/>
                    <a:pt x="351901" y="591231"/>
                    <a:pt x="354621" y="577632"/>
                  </a:cubicBezTo>
                  <a:cubicBezTo>
                    <a:pt x="354621" y="550436"/>
                    <a:pt x="354621" y="517800"/>
                    <a:pt x="357341" y="509641"/>
                  </a:cubicBezTo>
                  <a:cubicBezTo>
                    <a:pt x="357341" y="501482"/>
                    <a:pt x="357341" y="490603"/>
                    <a:pt x="362780" y="485164"/>
                  </a:cubicBezTo>
                  <a:cubicBezTo>
                    <a:pt x="365500" y="482444"/>
                    <a:pt x="365500" y="479725"/>
                    <a:pt x="368219" y="474286"/>
                  </a:cubicBezTo>
                  <a:cubicBezTo>
                    <a:pt x="370939" y="471566"/>
                    <a:pt x="373659" y="468846"/>
                    <a:pt x="376378" y="468846"/>
                  </a:cubicBezTo>
                  <a:cubicBezTo>
                    <a:pt x="379098" y="468846"/>
                    <a:pt x="381818" y="471566"/>
                    <a:pt x="384537" y="474286"/>
                  </a:cubicBezTo>
                  <a:cubicBezTo>
                    <a:pt x="387257" y="479725"/>
                    <a:pt x="389977" y="487884"/>
                    <a:pt x="392696" y="493323"/>
                  </a:cubicBezTo>
                  <a:cubicBezTo>
                    <a:pt x="392696" y="501482"/>
                    <a:pt x="395416" y="539557"/>
                    <a:pt x="395416" y="558595"/>
                  </a:cubicBezTo>
                  <a:cubicBezTo>
                    <a:pt x="395416" y="583072"/>
                    <a:pt x="395416" y="610268"/>
                    <a:pt x="398136" y="618427"/>
                  </a:cubicBezTo>
                  <a:cubicBezTo>
                    <a:pt x="398136" y="648343"/>
                    <a:pt x="400855" y="659222"/>
                    <a:pt x="400855" y="678260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8" name="Freeform: Shape 37">
              <a:extLst>
                <a:ext uri="{FF2B5EF4-FFF2-40B4-BE49-F238E27FC236}">
                  <a16:creationId xmlns:a16="http://schemas.microsoft.com/office/drawing/2014/main" id="{2AC84430-0710-42C3-979B-215E8CEF9C69}"/>
                </a:ext>
              </a:extLst>
            </p:cNvPr>
            <p:cNvSpPr/>
            <p:nvPr/>
          </p:nvSpPr>
          <p:spPr>
            <a:xfrm>
              <a:off x="3829459" y="4200317"/>
              <a:ext cx="598325" cy="761503"/>
            </a:xfrm>
            <a:custGeom>
              <a:avLst/>
              <a:gdLst>
                <a:gd name="connsiteX0" fmla="*/ 360060 w 598324"/>
                <a:gd name="connsiteY0" fmla="*/ 332863 h 761503"/>
                <a:gd name="connsiteX1" fmla="*/ 341023 w 598324"/>
                <a:gd name="connsiteY1" fmla="*/ 370939 h 761503"/>
                <a:gd name="connsiteX2" fmla="*/ 376378 w 598324"/>
                <a:gd name="connsiteY2" fmla="*/ 389976 h 761503"/>
                <a:gd name="connsiteX3" fmla="*/ 425332 w 598324"/>
                <a:gd name="connsiteY3" fmla="*/ 433491 h 761503"/>
                <a:gd name="connsiteX4" fmla="*/ 438930 w 598324"/>
                <a:gd name="connsiteY4" fmla="*/ 463407 h 761503"/>
                <a:gd name="connsiteX5" fmla="*/ 449809 w 598324"/>
                <a:gd name="connsiteY5" fmla="*/ 498762 h 761503"/>
                <a:gd name="connsiteX6" fmla="*/ 457968 w 598324"/>
                <a:gd name="connsiteY6" fmla="*/ 528679 h 761503"/>
                <a:gd name="connsiteX7" fmla="*/ 466127 w 598324"/>
                <a:gd name="connsiteY7" fmla="*/ 564034 h 761503"/>
                <a:gd name="connsiteX8" fmla="*/ 471566 w 598324"/>
                <a:gd name="connsiteY8" fmla="*/ 593950 h 761503"/>
                <a:gd name="connsiteX9" fmla="*/ 479725 w 598324"/>
                <a:gd name="connsiteY9" fmla="*/ 607548 h 761503"/>
                <a:gd name="connsiteX10" fmla="*/ 487884 w 598324"/>
                <a:gd name="connsiteY10" fmla="*/ 623867 h 761503"/>
                <a:gd name="connsiteX11" fmla="*/ 501482 w 598324"/>
                <a:gd name="connsiteY11" fmla="*/ 651063 h 761503"/>
                <a:gd name="connsiteX12" fmla="*/ 523240 w 598324"/>
                <a:gd name="connsiteY12" fmla="*/ 670101 h 761503"/>
                <a:gd name="connsiteX13" fmla="*/ 534119 w 598324"/>
                <a:gd name="connsiteY13" fmla="*/ 686418 h 761503"/>
                <a:gd name="connsiteX14" fmla="*/ 531399 w 598324"/>
                <a:gd name="connsiteY14" fmla="*/ 694578 h 761503"/>
                <a:gd name="connsiteX15" fmla="*/ 498763 w 598324"/>
                <a:gd name="connsiteY15" fmla="*/ 708176 h 761503"/>
                <a:gd name="connsiteX16" fmla="*/ 449809 w 598324"/>
                <a:gd name="connsiteY16" fmla="*/ 700017 h 761503"/>
                <a:gd name="connsiteX17" fmla="*/ 400855 w 598324"/>
                <a:gd name="connsiteY17" fmla="*/ 667381 h 761503"/>
                <a:gd name="connsiteX18" fmla="*/ 381817 w 598324"/>
                <a:gd name="connsiteY18" fmla="*/ 642904 h 761503"/>
                <a:gd name="connsiteX19" fmla="*/ 368219 w 598324"/>
                <a:gd name="connsiteY19" fmla="*/ 610268 h 761503"/>
                <a:gd name="connsiteX20" fmla="*/ 349182 w 598324"/>
                <a:gd name="connsiteY20" fmla="*/ 550436 h 761503"/>
                <a:gd name="connsiteX21" fmla="*/ 338303 w 598324"/>
                <a:gd name="connsiteY21" fmla="*/ 504202 h 761503"/>
                <a:gd name="connsiteX22" fmla="*/ 330144 w 598324"/>
                <a:gd name="connsiteY22" fmla="*/ 477005 h 761503"/>
                <a:gd name="connsiteX23" fmla="*/ 321985 w 598324"/>
                <a:gd name="connsiteY23" fmla="*/ 455248 h 761503"/>
                <a:gd name="connsiteX24" fmla="*/ 305667 w 598324"/>
                <a:gd name="connsiteY24" fmla="*/ 436210 h 761503"/>
                <a:gd name="connsiteX25" fmla="*/ 294788 w 598324"/>
                <a:gd name="connsiteY25" fmla="*/ 441650 h 761503"/>
                <a:gd name="connsiteX26" fmla="*/ 278471 w 598324"/>
                <a:gd name="connsiteY26" fmla="*/ 463407 h 761503"/>
                <a:gd name="connsiteX27" fmla="*/ 264872 w 598324"/>
                <a:gd name="connsiteY27" fmla="*/ 496043 h 761503"/>
                <a:gd name="connsiteX28" fmla="*/ 262153 w 598324"/>
                <a:gd name="connsiteY28" fmla="*/ 517800 h 761503"/>
                <a:gd name="connsiteX29" fmla="*/ 262153 w 598324"/>
                <a:gd name="connsiteY29" fmla="*/ 523239 h 761503"/>
                <a:gd name="connsiteX30" fmla="*/ 262153 w 598324"/>
                <a:gd name="connsiteY30" fmla="*/ 553155 h 761503"/>
                <a:gd name="connsiteX31" fmla="*/ 262153 w 598324"/>
                <a:gd name="connsiteY31" fmla="*/ 629306 h 761503"/>
                <a:gd name="connsiteX32" fmla="*/ 259433 w 598324"/>
                <a:gd name="connsiteY32" fmla="*/ 659222 h 761503"/>
                <a:gd name="connsiteX33" fmla="*/ 283910 w 598324"/>
                <a:gd name="connsiteY33" fmla="*/ 659222 h 761503"/>
                <a:gd name="connsiteX34" fmla="*/ 321985 w 598324"/>
                <a:gd name="connsiteY34" fmla="*/ 675540 h 761503"/>
                <a:gd name="connsiteX35" fmla="*/ 316546 w 598324"/>
                <a:gd name="connsiteY35" fmla="*/ 691858 h 761503"/>
                <a:gd name="connsiteX36" fmla="*/ 300228 w 598324"/>
                <a:gd name="connsiteY36" fmla="*/ 700017 h 761503"/>
                <a:gd name="connsiteX37" fmla="*/ 278471 w 598324"/>
                <a:gd name="connsiteY37" fmla="*/ 702736 h 761503"/>
                <a:gd name="connsiteX38" fmla="*/ 243115 w 598324"/>
                <a:gd name="connsiteY38" fmla="*/ 702736 h 761503"/>
                <a:gd name="connsiteX39" fmla="*/ 221358 w 598324"/>
                <a:gd name="connsiteY39" fmla="*/ 710895 h 761503"/>
                <a:gd name="connsiteX40" fmla="*/ 194161 w 598324"/>
                <a:gd name="connsiteY40" fmla="*/ 702736 h 761503"/>
                <a:gd name="connsiteX41" fmla="*/ 177843 w 598324"/>
                <a:gd name="connsiteY41" fmla="*/ 702736 h 761503"/>
                <a:gd name="connsiteX42" fmla="*/ 126170 w 598324"/>
                <a:gd name="connsiteY42" fmla="*/ 702736 h 761503"/>
                <a:gd name="connsiteX43" fmla="*/ 101693 w 598324"/>
                <a:gd name="connsiteY43" fmla="*/ 702736 h 761503"/>
                <a:gd name="connsiteX44" fmla="*/ 74496 w 598324"/>
                <a:gd name="connsiteY44" fmla="*/ 697297 h 761503"/>
                <a:gd name="connsiteX45" fmla="*/ 58178 w 598324"/>
                <a:gd name="connsiteY45" fmla="*/ 680979 h 761503"/>
                <a:gd name="connsiteX46" fmla="*/ 63617 w 598324"/>
                <a:gd name="connsiteY46" fmla="*/ 672820 h 761503"/>
                <a:gd name="connsiteX47" fmla="*/ 85375 w 598324"/>
                <a:gd name="connsiteY47" fmla="*/ 664661 h 761503"/>
                <a:gd name="connsiteX48" fmla="*/ 128889 w 598324"/>
                <a:gd name="connsiteY48" fmla="*/ 659222 h 761503"/>
                <a:gd name="connsiteX49" fmla="*/ 147927 w 598324"/>
                <a:gd name="connsiteY49" fmla="*/ 659222 h 761503"/>
                <a:gd name="connsiteX50" fmla="*/ 145207 w 598324"/>
                <a:gd name="connsiteY50" fmla="*/ 653783 h 761503"/>
                <a:gd name="connsiteX51" fmla="*/ 131609 w 598324"/>
                <a:gd name="connsiteY51" fmla="*/ 585791 h 761503"/>
                <a:gd name="connsiteX52" fmla="*/ 134329 w 598324"/>
                <a:gd name="connsiteY52" fmla="*/ 498762 h 761503"/>
                <a:gd name="connsiteX53" fmla="*/ 137048 w 598324"/>
                <a:gd name="connsiteY53" fmla="*/ 406294 h 761503"/>
                <a:gd name="connsiteX54" fmla="*/ 134329 w 598324"/>
                <a:gd name="connsiteY54" fmla="*/ 327424 h 761503"/>
                <a:gd name="connsiteX55" fmla="*/ 137048 w 598324"/>
                <a:gd name="connsiteY55" fmla="*/ 253993 h 761503"/>
                <a:gd name="connsiteX56" fmla="*/ 139768 w 598324"/>
                <a:gd name="connsiteY56" fmla="*/ 207759 h 761503"/>
                <a:gd name="connsiteX57" fmla="*/ 137048 w 598324"/>
                <a:gd name="connsiteY57" fmla="*/ 172404 h 761503"/>
                <a:gd name="connsiteX58" fmla="*/ 137048 w 598324"/>
                <a:gd name="connsiteY58" fmla="*/ 112571 h 761503"/>
                <a:gd name="connsiteX59" fmla="*/ 126170 w 598324"/>
                <a:gd name="connsiteY59" fmla="*/ 112571 h 761503"/>
                <a:gd name="connsiteX60" fmla="*/ 101693 w 598324"/>
                <a:gd name="connsiteY60" fmla="*/ 112571 h 761503"/>
                <a:gd name="connsiteX61" fmla="*/ 74496 w 598324"/>
                <a:gd name="connsiteY61" fmla="*/ 107132 h 761503"/>
                <a:gd name="connsiteX62" fmla="*/ 58178 w 598324"/>
                <a:gd name="connsiteY62" fmla="*/ 90814 h 761503"/>
                <a:gd name="connsiteX63" fmla="*/ 63617 w 598324"/>
                <a:gd name="connsiteY63" fmla="*/ 82655 h 761503"/>
                <a:gd name="connsiteX64" fmla="*/ 85375 w 598324"/>
                <a:gd name="connsiteY64" fmla="*/ 74496 h 761503"/>
                <a:gd name="connsiteX65" fmla="*/ 137048 w 598324"/>
                <a:gd name="connsiteY65" fmla="*/ 69057 h 761503"/>
                <a:gd name="connsiteX66" fmla="*/ 145207 w 598324"/>
                <a:gd name="connsiteY66" fmla="*/ 69057 h 761503"/>
                <a:gd name="connsiteX67" fmla="*/ 169684 w 598324"/>
                <a:gd name="connsiteY67" fmla="*/ 58178 h 761503"/>
                <a:gd name="connsiteX68" fmla="*/ 177843 w 598324"/>
                <a:gd name="connsiteY68" fmla="*/ 58178 h 761503"/>
                <a:gd name="connsiteX69" fmla="*/ 205040 w 598324"/>
                <a:gd name="connsiteY69" fmla="*/ 66337 h 761503"/>
                <a:gd name="connsiteX70" fmla="*/ 286629 w 598324"/>
                <a:gd name="connsiteY70" fmla="*/ 63617 h 761503"/>
                <a:gd name="connsiteX71" fmla="*/ 324705 w 598324"/>
                <a:gd name="connsiteY71" fmla="*/ 79936 h 761503"/>
                <a:gd name="connsiteX72" fmla="*/ 319265 w 598324"/>
                <a:gd name="connsiteY72" fmla="*/ 96253 h 761503"/>
                <a:gd name="connsiteX73" fmla="*/ 302948 w 598324"/>
                <a:gd name="connsiteY73" fmla="*/ 104412 h 761503"/>
                <a:gd name="connsiteX74" fmla="*/ 278471 w 598324"/>
                <a:gd name="connsiteY74" fmla="*/ 112571 h 761503"/>
                <a:gd name="connsiteX75" fmla="*/ 232236 w 598324"/>
                <a:gd name="connsiteY75" fmla="*/ 112571 h 761503"/>
                <a:gd name="connsiteX76" fmla="*/ 240395 w 598324"/>
                <a:gd name="connsiteY76" fmla="*/ 137048 h 761503"/>
                <a:gd name="connsiteX77" fmla="*/ 240395 w 598324"/>
                <a:gd name="connsiteY77" fmla="*/ 150647 h 761503"/>
                <a:gd name="connsiteX78" fmla="*/ 243115 w 598324"/>
                <a:gd name="connsiteY78" fmla="*/ 158805 h 761503"/>
                <a:gd name="connsiteX79" fmla="*/ 248554 w 598324"/>
                <a:gd name="connsiteY79" fmla="*/ 188722 h 761503"/>
                <a:gd name="connsiteX80" fmla="*/ 248554 w 598324"/>
                <a:gd name="connsiteY80" fmla="*/ 199600 h 761503"/>
                <a:gd name="connsiteX81" fmla="*/ 248554 w 598324"/>
                <a:gd name="connsiteY81" fmla="*/ 221357 h 761503"/>
                <a:gd name="connsiteX82" fmla="*/ 253994 w 598324"/>
                <a:gd name="connsiteY82" fmla="*/ 264872 h 761503"/>
                <a:gd name="connsiteX83" fmla="*/ 262153 w 598324"/>
                <a:gd name="connsiteY83" fmla="*/ 297508 h 761503"/>
                <a:gd name="connsiteX84" fmla="*/ 264872 w 598324"/>
                <a:gd name="connsiteY84" fmla="*/ 324704 h 761503"/>
                <a:gd name="connsiteX85" fmla="*/ 264872 w 598324"/>
                <a:gd name="connsiteY85" fmla="*/ 332863 h 761503"/>
                <a:gd name="connsiteX86" fmla="*/ 264872 w 598324"/>
                <a:gd name="connsiteY86" fmla="*/ 351901 h 761503"/>
                <a:gd name="connsiteX87" fmla="*/ 262153 w 598324"/>
                <a:gd name="connsiteY87" fmla="*/ 370939 h 761503"/>
                <a:gd name="connsiteX88" fmla="*/ 267592 w 598324"/>
                <a:gd name="connsiteY88" fmla="*/ 384537 h 761503"/>
                <a:gd name="connsiteX89" fmla="*/ 278471 w 598324"/>
                <a:gd name="connsiteY89" fmla="*/ 370939 h 761503"/>
                <a:gd name="connsiteX90" fmla="*/ 297508 w 598324"/>
                <a:gd name="connsiteY90" fmla="*/ 332863 h 761503"/>
                <a:gd name="connsiteX91" fmla="*/ 311106 w 598324"/>
                <a:gd name="connsiteY91" fmla="*/ 305667 h 761503"/>
                <a:gd name="connsiteX92" fmla="*/ 335583 w 598324"/>
                <a:gd name="connsiteY92" fmla="*/ 259433 h 761503"/>
                <a:gd name="connsiteX93" fmla="*/ 354621 w 598324"/>
                <a:gd name="connsiteY93" fmla="*/ 224077 h 761503"/>
                <a:gd name="connsiteX94" fmla="*/ 381817 w 598324"/>
                <a:gd name="connsiteY94" fmla="*/ 172404 h 761503"/>
                <a:gd name="connsiteX95" fmla="*/ 409014 w 598324"/>
                <a:gd name="connsiteY95" fmla="*/ 118011 h 761503"/>
                <a:gd name="connsiteX96" fmla="*/ 411734 w 598324"/>
                <a:gd name="connsiteY96" fmla="*/ 115291 h 761503"/>
                <a:gd name="connsiteX97" fmla="*/ 398136 w 598324"/>
                <a:gd name="connsiteY97" fmla="*/ 115291 h 761503"/>
                <a:gd name="connsiteX98" fmla="*/ 379098 w 598324"/>
                <a:gd name="connsiteY98" fmla="*/ 109852 h 761503"/>
                <a:gd name="connsiteX99" fmla="*/ 368219 w 598324"/>
                <a:gd name="connsiteY99" fmla="*/ 93534 h 761503"/>
                <a:gd name="connsiteX100" fmla="*/ 370939 w 598324"/>
                <a:gd name="connsiteY100" fmla="*/ 85375 h 761503"/>
                <a:gd name="connsiteX101" fmla="*/ 387257 w 598324"/>
                <a:gd name="connsiteY101" fmla="*/ 77216 h 761503"/>
                <a:gd name="connsiteX102" fmla="*/ 422612 w 598324"/>
                <a:gd name="connsiteY102" fmla="*/ 71776 h 761503"/>
                <a:gd name="connsiteX103" fmla="*/ 436211 w 598324"/>
                <a:gd name="connsiteY103" fmla="*/ 71776 h 761503"/>
                <a:gd name="connsiteX104" fmla="*/ 438930 w 598324"/>
                <a:gd name="connsiteY104" fmla="*/ 69057 h 761503"/>
                <a:gd name="connsiteX105" fmla="*/ 452529 w 598324"/>
                <a:gd name="connsiteY105" fmla="*/ 66337 h 761503"/>
                <a:gd name="connsiteX106" fmla="*/ 466127 w 598324"/>
                <a:gd name="connsiteY106" fmla="*/ 69057 h 761503"/>
                <a:gd name="connsiteX107" fmla="*/ 471566 w 598324"/>
                <a:gd name="connsiteY107" fmla="*/ 71776 h 761503"/>
                <a:gd name="connsiteX108" fmla="*/ 515081 w 598324"/>
                <a:gd name="connsiteY108" fmla="*/ 71776 h 761503"/>
                <a:gd name="connsiteX109" fmla="*/ 542277 w 598324"/>
                <a:gd name="connsiteY109" fmla="*/ 88094 h 761503"/>
                <a:gd name="connsiteX110" fmla="*/ 536838 w 598324"/>
                <a:gd name="connsiteY110" fmla="*/ 104412 h 761503"/>
                <a:gd name="connsiteX111" fmla="*/ 525959 w 598324"/>
                <a:gd name="connsiteY111" fmla="*/ 112571 h 761503"/>
                <a:gd name="connsiteX112" fmla="*/ 509642 w 598324"/>
                <a:gd name="connsiteY112" fmla="*/ 115291 h 761503"/>
                <a:gd name="connsiteX113" fmla="*/ 468847 w 598324"/>
                <a:gd name="connsiteY113" fmla="*/ 115291 h 761503"/>
                <a:gd name="connsiteX114" fmla="*/ 457968 w 598324"/>
                <a:gd name="connsiteY114" fmla="*/ 137048 h 761503"/>
                <a:gd name="connsiteX115" fmla="*/ 430771 w 598324"/>
                <a:gd name="connsiteY115" fmla="*/ 194161 h 761503"/>
                <a:gd name="connsiteX116" fmla="*/ 400855 w 598324"/>
                <a:gd name="connsiteY116" fmla="*/ 262152 h 761503"/>
                <a:gd name="connsiteX117" fmla="*/ 360060 w 598324"/>
                <a:gd name="connsiteY117" fmla="*/ 332863 h 761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</a:cxnLst>
              <a:rect l="l" t="t" r="r" b="b"/>
              <a:pathLst>
                <a:path w="598324" h="761503">
                  <a:moveTo>
                    <a:pt x="360060" y="332863"/>
                  </a:moveTo>
                  <a:cubicBezTo>
                    <a:pt x="351901" y="343742"/>
                    <a:pt x="341023" y="357340"/>
                    <a:pt x="341023" y="370939"/>
                  </a:cubicBezTo>
                  <a:cubicBezTo>
                    <a:pt x="341023" y="379098"/>
                    <a:pt x="357341" y="381817"/>
                    <a:pt x="376378" y="389976"/>
                  </a:cubicBezTo>
                  <a:cubicBezTo>
                    <a:pt x="395416" y="398135"/>
                    <a:pt x="417173" y="417173"/>
                    <a:pt x="425332" y="433491"/>
                  </a:cubicBezTo>
                  <a:cubicBezTo>
                    <a:pt x="430771" y="444369"/>
                    <a:pt x="436211" y="452528"/>
                    <a:pt x="438930" y="463407"/>
                  </a:cubicBezTo>
                  <a:cubicBezTo>
                    <a:pt x="444370" y="474286"/>
                    <a:pt x="447089" y="487884"/>
                    <a:pt x="449809" y="498762"/>
                  </a:cubicBezTo>
                  <a:cubicBezTo>
                    <a:pt x="452529" y="512361"/>
                    <a:pt x="452529" y="517800"/>
                    <a:pt x="457968" y="528679"/>
                  </a:cubicBezTo>
                  <a:cubicBezTo>
                    <a:pt x="463407" y="539557"/>
                    <a:pt x="463407" y="553155"/>
                    <a:pt x="466127" y="564034"/>
                  </a:cubicBezTo>
                  <a:cubicBezTo>
                    <a:pt x="468847" y="572193"/>
                    <a:pt x="468847" y="585791"/>
                    <a:pt x="471566" y="593950"/>
                  </a:cubicBezTo>
                  <a:cubicBezTo>
                    <a:pt x="474286" y="599390"/>
                    <a:pt x="477006" y="602109"/>
                    <a:pt x="479725" y="607548"/>
                  </a:cubicBezTo>
                  <a:cubicBezTo>
                    <a:pt x="482445" y="612988"/>
                    <a:pt x="487884" y="618427"/>
                    <a:pt x="487884" y="623867"/>
                  </a:cubicBezTo>
                  <a:cubicBezTo>
                    <a:pt x="490604" y="634745"/>
                    <a:pt x="496043" y="642904"/>
                    <a:pt x="501482" y="651063"/>
                  </a:cubicBezTo>
                  <a:cubicBezTo>
                    <a:pt x="506922" y="661942"/>
                    <a:pt x="512361" y="664661"/>
                    <a:pt x="523240" y="670101"/>
                  </a:cubicBezTo>
                  <a:cubicBezTo>
                    <a:pt x="528679" y="672820"/>
                    <a:pt x="534119" y="680979"/>
                    <a:pt x="534119" y="686418"/>
                  </a:cubicBezTo>
                  <a:cubicBezTo>
                    <a:pt x="534119" y="689138"/>
                    <a:pt x="534119" y="691858"/>
                    <a:pt x="531399" y="694578"/>
                  </a:cubicBezTo>
                  <a:cubicBezTo>
                    <a:pt x="525959" y="702736"/>
                    <a:pt x="512361" y="708176"/>
                    <a:pt x="498763" y="708176"/>
                  </a:cubicBezTo>
                  <a:cubicBezTo>
                    <a:pt x="485165" y="708176"/>
                    <a:pt x="466127" y="705456"/>
                    <a:pt x="449809" y="700017"/>
                  </a:cubicBezTo>
                  <a:cubicBezTo>
                    <a:pt x="430771" y="694578"/>
                    <a:pt x="409014" y="675540"/>
                    <a:pt x="400855" y="667381"/>
                  </a:cubicBezTo>
                  <a:cubicBezTo>
                    <a:pt x="392696" y="659222"/>
                    <a:pt x="387257" y="651063"/>
                    <a:pt x="381817" y="642904"/>
                  </a:cubicBezTo>
                  <a:cubicBezTo>
                    <a:pt x="376378" y="632025"/>
                    <a:pt x="370939" y="623867"/>
                    <a:pt x="368219" y="610268"/>
                  </a:cubicBezTo>
                  <a:cubicBezTo>
                    <a:pt x="360060" y="588511"/>
                    <a:pt x="357341" y="574913"/>
                    <a:pt x="349182" y="550436"/>
                  </a:cubicBezTo>
                  <a:cubicBezTo>
                    <a:pt x="343742" y="534118"/>
                    <a:pt x="341023" y="520520"/>
                    <a:pt x="338303" y="504202"/>
                  </a:cubicBezTo>
                  <a:cubicBezTo>
                    <a:pt x="335583" y="493323"/>
                    <a:pt x="332864" y="485164"/>
                    <a:pt x="330144" y="477005"/>
                  </a:cubicBezTo>
                  <a:cubicBezTo>
                    <a:pt x="327424" y="471566"/>
                    <a:pt x="324705" y="463407"/>
                    <a:pt x="321985" y="455248"/>
                  </a:cubicBezTo>
                  <a:cubicBezTo>
                    <a:pt x="316546" y="444369"/>
                    <a:pt x="311106" y="436210"/>
                    <a:pt x="305667" y="436210"/>
                  </a:cubicBezTo>
                  <a:cubicBezTo>
                    <a:pt x="302948" y="436210"/>
                    <a:pt x="300228" y="438930"/>
                    <a:pt x="294788" y="441650"/>
                  </a:cubicBezTo>
                  <a:cubicBezTo>
                    <a:pt x="289349" y="447089"/>
                    <a:pt x="283910" y="455248"/>
                    <a:pt x="278471" y="463407"/>
                  </a:cubicBezTo>
                  <a:cubicBezTo>
                    <a:pt x="270312" y="474286"/>
                    <a:pt x="267592" y="485164"/>
                    <a:pt x="264872" y="496043"/>
                  </a:cubicBezTo>
                  <a:cubicBezTo>
                    <a:pt x="264872" y="504202"/>
                    <a:pt x="262153" y="512361"/>
                    <a:pt x="262153" y="517800"/>
                  </a:cubicBezTo>
                  <a:cubicBezTo>
                    <a:pt x="262153" y="520520"/>
                    <a:pt x="262153" y="520520"/>
                    <a:pt x="262153" y="523239"/>
                  </a:cubicBezTo>
                  <a:cubicBezTo>
                    <a:pt x="262153" y="528679"/>
                    <a:pt x="262153" y="544997"/>
                    <a:pt x="262153" y="553155"/>
                  </a:cubicBezTo>
                  <a:cubicBezTo>
                    <a:pt x="262153" y="583072"/>
                    <a:pt x="264872" y="599390"/>
                    <a:pt x="262153" y="629306"/>
                  </a:cubicBezTo>
                  <a:cubicBezTo>
                    <a:pt x="262153" y="640184"/>
                    <a:pt x="262153" y="648343"/>
                    <a:pt x="259433" y="659222"/>
                  </a:cubicBezTo>
                  <a:cubicBezTo>
                    <a:pt x="270312" y="659222"/>
                    <a:pt x="278471" y="659222"/>
                    <a:pt x="283910" y="659222"/>
                  </a:cubicBezTo>
                  <a:cubicBezTo>
                    <a:pt x="297508" y="659222"/>
                    <a:pt x="321985" y="659222"/>
                    <a:pt x="321985" y="675540"/>
                  </a:cubicBezTo>
                  <a:cubicBezTo>
                    <a:pt x="321985" y="683699"/>
                    <a:pt x="319265" y="686418"/>
                    <a:pt x="316546" y="691858"/>
                  </a:cubicBezTo>
                  <a:cubicBezTo>
                    <a:pt x="311106" y="697297"/>
                    <a:pt x="305667" y="700017"/>
                    <a:pt x="300228" y="700017"/>
                  </a:cubicBezTo>
                  <a:cubicBezTo>
                    <a:pt x="292069" y="702736"/>
                    <a:pt x="283910" y="702736"/>
                    <a:pt x="278471" y="702736"/>
                  </a:cubicBezTo>
                  <a:cubicBezTo>
                    <a:pt x="275751" y="702736"/>
                    <a:pt x="259433" y="702736"/>
                    <a:pt x="243115" y="702736"/>
                  </a:cubicBezTo>
                  <a:cubicBezTo>
                    <a:pt x="237676" y="708176"/>
                    <a:pt x="229517" y="710895"/>
                    <a:pt x="221358" y="710895"/>
                  </a:cubicBezTo>
                  <a:cubicBezTo>
                    <a:pt x="213199" y="710895"/>
                    <a:pt x="202320" y="708176"/>
                    <a:pt x="194161" y="702736"/>
                  </a:cubicBezTo>
                  <a:cubicBezTo>
                    <a:pt x="186002" y="702736"/>
                    <a:pt x="180563" y="702736"/>
                    <a:pt x="177843" y="702736"/>
                  </a:cubicBezTo>
                  <a:cubicBezTo>
                    <a:pt x="164245" y="702736"/>
                    <a:pt x="139768" y="702736"/>
                    <a:pt x="126170" y="702736"/>
                  </a:cubicBezTo>
                  <a:cubicBezTo>
                    <a:pt x="118011" y="702736"/>
                    <a:pt x="109852" y="702736"/>
                    <a:pt x="101693" y="702736"/>
                  </a:cubicBezTo>
                  <a:cubicBezTo>
                    <a:pt x="93534" y="702736"/>
                    <a:pt x="82655" y="702736"/>
                    <a:pt x="74496" y="697297"/>
                  </a:cubicBezTo>
                  <a:cubicBezTo>
                    <a:pt x="66337" y="694578"/>
                    <a:pt x="58178" y="686418"/>
                    <a:pt x="58178" y="680979"/>
                  </a:cubicBezTo>
                  <a:cubicBezTo>
                    <a:pt x="58178" y="678260"/>
                    <a:pt x="58178" y="675540"/>
                    <a:pt x="63617" y="672820"/>
                  </a:cubicBezTo>
                  <a:cubicBezTo>
                    <a:pt x="69057" y="670101"/>
                    <a:pt x="79935" y="667381"/>
                    <a:pt x="85375" y="664661"/>
                  </a:cubicBezTo>
                  <a:cubicBezTo>
                    <a:pt x="104412" y="661942"/>
                    <a:pt x="123450" y="659222"/>
                    <a:pt x="128889" y="659222"/>
                  </a:cubicBezTo>
                  <a:cubicBezTo>
                    <a:pt x="134329" y="659222"/>
                    <a:pt x="139768" y="659222"/>
                    <a:pt x="147927" y="659222"/>
                  </a:cubicBezTo>
                  <a:cubicBezTo>
                    <a:pt x="147927" y="656502"/>
                    <a:pt x="145207" y="653783"/>
                    <a:pt x="145207" y="653783"/>
                  </a:cubicBezTo>
                  <a:cubicBezTo>
                    <a:pt x="131609" y="632025"/>
                    <a:pt x="131609" y="610268"/>
                    <a:pt x="131609" y="585791"/>
                  </a:cubicBezTo>
                  <a:cubicBezTo>
                    <a:pt x="131609" y="555875"/>
                    <a:pt x="131609" y="528679"/>
                    <a:pt x="134329" y="498762"/>
                  </a:cubicBezTo>
                  <a:cubicBezTo>
                    <a:pt x="134329" y="468846"/>
                    <a:pt x="137048" y="436210"/>
                    <a:pt x="137048" y="406294"/>
                  </a:cubicBezTo>
                  <a:cubicBezTo>
                    <a:pt x="137048" y="379098"/>
                    <a:pt x="134329" y="354621"/>
                    <a:pt x="134329" y="327424"/>
                  </a:cubicBezTo>
                  <a:cubicBezTo>
                    <a:pt x="134329" y="302947"/>
                    <a:pt x="137048" y="278470"/>
                    <a:pt x="137048" y="253993"/>
                  </a:cubicBezTo>
                  <a:cubicBezTo>
                    <a:pt x="137048" y="237675"/>
                    <a:pt x="139768" y="224077"/>
                    <a:pt x="139768" y="207759"/>
                  </a:cubicBezTo>
                  <a:cubicBezTo>
                    <a:pt x="139768" y="196881"/>
                    <a:pt x="137048" y="183282"/>
                    <a:pt x="137048" y="172404"/>
                  </a:cubicBezTo>
                  <a:cubicBezTo>
                    <a:pt x="137048" y="150647"/>
                    <a:pt x="137048" y="131609"/>
                    <a:pt x="137048" y="112571"/>
                  </a:cubicBezTo>
                  <a:cubicBezTo>
                    <a:pt x="134329" y="112571"/>
                    <a:pt x="137048" y="112571"/>
                    <a:pt x="126170" y="112571"/>
                  </a:cubicBezTo>
                  <a:cubicBezTo>
                    <a:pt x="118011" y="112571"/>
                    <a:pt x="109852" y="112571"/>
                    <a:pt x="101693" y="112571"/>
                  </a:cubicBezTo>
                  <a:cubicBezTo>
                    <a:pt x="93534" y="112571"/>
                    <a:pt x="82655" y="109852"/>
                    <a:pt x="74496" y="107132"/>
                  </a:cubicBezTo>
                  <a:cubicBezTo>
                    <a:pt x="66337" y="104412"/>
                    <a:pt x="58178" y="96253"/>
                    <a:pt x="58178" y="90814"/>
                  </a:cubicBezTo>
                  <a:cubicBezTo>
                    <a:pt x="58178" y="88094"/>
                    <a:pt x="58178" y="85375"/>
                    <a:pt x="63617" y="82655"/>
                  </a:cubicBezTo>
                  <a:cubicBezTo>
                    <a:pt x="69057" y="79936"/>
                    <a:pt x="79935" y="77216"/>
                    <a:pt x="85375" y="74496"/>
                  </a:cubicBezTo>
                  <a:cubicBezTo>
                    <a:pt x="104412" y="71776"/>
                    <a:pt x="128889" y="69057"/>
                    <a:pt x="137048" y="69057"/>
                  </a:cubicBezTo>
                  <a:cubicBezTo>
                    <a:pt x="137048" y="69057"/>
                    <a:pt x="139768" y="69057"/>
                    <a:pt x="145207" y="69057"/>
                  </a:cubicBezTo>
                  <a:cubicBezTo>
                    <a:pt x="150646" y="60898"/>
                    <a:pt x="158806" y="58178"/>
                    <a:pt x="169684" y="58178"/>
                  </a:cubicBezTo>
                  <a:cubicBezTo>
                    <a:pt x="172404" y="58178"/>
                    <a:pt x="175123" y="58178"/>
                    <a:pt x="177843" y="58178"/>
                  </a:cubicBezTo>
                  <a:cubicBezTo>
                    <a:pt x="186002" y="58178"/>
                    <a:pt x="196881" y="63617"/>
                    <a:pt x="205040" y="66337"/>
                  </a:cubicBezTo>
                  <a:cubicBezTo>
                    <a:pt x="237676" y="66337"/>
                    <a:pt x="273031" y="63617"/>
                    <a:pt x="286629" y="63617"/>
                  </a:cubicBezTo>
                  <a:cubicBezTo>
                    <a:pt x="300228" y="63617"/>
                    <a:pt x="324705" y="63617"/>
                    <a:pt x="324705" y="79936"/>
                  </a:cubicBezTo>
                  <a:cubicBezTo>
                    <a:pt x="324705" y="88094"/>
                    <a:pt x="321985" y="90814"/>
                    <a:pt x="319265" y="96253"/>
                  </a:cubicBezTo>
                  <a:cubicBezTo>
                    <a:pt x="313826" y="101693"/>
                    <a:pt x="308387" y="104412"/>
                    <a:pt x="302948" y="104412"/>
                  </a:cubicBezTo>
                  <a:cubicBezTo>
                    <a:pt x="289349" y="112571"/>
                    <a:pt x="283910" y="112571"/>
                    <a:pt x="278471" y="112571"/>
                  </a:cubicBezTo>
                  <a:cubicBezTo>
                    <a:pt x="273031" y="112571"/>
                    <a:pt x="253994" y="112571"/>
                    <a:pt x="232236" y="112571"/>
                  </a:cubicBezTo>
                  <a:cubicBezTo>
                    <a:pt x="237676" y="120730"/>
                    <a:pt x="240395" y="128889"/>
                    <a:pt x="240395" y="137048"/>
                  </a:cubicBezTo>
                  <a:cubicBezTo>
                    <a:pt x="240395" y="142487"/>
                    <a:pt x="240395" y="145207"/>
                    <a:pt x="240395" y="150647"/>
                  </a:cubicBezTo>
                  <a:cubicBezTo>
                    <a:pt x="240395" y="153366"/>
                    <a:pt x="240395" y="156086"/>
                    <a:pt x="243115" y="158805"/>
                  </a:cubicBezTo>
                  <a:cubicBezTo>
                    <a:pt x="245835" y="169684"/>
                    <a:pt x="245835" y="180563"/>
                    <a:pt x="248554" y="188722"/>
                  </a:cubicBezTo>
                  <a:cubicBezTo>
                    <a:pt x="248554" y="191441"/>
                    <a:pt x="248554" y="194161"/>
                    <a:pt x="248554" y="199600"/>
                  </a:cubicBezTo>
                  <a:cubicBezTo>
                    <a:pt x="248554" y="207759"/>
                    <a:pt x="248554" y="213198"/>
                    <a:pt x="248554" y="221357"/>
                  </a:cubicBezTo>
                  <a:cubicBezTo>
                    <a:pt x="248554" y="234956"/>
                    <a:pt x="251274" y="248554"/>
                    <a:pt x="253994" y="264872"/>
                  </a:cubicBezTo>
                  <a:cubicBezTo>
                    <a:pt x="256713" y="275751"/>
                    <a:pt x="259433" y="286629"/>
                    <a:pt x="262153" y="297508"/>
                  </a:cubicBezTo>
                  <a:cubicBezTo>
                    <a:pt x="264872" y="305667"/>
                    <a:pt x="264872" y="313826"/>
                    <a:pt x="264872" y="324704"/>
                  </a:cubicBezTo>
                  <a:cubicBezTo>
                    <a:pt x="264872" y="327424"/>
                    <a:pt x="264872" y="330144"/>
                    <a:pt x="264872" y="332863"/>
                  </a:cubicBezTo>
                  <a:cubicBezTo>
                    <a:pt x="264872" y="338303"/>
                    <a:pt x="264872" y="346462"/>
                    <a:pt x="264872" y="351901"/>
                  </a:cubicBezTo>
                  <a:cubicBezTo>
                    <a:pt x="264872" y="357340"/>
                    <a:pt x="262153" y="365499"/>
                    <a:pt x="262153" y="370939"/>
                  </a:cubicBezTo>
                  <a:cubicBezTo>
                    <a:pt x="262153" y="376378"/>
                    <a:pt x="264872" y="384537"/>
                    <a:pt x="267592" y="384537"/>
                  </a:cubicBezTo>
                  <a:cubicBezTo>
                    <a:pt x="273031" y="384537"/>
                    <a:pt x="275751" y="376378"/>
                    <a:pt x="278471" y="370939"/>
                  </a:cubicBezTo>
                  <a:cubicBezTo>
                    <a:pt x="283910" y="360060"/>
                    <a:pt x="289349" y="346462"/>
                    <a:pt x="297508" y="332863"/>
                  </a:cubicBezTo>
                  <a:cubicBezTo>
                    <a:pt x="302948" y="324704"/>
                    <a:pt x="305667" y="313826"/>
                    <a:pt x="311106" y="305667"/>
                  </a:cubicBezTo>
                  <a:cubicBezTo>
                    <a:pt x="319265" y="289349"/>
                    <a:pt x="327424" y="275751"/>
                    <a:pt x="335583" y="259433"/>
                  </a:cubicBezTo>
                  <a:cubicBezTo>
                    <a:pt x="341023" y="248554"/>
                    <a:pt x="349182" y="234956"/>
                    <a:pt x="354621" y="224077"/>
                  </a:cubicBezTo>
                  <a:cubicBezTo>
                    <a:pt x="362780" y="207759"/>
                    <a:pt x="370939" y="191441"/>
                    <a:pt x="381817" y="172404"/>
                  </a:cubicBezTo>
                  <a:cubicBezTo>
                    <a:pt x="389977" y="153366"/>
                    <a:pt x="400855" y="134329"/>
                    <a:pt x="409014" y="118011"/>
                  </a:cubicBezTo>
                  <a:cubicBezTo>
                    <a:pt x="409014" y="115291"/>
                    <a:pt x="409014" y="115291"/>
                    <a:pt x="411734" y="115291"/>
                  </a:cubicBezTo>
                  <a:cubicBezTo>
                    <a:pt x="406294" y="115291"/>
                    <a:pt x="400855" y="115291"/>
                    <a:pt x="398136" y="115291"/>
                  </a:cubicBezTo>
                  <a:cubicBezTo>
                    <a:pt x="392696" y="115291"/>
                    <a:pt x="384537" y="115291"/>
                    <a:pt x="379098" y="109852"/>
                  </a:cubicBezTo>
                  <a:cubicBezTo>
                    <a:pt x="373659" y="107132"/>
                    <a:pt x="368219" y="98973"/>
                    <a:pt x="368219" y="93534"/>
                  </a:cubicBezTo>
                  <a:cubicBezTo>
                    <a:pt x="368219" y="90814"/>
                    <a:pt x="368219" y="88094"/>
                    <a:pt x="370939" y="85375"/>
                  </a:cubicBezTo>
                  <a:cubicBezTo>
                    <a:pt x="373659" y="82655"/>
                    <a:pt x="381817" y="79936"/>
                    <a:pt x="387257" y="77216"/>
                  </a:cubicBezTo>
                  <a:cubicBezTo>
                    <a:pt x="400855" y="74496"/>
                    <a:pt x="414453" y="71776"/>
                    <a:pt x="422612" y="71776"/>
                  </a:cubicBezTo>
                  <a:cubicBezTo>
                    <a:pt x="425332" y="71776"/>
                    <a:pt x="430771" y="71776"/>
                    <a:pt x="436211" y="71776"/>
                  </a:cubicBezTo>
                  <a:cubicBezTo>
                    <a:pt x="436211" y="71776"/>
                    <a:pt x="438930" y="69057"/>
                    <a:pt x="438930" y="69057"/>
                  </a:cubicBezTo>
                  <a:cubicBezTo>
                    <a:pt x="444370" y="66337"/>
                    <a:pt x="447089" y="66337"/>
                    <a:pt x="452529" y="66337"/>
                  </a:cubicBezTo>
                  <a:cubicBezTo>
                    <a:pt x="457968" y="66337"/>
                    <a:pt x="460688" y="66337"/>
                    <a:pt x="466127" y="69057"/>
                  </a:cubicBezTo>
                  <a:cubicBezTo>
                    <a:pt x="468847" y="69057"/>
                    <a:pt x="471566" y="71776"/>
                    <a:pt x="471566" y="71776"/>
                  </a:cubicBezTo>
                  <a:cubicBezTo>
                    <a:pt x="490604" y="71776"/>
                    <a:pt x="506922" y="71776"/>
                    <a:pt x="515081" y="71776"/>
                  </a:cubicBezTo>
                  <a:cubicBezTo>
                    <a:pt x="523240" y="71776"/>
                    <a:pt x="542277" y="71776"/>
                    <a:pt x="542277" y="88094"/>
                  </a:cubicBezTo>
                  <a:cubicBezTo>
                    <a:pt x="542277" y="96253"/>
                    <a:pt x="542277" y="98973"/>
                    <a:pt x="536838" y="104412"/>
                  </a:cubicBezTo>
                  <a:cubicBezTo>
                    <a:pt x="534119" y="109852"/>
                    <a:pt x="528679" y="112571"/>
                    <a:pt x="525959" y="112571"/>
                  </a:cubicBezTo>
                  <a:cubicBezTo>
                    <a:pt x="520520" y="115291"/>
                    <a:pt x="515081" y="115291"/>
                    <a:pt x="509642" y="115291"/>
                  </a:cubicBezTo>
                  <a:cubicBezTo>
                    <a:pt x="506922" y="115291"/>
                    <a:pt x="487884" y="115291"/>
                    <a:pt x="468847" y="115291"/>
                  </a:cubicBezTo>
                  <a:cubicBezTo>
                    <a:pt x="466127" y="123450"/>
                    <a:pt x="460688" y="128889"/>
                    <a:pt x="457968" y="137048"/>
                  </a:cubicBezTo>
                  <a:cubicBezTo>
                    <a:pt x="447089" y="156086"/>
                    <a:pt x="438930" y="175123"/>
                    <a:pt x="430771" y="194161"/>
                  </a:cubicBezTo>
                  <a:cubicBezTo>
                    <a:pt x="419893" y="215918"/>
                    <a:pt x="411734" y="240395"/>
                    <a:pt x="400855" y="262152"/>
                  </a:cubicBezTo>
                  <a:cubicBezTo>
                    <a:pt x="387257" y="289349"/>
                    <a:pt x="373659" y="311106"/>
                    <a:pt x="360060" y="332863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: Shape 38">
              <a:extLst>
                <a:ext uri="{FF2B5EF4-FFF2-40B4-BE49-F238E27FC236}">
                  <a16:creationId xmlns:a16="http://schemas.microsoft.com/office/drawing/2014/main" id="{C42A3273-E3DC-4FAE-9AFF-EC913E562EE9}"/>
                </a:ext>
              </a:extLst>
            </p:cNvPr>
            <p:cNvSpPr/>
            <p:nvPr/>
          </p:nvSpPr>
          <p:spPr>
            <a:xfrm>
              <a:off x="4335316" y="4186718"/>
              <a:ext cx="353556" cy="761503"/>
            </a:xfrm>
            <a:custGeom>
              <a:avLst/>
              <a:gdLst>
                <a:gd name="connsiteX0" fmla="*/ 283910 w 353555"/>
                <a:gd name="connsiteY0" fmla="*/ 672820 h 761503"/>
                <a:gd name="connsiteX1" fmla="*/ 321985 w 353555"/>
                <a:gd name="connsiteY1" fmla="*/ 689138 h 761503"/>
                <a:gd name="connsiteX2" fmla="*/ 316546 w 353555"/>
                <a:gd name="connsiteY2" fmla="*/ 705456 h 761503"/>
                <a:gd name="connsiteX3" fmla="*/ 300228 w 353555"/>
                <a:gd name="connsiteY3" fmla="*/ 713615 h 761503"/>
                <a:gd name="connsiteX4" fmla="*/ 278471 w 353555"/>
                <a:gd name="connsiteY4" fmla="*/ 716335 h 761503"/>
                <a:gd name="connsiteX5" fmla="*/ 237676 w 353555"/>
                <a:gd name="connsiteY5" fmla="*/ 716335 h 761503"/>
                <a:gd name="connsiteX6" fmla="*/ 180563 w 353555"/>
                <a:gd name="connsiteY6" fmla="*/ 719054 h 761503"/>
                <a:gd name="connsiteX7" fmla="*/ 126170 w 353555"/>
                <a:gd name="connsiteY7" fmla="*/ 719054 h 761503"/>
                <a:gd name="connsiteX8" fmla="*/ 101693 w 353555"/>
                <a:gd name="connsiteY8" fmla="*/ 719054 h 761503"/>
                <a:gd name="connsiteX9" fmla="*/ 74496 w 353555"/>
                <a:gd name="connsiteY9" fmla="*/ 713615 h 761503"/>
                <a:gd name="connsiteX10" fmla="*/ 58178 w 353555"/>
                <a:gd name="connsiteY10" fmla="*/ 697297 h 761503"/>
                <a:gd name="connsiteX11" fmla="*/ 63617 w 353555"/>
                <a:gd name="connsiteY11" fmla="*/ 689138 h 761503"/>
                <a:gd name="connsiteX12" fmla="*/ 85375 w 353555"/>
                <a:gd name="connsiteY12" fmla="*/ 680979 h 761503"/>
                <a:gd name="connsiteX13" fmla="*/ 131609 w 353555"/>
                <a:gd name="connsiteY13" fmla="*/ 675540 h 761503"/>
                <a:gd name="connsiteX14" fmla="*/ 142488 w 353555"/>
                <a:gd name="connsiteY14" fmla="*/ 675540 h 761503"/>
                <a:gd name="connsiteX15" fmla="*/ 131609 w 353555"/>
                <a:gd name="connsiteY15" fmla="*/ 653783 h 761503"/>
                <a:gd name="connsiteX16" fmla="*/ 128889 w 353555"/>
                <a:gd name="connsiteY16" fmla="*/ 640184 h 761503"/>
                <a:gd name="connsiteX17" fmla="*/ 128889 w 353555"/>
                <a:gd name="connsiteY17" fmla="*/ 629306 h 761503"/>
                <a:gd name="connsiteX18" fmla="*/ 128889 w 353555"/>
                <a:gd name="connsiteY18" fmla="*/ 621147 h 761503"/>
                <a:gd name="connsiteX19" fmla="*/ 128889 w 353555"/>
                <a:gd name="connsiteY19" fmla="*/ 593950 h 761503"/>
                <a:gd name="connsiteX20" fmla="*/ 128889 w 353555"/>
                <a:gd name="connsiteY20" fmla="*/ 583072 h 761503"/>
                <a:gd name="connsiteX21" fmla="*/ 128889 w 353555"/>
                <a:gd name="connsiteY21" fmla="*/ 436210 h 761503"/>
                <a:gd name="connsiteX22" fmla="*/ 128889 w 353555"/>
                <a:gd name="connsiteY22" fmla="*/ 357340 h 761503"/>
                <a:gd name="connsiteX23" fmla="*/ 131609 w 353555"/>
                <a:gd name="connsiteY23" fmla="*/ 289349 h 761503"/>
                <a:gd name="connsiteX24" fmla="*/ 131609 w 353555"/>
                <a:gd name="connsiteY24" fmla="*/ 251274 h 761503"/>
                <a:gd name="connsiteX25" fmla="*/ 131609 w 353555"/>
                <a:gd name="connsiteY25" fmla="*/ 205040 h 761503"/>
                <a:gd name="connsiteX26" fmla="*/ 131609 w 353555"/>
                <a:gd name="connsiteY26" fmla="*/ 139768 h 761503"/>
                <a:gd name="connsiteX27" fmla="*/ 131609 w 353555"/>
                <a:gd name="connsiteY27" fmla="*/ 128889 h 761503"/>
                <a:gd name="connsiteX28" fmla="*/ 126170 w 353555"/>
                <a:gd name="connsiteY28" fmla="*/ 128889 h 761503"/>
                <a:gd name="connsiteX29" fmla="*/ 101693 w 353555"/>
                <a:gd name="connsiteY29" fmla="*/ 128889 h 761503"/>
                <a:gd name="connsiteX30" fmla="*/ 74496 w 353555"/>
                <a:gd name="connsiteY30" fmla="*/ 123450 h 761503"/>
                <a:gd name="connsiteX31" fmla="*/ 58178 w 353555"/>
                <a:gd name="connsiteY31" fmla="*/ 107132 h 761503"/>
                <a:gd name="connsiteX32" fmla="*/ 60898 w 353555"/>
                <a:gd name="connsiteY32" fmla="*/ 98973 h 761503"/>
                <a:gd name="connsiteX33" fmla="*/ 82655 w 353555"/>
                <a:gd name="connsiteY33" fmla="*/ 93534 h 761503"/>
                <a:gd name="connsiteX34" fmla="*/ 131609 w 353555"/>
                <a:gd name="connsiteY34" fmla="*/ 88094 h 761503"/>
                <a:gd name="connsiteX35" fmla="*/ 131609 w 353555"/>
                <a:gd name="connsiteY35" fmla="*/ 82655 h 761503"/>
                <a:gd name="connsiteX36" fmla="*/ 134329 w 353555"/>
                <a:gd name="connsiteY36" fmla="*/ 71776 h 761503"/>
                <a:gd name="connsiteX37" fmla="*/ 147927 w 353555"/>
                <a:gd name="connsiteY37" fmla="*/ 63617 h 761503"/>
                <a:gd name="connsiteX38" fmla="*/ 164245 w 353555"/>
                <a:gd name="connsiteY38" fmla="*/ 58178 h 761503"/>
                <a:gd name="connsiteX39" fmla="*/ 177843 w 353555"/>
                <a:gd name="connsiteY39" fmla="*/ 58178 h 761503"/>
                <a:gd name="connsiteX40" fmla="*/ 196881 w 353555"/>
                <a:gd name="connsiteY40" fmla="*/ 60898 h 761503"/>
                <a:gd name="connsiteX41" fmla="*/ 232236 w 353555"/>
                <a:gd name="connsiteY41" fmla="*/ 88094 h 761503"/>
                <a:gd name="connsiteX42" fmla="*/ 278471 w 353555"/>
                <a:gd name="connsiteY42" fmla="*/ 88094 h 761503"/>
                <a:gd name="connsiteX43" fmla="*/ 316546 w 353555"/>
                <a:gd name="connsiteY43" fmla="*/ 104412 h 761503"/>
                <a:gd name="connsiteX44" fmla="*/ 311106 w 353555"/>
                <a:gd name="connsiteY44" fmla="*/ 120730 h 761503"/>
                <a:gd name="connsiteX45" fmla="*/ 294788 w 353555"/>
                <a:gd name="connsiteY45" fmla="*/ 128889 h 761503"/>
                <a:gd name="connsiteX46" fmla="*/ 273031 w 353555"/>
                <a:gd name="connsiteY46" fmla="*/ 131609 h 761503"/>
                <a:gd name="connsiteX47" fmla="*/ 243115 w 353555"/>
                <a:gd name="connsiteY47" fmla="*/ 131609 h 761503"/>
                <a:gd name="connsiteX48" fmla="*/ 243115 w 353555"/>
                <a:gd name="connsiteY48" fmla="*/ 134329 h 761503"/>
                <a:gd name="connsiteX49" fmla="*/ 248554 w 353555"/>
                <a:gd name="connsiteY49" fmla="*/ 169684 h 761503"/>
                <a:gd name="connsiteX50" fmla="*/ 251274 w 353555"/>
                <a:gd name="connsiteY50" fmla="*/ 205040 h 761503"/>
                <a:gd name="connsiteX51" fmla="*/ 251274 w 353555"/>
                <a:gd name="connsiteY51" fmla="*/ 240395 h 761503"/>
                <a:gd name="connsiteX52" fmla="*/ 251274 w 353555"/>
                <a:gd name="connsiteY52" fmla="*/ 256713 h 761503"/>
                <a:gd name="connsiteX53" fmla="*/ 253994 w 353555"/>
                <a:gd name="connsiteY53" fmla="*/ 270311 h 761503"/>
                <a:gd name="connsiteX54" fmla="*/ 259433 w 353555"/>
                <a:gd name="connsiteY54" fmla="*/ 343742 h 761503"/>
                <a:gd name="connsiteX55" fmla="*/ 262153 w 353555"/>
                <a:gd name="connsiteY55" fmla="*/ 425332 h 761503"/>
                <a:gd name="connsiteX56" fmla="*/ 264872 w 353555"/>
                <a:gd name="connsiteY56" fmla="*/ 490603 h 761503"/>
                <a:gd name="connsiteX57" fmla="*/ 270312 w 353555"/>
                <a:gd name="connsiteY57" fmla="*/ 564034 h 761503"/>
                <a:gd name="connsiteX58" fmla="*/ 270312 w 353555"/>
                <a:gd name="connsiteY58" fmla="*/ 599390 h 761503"/>
                <a:gd name="connsiteX59" fmla="*/ 270312 w 353555"/>
                <a:gd name="connsiteY59" fmla="*/ 637465 h 761503"/>
                <a:gd name="connsiteX60" fmla="*/ 264872 w 353555"/>
                <a:gd name="connsiteY60" fmla="*/ 670101 h 761503"/>
                <a:gd name="connsiteX61" fmla="*/ 283910 w 353555"/>
                <a:gd name="connsiteY61" fmla="*/ 672820 h 761503"/>
                <a:gd name="connsiteX62" fmla="*/ 283910 w 353555"/>
                <a:gd name="connsiteY62" fmla="*/ 672820 h 761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</a:cxnLst>
              <a:rect l="l" t="t" r="r" b="b"/>
              <a:pathLst>
                <a:path w="353555" h="761503">
                  <a:moveTo>
                    <a:pt x="283910" y="672820"/>
                  </a:moveTo>
                  <a:cubicBezTo>
                    <a:pt x="297508" y="672820"/>
                    <a:pt x="321985" y="672820"/>
                    <a:pt x="321985" y="689138"/>
                  </a:cubicBezTo>
                  <a:cubicBezTo>
                    <a:pt x="321985" y="697297"/>
                    <a:pt x="319265" y="697297"/>
                    <a:pt x="316546" y="705456"/>
                  </a:cubicBezTo>
                  <a:cubicBezTo>
                    <a:pt x="311106" y="710895"/>
                    <a:pt x="305667" y="713615"/>
                    <a:pt x="300228" y="713615"/>
                  </a:cubicBezTo>
                  <a:cubicBezTo>
                    <a:pt x="292069" y="716335"/>
                    <a:pt x="283910" y="716335"/>
                    <a:pt x="278471" y="716335"/>
                  </a:cubicBezTo>
                  <a:cubicBezTo>
                    <a:pt x="275751" y="716335"/>
                    <a:pt x="256713" y="716335"/>
                    <a:pt x="237676" y="716335"/>
                  </a:cubicBezTo>
                  <a:cubicBezTo>
                    <a:pt x="213199" y="716335"/>
                    <a:pt x="186002" y="719054"/>
                    <a:pt x="180563" y="719054"/>
                  </a:cubicBezTo>
                  <a:cubicBezTo>
                    <a:pt x="166965" y="719054"/>
                    <a:pt x="142488" y="719054"/>
                    <a:pt x="126170" y="719054"/>
                  </a:cubicBezTo>
                  <a:cubicBezTo>
                    <a:pt x="118011" y="719054"/>
                    <a:pt x="109852" y="719054"/>
                    <a:pt x="101693" y="719054"/>
                  </a:cubicBezTo>
                  <a:cubicBezTo>
                    <a:pt x="93534" y="719054"/>
                    <a:pt x="82655" y="719054"/>
                    <a:pt x="74496" y="713615"/>
                  </a:cubicBezTo>
                  <a:cubicBezTo>
                    <a:pt x="66337" y="710895"/>
                    <a:pt x="58178" y="702736"/>
                    <a:pt x="58178" y="697297"/>
                  </a:cubicBezTo>
                  <a:cubicBezTo>
                    <a:pt x="58178" y="694578"/>
                    <a:pt x="58178" y="691858"/>
                    <a:pt x="63617" y="689138"/>
                  </a:cubicBezTo>
                  <a:cubicBezTo>
                    <a:pt x="69057" y="686418"/>
                    <a:pt x="79935" y="683699"/>
                    <a:pt x="85375" y="680979"/>
                  </a:cubicBezTo>
                  <a:cubicBezTo>
                    <a:pt x="104412" y="678260"/>
                    <a:pt x="123450" y="675540"/>
                    <a:pt x="131609" y="675540"/>
                  </a:cubicBezTo>
                  <a:cubicBezTo>
                    <a:pt x="134329" y="675540"/>
                    <a:pt x="137048" y="675540"/>
                    <a:pt x="142488" y="675540"/>
                  </a:cubicBezTo>
                  <a:cubicBezTo>
                    <a:pt x="134329" y="670101"/>
                    <a:pt x="131609" y="661942"/>
                    <a:pt x="131609" y="653783"/>
                  </a:cubicBezTo>
                  <a:cubicBezTo>
                    <a:pt x="131609" y="648343"/>
                    <a:pt x="131609" y="642904"/>
                    <a:pt x="128889" y="640184"/>
                  </a:cubicBezTo>
                  <a:cubicBezTo>
                    <a:pt x="128889" y="637465"/>
                    <a:pt x="128889" y="634745"/>
                    <a:pt x="128889" y="629306"/>
                  </a:cubicBezTo>
                  <a:cubicBezTo>
                    <a:pt x="128889" y="626586"/>
                    <a:pt x="128889" y="623867"/>
                    <a:pt x="128889" y="621147"/>
                  </a:cubicBezTo>
                  <a:cubicBezTo>
                    <a:pt x="128889" y="612988"/>
                    <a:pt x="128889" y="604829"/>
                    <a:pt x="128889" y="593950"/>
                  </a:cubicBezTo>
                  <a:cubicBezTo>
                    <a:pt x="128889" y="591231"/>
                    <a:pt x="128889" y="585791"/>
                    <a:pt x="128889" y="583072"/>
                  </a:cubicBezTo>
                  <a:cubicBezTo>
                    <a:pt x="128889" y="534118"/>
                    <a:pt x="131609" y="485164"/>
                    <a:pt x="128889" y="436210"/>
                  </a:cubicBezTo>
                  <a:cubicBezTo>
                    <a:pt x="128889" y="409014"/>
                    <a:pt x="128889" y="384537"/>
                    <a:pt x="128889" y="357340"/>
                  </a:cubicBezTo>
                  <a:cubicBezTo>
                    <a:pt x="128889" y="335583"/>
                    <a:pt x="131609" y="313826"/>
                    <a:pt x="131609" y="289349"/>
                  </a:cubicBezTo>
                  <a:cubicBezTo>
                    <a:pt x="131609" y="275751"/>
                    <a:pt x="131609" y="264872"/>
                    <a:pt x="131609" y="251274"/>
                  </a:cubicBezTo>
                  <a:cubicBezTo>
                    <a:pt x="131609" y="234956"/>
                    <a:pt x="131609" y="221357"/>
                    <a:pt x="131609" y="205040"/>
                  </a:cubicBezTo>
                  <a:cubicBezTo>
                    <a:pt x="131609" y="183282"/>
                    <a:pt x="131609" y="161525"/>
                    <a:pt x="131609" y="139768"/>
                  </a:cubicBezTo>
                  <a:cubicBezTo>
                    <a:pt x="131609" y="137048"/>
                    <a:pt x="131609" y="134329"/>
                    <a:pt x="131609" y="128889"/>
                  </a:cubicBezTo>
                  <a:cubicBezTo>
                    <a:pt x="128889" y="128889"/>
                    <a:pt x="126170" y="128889"/>
                    <a:pt x="126170" y="128889"/>
                  </a:cubicBezTo>
                  <a:cubicBezTo>
                    <a:pt x="118011" y="128889"/>
                    <a:pt x="109852" y="128889"/>
                    <a:pt x="101693" y="128889"/>
                  </a:cubicBezTo>
                  <a:cubicBezTo>
                    <a:pt x="93534" y="128889"/>
                    <a:pt x="82655" y="128889"/>
                    <a:pt x="74496" y="123450"/>
                  </a:cubicBezTo>
                  <a:cubicBezTo>
                    <a:pt x="66337" y="120730"/>
                    <a:pt x="58178" y="112571"/>
                    <a:pt x="58178" y="107132"/>
                  </a:cubicBezTo>
                  <a:cubicBezTo>
                    <a:pt x="58178" y="104412"/>
                    <a:pt x="58178" y="101693"/>
                    <a:pt x="60898" y="98973"/>
                  </a:cubicBezTo>
                  <a:cubicBezTo>
                    <a:pt x="63617" y="96253"/>
                    <a:pt x="77216" y="93534"/>
                    <a:pt x="82655" y="93534"/>
                  </a:cubicBezTo>
                  <a:cubicBezTo>
                    <a:pt x="98973" y="90814"/>
                    <a:pt x="123450" y="88094"/>
                    <a:pt x="131609" y="88094"/>
                  </a:cubicBezTo>
                  <a:cubicBezTo>
                    <a:pt x="131609" y="85375"/>
                    <a:pt x="131609" y="85375"/>
                    <a:pt x="131609" y="82655"/>
                  </a:cubicBezTo>
                  <a:cubicBezTo>
                    <a:pt x="131609" y="77216"/>
                    <a:pt x="131609" y="74496"/>
                    <a:pt x="134329" y="71776"/>
                  </a:cubicBezTo>
                  <a:cubicBezTo>
                    <a:pt x="137048" y="69057"/>
                    <a:pt x="145207" y="66337"/>
                    <a:pt x="147927" y="63617"/>
                  </a:cubicBezTo>
                  <a:cubicBezTo>
                    <a:pt x="153366" y="60898"/>
                    <a:pt x="158806" y="58178"/>
                    <a:pt x="164245" y="58178"/>
                  </a:cubicBezTo>
                  <a:cubicBezTo>
                    <a:pt x="169684" y="58178"/>
                    <a:pt x="175123" y="58178"/>
                    <a:pt x="177843" y="58178"/>
                  </a:cubicBezTo>
                  <a:cubicBezTo>
                    <a:pt x="183283" y="58178"/>
                    <a:pt x="191442" y="58178"/>
                    <a:pt x="196881" y="60898"/>
                  </a:cubicBezTo>
                  <a:cubicBezTo>
                    <a:pt x="213199" y="63617"/>
                    <a:pt x="224077" y="74496"/>
                    <a:pt x="232236" y="88094"/>
                  </a:cubicBezTo>
                  <a:cubicBezTo>
                    <a:pt x="253994" y="88094"/>
                    <a:pt x="270312" y="88094"/>
                    <a:pt x="278471" y="88094"/>
                  </a:cubicBezTo>
                  <a:cubicBezTo>
                    <a:pt x="292069" y="88094"/>
                    <a:pt x="316546" y="88094"/>
                    <a:pt x="316546" y="104412"/>
                  </a:cubicBezTo>
                  <a:cubicBezTo>
                    <a:pt x="316546" y="112571"/>
                    <a:pt x="313826" y="112571"/>
                    <a:pt x="311106" y="120730"/>
                  </a:cubicBezTo>
                  <a:cubicBezTo>
                    <a:pt x="305667" y="126170"/>
                    <a:pt x="300228" y="128889"/>
                    <a:pt x="294788" y="128889"/>
                  </a:cubicBezTo>
                  <a:cubicBezTo>
                    <a:pt x="286630" y="131609"/>
                    <a:pt x="278471" y="131609"/>
                    <a:pt x="273031" y="131609"/>
                  </a:cubicBezTo>
                  <a:cubicBezTo>
                    <a:pt x="270312" y="131609"/>
                    <a:pt x="259433" y="131609"/>
                    <a:pt x="243115" y="131609"/>
                  </a:cubicBezTo>
                  <a:lnTo>
                    <a:pt x="243115" y="134329"/>
                  </a:lnTo>
                  <a:cubicBezTo>
                    <a:pt x="245835" y="145207"/>
                    <a:pt x="245835" y="158805"/>
                    <a:pt x="248554" y="169684"/>
                  </a:cubicBezTo>
                  <a:cubicBezTo>
                    <a:pt x="251274" y="180563"/>
                    <a:pt x="251274" y="194161"/>
                    <a:pt x="251274" y="205040"/>
                  </a:cubicBezTo>
                  <a:cubicBezTo>
                    <a:pt x="251274" y="215918"/>
                    <a:pt x="251274" y="226797"/>
                    <a:pt x="251274" y="240395"/>
                  </a:cubicBezTo>
                  <a:cubicBezTo>
                    <a:pt x="251274" y="245834"/>
                    <a:pt x="251274" y="251274"/>
                    <a:pt x="251274" y="256713"/>
                  </a:cubicBezTo>
                  <a:cubicBezTo>
                    <a:pt x="251274" y="262152"/>
                    <a:pt x="251274" y="267592"/>
                    <a:pt x="253994" y="270311"/>
                  </a:cubicBezTo>
                  <a:cubicBezTo>
                    <a:pt x="256713" y="294788"/>
                    <a:pt x="256713" y="319265"/>
                    <a:pt x="259433" y="343742"/>
                  </a:cubicBezTo>
                  <a:cubicBezTo>
                    <a:pt x="259433" y="370939"/>
                    <a:pt x="262153" y="398135"/>
                    <a:pt x="262153" y="425332"/>
                  </a:cubicBezTo>
                  <a:cubicBezTo>
                    <a:pt x="262153" y="447089"/>
                    <a:pt x="262153" y="468846"/>
                    <a:pt x="264872" y="490603"/>
                  </a:cubicBezTo>
                  <a:cubicBezTo>
                    <a:pt x="264872" y="515080"/>
                    <a:pt x="270312" y="539557"/>
                    <a:pt x="270312" y="564034"/>
                  </a:cubicBezTo>
                  <a:cubicBezTo>
                    <a:pt x="270312" y="574913"/>
                    <a:pt x="270312" y="588511"/>
                    <a:pt x="270312" y="599390"/>
                  </a:cubicBezTo>
                  <a:cubicBezTo>
                    <a:pt x="270312" y="612988"/>
                    <a:pt x="270312" y="623867"/>
                    <a:pt x="270312" y="637465"/>
                  </a:cubicBezTo>
                  <a:cubicBezTo>
                    <a:pt x="270312" y="648343"/>
                    <a:pt x="270312" y="661942"/>
                    <a:pt x="264872" y="670101"/>
                  </a:cubicBezTo>
                  <a:cubicBezTo>
                    <a:pt x="273031" y="672820"/>
                    <a:pt x="278471" y="672820"/>
                    <a:pt x="283910" y="672820"/>
                  </a:cubicBezTo>
                  <a:lnTo>
                    <a:pt x="283910" y="672820"/>
                  </a:ln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0" name="Freeform: Shape 39">
              <a:extLst>
                <a:ext uri="{FF2B5EF4-FFF2-40B4-BE49-F238E27FC236}">
                  <a16:creationId xmlns:a16="http://schemas.microsoft.com/office/drawing/2014/main" id="{990D7267-1414-4CB3-9CEF-BEBE0366111F}"/>
                </a:ext>
              </a:extLst>
            </p:cNvPr>
            <p:cNvSpPr/>
            <p:nvPr/>
          </p:nvSpPr>
          <p:spPr>
            <a:xfrm>
              <a:off x="4620880" y="4194877"/>
              <a:ext cx="598325" cy="761503"/>
            </a:xfrm>
            <a:custGeom>
              <a:avLst/>
              <a:gdLst>
                <a:gd name="connsiteX0" fmla="*/ 515081 w 598324"/>
                <a:gd name="connsiteY0" fmla="*/ 79935 h 761503"/>
                <a:gd name="connsiteX1" fmla="*/ 542277 w 598324"/>
                <a:gd name="connsiteY1" fmla="*/ 96253 h 761503"/>
                <a:gd name="connsiteX2" fmla="*/ 536838 w 598324"/>
                <a:gd name="connsiteY2" fmla="*/ 112571 h 761503"/>
                <a:gd name="connsiteX3" fmla="*/ 523240 w 598324"/>
                <a:gd name="connsiteY3" fmla="*/ 120730 h 761503"/>
                <a:gd name="connsiteX4" fmla="*/ 506922 w 598324"/>
                <a:gd name="connsiteY4" fmla="*/ 123450 h 761503"/>
                <a:gd name="connsiteX5" fmla="*/ 477006 w 598324"/>
                <a:gd name="connsiteY5" fmla="*/ 123450 h 761503"/>
                <a:gd name="connsiteX6" fmla="*/ 479725 w 598324"/>
                <a:gd name="connsiteY6" fmla="*/ 145207 h 761503"/>
                <a:gd name="connsiteX7" fmla="*/ 477006 w 598324"/>
                <a:gd name="connsiteY7" fmla="*/ 180563 h 761503"/>
                <a:gd name="connsiteX8" fmla="*/ 482445 w 598324"/>
                <a:gd name="connsiteY8" fmla="*/ 232236 h 761503"/>
                <a:gd name="connsiteX9" fmla="*/ 485165 w 598324"/>
                <a:gd name="connsiteY9" fmla="*/ 283909 h 761503"/>
                <a:gd name="connsiteX10" fmla="*/ 485165 w 598324"/>
                <a:gd name="connsiteY10" fmla="*/ 327424 h 761503"/>
                <a:gd name="connsiteX11" fmla="*/ 487884 w 598324"/>
                <a:gd name="connsiteY11" fmla="*/ 373658 h 761503"/>
                <a:gd name="connsiteX12" fmla="*/ 485165 w 598324"/>
                <a:gd name="connsiteY12" fmla="*/ 419892 h 761503"/>
                <a:gd name="connsiteX13" fmla="*/ 485165 w 598324"/>
                <a:gd name="connsiteY13" fmla="*/ 463407 h 761503"/>
                <a:gd name="connsiteX14" fmla="*/ 482445 w 598324"/>
                <a:gd name="connsiteY14" fmla="*/ 515080 h 761503"/>
                <a:gd name="connsiteX15" fmla="*/ 482445 w 598324"/>
                <a:gd name="connsiteY15" fmla="*/ 558595 h 761503"/>
                <a:gd name="connsiteX16" fmla="*/ 479725 w 598324"/>
                <a:gd name="connsiteY16" fmla="*/ 602109 h 761503"/>
                <a:gd name="connsiteX17" fmla="*/ 485165 w 598324"/>
                <a:gd name="connsiteY17" fmla="*/ 648343 h 761503"/>
                <a:gd name="connsiteX18" fmla="*/ 474286 w 598324"/>
                <a:gd name="connsiteY18" fmla="*/ 675540 h 761503"/>
                <a:gd name="connsiteX19" fmla="*/ 428052 w 598324"/>
                <a:gd name="connsiteY19" fmla="*/ 691858 h 761503"/>
                <a:gd name="connsiteX20" fmla="*/ 387257 w 598324"/>
                <a:gd name="connsiteY20" fmla="*/ 683699 h 761503"/>
                <a:gd name="connsiteX21" fmla="*/ 351901 w 598324"/>
                <a:gd name="connsiteY21" fmla="*/ 664661 h 761503"/>
                <a:gd name="connsiteX22" fmla="*/ 305667 w 598324"/>
                <a:gd name="connsiteY22" fmla="*/ 596670 h 761503"/>
                <a:gd name="connsiteX23" fmla="*/ 270312 w 598324"/>
                <a:gd name="connsiteY23" fmla="*/ 509641 h 761503"/>
                <a:gd name="connsiteX24" fmla="*/ 251274 w 598324"/>
                <a:gd name="connsiteY24" fmla="*/ 460687 h 761503"/>
                <a:gd name="connsiteX25" fmla="*/ 224077 w 598324"/>
                <a:gd name="connsiteY25" fmla="*/ 381817 h 761503"/>
                <a:gd name="connsiteX26" fmla="*/ 207759 w 598324"/>
                <a:gd name="connsiteY26" fmla="*/ 330144 h 761503"/>
                <a:gd name="connsiteX27" fmla="*/ 191442 w 598324"/>
                <a:gd name="connsiteY27" fmla="*/ 286629 h 761503"/>
                <a:gd name="connsiteX28" fmla="*/ 183283 w 598324"/>
                <a:gd name="connsiteY28" fmla="*/ 278470 h 761503"/>
                <a:gd name="connsiteX29" fmla="*/ 180563 w 598324"/>
                <a:gd name="connsiteY29" fmla="*/ 292068 h 761503"/>
                <a:gd name="connsiteX30" fmla="*/ 180563 w 598324"/>
                <a:gd name="connsiteY30" fmla="*/ 305667 h 761503"/>
                <a:gd name="connsiteX31" fmla="*/ 183283 w 598324"/>
                <a:gd name="connsiteY31" fmla="*/ 354620 h 761503"/>
                <a:gd name="connsiteX32" fmla="*/ 188722 w 598324"/>
                <a:gd name="connsiteY32" fmla="*/ 449808 h 761503"/>
                <a:gd name="connsiteX33" fmla="*/ 188722 w 598324"/>
                <a:gd name="connsiteY33" fmla="*/ 479725 h 761503"/>
                <a:gd name="connsiteX34" fmla="*/ 188722 w 598324"/>
                <a:gd name="connsiteY34" fmla="*/ 542277 h 761503"/>
                <a:gd name="connsiteX35" fmla="*/ 186002 w 598324"/>
                <a:gd name="connsiteY35" fmla="*/ 615708 h 761503"/>
                <a:gd name="connsiteX36" fmla="*/ 186002 w 598324"/>
                <a:gd name="connsiteY36" fmla="*/ 637465 h 761503"/>
                <a:gd name="connsiteX37" fmla="*/ 183283 w 598324"/>
                <a:gd name="connsiteY37" fmla="*/ 664661 h 761503"/>
                <a:gd name="connsiteX38" fmla="*/ 226797 w 598324"/>
                <a:gd name="connsiteY38" fmla="*/ 664661 h 761503"/>
                <a:gd name="connsiteX39" fmla="*/ 253994 w 598324"/>
                <a:gd name="connsiteY39" fmla="*/ 680979 h 761503"/>
                <a:gd name="connsiteX40" fmla="*/ 248554 w 598324"/>
                <a:gd name="connsiteY40" fmla="*/ 697297 h 761503"/>
                <a:gd name="connsiteX41" fmla="*/ 234956 w 598324"/>
                <a:gd name="connsiteY41" fmla="*/ 705456 h 761503"/>
                <a:gd name="connsiteX42" fmla="*/ 218638 w 598324"/>
                <a:gd name="connsiteY42" fmla="*/ 708176 h 761503"/>
                <a:gd name="connsiteX43" fmla="*/ 183283 w 598324"/>
                <a:gd name="connsiteY43" fmla="*/ 708176 h 761503"/>
                <a:gd name="connsiteX44" fmla="*/ 150647 w 598324"/>
                <a:gd name="connsiteY44" fmla="*/ 708176 h 761503"/>
                <a:gd name="connsiteX45" fmla="*/ 107132 w 598324"/>
                <a:gd name="connsiteY45" fmla="*/ 708176 h 761503"/>
                <a:gd name="connsiteX46" fmla="*/ 88094 w 598324"/>
                <a:gd name="connsiteY46" fmla="*/ 708176 h 761503"/>
                <a:gd name="connsiteX47" fmla="*/ 69057 w 598324"/>
                <a:gd name="connsiteY47" fmla="*/ 702736 h 761503"/>
                <a:gd name="connsiteX48" fmla="*/ 58178 w 598324"/>
                <a:gd name="connsiteY48" fmla="*/ 686418 h 761503"/>
                <a:gd name="connsiteX49" fmla="*/ 60898 w 598324"/>
                <a:gd name="connsiteY49" fmla="*/ 678259 h 761503"/>
                <a:gd name="connsiteX50" fmla="*/ 77216 w 598324"/>
                <a:gd name="connsiteY50" fmla="*/ 670101 h 761503"/>
                <a:gd name="connsiteX51" fmla="*/ 120730 w 598324"/>
                <a:gd name="connsiteY51" fmla="*/ 664661 h 761503"/>
                <a:gd name="connsiteX52" fmla="*/ 131609 w 598324"/>
                <a:gd name="connsiteY52" fmla="*/ 664661 h 761503"/>
                <a:gd name="connsiteX53" fmla="*/ 134329 w 598324"/>
                <a:gd name="connsiteY53" fmla="*/ 539557 h 761503"/>
                <a:gd name="connsiteX54" fmla="*/ 134329 w 598324"/>
                <a:gd name="connsiteY54" fmla="*/ 504201 h 761503"/>
                <a:gd name="connsiteX55" fmla="*/ 131609 w 598324"/>
                <a:gd name="connsiteY55" fmla="*/ 376378 h 761503"/>
                <a:gd name="connsiteX56" fmla="*/ 131609 w 598324"/>
                <a:gd name="connsiteY56" fmla="*/ 302947 h 761503"/>
                <a:gd name="connsiteX57" fmla="*/ 134329 w 598324"/>
                <a:gd name="connsiteY57" fmla="*/ 221357 h 761503"/>
                <a:gd name="connsiteX58" fmla="*/ 137048 w 598324"/>
                <a:gd name="connsiteY58" fmla="*/ 123450 h 761503"/>
                <a:gd name="connsiteX59" fmla="*/ 107132 w 598324"/>
                <a:gd name="connsiteY59" fmla="*/ 123450 h 761503"/>
                <a:gd name="connsiteX60" fmla="*/ 88094 w 598324"/>
                <a:gd name="connsiteY60" fmla="*/ 123450 h 761503"/>
                <a:gd name="connsiteX61" fmla="*/ 69057 w 598324"/>
                <a:gd name="connsiteY61" fmla="*/ 118011 h 761503"/>
                <a:gd name="connsiteX62" fmla="*/ 58178 w 598324"/>
                <a:gd name="connsiteY62" fmla="*/ 101693 h 761503"/>
                <a:gd name="connsiteX63" fmla="*/ 60898 w 598324"/>
                <a:gd name="connsiteY63" fmla="*/ 93534 h 761503"/>
                <a:gd name="connsiteX64" fmla="*/ 77216 w 598324"/>
                <a:gd name="connsiteY64" fmla="*/ 85375 h 761503"/>
                <a:gd name="connsiteX65" fmla="*/ 131609 w 598324"/>
                <a:gd name="connsiteY65" fmla="*/ 79935 h 761503"/>
                <a:gd name="connsiteX66" fmla="*/ 161525 w 598324"/>
                <a:gd name="connsiteY66" fmla="*/ 79935 h 761503"/>
                <a:gd name="connsiteX67" fmla="*/ 177843 w 598324"/>
                <a:gd name="connsiteY67" fmla="*/ 66337 h 761503"/>
                <a:gd name="connsiteX68" fmla="*/ 202320 w 598324"/>
                <a:gd name="connsiteY68" fmla="*/ 58178 h 761503"/>
                <a:gd name="connsiteX69" fmla="*/ 234956 w 598324"/>
                <a:gd name="connsiteY69" fmla="*/ 77216 h 761503"/>
                <a:gd name="connsiteX70" fmla="*/ 251274 w 598324"/>
                <a:gd name="connsiteY70" fmla="*/ 107132 h 761503"/>
                <a:gd name="connsiteX71" fmla="*/ 267592 w 598324"/>
                <a:gd name="connsiteY71" fmla="*/ 147927 h 761503"/>
                <a:gd name="connsiteX72" fmla="*/ 281190 w 598324"/>
                <a:gd name="connsiteY72" fmla="*/ 183282 h 761503"/>
                <a:gd name="connsiteX73" fmla="*/ 297508 w 598324"/>
                <a:gd name="connsiteY73" fmla="*/ 224077 h 761503"/>
                <a:gd name="connsiteX74" fmla="*/ 308387 w 598324"/>
                <a:gd name="connsiteY74" fmla="*/ 264872 h 761503"/>
                <a:gd name="connsiteX75" fmla="*/ 319265 w 598324"/>
                <a:gd name="connsiteY75" fmla="*/ 300227 h 761503"/>
                <a:gd name="connsiteX76" fmla="*/ 351901 w 598324"/>
                <a:gd name="connsiteY76" fmla="*/ 379097 h 761503"/>
                <a:gd name="connsiteX77" fmla="*/ 365500 w 598324"/>
                <a:gd name="connsiteY77" fmla="*/ 417173 h 761503"/>
                <a:gd name="connsiteX78" fmla="*/ 379098 w 598324"/>
                <a:gd name="connsiteY78" fmla="*/ 457967 h 761503"/>
                <a:gd name="connsiteX79" fmla="*/ 395416 w 598324"/>
                <a:gd name="connsiteY79" fmla="*/ 496043 h 761503"/>
                <a:gd name="connsiteX80" fmla="*/ 406294 w 598324"/>
                <a:gd name="connsiteY80" fmla="*/ 512361 h 761503"/>
                <a:gd name="connsiteX81" fmla="*/ 411734 w 598324"/>
                <a:gd name="connsiteY81" fmla="*/ 531398 h 761503"/>
                <a:gd name="connsiteX82" fmla="*/ 419893 w 598324"/>
                <a:gd name="connsiteY82" fmla="*/ 558595 h 761503"/>
                <a:gd name="connsiteX83" fmla="*/ 425332 w 598324"/>
                <a:gd name="connsiteY83" fmla="*/ 564034 h 761503"/>
                <a:gd name="connsiteX84" fmla="*/ 430771 w 598324"/>
                <a:gd name="connsiteY84" fmla="*/ 558595 h 761503"/>
                <a:gd name="connsiteX85" fmla="*/ 430771 w 598324"/>
                <a:gd name="connsiteY85" fmla="*/ 550436 h 761503"/>
                <a:gd name="connsiteX86" fmla="*/ 430771 w 598324"/>
                <a:gd name="connsiteY86" fmla="*/ 501482 h 761503"/>
                <a:gd name="connsiteX87" fmla="*/ 430771 w 598324"/>
                <a:gd name="connsiteY87" fmla="*/ 403574 h 761503"/>
                <a:gd name="connsiteX88" fmla="*/ 425332 w 598324"/>
                <a:gd name="connsiteY88" fmla="*/ 313826 h 761503"/>
                <a:gd name="connsiteX89" fmla="*/ 425332 w 598324"/>
                <a:gd name="connsiteY89" fmla="*/ 248554 h 761503"/>
                <a:gd name="connsiteX90" fmla="*/ 425332 w 598324"/>
                <a:gd name="connsiteY90" fmla="*/ 210479 h 761503"/>
                <a:gd name="connsiteX91" fmla="*/ 422613 w 598324"/>
                <a:gd name="connsiteY91" fmla="*/ 153366 h 761503"/>
                <a:gd name="connsiteX92" fmla="*/ 425332 w 598324"/>
                <a:gd name="connsiteY92" fmla="*/ 123450 h 761503"/>
                <a:gd name="connsiteX93" fmla="*/ 398136 w 598324"/>
                <a:gd name="connsiteY93" fmla="*/ 123450 h 761503"/>
                <a:gd name="connsiteX94" fmla="*/ 379098 w 598324"/>
                <a:gd name="connsiteY94" fmla="*/ 123450 h 761503"/>
                <a:gd name="connsiteX95" fmla="*/ 360060 w 598324"/>
                <a:gd name="connsiteY95" fmla="*/ 118011 h 761503"/>
                <a:gd name="connsiteX96" fmla="*/ 349182 w 598324"/>
                <a:gd name="connsiteY96" fmla="*/ 101693 h 761503"/>
                <a:gd name="connsiteX97" fmla="*/ 351901 w 598324"/>
                <a:gd name="connsiteY97" fmla="*/ 93534 h 761503"/>
                <a:gd name="connsiteX98" fmla="*/ 368219 w 598324"/>
                <a:gd name="connsiteY98" fmla="*/ 85375 h 761503"/>
                <a:gd name="connsiteX99" fmla="*/ 422613 w 598324"/>
                <a:gd name="connsiteY99" fmla="*/ 79935 h 761503"/>
                <a:gd name="connsiteX100" fmla="*/ 444370 w 598324"/>
                <a:gd name="connsiteY100" fmla="*/ 79935 h 761503"/>
                <a:gd name="connsiteX101" fmla="*/ 463407 w 598324"/>
                <a:gd name="connsiteY101" fmla="*/ 71776 h 761503"/>
                <a:gd name="connsiteX102" fmla="*/ 477006 w 598324"/>
                <a:gd name="connsiteY102" fmla="*/ 79935 h 761503"/>
                <a:gd name="connsiteX103" fmla="*/ 515081 w 598324"/>
                <a:gd name="connsiteY103" fmla="*/ 79935 h 761503"/>
                <a:gd name="connsiteX104" fmla="*/ 515081 w 598324"/>
                <a:gd name="connsiteY104" fmla="*/ 79935 h 761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</a:cxnLst>
              <a:rect l="l" t="t" r="r" b="b"/>
              <a:pathLst>
                <a:path w="598324" h="761503">
                  <a:moveTo>
                    <a:pt x="515081" y="79935"/>
                  </a:moveTo>
                  <a:cubicBezTo>
                    <a:pt x="523240" y="79935"/>
                    <a:pt x="542277" y="79935"/>
                    <a:pt x="542277" y="96253"/>
                  </a:cubicBezTo>
                  <a:cubicBezTo>
                    <a:pt x="542277" y="104412"/>
                    <a:pt x="542277" y="107132"/>
                    <a:pt x="536838" y="112571"/>
                  </a:cubicBezTo>
                  <a:cubicBezTo>
                    <a:pt x="534119" y="118011"/>
                    <a:pt x="528679" y="120730"/>
                    <a:pt x="523240" y="120730"/>
                  </a:cubicBezTo>
                  <a:cubicBezTo>
                    <a:pt x="515081" y="123450"/>
                    <a:pt x="512361" y="123450"/>
                    <a:pt x="506922" y="123450"/>
                  </a:cubicBezTo>
                  <a:cubicBezTo>
                    <a:pt x="504202" y="123450"/>
                    <a:pt x="490604" y="123450"/>
                    <a:pt x="477006" y="123450"/>
                  </a:cubicBezTo>
                  <a:cubicBezTo>
                    <a:pt x="477006" y="131609"/>
                    <a:pt x="479725" y="137048"/>
                    <a:pt x="479725" y="145207"/>
                  </a:cubicBezTo>
                  <a:cubicBezTo>
                    <a:pt x="479725" y="156086"/>
                    <a:pt x="477006" y="166964"/>
                    <a:pt x="477006" y="180563"/>
                  </a:cubicBezTo>
                  <a:cubicBezTo>
                    <a:pt x="477006" y="196881"/>
                    <a:pt x="479725" y="215918"/>
                    <a:pt x="482445" y="232236"/>
                  </a:cubicBezTo>
                  <a:cubicBezTo>
                    <a:pt x="485165" y="248554"/>
                    <a:pt x="485165" y="267592"/>
                    <a:pt x="485165" y="283909"/>
                  </a:cubicBezTo>
                  <a:cubicBezTo>
                    <a:pt x="485165" y="297508"/>
                    <a:pt x="485165" y="313826"/>
                    <a:pt x="485165" y="327424"/>
                  </a:cubicBezTo>
                  <a:cubicBezTo>
                    <a:pt x="485165" y="343742"/>
                    <a:pt x="487884" y="357340"/>
                    <a:pt x="487884" y="373658"/>
                  </a:cubicBezTo>
                  <a:cubicBezTo>
                    <a:pt x="487884" y="389976"/>
                    <a:pt x="485165" y="403574"/>
                    <a:pt x="485165" y="419892"/>
                  </a:cubicBezTo>
                  <a:cubicBezTo>
                    <a:pt x="485165" y="436210"/>
                    <a:pt x="485165" y="449808"/>
                    <a:pt x="485165" y="463407"/>
                  </a:cubicBezTo>
                  <a:cubicBezTo>
                    <a:pt x="485165" y="479725"/>
                    <a:pt x="485165" y="498762"/>
                    <a:pt x="482445" y="515080"/>
                  </a:cubicBezTo>
                  <a:cubicBezTo>
                    <a:pt x="482445" y="528678"/>
                    <a:pt x="482445" y="542277"/>
                    <a:pt x="482445" y="558595"/>
                  </a:cubicBezTo>
                  <a:cubicBezTo>
                    <a:pt x="482445" y="572193"/>
                    <a:pt x="479725" y="588511"/>
                    <a:pt x="479725" y="602109"/>
                  </a:cubicBezTo>
                  <a:cubicBezTo>
                    <a:pt x="479725" y="615708"/>
                    <a:pt x="485165" y="632025"/>
                    <a:pt x="485165" y="648343"/>
                  </a:cubicBezTo>
                  <a:cubicBezTo>
                    <a:pt x="485165" y="659222"/>
                    <a:pt x="482445" y="670101"/>
                    <a:pt x="474286" y="675540"/>
                  </a:cubicBezTo>
                  <a:cubicBezTo>
                    <a:pt x="460688" y="686418"/>
                    <a:pt x="444370" y="691858"/>
                    <a:pt x="428052" y="691858"/>
                  </a:cubicBezTo>
                  <a:cubicBezTo>
                    <a:pt x="414453" y="691858"/>
                    <a:pt x="400855" y="689138"/>
                    <a:pt x="387257" y="683699"/>
                  </a:cubicBezTo>
                  <a:cubicBezTo>
                    <a:pt x="373659" y="678259"/>
                    <a:pt x="360060" y="672820"/>
                    <a:pt x="351901" y="664661"/>
                  </a:cubicBezTo>
                  <a:cubicBezTo>
                    <a:pt x="330144" y="645624"/>
                    <a:pt x="316546" y="621147"/>
                    <a:pt x="305667" y="596670"/>
                  </a:cubicBezTo>
                  <a:cubicBezTo>
                    <a:pt x="292069" y="569473"/>
                    <a:pt x="281190" y="539557"/>
                    <a:pt x="270312" y="509641"/>
                  </a:cubicBezTo>
                  <a:cubicBezTo>
                    <a:pt x="264872" y="493323"/>
                    <a:pt x="256713" y="477005"/>
                    <a:pt x="251274" y="460687"/>
                  </a:cubicBezTo>
                  <a:cubicBezTo>
                    <a:pt x="240395" y="433490"/>
                    <a:pt x="232236" y="409014"/>
                    <a:pt x="224077" y="381817"/>
                  </a:cubicBezTo>
                  <a:cubicBezTo>
                    <a:pt x="218638" y="365499"/>
                    <a:pt x="213199" y="346462"/>
                    <a:pt x="207759" y="330144"/>
                  </a:cubicBezTo>
                  <a:cubicBezTo>
                    <a:pt x="202320" y="316545"/>
                    <a:pt x="196881" y="300227"/>
                    <a:pt x="191442" y="286629"/>
                  </a:cubicBezTo>
                  <a:cubicBezTo>
                    <a:pt x="188722" y="281190"/>
                    <a:pt x="186002" y="278470"/>
                    <a:pt x="183283" y="278470"/>
                  </a:cubicBezTo>
                  <a:cubicBezTo>
                    <a:pt x="180563" y="278470"/>
                    <a:pt x="180563" y="286629"/>
                    <a:pt x="180563" y="292068"/>
                  </a:cubicBezTo>
                  <a:cubicBezTo>
                    <a:pt x="180563" y="297508"/>
                    <a:pt x="180563" y="302947"/>
                    <a:pt x="180563" y="305667"/>
                  </a:cubicBezTo>
                  <a:cubicBezTo>
                    <a:pt x="180563" y="321985"/>
                    <a:pt x="183283" y="338303"/>
                    <a:pt x="183283" y="354620"/>
                  </a:cubicBezTo>
                  <a:cubicBezTo>
                    <a:pt x="183283" y="387256"/>
                    <a:pt x="186002" y="417173"/>
                    <a:pt x="188722" y="449808"/>
                  </a:cubicBezTo>
                  <a:cubicBezTo>
                    <a:pt x="188722" y="460687"/>
                    <a:pt x="188722" y="468846"/>
                    <a:pt x="188722" y="479725"/>
                  </a:cubicBezTo>
                  <a:cubicBezTo>
                    <a:pt x="188722" y="501482"/>
                    <a:pt x="188722" y="523239"/>
                    <a:pt x="188722" y="542277"/>
                  </a:cubicBezTo>
                  <a:cubicBezTo>
                    <a:pt x="188722" y="566754"/>
                    <a:pt x="186002" y="591231"/>
                    <a:pt x="186002" y="615708"/>
                  </a:cubicBezTo>
                  <a:cubicBezTo>
                    <a:pt x="186002" y="623866"/>
                    <a:pt x="186002" y="632025"/>
                    <a:pt x="186002" y="637465"/>
                  </a:cubicBezTo>
                  <a:cubicBezTo>
                    <a:pt x="186002" y="645624"/>
                    <a:pt x="183283" y="656502"/>
                    <a:pt x="183283" y="664661"/>
                  </a:cubicBezTo>
                  <a:cubicBezTo>
                    <a:pt x="202320" y="664661"/>
                    <a:pt x="218638" y="664661"/>
                    <a:pt x="226797" y="664661"/>
                  </a:cubicBezTo>
                  <a:cubicBezTo>
                    <a:pt x="234956" y="664661"/>
                    <a:pt x="253994" y="664661"/>
                    <a:pt x="253994" y="680979"/>
                  </a:cubicBezTo>
                  <a:cubicBezTo>
                    <a:pt x="253994" y="689138"/>
                    <a:pt x="253994" y="691858"/>
                    <a:pt x="248554" y="697297"/>
                  </a:cubicBezTo>
                  <a:cubicBezTo>
                    <a:pt x="245835" y="702736"/>
                    <a:pt x="240395" y="705456"/>
                    <a:pt x="234956" y="705456"/>
                  </a:cubicBezTo>
                  <a:cubicBezTo>
                    <a:pt x="226797" y="708176"/>
                    <a:pt x="224077" y="708176"/>
                    <a:pt x="218638" y="708176"/>
                  </a:cubicBezTo>
                  <a:cubicBezTo>
                    <a:pt x="215918" y="708176"/>
                    <a:pt x="199600" y="708176"/>
                    <a:pt x="183283" y="708176"/>
                  </a:cubicBezTo>
                  <a:cubicBezTo>
                    <a:pt x="166965" y="708176"/>
                    <a:pt x="153366" y="708176"/>
                    <a:pt x="150647" y="708176"/>
                  </a:cubicBezTo>
                  <a:cubicBezTo>
                    <a:pt x="139768" y="708176"/>
                    <a:pt x="120730" y="708176"/>
                    <a:pt x="107132" y="708176"/>
                  </a:cubicBezTo>
                  <a:cubicBezTo>
                    <a:pt x="101693" y="708176"/>
                    <a:pt x="96254" y="708176"/>
                    <a:pt x="88094" y="708176"/>
                  </a:cubicBezTo>
                  <a:cubicBezTo>
                    <a:pt x="82655" y="708176"/>
                    <a:pt x="74496" y="708176"/>
                    <a:pt x="69057" y="702736"/>
                  </a:cubicBezTo>
                  <a:cubicBezTo>
                    <a:pt x="63617" y="700017"/>
                    <a:pt x="58178" y="691858"/>
                    <a:pt x="58178" y="686418"/>
                  </a:cubicBezTo>
                  <a:cubicBezTo>
                    <a:pt x="58178" y="683699"/>
                    <a:pt x="58178" y="680979"/>
                    <a:pt x="60898" y="678259"/>
                  </a:cubicBezTo>
                  <a:cubicBezTo>
                    <a:pt x="63617" y="675540"/>
                    <a:pt x="71777" y="672820"/>
                    <a:pt x="77216" y="670101"/>
                  </a:cubicBezTo>
                  <a:cubicBezTo>
                    <a:pt x="90814" y="667381"/>
                    <a:pt x="115291" y="664661"/>
                    <a:pt x="120730" y="664661"/>
                  </a:cubicBezTo>
                  <a:cubicBezTo>
                    <a:pt x="123450" y="664661"/>
                    <a:pt x="126170" y="664661"/>
                    <a:pt x="131609" y="664661"/>
                  </a:cubicBezTo>
                  <a:cubicBezTo>
                    <a:pt x="131609" y="623866"/>
                    <a:pt x="134329" y="583072"/>
                    <a:pt x="134329" y="539557"/>
                  </a:cubicBezTo>
                  <a:cubicBezTo>
                    <a:pt x="134329" y="528678"/>
                    <a:pt x="134329" y="515080"/>
                    <a:pt x="134329" y="504201"/>
                  </a:cubicBezTo>
                  <a:cubicBezTo>
                    <a:pt x="131609" y="460687"/>
                    <a:pt x="131609" y="417173"/>
                    <a:pt x="131609" y="376378"/>
                  </a:cubicBezTo>
                  <a:cubicBezTo>
                    <a:pt x="131609" y="351901"/>
                    <a:pt x="131609" y="327424"/>
                    <a:pt x="131609" y="302947"/>
                  </a:cubicBezTo>
                  <a:cubicBezTo>
                    <a:pt x="131609" y="275751"/>
                    <a:pt x="131609" y="248554"/>
                    <a:pt x="134329" y="221357"/>
                  </a:cubicBezTo>
                  <a:cubicBezTo>
                    <a:pt x="134329" y="188722"/>
                    <a:pt x="137048" y="156086"/>
                    <a:pt x="137048" y="123450"/>
                  </a:cubicBezTo>
                  <a:cubicBezTo>
                    <a:pt x="126170" y="123450"/>
                    <a:pt x="115291" y="123450"/>
                    <a:pt x="107132" y="123450"/>
                  </a:cubicBezTo>
                  <a:cubicBezTo>
                    <a:pt x="101693" y="123450"/>
                    <a:pt x="96254" y="123450"/>
                    <a:pt x="88094" y="123450"/>
                  </a:cubicBezTo>
                  <a:cubicBezTo>
                    <a:pt x="82655" y="123450"/>
                    <a:pt x="74496" y="120730"/>
                    <a:pt x="69057" y="118011"/>
                  </a:cubicBezTo>
                  <a:cubicBezTo>
                    <a:pt x="63617" y="115291"/>
                    <a:pt x="58178" y="107132"/>
                    <a:pt x="58178" y="101693"/>
                  </a:cubicBezTo>
                  <a:cubicBezTo>
                    <a:pt x="58178" y="98973"/>
                    <a:pt x="58178" y="96253"/>
                    <a:pt x="60898" y="93534"/>
                  </a:cubicBezTo>
                  <a:cubicBezTo>
                    <a:pt x="63617" y="90814"/>
                    <a:pt x="71777" y="88094"/>
                    <a:pt x="77216" y="85375"/>
                  </a:cubicBezTo>
                  <a:cubicBezTo>
                    <a:pt x="90814" y="82655"/>
                    <a:pt x="126170" y="79935"/>
                    <a:pt x="131609" y="79935"/>
                  </a:cubicBezTo>
                  <a:cubicBezTo>
                    <a:pt x="137048" y="79935"/>
                    <a:pt x="147927" y="79935"/>
                    <a:pt x="161525" y="79935"/>
                  </a:cubicBezTo>
                  <a:cubicBezTo>
                    <a:pt x="166965" y="74496"/>
                    <a:pt x="172404" y="71776"/>
                    <a:pt x="177843" y="66337"/>
                  </a:cubicBezTo>
                  <a:cubicBezTo>
                    <a:pt x="186002" y="60898"/>
                    <a:pt x="194161" y="58178"/>
                    <a:pt x="202320" y="58178"/>
                  </a:cubicBezTo>
                  <a:cubicBezTo>
                    <a:pt x="215918" y="58178"/>
                    <a:pt x="226797" y="63617"/>
                    <a:pt x="234956" y="77216"/>
                  </a:cubicBezTo>
                  <a:cubicBezTo>
                    <a:pt x="240395" y="88094"/>
                    <a:pt x="248554" y="96253"/>
                    <a:pt x="251274" y="107132"/>
                  </a:cubicBezTo>
                  <a:cubicBezTo>
                    <a:pt x="256713" y="120730"/>
                    <a:pt x="259433" y="134328"/>
                    <a:pt x="267592" y="147927"/>
                  </a:cubicBezTo>
                  <a:cubicBezTo>
                    <a:pt x="273031" y="158805"/>
                    <a:pt x="275751" y="172404"/>
                    <a:pt x="281190" y="183282"/>
                  </a:cubicBezTo>
                  <a:cubicBezTo>
                    <a:pt x="286630" y="196881"/>
                    <a:pt x="292069" y="210479"/>
                    <a:pt x="297508" y="224077"/>
                  </a:cubicBezTo>
                  <a:cubicBezTo>
                    <a:pt x="300228" y="237675"/>
                    <a:pt x="305667" y="251274"/>
                    <a:pt x="308387" y="264872"/>
                  </a:cubicBezTo>
                  <a:cubicBezTo>
                    <a:pt x="311106" y="278470"/>
                    <a:pt x="311106" y="289349"/>
                    <a:pt x="319265" y="300227"/>
                  </a:cubicBezTo>
                  <a:cubicBezTo>
                    <a:pt x="332864" y="324704"/>
                    <a:pt x="346462" y="351901"/>
                    <a:pt x="351901" y="379097"/>
                  </a:cubicBezTo>
                  <a:cubicBezTo>
                    <a:pt x="354621" y="392696"/>
                    <a:pt x="360060" y="403574"/>
                    <a:pt x="365500" y="417173"/>
                  </a:cubicBezTo>
                  <a:cubicBezTo>
                    <a:pt x="373659" y="430771"/>
                    <a:pt x="373659" y="444369"/>
                    <a:pt x="379098" y="457967"/>
                  </a:cubicBezTo>
                  <a:cubicBezTo>
                    <a:pt x="381818" y="471566"/>
                    <a:pt x="387257" y="482444"/>
                    <a:pt x="395416" y="496043"/>
                  </a:cubicBezTo>
                  <a:cubicBezTo>
                    <a:pt x="398136" y="501482"/>
                    <a:pt x="403575" y="506921"/>
                    <a:pt x="406294" y="512361"/>
                  </a:cubicBezTo>
                  <a:cubicBezTo>
                    <a:pt x="409014" y="517800"/>
                    <a:pt x="409014" y="525959"/>
                    <a:pt x="411734" y="531398"/>
                  </a:cubicBezTo>
                  <a:cubicBezTo>
                    <a:pt x="414453" y="539557"/>
                    <a:pt x="417173" y="550436"/>
                    <a:pt x="419893" y="558595"/>
                  </a:cubicBezTo>
                  <a:cubicBezTo>
                    <a:pt x="422613" y="561314"/>
                    <a:pt x="422613" y="564034"/>
                    <a:pt x="425332" y="564034"/>
                  </a:cubicBezTo>
                  <a:cubicBezTo>
                    <a:pt x="428052" y="564034"/>
                    <a:pt x="428052" y="561314"/>
                    <a:pt x="430771" y="558595"/>
                  </a:cubicBezTo>
                  <a:cubicBezTo>
                    <a:pt x="430771" y="555875"/>
                    <a:pt x="430771" y="553155"/>
                    <a:pt x="430771" y="550436"/>
                  </a:cubicBezTo>
                  <a:cubicBezTo>
                    <a:pt x="430771" y="534118"/>
                    <a:pt x="430771" y="517800"/>
                    <a:pt x="430771" y="501482"/>
                  </a:cubicBezTo>
                  <a:cubicBezTo>
                    <a:pt x="430771" y="468846"/>
                    <a:pt x="433491" y="436210"/>
                    <a:pt x="430771" y="403574"/>
                  </a:cubicBezTo>
                  <a:cubicBezTo>
                    <a:pt x="430771" y="373658"/>
                    <a:pt x="425332" y="343742"/>
                    <a:pt x="425332" y="313826"/>
                  </a:cubicBezTo>
                  <a:cubicBezTo>
                    <a:pt x="425332" y="292068"/>
                    <a:pt x="425332" y="270311"/>
                    <a:pt x="425332" y="248554"/>
                  </a:cubicBezTo>
                  <a:cubicBezTo>
                    <a:pt x="425332" y="234956"/>
                    <a:pt x="425332" y="224077"/>
                    <a:pt x="425332" y="210479"/>
                  </a:cubicBezTo>
                  <a:cubicBezTo>
                    <a:pt x="425332" y="191441"/>
                    <a:pt x="422613" y="172404"/>
                    <a:pt x="422613" y="153366"/>
                  </a:cubicBezTo>
                  <a:cubicBezTo>
                    <a:pt x="422613" y="142487"/>
                    <a:pt x="422613" y="134328"/>
                    <a:pt x="425332" y="123450"/>
                  </a:cubicBezTo>
                  <a:cubicBezTo>
                    <a:pt x="417173" y="123450"/>
                    <a:pt x="406294" y="123450"/>
                    <a:pt x="398136" y="123450"/>
                  </a:cubicBezTo>
                  <a:cubicBezTo>
                    <a:pt x="392696" y="123450"/>
                    <a:pt x="387257" y="123450"/>
                    <a:pt x="379098" y="123450"/>
                  </a:cubicBezTo>
                  <a:cubicBezTo>
                    <a:pt x="373659" y="123450"/>
                    <a:pt x="365500" y="120730"/>
                    <a:pt x="360060" y="118011"/>
                  </a:cubicBezTo>
                  <a:cubicBezTo>
                    <a:pt x="354621" y="115291"/>
                    <a:pt x="349182" y="107132"/>
                    <a:pt x="349182" y="101693"/>
                  </a:cubicBezTo>
                  <a:cubicBezTo>
                    <a:pt x="349182" y="98973"/>
                    <a:pt x="349182" y="96253"/>
                    <a:pt x="351901" y="93534"/>
                  </a:cubicBezTo>
                  <a:cubicBezTo>
                    <a:pt x="354621" y="90814"/>
                    <a:pt x="362780" y="88094"/>
                    <a:pt x="368219" y="85375"/>
                  </a:cubicBezTo>
                  <a:cubicBezTo>
                    <a:pt x="381818" y="82655"/>
                    <a:pt x="417173" y="79935"/>
                    <a:pt x="422613" y="79935"/>
                  </a:cubicBezTo>
                  <a:cubicBezTo>
                    <a:pt x="428052" y="79935"/>
                    <a:pt x="433491" y="79935"/>
                    <a:pt x="444370" y="79935"/>
                  </a:cubicBezTo>
                  <a:cubicBezTo>
                    <a:pt x="449809" y="74496"/>
                    <a:pt x="455248" y="71776"/>
                    <a:pt x="463407" y="71776"/>
                  </a:cubicBezTo>
                  <a:cubicBezTo>
                    <a:pt x="471566" y="71776"/>
                    <a:pt x="477006" y="74496"/>
                    <a:pt x="477006" y="79935"/>
                  </a:cubicBezTo>
                  <a:cubicBezTo>
                    <a:pt x="493324" y="79935"/>
                    <a:pt x="506922" y="79935"/>
                    <a:pt x="515081" y="79935"/>
                  </a:cubicBezTo>
                  <a:lnTo>
                    <a:pt x="515081" y="79935"/>
                  </a:ln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1" name="Freeform: Shape 40">
              <a:extLst>
                <a:ext uri="{FF2B5EF4-FFF2-40B4-BE49-F238E27FC236}">
                  <a16:creationId xmlns:a16="http://schemas.microsoft.com/office/drawing/2014/main" id="{0F39874A-9569-4901-8D42-9F6951FAB3F9}"/>
                </a:ext>
              </a:extLst>
            </p:cNvPr>
            <p:cNvSpPr/>
            <p:nvPr/>
          </p:nvSpPr>
          <p:spPr>
            <a:xfrm>
              <a:off x="5139126" y="4192158"/>
              <a:ext cx="516735" cy="788700"/>
            </a:xfrm>
            <a:custGeom>
              <a:avLst/>
              <a:gdLst>
                <a:gd name="connsiteX0" fmla="*/ 464616 w 516735"/>
                <a:gd name="connsiteY0" fmla="*/ 436210 h 788699"/>
                <a:gd name="connsiteX1" fmla="*/ 445578 w 516735"/>
                <a:gd name="connsiteY1" fmla="*/ 455248 h 788699"/>
                <a:gd name="connsiteX2" fmla="*/ 404784 w 516735"/>
                <a:gd name="connsiteY2" fmla="*/ 466126 h 788699"/>
                <a:gd name="connsiteX3" fmla="*/ 385746 w 516735"/>
                <a:gd name="connsiteY3" fmla="*/ 479725 h 788699"/>
                <a:gd name="connsiteX4" fmla="*/ 388466 w 516735"/>
                <a:gd name="connsiteY4" fmla="*/ 512361 h 788699"/>
                <a:gd name="connsiteX5" fmla="*/ 388466 w 516735"/>
                <a:gd name="connsiteY5" fmla="*/ 544997 h 788699"/>
                <a:gd name="connsiteX6" fmla="*/ 388466 w 516735"/>
                <a:gd name="connsiteY6" fmla="*/ 566754 h 788699"/>
                <a:gd name="connsiteX7" fmla="*/ 391185 w 516735"/>
                <a:gd name="connsiteY7" fmla="*/ 632026 h 788699"/>
                <a:gd name="connsiteX8" fmla="*/ 393905 w 516735"/>
                <a:gd name="connsiteY8" fmla="*/ 683699 h 788699"/>
                <a:gd name="connsiteX9" fmla="*/ 377587 w 516735"/>
                <a:gd name="connsiteY9" fmla="*/ 724494 h 788699"/>
                <a:gd name="connsiteX10" fmla="*/ 361269 w 516735"/>
                <a:gd name="connsiteY10" fmla="*/ 719054 h 788699"/>
                <a:gd name="connsiteX11" fmla="*/ 353110 w 516735"/>
                <a:gd name="connsiteY11" fmla="*/ 702737 h 788699"/>
                <a:gd name="connsiteX12" fmla="*/ 350390 w 516735"/>
                <a:gd name="connsiteY12" fmla="*/ 686419 h 788699"/>
                <a:gd name="connsiteX13" fmla="*/ 353110 w 516735"/>
                <a:gd name="connsiteY13" fmla="*/ 659222 h 788699"/>
                <a:gd name="connsiteX14" fmla="*/ 353110 w 516735"/>
                <a:gd name="connsiteY14" fmla="*/ 656502 h 788699"/>
                <a:gd name="connsiteX15" fmla="*/ 317755 w 516735"/>
                <a:gd name="connsiteY15" fmla="*/ 708176 h 788699"/>
                <a:gd name="connsiteX16" fmla="*/ 241604 w 516735"/>
                <a:gd name="connsiteY16" fmla="*/ 735372 h 788699"/>
                <a:gd name="connsiteX17" fmla="*/ 187211 w 516735"/>
                <a:gd name="connsiteY17" fmla="*/ 727214 h 788699"/>
                <a:gd name="connsiteX18" fmla="*/ 135538 w 516735"/>
                <a:gd name="connsiteY18" fmla="*/ 694578 h 788699"/>
                <a:gd name="connsiteX19" fmla="*/ 86584 w 516735"/>
                <a:gd name="connsiteY19" fmla="*/ 621147 h 788699"/>
                <a:gd name="connsiteX20" fmla="*/ 67546 w 516735"/>
                <a:gd name="connsiteY20" fmla="*/ 555875 h 788699"/>
                <a:gd name="connsiteX21" fmla="*/ 59387 w 516735"/>
                <a:gd name="connsiteY21" fmla="*/ 509641 h 788699"/>
                <a:gd name="connsiteX22" fmla="*/ 59387 w 516735"/>
                <a:gd name="connsiteY22" fmla="*/ 468846 h 788699"/>
                <a:gd name="connsiteX23" fmla="*/ 86584 w 516735"/>
                <a:gd name="connsiteY23" fmla="*/ 302947 h 788699"/>
                <a:gd name="connsiteX24" fmla="*/ 108341 w 516735"/>
                <a:gd name="connsiteY24" fmla="*/ 224077 h 788699"/>
                <a:gd name="connsiteX25" fmla="*/ 146416 w 516735"/>
                <a:gd name="connsiteY25" fmla="*/ 145207 h 788699"/>
                <a:gd name="connsiteX26" fmla="*/ 198090 w 516735"/>
                <a:gd name="connsiteY26" fmla="*/ 85375 h 788699"/>
                <a:gd name="connsiteX27" fmla="*/ 228006 w 516735"/>
                <a:gd name="connsiteY27" fmla="*/ 69057 h 788699"/>
                <a:gd name="connsiteX28" fmla="*/ 268801 w 516735"/>
                <a:gd name="connsiteY28" fmla="*/ 58178 h 788699"/>
                <a:gd name="connsiteX29" fmla="*/ 274240 w 516735"/>
                <a:gd name="connsiteY29" fmla="*/ 58178 h 788699"/>
                <a:gd name="connsiteX30" fmla="*/ 295997 w 516735"/>
                <a:gd name="connsiteY30" fmla="*/ 60898 h 788699"/>
                <a:gd name="connsiteX31" fmla="*/ 331353 w 516735"/>
                <a:gd name="connsiteY31" fmla="*/ 71776 h 788699"/>
                <a:gd name="connsiteX32" fmla="*/ 350390 w 516735"/>
                <a:gd name="connsiteY32" fmla="*/ 93534 h 788699"/>
                <a:gd name="connsiteX33" fmla="*/ 353110 w 516735"/>
                <a:gd name="connsiteY33" fmla="*/ 74496 h 788699"/>
                <a:gd name="connsiteX34" fmla="*/ 358549 w 516735"/>
                <a:gd name="connsiteY34" fmla="*/ 63618 h 788699"/>
                <a:gd name="connsiteX35" fmla="*/ 366708 w 516735"/>
                <a:gd name="connsiteY35" fmla="*/ 58178 h 788699"/>
                <a:gd name="connsiteX36" fmla="*/ 374867 w 516735"/>
                <a:gd name="connsiteY36" fmla="*/ 63618 h 788699"/>
                <a:gd name="connsiteX37" fmla="*/ 383026 w 516735"/>
                <a:gd name="connsiteY37" fmla="*/ 82655 h 788699"/>
                <a:gd name="connsiteX38" fmla="*/ 385746 w 516735"/>
                <a:gd name="connsiteY38" fmla="*/ 126170 h 788699"/>
                <a:gd name="connsiteX39" fmla="*/ 388466 w 516735"/>
                <a:gd name="connsiteY39" fmla="*/ 186002 h 788699"/>
                <a:gd name="connsiteX40" fmla="*/ 391185 w 516735"/>
                <a:gd name="connsiteY40" fmla="*/ 237676 h 788699"/>
                <a:gd name="connsiteX41" fmla="*/ 374867 w 516735"/>
                <a:gd name="connsiteY41" fmla="*/ 278470 h 788699"/>
                <a:gd name="connsiteX42" fmla="*/ 358549 w 516735"/>
                <a:gd name="connsiteY42" fmla="*/ 273031 h 788699"/>
                <a:gd name="connsiteX43" fmla="*/ 350390 w 516735"/>
                <a:gd name="connsiteY43" fmla="*/ 256713 h 788699"/>
                <a:gd name="connsiteX44" fmla="*/ 347671 w 516735"/>
                <a:gd name="connsiteY44" fmla="*/ 240395 h 788699"/>
                <a:gd name="connsiteX45" fmla="*/ 347671 w 516735"/>
                <a:gd name="connsiteY45" fmla="*/ 213199 h 788699"/>
                <a:gd name="connsiteX46" fmla="*/ 344951 w 516735"/>
                <a:gd name="connsiteY46" fmla="*/ 194161 h 788699"/>
                <a:gd name="connsiteX47" fmla="*/ 339512 w 516735"/>
                <a:gd name="connsiteY47" fmla="*/ 150647 h 788699"/>
                <a:gd name="connsiteX48" fmla="*/ 323194 w 516735"/>
                <a:gd name="connsiteY48" fmla="*/ 112571 h 788699"/>
                <a:gd name="connsiteX49" fmla="*/ 293278 w 516735"/>
                <a:gd name="connsiteY49" fmla="*/ 101693 h 788699"/>
                <a:gd name="connsiteX50" fmla="*/ 263361 w 516735"/>
                <a:gd name="connsiteY50" fmla="*/ 120730 h 788699"/>
                <a:gd name="connsiteX51" fmla="*/ 241604 w 516735"/>
                <a:gd name="connsiteY51" fmla="*/ 153366 h 788699"/>
                <a:gd name="connsiteX52" fmla="*/ 233445 w 516735"/>
                <a:gd name="connsiteY52" fmla="*/ 194161 h 788699"/>
                <a:gd name="connsiteX53" fmla="*/ 225286 w 516735"/>
                <a:gd name="connsiteY53" fmla="*/ 232236 h 788699"/>
                <a:gd name="connsiteX54" fmla="*/ 217127 w 516735"/>
                <a:gd name="connsiteY54" fmla="*/ 275751 h 788699"/>
                <a:gd name="connsiteX55" fmla="*/ 211688 w 516735"/>
                <a:gd name="connsiteY55" fmla="*/ 316545 h 788699"/>
                <a:gd name="connsiteX56" fmla="*/ 206249 w 516735"/>
                <a:gd name="connsiteY56" fmla="*/ 354621 h 788699"/>
                <a:gd name="connsiteX57" fmla="*/ 200809 w 516735"/>
                <a:gd name="connsiteY57" fmla="*/ 398135 h 788699"/>
                <a:gd name="connsiteX58" fmla="*/ 195370 w 516735"/>
                <a:gd name="connsiteY58" fmla="*/ 438930 h 788699"/>
                <a:gd name="connsiteX59" fmla="*/ 192650 w 516735"/>
                <a:gd name="connsiteY59" fmla="*/ 474286 h 788699"/>
                <a:gd name="connsiteX60" fmla="*/ 195370 w 516735"/>
                <a:gd name="connsiteY60" fmla="*/ 525959 h 788699"/>
                <a:gd name="connsiteX61" fmla="*/ 208968 w 516735"/>
                <a:gd name="connsiteY61" fmla="*/ 596670 h 788699"/>
                <a:gd name="connsiteX62" fmla="*/ 214407 w 516735"/>
                <a:gd name="connsiteY62" fmla="*/ 623867 h 788699"/>
                <a:gd name="connsiteX63" fmla="*/ 228006 w 516735"/>
                <a:gd name="connsiteY63" fmla="*/ 656502 h 788699"/>
                <a:gd name="connsiteX64" fmla="*/ 271520 w 516735"/>
                <a:gd name="connsiteY64" fmla="*/ 689138 h 788699"/>
                <a:gd name="connsiteX65" fmla="*/ 306876 w 516735"/>
                <a:gd name="connsiteY65" fmla="*/ 664661 h 788699"/>
                <a:gd name="connsiteX66" fmla="*/ 331353 w 516735"/>
                <a:gd name="connsiteY66" fmla="*/ 602109 h 788699"/>
                <a:gd name="connsiteX67" fmla="*/ 336792 w 516735"/>
                <a:gd name="connsiteY67" fmla="*/ 544997 h 788699"/>
                <a:gd name="connsiteX68" fmla="*/ 336792 w 516735"/>
                <a:gd name="connsiteY68" fmla="*/ 498762 h 788699"/>
                <a:gd name="connsiteX69" fmla="*/ 336792 w 516735"/>
                <a:gd name="connsiteY69" fmla="*/ 490603 h 788699"/>
                <a:gd name="connsiteX70" fmla="*/ 320474 w 516735"/>
                <a:gd name="connsiteY70" fmla="*/ 477005 h 788699"/>
                <a:gd name="connsiteX71" fmla="*/ 282399 w 516735"/>
                <a:gd name="connsiteY71" fmla="*/ 479725 h 788699"/>
                <a:gd name="connsiteX72" fmla="*/ 252483 w 516735"/>
                <a:gd name="connsiteY72" fmla="*/ 474286 h 788699"/>
                <a:gd name="connsiteX73" fmla="*/ 247043 w 516735"/>
                <a:gd name="connsiteY73" fmla="*/ 466126 h 788699"/>
                <a:gd name="connsiteX74" fmla="*/ 249763 w 516735"/>
                <a:gd name="connsiteY74" fmla="*/ 457968 h 788699"/>
                <a:gd name="connsiteX75" fmla="*/ 268801 w 516735"/>
                <a:gd name="connsiteY75" fmla="*/ 447089 h 788699"/>
                <a:gd name="connsiteX76" fmla="*/ 312315 w 516735"/>
                <a:gd name="connsiteY76" fmla="*/ 436210 h 788699"/>
                <a:gd name="connsiteX77" fmla="*/ 353110 w 516735"/>
                <a:gd name="connsiteY77" fmla="*/ 430771 h 788699"/>
                <a:gd name="connsiteX78" fmla="*/ 385746 w 516735"/>
                <a:gd name="connsiteY78" fmla="*/ 430771 h 788699"/>
                <a:gd name="connsiteX79" fmla="*/ 437420 w 516735"/>
                <a:gd name="connsiteY79" fmla="*/ 428051 h 788699"/>
                <a:gd name="connsiteX80" fmla="*/ 464616 w 516735"/>
                <a:gd name="connsiteY80" fmla="*/ 436210 h 7886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</a:cxnLst>
              <a:rect l="l" t="t" r="r" b="b"/>
              <a:pathLst>
                <a:path w="516735" h="788699">
                  <a:moveTo>
                    <a:pt x="464616" y="436210"/>
                  </a:moveTo>
                  <a:cubicBezTo>
                    <a:pt x="464616" y="447089"/>
                    <a:pt x="453737" y="452528"/>
                    <a:pt x="445578" y="455248"/>
                  </a:cubicBezTo>
                  <a:cubicBezTo>
                    <a:pt x="434700" y="460687"/>
                    <a:pt x="415662" y="463407"/>
                    <a:pt x="404784" y="466126"/>
                  </a:cubicBezTo>
                  <a:cubicBezTo>
                    <a:pt x="393905" y="466126"/>
                    <a:pt x="385746" y="468846"/>
                    <a:pt x="385746" y="479725"/>
                  </a:cubicBezTo>
                  <a:cubicBezTo>
                    <a:pt x="385746" y="487884"/>
                    <a:pt x="388466" y="506921"/>
                    <a:pt x="388466" y="512361"/>
                  </a:cubicBezTo>
                  <a:cubicBezTo>
                    <a:pt x="388466" y="515080"/>
                    <a:pt x="388466" y="539557"/>
                    <a:pt x="388466" y="544997"/>
                  </a:cubicBezTo>
                  <a:cubicBezTo>
                    <a:pt x="388466" y="550436"/>
                    <a:pt x="388466" y="558595"/>
                    <a:pt x="388466" y="566754"/>
                  </a:cubicBezTo>
                  <a:cubicBezTo>
                    <a:pt x="388466" y="591231"/>
                    <a:pt x="388466" y="621147"/>
                    <a:pt x="391185" y="632026"/>
                  </a:cubicBezTo>
                  <a:cubicBezTo>
                    <a:pt x="393905" y="653783"/>
                    <a:pt x="393905" y="661942"/>
                    <a:pt x="393905" y="683699"/>
                  </a:cubicBezTo>
                  <a:cubicBezTo>
                    <a:pt x="393905" y="694578"/>
                    <a:pt x="393905" y="724494"/>
                    <a:pt x="377587" y="724494"/>
                  </a:cubicBezTo>
                  <a:cubicBezTo>
                    <a:pt x="369428" y="724494"/>
                    <a:pt x="366708" y="721774"/>
                    <a:pt x="361269" y="719054"/>
                  </a:cubicBezTo>
                  <a:cubicBezTo>
                    <a:pt x="355830" y="716335"/>
                    <a:pt x="353110" y="708176"/>
                    <a:pt x="353110" y="702737"/>
                  </a:cubicBezTo>
                  <a:cubicBezTo>
                    <a:pt x="350390" y="694578"/>
                    <a:pt x="350390" y="689138"/>
                    <a:pt x="350390" y="686419"/>
                  </a:cubicBezTo>
                  <a:cubicBezTo>
                    <a:pt x="350390" y="678260"/>
                    <a:pt x="353110" y="672820"/>
                    <a:pt x="353110" y="659222"/>
                  </a:cubicBezTo>
                  <a:lnTo>
                    <a:pt x="353110" y="656502"/>
                  </a:lnTo>
                  <a:cubicBezTo>
                    <a:pt x="347671" y="675540"/>
                    <a:pt x="334072" y="694578"/>
                    <a:pt x="317755" y="708176"/>
                  </a:cubicBezTo>
                  <a:cubicBezTo>
                    <a:pt x="293278" y="727214"/>
                    <a:pt x="274240" y="735372"/>
                    <a:pt x="241604" y="735372"/>
                  </a:cubicBezTo>
                  <a:cubicBezTo>
                    <a:pt x="222566" y="735372"/>
                    <a:pt x="203529" y="732653"/>
                    <a:pt x="187211" y="727214"/>
                  </a:cubicBezTo>
                  <a:cubicBezTo>
                    <a:pt x="165454" y="719054"/>
                    <a:pt x="149136" y="708176"/>
                    <a:pt x="135538" y="694578"/>
                  </a:cubicBezTo>
                  <a:cubicBezTo>
                    <a:pt x="113780" y="672820"/>
                    <a:pt x="100182" y="648343"/>
                    <a:pt x="86584" y="621147"/>
                  </a:cubicBezTo>
                  <a:cubicBezTo>
                    <a:pt x="75705" y="599390"/>
                    <a:pt x="70266" y="580352"/>
                    <a:pt x="67546" y="555875"/>
                  </a:cubicBezTo>
                  <a:cubicBezTo>
                    <a:pt x="64826" y="539557"/>
                    <a:pt x="62107" y="525959"/>
                    <a:pt x="59387" y="509641"/>
                  </a:cubicBezTo>
                  <a:cubicBezTo>
                    <a:pt x="56667" y="493323"/>
                    <a:pt x="59387" y="485164"/>
                    <a:pt x="59387" y="468846"/>
                  </a:cubicBezTo>
                  <a:cubicBezTo>
                    <a:pt x="59387" y="414453"/>
                    <a:pt x="72985" y="362780"/>
                    <a:pt x="86584" y="302947"/>
                  </a:cubicBezTo>
                  <a:cubicBezTo>
                    <a:pt x="92023" y="275751"/>
                    <a:pt x="100182" y="248554"/>
                    <a:pt x="108341" y="224077"/>
                  </a:cubicBezTo>
                  <a:cubicBezTo>
                    <a:pt x="116500" y="196881"/>
                    <a:pt x="130098" y="169684"/>
                    <a:pt x="146416" y="145207"/>
                  </a:cubicBezTo>
                  <a:cubicBezTo>
                    <a:pt x="160014" y="123450"/>
                    <a:pt x="176332" y="101693"/>
                    <a:pt x="198090" y="85375"/>
                  </a:cubicBezTo>
                  <a:cubicBezTo>
                    <a:pt x="206249" y="77216"/>
                    <a:pt x="217127" y="71776"/>
                    <a:pt x="228006" y="69057"/>
                  </a:cubicBezTo>
                  <a:cubicBezTo>
                    <a:pt x="241604" y="63618"/>
                    <a:pt x="255202" y="58178"/>
                    <a:pt x="268801" y="58178"/>
                  </a:cubicBezTo>
                  <a:cubicBezTo>
                    <a:pt x="271520" y="58178"/>
                    <a:pt x="274240" y="58178"/>
                    <a:pt x="274240" y="58178"/>
                  </a:cubicBezTo>
                  <a:cubicBezTo>
                    <a:pt x="279679" y="58178"/>
                    <a:pt x="285119" y="58178"/>
                    <a:pt x="295997" y="60898"/>
                  </a:cubicBezTo>
                  <a:cubicBezTo>
                    <a:pt x="309595" y="63618"/>
                    <a:pt x="320474" y="66337"/>
                    <a:pt x="331353" y="71776"/>
                  </a:cubicBezTo>
                  <a:cubicBezTo>
                    <a:pt x="339512" y="77216"/>
                    <a:pt x="347671" y="85375"/>
                    <a:pt x="350390" y="93534"/>
                  </a:cubicBezTo>
                  <a:cubicBezTo>
                    <a:pt x="350390" y="88095"/>
                    <a:pt x="353110" y="79936"/>
                    <a:pt x="353110" y="74496"/>
                  </a:cubicBezTo>
                  <a:cubicBezTo>
                    <a:pt x="355830" y="71776"/>
                    <a:pt x="355830" y="69057"/>
                    <a:pt x="358549" y="63618"/>
                  </a:cubicBezTo>
                  <a:cubicBezTo>
                    <a:pt x="361269" y="60898"/>
                    <a:pt x="363989" y="58178"/>
                    <a:pt x="366708" y="58178"/>
                  </a:cubicBezTo>
                  <a:cubicBezTo>
                    <a:pt x="369428" y="58178"/>
                    <a:pt x="372148" y="60898"/>
                    <a:pt x="374867" y="63618"/>
                  </a:cubicBezTo>
                  <a:cubicBezTo>
                    <a:pt x="377587" y="69057"/>
                    <a:pt x="380307" y="77216"/>
                    <a:pt x="383026" y="82655"/>
                  </a:cubicBezTo>
                  <a:cubicBezTo>
                    <a:pt x="383026" y="90814"/>
                    <a:pt x="385746" y="107132"/>
                    <a:pt x="385746" y="126170"/>
                  </a:cubicBezTo>
                  <a:cubicBezTo>
                    <a:pt x="385746" y="150647"/>
                    <a:pt x="385746" y="177843"/>
                    <a:pt x="388466" y="186002"/>
                  </a:cubicBezTo>
                  <a:cubicBezTo>
                    <a:pt x="391185" y="207759"/>
                    <a:pt x="391185" y="215918"/>
                    <a:pt x="391185" y="237676"/>
                  </a:cubicBezTo>
                  <a:cubicBezTo>
                    <a:pt x="391185" y="248554"/>
                    <a:pt x="391185" y="278470"/>
                    <a:pt x="374867" y="278470"/>
                  </a:cubicBezTo>
                  <a:cubicBezTo>
                    <a:pt x="366708" y="278470"/>
                    <a:pt x="363989" y="275751"/>
                    <a:pt x="358549" y="273031"/>
                  </a:cubicBezTo>
                  <a:cubicBezTo>
                    <a:pt x="353110" y="270311"/>
                    <a:pt x="350390" y="262152"/>
                    <a:pt x="350390" y="256713"/>
                  </a:cubicBezTo>
                  <a:cubicBezTo>
                    <a:pt x="350390" y="251274"/>
                    <a:pt x="347671" y="245834"/>
                    <a:pt x="347671" y="240395"/>
                  </a:cubicBezTo>
                  <a:cubicBezTo>
                    <a:pt x="347671" y="232236"/>
                    <a:pt x="347671" y="224077"/>
                    <a:pt x="347671" y="213199"/>
                  </a:cubicBezTo>
                  <a:cubicBezTo>
                    <a:pt x="347671" y="207759"/>
                    <a:pt x="347671" y="199600"/>
                    <a:pt x="344951" y="194161"/>
                  </a:cubicBezTo>
                  <a:cubicBezTo>
                    <a:pt x="342232" y="180563"/>
                    <a:pt x="342232" y="164245"/>
                    <a:pt x="339512" y="150647"/>
                  </a:cubicBezTo>
                  <a:cubicBezTo>
                    <a:pt x="336792" y="137048"/>
                    <a:pt x="331353" y="123450"/>
                    <a:pt x="323194" y="112571"/>
                  </a:cubicBezTo>
                  <a:cubicBezTo>
                    <a:pt x="317755" y="104412"/>
                    <a:pt x="304156" y="101693"/>
                    <a:pt x="293278" y="101693"/>
                  </a:cubicBezTo>
                  <a:cubicBezTo>
                    <a:pt x="279679" y="101693"/>
                    <a:pt x="271520" y="109852"/>
                    <a:pt x="263361" y="120730"/>
                  </a:cubicBezTo>
                  <a:cubicBezTo>
                    <a:pt x="257922" y="131609"/>
                    <a:pt x="247043" y="139768"/>
                    <a:pt x="241604" y="153366"/>
                  </a:cubicBezTo>
                  <a:cubicBezTo>
                    <a:pt x="236165" y="166964"/>
                    <a:pt x="233445" y="180563"/>
                    <a:pt x="233445" y="194161"/>
                  </a:cubicBezTo>
                  <a:cubicBezTo>
                    <a:pt x="233445" y="207759"/>
                    <a:pt x="230726" y="218638"/>
                    <a:pt x="225286" y="232236"/>
                  </a:cubicBezTo>
                  <a:cubicBezTo>
                    <a:pt x="219847" y="245834"/>
                    <a:pt x="219847" y="262152"/>
                    <a:pt x="217127" y="275751"/>
                  </a:cubicBezTo>
                  <a:cubicBezTo>
                    <a:pt x="214407" y="289349"/>
                    <a:pt x="214407" y="302947"/>
                    <a:pt x="211688" y="316545"/>
                  </a:cubicBezTo>
                  <a:cubicBezTo>
                    <a:pt x="211688" y="330144"/>
                    <a:pt x="206249" y="341022"/>
                    <a:pt x="206249" y="354621"/>
                  </a:cubicBezTo>
                  <a:cubicBezTo>
                    <a:pt x="203529" y="368219"/>
                    <a:pt x="203529" y="381817"/>
                    <a:pt x="200809" y="398135"/>
                  </a:cubicBezTo>
                  <a:cubicBezTo>
                    <a:pt x="198090" y="411733"/>
                    <a:pt x="198090" y="425332"/>
                    <a:pt x="195370" y="438930"/>
                  </a:cubicBezTo>
                  <a:cubicBezTo>
                    <a:pt x="195370" y="449809"/>
                    <a:pt x="192650" y="463407"/>
                    <a:pt x="192650" y="474286"/>
                  </a:cubicBezTo>
                  <a:cubicBezTo>
                    <a:pt x="192650" y="490603"/>
                    <a:pt x="195370" y="509641"/>
                    <a:pt x="195370" y="525959"/>
                  </a:cubicBezTo>
                  <a:cubicBezTo>
                    <a:pt x="195370" y="550436"/>
                    <a:pt x="203529" y="572193"/>
                    <a:pt x="208968" y="596670"/>
                  </a:cubicBezTo>
                  <a:cubicBezTo>
                    <a:pt x="211688" y="604829"/>
                    <a:pt x="211688" y="615708"/>
                    <a:pt x="214407" y="623867"/>
                  </a:cubicBezTo>
                  <a:cubicBezTo>
                    <a:pt x="217127" y="634745"/>
                    <a:pt x="222566" y="645624"/>
                    <a:pt x="228006" y="656502"/>
                  </a:cubicBezTo>
                  <a:cubicBezTo>
                    <a:pt x="236165" y="670101"/>
                    <a:pt x="252483" y="689138"/>
                    <a:pt x="271520" y="689138"/>
                  </a:cubicBezTo>
                  <a:cubicBezTo>
                    <a:pt x="287838" y="689138"/>
                    <a:pt x="298717" y="675540"/>
                    <a:pt x="306876" y="664661"/>
                  </a:cubicBezTo>
                  <a:cubicBezTo>
                    <a:pt x="320474" y="645624"/>
                    <a:pt x="325914" y="623867"/>
                    <a:pt x="331353" y="602109"/>
                  </a:cubicBezTo>
                  <a:cubicBezTo>
                    <a:pt x="334072" y="583072"/>
                    <a:pt x="336792" y="564034"/>
                    <a:pt x="336792" y="544997"/>
                  </a:cubicBezTo>
                  <a:cubicBezTo>
                    <a:pt x="336792" y="531398"/>
                    <a:pt x="336792" y="512361"/>
                    <a:pt x="336792" y="498762"/>
                  </a:cubicBezTo>
                  <a:cubicBezTo>
                    <a:pt x="336792" y="496043"/>
                    <a:pt x="336792" y="493323"/>
                    <a:pt x="336792" y="490603"/>
                  </a:cubicBezTo>
                  <a:cubicBezTo>
                    <a:pt x="336792" y="479725"/>
                    <a:pt x="336792" y="477005"/>
                    <a:pt x="320474" y="477005"/>
                  </a:cubicBezTo>
                  <a:cubicBezTo>
                    <a:pt x="309595" y="477005"/>
                    <a:pt x="295997" y="479725"/>
                    <a:pt x="282399" y="479725"/>
                  </a:cubicBezTo>
                  <a:cubicBezTo>
                    <a:pt x="271520" y="479725"/>
                    <a:pt x="260642" y="479725"/>
                    <a:pt x="252483" y="474286"/>
                  </a:cubicBezTo>
                  <a:cubicBezTo>
                    <a:pt x="249763" y="471566"/>
                    <a:pt x="247043" y="468846"/>
                    <a:pt x="247043" y="466126"/>
                  </a:cubicBezTo>
                  <a:cubicBezTo>
                    <a:pt x="247043" y="463407"/>
                    <a:pt x="247043" y="460687"/>
                    <a:pt x="249763" y="457968"/>
                  </a:cubicBezTo>
                  <a:cubicBezTo>
                    <a:pt x="255202" y="452528"/>
                    <a:pt x="260642" y="449809"/>
                    <a:pt x="268801" y="447089"/>
                  </a:cubicBezTo>
                  <a:cubicBezTo>
                    <a:pt x="282399" y="441650"/>
                    <a:pt x="295997" y="438930"/>
                    <a:pt x="312315" y="436210"/>
                  </a:cubicBezTo>
                  <a:cubicBezTo>
                    <a:pt x="325914" y="433491"/>
                    <a:pt x="339512" y="433491"/>
                    <a:pt x="353110" y="430771"/>
                  </a:cubicBezTo>
                  <a:cubicBezTo>
                    <a:pt x="363989" y="430771"/>
                    <a:pt x="374867" y="430771"/>
                    <a:pt x="385746" y="430771"/>
                  </a:cubicBezTo>
                  <a:cubicBezTo>
                    <a:pt x="402064" y="430771"/>
                    <a:pt x="426541" y="428051"/>
                    <a:pt x="437420" y="428051"/>
                  </a:cubicBezTo>
                  <a:cubicBezTo>
                    <a:pt x="451018" y="419892"/>
                    <a:pt x="464616" y="425332"/>
                    <a:pt x="464616" y="436210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2" name="Freeform: Shape 41">
              <a:extLst>
                <a:ext uri="{FF2B5EF4-FFF2-40B4-BE49-F238E27FC236}">
                  <a16:creationId xmlns:a16="http://schemas.microsoft.com/office/drawing/2014/main" id="{B56393A6-A398-46C6-84A8-A69133016DD7}"/>
                </a:ext>
              </a:extLst>
            </p:cNvPr>
            <p:cNvSpPr/>
            <p:nvPr/>
          </p:nvSpPr>
          <p:spPr>
            <a:xfrm>
              <a:off x="5651630" y="4181279"/>
              <a:ext cx="734308" cy="788700"/>
            </a:xfrm>
            <a:custGeom>
              <a:avLst/>
              <a:gdLst>
                <a:gd name="connsiteX0" fmla="*/ 653783 w 734307"/>
                <a:gd name="connsiteY0" fmla="*/ 678259 h 788699"/>
                <a:gd name="connsiteX1" fmla="*/ 691859 w 734307"/>
                <a:gd name="connsiteY1" fmla="*/ 694577 h 788699"/>
                <a:gd name="connsiteX2" fmla="*/ 686419 w 734307"/>
                <a:gd name="connsiteY2" fmla="*/ 710895 h 788699"/>
                <a:gd name="connsiteX3" fmla="*/ 670101 w 734307"/>
                <a:gd name="connsiteY3" fmla="*/ 719054 h 788699"/>
                <a:gd name="connsiteX4" fmla="*/ 648344 w 734307"/>
                <a:gd name="connsiteY4" fmla="*/ 721774 h 788699"/>
                <a:gd name="connsiteX5" fmla="*/ 618428 w 734307"/>
                <a:gd name="connsiteY5" fmla="*/ 721774 h 788699"/>
                <a:gd name="connsiteX6" fmla="*/ 572194 w 734307"/>
                <a:gd name="connsiteY6" fmla="*/ 735372 h 788699"/>
                <a:gd name="connsiteX7" fmla="*/ 544997 w 734307"/>
                <a:gd name="connsiteY7" fmla="*/ 729933 h 788699"/>
                <a:gd name="connsiteX8" fmla="*/ 534119 w 734307"/>
                <a:gd name="connsiteY8" fmla="*/ 721774 h 788699"/>
                <a:gd name="connsiteX9" fmla="*/ 496043 w 734307"/>
                <a:gd name="connsiteY9" fmla="*/ 721774 h 788699"/>
                <a:gd name="connsiteX10" fmla="*/ 471566 w 734307"/>
                <a:gd name="connsiteY10" fmla="*/ 721774 h 788699"/>
                <a:gd name="connsiteX11" fmla="*/ 444370 w 734307"/>
                <a:gd name="connsiteY11" fmla="*/ 716335 h 788699"/>
                <a:gd name="connsiteX12" fmla="*/ 428052 w 734307"/>
                <a:gd name="connsiteY12" fmla="*/ 700017 h 788699"/>
                <a:gd name="connsiteX13" fmla="*/ 433491 w 734307"/>
                <a:gd name="connsiteY13" fmla="*/ 691858 h 788699"/>
                <a:gd name="connsiteX14" fmla="*/ 455248 w 734307"/>
                <a:gd name="connsiteY14" fmla="*/ 683699 h 788699"/>
                <a:gd name="connsiteX15" fmla="*/ 506922 w 734307"/>
                <a:gd name="connsiteY15" fmla="*/ 678259 h 788699"/>
                <a:gd name="connsiteX16" fmla="*/ 509641 w 734307"/>
                <a:gd name="connsiteY16" fmla="*/ 678259 h 788699"/>
                <a:gd name="connsiteX17" fmla="*/ 506922 w 734307"/>
                <a:gd name="connsiteY17" fmla="*/ 664661 h 788699"/>
                <a:gd name="connsiteX18" fmla="*/ 498763 w 734307"/>
                <a:gd name="connsiteY18" fmla="*/ 580352 h 788699"/>
                <a:gd name="connsiteX19" fmla="*/ 496043 w 734307"/>
                <a:gd name="connsiteY19" fmla="*/ 479725 h 788699"/>
                <a:gd name="connsiteX20" fmla="*/ 493324 w 734307"/>
                <a:gd name="connsiteY20" fmla="*/ 389976 h 788699"/>
                <a:gd name="connsiteX21" fmla="*/ 490604 w 734307"/>
                <a:gd name="connsiteY21" fmla="*/ 302947 h 788699"/>
                <a:gd name="connsiteX22" fmla="*/ 487884 w 734307"/>
                <a:gd name="connsiteY22" fmla="*/ 229516 h 788699"/>
                <a:gd name="connsiteX23" fmla="*/ 485165 w 734307"/>
                <a:gd name="connsiteY23" fmla="*/ 221357 h 788699"/>
                <a:gd name="connsiteX24" fmla="*/ 482445 w 734307"/>
                <a:gd name="connsiteY24" fmla="*/ 226797 h 788699"/>
                <a:gd name="connsiteX25" fmla="*/ 477006 w 734307"/>
                <a:gd name="connsiteY25" fmla="*/ 262152 h 788699"/>
                <a:gd name="connsiteX26" fmla="*/ 460688 w 734307"/>
                <a:gd name="connsiteY26" fmla="*/ 341022 h 788699"/>
                <a:gd name="connsiteX27" fmla="*/ 444370 w 734307"/>
                <a:gd name="connsiteY27" fmla="*/ 417173 h 788699"/>
                <a:gd name="connsiteX28" fmla="*/ 436211 w 734307"/>
                <a:gd name="connsiteY28" fmla="*/ 455248 h 788699"/>
                <a:gd name="connsiteX29" fmla="*/ 425332 w 734307"/>
                <a:gd name="connsiteY29" fmla="*/ 493323 h 788699"/>
                <a:gd name="connsiteX30" fmla="*/ 411734 w 734307"/>
                <a:gd name="connsiteY30" fmla="*/ 531398 h 788699"/>
                <a:gd name="connsiteX31" fmla="*/ 376378 w 734307"/>
                <a:gd name="connsiteY31" fmla="*/ 547716 h 788699"/>
                <a:gd name="connsiteX32" fmla="*/ 319265 w 734307"/>
                <a:gd name="connsiteY32" fmla="*/ 525959 h 788699"/>
                <a:gd name="connsiteX33" fmla="*/ 289349 w 734307"/>
                <a:gd name="connsiteY33" fmla="*/ 455248 h 788699"/>
                <a:gd name="connsiteX34" fmla="*/ 273031 w 734307"/>
                <a:gd name="connsiteY34" fmla="*/ 373658 h 788699"/>
                <a:gd name="connsiteX35" fmla="*/ 262153 w 734307"/>
                <a:gd name="connsiteY35" fmla="*/ 316545 h 788699"/>
                <a:gd name="connsiteX36" fmla="*/ 245835 w 734307"/>
                <a:gd name="connsiteY36" fmla="*/ 237675 h 788699"/>
                <a:gd name="connsiteX37" fmla="*/ 234956 w 734307"/>
                <a:gd name="connsiteY37" fmla="*/ 196881 h 788699"/>
                <a:gd name="connsiteX38" fmla="*/ 232236 w 734307"/>
                <a:gd name="connsiteY38" fmla="*/ 191441 h 788699"/>
                <a:gd name="connsiteX39" fmla="*/ 226797 w 734307"/>
                <a:gd name="connsiteY39" fmla="*/ 207759 h 788699"/>
                <a:gd name="connsiteX40" fmla="*/ 226797 w 734307"/>
                <a:gd name="connsiteY40" fmla="*/ 232236 h 788699"/>
                <a:gd name="connsiteX41" fmla="*/ 224077 w 734307"/>
                <a:gd name="connsiteY41" fmla="*/ 267592 h 788699"/>
                <a:gd name="connsiteX42" fmla="*/ 221358 w 734307"/>
                <a:gd name="connsiteY42" fmla="*/ 311106 h 788699"/>
                <a:gd name="connsiteX43" fmla="*/ 218638 w 734307"/>
                <a:gd name="connsiteY43" fmla="*/ 360060 h 788699"/>
                <a:gd name="connsiteX44" fmla="*/ 215919 w 734307"/>
                <a:gd name="connsiteY44" fmla="*/ 398135 h 788699"/>
                <a:gd name="connsiteX45" fmla="*/ 213199 w 734307"/>
                <a:gd name="connsiteY45" fmla="*/ 430771 h 788699"/>
                <a:gd name="connsiteX46" fmla="*/ 213199 w 734307"/>
                <a:gd name="connsiteY46" fmla="*/ 455248 h 788699"/>
                <a:gd name="connsiteX47" fmla="*/ 213199 w 734307"/>
                <a:gd name="connsiteY47" fmla="*/ 477005 h 788699"/>
                <a:gd name="connsiteX48" fmla="*/ 207759 w 734307"/>
                <a:gd name="connsiteY48" fmla="*/ 520520 h 788699"/>
                <a:gd name="connsiteX49" fmla="*/ 196881 w 734307"/>
                <a:gd name="connsiteY49" fmla="*/ 610268 h 788699"/>
                <a:gd name="connsiteX50" fmla="*/ 194161 w 734307"/>
                <a:gd name="connsiteY50" fmla="*/ 653783 h 788699"/>
                <a:gd name="connsiteX51" fmla="*/ 191441 w 734307"/>
                <a:gd name="connsiteY51" fmla="*/ 667381 h 788699"/>
                <a:gd name="connsiteX52" fmla="*/ 243115 w 734307"/>
                <a:gd name="connsiteY52" fmla="*/ 667381 h 788699"/>
                <a:gd name="connsiteX53" fmla="*/ 273031 w 734307"/>
                <a:gd name="connsiteY53" fmla="*/ 683699 h 788699"/>
                <a:gd name="connsiteX54" fmla="*/ 262153 w 734307"/>
                <a:gd name="connsiteY54" fmla="*/ 697297 h 788699"/>
                <a:gd name="connsiteX55" fmla="*/ 248554 w 734307"/>
                <a:gd name="connsiteY55" fmla="*/ 705456 h 788699"/>
                <a:gd name="connsiteX56" fmla="*/ 232236 w 734307"/>
                <a:gd name="connsiteY56" fmla="*/ 708176 h 788699"/>
                <a:gd name="connsiteX57" fmla="*/ 166965 w 734307"/>
                <a:gd name="connsiteY57" fmla="*/ 708176 h 788699"/>
                <a:gd name="connsiteX58" fmla="*/ 109852 w 734307"/>
                <a:gd name="connsiteY58" fmla="*/ 708176 h 788699"/>
                <a:gd name="connsiteX59" fmla="*/ 90814 w 734307"/>
                <a:gd name="connsiteY59" fmla="*/ 708176 h 788699"/>
                <a:gd name="connsiteX60" fmla="*/ 69057 w 734307"/>
                <a:gd name="connsiteY60" fmla="*/ 702736 h 788699"/>
                <a:gd name="connsiteX61" fmla="*/ 58178 w 734307"/>
                <a:gd name="connsiteY61" fmla="*/ 686418 h 788699"/>
                <a:gd name="connsiteX62" fmla="*/ 60898 w 734307"/>
                <a:gd name="connsiteY62" fmla="*/ 678259 h 788699"/>
                <a:gd name="connsiteX63" fmla="*/ 77216 w 734307"/>
                <a:gd name="connsiteY63" fmla="*/ 670101 h 788699"/>
                <a:gd name="connsiteX64" fmla="*/ 126170 w 734307"/>
                <a:gd name="connsiteY64" fmla="*/ 664661 h 788699"/>
                <a:gd name="connsiteX65" fmla="*/ 142487 w 734307"/>
                <a:gd name="connsiteY65" fmla="*/ 664661 h 788699"/>
                <a:gd name="connsiteX66" fmla="*/ 147927 w 734307"/>
                <a:gd name="connsiteY66" fmla="*/ 588511 h 788699"/>
                <a:gd name="connsiteX67" fmla="*/ 153366 w 734307"/>
                <a:gd name="connsiteY67" fmla="*/ 493323 h 788699"/>
                <a:gd name="connsiteX68" fmla="*/ 156086 w 734307"/>
                <a:gd name="connsiteY68" fmla="*/ 411733 h 788699"/>
                <a:gd name="connsiteX69" fmla="*/ 161525 w 734307"/>
                <a:gd name="connsiteY69" fmla="*/ 297508 h 788699"/>
                <a:gd name="connsiteX70" fmla="*/ 166965 w 734307"/>
                <a:gd name="connsiteY70" fmla="*/ 240395 h 788699"/>
                <a:gd name="connsiteX71" fmla="*/ 177843 w 734307"/>
                <a:gd name="connsiteY71" fmla="*/ 161525 h 788699"/>
                <a:gd name="connsiteX72" fmla="*/ 183282 w 734307"/>
                <a:gd name="connsiteY72" fmla="*/ 118011 h 788699"/>
                <a:gd name="connsiteX73" fmla="*/ 183282 w 734307"/>
                <a:gd name="connsiteY73" fmla="*/ 115291 h 788699"/>
                <a:gd name="connsiteX74" fmla="*/ 161525 w 734307"/>
                <a:gd name="connsiteY74" fmla="*/ 115291 h 788699"/>
                <a:gd name="connsiteX75" fmla="*/ 137048 w 734307"/>
                <a:gd name="connsiteY75" fmla="*/ 115291 h 788699"/>
                <a:gd name="connsiteX76" fmla="*/ 109852 w 734307"/>
                <a:gd name="connsiteY76" fmla="*/ 109851 h 788699"/>
                <a:gd name="connsiteX77" fmla="*/ 93534 w 734307"/>
                <a:gd name="connsiteY77" fmla="*/ 93534 h 788699"/>
                <a:gd name="connsiteX78" fmla="*/ 98973 w 734307"/>
                <a:gd name="connsiteY78" fmla="*/ 85375 h 788699"/>
                <a:gd name="connsiteX79" fmla="*/ 120730 w 734307"/>
                <a:gd name="connsiteY79" fmla="*/ 77216 h 788699"/>
                <a:gd name="connsiteX80" fmla="*/ 172404 w 734307"/>
                <a:gd name="connsiteY80" fmla="*/ 71776 h 788699"/>
                <a:gd name="connsiteX81" fmla="*/ 234956 w 734307"/>
                <a:gd name="connsiteY81" fmla="*/ 69057 h 788699"/>
                <a:gd name="connsiteX82" fmla="*/ 243115 w 734307"/>
                <a:gd name="connsiteY82" fmla="*/ 69057 h 788699"/>
                <a:gd name="connsiteX83" fmla="*/ 270312 w 734307"/>
                <a:gd name="connsiteY83" fmla="*/ 74496 h 788699"/>
                <a:gd name="connsiteX84" fmla="*/ 308387 w 734307"/>
                <a:gd name="connsiteY84" fmla="*/ 123450 h 788699"/>
                <a:gd name="connsiteX85" fmla="*/ 332864 w 734307"/>
                <a:gd name="connsiteY85" fmla="*/ 202320 h 788699"/>
                <a:gd name="connsiteX86" fmla="*/ 338303 w 734307"/>
                <a:gd name="connsiteY86" fmla="*/ 237675 h 788699"/>
                <a:gd name="connsiteX87" fmla="*/ 349182 w 734307"/>
                <a:gd name="connsiteY87" fmla="*/ 281190 h 788699"/>
                <a:gd name="connsiteX88" fmla="*/ 357341 w 734307"/>
                <a:gd name="connsiteY88" fmla="*/ 316545 h 788699"/>
                <a:gd name="connsiteX89" fmla="*/ 365500 w 734307"/>
                <a:gd name="connsiteY89" fmla="*/ 351901 h 788699"/>
                <a:gd name="connsiteX90" fmla="*/ 376378 w 734307"/>
                <a:gd name="connsiteY90" fmla="*/ 389976 h 788699"/>
                <a:gd name="connsiteX91" fmla="*/ 387257 w 734307"/>
                <a:gd name="connsiteY91" fmla="*/ 414453 h 788699"/>
                <a:gd name="connsiteX92" fmla="*/ 398136 w 734307"/>
                <a:gd name="connsiteY92" fmla="*/ 376378 h 788699"/>
                <a:gd name="connsiteX93" fmla="*/ 406295 w 734307"/>
                <a:gd name="connsiteY93" fmla="*/ 332863 h 788699"/>
                <a:gd name="connsiteX94" fmla="*/ 425332 w 734307"/>
                <a:gd name="connsiteY94" fmla="*/ 243115 h 788699"/>
                <a:gd name="connsiteX95" fmla="*/ 444370 w 734307"/>
                <a:gd name="connsiteY95" fmla="*/ 150646 h 788699"/>
                <a:gd name="connsiteX96" fmla="*/ 477006 w 734307"/>
                <a:gd name="connsiteY96" fmla="*/ 79935 h 788699"/>
                <a:gd name="connsiteX97" fmla="*/ 523240 w 734307"/>
                <a:gd name="connsiteY97" fmla="*/ 58178 h 788699"/>
                <a:gd name="connsiteX98" fmla="*/ 544997 w 734307"/>
                <a:gd name="connsiteY98" fmla="*/ 63617 h 788699"/>
                <a:gd name="connsiteX99" fmla="*/ 612988 w 734307"/>
                <a:gd name="connsiteY99" fmla="*/ 63617 h 788699"/>
                <a:gd name="connsiteX100" fmla="*/ 651064 w 734307"/>
                <a:gd name="connsiteY100" fmla="*/ 79935 h 788699"/>
                <a:gd name="connsiteX101" fmla="*/ 645624 w 734307"/>
                <a:gd name="connsiteY101" fmla="*/ 96253 h 788699"/>
                <a:gd name="connsiteX102" fmla="*/ 629307 w 734307"/>
                <a:gd name="connsiteY102" fmla="*/ 104412 h 788699"/>
                <a:gd name="connsiteX103" fmla="*/ 607549 w 734307"/>
                <a:gd name="connsiteY103" fmla="*/ 107132 h 788699"/>
                <a:gd name="connsiteX104" fmla="*/ 580353 w 734307"/>
                <a:gd name="connsiteY104" fmla="*/ 107132 h 788699"/>
                <a:gd name="connsiteX105" fmla="*/ 583072 w 734307"/>
                <a:gd name="connsiteY105" fmla="*/ 115291 h 788699"/>
                <a:gd name="connsiteX106" fmla="*/ 588512 w 734307"/>
                <a:gd name="connsiteY106" fmla="*/ 156086 h 788699"/>
                <a:gd name="connsiteX107" fmla="*/ 593951 w 734307"/>
                <a:gd name="connsiteY107" fmla="*/ 196881 h 788699"/>
                <a:gd name="connsiteX108" fmla="*/ 599390 w 734307"/>
                <a:gd name="connsiteY108" fmla="*/ 226797 h 788699"/>
                <a:gd name="connsiteX109" fmla="*/ 599390 w 734307"/>
                <a:gd name="connsiteY109" fmla="*/ 232236 h 788699"/>
                <a:gd name="connsiteX110" fmla="*/ 599390 w 734307"/>
                <a:gd name="connsiteY110" fmla="*/ 240395 h 788699"/>
                <a:gd name="connsiteX111" fmla="*/ 602110 w 734307"/>
                <a:gd name="connsiteY111" fmla="*/ 270311 h 788699"/>
                <a:gd name="connsiteX112" fmla="*/ 607549 w 734307"/>
                <a:gd name="connsiteY112" fmla="*/ 308386 h 788699"/>
                <a:gd name="connsiteX113" fmla="*/ 607549 w 734307"/>
                <a:gd name="connsiteY113" fmla="*/ 319265 h 788699"/>
                <a:gd name="connsiteX114" fmla="*/ 612988 w 734307"/>
                <a:gd name="connsiteY114" fmla="*/ 335583 h 788699"/>
                <a:gd name="connsiteX115" fmla="*/ 612988 w 734307"/>
                <a:gd name="connsiteY115" fmla="*/ 346462 h 788699"/>
                <a:gd name="connsiteX116" fmla="*/ 612988 w 734307"/>
                <a:gd name="connsiteY116" fmla="*/ 370939 h 788699"/>
                <a:gd name="connsiteX117" fmla="*/ 612988 w 734307"/>
                <a:gd name="connsiteY117" fmla="*/ 395415 h 788699"/>
                <a:gd name="connsiteX118" fmla="*/ 615708 w 734307"/>
                <a:gd name="connsiteY118" fmla="*/ 422612 h 788699"/>
                <a:gd name="connsiteX119" fmla="*/ 618428 w 734307"/>
                <a:gd name="connsiteY119" fmla="*/ 441650 h 788699"/>
                <a:gd name="connsiteX120" fmla="*/ 618428 w 734307"/>
                <a:gd name="connsiteY120" fmla="*/ 455248 h 788699"/>
                <a:gd name="connsiteX121" fmla="*/ 621147 w 734307"/>
                <a:gd name="connsiteY121" fmla="*/ 463407 h 788699"/>
                <a:gd name="connsiteX122" fmla="*/ 626587 w 734307"/>
                <a:gd name="connsiteY122" fmla="*/ 482444 h 788699"/>
                <a:gd name="connsiteX123" fmla="*/ 629307 w 734307"/>
                <a:gd name="connsiteY123" fmla="*/ 517800 h 788699"/>
                <a:gd name="connsiteX124" fmla="*/ 634746 w 734307"/>
                <a:gd name="connsiteY124" fmla="*/ 561314 h 788699"/>
                <a:gd name="connsiteX125" fmla="*/ 634746 w 734307"/>
                <a:gd name="connsiteY125" fmla="*/ 566754 h 788699"/>
                <a:gd name="connsiteX126" fmla="*/ 634746 w 734307"/>
                <a:gd name="connsiteY126" fmla="*/ 583072 h 788699"/>
                <a:gd name="connsiteX127" fmla="*/ 637466 w 734307"/>
                <a:gd name="connsiteY127" fmla="*/ 607548 h 788699"/>
                <a:gd name="connsiteX128" fmla="*/ 640185 w 734307"/>
                <a:gd name="connsiteY128" fmla="*/ 618427 h 788699"/>
                <a:gd name="connsiteX129" fmla="*/ 640185 w 734307"/>
                <a:gd name="connsiteY129" fmla="*/ 632025 h 788699"/>
                <a:gd name="connsiteX130" fmla="*/ 640185 w 734307"/>
                <a:gd name="connsiteY130" fmla="*/ 640184 h 788699"/>
                <a:gd name="connsiteX131" fmla="*/ 642905 w 734307"/>
                <a:gd name="connsiteY131" fmla="*/ 659222 h 788699"/>
                <a:gd name="connsiteX132" fmla="*/ 642905 w 734307"/>
                <a:gd name="connsiteY132" fmla="*/ 664661 h 788699"/>
                <a:gd name="connsiteX133" fmla="*/ 653783 w 734307"/>
                <a:gd name="connsiteY133" fmla="*/ 678259 h 788699"/>
                <a:gd name="connsiteX134" fmla="*/ 653783 w 734307"/>
                <a:gd name="connsiteY134" fmla="*/ 678259 h 7886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</a:cxnLst>
              <a:rect l="l" t="t" r="r" b="b"/>
              <a:pathLst>
                <a:path w="734307" h="788699">
                  <a:moveTo>
                    <a:pt x="653783" y="678259"/>
                  </a:moveTo>
                  <a:cubicBezTo>
                    <a:pt x="667382" y="678259"/>
                    <a:pt x="691859" y="678259"/>
                    <a:pt x="691859" y="694577"/>
                  </a:cubicBezTo>
                  <a:cubicBezTo>
                    <a:pt x="691859" y="702736"/>
                    <a:pt x="689139" y="705456"/>
                    <a:pt x="686419" y="710895"/>
                  </a:cubicBezTo>
                  <a:cubicBezTo>
                    <a:pt x="683700" y="716335"/>
                    <a:pt x="675541" y="719054"/>
                    <a:pt x="670101" y="719054"/>
                  </a:cubicBezTo>
                  <a:cubicBezTo>
                    <a:pt x="661942" y="721774"/>
                    <a:pt x="653783" y="721774"/>
                    <a:pt x="648344" y="721774"/>
                  </a:cubicBezTo>
                  <a:cubicBezTo>
                    <a:pt x="645624" y="721774"/>
                    <a:pt x="634746" y="721774"/>
                    <a:pt x="618428" y="721774"/>
                  </a:cubicBezTo>
                  <a:cubicBezTo>
                    <a:pt x="604829" y="729933"/>
                    <a:pt x="588512" y="735372"/>
                    <a:pt x="572194" y="735372"/>
                  </a:cubicBezTo>
                  <a:cubicBezTo>
                    <a:pt x="564035" y="735372"/>
                    <a:pt x="553156" y="732653"/>
                    <a:pt x="544997" y="729933"/>
                  </a:cubicBezTo>
                  <a:cubicBezTo>
                    <a:pt x="539558" y="727213"/>
                    <a:pt x="536838" y="724494"/>
                    <a:pt x="534119" y="721774"/>
                  </a:cubicBezTo>
                  <a:cubicBezTo>
                    <a:pt x="520520" y="721774"/>
                    <a:pt x="509641" y="721774"/>
                    <a:pt x="496043" y="721774"/>
                  </a:cubicBezTo>
                  <a:cubicBezTo>
                    <a:pt x="487884" y="721774"/>
                    <a:pt x="479725" y="721774"/>
                    <a:pt x="471566" y="721774"/>
                  </a:cubicBezTo>
                  <a:cubicBezTo>
                    <a:pt x="463407" y="721774"/>
                    <a:pt x="452529" y="721774"/>
                    <a:pt x="444370" y="716335"/>
                  </a:cubicBezTo>
                  <a:cubicBezTo>
                    <a:pt x="436211" y="713615"/>
                    <a:pt x="428052" y="705456"/>
                    <a:pt x="428052" y="700017"/>
                  </a:cubicBezTo>
                  <a:cubicBezTo>
                    <a:pt x="428052" y="697297"/>
                    <a:pt x="428052" y="694577"/>
                    <a:pt x="433491" y="691858"/>
                  </a:cubicBezTo>
                  <a:cubicBezTo>
                    <a:pt x="438930" y="689138"/>
                    <a:pt x="449809" y="686418"/>
                    <a:pt x="455248" y="683699"/>
                  </a:cubicBezTo>
                  <a:cubicBezTo>
                    <a:pt x="474286" y="680979"/>
                    <a:pt x="498763" y="678259"/>
                    <a:pt x="506922" y="678259"/>
                  </a:cubicBezTo>
                  <a:cubicBezTo>
                    <a:pt x="506922" y="678259"/>
                    <a:pt x="509641" y="678259"/>
                    <a:pt x="509641" y="678259"/>
                  </a:cubicBezTo>
                  <a:cubicBezTo>
                    <a:pt x="509641" y="672820"/>
                    <a:pt x="506922" y="670101"/>
                    <a:pt x="506922" y="664661"/>
                  </a:cubicBezTo>
                  <a:cubicBezTo>
                    <a:pt x="501483" y="640184"/>
                    <a:pt x="501483" y="612988"/>
                    <a:pt x="498763" y="580352"/>
                  </a:cubicBezTo>
                  <a:cubicBezTo>
                    <a:pt x="496043" y="547716"/>
                    <a:pt x="498763" y="512361"/>
                    <a:pt x="496043" y="479725"/>
                  </a:cubicBezTo>
                  <a:cubicBezTo>
                    <a:pt x="493324" y="449808"/>
                    <a:pt x="493324" y="419892"/>
                    <a:pt x="493324" y="389976"/>
                  </a:cubicBezTo>
                  <a:cubicBezTo>
                    <a:pt x="493324" y="360060"/>
                    <a:pt x="490604" y="332863"/>
                    <a:pt x="490604" y="302947"/>
                  </a:cubicBezTo>
                  <a:cubicBezTo>
                    <a:pt x="487884" y="275751"/>
                    <a:pt x="487884" y="240395"/>
                    <a:pt x="487884" y="229516"/>
                  </a:cubicBezTo>
                  <a:cubicBezTo>
                    <a:pt x="487884" y="224077"/>
                    <a:pt x="487884" y="221357"/>
                    <a:pt x="485165" y="221357"/>
                  </a:cubicBezTo>
                  <a:cubicBezTo>
                    <a:pt x="485165" y="221357"/>
                    <a:pt x="482445" y="224077"/>
                    <a:pt x="482445" y="226797"/>
                  </a:cubicBezTo>
                  <a:cubicBezTo>
                    <a:pt x="479725" y="237675"/>
                    <a:pt x="479725" y="251274"/>
                    <a:pt x="477006" y="262152"/>
                  </a:cubicBezTo>
                  <a:cubicBezTo>
                    <a:pt x="471566" y="289349"/>
                    <a:pt x="466127" y="316545"/>
                    <a:pt x="460688" y="341022"/>
                  </a:cubicBezTo>
                  <a:cubicBezTo>
                    <a:pt x="455248" y="365499"/>
                    <a:pt x="447090" y="392696"/>
                    <a:pt x="444370" y="417173"/>
                  </a:cubicBezTo>
                  <a:cubicBezTo>
                    <a:pt x="441650" y="430771"/>
                    <a:pt x="438930" y="441650"/>
                    <a:pt x="436211" y="455248"/>
                  </a:cubicBezTo>
                  <a:cubicBezTo>
                    <a:pt x="433491" y="468846"/>
                    <a:pt x="428052" y="479725"/>
                    <a:pt x="425332" y="493323"/>
                  </a:cubicBezTo>
                  <a:cubicBezTo>
                    <a:pt x="422612" y="506921"/>
                    <a:pt x="419893" y="520520"/>
                    <a:pt x="411734" y="531398"/>
                  </a:cubicBezTo>
                  <a:cubicBezTo>
                    <a:pt x="406295" y="539557"/>
                    <a:pt x="395416" y="547716"/>
                    <a:pt x="376378" y="547716"/>
                  </a:cubicBezTo>
                  <a:cubicBezTo>
                    <a:pt x="357341" y="547716"/>
                    <a:pt x="335583" y="539557"/>
                    <a:pt x="319265" y="525959"/>
                  </a:cubicBezTo>
                  <a:cubicBezTo>
                    <a:pt x="300228" y="506921"/>
                    <a:pt x="294788" y="479725"/>
                    <a:pt x="289349" y="455248"/>
                  </a:cubicBezTo>
                  <a:cubicBezTo>
                    <a:pt x="283910" y="428051"/>
                    <a:pt x="278470" y="400855"/>
                    <a:pt x="273031" y="373658"/>
                  </a:cubicBezTo>
                  <a:cubicBezTo>
                    <a:pt x="273031" y="368219"/>
                    <a:pt x="267592" y="346462"/>
                    <a:pt x="262153" y="316545"/>
                  </a:cubicBezTo>
                  <a:cubicBezTo>
                    <a:pt x="256713" y="292068"/>
                    <a:pt x="251274" y="262152"/>
                    <a:pt x="245835" y="237675"/>
                  </a:cubicBezTo>
                  <a:cubicBezTo>
                    <a:pt x="240395" y="218638"/>
                    <a:pt x="237675" y="205039"/>
                    <a:pt x="234956" y="196881"/>
                  </a:cubicBezTo>
                  <a:cubicBezTo>
                    <a:pt x="232236" y="191441"/>
                    <a:pt x="232236" y="191441"/>
                    <a:pt x="232236" y="191441"/>
                  </a:cubicBezTo>
                  <a:cubicBezTo>
                    <a:pt x="229517" y="191441"/>
                    <a:pt x="229517" y="196881"/>
                    <a:pt x="226797" y="207759"/>
                  </a:cubicBezTo>
                  <a:cubicBezTo>
                    <a:pt x="226797" y="215918"/>
                    <a:pt x="226797" y="229516"/>
                    <a:pt x="226797" y="232236"/>
                  </a:cubicBezTo>
                  <a:cubicBezTo>
                    <a:pt x="226797" y="243115"/>
                    <a:pt x="224077" y="256713"/>
                    <a:pt x="224077" y="267592"/>
                  </a:cubicBezTo>
                  <a:cubicBezTo>
                    <a:pt x="224077" y="278470"/>
                    <a:pt x="224077" y="294788"/>
                    <a:pt x="221358" y="311106"/>
                  </a:cubicBezTo>
                  <a:cubicBezTo>
                    <a:pt x="221358" y="327424"/>
                    <a:pt x="218638" y="343742"/>
                    <a:pt x="218638" y="360060"/>
                  </a:cubicBezTo>
                  <a:cubicBezTo>
                    <a:pt x="218638" y="373658"/>
                    <a:pt x="215919" y="384537"/>
                    <a:pt x="215919" y="398135"/>
                  </a:cubicBezTo>
                  <a:cubicBezTo>
                    <a:pt x="215919" y="409014"/>
                    <a:pt x="213199" y="419892"/>
                    <a:pt x="213199" y="430771"/>
                  </a:cubicBezTo>
                  <a:cubicBezTo>
                    <a:pt x="213199" y="438930"/>
                    <a:pt x="213199" y="447089"/>
                    <a:pt x="213199" y="455248"/>
                  </a:cubicBezTo>
                  <a:cubicBezTo>
                    <a:pt x="213199" y="463407"/>
                    <a:pt x="213199" y="471566"/>
                    <a:pt x="213199" y="477005"/>
                  </a:cubicBezTo>
                  <a:cubicBezTo>
                    <a:pt x="210479" y="490603"/>
                    <a:pt x="207759" y="506921"/>
                    <a:pt x="207759" y="520520"/>
                  </a:cubicBezTo>
                  <a:cubicBezTo>
                    <a:pt x="202320" y="550436"/>
                    <a:pt x="199600" y="580352"/>
                    <a:pt x="196881" y="610268"/>
                  </a:cubicBezTo>
                  <a:cubicBezTo>
                    <a:pt x="196881" y="623866"/>
                    <a:pt x="196881" y="640184"/>
                    <a:pt x="194161" y="653783"/>
                  </a:cubicBezTo>
                  <a:cubicBezTo>
                    <a:pt x="194161" y="659222"/>
                    <a:pt x="194161" y="661942"/>
                    <a:pt x="191441" y="667381"/>
                  </a:cubicBezTo>
                  <a:cubicBezTo>
                    <a:pt x="213199" y="667381"/>
                    <a:pt x="232236" y="667381"/>
                    <a:pt x="243115" y="667381"/>
                  </a:cubicBezTo>
                  <a:cubicBezTo>
                    <a:pt x="253994" y="667381"/>
                    <a:pt x="273031" y="670101"/>
                    <a:pt x="273031" y="683699"/>
                  </a:cubicBezTo>
                  <a:cubicBezTo>
                    <a:pt x="273031" y="691858"/>
                    <a:pt x="267592" y="691858"/>
                    <a:pt x="262153" y="697297"/>
                  </a:cubicBezTo>
                  <a:cubicBezTo>
                    <a:pt x="259433" y="702736"/>
                    <a:pt x="253994" y="705456"/>
                    <a:pt x="248554" y="705456"/>
                  </a:cubicBezTo>
                  <a:cubicBezTo>
                    <a:pt x="240395" y="708176"/>
                    <a:pt x="234956" y="708176"/>
                    <a:pt x="232236" y="708176"/>
                  </a:cubicBezTo>
                  <a:cubicBezTo>
                    <a:pt x="226797" y="708176"/>
                    <a:pt x="175124" y="708176"/>
                    <a:pt x="166965" y="708176"/>
                  </a:cubicBezTo>
                  <a:cubicBezTo>
                    <a:pt x="156086" y="708176"/>
                    <a:pt x="120730" y="708176"/>
                    <a:pt x="109852" y="708176"/>
                  </a:cubicBezTo>
                  <a:cubicBezTo>
                    <a:pt x="104412" y="708176"/>
                    <a:pt x="96253" y="708176"/>
                    <a:pt x="90814" y="708176"/>
                  </a:cubicBezTo>
                  <a:cubicBezTo>
                    <a:pt x="85375" y="708176"/>
                    <a:pt x="77216" y="705456"/>
                    <a:pt x="69057" y="702736"/>
                  </a:cubicBezTo>
                  <a:cubicBezTo>
                    <a:pt x="63617" y="700017"/>
                    <a:pt x="58178" y="691858"/>
                    <a:pt x="58178" y="686418"/>
                  </a:cubicBezTo>
                  <a:cubicBezTo>
                    <a:pt x="58178" y="683699"/>
                    <a:pt x="58178" y="680979"/>
                    <a:pt x="60898" y="678259"/>
                  </a:cubicBezTo>
                  <a:cubicBezTo>
                    <a:pt x="63617" y="675540"/>
                    <a:pt x="71777" y="672820"/>
                    <a:pt x="77216" y="670101"/>
                  </a:cubicBezTo>
                  <a:cubicBezTo>
                    <a:pt x="90814" y="667381"/>
                    <a:pt x="120730" y="664661"/>
                    <a:pt x="126170" y="664661"/>
                  </a:cubicBezTo>
                  <a:cubicBezTo>
                    <a:pt x="128889" y="664661"/>
                    <a:pt x="134329" y="664661"/>
                    <a:pt x="142487" y="664661"/>
                  </a:cubicBezTo>
                  <a:cubicBezTo>
                    <a:pt x="142487" y="640184"/>
                    <a:pt x="147927" y="612988"/>
                    <a:pt x="147927" y="588511"/>
                  </a:cubicBezTo>
                  <a:cubicBezTo>
                    <a:pt x="150646" y="555875"/>
                    <a:pt x="153366" y="523239"/>
                    <a:pt x="153366" y="493323"/>
                  </a:cubicBezTo>
                  <a:cubicBezTo>
                    <a:pt x="153366" y="466126"/>
                    <a:pt x="156086" y="438930"/>
                    <a:pt x="156086" y="411733"/>
                  </a:cubicBezTo>
                  <a:cubicBezTo>
                    <a:pt x="158806" y="373658"/>
                    <a:pt x="158806" y="335583"/>
                    <a:pt x="161525" y="297508"/>
                  </a:cubicBezTo>
                  <a:cubicBezTo>
                    <a:pt x="161525" y="278470"/>
                    <a:pt x="164245" y="259433"/>
                    <a:pt x="166965" y="240395"/>
                  </a:cubicBezTo>
                  <a:cubicBezTo>
                    <a:pt x="169684" y="210479"/>
                    <a:pt x="172404" y="191441"/>
                    <a:pt x="177843" y="161525"/>
                  </a:cubicBezTo>
                  <a:cubicBezTo>
                    <a:pt x="180563" y="147927"/>
                    <a:pt x="180563" y="131609"/>
                    <a:pt x="183282" y="118011"/>
                  </a:cubicBezTo>
                  <a:cubicBezTo>
                    <a:pt x="183282" y="118011"/>
                    <a:pt x="183282" y="115291"/>
                    <a:pt x="183282" y="115291"/>
                  </a:cubicBezTo>
                  <a:cubicBezTo>
                    <a:pt x="177843" y="115291"/>
                    <a:pt x="172404" y="115291"/>
                    <a:pt x="161525" y="115291"/>
                  </a:cubicBezTo>
                  <a:cubicBezTo>
                    <a:pt x="153366" y="115291"/>
                    <a:pt x="145207" y="115291"/>
                    <a:pt x="137048" y="115291"/>
                  </a:cubicBezTo>
                  <a:cubicBezTo>
                    <a:pt x="128889" y="115291"/>
                    <a:pt x="118011" y="115291"/>
                    <a:pt x="109852" y="109851"/>
                  </a:cubicBezTo>
                  <a:cubicBezTo>
                    <a:pt x="101693" y="107132"/>
                    <a:pt x="93534" y="98973"/>
                    <a:pt x="93534" y="93534"/>
                  </a:cubicBezTo>
                  <a:cubicBezTo>
                    <a:pt x="93534" y="90814"/>
                    <a:pt x="93534" y="88094"/>
                    <a:pt x="98973" y="85375"/>
                  </a:cubicBezTo>
                  <a:cubicBezTo>
                    <a:pt x="104412" y="82655"/>
                    <a:pt x="115291" y="79935"/>
                    <a:pt x="120730" y="77216"/>
                  </a:cubicBezTo>
                  <a:cubicBezTo>
                    <a:pt x="139768" y="74496"/>
                    <a:pt x="164245" y="71776"/>
                    <a:pt x="172404" y="71776"/>
                  </a:cubicBezTo>
                  <a:cubicBezTo>
                    <a:pt x="194161" y="71776"/>
                    <a:pt x="210479" y="69057"/>
                    <a:pt x="234956" y="69057"/>
                  </a:cubicBezTo>
                  <a:cubicBezTo>
                    <a:pt x="237675" y="69057"/>
                    <a:pt x="240395" y="69057"/>
                    <a:pt x="243115" y="69057"/>
                  </a:cubicBezTo>
                  <a:cubicBezTo>
                    <a:pt x="251274" y="69057"/>
                    <a:pt x="262153" y="69057"/>
                    <a:pt x="270312" y="74496"/>
                  </a:cubicBezTo>
                  <a:cubicBezTo>
                    <a:pt x="283910" y="82655"/>
                    <a:pt x="300228" y="96253"/>
                    <a:pt x="308387" y="123450"/>
                  </a:cubicBezTo>
                  <a:cubicBezTo>
                    <a:pt x="316546" y="147927"/>
                    <a:pt x="327424" y="175123"/>
                    <a:pt x="332864" y="202320"/>
                  </a:cubicBezTo>
                  <a:cubicBezTo>
                    <a:pt x="335583" y="213198"/>
                    <a:pt x="335583" y="226797"/>
                    <a:pt x="338303" y="237675"/>
                  </a:cubicBezTo>
                  <a:cubicBezTo>
                    <a:pt x="343742" y="251274"/>
                    <a:pt x="346462" y="264872"/>
                    <a:pt x="349182" y="281190"/>
                  </a:cubicBezTo>
                  <a:cubicBezTo>
                    <a:pt x="351901" y="292068"/>
                    <a:pt x="351901" y="305667"/>
                    <a:pt x="357341" y="316545"/>
                  </a:cubicBezTo>
                  <a:cubicBezTo>
                    <a:pt x="362780" y="327424"/>
                    <a:pt x="362780" y="338303"/>
                    <a:pt x="365500" y="351901"/>
                  </a:cubicBezTo>
                  <a:cubicBezTo>
                    <a:pt x="365500" y="357340"/>
                    <a:pt x="373658" y="373658"/>
                    <a:pt x="376378" y="389976"/>
                  </a:cubicBezTo>
                  <a:cubicBezTo>
                    <a:pt x="381817" y="403574"/>
                    <a:pt x="384537" y="414453"/>
                    <a:pt x="387257" y="414453"/>
                  </a:cubicBezTo>
                  <a:cubicBezTo>
                    <a:pt x="392696" y="414453"/>
                    <a:pt x="395416" y="381817"/>
                    <a:pt x="398136" y="376378"/>
                  </a:cubicBezTo>
                  <a:cubicBezTo>
                    <a:pt x="400855" y="362779"/>
                    <a:pt x="403575" y="346462"/>
                    <a:pt x="406295" y="332863"/>
                  </a:cubicBezTo>
                  <a:cubicBezTo>
                    <a:pt x="411734" y="302947"/>
                    <a:pt x="417173" y="273031"/>
                    <a:pt x="425332" y="243115"/>
                  </a:cubicBezTo>
                  <a:cubicBezTo>
                    <a:pt x="430771" y="213198"/>
                    <a:pt x="436211" y="180563"/>
                    <a:pt x="444370" y="150646"/>
                  </a:cubicBezTo>
                  <a:cubicBezTo>
                    <a:pt x="449809" y="126170"/>
                    <a:pt x="460688" y="98973"/>
                    <a:pt x="477006" y="79935"/>
                  </a:cubicBezTo>
                  <a:cubicBezTo>
                    <a:pt x="487884" y="66337"/>
                    <a:pt x="506922" y="58178"/>
                    <a:pt x="523240" y="58178"/>
                  </a:cubicBezTo>
                  <a:cubicBezTo>
                    <a:pt x="528679" y="58178"/>
                    <a:pt x="539558" y="58178"/>
                    <a:pt x="544997" y="63617"/>
                  </a:cubicBezTo>
                  <a:lnTo>
                    <a:pt x="612988" y="63617"/>
                  </a:lnTo>
                  <a:cubicBezTo>
                    <a:pt x="626587" y="63617"/>
                    <a:pt x="651064" y="63617"/>
                    <a:pt x="651064" y="79935"/>
                  </a:cubicBezTo>
                  <a:cubicBezTo>
                    <a:pt x="651064" y="88094"/>
                    <a:pt x="648344" y="88094"/>
                    <a:pt x="645624" y="96253"/>
                  </a:cubicBezTo>
                  <a:cubicBezTo>
                    <a:pt x="640185" y="101693"/>
                    <a:pt x="634746" y="104412"/>
                    <a:pt x="629307" y="104412"/>
                  </a:cubicBezTo>
                  <a:cubicBezTo>
                    <a:pt x="621147" y="107132"/>
                    <a:pt x="612988" y="107132"/>
                    <a:pt x="607549" y="107132"/>
                  </a:cubicBezTo>
                  <a:cubicBezTo>
                    <a:pt x="604829" y="107132"/>
                    <a:pt x="591231" y="107132"/>
                    <a:pt x="580353" y="107132"/>
                  </a:cubicBezTo>
                  <a:cubicBezTo>
                    <a:pt x="580353" y="109851"/>
                    <a:pt x="583072" y="112571"/>
                    <a:pt x="583072" y="115291"/>
                  </a:cubicBezTo>
                  <a:cubicBezTo>
                    <a:pt x="585792" y="128889"/>
                    <a:pt x="585792" y="142487"/>
                    <a:pt x="588512" y="156086"/>
                  </a:cubicBezTo>
                  <a:cubicBezTo>
                    <a:pt x="591231" y="169684"/>
                    <a:pt x="591231" y="183282"/>
                    <a:pt x="593951" y="196881"/>
                  </a:cubicBezTo>
                  <a:cubicBezTo>
                    <a:pt x="593951" y="207759"/>
                    <a:pt x="599390" y="215918"/>
                    <a:pt x="599390" y="226797"/>
                  </a:cubicBezTo>
                  <a:cubicBezTo>
                    <a:pt x="599390" y="229516"/>
                    <a:pt x="599390" y="229516"/>
                    <a:pt x="599390" y="232236"/>
                  </a:cubicBezTo>
                  <a:cubicBezTo>
                    <a:pt x="599390" y="234956"/>
                    <a:pt x="599390" y="237675"/>
                    <a:pt x="599390" y="240395"/>
                  </a:cubicBezTo>
                  <a:cubicBezTo>
                    <a:pt x="599390" y="251274"/>
                    <a:pt x="599390" y="259433"/>
                    <a:pt x="602110" y="270311"/>
                  </a:cubicBezTo>
                  <a:cubicBezTo>
                    <a:pt x="604829" y="283909"/>
                    <a:pt x="607549" y="294788"/>
                    <a:pt x="607549" y="308386"/>
                  </a:cubicBezTo>
                  <a:cubicBezTo>
                    <a:pt x="607549" y="311106"/>
                    <a:pt x="607549" y="316545"/>
                    <a:pt x="607549" y="319265"/>
                  </a:cubicBezTo>
                  <a:cubicBezTo>
                    <a:pt x="607549" y="324704"/>
                    <a:pt x="610269" y="330144"/>
                    <a:pt x="612988" y="335583"/>
                  </a:cubicBezTo>
                  <a:cubicBezTo>
                    <a:pt x="612988" y="338303"/>
                    <a:pt x="612988" y="343742"/>
                    <a:pt x="612988" y="346462"/>
                  </a:cubicBezTo>
                  <a:cubicBezTo>
                    <a:pt x="612988" y="354620"/>
                    <a:pt x="612988" y="362779"/>
                    <a:pt x="612988" y="370939"/>
                  </a:cubicBezTo>
                  <a:cubicBezTo>
                    <a:pt x="612988" y="379097"/>
                    <a:pt x="612988" y="387256"/>
                    <a:pt x="612988" y="395415"/>
                  </a:cubicBezTo>
                  <a:cubicBezTo>
                    <a:pt x="612988" y="403574"/>
                    <a:pt x="615708" y="414453"/>
                    <a:pt x="615708" y="422612"/>
                  </a:cubicBezTo>
                  <a:cubicBezTo>
                    <a:pt x="618428" y="430771"/>
                    <a:pt x="618428" y="436210"/>
                    <a:pt x="618428" y="441650"/>
                  </a:cubicBezTo>
                  <a:cubicBezTo>
                    <a:pt x="618428" y="444369"/>
                    <a:pt x="618428" y="449808"/>
                    <a:pt x="618428" y="455248"/>
                  </a:cubicBezTo>
                  <a:cubicBezTo>
                    <a:pt x="618428" y="460687"/>
                    <a:pt x="618428" y="460687"/>
                    <a:pt x="621147" y="463407"/>
                  </a:cubicBezTo>
                  <a:cubicBezTo>
                    <a:pt x="623867" y="471566"/>
                    <a:pt x="623867" y="477005"/>
                    <a:pt x="626587" y="482444"/>
                  </a:cubicBezTo>
                  <a:cubicBezTo>
                    <a:pt x="629307" y="493323"/>
                    <a:pt x="629307" y="506921"/>
                    <a:pt x="629307" y="517800"/>
                  </a:cubicBezTo>
                  <a:cubicBezTo>
                    <a:pt x="632026" y="534118"/>
                    <a:pt x="632026" y="547716"/>
                    <a:pt x="634746" y="561314"/>
                  </a:cubicBezTo>
                  <a:cubicBezTo>
                    <a:pt x="634746" y="564034"/>
                    <a:pt x="634746" y="564034"/>
                    <a:pt x="634746" y="566754"/>
                  </a:cubicBezTo>
                  <a:cubicBezTo>
                    <a:pt x="634746" y="572193"/>
                    <a:pt x="634746" y="577632"/>
                    <a:pt x="634746" y="583072"/>
                  </a:cubicBezTo>
                  <a:cubicBezTo>
                    <a:pt x="634746" y="596670"/>
                    <a:pt x="637466" y="602109"/>
                    <a:pt x="637466" y="607548"/>
                  </a:cubicBezTo>
                  <a:cubicBezTo>
                    <a:pt x="637466" y="610268"/>
                    <a:pt x="640185" y="615708"/>
                    <a:pt x="640185" y="618427"/>
                  </a:cubicBezTo>
                  <a:cubicBezTo>
                    <a:pt x="640185" y="623866"/>
                    <a:pt x="640185" y="629306"/>
                    <a:pt x="640185" y="632025"/>
                  </a:cubicBezTo>
                  <a:cubicBezTo>
                    <a:pt x="640185" y="634745"/>
                    <a:pt x="640185" y="637465"/>
                    <a:pt x="640185" y="640184"/>
                  </a:cubicBezTo>
                  <a:cubicBezTo>
                    <a:pt x="640185" y="645624"/>
                    <a:pt x="642905" y="653783"/>
                    <a:pt x="642905" y="659222"/>
                  </a:cubicBezTo>
                  <a:cubicBezTo>
                    <a:pt x="642905" y="661942"/>
                    <a:pt x="642905" y="661942"/>
                    <a:pt x="642905" y="664661"/>
                  </a:cubicBezTo>
                  <a:cubicBezTo>
                    <a:pt x="645624" y="678259"/>
                    <a:pt x="651064" y="678259"/>
                    <a:pt x="653783" y="678259"/>
                  </a:cubicBezTo>
                  <a:lnTo>
                    <a:pt x="653783" y="678259"/>
                  </a:ln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3" name="Freeform: Shape 42">
              <a:extLst>
                <a:ext uri="{FF2B5EF4-FFF2-40B4-BE49-F238E27FC236}">
                  <a16:creationId xmlns:a16="http://schemas.microsoft.com/office/drawing/2014/main" id="{CC240AB8-C073-4DBB-B4F1-A7BAF3CDDD94}"/>
                </a:ext>
              </a:extLst>
            </p:cNvPr>
            <p:cNvSpPr/>
            <p:nvPr/>
          </p:nvSpPr>
          <p:spPr>
            <a:xfrm>
              <a:off x="6362526" y="4242177"/>
              <a:ext cx="492259" cy="674476"/>
            </a:xfrm>
            <a:custGeom>
              <a:avLst/>
              <a:gdLst>
                <a:gd name="connsiteX0" fmla="*/ 225733 w 492259"/>
                <a:gd name="connsiteY0" fmla="*/ 97907 h 674476"/>
                <a:gd name="connsiteX1" fmla="*/ 209415 w 492259"/>
                <a:gd name="connsiteY1" fmla="*/ 119665 h 674476"/>
                <a:gd name="connsiteX2" fmla="*/ 201256 w 492259"/>
                <a:gd name="connsiteY2" fmla="*/ 152300 h 674476"/>
                <a:gd name="connsiteX3" fmla="*/ 198536 w 492259"/>
                <a:gd name="connsiteY3" fmla="*/ 168618 h 674476"/>
                <a:gd name="connsiteX4" fmla="*/ 195817 w 492259"/>
                <a:gd name="connsiteY4" fmla="*/ 184936 h 674476"/>
                <a:gd name="connsiteX5" fmla="*/ 187658 w 492259"/>
                <a:gd name="connsiteY5" fmla="*/ 220292 h 674476"/>
                <a:gd name="connsiteX6" fmla="*/ 168620 w 492259"/>
                <a:gd name="connsiteY6" fmla="*/ 291003 h 674476"/>
                <a:gd name="connsiteX7" fmla="*/ 160461 w 492259"/>
                <a:gd name="connsiteY7" fmla="*/ 323639 h 674476"/>
                <a:gd name="connsiteX8" fmla="*/ 149582 w 492259"/>
                <a:gd name="connsiteY8" fmla="*/ 361714 h 674476"/>
                <a:gd name="connsiteX9" fmla="*/ 144143 w 492259"/>
                <a:gd name="connsiteY9" fmla="*/ 388910 h 674476"/>
                <a:gd name="connsiteX10" fmla="*/ 149582 w 492259"/>
                <a:gd name="connsiteY10" fmla="*/ 391630 h 674476"/>
                <a:gd name="connsiteX11" fmla="*/ 171340 w 492259"/>
                <a:gd name="connsiteY11" fmla="*/ 391630 h 674476"/>
                <a:gd name="connsiteX12" fmla="*/ 193097 w 492259"/>
                <a:gd name="connsiteY12" fmla="*/ 388910 h 674476"/>
                <a:gd name="connsiteX13" fmla="*/ 212135 w 492259"/>
                <a:gd name="connsiteY13" fmla="*/ 388910 h 674476"/>
                <a:gd name="connsiteX14" fmla="*/ 236611 w 492259"/>
                <a:gd name="connsiteY14" fmla="*/ 388910 h 674476"/>
                <a:gd name="connsiteX15" fmla="*/ 250210 w 492259"/>
                <a:gd name="connsiteY15" fmla="*/ 386191 h 674476"/>
                <a:gd name="connsiteX16" fmla="*/ 258369 w 492259"/>
                <a:gd name="connsiteY16" fmla="*/ 386191 h 674476"/>
                <a:gd name="connsiteX17" fmla="*/ 255649 w 492259"/>
                <a:gd name="connsiteY17" fmla="*/ 367153 h 674476"/>
                <a:gd name="connsiteX18" fmla="*/ 250210 w 492259"/>
                <a:gd name="connsiteY18" fmla="*/ 331797 h 674476"/>
                <a:gd name="connsiteX19" fmla="*/ 247490 w 492259"/>
                <a:gd name="connsiteY19" fmla="*/ 244769 h 674476"/>
                <a:gd name="connsiteX20" fmla="*/ 242051 w 492259"/>
                <a:gd name="connsiteY20" fmla="*/ 203974 h 674476"/>
                <a:gd name="connsiteX21" fmla="*/ 236611 w 492259"/>
                <a:gd name="connsiteY21" fmla="*/ 157740 h 674476"/>
                <a:gd name="connsiteX22" fmla="*/ 233892 w 492259"/>
                <a:gd name="connsiteY22" fmla="*/ 119665 h 674476"/>
                <a:gd name="connsiteX23" fmla="*/ 225733 w 492259"/>
                <a:gd name="connsiteY23" fmla="*/ 97907 h 674476"/>
                <a:gd name="connsiteX24" fmla="*/ 274687 w 492259"/>
                <a:gd name="connsiteY24" fmla="*/ 0 h 674476"/>
                <a:gd name="connsiteX25" fmla="*/ 304603 w 492259"/>
                <a:gd name="connsiteY25" fmla="*/ 5439 h 674476"/>
                <a:gd name="connsiteX26" fmla="*/ 320921 w 492259"/>
                <a:gd name="connsiteY26" fmla="*/ 24477 h 674476"/>
                <a:gd name="connsiteX27" fmla="*/ 334519 w 492259"/>
                <a:gd name="connsiteY27" fmla="*/ 43515 h 674476"/>
                <a:gd name="connsiteX28" fmla="*/ 339959 w 492259"/>
                <a:gd name="connsiteY28" fmla="*/ 65272 h 674476"/>
                <a:gd name="connsiteX29" fmla="*/ 348118 w 492259"/>
                <a:gd name="connsiteY29" fmla="*/ 114226 h 674476"/>
                <a:gd name="connsiteX30" fmla="*/ 361716 w 492259"/>
                <a:gd name="connsiteY30" fmla="*/ 163180 h 674476"/>
                <a:gd name="connsiteX31" fmla="*/ 369875 w 492259"/>
                <a:gd name="connsiteY31" fmla="*/ 220293 h 674476"/>
                <a:gd name="connsiteX32" fmla="*/ 378034 w 492259"/>
                <a:gd name="connsiteY32" fmla="*/ 274686 h 674476"/>
                <a:gd name="connsiteX33" fmla="*/ 383473 w 492259"/>
                <a:gd name="connsiteY33" fmla="*/ 301883 h 674476"/>
                <a:gd name="connsiteX34" fmla="*/ 391632 w 492259"/>
                <a:gd name="connsiteY34" fmla="*/ 337238 h 674476"/>
                <a:gd name="connsiteX35" fmla="*/ 397071 w 492259"/>
                <a:gd name="connsiteY35" fmla="*/ 364435 h 674476"/>
                <a:gd name="connsiteX36" fmla="*/ 405230 w 492259"/>
                <a:gd name="connsiteY36" fmla="*/ 383473 h 674476"/>
                <a:gd name="connsiteX37" fmla="*/ 416109 w 492259"/>
                <a:gd name="connsiteY37" fmla="*/ 386192 h 674476"/>
                <a:gd name="connsiteX38" fmla="*/ 426988 w 492259"/>
                <a:gd name="connsiteY38" fmla="*/ 386192 h 674476"/>
                <a:gd name="connsiteX39" fmla="*/ 454184 w 492259"/>
                <a:gd name="connsiteY39" fmla="*/ 397071 h 674476"/>
                <a:gd name="connsiteX40" fmla="*/ 456904 w 492259"/>
                <a:gd name="connsiteY40" fmla="*/ 405230 h 674476"/>
                <a:gd name="connsiteX41" fmla="*/ 451464 w 492259"/>
                <a:gd name="connsiteY41" fmla="*/ 416108 h 674476"/>
                <a:gd name="connsiteX42" fmla="*/ 432427 w 492259"/>
                <a:gd name="connsiteY42" fmla="*/ 429707 h 674476"/>
                <a:gd name="connsiteX43" fmla="*/ 421548 w 492259"/>
                <a:gd name="connsiteY43" fmla="*/ 432426 h 674476"/>
                <a:gd name="connsiteX44" fmla="*/ 413389 w 492259"/>
                <a:gd name="connsiteY44" fmla="*/ 435146 h 674476"/>
                <a:gd name="connsiteX45" fmla="*/ 413389 w 492259"/>
                <a:gd name="connsiteY45" fmla="*/ 440585 h 674476"/>
                <a:gd name="connsiteX46" fmla="*/ 416109 w 492259"/>
                <a:gd name="connsiteY46" fmla="*/ 451464 h 674476"/>
                <a:gd name="connsiteX47" fmla="*/ 418829 w 492259"/>
                <a:gd name="connsiteY47" fmla="*/ 465062 h 674476"/>
                <a:gd name="connsiteX48" fmla="*/ 418829 w 492259"/>
                <a:gd name="connsiteY48" fmla="*/ 475941 h 674476"/>
                <a:gd name="connsiteX49" fmla="*/ 418829 w 492259"/>
                <a:gd name="connsiteY49" fmla="*/ 486820 h 674476"/>
                <a:gd name="connsiteX50" fmla="*/ 426988 w 492259"/>
                <a:gd name="connsiteY50" fmla="*/ 516736 h 674476"/>
                <a:gd name="connsiteX51" fmla="*/ 432427 w 492259"/>
                <a:gd name="connsiteY51" fmla="*/ 543932 h 674476"/>
                <a:gd name="connsiteX52" fmla="*/ 437866 w 492259"/>
                <a:gd name="connsiteY52" fmla="*/ 573848 h 674476"/>
                <a:gd name="connsiteX53" fmla="*/ 443306 w 492259"/>
                <a:gd name="connsiteY53" fmla="*/ 606484 h 674476"/>
                <a:gd name="connsiteX54" fmla="*/ 446025 w 492259"/>
                <a:gd name="connsiteY54" fmla="*/ 617363 h 674476"/>
                <a:gd name="connsiteX55" fmla="*/ 470502 w 492259"/>
                <a:gd name="connsiteY55" fmla="*/ 617363 h 674476"/>
                <a:gd name="connsiteX56" fmla="*/ 492259 w 492259"/>
                <a:gd name="connsiteY56" fmla="*/ 641840 h 674476"/>
                <a:gd name="connsiteX57" fmla="*/ 484101 w 492259"/>
                <a:gd name="connsiteY57" fmla="*/ 655438 h 674476"/>
                <a:gd name="connsiteX58" fmla="*/ 467782 w 492259"/>
                <a:gd name="connsiteY58" fmla="*/ 663597 h 674476"/>
                <a:gd name="connsiteX59" fmla="*/ 443306 w 492259"/>
                <a:gd name="connsiteY59" fmla="*/ 666317 h 674476"/>
                <a:gd name="connsiteX60" fmla="*/ 421548 w 492259"/>
                <a:gd name="connsiteY60" fmla="*/ 666317 h 674476"/>
                <a:gd name="connsiteX61" fmla="*/ 413389 w 492259"/>
                <a:gd name="connsiteY61" fmla="*/ 666317 h 674476"/>
                <a:gd name="connsiteX62" fmla="*/ 399791 w 492259"/>
                <a:gd name="connsiteY62" fmla="*/ 671756 h 674476"/>
                <a:gd name="connsiteX63" fmla="*/ 383473 w 492259"/>
                <a:gd name="connsiteY63" fmla="*/ 674476 h 674476"/>
                <a:gd name="connsiteX64" fmla="*/ 348118 w 492259"/>
                <a:gd name="connsiteY64" fmla="*/ 669036 h 674476"/>
                <a:gd name="connsiteX65" fmla="*/ 326360 w 492259"/>
                <a:gd name="connsiteY65" fmla="*/ 669036 h 674476"/>
                <a:gd name="connsiteX66" fmla="*/ 277406 w 492259"/>
                <a:gd name="connsiteY66" fmla="*/ 669036 h 674476"/>
                <a:gd name="connsiteX67" fmla="*/ 252930 w 492259"/>
                <a:gd name="connsiteY67" fmla="*/ 663597 h 674476"/>
                <a:gd name="connsiteX68" fmla="*/ 236611 w 492259"/>
                <a:gd name="connsiteY68" fmla="*/ 647279 h 674476"/>
                <a:gd name="connsiteX69" fmla="*/ 261088 w 492259"/>
                <a:gd name="connsiteY69" fmla="*/ 630961 h 674476"/>
                <a:gd name="connsiteX70" fmla="*/ 288285 w 492259"/>
                <a:gd name="connsiteY70" fmla="*/ 628241 h 674476"/>
                <a:gd name="connsiteX71" fmla="*/ 285565 w 492259"/>
                <a:gd name="connsiteY71" fmla="*/ 609204 h 674476"/>
                <a:gd name="connsiteX72" fmla="*/ 282846 w 492259"/>
                <a:gd name="connsiteY72" fmla="*/ 582007 h 674476"/>
                <a:gd name="connsiteX73" fmla="*/ 280126 w 492259"/>
                <a:gd name="connsiteY73" fmla="*/ 568409 h 674476"/>
                <a:gd name="connsiteX74" fmla="*/ 282846 w 492259"/>
                <a:gd name="connsiteY74" fmla="*/ 554811 h 674476"/>
                <a:gd name="connsiteX75" fmla="*/ 277406 w 492259"/>
                <a:gd name="connsiteY75" fmla="*/ 538493 h 674476"/>
                <a:gd name="connsiteX76" fmla="*/ 271967 w 492259"/>
                <a:gd name="connsiteY76" fmla="*/ 505857 h 674476"/>
                <a:gd name="connsiteX77" fmla="*/ 269247 w 492259"/>
                <a:gd name="connsiteY77" fmla="*/ 478660 h 674476"/>
                <a:gd name="connsiteX78" fmla="*/ 266528 w 492259"/>
                <a:gd name="connsiteY78" fmla="*/ 446025 h 674476"/>
                <a:gd name="connsiteX79" fmla="*/ 261088 w 492259"/>
                <a:gd name="connsiteY79" fmla="*/ 437866 h 674476"/>
                <a:gd name="connsiteX80" fmla="*/ 250210 w 492259"/>
                <a:gd name="connsiteY80" fmla="*/ 437866 h 674476"/>
                <a:gd name="connsiteX81" fmla="*/ 220293 w 492259"/>
                <a:gd name="connsiteY81" fmla="*/ 440585 h 674476"/>
                <a:gd name="connsiteX82" fmla="*/ 190377 w 492259"/>
                <a:gd name="connsiteY82" fmla="*/ 443305 h 674476"/>
                <a:gd name="connsiteX83" fmla="*/ 165900 w 492259"/>
                <a:gd name="connsiteY83" fmla="*/ 443305 h 674476"/>
                <a:gd name="connsiteX84" fmla="*/ 144143 w 492259"/>
                <a:gd name="connsiteY84" fmla="*/ 440585 h 674476"/>
                <a:gd name="connsiteX85" fmla="*/ 135984 w 492259"/>
                <a:gd name="connsiteY85" fmla="*/ 454184 h 674476"/>
                <a:gd name="connsiteX86" fmla="*/ 130545 w 492259"/>
                <a:gd name="connsiteY86" fmla="*/ 486820 h 674476"/>
                <a:gd name="connsiteX87" fmla="*/ 119666 w 492259"/>
                <a:gd name="connsiteY87" fmla="*/ 541213 h 674476"/>
                <a:gd name="connsiteX88" fmla="*/ 103348 w 492259"/>
                <a:gd name="connsiteY88" fmla="*/ 614643 h 674476"/>
                <a:gd name="connsiteX89" fmla="*/ 133264 w 492259"/>
                <a:gd name="connsiteY89" fmla="*/ 614643 h 674476"/>
                <a:gd name="connsiteX90" fmla="*/ 168620 w 492259"/>
                <a:gd name="connsiteY90" fmla="*/ 630961 h 674476"/>
                <a:gd name="connsiteX91" fmla="*/ 163181 w 492259"/>
                <a:gd name="connsiteY91" fmla="*/ 647279 h 674476"/>
                <a:gd name="connsiteX92" fmla="*/ 146863 w 492259"/>
                <a:gd name="connsiteY92" fmla="*/ 655438 h 674476"/>
                <a:gd name="connsiteX93" fmla="*/ 127825 w 492259"/>
                <a:gd name="connsiteY93" fmla="*/ 658158 h 674476"/>
                <a:gd name="connsiteX94" fmla="*/ 106068 w 492259"/>
                <a:gd name="connsiteY94" fmla="*/ 658158 h 674476"/>
                <a:gd name="connsiteX95" fmla="*/ 62552 w 492259"/>
                <a:gd name="connsiteY95" fmla="*/ 658158 h 674476"/>
                <a:gd name="connsiteX96" fmla="*/ 40795 w 492259"/>
                <a:gd name="connsiteY96" fmla="*/ 658158 h 674476"/>
                <a:gd name="connsiteX97" fmla="*/ 16318 w 492259"/>
                <a:gd name="connsiteY97" fmla="*/ 652718 h 674476"/>
                <a:gd name="connsiteX98" fmla="*/ 0 w 492259"/>
                <a:gd name="connsiteY98" fmla="*/ 636401 h 674476"/>
                <a:gd name="connsiteX99" fmla="*/ 2720 w 492259"/>
                <a:gd name="connsiteY99" fmla="*/ 628241 h 674476"/>
                <a:gd name="connsiteX100" fmla="*/ 24477 w 492259"/>
                <a:gd name="connsiteY100" fmla="*/ 620082 h 674476"/>
                <a:gd name="connsiteX101" fmla="*/ 62552 w 492259"/>
                <a:gd name="connsiteY101" fmla="*/ 617363 h 674476"/>
                <a:gd name="connsiteX102" fmla="*/ 62552 w 492259"/>
                <a:gd name="connsiteY102" fmla="*/ 614643 h 674476"/>
                <a:gd name="connsiteX103" fmla="*/ 65272 w 492259"/>
                <a:gd name="connsiteY103" fmla="*/ 587447 h 674476"/>
                <a:gd name="connsiteX104" fmla="*/ 76151 w 492259"/>
                <a:gd name="connsiteY104" fmla="*/ 522175 h 674476"/>
                <a:gd name="connsiteX105" fmla="*/ 87029 w 492259"/>
                <a:gd name="connsiteY105" fmla="*/ 470501 h 674476"/>
                <a:gd name="connsiteX106" fmla="*/ 92468 w 492259"/>
                <a:gd name="connsiteY106" fmla="*/ 446025 h 674476"/>
                <a:gd name="connsiteX107" fmla="*/ 65272 w 492259"/>
                <a:gd name="connsiteY107" fmla="*/ 432426 h 674476"/>
                <a:gd name="connsiteX108" fmla="*/ 54393 w 492259"/>
                <a:gd name="connsiteY108" fmla="*/ 421548 h 674476"/>
                <a:gd name="connsiteX109" fmla="*/ 73431 w 492259"/>
                <a:gd name="connsiteY109" fmla="*/ 407949 h 674476"/>
                <a:gd name="connsiteX110" fmla="*/ 100629 w 492259"/>
                <a:gd name="connsiteY110" fmla="*/ 399790 h 674476"/>
                <a:gd name="connsiteX111" fmla="*/ 108788 w 492259"/>
                <a:gd name="connsiteY111" fmla="*/ 369874 h 674476"/>
                <a:gd name="connsiteX112" fmla="*/ 125105 w 492259"/>
                <a:gd name="connsiteY112" fmla="*/ 307322 h 674476"/>
                <a:gd name="connsiteX113" fmla="*/ 141423 w 492259"/>
                <a:gd name="connsiteY113" fmla="*/ 242051 h 674476"/>
                <a:gd name="connsiteX114" fmla="*/ 155022 w 492259"/>
                <a:gd name="connsiteY114" fmla="*/ 179498 h 674476"/>
                <a:gd name="connsiteX115" fmla="*/ 168620 w 492259"/>
                <a:gd name="connsiteY115" fmla="*/ 119665 h 674476"/>
                <a:gd name="connsiteX116" fmla="*/ 193097 w 492259"/>
                <a:gd name="connsiteY116" fmla="*/ 57113 h 674476"/>
                <a:gd name="connsiteX117" fmla="*/ 201256 w 492259"/>
                <a:gd name="connsiteY117" fmla="*/ 38075 h 674476"/>
                <a:gd name="connsiteX118" fmla="*/ 217574 w 492259"/>
                <a:gd name="connsiteY118" fmla="*/ 13598 h 674476"/>
                <a:gd name="connsiteX119" fmla="*/ 274687 w 492259"/>
                <a:gd name="connsiteY119" fmla="*/ 0 h 6744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</a:cxnLst>
              <a:rect l="l" t="t" r="r" b="b"/>
              <a:pathLst>
                <a:path w="492259" h="674476">
                  <a:moveTo>
                    <a:pt x="225733" y="97907"/>
                  </a:moveTo>
                  <a:cubicBezTo>
                    <a:pt x="217574" y="97907"/>
                    <a:pt x="209415" y="114225"/>
                    <a:pt x="209415" y="119665"/>
                  </a:cubicBezTo>
                  <a:cubicBezTo>
                    <a:pt x="206695" y="130543"/>
                    <a:pt x="203976" y="144141"/>
                    <a:pt x="201256" y="152300"/>
                  </a:cubicBezTo>
                  <a:cubicBezTo>
                    <a:pt x="198536" y="157740"/>
                    <a:pt x="198536" y="163179"/>
                    <a:pt x="198536" y="168618"/>
                  </a:cubicBezTo>
                  <a:cubicBezTo>
                    <a:pt x="198536" y="174058"/>
                    <a:pt x="195817" y="179497"/>
                    <a:pt x="195817" y="184936"/>
                  </a:cubicBezTo>
                  <a:cubicBezTo>
                    <a:pt x="193097" y="195815"/>
                    <a:pt x="190377" y="209413"/>
                    <a:pt x="187658" y="220292"/>
                  </a:cubicBezTo>
                  <a:cubicBezTo>
                    <a:pt x="184938" y="244769"/>
                    <a:pt x="176779" y="269246"/>
                    <a:pt x="168620" y="291003"/>
                  </a:cubicBezTo>
                  <a:cubicBezTo>
                    <a:pt x="165900" y="301881"/>
                    <a:pt x="163181" y="312760"/>
                    <a:pt x="160461" y="323639"/>
                  </a:cubicBezTo>
                  <a:cubicBezTo>
                    <a:pt x="157742" y="337237"/>
                    <a:pt x="155022" y="348115"/>
                    <a:pt x="149582" y="361714"/>
                  </a:cubicBezTo>
                  <a:cubicBezTo>
                    <a:pt x="146863" y="367153"/>
                    <a:pt x="144143" y="383471"/>
                    <a:pt x="144143" y="388910"/>
                  </a:cubicBezTo>
                  <a:cubicBezTo>
                    <a:pt x="144143" y="391630"/>
                    <a:pt x="146863" y="391630"/>
                    <a:pt x="149582" y="391630"/>
                  </a:cubicBezTo>
                  <a:cubicBezTo>
                    <a:pt x="155022" y="391630"/>
                    <a:pt x="168620" y="391630"/>
                    <a:pt x="171340" y="391630"/>
                  </a:cubicBezTo>
                  <a:cubicBezTo>
                    <a:pt x="179498" y="391630"/>
                    <a:pt x="187658" y="391630"/>
                    <a:pt x="193097" y="388910"/>
                  </a:cubicBezTo>
                  <a:cubicBezTo>
                    <a:pt x="198536" y="388910"/>
                    <a:pt x="203976" y="388910"/>
                    <a:pt x="212135" y="388910"/>
                  </a:cubicBezTo>
                  <a:cubicBezTo>
                    <a:pt x="217574" y="388910"/>
                    <a:pt x="225733" y="388910"/>
                    <a:pt x="236611" y="388910"/>
                  </a:cubicBezTo>
                  <a:cubicBezTo>
                    <a:pt x="242051" y="388910"/>
                    <a:pt x="247490" y="388910"/>
                    <a:pt x="250210" y="386191"/>
                  </a:cubicBezTo>
                  <a:cubicBezTo>
                    <a:pt x="255649" y="391630"/>
                    <a:pt x="258369" y="388910"/>
                    <a:pt x="258369" y="386191"/>
                  </a:cubicBezTo>
                  <a:cubicBezTo>
                    <a:pt x="258369" y="380751"/>
                    <a:pt x="255649" y="372592"/>
                    <a:pt x="255649" y="367153"/>
                  </a:cubicBezTo>
                  <a:cubicBezTo>
                    <a:pt x="252930" y="353555"/>
                    <a:pt x="250210" y="342676"/>
                    <a:pt x="250210" y="331797"/>
                  </a:cubicBezTo>
                  <a:cubicBezTo>
                    <a:pt x="250210" y="301881"/>
                    <a:pt x="250210" y="274685"/>
                    <a:pt x="247490" y="244769"/>
                  </a:cubicBezTo>
                  <a:cubicBezTo>
                    <a:pt x="247490" y="231170"/>
                    <a:pt x="244771" y="217572"/>
                    <a:pt x="242051" y="203974"/>
                  </a:cubicBezTo>
                  <a:cubicBezTo>
                    <a:pt x="239331" y="187656"/>
                    <a:pt x="236611" y="174058"/>
                    <a:pt x="236611" y="157740"/>
                  </a:cubicBezTo>
                  <a:cubicBezTo>
                    <a:pt x="236611" y="152300"/>
                    <a:pt x="236611" y="133263"/>
                    <a:pt x="233892" y="119665"/>
                  </a:cubicBezTo>
                  <a:cubicBezTo>
                    <a:pt x="233892" y="106066"/>
                    <a:pt x="231172" y="97907"/>
                    <a:pt x="225733" y="97907"/>
                  </a:cubicBezTo>
                  <a:close/>
                  <a:moveTo>
                    <a:pt x="274687" y="0"/>
                  </a:moveTo>
                  <a:cubicBezTo>
                    <a:pt x="288285" y="0"/>
                    <a:pt x="293724" y="2720"/>
                    <a:pt x="304603" y="5439"/>
                  </a:cubicBezTo>
                  <a:cubicBezTo>
                    <a:pt x="315481" y="10879"/>
                    <a:pt x="315481" y="16318"/>
                    <a:pt x="320921" y="24477"/>
                  </a:cubicBezTo>
                  <a:cubicBezTo>
                    <a:pt x="326360" y="29916"/>
                    <a:pt x="331800" y="35356"/>
                    <a:pt x="334519" y="43515"/>
                  </a:cubicBezTo>
                  <a:cubicBezTo>
                    <a:pt x="337239" y="51674"/>
                    <a:pt x="337239" y="57113"/>
                    <a:pt x="339959" y="65272"/>
                  </a:cubicBezTo>
                  <a:cubicBezTo>
                    <a:pt x="345398" y="78870"/>
                    <a:pt x="342678" y="97908"/>
                    <a:pt x="348118" y="114226"/>
                  </a:cubicBezTo>
                  <a:cubicBezTo>
                    <a:pt x="350837" y="130544"/>
                    <a:pt x="358996" y="146863"/>
                    <a:pt x="361716" y="163180"/>
                  </a:cubicBezTo>
                  <a:cubicBezTo>
                    <a:pt x="364435" y="182218"/>
                    <a:pt x="364435" y="201256"/>
                    <a:pt x="369875" y="220293"/>
                  </a:cubicBezTo>
                  <a:cubicBezTo>
                    <a:pt x="375314" y="239331"/>
                    <a:pt x="378034" y="255649"/>
                    <a:pt x="378034" y="274686"/>
                  </a:cubicBezTo>
                  <a:cubicBezTo>
                    <a:pt x="378034" y="282845"/>
                    <a:pt x="380753" y="293724"/>
                    <a:pt x="383473" y="301883"/>
                  </a:cubicBezTo>
                  <a:cubicBezTo>
                    <a:pt x="386193" y="312762"/>
                    <a:pt x="388913" y="326360"/>
                    <a:pt x="391632" y="337238"/>
                  </a:cubicBezTo>
                  <a:cubicBezTo>
                    <a:pt x="391632" y="342678"/>
                    <a:pt x="394352" y="353556"/>
                    <a:pt x="397071" y="364435"/>
                  </a:cubicBezTo>
                  <a:cubicBezTo>
                    <a:pt x="399791" y="372594"/>
                    <a:pt x="402511" y="380753"/>
                    <a:pt x="405230" y="383473"/>
                  </a:cubicBezTo>
                  <a:cubicBezTo>
                    <a:pt x="407950" y="386192"/>
                    <a:pt x="413389" y="386192"/>
                    <a:pt x="416109" y="386192"/>
                  </a:cubicBezTo>
                  <a:cubicBezTo>
                    <a:pt x="418829" y="386192"/>
                    <a:pt x="424268" y="386192"/>
                    <a:pt x="426988" y="386192"/>
                  </a:cubicBezTo>
                  <a:cubicBezTo>
                    <a:pt x="437866" y="386192"/>
                    <a:pt x="448745" y="388912"/>
                    <a:pt x="454184" y="397071"/>
                  </a:cubicBezTo>
                  <a:cubicBezTo>
                    <a:pt x="456904" y="399790"/>
                    <a:pt x="456904" y="402510"/>
                    <a:pt x="456904" y="405230"/>
                  </a:cubicBezTo>
                  <a:cubicBezTo>
                    <a:pt x="456904" y="407949"/>
                    <a:pt x="454184" y="410669"/>
                    <a:pt x="451464" y="416108"/>
                  </a:cubicBezTo>
                  <a:cubicBezTo>
                    <a:pt x="446025" y="421548"/>
                    <a:pt x="440586" y="426987"/>
                    <a:pt x="432427" y="429707"/>
                  </a:cubicBezTo>
                  <a:cubicBezTo>
                    <a:pt x="429707" y="429707"/>
                    <a:pt x="426988" y="432426"/>
                    <a:pt x="421548" y="432426"/>
                  </a:cubicBezTo>
                  <a:cubicBezTo>
                    <a:pt x="418829" y="432426"/>
                    <a:pt x="416109" y="432426"/>
                    <a:pt x="413389" y="435146"/>
                  </a:cubicBezTo>
                  <a:cubicBezTo>
                    <a:pt x="413389" y="435146"/>
                    <a:pt x="413389" y="437866"/>
                    <a:pt x="413389" y="440585"/>
                  </a:cubicBezTo>
                  <a:cubicBezTo>
                    <a:pt x="413389" y="443305"/>
                    <a:pt x="413389" y="448744"/>
                    <a:pt x="416109" y="451464"/>
                  </a:cubicBezTo>
                  <a:cubicBezTo>
                    <a:pt x="416109" y="456903"/>
                    <a:pt x="418829" y="462343"/>
                    <a:pt x="418829" y="465062"/>
                  </a:cubicBezTo>
                  <a:lnTo>
                    <a:pt x="418829" y="475941"/>
                  </a:lnTo>
                  <a:cubicBezTo>
                    <a:pt x="418829" y="481380"/>
                    <a:pt x="418829" y="484100"/>
                    <a:pt x="418829" y="486820"/>
                  </a:cubicBezTo>
                  <a:cubicBezTo>
                    <a:pt x="421548" y="497698"/>
                    <a:pt x="424268" y="505857"/>
                    <a:pt x="426988" y="516736"/>
                  </a:cubicBezTo>
                  <a:cubicBezTo>
                    <a:pt x="426988" y="524895"/>
                    <a:pt x="429707" y="535773"/>
                    <a:pt x="432427" y="543932"/>
                  </a:cubicBezTo>
                  <a:cubicBezTo>
                    <a:pt x="435147" y="554811"/>
                    <a:pt x="437866" y="562970"/>
                    <a:pt x="437866" y="573848"/>
                  </a:cubicBezTo>
                  <a:cubicBezTo>
                    <a:pt x="437866" y="587447"/>
                    <a:pt x="440586" y="595606"/>
                    <a:pt x="443306" y="606484"/>
                  </a:cubicBezTo>
                  <a:cubicBezTo>
                    <a:pt x="443306" y="609204"/>
                    <a:pt x="446025" y="614643"/>
                    <a:pt x="446025" y="617363"/>
                  </a:cubicBezTo>
                  <a:cubicBezTo>
                    <a:pt x="454184" y="617363"/>
                    <a:pt x="462343" y="617363"/>
                    <a:pt x="470502" y="617363"/>
                  </a:cubicBezTo>
                  <a:cubicBezTo>
                    <a:pt x="475942" y="625522"/>
                    <a:pt x="492259" y="630961"/>
                    <a:pt x="492259" y="641840"/>
                  </a:cubicBezTo>
                  <a:cubicBezTo>
                    <a:pt x="492259" y="647279"/>
                    <a:pt x="486820" y="649999"/>
                    <a:pt x="484101" y="655438"/>
                  </a:cubicBezTo>
                  <a:cubicBezTo>
                    <a:pt x="481381" y="660877"/>
                    <a:pt x="473222" y="663597"/>
                    <a:pt x="467782" y="663597"/>
                  </a:cubicBezTo>
                  <a:cubicBezTo>
                    <a:pt x="456904" y="666317"/>
                    <a:pt x="451464" y="666317"/>
                    <a:pt x="443306" y="666317"/>
                  </a:cubicBezTo>
                  <a:cubicBezTo>
                    <a:pt x="437866" y="666317"/>
                    <a:pt x="429707" y="666317"/>
                    <a:pt x="421548" y="666317"/>
                  </a:cubicBezTo>
                  <a:cubicBezTo>
                    <a:pt x="418829" y="666317"/>
                    <a:pt x="416109" y="666317"/>
                    <a:pt x="413389" y="666317"/>
                  </a:cubicBezTo>
                  <a:cubicBezTo>
                    <a:pt x="407950" y="669036"/>
                    <a:pt x="405230" y="669036"/>
                    <a:pt x="399791" y="671756"/>
                  </a:cubicBezTo>
                  <a:cubicBezTo>
                    <a:pt x="394352" y="671756"/>
                    <a:pt x="388913" y="674476"/>
                    <a:pt x="383473" y="674476"/>
                  </a:cubicBezTo>
                  <a:cubicBezTo>
                    <a:pt x="372594" y="674476"/>
                    <a:pt x="358996" y="671756"/>
                    <a:pt x="348118" y="669036"/>
                  </a:cubicBezTo>
                  <a:cubicBezTo>
                    <a:pt x="339959" y="669036"/>
                    <a:pt x="331800" y="669036"/>
                    <a:pt x="326360" y="669036"/>
                  </a:cubicBezTo>
                  <a:cubicBezTo>
                    <a:pt x="304603" y="669036"/>
                    <a:pt x="285565" y="669036"/>
                    <a:pt x="277406" y="669036"/>
                  </a:cubicBezTo>
                  <a:cubicBezTo>
                    <a:pt x="269247" y="669036"/>
                    <a:pt x="258369" y="669036"/>
                    <a:pt x="252930" y="663597"/>
                  </a:cubicBezTo>
                  <a:cubicBezTo>
                    <a:pt x="247490" y="660877"/>
                    <a:pt x="236611" y="655438"/>
                    <a:pt x="236611" y="647279"/>
                  </a:cubicBezTo>
                  <a:cubicBezTo>
                    <a:pt x="236611" y="636401"/>
                    <a:pt x="252930" y="633681"/>
                    <a:pt x="261088" y="630961"/>
                  </a:cubicBezTo>
                  <a:cubicBezTo>
                    <a:pt x="266528" y="630961"/>
                    <a:pt x="274687" y="630961"/>
                    <a:pt x="288285" y="628241"/>
                  </a:cubicBezTo>
                  <a:cubicBezTo>
                    <a:pt x="288285" y="620082"/>
                    <a:pt x="288285" y="614643"/>
                    <a:pt x="285565" y="609204"/>
                  </a:cubicBezTo>
                  <a:cubicBezTo>
                    <a:pt x="285565" y="601045"/>
                    <a:pt x="282846" y="590166"/>
                    <a:pt x="282846" y="582007"/>
                  </a:cubicBezTo>
                  <a:cubicBezTo>
                    <a:pt x="282846" y="576568"/>
                    <a:pt x="280126" y="573848"/>
                    <a:pt x="280126" y="568409"/>
                  </a:cubicBezTo>
                  <a:cubicBezTo>
                    <a:pt x="280126" y="562970"/>
                    <a:pt x="282846" y="557531"/>
                    <a:pt x="282846" y="554811"/>
                  </a:cubicBezTo>
                  <a:cubicBezTo>
                    <a:pt x="282846" y="549371"/>
                    <a:pt x="280126" y="546652"/>
                    <a:pt x="277406" y="538493"/>
                  </a:cubicBezTo>
                  <a:cubicBezTo>
                    <a:pt x="277406" y="527614"/>
                    <a:pt x="271967" y="516736"/>
                    <a:pt x="271967" y="505857"/>
                  </a:cubicBezTo>
                  <a:cubicBezTo>
                    <a:pt x="271967" y="494978"/>
                    <a:pt x="271967" y="486820"/>
                    <a:pt x="269247" y="478660"/>
                  </a:cubicBezTo>
                  <a:cubicBezTo>
                    <a:pt x="266528" y="467782"/>
                    <a:pt x="266528" y="456903"/>
                    <a:pt x="266528" y="446025"/>
                  </a:cubicBezTo>
                  <a:cubicBezTo>
                    <a:pt x="266528" y="440585"/>
                    <a:pt x="263808" y="437866"/>
                    <a:pt x="261088" y="437866"/>
                  </a:cubicBezTo>
                  <a:cubicBezTo>
                    <a:pt x="258369" y="437866"/>
                    <a:pt x="255649" y="437866"/>
                    <a:pt x="250210" y="437866"/>
                  </a:cubicBezTo>
                  <a:cubicBezTo>
                    <a:pt x="239331" y="437866"/>
                    <a:pt x="228452" y="437866"/>
                    <a:pt x="220293" y="440585"/>
                  </a:cubicBezTo>
                  <a:cubicBezTo>
                    <a:pt x="209415" y="440585"/>
                    <a:pt x="201256" y="443305"/>
                    <a:pt x="190377" y="443305"/>
                  </a:cubicBezTo>
                  <a:cubicBezTo>
                    <a:pt x="182218" y="443305"/>
                    <a:pt x="174059" y="443305"/>
                    <a:pt x="165900" y="443305"/>
                  </a:cubicBezTo>
                  <a:cubicBezTo>
                    <a:pt x="163181" y="443305"/>
                    <a:pt x="152302" y="440585"/>
                    <a:pt x="144143" y="440585"/>
                  </a:cubicBezTo>
                  <a:cubicBezTo>
                    <a:pt x="135984" y="440585"/>
                    <a:pt x="135984" y="448744"/>
                    <a:pt x="135984" y="454184"/>
                  </a:cubicBezTo>
                  <a:cubicBezTo>
                    <a:pt x="135984" y="465062"/>
                    <a:pt x="133264" y="475941"/>
                    <a:pt x="130545" y="486820"/>
                  </a:cubicBezTo>
                  <a:cubicBezTo>
                    <a:pt x="127825" y="505857"/>
                    <a:pt x="122386" y="522175"/>
                    <a:pt x="119666" y="541213"/>
                  </a:cubicBezTo>
                  <a:cubicBezTo>
                    <a:pt x="116947" y="560250"/>
                    <a:pt x="108788" y="595606"/>
                    <a:pt x="103348" y="614643"/>
                  </a:cubicBezTo>
                  <a:cubicBezTo>
                    <a:pt x="111507" y="614643"/>
                    <a:pt x="122386" y="614643"/>
                    <a:pt x="133264" y="614643"/>
                  </a:cubicBezTo>
                  <a:cubicBezTo>
                    <a:pt x="146863" y="614643"/>
                    <a:pt x="168620" y="614643"/>
                    <a:pt x="168620" y="630961"/>
                  </a:cubicBezTo>
                  <a:cubicBezTo>
                    <a:pt x="168620" y="639120"/>
                    <a:pt x="165900" y="639120"/>
                    <a:pt x="163181" y="647279"/>
                  </a:cubicBezTo>
                  <a:cubicBezTo>
                    <a:pt x="160461" y="652718"/>
                    <a:pt x="152302" y="655438"/>
                    <a:pt x="146863" y="655438"/>
                  </a:cubicBezTo>
                  <a:cubicBezTo>
                    <a:pt x="138704" y="658158"/>
                    <a:pt x="133264" y="658158"/>
                    <a:pt x="127825" y="658158"/>
                  </a:cubicBezTo>
                  <a:cubicBezTo>
                    <a:pt x="122386" y="658158"/>
                    <a:pt x="116947" y="658158"/>
                    <a:pt x="106068" y="658158"/>
                  </a:cubicBezTo>
                  <a:cubicBezTo>
                    <a:pt x="92468" y="658158"/>
                    <a:pt x="78870" y="658158"/>
                    <a:pt x="62552" y="658158"/>
                  </a:cubicBezTo>
                  <a:cubicBezTo>
                    <a:pt x="54393" y="658158"/>
                    <a:pt x="46234" y="658158"/>
                    <a:pt x="40795" y="658158"/>
                  </a:cubicBezTo>
                  <a:cubicBezTo>
                    <a:pt x="32636" y="658158"/>
                    <a:pt x="21758" y="658158"/>
                    <a:pt x="16318" y="652718"/>
                  </a:cubicBezTo>
                  <a:cubicBezTo>
                    <a:pt x="8159" y="649999"/>
                    <a:pt x="0" y="641840"/>
                    <a:pt x="0" y="636401"/>
                  </a:cubicBezTo>
                  <a:cubicBezTo>
                    <a:pt x="0" y="633681"/>
                    <a:pt x="0" y="630961"/>
                    <a:pt x="2720" y="628241"/>
                  </a:cubicBezTo>
                  <a:cubicBezTo>
                    <a:pt x="8159" y="625522"/>
                    <a:pt x="16318" y="622802"/>
                    <a:pt x="24477" y="620082"/>
                  </a:cubicBezTo>
                  <a:cubicBezTo>
                    <a:pt x="38075" y="617363"/>
                    <a:pt x="48954" y="617363"/>
                    <a:pt x="62552" y="617363"/>
                  </a:cubicBezTo>
                  <a:cubicBezTo>
                    <a:pt x="62552" y="617363"/>
                    <a:pt x="62552" y="614643"/>
                    <a:pt x="62552" y="614643"/>
                  </a:cubicBezTo>
                  <a:cubicBezTo>
                    <a:pt x="62552" y="603765"/>
                    <a:pt x="65272" y="590166"/>
                    <a:pt x="65272" y="587447"/>
                  </a:cubicBezTo>
                  <a:cubicBezTo>
                    <a:pt x="67992" y="565689"/>
                    <a:pt x="73431" y="543932"/>
                    <a:pt x="76151" y="522175"/>
                  </a:cubicBezTo>
                  <a:cubicBezTo>
                    <a:pt x="78870" y="505857"/>
                    <a:pt x="81590" y="486820"/>
                    <a:pt x="87029" y="470501"/>
                  </a:cubicBezTo>
                  <a:cubicBezTo>
                    <a:pt x="87029" y="465062"/>
                    <a:pt x="92468" y="451464"/>
                    <a:pt x="92468" y="446025"/>
                  </a:cubicBezTo>
                  <a:cubicBezTo>
                    <a:pt x="92468" y="437866"/>
                    <a:pt x="73431" y="437866"/>
                    <a:pt x="65272" y="432426"/>
                  </a:cubicBezTo>
                  <a:cubicBezTo>
                    <a:pt x="59833" y="429707"/>
                    <a:pt x="54393" y="426987"/>
                    <a:pt x="54393" y="421548"/>
                  </a:cubicBezTo>
                  <a:cubicBezTo>
                    <a:pt x="54393" y="413389"/>
                    <a:pt x="62552" y="410669"/>
                    <a:pt x="73431" y="407949"/>
                  </a:cubicBezTo>
                  <a:cubicBezTo>
                    <a:pt x="78870" y="407949"/>
                    <a:pt x="92468" y="405230"/>
                    <a:pt x="100629" y="399790"/>
                  </a:cubicBezTo>
                  <a:cubicBezTo>
                    <a:pt x="106068" y="394351"/>
                    <a:pt x="106068" y="378033"/>
                    <a:pt x="108788" y="369874"/>
                  </a:cubicBezTo>
                  <a:cubicBezTo>
                    <a:pt x="114227" y="348117"/>
                    <a:pt x="119666" y="326360"/>
                    <a:pt x="125105" y="307322"/>
                  </a:cubicBezTo>
                  <a:cubicBezTo>
                    <a:pt x="130545" y="285565"/>
                    <a:pt x="135984" y="263808"/>
                    <a:pt x="141423" y="242051"/>
                  </a:cubicBezTo>
                  <a:cubicBezTo>
                    <a:pt x="146863" y="220293"/>
                    <a:pt x="152302" y="198536"/>
                    <a:pt x="155022" y="179498"/>
                  </a:cubicBezTo>
                  <a:cubicBezTo>
                    <a:pt x="157742" y="160461"/>
                    <a:pt x="163181" y="138703"/>
                    <a:pt x="168620" y="119665"/>
                  </a:cubicBezTo>
                  <a:cubicBezTo>
                    <a:pt x="176779" y="100627"/>
                    <a:pt x="182218" y="76150"/>
                    <a:pt x="193097" y="57113"/>
                  </a:cubicBezTo>
                  <a:lnTo>
                    <a:pt x="201256" y="38075"/>
                  </a:lnTo>
                  <a:cubicBezTo>
                    <a:pt x="206695" y="29916"/>
                    <a:pt x="209415" y="19038"/>
                    <a:pt x="217574" y="13598"/>
                  </a:cubicBezTo>
                  <a:cubicBezTo>
                    <a:pt x="231172" y="2720"/>
                    <a:pt x="255649" y="0"/>
                    <a:pt x="274687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4" name="Freeform: Shape 43">
              <a:extLst>
                <a:ext uri="{FF2B5EF4-FFF2-40B4-BE49-F238E27FC236}">
                  <a16:creationId xmlns:a16="http://schemas.microsoft.com/office/drawing/2014/main" id="{7256CA01-A592-4EFF-B363-73DF3F9E94E9}"/>
                </a:ext>
              </a:extLst>
            </p:cNvPr>
            <p:cNvSpPr/>
            <p:nvPr/>
          </p:nvSpPr>
          <p:spPr>
            <a:xfrm>
              <a:off x="6876542" y="4244897"/>
              <a:ext cx="462342" cy="677195"/>
            </a:xfrm>
            <a:custGeom>
              <a:avLst/>
              <a:gdLst>
                <a:gd name="connsiteX0" fmla="*/ 214853 w 462342"/>
                <a:gd name="connsiteY0" fmla="*/ 65272 h 677195"/>
                <a:gd name="connsiteX1" fmla="*/ 195815 w 462342"/>
                <a:gd name="connsiteY1" fmla="*/ 73431 h 677195"/>
                <a:gd name="connsiteX2" fmla="*/ 193096 w 462342"/>
                <a:gd name="connsiteY2" fmla="*/ 125105 h 677195"/>
                <a:gd name="connsiteX3" fmla="*/ 190376 w 462342"/>
                <a:gd name="connsiteY3" fmla="*/ 280125 h 677195"/>
                <a:gd name="connsiteX4" fmla="*/ 190376 w 462342"/>
                <a:gd name="connsiteY4" fmla="*/ 301882 h 677195"/>
                <a:gd name="connsiteX5" fmla="*/ 193096 w 462342"/>
                <a:gd name="connsiteY5" fmla="*/ 342677 h 677195"/>
                <a:gd name="connsiteX6" fmla="*/ 195815 w 462342"/>
                <a:gd name="connsiteY6" fmla="*/ 397070 h 677195"/>
                <a:gd name="connsiteX7" fmla="*/ 195815 w 462342"/>
                <a:gd name="connsiteY7" fmla="*/ 443304 h 677195"/>
                <a:gd name="connsiteX8" fmla="*/ 195815 w 462342"/>
                <a:gd name="connsiteY8" fmla="*/ 530333 h 677195"/>
                <a:gd name="connsiteX9" fmla="*/ 193096 w 462342"/>
                <a:gd name="connsiteY9" fmla="*/ 554810 h 677195"/>
                <a:gd name="connsiteX10" fmla="*/ 190376 w 462342"/>
                <a:gd name="connsiteY10" fmla="*/ 603764 h 677195"/>
                <a:gd name="connsiteX11" fmla="*/ 198535 w 462342"/>
                <a:gd name="connsiteY11" fmla="*/ 611923 h 677195"/>
                <a:gd name="connsiteX12" fmla="*/ 214853 w 462342"/>
                <a:gd name="connsiteY12" fmla="*/ 611923 h 677195"/>
                <a:gd name="connsiteX13" fmla="*/ 236610 w 462342"/>
                <a:gd name="connsiteY13" fmla="*/ 611923 h 677195"/>
                <a:gd name="connsiteX14" fmla="*/ 263807 w 462342"/>
                <a:gd name="connsiteY14" fmla="*/ 598325 h 677195"/>
                <a:gd name="connsiteX15" fmla="*/ 277405 w 462342"/>
                <a:gd name="connsiteY15" fmla="*/ 592885 h 677195"/>
                <a:gd name="connsiteX16" fmla="*/ 291004 w 462342"/>
                <a:gd name="connsiteY16" fmla="*/ 573848 h 677195"/>
                <a:gd name="connsiteX17" fmla="*/ 307322 w 462342"/>
                <a:gd name="connsiteY17" fmla="*/ 543931 h 677195"/>
                <a:gd name="connsiteX18" fmla="*/ 326359 w 462342"/>
                <a:gd name="connsiteY18" fmla="*/ 481379 h 677195"/>
                <a:gd name="connsiteX19" fmla="*/ 337238 w 462342"/>
                <a:gd name="connsiteY19" fmla="*/ 413388 h 677195"/>
                <a:gd name="connsiteX20" fmla="*/ 337238 w 462342"/>
                <a:gd name="connsiteY20" fmla="*/ 350836 h 677195"/>
                <a:gd name="connsiteX21" fmla="*/ 334518 w 462342"/>
                <a:gd name="connsiteY21" fmla="*/ 296443 h 677195"/>
                <a:gd name="connsiteX22" fmla="*/ 329079 w 462342"/>
                <a:gd name="connsiteY22" fmla="*/ 244769 h 677195"/>
                <a:gd name="connsiteX23" fmla="*/ 307322 w 462342"/>
                <a:gd name="connsiteY23" fmla="*/ 135983 h 677195"/>
                <a:gd name="connsiteX24" fmla="*/ 271966 w 462342"/>
                <a:gd name="connsiteY24" fmla="*/ 78870 h 677195"/>
                <a:gd name="connsiteX25" fmla="*/ 214853 w 462342"/>
                <a:gd name="connsiteY25" fmla="*/ 65272 h 677195"/>
                <a:gd name="connsiteX26" fmla="*/ 114226 w 462342"/>
                <a:gd name="connsiteY26" fmla="*/ 0 h 677195"/>
                <a:gd name="connsiteX27" fmla="*/ 127824 w 462342"/>
                <a:gd name="connsiteY27" fmla="*/ 0 h 677195"/>
                <a:gd name="connsiteX28" fmla="*/ 146862 w 462342"/>
                <a:gd name="connsiteY28" fmla="*/ 2720 h 677195"/>
                <a:gd name="connsiteX29" fmla="*/ 174059 w 462342"/>
                <a:gd name="connsiteY29" fmla="*/ 21758 h 677195"/>
                <a:gd name="connsiteX30" fmla="*/ 193096 w 462342"/>
                <a:gd name="connsiteY30" fmla="*/ 21758 h 677195"/>
                <a:gd name="connsiteX31" fmla="*/ 261088 w 462342"/>
                <a:gd name="connsiteY31" fmla="*/ 27197 h 677195"/>
                <a:gd name="connsiteX32" fmla="*/ 310042 w 462342"/>
                <a:gd name="connsiteY32" fmla="*/ 35356 h 677195"/>
                <a:gd name="connsiteX33" fmla="*/ 334518 w 462342"/>
                <a:gd name="connsiteY33" fmla="*/ 40795 h 677195"/>
                <a:gd name="connsiteX34" fmla="*/ 356276 w 462342"/>
                <a:gd name="connsiteY34" fmla="*/ 59833 h 677195"/>
                <a:gd name="connsiteX35" fmla="*/ 372593 w 462342"/>
                <a:gd name="connsiteY35" fmla="*/ 76151 h 677195"/>
                <a:gd name="connsiteX36" fmla="*/ 380752 w 462342"/>
                <a:gd name="connsiteY36" fmla="*/ 95188 h 677195"/>
                <a:gd name="connsiteX37" fmla="*/ 405230 w 462342"/>
                <a:gd name="connsiteY37" fmla="*/ 114226 h 677195"/>
                <a:gd name="connsiteX38" fmla="*/ 416108 w 462342"/>
                <a:gd name="connsiteY38" fmla="*/ 141422 h 677195"/>
                <a:gd name="connsiteX39" fmla="*/ 451464 w 462342"/>
                <a:gd name="connsiteY39" fmla="*/ 201256 h 677195"/>
                <a:gd name="connsiteX40" fmla="*/ 456903 w 462342"/>
                <a:gd name="connsiteY40" fmla="*/ 252929 h 677195"/>
                <a:gd name="connsiteX41" fmla="*/ 456903 w 462342"/>
                <a:gd name="connsiteY41" fmla="*/ 291004 h 677195"/>
                <a:gd name="connsiteX42" fmla="*/ 459623 w 462342"/>
                <a:gd name="connsiteY42" fmla="*/ 318201 h 677195"/>
                <a:gd name="connsiteX43" fmla="*/ 459623 w 462342"/>
                <a:gd name="connsiteY43" fmla="*/ 326360 h 677195"/>
                <a:gd name="connsiteX44" fmla="*/ 459623 w 462342"/>
                <a:gd name="connsiteY44" fmla="*/ 348117 h 677195"/>
                <a:gd name="connsiteX45" fmla="*/ 462342 w 462342"/>
                <a:gd name="connsiteY45" fmla="*/ 367155 h 677195"/>
                <a:gd name="connsiteX46" fmla="*/ 456903 w 462342"/>
                <a:gd name="connsiteY46" fmla="*/ 391632 h 677195"/>
                <a:gd name="connsiteX47" fmla="*/ 456903 w 462342"/>
                <a:gd name="connsiteY47" fmla="*/ 418828 h 677195"/>
                <a:gd name="connsiteX48" fmla="*/ 451464 w 462342"/>
                <a:gd name="connsiteY48" fmla="*/ 437866 h 677195"/>
                <a:gd name="connsiteX49" fmla="*/ 446025 w 462342"/>
                <a:gd name="connsiteY49" fmla="*/ 454184 h 677195"/>
                <a:gd name="connsiteX50" fmla="*/ 440585 w 462342"/>
                <a:gd name="connsiteY50" fmla="*/ 481380 h 677195"/>
                <a:gd name="connsiteX51" fmla="*/ 432426 w 462342"/>
                <a:gd name="connsiteY51" fmla="*/ 508577 h 677195"/>
                <a:gd name="connsiteX52" fmla="*/ 418828 w 462342"/>
                <a:gd name="connsiteY52" fmla="*/ 530334 h 677195"/>
                <a:gd name="connsiteX53" fmla="*/ 410669 w 462342"/>
                <a:gd name="connsiteY53" fmla="*/ 549371 h 677195"/>
                <a:gd name="connsiteX54" fmla="*/ 391631 w 462342"/>
                <a:gd name="connsiteY54" fmla="*/ 579288 h 677195"/>
                <a:gd name="connsiteX55" fmla="*/ 337238 w 462342"/>
                <a:gd name="connsiteY55" fmla="*/ 630961 h 677195"/>
                <a:gd name="connsiteX56" fmla="*/ 301883 w 462342"/>
                <a:gd name="connsiteY56" fmla="*/ 647279 h 677195"/>
                <a:gd name="connsiteX57" fmla="*/ 263807 w 462342"/>
                <a:gd name="connsiteY57" fmla="*/ 652718 h 677195"/>
                <a:gd name="connsiteX58" fmla="*/ 233891 w 462342"/>
                <a:gd name="connsiteY58" fmla="*/ 649999 h 677195"/>
                <a:gd name="connsiteX59" fmla="*/ 187657 w 462342"/>
                <a:gd name="connsiteY59" fmla="*/ 652718 h 677195"/>
                <a:gd name="connsiteX60" fmla="*/ 171339 w 462342"/>
                <a:gd name="connsiteY60" fmla="*/ 669036 h 677195"/>
                <a:gd name="connsiteX61" fmla="*/ 155021 w 462342"/>
                <a:gd name="connsiteY61" fmla="*/ 671756 h 677195"/>
                <a:gd name="connsiteX62" fmla="*/ 138703 w 462342"/>
                <a:gd name="connsiteY62" fmla="*/ 674476 h 677195"/>
                <a:gd name="connsiteX63" fmla="*/ 125105 w 462342"/>
                <a:gd name="connsiteY63" fmla="*/ 677195 h 677195"/>
                <a:gd name="connsiteX64" fmla="*/ 106067 w 462342"/>
                <a:gd name="connsiteY64" fmla="*/ 671756 h 677195"/>
                <a:gd name="connsiteX65" fmla="*/ 87029 w 462342"/>
                <a:gd name="connsiteY65" fmla="*/ 658158 h 677195"/>
                <a:gd name="connsiteX66" fmla="*/ 81590 w 462342"/>
                <a:gd name="connsiteY66" fmla="*/ 652718 h 677195"/>
                <a:gd name="connsiteX67" fmla="*/ 67992 w 462342"/>
                <a:gd name="connsiteY67" fmla="*/ 652718 h 677195"/>
                <a:gd name="connsiteX68" fmla="*/ 43515 w 462342"/>
                <a:gd name="connsiteY68" fmla="*/ 652718 h 677195"/>
                <a:gd name="connsiteX69" fmla="*/ 16318 w 462342"/>
                <a:gd name="connsiteY69" fmla="*/ 647279 h 677195"/>
                <a:gd name="connsiteX70" fmla="*/ 0 w 462342"/>
                <a:gd name="connsiteY70" fmla="*/ 630961 h 677195"/>
                <a:gd name="connsiteX71" fmla="*/ 5439 w 462342"/>
                <a:gd name="connsiteY71" fmla="*/ 620083 h 677195"/>
                <a:gd name="connsiteX72" fmla="*/ 27197 w 462342"/>
                <a:gd name="connsiteY72" fmla="*/ 611924 h 677195"/>
                <a:gd name="connsiteX73" fmla="*/ 65272 w 462342"/>
                <a:gd name="connsiteY73" fmla="*/ 609204 h 677195"/>
                <a:gd name="connsiteX74" fmla="*/ 65272 w 462342"/>
                <a:gd name="connsiteY74" fmla="*/ 584727 h 677195"/>
                <a:gd name="connsiteX75" fmla="*/ 62552 w 462342"/>
                <a:gd name="connsiteY75" fmla="*/ 456903 h 677195"/>
                <a:gd name="connsiteX76" fmla="*/ 65272 w 462342"/>
                <a:gd name="connsiteY76" fmla="*/ 337238 h 677195"/>
                <a:gd name="connsiteX77" fmla="*/ 67992 w 462342"/>
                <a:gd name="connsiteY77" fmla="*/ 203975 h 677195"/>
                <a:gd name="connsiteX78" fmla="*/ 70712 w 462342"/>
                <a:gd name="connsiteY78" fmla="*/ 119665 h 677195"/>
                <a:gd name="connsiteX79" fmla="*/ 73431 w 462342"/>
                <a:gd name="connsiteY79" fmla="*/ 67992 h 677195"/>
                <a:gd name="connsiteX80" fmla="*/ 67992 w 462342"/>
                <a:gd name="connsiteY80" fmla="*/ 67992 h 677195"/>
                <a:gd name="connsiteX81" fmla="*/ 43515 w 462342"/>
                <a:gd name="connsiteY81" fmla="*/ 67992 h 677195"/>
                <a:gd name="connsiteX82" fmla="*/ 16318 w 462342"/>
                <a:gd name="connsiteY82" fmla="*/ 62552 h 677195"/>
                <a:gd name="connsiteX83" fmla="*/ 0 w 462342"/>
                <a:gd name="connsiteY83" fmla="*/ 46234 h 677195"/>
                <a:gd name="connsiteX84" fmla="*/ 5439 w 462342"/>
                <a:gd name="connsiteY84" fmla="*/ 35356 h 677195"/>
                <a:gd name="connsiteX85" fmla="*/ 27197 w 462342"/>
                <a:gd name="connsiteY85" fmla="*/ 27197 h 677195"/>
                <a:gd name="connsiteX86" fmla="*/ 76151 w 462342"/>
                <a:gd name="connsiteY86" fmla="*/ 21758 h 677195"/>
                <a:gd name="connsiteX87" fmla="*/ 81590 w 462342"/>
                <a:gd name="connsiteY87" fmla="*/ 13598 h 677195"/>
                <a:gd name="connsiteX88" fmla="*/ 97908 w 462342"/>
                <a:gd name="connsiteY88" fmla="*/ 5439 h 677195"/>
                <a:gd name="connsiteX89" fmla="*/ 114226 w 462342"/>
                <a:gd name="connsiteY89" fmla="*/ 0 h 6771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</a:cxnLst>
              <a:rect l="l" t="t" r="r" b="b"/>
              <a:pathLst>
                <a:path w="462342" h="677195">
                  <a:moveTo>
                    <a:pt x="214853" y="65272"/>
                  </a:moveTo>
                  <a:cubicBezTo>
                    <a:pt x="203975" y="65272"/>
                    <a:pt x="195815" y="67992"/>
                    <a:pt x="195815" y="73431"/>
                  </a:cubicBezTo>
                  <a:cubicBezTo>
                    <a:pt x="193096" y="78870"/>
                    <a:pt x="193096" y="100628"/>
                    <a:pt x="193096" y="125105"/>
                  </a:cubicBezTo>
                  <a:cubicBezTo>
                    <a:pt x="193096" y="182217"/>
                    <a:pt x="193096" y="266527"/>
                    <a:pt x="190376" y="280125"/>
                  </a:cubicBezTo>
                  <a:cubicBezTo>
                    <a:pt x="190376" y="288284"/>
                    <a:pt x="190376" y="293723"/>
                    <a:pt x="190376" y="301882"/>
                  </a:cubicBezTo>
                  <a:cubicBezTo>
                    <a:pt x="190376" y="315480"/>
                    <a:pt x="190376" y="329079"/>
                    <a:pt x="193096" y="342677"/>
                  </a:cubicBezTo>
                  <a:cubicBezTo>
                    <a:pt x="193096" y="361715"/>
                    <a:pt x="193096" y="378033"/>
                    <a:pt x="195815" y="397070"/>
                  </a:cubicBezTo>
                  <a:cubicBezTo>
                    <a:pt x="195815" y="413388"/>
                    <a:pt x="195815" y="426986"/>
                    <a:pt x="195815" y="443304"/>
                  </a:cubicBezTo>
                  <a:cubicBezTo>
                    <a:pt x="195815" y="465061"/>
                    <a:pt x="198535" y="508576"/>
                    <a:pt x="195815" y="530333"/>
                  </a:cubicBezTo>
                  <a:cubicBezTo>
                    <a:pt x="195815" y="538492"/>
                    <a:pt x="193096" y="546651"/>
                    <a:pt x="193096" y="554810"/>
                  </a:cubicBezTo>
                  <a:cubicBezTo>
                    <a:pt x="193096" y="560249"/>
                    <a:pt x="190376" y="590166"/>
                    <a:pt x="190376" y="603764"/>
                  </a:cubicBezTo>
                  <a:cubicBezTo>
                    <a:pt x="190376" y="609203"/>
                    <a:pt x="190376" y="611923"/>
                    <a:pt x="198535" y="611923"/>
                  </a:cubicBezTo>
                  <a:cubicBezTo>
                    <a:pt x="206694" y="611923"/>
                    <a:pt x="209414" y="611923"/>
                    <a:pt x="214853" y="611923"/>
                  </a:cubicBezTo>
                  <a:cubicBezTo>
                    <a:pt x="223012" y="611923"/>
                    <a:pt x="220293" y="611923"/>
                    <a:pt x="236610" y="611923"/>
                  </a:cubicBezTo>
                  <a:cubicBezTo>
                    <a:pt x="242050" y="611923"/>
                    <a:pt x="258368" y="601044"/>
                    <a:pt x="263807" y="598325"/>
                  </a:cubicBezTo>
                  <a:cubicBezTo>
                    <a:pt x="266527" y="598325"/>
                    <a:pt x="274686" y="592885"/>
                    <a:pt x="277405" y="592885"/>
                  </a:cubicBezTo>
                  <a:cubicBezTo>
                    <a:pt x="285564" y="587446"/>
                    <a:pt x="288284" y="579287"/>
                    <a:pt x="291004" y="573848"/>
                  </a:cubicBezTo>
                  <a:cubicBezTo>
                    <a:pt x="296443" y="562969"/>
                    <a:pt x="301882" y="554810"/>
                    <a:pt x="307322" y="543931"/>
                  </a:cubicBezTo>
                  <a:cubicBezTo>
                    <a:pt x="315481" y="524894"/>
                    <a:pt x="320920" y="524894"/>
                    <a:pt x="326359" y="481379"/>
                  </a:cubicBezTo>
                  <a:cubicBezTo>
                    <a:pt x="329079" y="456903"/>
                    <a:pt x="334518" y="435145"/>
                    <a:pt x="337238" y="413388"/>
                  </a:cubicBezTo>
                  <a:cubicBezTo>
                    <a:pt x="337238" y="391631"/>
                    <a:pt x="337238" y="369873"/>
                    <a:pt x="337238" y="350836"/>
                  </a:cubicBezTo>
                  <a:cubicBezTo>
                    <a:pt x="337238" y="339957"/>
                    <a:pt x="337238" y="320920"/>
                    <a:pt x="334518" y="296443"/>
                  </a:cubicBezTo>
                  <a:cubicBezTo>
                    <a:pt x="331798" y="269246"/>
                    <a:pt x="329079" y="250209"/>
                    <a:pt x="329079" y="244769"/>
                  </a:cubicBezTo>
                  <a:cubicBezTo>
                    <a:pt x="323640" y="206694"/>
                    <a:pt x="318200" y="174058"/>
                    <a:pt x="307322" y="135983"/>
                  </a:cubicBezTo>
                  <a:cubicBezTo>
                    <a:pt x="304602" y="125105"/>
                    <a:pt x="304602" y="108787"/>
                    <a:pt x="271966" y="78870"/>
                  </a:cubicBezTo>
                  <a:cubicBezTo>
                    <a:pt x="263807" y="73431"/>
                    <a:pt x="233891" y="65272"/>
                    <a:pt x="214853" y="65272"/>
                  </a:cubicBezTo>
                  <a:close/>
                  <a:moveTo>
                    <a:pt x="114226" y="0"/>
                  </a:moveTo>
                  <a:cubicBezTo>
                    <a:pt x="119665" y="0"/>
                    <a:pt x="125105" y="0"/>
                    <a:pt x="127824" y="0"/>
                  </a:cubicBezTo>
                  <a:cubicBezTo>
                    <a:pt x="133264" y="0"/>
                    <a:pt x="141422" y="0"/>
                    <a:pt x="146862" y="2720"/>
                  </a:cubicBezTo>
                  <a:cubicBezTo>
                    <a:pt x="157741" y="5439"/>
                    <a:pt x="165900" y="13598"/>
                    <a:pt x="174059" y="21758"/>
                  </a:cubicBezTo>
                  <a:cubicBezTo>
                    <a:pt x="179498" y="21758"/>
                    <a:pt x="187657" y="21758"/>
                    <a:pt x="193096" y="21758"/>
                  </a:cubicBezTo>
                  <a:cubicBezTo>
                    <a:pt x="212134" y="21758"/>
                    <a:pt x="228452" y="27197"/>
                    <a:pt x="261088" y="27197"/>
                  </a:cubicBezTo>
                  <a:cubicBezTo>
                    <a:pt x="277405" y="27197"/>
                    <a:pt x="293723" y="35356"/>
                    <a:pt x="310042" y="35356"/>
                  </a:cubicBezTo>
                  <a:cubicBezTo>
                    <a:pt x="318200" y="35356"/>
                    <a:pt x="329079" y="35356"/>
                    <a:pt x="334518" y="40795"/>
                  </a:cubicBezTo>
                  <a:cubicBezTo>
                    <a:pt x="342677" y="46234"/>
                    <a:pt x="348117" y="54393"/>
                    <a:pt x="356276" y="59833"/>
                  </a:cubicBezTo>
                  <a:cubicBezTo>
                    <a:pt x="361715" y="65272"/>
                    <a:pt x="369874" y="67992"/>
                    <a:pt x="372593" y="76151"/>
                  </a:cubicBezTo>
                  <a:cubicBezTo>
                    <a:pt x="375313" y="81590"/>
                    <a:pt x="378033" y="89749"/>
                    <a:pt x="380752" y="95188"/>
                  </a:cubicBezTo>
                  <a:cubicBezTo>
                    <a:pt x="386192" y="103347"/>
                    <a:pt x="391631" y="106067"/>
                    <a:pt x="405230" y="114226"/>
                  </a:cubicBezTo>
                  <a:cubicBezTo>
                    <a:pt x="413388" y="119665"/>
                    <a:pt x="410669" y="133263"/>
                    <a:pt x="416108" y="141422"/>
                  </a:cubicBezTo>
                  <a:cubicBezTo>
                    <a:pt x="426987" y="160461"/>
                    <a:pt x="446025" y="182218"/>
                    <a:pt x="451464" y="201256"/>
                  </a:cubicBezTo>
                  <a:cubicBezTo>
                    <a:pt x="456903" y="220293"/>
                    <a:pt x="456903" y="236611"/>
                    <a:pt x="456903" y="252929"/>
                  </a:cubicBezTo>
                  <a:cubicBezTo>
                    <a:pt x="456903" y="266527"/>
                    <a:pt x="456903" y="277406"/>
                    <a:pt x="456903" y="291004"/>
                  </a:cubicBezTo>
                  <a:cubicBezTo>
                    <a:pt x="456903" y="299163"/>
                    <a:pt x="456903" y="307322"/>
                    <a:pt x="459623" y="318201"/>
                  </a:cubicBezTo>
                  <a:cubicBezTo>
                    <a:pt x="459623" y="320921"/>
                    <a:pt x="459623" y="323640"/>
                    <a:pt x="459623" y="326360"/>
                  </a:cubicBezTo>
                  <a:cubicBezTo>
                    <a:pt x="462342" y="331799"/>
                    <a:pt x="459623" y="337238"/>
                    <a:pt x="459623" y="348117"/>
                  </a:cubicBezTo>
                  <a:cubicBezTo>
                    <a:pt x="459623" y="350837"/>
                    <a:pt x="462342" y="361715"/>
                    <a:pt x="462342" y="367155"/>
                  </a:cubicBezTo>
                  <a:cubicBezTo>
                    <a:pt x="462342" y="375314"/>
                    <a:pt x="456903" y="383473"/>
                    <a:pt x="456903" y="391632"/>
                  </a:cubicBezTo>
                  <a:cubicBezTo>
                    <a:pt x="456903" y="399790"/>
                    <a:pt x="456903" y="410669"/>
                    <a:pt x="456903" y="418828"/>
                  </a:cubicBezTo>
                  <a:cubicBezTo>
                    <a:pt x="456903" y="421548"/>
                    <a:pt x="454183" y="429707"/>
                    <a:pt x="451464" y="437866"/>
                  </a:cubicBezTo>
                  <a:cubicBezTo>
                    <a:pt x="448744" y="443305"/>
                    <a:pt x="448744" y="451464"/>
                    <a:pt x="446025" y="454184"/>
                  </a:cubicBezTo>
                  <a:cubicBezTo>
                    <a:pt x="443305" y="462343"/>
                    <a:pt x="440585" y="473221"/>
                    <a:pt x="440585" y="481380"/>
                  </a:cubicBezTo>
                  <a:cubicBezTo>
                    <a:pt x="437865" y="489539"/>
                    <a:pt x="437865" y="500418"/>
                    <a:pt x="432426" y="508577"/>
                  </a:cubicBezTo>
                  <a:cubicBezTo>
                    <a:pt x="429706" y="516736"/>
                    <a:pt x="424267" y="522175"/>
                    <a:pt x="418828" y="530334"/>
                  </a:cubicBezTo>
                  <a:cubicBezTo>
                    <a:pt x="416108" y="535773"/>
                    <a:pt x="413388" y="543932"/>
                    <a:pt x="410669" y="549371"/>
                  </a:cubicBezTo>
                  <a:cubicBezTo>
                    <a:pt x="405230" y="557531"/>
                    <a:pt x="397071" y="573848"/>
                    <a:pt x="391631" y="579288"/>
                  </a:cubicBezTo>
                  <a:cubicBezTo>
                    <a:pt x="369874" y="609204"/>
                    <a:pt x="350836" y="620083"/>
                    <a:pt x="337238" y="630961"/>
                  </a:cubicBezTo>
                  <a:cubicBezTo>
                    <a:pt x="326359" y="639120"/>
                    <a:pt x="315481" y="641840"/>
                    <a:pt x="301883" y="647279"/>
                  </a:cubicBezTo>
                  <a:cubicBezTo>
                    <a:pt x="291004" y="649999"/>
                    <a:pt x="277405" y="652718"/>
                    <a:pt x="263807" y="652718"/>
                  </a:cubicBezTo>
                  <a:cubicBezTo>
                    <a:pt x="252929" y="652718"/>
                    <a:pt x="244770" y="649999"/>
                    <a:pt x="233891" y="649999"/>
                  </a:cubicBezTo>
                  <a:cubicBezTo>
                    <a:pt x="206694" y="649999"/>
                    <a:pt x="217573" y="652718"/>
                    <a:pt x="187657" y="652718"/>
                  </a:cubicBezTo>
                  <a:cubicBezTo>
                    <a:pt x="184937" y="660877"/>
                    <a:pt x="179498" y="666317"/>
                    <a:pt x="171339" y="669036"/>
                  </a:cubicBezTo>
                  <a:cubicBezTo>
                    <a:pt x="165900" y="671756"/>
                    <a:pt x="160460" y="671756"/>
                    <a:pt x="155021" y="671756"/>
                  </a:cubicBezTo>
                  <a:cubicBezTo>
                    <a:pt x="149581" y="671756"/>
                    <a:pt x="144142" y="674476"/>
                    <a:pt x="138703" y="674476"/>
                  </a:cubicBezTo>
                  <a:cubicBezTo>
                    <a:pt x="135983" y="674476"/>
                    <a:pt x="127824" y="677195"/>
                    <a:pt x="125105" y="677195"/>
                  </a:cubicBezTo>
                  <a:cubicBezTo>
                    <a:pt x="116946" y="677195"/>
                    <a:pt x="108787" y="671756"/>
                    <a:pt x="106067" y="671756"/>
                  </a:cubicBezTo>
                  <a:cubicBezTo>
                    <a:pt x="100628" y="669036"/>
                    <a:pt x="95188" y="663597"/>
                    <a:pt x="87029" y="658158"/>
                  </a:cubicBezTo>
                  <a:cubicBezTo>
                    <a:pt x="84310" y="655438"/>
                    <a:pt x="81590" y="655438"/>
                    <a:pt x="81590" y="652718"/>
                  </a:cubicBezTo>
                  <a:cubicBezTo>
                    <a:pt x="73431" y="652718"/>
                    <a:pt x="81590" y="652718"/>
                    <a:pt x="67992" y="652718"/>
                  </a:cubicBezTo>
                  <a:cubicBezTo>
                    <a:pt x="59833" y="652718"/>
                    <a:pt x="51674" y="652718"/>
                    <a:pt x="43515" y="652718"/>
                  </a:cubicBezTo>
                  <a:cubicBezTo>
                    <a:pt x="35356" y="652718"/>
                    <a:pt x="24477" y="652718"/>
                    <a:pt x="16318" y="647279"/>
                  </a:cubicBezTo>
                  <a:cubicBezTo>
                    <a:pt x="8159" y="644559"/>
                    <a:pt x="0" y="636401"/>
                    <a:pt x="0" y="630961"/>
                  </a:cubicBezTo>
                  <a:cubicBezTo>
                    <a:pt x="0" y="625522"/>
                    <a:pt x="0" y="622802"/>
                    <a:pt x="5439" y="620083"/>
                  </a:cubicBezTo>
                  <a:cubicBezTo>
                    <a:pt x="10879" y="617363"/>
                    <a:pt x="21758" y="614643"/>
                    <a:pt x="27197" y="611924"/>
                  </a:cubicBezTo>
                  <a:cubicBezTo>
                    <a:pt x="38076" y="609204"/>
                    <a:pt x="54393" y="609204"/>
                    <a:pt x="65272" y="609204"/>
                  </a:cubicBezTo>
                  <a:cubicBezTo>
                    <a:pt x="65272" y="601045"/>
                    <a:pt x="65272" y="592886"/>
                    <a:pt x="65272" y="584727"/>
                  </a:cubicBezTo>
                  <a:cubicBezTo>
                    <a:pt x="65272" y="541213"/>
                    <a:pt x="62552" y="500418"/>
                    <a:pt x="62552" y="456903"/>
                  </a:cubicBezTo>
                  <a:cubicBezTo>
                    <a:pt x="62552" y="440585"/>
                    <a:pt x="65272" y="397071"/>
                    <a:pt x="65272" y="337238"/>
                  </a:cubicBezTo>
                  <a:cubicBezTo>
                    <a:pt x="65272" y="293724"/>
                    <a:pt x="67992" y="247490"/>
                    <a:pt x="67992" y="203975"/>
                  </a:cubicBezTo>
                  <a:cubicBezTo>
                    <a:pt x="67992" y="179498"/>
                    <a:pt x="67992" y="149582"/>
                    <a:pt x="70712" y="119665"/>
                  </a:cubicBezTo>
                  <a:cubicBezTo>
                    <a:pt x="70712" y="103347"/>
                    <a:pt x="73431" y="84309"/>
                    <a:pt x="73431" y="67992"/>
                  </a:cubicBezTo>
                  <a:cubicBezTo>
                    <a:pt x="73431" y="67992"/>
                    <a:pt x="70712" y="67992"/>
                    <a:pt x="67992" y="67992"/>
                  </a:cubicBezTo>
                  <a:cubicBezTo>
                    <a:pt x="59833" y="67992"/>
                    <a:pt x="51674" y="67992"/>
                    <a:pt x="43515" y="67992"/>
                  </a:cubicBezTo>
                  <a:cubicBezTo>
                    <a:pt x="35356" y="67992"/>
                    <a:pt x="24477" y="67992"/>
                    <a:pt x="16318" y="62552"/>
                  </a:cubicBezTo>
                  <a:cubicBezTo>
                    <a:pt x="8159" y="59833"/>
                    <a:pt x="0" y="51674"/>
                    <a:pt x="0" y="46234"/>
                  </a:cubicBezTo>
                  <a:cubicBezTo>
                    <a:pt x="0" y="43515"/>
                    <a:pt x="0" y="38075"/>
                    <a:pt x="5439" y="35356"/>
                  </a:cubicBezTo>
                  <a:cubicBezTo>
                    <a:pt x="10879" y="32636"/>
                    <a:pt x="21758" y="29916"/>
                    <a:pt x="27197" y="27197"/>
                  </a:cubicBezTo>
                  <a:cubicBezTo>
                    <a:pt x="46234" y="24477"/>
                    <a:pt x="65272" y="21758"/>
                    <a:pt x="76151" y="21758"/>
                  </a:cubicBezTo>
                  <a:cubicBezTo>
                    <a:pt x="76151" y="19038"/>
                    <a:pt x="78871" y="16318"/>
                    <a:pt x="81590" y="13598"/>
                  </a:cubicBezTo>
                  <a:cubicBezTo>
                    <a:pt x="84310" y="10879"/>
                    <a:pt x="92469" y="5439"/>
                    <a:pt x="97908" y="5439"/>
                  </a:cubicBezTo>
                  <a:cubicBezTo>
                    <a:pt x="103347" y="2720"/>
                    <a:pt x="108787" y="0"/>
                    <a:pt x="114226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5" name="Freeform: Shape 44">
              <a:extLst>
                <a:ext uri="{FF2B5EF4-FFF2-40B4-BE49-F238E27FC236}">
                  <a16:creationId xmlns:a16="http://schemas.microsoft.com/office/drawing/2014/main" id="{70841B5E-00CD-4F84-848E-6459D72CA08D}"/>
                </a:ext>
              </a:extLst>
            </p:cNvPr>
            <p:cNvSpPr/>
            <p:nvPr/>
          </p:nvSpPr>
          <p:spPr>
            <a:xfrm>
              <a:off x="7310622" y="4197597"/>
              <a:ext cx="489539" cy="761503"/>
            </a:xfrm>
            <a:custGeom>
              <a:avLst/>
              <a:gdLst>
                <a:gd name="connsiteX0" fmla="*/ 433491 w 489538"/>
                <a:gd name="connsiteY0" fmla="*/ 651063 h 761503"/>
                <a:gd name="connsiteX1" fmla="*/ 438930 w 489538"/>
                <a:gd name="connsiteY1" fmla="*/ 661942 h 761503"/>
                <a:gd name="connsiteX2" fmla="*/ 425332 w 489538"/>
                <a:gd name="connsiteY2" fmla="*/ 683699 h 761503"/>
                <a:gd name="connsiteX3" fmla="*/ 400855 w 489538"/>
                <a:gd name="connsiteY3" fmla="*/ 691858 h 761503"/>
                <a:gd name="connsiteX4" fmla="*/ 343742 w 489538"/>
                <a:gd name="connsiteY4" fmla="*/ 700017 h 761503"/>
                <a:gd name="connsiteX5" fmla="*/ 316546 w 489538"/>
                <a:gd name="connsiteY5" fmla="*/ 705456 h 761503"/>
                <a:gd name="connsiteX6" fmla="*/ 275751 w 489538"/>
                <a:gd name="connsiteY6" fmla="*/ 705456 h 761503"/>
                <a:gd name="connsiteX7" fmla="*/ 264872 w 489538"/>
                <a:gd name="connsiteY7" fmla="*/ 708176 h 761503"/>
                <a:gd name="connsiteX8" fmla="*/ 253994 w 489538"/>
                <a:gd name="connsiteY8" fmla="*/ 708176 h 761503"/>
                <a:gd name="connsiteX9" fmla="*/ 240395 w 489538"/>
                <a:gd name="connsiteY9" fmla="*/ 719054 h 761503"/>
                <a:gd name="connsiteX10" fmla="*/ 224077 w 489538"/>
                <a:gd name="connsiteY10" fmla="*/ 721774 h 761503"/>
                <a:gd name="connsiteX11" fmla="*/ 205040 w 489538"/>
                <a:gd name="connsiteY11" fmla="*/ 724494 h 761503"/>
                <a:gd name="connsiteX12" fmla="*/ 191441 w 489538"/>
                <a:gd name="connsiteY12" fmla="*/ 727213 h 761503"/>
                <a:gd name="connsiteX13" fmla="*/ 169684 w 489538"/>
                <a:gd name="connsiteY13" fmla="*/ 721774 h 761503"/>
                <a:gd name="connsiteX14" fmla="*/ 150646 w 489538"/>
                <a:gd name="connsiteY14" fmla="*/ 708176 h 761503"/>
                <a:gd name="connsiteX15" fmla="*/ 139768 w 489538"/>
                <a:gd name="connsiteY15" fmla="*/ 708176 h 761503"/>
                <a:gd name="connsiteX16" fmla="*/ 120730 w 489538"/>
                <a:gd name="connsiteY16" fmla="*/ 708176 h 761503"/>
                <a:gd name="connsiteX17" fmla="*/ 98973 w 489538"/>
                <a:gd name="connsiteY17" fmla="*/ 708176 h 761503"/>
                <a:gd name="connsiteX18" fmla="*/ 74496 w 489538"/>
                <a:gd name="connsiteY18" fmla="*/ 702736 h 761503"/>
                <a:gd name="connsiteX19" fmla="*/ 58178 w 489538"/>
                <a:gd name="connsiteY19" fmla="*/ 683699 h 761503"/>
                <a:gd name="connsiteX20" fmla="*/ 63617 w 489538"/>
                <a:gd name="connsiteY20" fmla="*/ 675540 h 761503"/>
                <a:gd name="connsiteX21" fmla="*/ 85375 w 489538"/>
                <a:gd name="connsiteY21" fmla="*/ 667381 h 761503"/>
                <a:gd name="connsiteX22" fmla="*/ 128889 w 489538"/>
                <a:gd name="connsiteY22" fmla="*/ 661942 h 761503"/>
                <a:gd name="connsiteX23" fmla="*/ 128889 w 489538"/>
                <a:gd name="connsiteY23" fmla="*/ 602109 h 761503"/>
                <a:gd name="connsiteX24" fmla="*/ 126170 w 489538"/>
                <a:gd name="connsiteY24" fmla="*/ 523239 h 761503"/>
                <a:gd name="connsiteX25" fmla="*/ 126170 w 489538"/>
                <a:gd name="connsiteY25" fmla="*/ 468846 h 761503"/>
                <a:gd name="connsiteX26" fmla="*/ 123450 w 489538"/>
                <a:gd name="connsiteY26" fmla="*/ 409014 h 761503"/>
                <a:gd name="connsiteX27" fmla="*/ 123450 w 489538"/>
                <a:gd name="connsiteY27" fmla="*/ 384537 h 761503"/>
                <a:gd name="connsiteX28" fmla="*/ 126170 w 489538"/>
                <a:gd name="connsiteY28" fmla="*/ 349181 h 761503"/>
                <a:gd name="connsiteX29" fmla="*/ 126170 w 489538"/>
                <a:gd name="connsiteY29" fmla="*/ 324704 h 761503"/>
                <a:gd name="connsiteX30" fmla="*/ 128889 w 489538"/>
                <a:gd name="connsiteY30" fmla="*/ 292068 h 761503"/>
                <a:gd name="connsiteX31" fmla="*/ 134329 w 489538"/>
                <a:gd name="connsiteY31" fmla="*/ 234956 h 761503"/>
                <a:gd name="connsiteX32" fmla="*/ 134329 w 489538"/>
                <a:gd name="connsiteY32" fmla="*/ 172404 h 761503"/>
                <a:gd name="connsiteX33" fmla="*/ 137048 w 489538"/>
                <a:gd name="connsiteY33" fmla="*/ 123450 h 761503"/>
                <a:gd name="connsiteX34" fmla="*/ 123450 w 489538"/>
                <a:gd name="connsiteY34" fmla="*/ 123450 h 761503"/>
                <a:gd name="connsiteX35" fmla="*/ 101693 w 489538"/>
                <a:gd name="connsiteY35" fmla="*/ 123450 h 761503"/>
                <a:gd name="connsiteX36" fmla="*/ 77216 w 489538"/>
                <a:gd name="connsiteY36" fmla="*/ 118011 h 761503"/>
                <a:gd name="connsiteX37" fmla="*/ 60898 w 489538"/>
                <a:gd name="connsiteY37" fmla="*/ 98973 h 761503"/>
                <a:gd name="connsiteX38" fmla="*/ 66337 w 489538"/>
                <a:gd name="connsiteY38" fmla="*/ 90814 h 761503"/>
                <a:gd name="connsiteX39" fmla="*/ 88094 w 489538"/>
                <a:gd name="connsiteY39" fmla="*/ 82655 h 761503"/>
                <a:gd name="connsiteX40" fmla="*/ 145207 w 489538"/>
                <a:gd name="connsiteY40" fmla="*/ 77216 h 761503"/>
                <a:gd name="connsiteX41" fmla="*/ 145207 w 489538"/>
                <a:gd name="connsiteY41" fmla="*/ 77216 h 761503"/>
                <a:gd name="connsiteX42" fmla="*/ 153366 w 489538"/>
                <a:gd name="connsiteY42" fmla="*/ 69057 h 761503"/>
                <a:gd name="connsiteX43" fmla="*/ 177843 w 489538"/>
                <a:gd name="connsiteY43" fmla="*/ 60898 h 761503"/>
                <a:gd name="connsiteX44" fmla="*/ 196881 w 489538"/>
                <a:gd name="connsiteY44" fmla="*/ 58178 h 761503"/>
                <a:gd name="connsiteX45" fmla="*/ 205040 w 489538"/>
                <a:gd name="connsiteY45" fmla="*/ 58178 h 761503"/>
                <a:gd name="connsiteX46" fmla="*/ 215919 w 489538"/>
                <a:gd name="connsiteY46" fmla="*/ 63617 h 761503"/>
                <a:gd name="connsiteX47" fmla="*/ 229517 w 489538"/>
                <a:gd name="connsiteY47" fmla="*/ 69057 h 761503"/>
                <a:gd name="connsiteX48" fmla="*/ 256713 w 489538"/>
                <a:gd name="connsiteY48" fmla="*/ 77216 h 761503"/>
                <a:gd name="connsiteX49" fmla="*/ 264872 w 489538"/>
                <a:gd name="connsiteY49" fmla="*/ 77216 h 761503"/>
                <a:gd name="connsiteX50" fmla="*/ 281190 w 489538"/>
                <a:gd name="connsiteY50" fmla="*/ 77216 h 761503"/>
                <a:gd name="connsiteX51" fmla="*/ 330144 w 489538"/>
                <a:gd name="connsiteY51" fmla="*/ 77216 h 761503"/>
                <a:gd name="connsiteX52" fmla="*/ 357341 w 489538"/>
                <a:gd name="connsiteY52" fmla="*/ 79935 h 761503"/>
                <a:gd name="connsiteX53" fmla="*/ 387257 w 489538"/>
                <a:gd name="connsiteY53" fmla="*/ 82655 h 761503"/>
                <a:gd name="connsiteX54" fmla="*/ 406295 w 489538"/>
                <a:gd name="connsiteY54" fmla="*/ 85375 h 761503"/>
                <a:gd name="connsiteX55" fmla="*/ 417173 w 489538"/>
                <a:gd name="connsiteY55" fmla="*/ 79935 h 761503"/>
                <a:gd name="connsiteX56" fmla="*/ 425332 w 489538"/>
                <a:gd name="connsiteY56" fmla="*/ 85375 h 761503"/>
                <a:gd name="connsiteX57" fmla="*/ 433491 w 489538"/>
                <a:gd name="connsiteY57" fmla="*/ 104412 h 761503"/>
                <a:gd name="connsiteX58" fmla="*/ 436211 w 489538"/>
                <a:gd name="connsiteY58" fmla="*/ 137048 h 761503"/>
                <a:gd name="connsiteX59" fmla="*/ 438930 w 489538"/>
                <a:gd name="connsiteY59" fmla="*/ 183282 h 761503"/>
                <a:gd name="connsiteX60" fmla="*/ 422612 w 489538"/>
                <a:gd name="connsiteY60" fmla="*/ 218638 h 761503"/>
                <a:gd name="connsiteX61" fmla="*/ 406295 w 489538"/>
                <a:gd name="connsiteY61" fmla="*/ 213198 h 761503"/>
                <a:gd name="connsiteX62" fmla="*/ 398136 w 489538"/>
                <a:gd name="connsiteY62" fmla="*/ 196881 h 761503"/>
                <a:gd name="connsiteX63" fmla="*/ 395416 w 489538"/>
                <a:gd name="connsiteY63" fmla="*/ 175123 h 761503"/>
                <a:gd name="connsiteX64" fmla="*/ 395416 w 489538"/>
                <a:gd name="connsiteY64" fmla="*/ 153366 h 761503"/>
                <a:gd name="connsiteX65" fmla="*/ 395416 w 489538"/>
                <a:gd name="connsiteY65" fmla="*/ 126170 h 761503"/>
                <a:gd name="connsiteX66" fmla="*/ 370939 w 489538"/>
                <a:gd name="connsiteY66" fmla="*/ 128889 h 761503"/>
                <a:gd name="connsiteX67" fmla="*/ 338303 w 489538"/>
                <a:gd name="connsiteY67" fmla="*/ 131609 h 761503"/>
                <a:gd name="connsiteX68" fmla="*/ 286629 w 489538"/>
                <a:gd name="connsiteY68" fmla="*/ 134328 h 761503"/>
                <a:gd name="connsiteX69" fmla="*/ 273031 w 489538"/>
                <a:gd name="connsiteY69" fmla="*/ 137048 h 761503"/>
                <a:gd name="connsiteX70" fmla="*/ 262153 w 489538"/>
                <a:gd name="connsiteY70" fmla="*/ 142487 h 761503"/>
                <a:gd name="connsiteX71" fmla="*/ 259433 w 489538"/>
                <a:gd name="connsiteY71" fmla="*/ 153366 h 761503"/>
                <a:gd name="connsiteX72" fmla="*/ 262153 w 489538"/>
                <a:gd name="connsiteY72" fmla="*/ 166964 h 761503"/>
                <a:gd name="connsiteX73" fmla="*/ 262153 w 489538"/>
                <a:gd name="connsiteY73" fmla="*/ 196881 h 761503"/>
                <a:gd name="connsiteX74" fmla="*/ 262153 w 489538"/>
                <a:gd name="connsiteY74" fmla="*/ 215918 h 761503"/>
                <a:gd name="connsiteX75" fmla="*/ 262153 w 489538"/>
                <a:gd name="connsiteY75" fmla="*/ 251274 h 761503"/>
                <a:gd name="connsiteX76" fmla="*/ 259433 w 489538"/>
                <a:gd name="connsiteY76" fmla="*/ 278470 h 761503"/>
                <a:gd name="connsiteX77" fmla="*/ 259433 w 489538"/>
                <a:gd name="connsiteY77" fmla="*/ 308386 h 761503"/>
                <a:gd name="connsiteX78" fmla="*/ 259433 w 489538"/>
                <a:gd name="connsiteY78" fmla="*/ 321985 h 761503"/>
                <a:gd name="connsiteX79" fmla="*/ 259433 w 489538"/>
                <a:gd name="connsiteY79" fmla="*/ 332863 h 761503"/>
                <a:gd name="connsiteX80" fmla="*/ 267592 w 489538"/>
                <a:gd name="connsiteY80" fmla="*/ 335583 h 761503"/>
                <a:gd name="connsiteX81" fmla="*/ 281190 w 489538"/>
                <a:gd name="connsiteY81" fmla="*/ 335583 h 761503"/>
                <a:gd name="connsiteX82" fmla="*/ 327424 w 489538"/>
                <a:gd name="connsiteY82" fmla="*/ 338303 h 761503"/>
                <a:gd name="connsiteX83" fmla="*/ 351901 w 489538"/>
                <a:gd name="connsiteY83" fmla="*/ 341022 h 761503"/>
                <a:gd name="connsiteX84" fmla="*/ 351901 w 489538"/>
                <a:gd name="connsiteY84" fmla="*/ 335583 h 761503"/>
                <a:gd name="connsiteX85" fmla="*/ 351901 w 489538"/>
                <a:gd name="connsiteY85" fmla="*/ 313826 h 761503"/>
                <a:gd name="connsiteX86" fmla="*/ 357341 w 489538"/>
                <a:gd name="connsiteY86" fmla="*/ 289349 h 761503"/>
                <a:gd name="connsiteX87" fmla="*/ 373658 w 489538"/>
                <a:gd name="connsiteY87" fmla="*/ 273031 h 761503"/>
                <a:gd name="connsiteX88" fmla="*/ 381817 w 489538"/>
                <a:gd name="connsiteY88" fmla="*/ 278470 h 761503"/>
                <a:gd name="connsiteX89" fmla="*/ 389977 w 489538"/>
                <a:gd name="connsiteY89" fmla="*/ 300228 h 761503"/>
                <a:gd name="connsiteX90" fmla="*/ 395416 w 489538"/>
                <a:gd name="connsiteY90" fmla="*/ 351901 h 761503"/>
                <a:gd name="connsiteX91" fmla="*/ 398136 w 489538"/>
                <a:gd name="connsiteY91" fmla="*/ 409014 h 761503"/>
                <a:gd name="connsiteX92" fmla="*/ 381817 w 489538"/>
                <a:gd name="connsiteY92" fmla="*/ 444369 h 761503"/>
                <a:gd name="connsiteX93" fmla="*/ 365500 w 489538"/>
                <a:gd name="connsiteY93" fmla="*/ 438930 h 761503"/>
                <a:gd name="connsiteX94" fmla="*/ 357341 w 489538"/>
                <a:gd name="connsiteY94" fmla="*/ 422612 h 761503"/>
                <a:gd name="connsiteX95" fmla="*/ 354621 w 489538"/>
                <a:gd name="connsiteY95" fmla="*/ 400855 h 761503"/>
                <a:gd name="connsiteX96" fmla="*/ 354621 w 489538"/>
                <a:gd name="connsiteY96" fmla="*/ 381817 h 761503"/>
                <a:gd name="connsiteX97" fmla="*/ 270312 w 489538"/>
                <a:gd name="connsiteY97" fmla="*/ 381817 h 761503"/>
                <a:gd name="connsiteX98" fmla="*/ 256713 w 489538"/>
                <a:gd name="connsiteY98" fmla="*/ 395415 h 761503"/>
                <a:gd name="connsiteX99" fmla="*/ 253994 w 489538"/>
                <a:gd name="connsiteY99" fmla="*/ 422612 h 761503"/>
                <a:gd name="connsiteX100" fmla="*/ 253994 w 489538"/>
                <a:gd name="connsiteY100" fmla="*/ 433490 h 761503"/>
                <a:gd name="connsiteX101" fmla="*/ 253994 w 489538"/>
                <a:gd name="connsiteY101" fmla="*/ 449809 h 761503"/>
                <a:gd name="connsiteX102" fmla="*/ 256713 w 489538"/>
                <a:gd name="connsiteY102" fmla="*/ 474285 h 761503"/>
                <a:gd name="connsiteX103" fmla="*/ 256713 w 489538"/>
                <a:gd name="connsiteY103" fmla="*/ 496043 h 761503"/>
                <a:gd name="connsiteX104" fmla="*/ 259433 w 489538"/>
                <a:gd name="connsiteY104" fmla="*/ 534118 h 761503"/>
                <a:gd name="connsiteX105" fmla="*/ 259433 w 489538"/>
                <a:gd name="connsiteY105" fmla="*/ 591231 h 761503"/>
                <a:gd name="connsiteX106" fmla="*/ 262153 w 489538"/>
                <a:gd name="connsiteY106" fmla="*/ 618427 h 761503"/>
                <a:gd name="connsiteX107" fmla="*/ 267592 w 489538"/>
                <a:gd name="connsiteY107" fmla="*/ 648343 h 761503"/>
                <a:gd name="connsiteX108" fmla="*/ 292069 w 489538"/>
                <a:gd name="connsiteY108" fmla="*/ 651063 h 761503"/>
                <a:gd name="connsiteX109" fmla="*/ 327424 w 489538"/>
                <a:gd name="connsiteY109" fmla="*/ 651063 h 761503"/>
                <a:gd name="connsiteX110" fmla="*/ 362780 w 489538"/>
                <a:gd name="connsiteY110" fmla="*/ 653783 h 761503"/>
                <a:gd name="connsiteX111" fmla="*/ 395416 w 489538"/>
                <a:gd name="connsiteY111" fmla="*/ 648343 h 761503"/>
                <a:gd name="connsiteX112" fmla="*/ 395416 w 489538"/>
                <a:gd name="connsiteY112" fmla="*/ 618427 h 761503"/>
                <a:gd name="connsiteX113" fmla="*/ 395416 w 489538"/>
                <a:gd name="connsiteY113" fmla="*/ 596670 h 761503"/>
                <a:gd name="connsiteX114" fmla="*/ 398136 w 489538"/>
                <a:gd name="connsiteY114" fmla="*/ 574913 h 761503"/>
                <a:gd name="connsiteX115" fmla="*/ 406295 w 489538"/>
                <a:gd name="connsiteY115" fmla="*/ 558595 h 761503"/>
                <a:gd name="connsiteX116" fmla="*/ 422612 w 489538"/>
                <a:gd name="connsiteY116" fmla="*/ 553155 h 761503"/>
                <a:gd name="connsiteX117" fmla="*/ 438930 w 489538"/>
                <a:gd name="connsiteY117" fmla="*/ 588511 h 761503"/>
                <a:gd name="connsiteX118" fmla="*/ 436211 w 489538"/>
                <a:gd name="connsiteY118" fmla="*/ 645624 h 761503"/>
                <a:gd name="connsiteX119" fmla="*/ 433491 w 489538"/>
                <a:gd name="connsiteY119" fmla="*/ 651063 h 761503"/>
                <a:gd name="connsiteX120" fmla="*/ 433491 w 489538"/>
                <a:gd name="connsiteY120" fmla="*/ 651063 h 761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</a:cxnLst>
              <a:rect l="l" t="t" r="r" b="b"/>
              <a:pathLst>
                <a:path w="489538" h="761503">
                  <a:moveTo>
                    <a:pt x="433491" y="651063"/>
                  </a:moveTo>
                  <a:cubicBezTo>
                    <a:pt x="436211" y="653783"/>
                    <a:pt x="438930" y="656502"/>
                    <a:pt x="438930" y="661942"/>
                  </a:cubicBezTo>
                  <a:cubicBezTo>
                    <a:pt x="438930" y="670101"/>
                    <a:pt x="433491" y="678259"/>
                    <a:pt x="425332" y="683699"/>
                  </a:cubicBezTo>
                  <a:cubicBezTo>
                    <a:pt x="417173" y="689138"/>
                    <a:pt x="409014" y="689138"/>
                    <a:pt x="400855" y="691858"/>
                  </a:cubicBezTo>
                  <a:cubicBezTo>
                    <a:pt x="381817" y="694578"/>
                    <a:pt x="362780" y="694578"/>
                    <a:pt x="343742" y="700017"/>
                  </a:cubicBezTo>
                  <a:cubicBezTo>
                    <a:pt x="335583" y="702736"/>
                    <a:pt x="324705" y="702736"/>
                    <a:pt x="316546" y="705456"/>
                  </a:cubicBezTo>
                  <a:cubicBezTo>
                    <a:pt x="308387" y="705456"/>
                    <a:pt x="289349" y="705456"/>
                    <a:pt x="275751" y="705456"/>
                  </a:cubicBezTo>
                  <a:cubicBezTo>
                    <a:pt x="270312" y="705456"/>
                    <a:pt x="267592" y="708176"/>
                    <a:pt x="264872" y="708176"/>
                  </a:cubicBezTo>
                  <a:cubicBezTo>
                    <a:pt x="264872" y="708176"/>
                    <a:pt x="259433" y="708176"/>
                    <a:pt x="253994" y="708176"/>
                  </a:cubicBezTo>
                  <a:cubicBezTo>
                    <a:pt x="251274" y="713615"/>
                    <a:pt x="245835" y="716335"/>
                    <a:pt x="240395" y="719054"/>
                  </a:cubicBezTo>
                  <a:cubicBezTo>
                    <a:pt x="234956" y="721774"/>
                    <a:pt x="229517" y="721774"/>
                    <a:pt x="224077" y="721774"/>
                  </a:cubicBezTo>
                  <a:cubicBezTo>
                    <a:pt x="218638" y="721774"/>
                    <a:pt x="213199" y="724494"/>
                    <a:pt x="205040" y="724494"/>
                  </a:cubicBezTo>
                  <a:cubicBezTo>
                    <a:pt x="202320" y="724494"/>
                    <a:pt x="194161" y="727213"/>
                    <a:pt x="191441" y="727213"/>
                  </a:cubicBezTo>
                  <a:cubicBezTo>
                    <a:pt x="183282" y="727213"/>
                    <a:pt x="172404" y="721774"/>
                    <a:pt x="169684" y="721774"/>
                  </a:cubicBezTo>
                  <a:cubicBezTo>
                    <a:pt x="164245" y="719054"/>
                    <a:pt x="156086" y="713615"/>
                    <a:pt x="150646" y="708176"/>
                  </a:cubicBezTo>
                  <a:cubicBezTo>
                    <a:pt x="145207" y="708176"/>
                    <a:pt x="139768" y="708176"/>
                    <a:pt x="139768" y="708176"/>
                  </a:cubicBezTo>
                  <a:cubicBezTo>
                    <a:pt x="126170" y="708176"/>
                    <a:pt x="137048" y="708176"/>
                    <a:pt x="120730" y="708176"/>
                  </a:cubicBezTo>
                  <a:cubicBezTo>
                    <a:pt x="112571" y="708176"/>
                    <a:pt x="104412" y="708176"/>
                    <a:pt x="98973" y="708176"/>
                  </a:cubicBezTo>
                  <a:cubicBezTo>
                    <a:pt x="90814" y="708176"/>
                    <a:pt x="79936" y="708176"/>
                    <a:pt x="74496" y="702736"/>
                  </a:cubicBezTo>
                  <a:cubicBezTo>
                    <a:pt x="66337" y="700017"/>
                    <a:pt x="58178" y="689138"/>
                    <a:pt x="58178" y="683699"/>
                  </a:cubicBezTo>
                  <a:cubicBezTo>
                    <a:pt x="58178" y="680979"/>
                    <a:pt x="58178" y="678259"/>
                    <a:pt x="63617" y="675540"/>
                  </a:cubicBezTo>
                  <a:cubicBezTo>
                    <a:pt x="69057" y="672820"/>
                    <a:pt x="77216" y="670101"/>
                    <a:pt x="85375" y="667381"/>
                  </a:cubicBezTo>
                  <a:cubicBezTo>
                    <a:pt x="98973" y="664661"/>
                    <a:pt x="115291" y="664661"/>
                    <a:pt x="128889" y="661942"/>
                  </a:cubicBezTo>
                  <a:cubicBezTo>
                    <a:pt x="128889" y="645624"/>
                    <a:pt x="128889" y="623866"/>
                    <a:pt x="128889" y="602109"/>
                  </a:cubicBezTo>
                  <a:cubicBezTo>
                    <a:pt x="128889" y="566754"/>
                    <a:pt x="128889" y="531398"/>
                    <a:pt x="126170" y="523239"/>
                  </a:cubicBezTo>
                  <a:cubicBezTo>
                    <a:pt x="126170" y="517800"/>
                    <a:pt x="126170" y="487884"/>
                    <a:pt x="126170" y="468846"/>
                  </a:cubicBezTo>
                  <a:cubicBezTo>
                    <a:pt x="126170" y="449809"/>
                    <a:pt x="123450" y="430771"/>
                    <a:pt x="123450" y="409014"/>
                  </a:cubicBezTo>
                  <a:cubicBezTo>
                    <a:pt x="123450" y="400855"/>
                    <a:pt x="123450" y="392696"/>
                    <a:pt x="123450" y="384537"/>
                  </a:cubicBezTo>
                  <a:cubicBezTo>
                    <a:pt x="123450" y="373658"/>
                    <a:pt x="126170" y="360060"/>
                    <a:pt x="126170" y="349181"/>
                  </a:cubicBezTo>
                  <a:cubicBezTo>
                    <a:pt x="126170" y="341022"/>
                    <a:pt x="126170" y="332863"/>
                    <a:pt x="126170" y="324704"/>
                  </a:cubicBezTo>
                  <a:cubicBezTo>
                    <a:pt x="126170" y="313826"/>
                    <a:pt x="126170" y="302947"/>
                    <a:pt x="128889" y="292068"/>
                  </a:cubicBezTo>
                  <a:cubicBezTo>
                    <a:pt x="131609" y="273031"/>
                    <a:pt x="134329" y="253993"/>
                    <a:pt x="134329" y="234956"/>
                  </a:cubicBezTo>
                  <a:cubicBezTo>
                    <a:pt x="134329" y="213198"/>
                    <a:pt x="134329" y="191441"/>
                    <a:pt x="134329" y="172404"/>
                  </a:cubicBezTo>
                  <a:cubicBezTo>
                    <a:pt x="134329" y="156086"/>
                    <a:pt x="134329" y="139768"/>
                    <a:pt x="137048" y="123450"/>
                  </a:cubicBezTo>
                  <a:cubicBezTo>
                    <a:pt x="131609" y="123450"/>
                    <a:pt x="134329" y="123450"/>
                    <a:pt x="123450" y="123450"/>
                  </a:cubicBezTo>
                  <a:cubicBezTo>
                    <a:pt x="115291" y="123450"/>
                    <a:pt x="107132" y="123450"/>
                    <a:pt x="101693" y="123450"/>
                  </a:cubicBezTo>
                  <a:cubicBezTo>
                    <a:pt x="93534" y="123450"/>
                    <a:pt x="82655" y="123450"/>
                    <a:pt x="77216" y="118011"/>
                  </a:cubicBezTo>
                  <a:cubicBezTo>
                    <a:pt x="69057" y="115291"/>
                    <a:pt x="60898" y="101693"/>
                    <a:pt x="60898" y="98973"/>
                  </a:cubicBezTo>
                  <a:cubicBezTo>
                    <a:pt x="60898" y="96253"/>
                    <a:pt x="60898" y="93534"/>
                    <a:pt x="66337" y="90814"/>
                  </a:cubicBezTo>
                  <a:cubicBezTo>
                    <a:pt x="71777" y="88094"/>
                    <a:pt x="79936" y="85375"/>
                    <a:pt x="88094" y="82655"/>
                  </a:cubicBezTo>
                  <a:cubicBezTo>
                    <a:pt x="104412" y="79935"/>
                    <a:pt x="131609" y="77216"/>
                    <a:pt x="145207" y="77216"/>
                  </a:cubicBezTo>
                  <a:cubicBezTo>
                    <a:pt x="145207" y="77216"/>
                    <a:pt x="145207" y="77216"/>
                    <a:pt x="145207" y="77216"/>
                  </a:cubicBezTo>
                  <a:cubicBezTo>
                    <a:pt x="145207" y="74496"/>
                    <a:pt x="150646" y="71776"/>
                    <a:pt x="153366" y="69057"/>
                  </a:cubicBezTo>
                  <a:cubicBezTo>
                    <a:pt x="161525" y="63617"/>
                    <a:pt x="169684" y="63617"/>
                    <a:pt x="177843" y="60898"/>
                  </a:cubicBezTo>
                  <a:cubicBezTo>
                    <a:pt x="183282" y="58178"/>
                    <a:pt x="191441" y="58178"/>
                    <a:pt x="196881" y="58178"/>
                  </a:cubicBezTo>
                  <a:cubicBezTo>
                    <a:pt x="199600" y="58178"/>
                    <a:pt x="202320" y="58178"/>
                    <a:pt x="205040" y="58178"/>
                  </a:cubicBezTo>
                  <a:cubicBezTo>
                    <a:pt x="207759" y="58178"/>
                    <a:pt x="213199" y="60898"/>
                    <a:pt x="215919" y="63617"/>
                  </a:cubicBezTo>
                  <a:cubicBezTo>
                    <a:pt x="221358" y="66337"/>
                    <a:pt x="224077" y="66337"/>
                    <a:pt x="229517" y="69057"/>
                  </a:cubicBezTo>
                  <a:cubicBezTo>
                    <a:pt x="237675" y="71776"/>
                    <a:pt x="245835" y="77216"/>
                    <a:pt x="256713" y="77216"/>
                  </a:cubicBezTo>
                  <a:cubicBezTo>
                    <a:pt x="259433" y="77216"/>
                    <a:pt x="262153" y="77216"/>
                    <a:pt x="264872" y="77216"/>
                  </a:cubicBezTo>
                  <a:cubicBezTo>
                    <a:pt x="270312" y="77216"/>
                    <a:pt x="275751" y="77216"/>
                    <a:pt x="281190" y="77216"/>
                  </a:cubicBezTo>
                  <a:cubicBezTo>
                    <a:pt x="292069" y="77216"/>
                    <a:pt x="321985" y="77216"/>
                    <a:pt x="330144" y="77216"/>
                  </a:cubicBezTo>
                  <a:cubicBezTo>
                    <a:pt x="338303" y="77216"/>
                    <a:pt x="349182" y="77216"/>
                    <a:pt x="357341" y="79935"/>
                  </a:cubicBezTo>
                  <a:cubicBezTo>
                    <a:pt x="368219" y="79935"/>
                    <a:pt x="379098" y="82655"/>
                    <a:pt x="387257" y="82655"/>
                  </a:cubicBezTo>
                  <a:cubicBezTo>
                    <a:pt x="392696" y="82655"/>
                    <a:pt x="400855" y="85375"/>
                    <a:pt x="406295" y="85375"/>
                  </a:cubicBezTo>
                  <a:cubicBezTo>
                    <a:pt x="409014" y="82655"/>
                    <a:pt x="414453" y="79935"/>
                    <a:pt x="417173" y="79935"/>
                  </a:cubicBezTo>
                  <a:cubicBezTo>
                    <a:pt x="419893" y="79935"/>
                    <a:pt x="422612" y="79935"/>
                    <a:pt x="425332" y="85375"/>
                  </a:cubicBezTo>
                  <a:cubicBezTo>
                    <a:pt x="428052" y="90814"/>
                    <a:pt x="433491" y="98973"/>
                    <a:pt x="433491" y="104412"/>
                  </a:cubicBezTo>
                  <a:cubicBezTo>
                    <a:pt x="436211" y="131609"/>
                    <a:pt x="436211" y="120730"/>
                    <a:pt x="436211" y="137048"/>
                  </a:cubicBezTo>
                  <a:cubicBezTo>
                    <a:pt x="438930" y="158805"/>
                    <a:pt x="438930" y="158805"/>
                    <a:pt x="438930" y="183282"/>
                  </a:cubicBezTo>
                  <a:cubicBezTo>
                    <a:pt x="438930" y="194161"/>
                    <a:pt x="438930" y="218638"/>
                    <a:pt x="422612" y="218638"/>
                  </a:cubicBezTo>
                  <a:cubicBezTo>
                    <a:pt x="414453" y="218638"/>
                    <a:pt x="411734" y="215918"/>
                    <a:pt x="406295" y="213198"/>
                  </a:cubicBezTo>
                  <a:cubicBezTo>
                    <a:pt x="400855" y="210479"/>
                    <a:pt x="398136" y="202320"/>
                    <a:pt x="398136" y="196881"/>
                  </a:cubicBezTo>
                  <a:cubicBezTo>
                    <a:pt x="395416" y="188722"/>
                    <a:pt x="395416" y="183282"/>
                    <a:pt x="395416" y="175123"/>
                  </a:cubicBezTo>
                  <a:cubicBezTo>
                    <a:pt x="395416" y="169684"/>
                    <a:pt x="395416" y="164245"/>
                    <a:pt x="395416" y="153366"/>
                  </a:cubicBezTo>
                  <a:cubicBezTo>
                    <a:pt x="395416" y="145207"/>
                    <a:pt x="395416" y="134328"/>
                    <a:pt x="395416" y="126170"/>
                  </a:cubicBezTo>
                  <a:cubicBezTo>
                    <a:pt x="387257" y="128889"/>
                    <a:pt x="379098" y="128889"/>
                    <a:pt x="370939" y="128889"/>
                  </a:cubicBezTo>
                  <a:cubicBezTo>
                    <a:pt x="360060" y="128889"/>
                    <a:pt x="349182" y="128889"/>
                    <a:pt x="338303" y="131609"/>
                  </a:cubicBezTo>
                  <a:cubicBezTo>
                    <a:pt x="327424" y="131609"/>
                    <a:pt x="319265" y="134328"/>
                    <a:pt x="286629" y="134328"/>
                  </a:cubicBezTo>
                  <a:cubicBezTo>
                    <a:pt x="281190" y="134328"/>
                    <a:pt x="278470" y="134328"/>
                    <a:pt x="273031" y="137048"/>
                  </a:cubicBezTo>
                  <a:cubicBezTo>
                    <a:pt x="270312" y="137048"/>
                    <a:pt x="264872" y="137048"/>
                    <a:pt x="262153" y="142487"/>
                  </a:cubicBezTo>
                  <a:cubicBezTo>
                    <a:pt x="259433" y="145207"/>
                    <a:pt x="259433" y="150647"/>
                    <a:pt x="259433" y="153366"/>
                  </a:cubicBezTo>
                  <a:cubicBezTo>
                    <a:pt x="259433" y="158805"/>
                    <a:pt x="259433" y="164245"/>
                    <a:pt x="262153" y="166964"/>
                  </a:cubicBezTo>
                  <a:cubicBezTo>
                    <a:pt x="262153" y="177843"/>
                    <a:pt x="262153" y="186002"/>
                    <a:pt x="262153" y="196881"/>
                  </a:cubicBezTo>
                  <a:cubicBezTo>
                    <a:pt x="262153" y="202320"/>
                    <a:pt x="262153" y="210479"/>
                    <a:pt x="262153" y="215918"/>
                  </a:cubicBezTo>
                  <a:cubicBezTo>
                    <a:pt x="262153" y="229516"/>
                    <a:pt x="262153" y="240395"/>
                    <a:pt x="262153" y="251274"/>
                  </a:cubicBezTo>
                  <a:cubicBezTo>
                    <a:pt x="262153" y="259433"/>
                    <a:pt x="259433" y="270311"/>
                    <a:pt x="259433" y="278470"/>
                  </a:cubicBezTo>
                  <a:cubicBezTo>
                    <a:pt x="259433" y="289349"/>
                    <a:pt x="259433" y="297508"/>
                    <a:pt x="259433" y="308386"/>
                  </a:cubicBezTo>
                  <a:cubicBezTo>
                    <a:pt x="259433" y="313826"/>
                    <a:pt x="259433" y="319265"/>
                    <a:pt x="259433" y="321985"/>
                  </a:cubicBezTo>
                  <a:cubicBezTo>
                    <a:pt x="259433" y="324704"/>
                    <a:pt x="259433" y="330144"/>
                    <a:pt x="259433" y="332863"/>
                  </a:cubicBezTo>
                  <a:cubicBezTo>
                    <a:pt x="262153" y="335583"/>
                    <a:pt x="264872" y="335583"/>
                    <a:pt x="267592" y="335583"/>
                  </a:cubicBezTo>
                  <a:cubicBezTo>
                    <a:pt x="273031" y="335583"/>
                    <a:pt x="275751" y="335583"/>
                    <a:pt x="281190" y="335583"/>
                  </a:cubicBezTo>
                  <a:cubicBezTo>
                    <a:pt x="311107" y="335583"/>
                    <a:pt x="319265" y="335583"/>
                    <a:pt x="327424" y="338303"/>
                  </a:cubicBezTo>
                  <a:cubicBezTo>
                    <a:pt x="335583" y="341022"/>
                    <a:pt x="343742" y="341022"/>
                    <a:pt x="351901" y="341022"/>
                  </a:cubicBezTo>
                  <a:cubicBezTo>
                    <a:pt x="351901" y="338303"/>
                    <a:pt x="351901" y="338303"/>
                    <a:pt x="351901" y="335583"/>
                  </a:cubicBezTo>
                  <a:cubicBezTo>
                    <a:pt x="351901" y="327424"/>
                    <a:pt x="351901" y="319265"/>
                    <a:pt x="351901" y="313826"/>
                  </a:cubicBezTo>
                  <a:cubicBezTo>
                    <a:pt x="351901" y="305667"/>
                    <a:pt x="351901" y="294788"/>
                    <a:pt x="357341" y="289349"/>
                  </a:cubicBezTo>
                  <a:cubicBezTo>
                    <a:pt x="360060" y="281190"/>
                    <a:pt x="368219" y="273031"/>
                    <a:pt x="373658" y="273031"/>
                  </a:cubicBezTo>
                  <a:cubicBezTo>
                    <a:pt x="376378" y="273031"/>
                    <a:pt x="379098" y="273031"/>
                    <a:pt x="381817" y="278470"/>
                  </a:cubicBezTo>
                  <a:cubicBezTo>
                    <a:pt x="384537" y="283909"/>
                    <a:pt x="387257" y="292068"/>
                    <a:pt x="389977" y="300228"/>
                  </a:cubicBezTo>
                  <a:cubicBezTo>
                    <a:pt x="392696" y="316545"/>
                    <a:pt x="392696" y="335583"/>
                    <a:pt x="395416" y="351901"/>
                  </a:cubicBezTo>
                  <a:cubicBezTo>
                    <a:pt x="398136" y="373658"/>
                    <a:pt x="398136" y="384537"/>
                    <a:pt x="398136" y="409014"/>
                  </a:cubicBezTo>
                  <a:cubicBezTo>
                    <a:pt x="398136" y="422612"/>
                    <a:pt x="398136" y="444369"/>
                    <a:pt x="381817" y="444369"/>
                  </a:cubicBezTo>
                  <a:cubicBezTo>
                    <a:pt x="373658" y="444369"/>
                    <a:pt x="370939" y="441650"/>
                    <a:pt x="365500" y="438930"/>
                  </a:cubicBezTo>
                  <a:cubicBezTo>
                    <a:pt x="360060" y="436210"/>
                    <a:pt x="357341" y="428051"/>
                    <a:pt x="357341" y="422612"/>
                  </a:cubicBezTo>
                  <a:cubicBezTo>
                    <a:pt x="354621" y="414453"/>
                    <a:pt x="354621" y="409014"/>
                    <a:pt x="354621" y="400855"/>
                  </a:cubicBezTo>
                  <a:cubicBezTo>
                    <a:pt x="354621" y="395415"/>
                    <a:pt x="354621" y="389976"/>
                    <a:pt x="354621" y="381817"/>
                  </a:cubicBezTo>
                  <a:cubicBezTo>
                    <a:pt x="335583" y="381817"/>
                    <a:pt x="308387" y="384537"/>
                    <a:pt x="270312" y="381817"/>
                  </a:cubicBezTo>
                  <a:cubicBezTo>
                    <a:pt x="262153" y="381817"/>
                    <a:pt x="256713" y="387256"/>
                    <a:pt x="256713" y="395415"/>
                  </a:cubicBezTo>
                  <a:cubicBezTo>
                    <a:pt x="256713" y="403574"/>
                    <a:pt x="256713" y="414453"/>
                    <a:pt x="253994" y="422612"/>
                  </a:cubicBezTo>
                  <a:cubicBezTo>
                    <a:pt x="253994" y="425332"/>
                    <a:pt x="253994" y="430771"/>
                    <a:pt x="253994" y="433490"/>
                  </a:cubicBezTo>
                  <a:cubicBezTo>
                    <a:pt x="253994" y="438930"/>
                    <a:pt x="253994" y="444369"/>
                    <a:pt x="253994" y="449809"/>
                  </a:cubicBezTo>
                  <a:cubicBezTo>
                    <a:pt x="253994" y="457967"/>
                    <a:pt x="256713" y="466126"/>
                    <a:pt x="256713" y="474285"/>
                  </a:cubicBezTo>
                  <a:cubicBezTo>
                    <a:pt x="256713" y="482444"/>
                    <a:pt x="256713" y="490603"/>
                    <a:pt x="256713" y="496043"/>
                  </a:cubicBezTo>
                  <a:cubicBezTo>
                    <a:pt x="256713" y="509641"/>
                    <a:pt x="259433" y="520520"/>
                    <a:pt x="259433" y="534118"/>
                  </a:cubicBezTo>
                  <a:cubicBezTo>
                    <a:pt x="259433" y="553155"/>
                    <a:pt x="259433" y="572193"/>
                    <a:pt x="259433" y="591231"/>
                  </a:cubicBezTo>
                  <a:cubicBezTo>
                    <a:pt x="259433" y="602109"/>
                    <a:pt x="262153" y="610268"/>
                    <a:pt x="262153" y="618427"/>
                  </a:cubicBezTo>
                  <a:cubicBezTo>
                    <a:pt x="264872" y="626586"/>
                    <a:pt x="262153" y="642904"/>
                    <a:pt x="267592" y="648343"/>
                  </a:cubicBezTo>
                  <a:cubicBezTo>
                    <a:pt x="270312" y="651063"/>
                    <a:pt x="275751" y="651063"/>
                    <a:pt x="292069" y="651063"/>
                  </a:cubicBezTo>
                  <a:cubicBezTo>
                    <a:pt x="305667" y="651063"/>
                    <a:pt x="319265" y="651063"/>
                    <a:pt x="327424" y="651063"/>
                  </a:cubicBezTo>
                  <a:cubicBezTo>
                    <a:pt x="338303" y="651063"/>
                    <a:pt x="351901" y="653783"/>
                    <a:pt x="362780" y="653783"/>
                  </a:cubicBezTo>
                  <a:cubicBezTo>
                    <a:pt x="376378" y="653783"/>
                    <a:pt x="384537" y="651063"/>
                    <a:pt x="395416" y="648343"/>
                  </a:cubicBezTo>
                  <a:cubicBezTo>
                    <a:pt x="395416" y="637465"/>
                    <a:pt x="395416" y="629306"/>
                    <a:pt x="395416" y="618427"/>
                  </a:cubicBezTo>
                  <a:cubicBezTo>
                    <a:pt x="395416" y="610268"/>
                    <a:pt x="395416" y="602109"/>
                    <a:pt x="395416" y="596670"/>
                  </a:cubicBezTo>
                  <a:cubicBezTo>
                    <a:pt x="395416" y="591231"/>
                    <a:pt x="395416" y="585791"/>
                    <a:pt x="398136" y="574913"/>
                  </a:cubicBezTo>
                  <a:cubicBezTo>
                    <a:pt x="400855" y="569473"/>
                    <a:pt x="400855" y="564034"/>
                    <a:pt x="406295" y="558595"/>
                  </a:cubicBezTo>
                  <a:cubicBezTo>
                    <a:pt x="411734" y="553155"/>
                    <a:pt x="414453" y="553155"/>
                    <a:pt x="422612" y="553155"/>
                  </a:cubicBezTo>
                  <a:cubicBezTo>
                    <a:pt x="436211" y="553155"/>
                    <a:pt x="438930" y="577632"/>
                    <a:pt x="438930" y="588511"/>
                  </a:cubicBezTo>
                  <a:cubicBezTo>
                    <a:pt x="438930" y="612988"/>
                    <a:pt x="438930" y="623866"/>
                    <a:pt x="436211" y="645624"/>
                  </a:cubicBezTo>
                  <a:cubicBezTo>
                    <a:pt x="433491" y="648343"/>
                    <a:pt x="433491" y="648343"/>
                    <a:pt x="433491" y="651063"/>
                  </a:cubicBezTo>
                  <a:lnTo>
                    <a:pt x="433491" y="651063"/>
                  </a:ln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6" name="Freeform: Shape 45">
              <a:extLst>
                <a:ext uri="{FF2B5EF4-FFF2-40B4-BE49-F238E27FC236}">
                  <a16:creationId xmlns:a16="http://schemas.microsoft.com/office/drawing/2014/main" id="{9BA4167D-13BE-4368-9C93-86A0A7BA3944}"/>
                </a:ext>
              </a:extLst>
            </p:cNvPr>
            <p:cNvSpPr/>
            <p:nvPr/>
          </p:nvSpPr>
          <p:spPr>
            <a:xfrm>
              <a:off x="7912732" y="4250336"/>
              <a:ext cx="465062" cy="658157"/>
            </a:xfrm>
            <a:custGeom>
              <a:avLst/>
              <a:gdLst>
                <a:gd name="connsiteX0" fmla="*/ 193096 w 465062"/>
                <a:gd name="connsiteY0" fmla="*/ 59832 h 658157"/>
                <a:gd name="connsiteX1" fmla="*/ 193096 w 465062"/>
                <a:gd name="connsiteY1" fmla="*/ 114226 h 658157"/>
                <a:gd name="connsiteX2" fmla="*/ 198536 w 465062"/>
                <a:gd name="connsiteY2" fmla="*/ 209414 h 658157"/>
                <a:gd name="connsiteX3" fmla="*/ 201255 w 465062"/>
                <a:gd name="connsiteY3" fmla="*/ 282845 h 658157"/>
                <a:gd name="connsiteX4" fmla="*/ 203975 w 465062"/>
                <a:gd name="connsiteY4" fmla="*/ 315481 h 658157"/>
                <a:gd name="connsiteX5" fmla="*/ 203975 w 465062"/>
                <a:gd name="connsiteY5" fmla="*/ 320920 h 658157"/>
                <a:gd name="connsiteX6" fmla="*/ 212134 w 465062"/>
                <a:gd name="connsiteY6" fmla="*/ 329079 h 658157"/>
                <a:gd name="connsiteX7" fmla="*/ 223013 w 465062"/>
                <a:gd name="connsiteY7" fmla="*/ 329079 h 658157"/>
                <a:gd name="connsiteX8" fmla="*/ 239331 w 465062"/>
                <a:gd name="connsiteY8" fmla="*/ 329079 h 658157"/>
                <a:gd name="connsiteX9" fmla="*/ 280126 w 465062"/>
                <a:gd name="connsiteY9" fmla="*/ 312761 h 658157"/>
                <a:gd name="connsiteX10" fmla="*/ 296443 w 465062"/>
                <a:gd name="connsiteY10" fmla="*/ 288284 h 658157"/>
                <a:gd name="connsiteX11" fmla="*/ 304602 w 465062"/>
                <a:gd name="connsiteY11" fmla="*/ 258368 h 658157"/>
                <a:gd name="connsiteX12" fmla="*/ 312761 w 465062"/>
                <a:gd name="connsiteY12" fmla="*/ 225732 h 658157"/>
                <a:gd name="connsiteX13" fmla="*/ 315481 w 465062"/>
                <a:gd name="connsiteY13" fmla="*/ 195816 h 658157"/>
                <a:gd name="connsiteX14" fmla="*/ 318201 w 465062"/>
                <a:gd name="connsiteY14" fmla="*/ 168619 h 658157"/>
                <a:gd name="connsiteX15" fmla="*/ 312761 w 465062"/>
                <a:gd name="connsiteY15" fmla="*/ 135983 h 658157"/>
                <a:gd name="connsiteX16" fmla="*/ 312761 w 465062"/>
                <a:gd name="connsiteY16" fmla="*/ 122385 h 658157"/>
                <a:gd name="connsiteX17" fmla="*/ 293724 w 465062"/>
                <a:gd name="connsiteY17" fmla="*/ 84309 h 658157"/>
                <a:gd name="connsiteX18" fmla="*/ 280126 w 465062"/>
                <a:gd name="connsiteY18" fmla="*/ 73430 h 658157"/>
                <a:gd name="connsiteX19" fmla="*/ 258368 w 465062"/>
                <a:gd name="connsiteY19" fmla="*/ 62552 h 658157"/>
                <a:gd name="connsiteX20" fmla="*/ 217573 w 465062"/>
                <a:gd name="connsiteY20" fmla="*/ 59832 h 658157"/>
                <a:gd name="connsiteX21" fmla="*/ 111506 w 465062"/>
                <a:gd name="connsiteY21" fmla="*/ 0 h 658157"/>
                <a:gd name="connsiteX22" fmla="*/ 127824 w 465062"/>
                <a:gd name="connsiteY22" fmla="*/ 0 h 658157"/>
                <a:gd name="connsiteX23" fmla="*/ 157741 w 465062"/>
                <a:gd name="connsiteY23" fmla="*/ 5440 h 658157"/>
                <a:gd name="connsiteX24" fmla="*/ 179497 w 465062"/>
                <a:gd name="connsiteY24" fmla="*/ 16318 h 658157"/>
                <a:gd name="connsiteX25" fmla="*/ 209414 w 465062"/>
                <a:gd name="connsiteY25" fmla="*/ 16318 h 658157"/>
                <a:gd name="connsiteX26" fmla="*/ 247489 w 465062"/>
                <a:gd name="connsiteY26" fmla="*/ 16318 h 658157"/>
                <a:gd name="connsiteX27" fmla="*/ 266527 w 465062"/>
                <a:gd name="connsiteY27" fmla="*/ 16318 h 658157"/>
                <a:gd name="connsiteX28" fmla="*/ 312761 w 465062"/>
                <a:gd name="connsiteY28" fmla="*/ 27197 h 658157"/>
                <a:gd name="connsiteX29" fmla="*/ 337238 w 465062"/>
                <a:gd name="connsiteY29" fmla="*/ 38075 h 658157"/>
                <a:gd name="connsiteX30" fmla="*/ 364434 w 465062"/>
                <a:gd name="connsiteY30" fmla="*/ 54393 h 658157"/>
                <a:gd name="connsiteX31" fmla="*/ 386192 w 465062"/>
                <a:gd name="connsiteY31" fmla="*/ 73431 h 658157"/>
                <a:gd name="connsiteX32" fmla="*/ 407949 w 465062"/>
                <a:gd name="connsiteY32" fmla="*/ 103347 h 658157"/>
                <a:gd name="connsiteX33" fmla="*/ 416108 w 465062"/>
                <a:gd name="connsiteY33" fmla="*/ 141422 h 658157"/>
                <a:gd name="connsiteX34" fmla="*/ 418828 w 465062"/>
                <a:gd name="connsiteY34" fmla="*/ 163179 h 658157"/>
                <a:gd name="connsiteX35" fmla="*/ 418828 w 465062"/>
                <a:gd name="connsiteY35" fmla="*/ 171339 h 658157"/>
                <a:gd name="connsiteX36" fmla="*/ 421547 w 465062"/>
                <a:gd name="connsiteY36" fmla="*/ 187656 h 658157"/>
                <a:gd name="connsiteX37" fmla="*/ 418828 w 465062"/>
                <a:gd name="connsiteY37" fmla="*/ 206694 h 658157"/>
                <a:gd name="connsiteX38" fmla="*/ 416108 w 465062"/>
                <a:gd name="connsiteY38" fmla="*/ 233891 h 658157"/>
                <a:gd name="connsiteX39" fmla="*/ 405229 w 465062"/>
                <a:gd name="connsiteY39" fmla="*/ 263807 h 658157"/>
                <a:gd name="connsiteX40" fmla="*/ 394351 w 465062"/>
                <a:gd name="connsiteY40" fmla="*/ 274686 h 658157"/>
                <a:gd name="connsiteX41" fmla="*/ 388912 w 465062"/>
                <a:gd name="connsiteY41" fmla="*/ 285564 h 658157"/>
                <a:gd name="connsiteX42" fmla="*/ 369874 w 465062"/>
                <a:gd name="connsiteY42" fmla="*/ 304602 h 658157"/>
                <a:gd name="connsiteX43" fmla="*/ 358995 w 465062"/>
                <a:gd name="connsiteY43" fmla="*/ 310041 h 658157"/>
                <a:gd name="connsiteX44" fmla="*/ 348117 w 465062"/>
                <a:gd name="connsiteY44" fmla="*/ 320920 h 658157"/>
                <a:gd name="connsiteX45" fmla="*/ 326359 w 465062"/>
                <a:gd name="connsiteY45" fmla="*/ 339957 h 658157"/>
                <a:gd name="connsiteX46" fmla="*/ 312761 w 465062"/>
                <a:gd name="connsiteY46" fmla="*/ 353555 h 658157"/>
                <a:gd name="connsiteX47" fmla="*/ 337238 w 465062"/>
                <a:gd name="connsiteY47" fmla="*/ 380752 h 658157"/>
                <a:gd name="connsiteX48" fmla="*/ 358995 w 465062"/>
                <a:gd name="connsiteY48" fmla="*/ 421547 h 658157"/>
                <a:gd name="connsiteX49" fmla="*/ 372593 w 465062"/>
                <a:gd name="connsiteY49" fmla="*/ 459622 h 658157"/>
                <a:gd name="connsiteX50" fmla="*/ 386192 w 465062"/>
                <a:gd name="connsiteY50" fmla="*/ 514015 h 658157"/>
                <a:gd name="connsiteX51" fmla="*/ 407949 w 465062"/>
                <a:gd name="connsiteY51" fmla="*/ 568408 h 658157"/>
                <a:gd name="connsiteX52" fmla="*/ 421547 w 465062"/>
                <a:gd name="connsiteY52" fmla="*/ 598324 h 658157"/>
                <a:gd name="connsiteX53" fmla="*/ 451463 w 465062"/>
                <a:gd name="connsiteY53" fmla="*/ 628241 h 658157"/>
                <a:gd name="connsiteX54" fmla="*/ 465062 w 465062"/>
                <a:gd name="connsiteY54" fmla="*/ 644559 h 658157"/>
                <a:gd name="connsiteX55" fmla="*/ 462342 w 465062"/>
                <a:gd name="connsiteY55" fmla="*/ 649998 h 658157"/>
                <a:gd name="connsiteX56" fmla="*/ 437865 w 465062"/>
                <a:gd name="connsiteY56" fmla="*/ 658157 h 658157"/>
                <a:gd name="connsiteX57" fmla="*/ 361715 w 465062"/>
                <a:gd name="connsiteY57" fmla="*/ 622801 h 658157"/>
                <a:gd name="connsiteX58" fmla="*/ 320920 w 465062"/>
                <a:gd name="connsiteY58" fmla="*/ 565689 h 658157"/>
                <a:gd name="connsiteX59" fmla="*/ 304602 w 465062"/>
                <a:gd name="connsiteY59" fmla="*/ 530333 h 658157"/>
                <a:gd name="connsiteX60" fmla="*/ 293723 w 465062"/>
                <a:gd name="connsiteY60" fmla="*/ 497697 h 658157"/>
                <a:gd name="connsiteX61" fmla="*/ 282845 w 465062"/>
                <a:gd name="connsiteY61" fmla="*/ 462342 h 658157"/>
                <a:gd name="connsiteX62" fmla="*/ 269246 w 465062"/>
                <a:gd name="connsiteY62" fmla="*/ 424267 h 658157"/>
                <a:gd name="connsiteX63" fmla="*/ 255648 w 465062"/>
                <a:gd name="connsiteY63" fmla="*/ 391631 h 658157"/>
                <a:gd name="connsiteX64" fmla="*/ 236610 w 465062"/>
                <a:gd name="connsiteY64" fmla="*/ 367154 h 658157"/>
                <a:gd name="connsiteX65" fmla="*/ 217573 w 465062"/>
                <a:gd name="connsiteY65" fmla="*/ 361714 h 658157"/>
                <a:gd name="connsiteX66" fmla="*/ 201255 w 465062"/>
                <a:gd name="connsiteY66" fmla="*/ 361714 h 658157"/>
                <a:gd name="connsiteX67" fmla="*/ 198535 w 465062"/>
                <a:gd name="connsiteY67" fmla="*/ 367154 h 658157"/>
                <a:gd name="connsiteX68" fmla="*/ 201255 w 465062"/>
                <a:gd name="connsiteY68" fmla="*/ 388911 h 658157"/>
                <a:gd name="connsiteX69" fmla="*/ 198535 w 465062"/>
                <a:gd name="connsiteY69" fmla="*/ 426986 h 658157"/>
                <a:gd name="connsiteX70" fmla="*/ 203975 w 465062"/>
                <a:gd name="connsiteY70" fmla="*/ 478660 h 658157"/>
                <a:gd name="connsiteX71" fmla="*/ 198535 w 465062"/>
                <a:gd name="connsiteY71" fmla="*/ 552090 h 658157"/>
                <a:gd name="connsiteX72" fmla="*/ 195816 w 465062"/>
                <a:gd name="connsiteY72" fmla="*/ 576567 h 658157"/>
                <a:gd name="connsiteX73" fmla="*/ 198535 w 465062"/>
                <a:gd name="connsiteY73" fmla="*/ 592885 h 658157"/>
                <a:gd name="connsiteX74" fmla="*/ 233891 w 465062"/>
                <a:gd name="connsiteY74" fmla="*/ 592885 h 658157"/>
                <a:gd name="connsiteX75" fmla="*/ 271966 w 465062"/>
                <a:gd name="connsiteY75" fmla="*/ 611923 h 658157"/>
                <a:gd name="connsiteX76" fmla="*/ 266527 w 465062"/>
                <a:gd name="connsiteY76" fmla="*/ 628241 h 658157"/>
                <a:gd name="connsiteX77" fmla="*/ 250209 w 465062"/>
                <a:gd name="connsiteY77" fmla="*/ 636400 h 658157"/>
                <a:gd name="connsiteX78" fmla="*/ 228451 w 465062"/>
                <a:gd name="connsiteY78" fmla="*/ 639119 h 658157"/>
                <a:gd name="connsiteX79" fmla="*/ 187657 w 465062"/>
                <a:gd name="connsiteY79" fmla="*/ 639119 h 658157"/>
                <a:gd name="connsiteX80" fmla="*/ 152301 w 465062"/>
                <a:gd name="connsiteY80" fmla="*/ 652717 h 658157"/>
                <a:gd name="connsiteX81" fmla="*/ 133263 w 465062"/>
                <a:gd name="connsiteY81" fmla="*/ 655437 h 658157"/>
                <a:gd name="connsiteX82" fmla="*/ 122385 w 465062"/>
                <a:gd name="connsiteY82" fmla="*/ 652717 h 658157"/>
                <a:gd name="connsiteX83" fmla="*/ 97908 w 465062"/>
                <a:gd name="connsiteY83" fmla="*/ 639119 h 658157"/>
                <a:gd name="connsiteX84" fmla="*/ 70711 w 465062"/>
                <a:gd name="connsiteY84" fmla="*/ 639119 h 658157"/>
                <a:gd name="connsiteX85" fmla="*/ 46234 w 465062"/>
                <a:gd name="connsiteY85" fmla="*/ 639119 h 658157"/>
                <a:gd name="connsiteX86" fmla="*/ 19038 w 465062"/>
                <a:gd name="connsiteY86" fmla="*/ 630960 h 658157"/>
                <a:gd name="connsiteX87" fmla="*/ 2720 w 465062"/>
                <a:gd name="connsiteY87" fmla="*/ 614642 h 658157"/>
                <a:gd name="connsiteX88" fmla="*/ 8159 w 465062"/>
                <a:gd name="connsiteY88" fmla="*/ 606483 h 658157"/>
                <a:gd name="connsiteX89" fmla="*/ 29916 w 465062"/>
                <a:gd name="connsiteY89" fmla="*/ 598324 h 658157"/>
                <a:gd name="connsiteX90" fmla="*/ 76151 w 465062"/>
                <a:gd name="connsiteY90" fmla="*/ 592885 h 658157"/>
                <a:gd name="connsiteX91" fmla="*/ 73431 w 465062"/>
                <a:gd name="connsiteY91" fmla="*/ 573848 h 658157"/>
                <a:gd name="connsiteX92" fmla="*/ 70711 w 465062"/>
                <a:gd name="connsiteY92" fmla="*/ 500417 h 658157"/>
                <a:gd name="connsiteX93" fmla="*/ 73431 w 465062"/>
                <a:gd name="connsiteY93" fmla="*/ 437865 h 658157"/>
                <a:gd name="connsiteX94" fmla="*/ 70711 w 465062"/>
                <a:gd name="connsiteY94" fmla="*/ 369873 h 658157"/>
                <a:gd name="connsiteX95" fmla="*/ 70711 w 465062"/>
                <a:gd name="connsiteY95" fmla="*/ 293723 h 658157"/>
                <a:gd name="connsiteX96" fmla="*/ 73431 w 465062"/>
                <a:gd name="connsiteY96" fmla="*/ 212133 h 658157"/>
                <a:gd name="connsiteX97" fmla="*/ 76151 w 465062"/>
                <a:gd name="connsiteY97" fmla="*/ 155021 h 658157"/>
                <a:gd name="connsiteX98" fmla="*/ 76151 w 465062"/>
                <a:gd name="connsiteY98" fmla="*/ 119665 h 658157"/>
                <a:gd name="connsiteX99" fmla="*/ 78870 w 465062"/>
                <a:gd name="connsiteY99" fmla="*/ 84310 h 658157"/>
                <a:gd name="connsiteX100" fmla="*/ 76151 w 465062"/>
                <a:gd name="connsiteY100" fmla="*/ 62552 h 658157"/>
                <a:gd name="connsiteX101" fmla="*/ 67992 w 465062"/>
                <a:gd name="connsiteY101" fmla="*/ 62552 h 658157"/>
                <a:gd name="connsiteX102" fmla="*/ 43515 w 465062"/>
                <a:gd name="connsiteY102" fmla="*/ 62552 h 658157"/>
                <a:gd name="connsiteX103" fmla="*/ 16318 w 465062"/>
                <a:gd name="connsiteY103" fmla="*/ 57113 h 658157"/>
                <a:gd name="connsiteX104" fmla="*/ 0 w 465062"/>
                <a:gd name="connsiteY104" fmla="*/ 40795 h 658157"/>
                <a:gd name="connsiteX105" fmla="*/ 5439 w 465062"/>
                <a:gd name="connsiteY105" fmla="*/ 32636 h 658157"/>
                <a:gd name="connsiteX106" fmla="*/ 27197 w 465062"/>
                <a:gd name="connsiteY106" fmla="*/ 24477 h 658157"/>
                <a:gd name="connsiteX107" fmla="*/ 76151 w 465062"/>
                <a:gd name="connsiteY107" fmla="*/ 19038 h 658157"/>
                <a:gd name="connsiteX108" fmla="*/ 78870 w 465062"/>
                <a:gd name="connsiteY108" fmla="*/ 13598 h 658157"/>
                <a:gd name="connsiteX109" fmla="*/ 95188 w 465062"/>
                <a:gd name="connsiteY109" fmla="*/ 5440 h 658157"/>
                <a:gd name="connsiteX110" fmla="*/ 111506 w 465062"/>
                <a:gd name="connsiteY110" fmla="*/ 0 h 6581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</a:cxnLst>
              <a:rect l="l" t="t" r="r" b="b"/>
              <a:pathLst>
                <a:path w="465062" h="658157">
                  <a:moveTo>
                    <a:pt x="193096" y="59832"/>
                  </a:moveTo>
                  <a:cubicBezTo>
                    <a:pt x="193096" y="73430"/>
                    <a:pt x="193096" y="89748"/>
                    <a:pt x="193096" y="114226"/>
                  </a:cubicBezTo>
                  <a:cubicBezTo>
                    <a:pt x="193096" y="144142"/>
                    <a:pt x="195816" y="176778"/>
                    <a:pt x="198536" y="209414"/>
                  </a:cubicBezTo>
                  <a:cubicBezTo>
                    <a:pt x="198536" y="247489"/>
                    <a:pt x="201255" y="277406"/>
                    <a:pt x="201255" y="282845"/>
                  </a:cubicBezTo>
                  <a:cubicBezTo>
                    <a:pt x="201255" y="293723"/>
                    <a:pt x="203975" y="304602"/>
                    <a:pt x="203975" y="315481"/>
                  </a:cubicBezTo>
                  <a:cubicBezTo>
                    <a:pt x="203975" y="318200"/>
                    <a:pt x="203975" y="318200"/>
                    <a:pt x="203975" y="320920"/>
                  </a:cubicBezTo>
                  <a:cubicBezTo>
                    <a:pt x="203975" y="326359"/>
                    <a:pt x="206695" y="329079"/>
                    <a:pt x="212134" y="329079"/>
                  </a:cubicBezTo>
                  <a:cubicBezTo>
                    <a:pt x="214854" y="329079"/>
                    <a:pt x="220293" y="329079"/>
                    <a:pt x="223013" y="329079"/>
                  </a:cubicBezTo>
                  <a:cubicBezTo>
                    <a:pt x="228452" y="329079"/>
                    <a:pt x="233891" y="329079"/>
                    <a:pt x="239331" y="329079"/>
                  </a:cubicBezTo>
                  <a:cubicBezTo>
                    <a:pt x="252929" y="329079"/>
                    <a:pt x="271967" y="323640"/>
                    <a:pt x="280126" y="312761"/>
                  </a:cubicBezTo>
                  <a:cubicBezTo>
                    <a:pt x="288284" y="304602"/>
                    <a:pt x="291004" y="299163"/>
                    <a:pt x="296443" y="288284"/>
                  </a:cubicBezTo>
                  <a:cubicBezTo>
                    <a:pt x="299163" y="277406"/>
                    <a:pt x="301883" y="269247"/>
                    <a:pt x="304602" y="258368"/>
                  </a:cubicBezTo>
                  <a:cubicBezTo>
                    <a:pt x="307322" y="244770"/>
                    <a:pt x="310042" y="239330"/>
                    <a:pt x="312761" y="225732"/>
                  </a:cubicBezTo>
                  <a:cubicBezTo>
                    <a:pt x="315481" y="212134"/>
                    <a:pt x="315481" y="209414"/>
                    <a:pt x="315481" y="195816"/>
                  </a:cubicBezTo>
                  <a:cubicBezTo>
                    <a:pt x="315481" y="179498"/>
                    <a:pt x="315481" y="184937"/>
                    <a:pt x="318201" y="168619"/>
                  </a:cubicBezTo>
                  <a:cubicBezTo>
                    <a:pt x="312761" y="152302"/>
                    <a:pt x="312761" y="149582"/>
                    <a:pt x="312761" y="135983"/>
                  </a:cubicBezTo>
                  <a:cubicBezTo>
                    <a:pt x="312761" y="133264"/>
                    <a:pt x="312761" y="127825"/>
                    <a:pt x="312761" y="122385"/>
                  </a:cubicBezTo>
                  <a:cubicBezTo>
                    <a:pt x="312761" y="111507"/>
                    <a:pt x="301883" y="95188"/>
                    <a:pt x="293724" y="84309"/>
                  </a:cubicBezTo>
                  <a:cubicBezTo>
                    <a:pt x="288284" y="78870"/>
                    <a:pt x="285565" y="76150"/>
                    <a:pt x="280126" y="73430"/>
                  </a:cubicBezTo>
                  <a:cubicBezTo>
                    <a:pt x="271967" y="67991"/>
                    <a:pt x="266527" y="65271"/>
                    <a:pt x="258368" y="62552"/>
                  </a:cubicBezTo>
                  <a:cubicBezTo>
                    <a:pt x="244770" y="59832"/>
                    <a:pt x="228452" y="59832"/>
                    <a:pt x="217573" y="59832"/>
                  </a:cubicBezTo>
                  <a:close/>
                  <a:moveTo>
                    <a:pt x="111506" y="0"/>
                  </a:moveTo>
                  <a:cubicBezTo>
                    <a:pt x="114226" y="0"/>
                    <a:pt x="122385" y="0"/>
                    <a:pt x="127824" y="0"/>
                  </a:cubicBezTo>
                  <a:cubicBezTo>
                    <a:pt x="135983" y="0"/>
                    <a:pt x="146862" y="2720"/>
                    <a:pt x="157741" y="5440"/>
                  </a:cubicBezTo>
                  <a:cubicBezTo>
                    <a:pt x="168619" y="8159"/>
                    <a:pt x="176778" y="10879"/>
                    <a:pt x="179497" y="16318"/>
                  </a:cubicBezTo>
                  <a:cubicBezTo>
                    <a:pt x="193096" y="16318"/>
                    <a:pt x="201255" y="16318"/>
                    <a:pt x="209414" y="16318"/>
                  </a:cubicBezTo>
                  <a:cubicBezTo>
                    <a:pt x="220292" y="16318"/>
                    <a:pt x="231171" y="16318"/>
                    <a:pt x="247489" y="16318"/>
                  </a:cubicBezTo>
                  <a:cubicBezTo>
                    <a:pt x="250209" y="16318"/>
                    <a:pt x="258368" y="16318"/>
                    <a:pt x="266527" y="16318"/>
                  </a:cubicBezTo>
                  <a:cubicBezTo>
                    <a:pt x="277405" y="16318"/>
                    <a:pt x="291004" y="21758"/>
                    <a:pt x="312761" y="27197"/>
                  </a:cubicBezTo>
                  <a:cubicBezTo>
                    <a:pt x="320920" y="29917"/>
                    <a:pt x="329079" y="35356"/>
                    <a:pt x="337238" y="38075"/>
                  </a:cubicBezTo>
                  <a:cubicBezTo>
                    <a:pt x="342677" y="40795"/>
                    <a:pt x="353556" y="48954"/>
                    <a:pt x="364434" y="54393"/>
                  </a:cubicBezTo>
                  <a:cubicBezTo>
                    <a:pt x="375313" y="62552"/>
                    <a:pt x="386192" y="67992"/>
                    <a:pt x="386192" y="73431"/>
                  </a:cubicBezTo>
                  <a:cubicBezTo>
                    <a:pt x="391631" y="84310"/>
                    <a:pt x="402510" y="92469"/>
                    <a:pt x="407949" y="103347"/>
                  </a:cubicBezTo>
                  <a:cubicBezTo>
                    <a:pt x="413388" y="116945"/>
                    <a:pt x="416108" y="130544"/>
                    <a:pt x="416108" y="141422"/>
                  </a:cubicBezTo>
                  <a:cubicBezTo>
                    <a:pt x="416108" y="152301"/>
                    <a:pt x="418828" y="157740"/>
                    <a:pt x="418828" y="163179"/>
                  </a:cubicBezTo>
                  <a:cubicBezTo>
                    <a:pt x="418828" y="165899"/>
                    <a:pt x="418828" y="168619"/>
                    <a:pt x="418828" y="171339"/>
                  </a:cubicBezTo>
                  <a:cubicBezTo>
                    <a:pt x="418828" y="174058"/>
                    <a:pt x="421547" y="182217"/>
                    <a:pt x="421547" y="187656"/>
                  </a:cubicBezTo>
                  <a:cubicBezTo>
                    <a:pt x="421547" y="193096"/>
                    <a:pt x="418828" y="201255"/>
                    <a:pt x="418828" y="206694"/>
                  </a:cubicBezTo>
                  <a:cubicBezTo>
                    <a:pt x="418828" y="217573"/>
                    <a:pt x="418828" y="223012"/>
                    <a:pt x="416108" y="233891"/>
                  </a:cubicBezTo>
                  <a:cubicBezTo>
                    <a:pt x="413388" y="244769"/>
                    <a:pt x="410668" y="255648"/>
                    <a:pt x="405229" y="263807"/>
                  </a:cubicBezTo>
                  <a:cubicBezTo>
                    <a:pt x="402510" y="269246"/>
                    <a:pt x="397070" y="269246"/>
                    <a:pt x="394351" y="274686"/>
                  </a:cubicBezTo>
                  <a:cubicBezTo>
                    <a:pt x="391631" y="277405"/>
                    <a:pt x="391631" y="282844"/>
                    <a:pt x="388912" y="285564"/>
                  </a:cubicBezTo>
                  <a:cubicBezTo>
                    <a:pt x="383472" y="291003"/>
                    <a:pt x="375313" y="301882"/>
                    <a:pt x="369874" y="304602"/>
                  </a:cubicBezTo>
                  <a:cubicBezTo>
                    <a:pt x="367154" y="307321"/>
                    <a:pt x="361715" y="307321"/>
                    <a:pt x="358995" y="310041"/>
                  </a:cubicBezTo>
                  <a:cubicBezTo>
                    <a:pt x="356275" y="312761"/>
                    <a:pt x="350836" y="318200"/>
                    <a:pt x="348117" y="320920"/>
                  </a:cubicBezTo>
                  <a:cubicBezTo>
                    <a:pt x="339958" y="326359"/>
                    <a:pt x="334518" y="334518"/>
                    <a:pt x="326359" y="339957"/>
                  </a:cubicBezTo>
                  <a:cubicBezTo>
                    <a:pt x="320920" y="342677"/>
                    <a:pt x="312761" y="342677"/>
                    <a:pt x="312761" y="353555"/>
                  </a:cubicBezTo>
                  <a:cubicBezTo>
                    <a:pt x="312761" y="361714"/>
                    <a:pt x="334518" y="372593"/>
                    <a:pt x="337238" y="380752"/>
                  </a:cubicBezTo>
                  <a:cubicBezTo>
                    <a:pt x="345397" y="394350"/>
                    <a:pt x="353556" y="407948"/>
                    <a:pt x="358995" y="421547"/>
                  </a:cubicBezTo>
                  <a:cubicBezTo>
                    <a:pt x="364434" y="435145"/>
                    <a:pt x="367154" y="446024"/>
                    <a:pt x="372593" y="459622"/>
                  </a:cubicBezTo>
                  <a:cubicBezTo>
                    <a:pt x="378033" y="478660"/>
                    <a:pt x="383472" y="494978"/>
                    <a:pt x="386192" y="514015"/>
                  </a:cubicBezTo>
                  <a:cubicBezTo>
                    <a:pt x="391631" y="533053"/>
                    <a:pt x="402510" y="549371"/>
                    <a:pt x="407949" y="568408"/>
                  </a:cubicBezTo>
                  <a:cubicBezTo>
                    <a:pt x="410668" y="579287"/>
                    <a:pt x="416108" y="590165"/>
                    <a:pt x="421547" y="598324"/>
                  </a:cubicBezTo>
                  <a:cubicBezTo>
                    <a:pt x="435146" y="614642"/>
                    <a:pt x="443305" y="622801"/>
                    <a:pt x="451463" y="628241"/>
                  </a:cubicBezTo>
                  <a:cubicBezTo>
                    <a:pt x="456903" y="630960"/>
                    <a:pt x="465062" y="636400"/>
                    <a:pt x="465062" y="644559"/>
                  </a:cubicBezTo>
                  <a:cubicBezTo>
                    <a:pt x="465062" y="647278"/>
                    <a:pt x="465062" y="647278"/>
                    <a:pt x="462342" y="649998"/>
                  </a:cubicBezTo>
                  <a:cubicBezTo>
                    <a:pt x="456903" y="655437"/>
                    <a:pt x="446024" y="658157"/>
                    <a:pt x="437865" y="658157"/>
                  </a:cubicBezTo>
                  <a:cubicBezTo>
                    <a:pt x="413388" y="658157"/>
                    <a:pt x="378033" y="641839"/>
                    <a:pt x="361715" y="622801"/>
                  </a:cubicBezTo>
                  <a:cubicBezTo>
                    <a:pt x="345397" y="606483"/>
                    <a:pt x="334518" y="584726"/>
                    <a:pt x="320920" y="565689"/>
                  </a:cubicBezTo>
                  <a:cubicBezTo>
                    <a:pt x="315480" y="554810"/>
                    <a:pt x="310041" y="543931"/>
                    <a:pt x="304602" y="530333"/>
                  </a:cubicBezTo>
                  <a:cubicBezTo>
                    <a:pt x="299163" y="519454"/>
                    <a:pt x="296443" y="508576"/>
                    <a:pt x="293723" y="497697"/>
                  </a:cubicBezTo>
                  <a:cubicBezTo>
                    <a:pt x="291004" y="486819"/>
                    <a:pt x="288284" y="473220"/>
                    <a:pt x="282845" y="462342"/>
                  </a:cubicBezTo>
                  <a:cubicBezTo>
                    <a:pt x="280125" y="448743"/>
                    <a:pt x="274686" y="437865"/>
                    <a:pt x="269246" y="424267"/>
                  </a:cubicBezTo>
                  <a:cubicBezTo>
                    <a:pt x="266527" y="416108"/>
                    <a:pt x="261087" y="402509"/>
                    <a:pt x="255648" y="391631"/>
                  </a:cubicBezTo>
                  <a:cubicBezTo>
                    <a:pt x="250209" y="380752"/>
                    <a:pt x="244770" y="375313"/>
                    <a:pt x="236610" y="367154"/>
                  </a:cubicBezTo>
                  <a:cubicBezTo>
                    <a:pt x="231171" y="361714"/>
                    <a:pt x="223012" y="361714"/>
                    <a:pt x="217573" y="361714"/>
                  </a:cubicBezTo>
                  <a:cubicBezTo>
                    <a:pt x="212134" y="361714"/>
                    <a:pt x="206694" y="361714"/>
                    <a:pt x="201255" y="361714"/>
                  </a:cubicBezTo>
                  <a:cubicBezTo>
                    <a:pt x="198535" y="361714"/>
                    <a:pt x="198535" y="364434"/>
                    <a:pt x="198535" y="367154"/>
                  </a:cubicBezTo>
                  <a:cubicBezTo>
                    <a:pt x="198535" y="375313"/>
                    <a:pt x="201255" y="386191"/>
                    <a:pt x="201255" y="388911"/>
                  </a:cubicBezTo>
                  <a:cubicBezTo>
                    <a:pt x="201255" y="402509"/>
                    <a:pt x="198535" y="413388"/>
                    <a:pt x="198535" y="426986"/>
                  </a:cubicBezTo>
                  <a:cubicBezTo>
                    <a:pt x="198535" y="446024"/>
                    <a:pt x="203975" y="456902"/>
                    <a:pt x="203975" y="478660"/>
                  </a:cubicBezTo>
                  <a:cubicBezTo>
                    <a:pt x="203975" y="503136"/>
                    <a:pt x="201255" y="527613"/>
                    <a:pt x="198535" y="552090"/>
                  </a:cubicBezTo>
                  <a:cubicBezTo>
                    <a:pt x="198535" y="560249"/>
                    <a:pt x="195816" y="568408"/>
                    <a:pt x="195816" y="576567"/>
                  </a:cubicBezTo>
                  <a:cubicBezTo>
                    <a:pt x="195816" y="582006"/>
                    <a:pt x="195816" y="587446"/>
                    <a:pt x="198535" y="592885"/>
                  </a:cubicBezTo>
                  <a:cubicBezTo>
                    <a:pt x="212134" y="592885"/>
                    <a:pt x="225732" y="592885"/>
                    <a:pt x="233891" y="592885"/>
                  </a:cubicBezTo>
                  <a:cubicBezTo>
                    <a:pt x="247489" y="592885"/>
                    <a:pt x="271966" y="592885"/>
                    <a:pt x="271966" y="611923"/>
                  </a:cubicBezTo>
                  <a:cubicBezTo>
                    <a:pt x="271966" y="620082"/>
                    <a:pt x="269246" y="622801"/>
                    <a:pt x="266527" y="628241"/>
                  </a:cubicBezTo>
                  <a:cubicBezTo>
                    <a:pt x="261087" y="633680"/>
                    <a:pt x="255648" y="636400"/>
                    <a:pt x="250209" y="636400"/>
                  </a:cubicBezTo>
                  <a:cubicBezTo>
                    <a:pt x="239330" y="639119"/>
                    <a:pt x="233891" y="639119"/>
                    <a:pt x="228451" y="639119"/>
                  </a:cubicBezTo>
                  <a:cubicBezTo>
                    <a:pt x="223012" y="639119"/>
                    <a:pt x="206694" y="639119"/>
                    <a:pt x="187657" y="639119"/>
                  </a:cubicBezTo>
                  <a:cubicBezTo>
                    <a:pt x="176778" y="647278"/>
                    <a:pt x="163180" y="649998"/>
                    <a:pt x="152301" y="652717"/>
                  </a:cubicBezTo>
                  <a:cubicBezTo>
                    <a:pt x="146862" y="652717"/>
                    <a:pt x="138703" y="655437"/>
                    <a:pt x="133263" y="655437"/>
                  </a:cubicBezTo>
                  <a:cubicBezTo>
                    <a:pt x="130544" y="655437"/>
                    <a:pt x="125104" y="655437"/>
                    <a:pt x="122385" y="652717"/>
                  </a:cubicBezTo>
                  <a:cubicBezTo>
                    <a:pt x="114226" y="649998"/>
                    <a:pt x="103347" y="644559"/>
                    <a:pt x="97908" y="639119"/>
                  </a:cubicBezTo>
                  <a:cubicBezTo>
                    <a:pt x="87029" y="639119"/>
                    <a:pt x="78870" y="639119"/>
                    <a:pt x="70711" y="639119"/>
                  </a:cubicBezTo>
                  <a:cubicBezTo>
                    <a:pt x="62552" y="639119"/>
                    <a:pt x="54393" y="639119"/>
                    <a:pt x="46234" y="639119"/>
                  </a:cubicBezTo>
                  <a:cubicBezTo>
                    <a:pt x="38075" y="639119"/>
                    <a:pt x="27197" y="633680"/>
                    <a:pt x="19038" y="630960"/>
                  </a:cubicBezTo>
                  <a:cubicBezTo>
                    <a:pt x="10879" y="628241"/>
                    <a:pt x="2720" y="620082"/>
                    <a:pt x="2720" y="614642"/>
                  </a:cubicBezTo>
                  <a:cubicBezTo>
                    <a:pt x="2720" y="611923"/>
                    <a:pt x="2720" y="609203"/>
                    <a:pt x="8159" y="606483"/>
                  </a:cubicBezTo>
                  <a:cubicBezTo>
                    <a:pt x="13599" y="603764"/>
                    <a:pt x="24477" y="601044"/>
                    <a:pt x="29916" y="598324"/>
                  </a:cubicBezTo>
                  <a:cubicBezTo>
                    <a:pt x="43515" y="595605"/>
                    <a:pt x="62552" y="595605"/>
                    <a:pt x="76151" y="592885"/>
                  </a:cubicBezTo>
                  <a:cubicBezTo>
                    <a:pt x="76151" y="587446"/>
                    <a:pt x="73431" y="582006"/>
                    <a:pt x="73431" y="573848"/>
                  </a:cubicBezTo>
                  <a:cubicBezTo>
                    <a:pt x="73431" y="565689"/>
                    <a:pt x="70711" y="516735"/>
                    <a:pt x="70711" y="500417"/>
                  </a:cubicBezTo>
                  <a:cubicBezTo>
                    <a:pt x="70711" y="481379"/>
                    <a:pt x="73431" y="456902"/>
                    <a:pt x="73431" y="437865"/>
                  </a:cubicBezTo>
                  <a:cubicBezTo>
                    <a:pt x="73431" y="416108"/>
                    <a:pt x="70711" y="391631"/>
                    <a:pt x="70711" y="369873"/>
                  </a:cubicBezTo>
                  <a:cubicBezTo>
                    <a:pt x="70711" y="345397"/>
                    <a:pt x="70711" y="318200"/>
                    <a:pt x="70711" y="293723"/>
                  </a:cubicBezTo>
                  <a:cubicBezTo>
                    <a:pt x="70711" y="266526"/>
                    <a:pt x="73431" y="239330"/>
                    <a:pt x="73431" y="212133"/>
                  </a:cubicBezTo>
                  <a:cubicBezTo>
                    <a:pt x="73431" y="187656"/>
                    <a:pt x="76151" y="179498"/>
                    <a:pt x="76151" y="155021"/>
                  </a:cubicBezTo>
                  <a:cubicBezTo>
                    <a:pt x="76151" y="144142"/>
                    <a:pt x="76151" y="130544"/>
                    <a:pt x="76151" y="119665"/>
                  </a:cubicBezTo>
                  <a:cubicBezTo>
                    <a:pt x="76151" y="106067"/>
                    <a:pt x="78870" y="95188"/>
                    <a:pt x="78870" y="84310"/>
                  </a:cubicBezTo>
                  <a:cubicBezTo>
                    <a:pt x="78870" y="78870"/>
                    <a:pt x="78870" y="70711"/>
                    <a:pt x="76151" y="62552"/>
                  </a:cubicBezTo>
                  <a:cubicBezTo>
                    <a:pt x="76151" y="62552"/>
                    <a:pt x="73431" y="62552"/>
                    <a:pt x="67992" y="62552"/>
                  </a:cubicBezTo>
                  <a:cubicBezTo>
                    <a:pt x="59833" y="62552"/>
                    <a:pt x="51674" y="62552"/>
                    <a:pt x="43515" y="62552"/>
                  </a:cubicBezTo>
                  <a:cubicBezTo>
                    <a:pt x="35356" y="62552"/>
                    <a:pt x="24477" y="59833"/>
                    <a:pt x="16318" y="57113"/>
                  </a:cubicBezTo>
                  <a:cubicBezTo>
                    <a:pt x="8159" y="54393"/>
                    <a:pt x="0" y="43515"/>
                    <a:pt x="0" y="40795"/>
                  </a:cubicBezTo>
                  <a:cubicBezTo>
                    <a:pt x="0" y="38075"/>
                    <a:pt x="0" y="35356"/>
                    <a:pt x="5439" y="32636"/>
                  </a:cubicBezTo>
                  <a:cubicBezTo>
                    <a:pt x="10879" y="29917"/>
                    <a:pt x="21758" y="27197"/>
                    <a:pt x="27197" y="24477"/>
                  </a:cubicBezTo>
                  <a:cubicBezTo>
                    <a:pt x="46234" y="21758"/>
                    <a:pt x="62552" y="19038"/>
                    <a:pt x="76151" y="19038"/>
                  </a:cubicBezTo>
                  <a:cubicBezTo>
                    <a:pt x="76151" y="16318"/>
                    <a:pt x="78870" y="16318"/>
                    <a:pt x="78870" y="13598"/>
                  </a:cubicBezTo>
                  <a:cubicBezTo>
                    <a:pt x="84309" y="10879"/>
                    <a:pt x="89749" y="8159"/>
                    <a:pt x="95188" y="5440"/>
                  </a:cubicBezTo>
                  <a:cubicBezTo>
                    <a:pt x="100628" y="2720"/>
                    <a:pt x="106067" y="0"/>
                    <a:pt x="111506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7" name="Freeform: Shape 46">
              <a:extLst>
                <a:ext uri="{FF2B5EF4-FFF2-40B4-BE49-F238E27FC236}">
                  <a16:creationId xmlns:a16="http://schemas.microsoft.com/office/drawing/2014/main" id="{4CD57581-16D5-457C-AB8A-C39E91AF7848}"/>
                </a:ext>
              </a:extLst>
            </p:cNvPr>
            <p:cNvSpPr/>
            <p:nvPr/>
          </p:nvSpPr>
          <p:spPr>
            <a:xfrm>
              <a:off x="8346812" y="4186718"/>
              <a:ext cx="353556" cy="761503"/>
            </a:xfrm>
            <a:custGeom>
              <a:avLst/>
              <a:gdLst>
                <a:gd name="connsiteX0" fmla="*/ 283910 w 353555"/>
                <a:gd name="connsiteY0" fmla="*/ 672820 h 761503"/>
                <a:gd name="connsiteX1" fmla="*/ 321985 w 353555"/>
                <a:gd name="connsiteY1" fmla="*/ 689138 h 761503"/>
                <a:gd name="connsiteX2" fmla="*/ 316546 w 353555"/>
                <a:gd name="connsiteY2" fmla="*/ 705456 h 761503"/>
                <a:gd name="connsiteX3" fmla="*/ 300228 w 353555"/>
                <a:gd name="connsiteY3" fmla="*/ 713615 h 761503"/>
                <a:gd name="connsiteX4" fmla="*/ 278471 w 353555"/>
                <a:gd name="connsiteY4" fmla="*/ 716335 h 761503"/>
                <a:gd name="connsiteX5" fmla="*/ 237676 w 353555"/>
                <a:gd name="connsiteY5" fmla="*/ 716335 h 761503"/>
                <a:gd name="connsiteX6" fmla="*/ 180563 w 353555"/>
                <a:gd name="connsiteY6" fmla="*/ 719054 h 761503"/>
                <a:gd name="connsiteX7" fmla="*/ 126170 w 353555"/>
                <a:gd name="connsiteY7" fmla="*/ 719054 h 761503"/>
                <a:gd name="connsiteX8" fmla="*/ 101693 w 353555"/>
                <a:gd name="connsiteY8" fmla="*/ 719054 h 761503"/>
                <a:gd name="connsiteX9" fmla="*/ 74496 w 353555"/>
                <a:gd name="connsiteY9" fmla="*/ 713615 h 761503"/>
                <a:gd name="connsiteX10" fmla="*/ 58178 w 353555"/>
                <a:gd name="connsiteY10" fmla="*/ 697297 h 761503"/>
                <a:gd name="connsiteX11" fmla="*/ 63618 w 353555"/>
                <a:gd name="connsiteY11" fmla="*/ 689138 h 761503"/>
                <a:gd name="connsiteX12" fmla="*/ 85375 w 353555"/>
                <a:gd name="connsiteY12" fmla="*/ 680979 h 761503"/>
                <a:gd name="connsiteX13" fmla="*/ 131609 w 353555"/>
                <a:gd name="connsiteY13" fmla="*/ 675540 h 761503"/>
                <a:gd name="connsiteX14" fmla="*/ 142488 w 353555"/>
                <a:gd name="connsiteY14" fmla="*/ 675540 h 761503"/>
                <a:gd name="connsiteX15" fmla="*/ 131609 w 353555"/>
                <a:gd name="connsiteY15" fmla="*/ 653783 h 761503"/>
                <a:gd name="connsiteX16" fmla="*/ 128890 w 353555"/>
                <a:gd name="connsiteY16" fmla="*/ 640184 h 761503"/>
                <a:gd name="connsiteX17" fmla="*/ 128890 w 353555"/>
                <a:gd name="connsiteY17" fmla="*/ 629306 h 761503"/>
                <a:gd name="connsiteX18" fmla="*/ 128890 w 353555"/>
                <a:gd name="connsiteY18" fmla="*/ 621147 h 761503"/>
                <a:gd name="connsiteX19" fmla="*/ 128890 w 353555"/>
                <a:gd name="connsiteY19" fmla="*/ 593950 h 761503"/>
                <a:gd name="connsiteX20" fmla="*/ 128890 w 353555"/>
                <a:gd name="connsiteY20" fmla="*/ 583072 h 761503"/>
                <a:gd name="connsiteX21" fmla="*/ 128890 w 353555"/>
                <a:gd name="connsiteY21" fmla="*/ 436210 h 761503"/>
                <a:gd name="connsiteX22" fmla="*/ 128890 w 353555"/>
                <a:gd name="connsiteY22" fmla="*/ 357340 h 761503"/>
                <a:gd name="connsiteX23" fmla="*/ 131609 w 353555"/>
                <a:gd name="connsiteY23" fmla="*/ 289349 h 761503"/>
                <a:gd name="connsiteX24" fmla="*/ 131609 w 353555"/>
                <a:gd name="connsiteY24" fmla="*/ 251274 h 761503"/>
                <a:gd name="connsiteX25" fmla="*/ 131609 w 353555"/>
                <a:gd name="connsiteY25" fmla="*/ 205040 h 761503"/>
                <a:gd name="connsiteX26" fmla="*/ 131609 w 353555"/>
                <a:gd name="connsiteY26" fmla="*/ 139768 h 761503"/>
                <a:gd name="connsiteX27" fmla="*/ 131609 w 353555"/>
                <a:gd name="connsiteY27" fmla="*/ 128889 h 761503"/>
                <a:gd name="connsiteX28" fmla="*/ 126170 w 353555"/>
                <a:gd name="connsiteY28" fmla="*/ 128889 h 761503"/>
                <a:gd name="connsiteX29" fmla="*/ 101693 w 353555"/>
                <a:gd name="connsiteY29" fmla="*/ 128889 h 761503"/>
                <a:gd name="connsiteX30" fmla="*/ 74496 w 353555"/>
                <a:gd name="connsiteY30" fmla="*/ 123450 h 761503"/>
                <a:gd name="connsiteX31" fmla="*/ 58178 w 353555"/>
                <a:gd name="connsiteY31" fmla="*/ 107132 h 761503"/>
                <a:gd name="connsiteX32" fmla="*/ 60898 w 353555"/>
                <a:gd name="connsiteY32" fmla="*/ 98973 h 761503"/>
                <a:gd name="connsiteX33" fmla="*/ 82655 w 353555"/>
                <a:gd name="connsiteY33" fmla="*/ 93534 h 761503"/>
                <a:gd name="connsiteX34" fmla="*/ 131609 w 353555"/>
                <a:gd name="connsiteY34" fmla="*/ 88094 h 761503"/>
                <a:gd name="connsiteX35" fmla="*/ 131609 w 353555"/>
                <a:gd name="connsiteY35" fmla="*/ 82655 h 761503"/>
                <a:gd name="connsiteX36" fmla="*/ 134329 w 353555"/>
                <a:gd name="connsiteY36" fmla="*/ 71776 h 761503"/>
                <a:gd name="connsiteX37" fmla="*/ 147927 w 353555"/>
                <a:gd name="connsiteY37" fmla="*/ 63617 h 761503"/>
                <a:gd name="connsiteX38" fmla="*/ 164245 w 353555"/>
                <a:gd name="connsiteY38" fmla="*/ 58178 h 761503"/>
                <a:gd name="connsiteX39" fmla="*/ 177843 w 353555"/>
                <a:gd name="connsiteY39" fmla="*/ 58178 h 761503"/>
                <a:gd name="connsiteX40" fmla="*/ 196881 w 353555"/>
                <a:gd name="connsiteY40" fmla="*/ 60898 h 761503"/>
                <a:gd name="connsiteX41" fmla="*/ 232237 w 353555"/>
                <a:gd name="connsiteY41" fmla="*/ 88094 h 761503"/>
                <a:gd name="connsiteX42" fmla="*/ 278471 w 353555"/>
                <a:gd name="connsiteY42" fmla="*/ 88094 h 761503"/>
                <a:gd name="connsiteX43" fmla="*/ 316546 w 353555"/>
                <a:gd name="connsiteY43" fmla="*/ 104412 h 761503"/>
                <a:gd name="connsiteX44" fmla="*/ 311107 w 353555"/>
                <a:gd name="connsiteY44" fmla="*/ 120730 h 761503"/>
                <a:gd name="connsiteX45" fmla="*/ 294789 w 353555"/>
                <a:gd name="connsiteY45" fmla="*/ 128889 h 761503"/>
                <a:gd name="connsiteX46" fmla="*/ 273032 w 353555"/>
                <a:gd name="connsiteY46" fmla="*/ 131609 h 761503"/>
                <a:gd name="connsiteX47" fmla="*/ 243115 w 353555"/>
                <a:gd name="connsiteY47" fmla="*/ 131609 h 761503"/>
                <a:gd name="connsiteX48" fmla="*/ 243115 w 353555"/>
                <a:gd name="connsiteY48" fmla="*/ 134329 h 761503"/>
                <a:gd name="connsiteX49" fmla="*/ 248554 w 353555"/>
                <a:gd name="connsiteY49" fmla="*/ 169684 h 761503"/>
                <a:gd name="connsiteX50" fmla="*/ 251274 w 353555"/>
                <a:gd name="connsiteY50" fmla="*/ 205040 h 761503"/>
                <a:gd name="connsiteX51" fmla="*/ 251274 w 353555"/>
                <a:gd name="connsiteY51" fmla="*/ 240395 h 761503"/>
                <a:gd name="connsiteX52" fmla="*/ 251274 w 353555"/>
                <a:gd name="connsiteY52" fmla="*/ 256713 h 761503"/>
                <a:gd name="connsiteX53" fmla="*/ 253994 w 353555"/>
                <a:gd name="connsiteY53" fmla="*/ 270311 h 761503"/>
                <a:gd name="connsiteX54" fmla="*/ 259433 w 353555"/>
                <a:gd name="connsiteY54" fmla="*/ 343742 h 761503"/>
                <a:gd name="connsiteX55" fmla="*/ 262153 w 353555"/>
                <a:gd name="connsiteY55" fmla="*/ 425332 h 761503"/>
                <a:gd name="connsiteX56" fmla="*/ 264872 w 353555"/>
                <a:gd name="connsiteY56" fmla="*/ 490603 h 761503"/>
                <a:gd name="connsiteX57" fmla="*/ 270312 w 353555"/>
                <a:gd name="connsiteY57" fmla="*/ 564034 h 761503"/>
                <a:gd name="connsiteX58" fmla="*/ 270312 w 353555"/>
                <a:gd name="connsiteY58" fmla="*/ 599390 h 761503"/>
                <a:gd name="connsiteX59" fmla="*/ 270312 w 353555"/>
                <a:gd name="connsiteY59" fmla="*/ 637465 h 761503"/>
                <a:gd name="connsiteX60" fmla="*/ 264872 w 353555"/>
                <a:gd name="connsiteY60" fmla="*/ 670101 h 761503"/>
                <a:gd name="connsiteX61" fmla="*/ 283910 w 353555"/>
                <a:gd name="connsiteY61" fmla="*/ 672820 h 761503"/>
                <a:gd name="connsiteX62" fmla="*/ 283910 w 353555"/>
                <a:gd name="connsiteY62" fmla="*/ 672820 h 761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</a:cxnLst>
              <a:rect l="l" t="t" r="r" b="b"/>
              <a:pathLst>
                <a:path w="353555" h="761503">
                  <a:moveTo>
                    <a:pt x="283910" y="672820"/>
                  </a:moveTo>
                  <a:cubicBezTo>
                    <a:pt x="297508" y="672820"/>
                    <a:pt x="321985" y="672820"/>
                    <a:pt x="321985" y="689138"/>
                  </a:cubicBezTo>
                  <a:cubicBezTo>
                    <a:pt x="321985" y="697297"/>
                    <a:pt x="319266" y="697297"/>
                    <a:pt x="316546" y="705456"/>
                  </a:cubicBezTo>
                  <a:cubicBezTo>
                    <a:pt x="311107" y="710895"/>
                    <a:pt x="305667" y="713615"/>
                    <a:pt x="300228" y="713615"/>
                  </a:cubicBezTo>
                  <a:cubicBezTo>
                    <a:pt x="292069" y="716335"/>
                    <a:pt x="283910" y="716335"/>
                    <a:pt x="278471" y="716335"/>
                  </a:cubicBezTo>
                  <a:cubicBezTo>
                    <a:pt x="275751" y="716335"/>
                    <a:pt x="256713" y="716335"/>
                    <a:pt x="237676" y="716335"/>
                  </a:cubicBezTo>
                  <a:cubicBezTo>
                    <a:pt x="213199" y="716335"/>
                    <a:pt x="186003" y="719054"/>
                    <a:pt x="180563" y="719054"/>
                  </a:cubicBezTo>
                  <a:cubicBezTo>
                    <a:pt x="166965" y="719054"/>
                    <a:pt x="142488" y="719054"/>
                    <a:pt x="126170" y="719054"/>
                  </a:cubicBezTo>
                  <a:cubicBezTo>
                    <a:pt x="118011" y="719054"/>
                    <a:pt x="109852" y="719054"/>
                    <a:pt x="101693" y="719054"/>
                  </a:cubicBezTo>
                  <a:cubicBezTo>
                    <a:pt x="93534" y="719054"/>
                    <a:pt x="82655" y="719054"/>
                    <a:pt x="74496" y="713615"/>
                  </a:cubicBezTo>
                  <a:cubicBezTo>
                    <a:pt x="66337" y="710895"/>
                    <a:pt x="58178" y="702736"/>
                    <a:pt x="58178" y="697297"/>
                  </a:cubicBezTo>
                  <a:cubicBezTo>
                    <a:pt x="58178" y="694578"/>
                    <a:pt x="58178" y="691858"/>
                    <a:pt x="63618" y="689138"/>
                  </a:cubicBezTo>
                  <a:cubicBezTo>
                    <a:pt x="69057" y="686418"/>
                    <a:pt x="79936" y="683699"/>
                    <a:pt x="85375" y="680979"/>
                  </a:cubicBezTo>
                  <a:cubicBezTo>
                    <a:pt x="104413" y="678260"/>
                    <a:pt x="123450" y="675540"/>
                    <a:pt x="131609" y="675540"/>
                  </a:cubicBezTo>
                  <a:cubicBezTo>
                    <a:pt x="134329" y="675540"/>
                    <a:pt x="137049" y="675540"/>
                    <a:pt x="142488" y="675540"/>
                  </a:cubicBezTo>
                  <a:cubicBezTo>
                    <a:pt x="134329" y="670101"/>
                    <a:pt x="131609" y="661942"/>
                    <a:pt x="131609" y="653783"/>
                  </a:cubicBezTo>
                  <a:cubicBezTo>
                    <a:pt x="131609" y="648343"/>
                    <a:pt x="131609" y="642904"/>
                    <a:pt x="128890" y="640184"/>
                  </a:cubicBezTo>
                  <a:cubicBezTo>
                    <a:pt x="128890" y="637465"/>
                    <a:pt x="128890" y="634745"/>
                    <a:pt x="128890" y="629306"/>
                  </a:cubicBezTo>
                  <a:cubicBezTo>
                    <a:pt x="128890" y="626586"/>
                    <a:pt x="128890" y="623867"/>
                    <a:pt x="128890" y="621147"/>
                  </a:cubicBezTo>
                  <a:cubicBezTo>
                    <a:pt x="128890" y="612988"/>
                    <a:pt x="128890" y="604829"/>
                    <a:pt x="128890" y="593950"/>
                  </a:cubicBezTo>
                  <a:cubicBezTo>
                    <a:pt x="128890" y="591231"/>
                    <a:pt x="128890" y="585791"/>
                    <a:pt x="128890" y="583072"/>
                  </a:cubicBezTo>
                  <a:cubicBezTo>
                    <a:pt x="128890" y="534118"/>
                    <a:pt x="131609" y="485164"/>
                    <a:pt x="128890" y="436210"/>
                  </a:cubicBezTo>
                  <a:cubicBezTo>
                    <a:pt x="128890" y="409014"/>
                    <a:pt x="128890" y="384537"/>
                    <a:pt x="128890" y="357340"/>
                  </a:cubicBezTo>
                  <a:cubicBezTo>
                    <a:pt x="128890" y="335583"/>
                    <a:pt x="131609" y="313826"/>
                    <a:pt x="131609" y="289349"/>
                  </a:cubicBezTo>
                  <a:cubicBezTo>
                    <a:pt x="131609" y="275751"/>
                    <a:pt x="131609" y="264872"/>
                    <a:pt x="131609" y="251274"/>
                  </a:cubicBezTo>
                  <a:cubicBezTo>
                    <a:pt x="131609" y="234956"/>
                    <a:pt x="131609" y="221357"/>
                    <a:pt x="131609" y="205040"/>
                  </a:cubicBezTo>
                  <a:cubicBezTo>
                    <a:pt x="131609" y="183282"/>
                    <a:pt x="131609" y="161525"/>
                    <a:pt x="131609" y="139768"/>
                  </a:cubicBezTo>
                  <a:cubicBezTo>
                    <a:pt x="131609" y="137048"/>
                    <a:pt x="131609" y="134329"/>
                    <a:pt x="131609" y="128889"/>
                  </a:cubicBezTo>
                  <a:cubicBezTo>
                    <a:pt x="128890" y="128889"/>
                    <a:pt x="126170" y="128889"/>
                    <a:pt x="126170" y="128889"/>
                  </a:cubicBezTo>
                  <a:cubicBezTo>
                    <a:pt x="118011" y="128889"/>
                    <a:pt x="109852" y="128889"/>
                    <a:pt x="101693" y="128889"/>
                  </a:cubicBezTo>
                  <a:cubicBezTo>
                    <a:pt x="93534" y="128889"/>
                    <a:pt x="82655" y="128889"/>
                    <a:pt x="74496" y="123450"/>
                  </a:cubicBezTo>
                  <a:cubicBezTo>
                    <a:pt x="66337" y="120730"/>
                    <a:pt x="58178" y="112571"/>
                    <a:pt x="58178" y="107132"/>
                  </a:cubicBezTo>
                  <a:cubicBezTo>
                    <a:pt x="58178" y="104412"/>
                    <a:pt x="58178" y="101693"/>
                    <a:pt x="60898" y="98973"/>
                  </a:cubicBezTo>
                  <a:cubicBezTo>
                    <a:pt x="63618" y="96253"/>
                    <a:pt x="77216" y="93534"/>
                    <a:pt x="82655" y="93534"/>
                  </a:cubicBezTo>
                  <a:cubicBezTo>
                    <a:pt x="98973" y="90814"/>
                    <a:pt x="123450" y="88094"/>
                    <a:pt x="131609" y="88094"/>
                  </a:cubicBezTo>
                  <a:cubicBezTo>
                    <a:pt x="131609" y="85375"/>
                    <a:pt x="131609" y="85375"/>
                    <a:pt x="131609" y="82655"/>
                  </a:cubicBezTo>
                  <a:cubicBezTo>
                    <a:pt x="131609" y="77216"/>
                    <a:pt x="131609" y="74496"/>
                    <a:pt x="134329" y="71776"/>
                  </a:cubicBezTo>
                  <a:cubicBezTo>
                    <a:pt x="137049" y="69057"/>
                    <a:pt x="145208" y="66337"/>
                    <a:pt x="147927" y="63617"/>
                  </a:cubicBezTo>
                  <a:cubicBezTo>
                    <a:pt x="153366" y="60898"/>
                    <a:pt x="158806" y="58178"/>
                    <a:pt x="164245" y="58178"/>
                  </a:cubicBezTo>
                  <a:cubicBezTo>
                    <a:pt x="169684" y="58178"/>
                    <a:pt x="175124" y="58178"/>
                    <a:pt x="177843" y="58178"/>
                  </a:cubicBezTo>
                  <a:cubicBezTo>
                    <a:pt x="183283" y="58178"/>
                    <a:pt x="191442" y="58178"/>
                    <a:pt x="196881" y="60898"/>
                  </a:cubicBezTo>
                  <a:cubicBezTo>
                    <a:pt x="213199" y="63617"/>
                    <a:pt x="224078" y="74496"/>
                    <a:pt x="232237" y="88094"/>
                  </a:cubicBezTo>
                  <a:cubicBezTo>
                    <a:pt x="253994" y="88094"/>
                    <a:pt x="270312" y="88094"/>
                    <a:pt x="278471" y="88094"/>
                  </a:cubicBezTo>
                  <a:cubicBezTo>
                    <a:pt x="292069" y="88094"/>
                    <a:pt x="316546" y="88094"/>
                    <a:pt x="316546" y="104412"/>
                  </a:cubicBezTo>
                  <a:cubicBezTo>
                    <a:pt x="316546" y="112571"/>
                    <a:pt x="313826" y="112571"/>
                    <a:pt x="311107" y="120730"/>
                  </a:cubicBezTo>
                  <a:cubicBezTo>
                    <a:pt x="305667" y="126170"/>
                    <a:pt x="300228" y="128889"/>
                    <a:pt x="294789" y="128889"/>
                  </a:cubicBezTo>
                  <a:cubicBezTo>
                    <a:pt x="286630" y="131609"/>
                    <a:pt x="278471" y="131609"/>
                    <a:pt x="273032" y="131609"/>
                  </a:cubicBezTo>
                  <a:cubicBezTo>
                    <a:pt x="270312" y="131609"/>
                    <a:pt x="259433" y="131609"/>
                    <a:pt x="243115" y="131609"/>
                  </a:cubicBezTo>
                  <a:lnTo>
                    <a:pt x="243115" y="134329"/>
                  </a:lnTo>
                  <a:cubicBezTo>
                    <a:pt x="245835" y="145207"/>
                    <a:pt x="245835" y="158805"/>
                    <a:pt x="248554" y="169684"/>
                  </a:cubicBezTo>
                  <a:cubicBezTo>
                    <a:pt x="251274" y="180563"/>
                    <a:pt x="251274" y="194161"/>
                    <a:pt x="251274" y="205040"/>
                  </a:cubicBezTo>
                  <a:cubicBezTo>
                    <a:pt x="251274" y="215918"/>
                    <a:pt x="251274" y="226797"/>
                    <a:pt x="251274" y="240395"/>
                  </a:cubicBezTo>
                  <a:cubicBezTo>
                    <a:pt x="251274" y="245834"/>
                    <a:pt x="251274" y="251274"/>
                    <a:pt x="251274" y="256713"/>
                  </a:cubicBezTo>
                  <a:cubicBezTo>
                    <a:pt x="251274" y="262152"/>
                    <a:pt x="251274" y="267592"/>
                    <a:pt x="253994" y="270311"/>
                  </a:cubicBezTo>
                  <a:cubicBezTo>
                    <a:pt x="256713" y="294788"/>
                    <a:pt x="256713" y="319265"/>
                    <a:pt x="259433" y="343742"/>
                  </a:cubicBezTo>
                  <a:cubicBezTo>
                    <a:pt x="259433" y="370939"/>
                    <a:pt x="262153" y="398135"/>
                    <a:pt x="262153" y="425332"/>
                  </a:cubicBezTo>
                  <a:cubicBezTo>
                    <a:pt x="262153" y="447089"/>
                    <a:pt x="262153" y="468846"/>
                    <a:pt x="264872" y="490603"/>
                  </a:cubicBezTo>
                  <a:cubicBezTo>
                    <a:pt x="264872" y="515080"/>
                    <a:pt x="270312" y="539557"/>
                    <a:pt x="270312" y="564034"/>
                  </a:cubicBezTo>
                  <a:cubicBezTo>
                    <a:pt x="270312" y="574913"/>
                    <a:pt x="270312" y="588511"/>
                    <a:pt x="270312" y="599390"/>
                  </a:cubicBezTo>
                  <a:cubicBezTo>
                    <a:pt x="270312" y="612988"/>
                    <a:pt x="270312" y="623867"/>
                    <a:pt x="270312" y="637465"/>
                  </a:cubicBezTo>
                  <a:cubicBezTo>
                    <a:pt x="270312" y="648343"/>
                    <a:pt x="270312" y="661942"/>
                    <a:pt x="264872" y="670101"/>
                  </a:cubicBezTo>
                  <a:cubicBezTo>
                    <a:pt x="273032" y="672820"/>
                    <a:pt x="278471" y="672820"/>
                    <a:pt x="283910" y="672820"/>
                  </a:cubicBezTo>
                  <a:lnTo>
                    <a:pt x="283910" y="672820"/>
                  </a:ln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8" name="Freeform: Shape 47">
              <a:extLst>
                <a:ext uri="{FF2B5EF4-FFF2-40B4-BE49-F238E27FC236}">
                  <a16:creationId xmlns:a16="http://schemas.microsoft.com/office/drawing/2014/main" id="{9A128766-36EC-4898-BC9F-3A0ED7FC0E84}"/>
                </a:ext>
              </a:extLst>
            </p:cNvPr>
            <p:cNvSpPr/>
            <p:nvPr/>
          </p:nvSpPr>
          <p:spPr>
            <a:xfrm>
              <a:off x="8652924" y="4192158"/>
              <a:ext cx="516735" cy="788700"/>
            </a:xfrm>
            <a:custGeom>
              <a:avLst/>
              <a:gdLst>
                <a:gd name="connsiteX0" fmla="*/ 464616 w 516735"/>
                <a:gd name="connsiteY0" fmla="*/ 436210 h 788699"/>
                <a:gd name="connsiteX1" fmla="*/ 445578 w 516735"/>
                <a:gd name="connsiteY1" fmla="*/ 455248 h 788699"/>
                <a:gd name="connsiteX2" fmla="*/ 404783 w 516735"/>
                <a:gd name="connsiteY2" fmla="*/ 466126 h 788699"/>
                <a:gd name="connsiteX3" fmla="*/ 385746 w 516735"/>
                <a:gd name="connsiteY3" fmla="*/ 479725 h 788699"/>
                <a:gd name="connsiteX4" fmla="*/ 388466 w 516735"/>
                <a:gd name="connsiteY4" fmla="*/ 512361 h 788699"/>
                <a:gd name="connsiteX5" fmla="*/ 388466 w 516735"/>
                <a:gd name="connsiteY5" fmla="*/ 544997 h 788699"/>
                <a:gd name="connsiteX6" fmla="*/ 388466 w 516735"/>
                <a:gd name="connsiteY6" fmla="*/ 566754 h 788699"/>
                <a:gd name="connsiteX7" fmla="*/ 391185 w 516735"/>
                <a:gd name="connsiteY7" fmla="*/ 632026 h 788699"/>
                <a:gd name="connsiteX8" fmla="*/ 393905 w 516735"/>
                <a:gd name="connsiteY8" fmla="*/ 683699 h 788699"/>
                <a:gd name="connsiteX9" fmla="*/ 377587 w 516735"/>
                <a:gd name="connsiteY9" fmla="*/ 724494 h 788699"/>
                <a:gd name="connsiteX10" fmla="*/ 361269 w 516735"/>
                <a:gd name="connsiteY10" fmla="*/ 719054 h 788699"/>
                <a:gd name="connsiteX11" fmla="*/ 353110 w 516735"/>
                <a:gd name="connsiteY11" fmla="*/ 702737 h 788699"/>
                <a:gd name="connsiteX12" fmla="*/ 350390 w 516735"/>
                <a:gd name="connsiteY12" fmla="*/ 686419 h 788699"/>
                <a:gd name="connsiteX13" fmla="*/ 353110 w 516735"/>
                <a:gd name="connsiteY13" fmla="*/ 659222 h 788699"/>
                <a:gd name="connsiteX14" fmla="*/ 353110 w 516735"/>
                <a:gd name="connsiteY14" fmla="*/ 656502 h 788699"/>
                <a:gd name="connsiteX15" fmla="*/ 317754 w 516735"/>
                <a:gd name="connsiteY15" fmla="*/ 708176 h 788699"/>
                <a:gd name="connsiteX16" fmla="*/ 241604 w 516735"/>
                <a:gd name="connsiteY16" fmla="*/ 735372 h 788699"/>
                <a:gd name="connsiteX17" fmla="*/ 187211 w 516735"/>
                <a:gd name="connsiteY17" fmla="*/ 727214 h 788699"/>
                <a:gd name="connsiteX18" fmla="*/ 135537 w 516735"/>
                <a:gd name="connsiteY18" fmla="*/ 694578 h 788699"/>
                <a:gd name="connsiteX19" fmla="*/ 86583 w 516735"/>
                <a:gd name="connsiteY19" fmla="*/ 621147 h 788699"/>
                <a:gd name="connsiteX20" fmla="*/ 67546 w 516735"/>
                <a:gd name="connsiteY20" fmla="*/ 555875 h 788699"/>
                <a:gd name="connsiteX21" fmla="*/ 59387 w 516735"/>
                <a:gd name="connsiteY21" fmla="*/ 509641 h 788699"/>
                <a:gd name="connsiteX22" fmla="*/ 59387 w 516735"/>
                <a:gd name="connsiteY22" fmla="*/ 468846 h 788699"/>
                <a:gd name="connsiteX23" fmla="*/ 86583 w 516735"/>
                <a:gd name="connsiteY23" fmla="*/ 302947 h 788699"/>
                <a:gd name="connsiteX24" fmla="*/ 108341 w 516735"/>
                <a:gd name="connsiteY24" fmla="*/ 224077 h 788699"/>
                <a:gd name="connsiteX25" fmla="*/ 146416 w 516735"/>
                <a:gd name="connsiteY25" fmla="*/ 145207 h 788699"/>
                <a:gd name="connsiteX26" fmla="*/ 198090 w 516735"/>
                <a:gd name="connsiteY26" fmla="*/ 85375 h 788699"/>
                <a:gd name="connsiteX27" fmla="*/ 228006 w 516735"/>
                <a:gd name="connsiteY27" fmla="*/ 69057 h 788699"/>
                <a:gd name="connsiteX28" fmla="*/ 268801 w 516735"/>
                <a:gd name="connsiteY28" fmla="*/ 58178 h 788699"/>
                <a:gd name="connsiteX29" fmla="*/ 274240 w 516735"/>
                <a:gd name="connsiteY29" fmla="*/ 58178 h 788699"/>
                <a:gd name="connsiteX30" fmla="*/ 295997 w 516735"/>
                <a:gd name="connsiteY30" fmla="*/ 60898 h 788699"/>
                <a:gd name="connsiteX31" fmla="*/ 331353 w 516735"/>
                <a:gd name="connsiteY31" fmla="*/ 71776 h 788699"/>
                <a:gd name="connsiteX32" fmla="*/ 350390 w 516735"/>
                <a:gd name="connsiteY32" fmla="*/ 93534 h 788699"/>
                <a:gd name="connsiteX33" fmla="*/ 353110 w 516735"/>
                <a:gd name="connsiteY33" fmla="*/ 74496 h 788699"/>
                <a:gd name="connsiteX34" fmla="*/ 358549 w 516735"/>
                <a:gd name="connsiteY34" fmla="*/ 63618 h 788699"/>
                <a:gd name="connsiteX35" fmla="*/ 366708 w 516735"/>
                <a:gd name="connsiteY35" fmla="*/ 58178 h 788699"/>
                <a:gd name="connsiteX36" fmla="*/ 374867 w 516735"/>
                <a:gd name="connsiteY36" fmla="*/ 63618 h 788699"/>
                <a:gd name="connsiteX37" fmla="*/ 383027 w 516735"/>
                <a:gd name="connsiteY37" fmla="*/ 82655 h 788699"/>
                <a:gd name="connsiteX38" fmla="*/ 385746 w 516735"/>
                <a:gd name="connsiteY38" fmla="*/ 126170 h 788699"/>
                <a:gd name="connsiteX39" fmla="*/ 388466 w 516735"/>
                <a:gd name="connsiteY39" fmla="*/ 186002 h 788699"/>
                <a:gd name="connsiteX40" fmla="*/ 391185 w 516735"/>
                <a:gd name="connsiteY40" fmla="*/ 237676 h 788699"/>
                <a:gd name="connsiteX41" fmla="*/ 374867 w 516735"/>
                <a:gd name="connsiteY41" fmla="*/ 278470 h 788699"/>
                <a:gd name="connsiteX42" fmla="*/ 358549 w 516735"/>
                <a:gd name="connsiteY42" fmla="*/ 273031 h 788699"/>
                <a:gd name="connsiteX43" fmla="*/ 350390 w 516735"/>
                <a:gd name="connsiteY43" fmla="*/ 256713 h 788699"/>
                <a:gd name="connsiteX44" fmla="*/ 347671 w 516735"/>
                <a:gd name="connsiteY44" fmla="*/ 240395 h 788699"/>
                <a:gd name="connsiteX45" fmla="*/ 347671 w 516735"/>
                <a:gd name="connsiteY45" fmla="*/ 213199 h 788699"/>
                <a:gd name="connsiteX46" fmla="*/ 344951 w 516735"/>
                <a:gd name="connsiteY46" fmla="*/ 194161 h 788699"/>
                <a:gd name="connsiteX47" fmla="*/ 339512 w 516735"/>
                <a:gd name="connsiteY47" fmla="*/ 150647 h 788699"/>
                <a:gd name="connsiteX48" fmla="*/ 323194 w 516735"/>
                <a:gd name="connsiteY48" fmla="*/ 112571 h 788699"/>
                <a:gd name="connsiteX49" fmla="*/ 293278 w 516735"/>
                <a:gd name="connsiteY49" fmla="*/ 101693 h 788699"/>
                <a:gd name="connsiteX50" fmla="*/ 263361 w 516735"/>
                <a:gd name="connsiteY50" fmla="*/ 120730 h 788699"/>
                <a:gd name="connsiteX51" fmla="*/ 241604 w 516735"/>
                <a:gd name="connsiteY51" fmla="*/ 153366 h 788699"/>
                <a:gd name="connsiteX52" fmla="*/ 233445 w 516735"/>
                <a:gd name="connsiteY52" fmla="*/ 194161 h 788699"/>
                <a:gd name="connsiteX53" fmla="*/ 225286 w 516735"/>
                <a:gd name="connsiteY53" fmla="*/ 232236 h 788699"/>
                <a:gd name="connsiteX54" fmla="*/ 217127 w 516735"/>
                <a:gd name="connsiteY54" fmla="*/ 275751 h 788699"/>
                <a:gd name="connsiteX55" fmla="*/ 211688 w 516735"/>
                <a:gd name="connsiteY55" fmla="*/ 316545 h 788699"/>
                <a:gd name="connsiteX56" fmla="*/ 206249 w 516735"/>
                <a:gd name="connsiteY56" fmla="*/ 354621 h 788699"/>
                <a:gd name="connsiteX57" fmla="*/ 200809 w 516735"/>
                <a:gd name="connsiteY57" fmla="*/ 398135 h 788699"/>
                <a:gd name="connsiteX58" fmla="*/ 195370 w 516735"/>
                <a:gd name="connsiteY58" fmla="*/ 438930 h 788699"/>
                <a:gd name="connsiteX59" fmla="*/ 192650 w 516735"/>
                <a:gd name="connsiteY59" fmla="*/ 474286 h 788699"/>
                <a:gd name="connsiteX60" fmla="*/ 195370 w 516735"/>
                <a:gd name="connsiteY60" fmla="*/ 525959 h 788699"/>
                <a:gd name="connsiteX61" fmla="*/ 208968 w 516735"/>
                <a:gd name="connsiteY61" fmla="*/ 596670 h 788699"/>
                <a:gd name="connsiteX62" fmla="*/ 214407 w 516735"/>
                <a:gd name="connsiteY62" fmla="*/ 623867 h 788699"/>
                <a:gd name="connsiteX63" fmla="*/ 228006 w 516735"/>
                <a:gd name="connsiteY63" fmla="*/ 656502 h 788699"/>
                <a:gd name="connsiteX64" fmla="*/ 271520 w 516735"/>
                <a:gd name="connsiteY64" fmla="*/ 689138 h 788699"/>
                <a:gd name="connsiteX65" fmla="*/ 306876 w 516735"/>
                <a:gd name="connsiteY65" fmla="*/ 664661 h 788699"/>
                <a:gd name="connsiteX66" fmla="*/ 331353 w 516735"/>
                <a:gd name="connsiteY66" fmla="*/ 602109 h 788699"/>
                <a:gd name="connsiteX67" fmla="*/ 336792 w 516735"/>
                <a:gd name="connsiteY67" fmla="*/ 544997 h 788699"/>
                <a:gd name="connsiteX68" fmla="*/ 336792 w 516735"/>
                <a:gd name="connsiteY68" fmla="*/ 498762 h 788699"/>
                <a:gd name="connsiteX69" fmla="*/ 336792 w 516735"/>
                <a:gd name="connsiteY69" fmla="*/ 490603 h 788699"/>
                <a:gd name="connsiteX70" fmla="*/ 320474 w 516735"/>
                <a:gd name="connsiteY70" fmla="*/ 477005 h 788699"/>
                <a:gd name="connsiteX71" fmla="*/ 282399 w 516735"/>
                <a:gd name="connsiteY71" fmla="*/ 479725 h 788699"/>
                <a:gd name="connsiteX72" fmla="*/ 252483 w 516735"/>
                <a:gd name="connsiteY72" fmla="*/ 474286 h 788699"/>
                <a:gd name="connsiteX73" fmla="*/ 247044 w 516735"/>
                <a:gd name="connsiteY73" fmla="*/ 466126 h 788699"/>
                <a:gd name="connsiteX74" fmla="*/ 249763 w 516735"/>
                <a:gd name="connsiteY74" fmla="*/ 457968 h 788699"/>
                <a:gd name="connsiteX75" fmla="*/ 268801 w 516735"/>
                <a:gd name="connsiteY75" fmla="*/ 447089 h 788699"/>
                <a:gd name="connsiteX76" fmla="*/ 312315 w 516735"/>
                <a:gd name="connsiteY76" fmla="*/ 436210 h 788699"/>
                <a:gd name="connsiteX77" fmla="*/ 353110 w 516735"/>
                <a:gd name="connsiteY77" fmla="*/ 430771 h 788699"/>
                <a:gd name="connsiteX78" fmla="*/ 385746 w 516735"/>
                <a:gd name="connsiteY78" fmla="*/ 430771 h 788699"/>
                <a:gd name="connsiteX79" fmla="*/ 437420 w 516735"/>
                <a:gd name="connsiteY79" fmla="*/ 428051 h 788699"/>
                <a:gd name="connsiteX80" fmla="*/ 464616 w 516735"/>
                <a:gd name="connsiteY80" fmla="*/ 436210 h 7886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</a:cxnLst>
              <a:rect l="l" t="t" r="r" b="b"/>
              <a:pathLst>
                <a:path w="516735" h="788699">
                  <a:moveTo>
                    <a:pt x="464616" y="436210"/>
                  </a:moveTo>
                  <a:cubicBezTo>
                    <a:pt x="464616" y="447089"/>
                    <a:pt x="453738" y="452528"/>
                    <a:pt x="445578" y="455248"/>
                  </a:cubicBezTo>
                  <a:cubicBezTo>
                    <a:pt x="434700" y="460687"/>
                    <a:pt x="415662" y="463407"/>
                    <a:pt x="404783" y="466126"/>
                  </a:cubicBezTo>
                  <a:cubicBezTo>
                    <a:pt x="393905" y="466126"/>
                    <a:pt x="385746" y="468846"/>
                    <a:pt x="385746" y="479725"/>
                  </a:cubicBezTo>
                  <a:cubicBezTo>
                    <a:pt x="385746" y="487884"/>
                    <a:pt x="388466" y="506921"/>
                    <a:pt x="388466" y="512361"/>
                  </a:cubicBezTo>
                  <a:cubicBezTo>
                    <a:pt x="388466" y="515080"/>
                    <a:pt x="388466" y="539557"/>
                    <a:pt x="388466" y="544997"/>
                  </a:cubicBezTo>
                  <a:cubicBezTo>
                    <a:pt x="388466" y="550436"/>
                    <a:pt x="388466" y="558595"/>
                    <a:pt x="388466" y="566754"/>
                  </a:cubicBezTo>
                  <a:cubicBezTo>
                    <a:pt x="388466" y="591231"/>
                    <a:pt x="388466" y="621147"/>
                    <a:pt x="391185" y="632026"/>
                  </a:cubicBezTo>
                  <a:cubicBezTo>
                    <a:pt x="393905" y="653783"/>
                    <a:pt x="393905" y="661942"/>
                    <a:pt x="393905" y="683699"/>
                  </a:cubicBezTo>
                  <a:cubicBezTo>
                    <a:pt x="393905" y="694578"/>
                    <a:pt x="393905" y="724494"/>
                    <a:pt x="377587" y="724494"/>
                  </a:cubicBezTo>
                  <a:cubicBezTo>
                    <a:pt x="369428" y="724494"/>
                    <a:pt x="366708" y="721774"/>
                    <a:pt x="361269" y="719054"/>
                  </a:cubicBezTo>
                  <a:cubicBezTo>
                    <a:pt x="355830" y="716335"/>
                    <a:pt x="353110" y="708176"/>
                    <a:pt x="353110" y="702737"/>
                  </a:cubicBezTo>
                  <a:cubicBezTo>
                    <a:pt x="350390" y="694578"/>
                    <a:pt x="350390" y="689138"/>
                    <a:pt x="350390" y="686419"/>
                  </a:cubicBezTo>
                  <a:cubicBezTo>
                    <a:pt x="350390" y="678260"/>
                    <a:pt x="353110" y="672820"/>
                    <a:pt x="353110" y="659222"/>
                  </a:cubicBezTo>
                  <a:lnTo>
                    <a:pt x="353110" y="656502"/>
                  </a:lnTo>
                  <a:cubicBezTo>
                    <a:pt x="347671" y="675540"/>
                    <a:pt x="334073" y="694578"/>
                    <a:pt x="317754" y="708176"/>
                  </a:cubicBezTo>
                  <a:cubicBezTo>
                    <a:pt x="293278" y="727214"/>
                    <a:pt x="274240" y="735372"/>
                    <a:pt x="241604" y="735372"/>
                  </a:cubicBezTo>
                  <a:cubicBezTo>
                    <a:pt x="222566" y="735372"/>
                    <a:pt x="203529" y="732653"/>
                    <a:pt x="187211" y="727214"/>
                  </a:cubicBezTo>
                  <a:cubicBezTo>
                    <a:pt x="165454" y="719054"/>
                    <a:pt x="149136" y="708176"/>
                    <a:pt x="135537" y="694578"/>
                  </a:cubicBezTo>
                  <a:cubicBezTo>
                    <a:pt x="113780" y="672820"/>
                    <a:pt x="100182" y="648343"/>
                    <a:pt x="86583" y="621147"/>
                  </a:cubicBezTo>
                  <a:cubicBezTo>
                    <a:pt x="75705" y="599390"/>
                    <a:pt x="70266" y="580352"/>
                    <a:pt x="67546" y="555875"/>
                  </a:cubicBezTo>
                  <a:cubicBezTo>
                    <a:pt x="64826" y="539557"/>
                    <a:pt x="62107" y="525959"/>
                    <a:pt x="59387" y="509641"/>
                  </a:cubicBezTo>
                  <a:cubicBezTo>
                    <a:pt x="56667" y="493323"/>
                    <a:pt x="59387" y="485164"/>
                    <a:pt x="59387" y="468846"/>
                  </a:cubicBezTo>
                  <a:cubicBezTo>
                    <a:pt x="59387" y="414453"/>
                    <a:pt x="72985" y="362780"/>
                    <a:pt x="86583" y="302947"/>
                  </a:cubicBezTo>
                  <a:cubicBezTo>
                    <a:pt x="92023" y="275751"/>
                    <a:pt x="100182" y="248554"/>
                    <a:pt x="108341" y="224077"/>
                  </a:cubicBezTo>
                  <a:cubicBezTo>
                    <a:pt x="116500" y="196881"/>
                    <a:pt x="130098" y="169684"/>
                    <a:pt x="146416" y="145207"/>
                  </a:cubicBezTo>
                  <a:cubicBezTo>
                    <a:pt x="160014" y="123450"/>
                    <a:pt x="176332" y="101693"/>
                    <a:pt x="198090" y="85375"/>
                  </a:cubicBezTo>
                  <a:cubicBezTo>
                    <a:pt x="206249" y="77216"/>
                    <a:pt x="217127" y="71776"/>
                    <a:pt x="228006" y="69057"/>
                  </a:cubicBezTo>
                  <a:cubicBezTo>
                    <a:pt x="241604" y="63618"/>
                    <a:pt x="255202" y="58178"/>
                    <a:pt x="268801" y="58178"/>
                  </a:cubicBezTo>
                  <a:cubicBezTo>
                    <a:pt x="271520" y="58178"/>
                    <a:pt x="274240" y="58178"/>
                    <a:pt x="274240" y="58178"/>
                  </a:cubicBezTo>
                  <a:cubicBezTo>
                    <a:pt x="279679" y="58178"/>
                    <a:pt x="285119" y="58178"/>
                    <a:pt x="295997" y="60898"/>
                  </a:cubicBezTo>
                  <a:cubicBezTo>
                    <a:pt x="309595" y="63618"/>
                    <a:pt x="320474" y="66337"/>
                    <a:pt x="331353" y="71776"/>
                  </a:cubicBezTo>
                  <a:cubicBezTo>
                    <a:pt x="339512" y="77216"/>
                    <a:pt x="347671" y="85375"/>
                    <a:pt x="350390" y="93534"/>
                  </a:cubicBezTo>
                  <a:cubicBezTo>
                    <a:pt x="350390" y="88095"/>
                    <a:pt x="353110" y="79936"/>
                    <a:pt x="353110" y="74496"/>
                  </a:cubicBezTo>
                  <a:cubicBezTo>
                    <a:pt x="355830" y="71776"/>
                    <a:pt x="355830" y="69057"/>
                    <a:pt x="358549" y="63618"/>
                  </a:cubicBezTo>
                  <a:cubicBezTo>
                    <a:pt x="361269" y="60898"/>
                    <a:pt x="363989" y="58178"/>
                    <a:pt x="366708" y="58178"/>
                  </a:cubicBezTo>
                  <a:cubicBezTo>
                    <a:pt x="369428" y="58178"/>
                    <a:pt x="372148" y="60898"/>
                    <a:pt x="374867" y="63618"/>
                  </a:cubicBezTo>
                  <a:cubicBezTo>
                    <a:pt x="377587" y="69057"/>
                    <a:pt x="380307" y="77216"/>
                    <a:pt x="383027" y="82655"/>
                  </a:cubicBezTo>
                  <a:cubicBezTo>
                    <a:pt x="383027" y="90814"/>
                    <a:pt x="385746" y="107132"/>
                    <a:pt x="385746" y="126170"/>
                  </a:cubicBezTo>
                  <a:cubicBezTo>
                    <a:pt x="385746" y="150647"/>
                    <a:pt x="385746" y="177843"/>
                    <a:pt x="388466" y="186002"/>
                  </a:cubicBezTo>
                  <a:cubicBezTo>
                    <a:pt x="391185" y="207759"/>
                    <a:pt x="391185" y="215918"/>
                    <a:pt x="391185" y="237676"/>
                  </a:cubicBezTo>
                  <a:cubicBezTo>
                    <a:pt x="391185" y="248554"/>
                    <a:pt x="391185" y="278470"/>
                    <a:pt x="374867" y="278470"/>
                  </a:cubicBezTo>
                  <a:cubicBezTo>
                    <a:pt x="366708" y="278470"/>
                    <a:pt x="363989" y="275751"/>
                    <a:pt x="358549" y="273031"/>
                  </a:cubicBezTo>
                  <a:cubicBezTo>
                    <a:pt x="353110" y="270311"/>
                    <a:pt x="350390" y="262152"/>
                    <a:pt x="350390" y="256713"/>
                  </a:cubicBezTo>
                  <a:cubicBezTo>
                    <a:pt x="350390" y="251274"/>
                    <a:pt x="347671" y="245834"/>
                    <a:pt x="347671" y="240395"/>
                  </a:cubicBezTo>
                  <a:cubicBezTo>
                    <a:pt x="347671" y="232236"/>
                    <a:pt x="347671" y="224077"/>
                    <a:pt x="347671" y="213199"/>
                  </a:cubicBezTo>
                  <a:cubicBezTo>
                    <a:pt x="347671" y="207759"/>
                    <a:pt x="347671" y="199600"/>
                    <a:pt x="344951" y="194161"/>
                  </a:cubicBezTo>
                  <a:cubicBezTo>
                    <a:pt x="342232" y="180563"/>
                    <a:pt x="342232" y="164245"/>
                    <a:pt x="339512" y="150647"/>
                  </a:cubicBezTo>
                  <a:cubicBezTo>
                    <a:pt x="336792" y="137048"/>
                    <a:pt x="331353" y="123450"/>
                    <a:pt x="323194" y="112571"/>
                  </a:cubicBezTo>
                  <a:cubicBezTo>
                    <a:pt x="317754" y="104412"/>
                    <a:pt x="304156" y="101693"/>
                    <a:pt x="293278" y="101693"/>
                  </a:cubicBezTo>
                  <a:cubicBezTo>
                    <a:pt x="279679" y="101693"/>
                    <a:pt x="271520" y="109852"/>
                    <a:pt x="263361" y="120730"/>
                  </a:cubicBezTo>
                  <a:cubicBezTo>
                    <a:pt x="257922" y="131609"/>
                    <a:pt x="247044" y="139768"/>
                    <a:pt x="241604" y="153366"/>
                  </a:cubicBezTo>
                  <a:cubicBezTo>
                    <a:pt x="236165" y="166964"/>
                    <a:pt x="233445" y="180563"/>
                    <a:pt x="233445" y="194161"/>
                  </a:cubicBezTo>
                  <a:cubicBezTo>
                    <a:pt x="233445" y="207759"/>
                    <a:pt x="230725" y="218638"/>
                    <a:pt x="225286" y="232236"/>
                  </a:cubicBezTo>
                  <a:cubicBezTo>
                    <a:pt x="219847" y="245834"/>
                    <a:pt x="219847" y="262152"/>
                    <a:pt x="217127" y="275751"/>
                  </a:cubicBezTo>
                  <a:cubicBezTo>
                    <a:pt x="214407" y="289349"/>
                    <a:pt x="214407" y="302947"/>
                    <a:pt x="211688" y="316545"/>
                  </a:cubicBezTo>
                  <a:cubicBezTo>
                    <a:pt x="211688" y="330144"/>
                    <a:pt x="206249" y="341022"/>
                    <a:pt x="206249" y="354621"/>
                  </a:cubicBezTo>
                  <a:cubicBezTo>
                    <a:pt x="203529" y="368219"/>
                    <a:pt x="203529" y="381817"/>
                    <a:pt x="200809" y="398135"/>
                  </a:cubicBezTo>
                  <a:cubicBezTo>
                    <a:pt x="198090" y="411733"/>
                    <a:pt x="198090" y="425332"/>
                    <a:pt x="195370" y="438930"/>
                  </a:cubicBezTo>
                  <a:cubicBezTo>
                    <a:pt x="195370" y="449809"/>
                    <a:pt x="192650" y="463407"/>
                    <a:pt x="192650" y="474286"/>
                  </a:cubicBezTo>
                  <a:cubicBezTo>
                    <a:pt x="192650" y="490603"/>
                    <a:pt x="195370" y="509641"/>
                    <a:pt x="195370" y="525959"/>
                  </a:cubicBezTo>
                  <a:cubicBezTo>
                    <a:pt x="195370" y="550436"/>
                    <a:pt x="203529" y="572193"/>
                    <a:pt x="208968" y="596670"/>
                  </a:cubicBezTo>
                  <a:cubicBezTo>
                    <a:pt x="211688" y="604829"/>
                    <a:pt x="211688" y="615708"/>
                    <a:pt x="214407" y="623867"/>
                  </a:cubicBezTo>
                  <a:cubicBezTo>
                    <a:pt x="217127" y="634745"/>
                    <a:pt x="222566" y="645624"/>
                    <a:pt x="228006" y="656502"/>
                  </a:cubicBezTo>
                  <a:cubicBezTo>
                    <a:pt x="236165" y="670101"/>
                    <a:pt x="252483" y="689138"/>
                    <a:pt x="271520" y="689138"/>
                  </a:cubicBezTo>
                  <a:cubicBezTo>
                    <a:pt x="287838" y="689138"/>
                    <a:pt x="298717" y="675540"/>
                    <a:pt x="306876" y="664661"/>
                  </a:cubicBezTo>
                  <a:cubicBezTo>
                    <a:pt x="320474" y="645624"/>
                    <a:pt x="325914" y="623867"/>
                    <a:pt x="331353" y="602109"/>
                  </a:cubicBezTo>
                  <a:cubicBezTo>
                    <a:pt x="334073" y="583072"/>
                    <a:pt x="336792" y="564034"/>
                    <a:pt x="336792" y="544997"/>
                  </a:cubicBezTo>
                  <a:cubicBezTo>
                    <a:pt x="336792" y="531398"/>
                    <a:pt x="336792" y="512361"/>
                    <a:pt x="336792" y="498762"/>
                  </a:cubicBezTo>
                  <a:cubicBezTo>
                    <a:pt x="336792" y="496043"/>
                    <a:pt x="336792" y="493323"/>
                    <a:pt x="336792" y="490603"/>
                  </a:cubicBezTo>
                  <a:cubicBezTo>
                    <a:pt x="336792" y="479725"/>
                    <a:pt x="336792" y="477005"/>
                    <a:pt x="320474" y="477005"/>
                  </a:cubicBezTo>
                  <a:cubicBezTo>
                    <a:pt x="309595" y="477005"/>
                    <a:pt x="295997" y="479725"/>
                    <a:pt x="282399" y="479725"/>
                  </a:cubicBezTo>
                  <a:cubicBezTo>
                    <a:pt x="271520" y="479725"/>
                    <a:pt x="260642" y="479725"/>
                    <a:pt x="252483" y="474286"/>
                  </a:cubicBezTo>
                  <a:cubicBezTo>
                    <a:pt x="249763" y="471566"/>
                    <a:pt x="247044" y="468846"/>
                    <a:pt x="247044" y="466126"/>
                  </a:cubicBezTo>
                  <a:cubicBezTo>
                    <a:pt x="247044" y="463407"/>
                    <a:pt x="247044" y="460687"/>
                    <a:pt x="249763" y="457968"/>
                  </a:cubicBezTo>
                  <a:cubicBezTo>
                    <a:pt x="255202" y="452528"/>
                    <a:pt x="260642" y="449809"/>
                    <a:pt x="268801" y="447089"/>
                  </a:cubicBezTo>
                  <a:cubicBezTo>
                    <a:pt x="282399" y="441650"/>
                    <a:pt x="295997" y="438930"/>
                    <a:pt x="312315" y="436210"/>
                  </a:cubicBezTo>
                  <a:cubicBezTo>
                    <a:pt x="325914" y="433491"/>
                    <a:pt x="339512" y="433491"/>
                    <a:pt x="353110" y="430771"/>
                  </a:cubicBezTo>
                  <a:cubicBezTo>
                    <a:pt x="363989" y="430771"/>
                    <a:pt x="374867" y="430771"/>
                    <a:pt x="385746" y="430771"/>
                  </a:cubicBezTo>
                  <a:cubicBezTo>
                    <a:pt x="402064" y="430771"/>
                    <a:pt x="426541" y="428051"/>
                    <a:pt x="437420" y="428051"/>
                  </a:cubicBezTo>
                  <a:cubicBezTo>
                    <a:pt x="451018" y="422612"/>
                    <a:pt x="464616" y="425332"/>
                    <a:pt x="464616" y="436210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9" name="Freeform: Shape 48">
              <a:extLst>
                <a:ext uri="{FF2B5EF4-FFF2-40B4-BE49-F238E27FC236}">
                  <a16:creationId xmlns:a16="http://schemas.microsoft.com/office/drawing/2014/main" id="{3894E878-CEB4-4E65-853B-05717F1F47A5}"/>
                </a:ext>
              </a:extLst>
            </p:cNvPr>
            <p:cNvSpPr/>
            <p:nvPr/>
          </p:nvSpPr>
          <p:spPr>
            <a:xfrm>
              <a:off x="9053923" y="4178559"/>
              <a:ext cx="625521" cy="788700"/>
            </a:xfrm>
            <a:custGeom>
              <a:avLst/>
              <a:gdLst>
                <a:gd name="connsiteX0" fmla="*/ 536838 w 625521"/>
                <a:gd name="connsiteY0" fmla="*/ 680979 h 788699"/>
                <a:gd name="connsiteX1" fmla="*/ 574913 w 625521"/>
                <a:gd name="connsiteY1" fmla="*/ 697297 h 788699"/>
                <a:gd name="connsiteX2" fmla="*/ 566755 w 625521"/>
                <a:gd name="connsiteY2" fmla="*/ 713615 h 788699"/>
                <a:gd name="connsiteX3" fmla="*/ 550437 w 625521"/>
                <a:gd name="connsiteY3" fmla="*/ 721774 h 788699"/>
                <a:gd name="connsiteX4" fmla="*/ 528680 w 625521"/>
                <a:gd name="connsiteY4" fmla="*/ 724494 h 788699"/>
                <a:gd name="connsiteX5" fmla="*/ 417174 w 625521"/>
                <a:gd name="connsiteY5" fmla="*/ 724494 h 788699"/>
                <a:gd name="connsiteX6" fmla="*/ 398136 w 625521"/>
                <a:gd name="connsiteY6" fmla="*/ 724494 h 788699"/>
                <a:gd name="connsiteX7" fmla="*/ 373659 w 625521"/>
                <a:gd name="connsiteY7" fmla="*/ 724494 h 788699"/>
                <a:gd name="connsiteX8" fmla="*/ 346462 w 625521"/>
                <a:gd name="connsiteY8" fmla="*/ 719054 h 788699"/>
                <a:gd name="connsiteX9" fmla="*/ 330144 w 625521"/>
                <a:gd name="connsiteY9" fmla="*/ 702737 h 788699"/>
                <a:gd name="connsiteX10" fmla="*/ 335584 w 625521"/>
                <a:gd name="connsiteY10" fmla="*/ 694578 h 788699"/>
                <a:gd name="connsiteX11" fmla="*/ 357341 w 625521"/>
                <a:gd name="connsiteY11" fmla="*/ 686419 h 788699"/>
                <a:gd name="connsiteX12" fmla="*/ 395416 w 625521"/>
                <a:gd name="connsiteY12" fmla="*/ 680979 h 788699"/>
                <a:gd name="connsiteX13" fmla="*/ 381817 w 625521"/>
                <a:gd name="connsiteY13" fmla="*/ 656502 h 788699"/>
                <a:gd name="connsiteX14" fmla="*/ 379098 w 625521"/>
                <a:gd name="connsiteY14" fmla="*/ 585791 h 788699"/>
                <a:gd name="connsiteX15" fmla="*/ 379098 w 625521"/>
                <a:gd name="connsiteY15" fmla="*/ 517800 h 788699"/>
                <a:gd name="connsiteX16" fmla="*/ 379098 w 625521"/>
                <a:gd name="connsiteY16" fmla="*/ 474286 h 788699"/>
                <a:gd name="connsiteX17" fmla="*/ 379098 w 625521"/>
                <a:gd name="connsiteY17" fmla="*/ 430771 h 788699"/>
                <a:gd name="connsiteX18" fmla="*/ 381817 w 625521"/>
                <a:gd name="connsiteY18" fmla="*/ 411733 h 788699"/>
                <a:gd name="connsiteX19" fmla="*/ 379098 w 625521"/>
                <a:gd name="connsiteY19" fmla="*/ 400855 h 788699"/>
                <a:gd name="connsiteX20" fmla="*/ 370939 w 625521"/>
                <a:gd name="connsiteY20" fmla="*/ 398135 h 788699"/>
                <a:gd name="connsiteX21" fmla="*/ 338304 w 625521"/>
                <a:gd name="connsiteY21" fmla="*/ 400855 h 788699"/>
                <a:gd name="connsiteX22" fmla="*/ 289349 w 625521"/>
                <a:gd name="connsiteY22" fmla="*/ 403575 h 788699"/>
                <a:gd name="connsiteX23" fmla="*/ 264872 w 625521"/>
                <a:gd name="connsiteY23" fmla="*/ 400855 h 788699"/>
                <a:gd name="connsiteX24" fmla="*/ 259433 w 625521"/>
                <a:gd name="connsiteY24" fmla="*/ 406294 h 788699"/>
                <a:gd name="connsiteX25" fmla="*/ 259433 w 625521"/>
                <a:gd name="connsiteY25" fmla="*/ 425332 h 788699"/>
                <a:gd name="connsiteX26" fmla="*/ 259433 w 625521"/>
                <a:gd name="connsiteY26" fmla="*/ 449809 h 788699"/>
                <a:gd name="connsiteX27" fmla="*/ 259433 w 625521"/>
                <a:gd name="connsiteY27" fmla="*/ 471566 h 788699"/>
                <a:gd name="connsiteX28" fmla="*/ 259433 w 625521"/>
                <a:gd name="connsiteY28" fmla="*/ 504202 h 788699"/>
                <a:gd name="connsiteX29" fmla="*/ 259433 w 625521"/>
                <a:gd name="connsiteY29" fmla="*/ 509641 h 788699"/>
                <a:gd name="connsiteX30" fmla="*/ 256714 w 625521"/>
                <a:gd name="connsiteY30" fmla="*/ 542277 h 788699"/>
                <a:gd name="connsiteX31" fmla="*/ 256714 w 625521"/>
                <a:gd name="connsiteY31" fmla="*/ 577632 h 788699"/>
                <a:gd name="connsiteX32" fmla="*/ 256714 w 625521"/>
                <a:gd name="connsiteY32" fmla="*/ 612988 h 788699"/>
                <a:gd name="connsiteX33" fmla="*/ 253994 w 625521"/>
                <a:gd name="connsiteY33" fmla="*/ 656502 h 788699"/>
                <a:gd name="connsiteX34" fmla="*/ 256714 w 625521"/>
                <a:gd name="connsiteY34" fmla="*/ 678260 h 788699"/>
                <a:gd name="connsiteX35" fmla="*/ 286629 w 625521"/>
                <a:gd name="connsiteY35" fmla="*/ 694578 h 788699"/>
                <a:gd name="connsiteX36" fmla="*/ 281191 w 625521"/>
                <a:gd name="connsiteY36" fmla="*/ 710895 h 788699"/>
                <a:gd name="connsiteX37" fmla="*/ 264872 w 625521"/>
                <a:gd name="connsiteY37" fmla="*/ 719054 h 788699"/>
                <a:gd name="connsiteX38" fmla="*/ 243116 w 625521"/>
                <a:gd name="connsiteY38" fmla="*/ 721774 h 788699"/>
                <a:gd name="connsiteX39" fmla="*/ 243116 w 625521"/>
                <a:gd name="connsiteY39" fmla="*/ 721774 h 788699"/>
                <a:gd name="connsiteX40" fmla="*/ 232236 w 625521"/>
                <a:gd name="connsiteY40" fmla="*/ 727214 h 788699"/>
                <a:gd name="connsiteX41" fmla="*/ 224078 w 625521"/>
                <a:gd name="connsiteY41" fmla="*/ 735372 h 788699"/>
                <a:gd name="connsiteX42" fmla="*/ 213199 w 625521"/>
                <a:gd name="connsiteY42" fmla="*/ 738092 h 788699"/>
                <a:gd name="connsiteX43" fmla="*/ 183283 w 625521"/>
                <a:gd name="connsiteY43" fmla="*/ 727214 h 788699"/>
                <a:gd name="connsiteX44" fmla="*/ 175124 w 625521"/>
                <a:gd name="connsiteY44" fmla="*/ 719054 h 788699"/>
                <a:gd name="connsiteX45" fmla="*/ 145208 w 625521"/>
                <a:gd name="connsiteY45" fmla="*/ 719054 h 788699"/>
                <a:gd name="connsiteX46" fmla="*/ 126170 w 625521"/>
                <a:gd name="connsiteY46" fmla="*/ 719054 h 788699"/>
                <a:gd name="connsiteX47" fmla="*/ 101693 w 625521"/>
                <a:gd name="connsiteY47" fmla="*/ 719054 h 788699"/>
                <a:gd name="connsiteX48" fmla="*/ 74496 w 625521"/>
                <a:gd name="connsiteY48" fmla="*/ 713615 h 788699"/>
                <a:gd name="connsiteX49" fmla="*/ 58178 w 625521"/>
                <a:gd name="connsiteY49" fmla="*/ 697297 h 788699"/>
                <a:gd name="connsiteX50" fmla="*/ 63618 w 625521"/>
                <a:gd name="connsiteY50" fmla="*/ 689138 h 788699"/>
                <a:gd name="connsiteX51" fmla="*/ 85375 w 625521"/>
                <a:gd name="connsiteY51" fmla="*/ 680979 h 788699"/>
                <a:gd name="connsiteX52" fmla="*/ 131609 w 625521"/>
                <a:gd name="connsiteY52" fmla="*/ 675540 h 788699"/>
                <a:gd name="connsiteX53" fmla="*/ 131609 w 625521"/>
                <a:gd name="connsiteY53" fmla="*/ 667381 h 788699"/>
                <a:gd name="connsiteX54" fmla="*/ 131609 w 625521"/>
                <a:gd name="connsiteY54" fmla="*/ 651063 h 788699"/>
                <a:gd name="connsiteX55" fmla="*/ 131609 w 625521"/>
                <a:gd name="connsiteY55" fmla="*/ 618427 h 788699"/>
                <a:gd name="connsiteX56" fmla="*/ 131609 w 625521"/>
                <a:gd name="connsiteY56" fmla="*/ 580352 h 788699"/>
                <a:gd name="connsiteX57" fmla="*/ 131609 w 625521"/>
                <a:gd name="connsiteY57" fmla="*/ 531398 h 788699"/>
                <a:gd name="connsiteX58" fmla="*/ 131609 w 625521"/>
                <a:gd name="connsiteY58" fmla="*/ 466126 h 788699"/>
                <a:gd name="connsiteX59" fmla="*/ 131609 w 625521"/>
                <a:gd name="connsiteY59" fmla="*/ 422612 h 788699"/>
                <a:gd name="connsiteX60" fmla="*/ 131609 w 625521"/>
                <a:gd name="connsiteY60" fmla="*/ 411733 h 788699"/>
                <a:gd name="connsiteX61" fmla="*/ 131609 w 625521"/>
                <a:gd name="connsiteY61" fmla="*/ 398135 h 788699"/>
                <a:gd name="connsiteX62" fmla="*/ 126170 w 625521"/>
                <a:gd name="connsiteY62" fmla="*/ 389976 h 788699"/>
                <a:gd name="connsiteX63" fmla="*/ 101693 w 625521"/>
                <a:gd name="connsiteY63" fmla="*/ 387257 h 788699"/>
                <a:gd name="connsiteX64" fmla="*/ 77216 w 625521"/>
                <a:gd name="connsiteY64" fmla="*/ 376378 h 788699"/>
                <a:gd name="connsiteX65" fmla="*/ 82655 w 625521"/>
                <a:gd name="connsiteY65" fmla="*/ 368219 h 788699"/>
                <a:gd name="connsiteX66" fmla="*/ 98973 w 625521"/>
                <a:gd name="connsiteY66" fmla="*/ 360060 h 788699"/>
                <a:gd name="connsiteX67" fmla="*/ 118011 w 625521"/>
                <a:gd name="connsiteY67" fmla="*/ 357340 h 788699"/>
                <a:gd name="connsiteX68" fmla="*/ 131609 w 625521"/>
                <a:gd name="connsiteY68" fmla="*/ 351901 h 788699"/>
                <a:gd name="connsiteX69" fmla="*/ 131609 w 625521"/>
                <a:gd name="connsiteY69" fmla="*/ 343742 h 788699"/>
                <a:gd name="connsiteX70" fmla="*/ 131609 w 625521"/>
                <a:gd name="connsiteY70" fmla="*/ 270311 h 788699"/>
                <a:gd name="connsiteX71" fmla="*/ 137048 w 625521"/>
                <a:gd name="connsiteY71" fmla="*/ 145207 h 788699"/>
                <a:gd name="connsiteX72" fmla="*/ 139768 w 625521"/>
                <a:gd name="connsiteY72" fmla="*/ 123450 h 788699"/>
                <a:gd name="connsiteX73" fmla="*/ 123450 w 625521"/>
                <a:gd name="connsiteY73" fmla="*/ 123450 h 788699"/>
                <a:gd name="connsiteX74" fmla="*/ 118011 w 625521"/>
                <a:gd name="connsiteY74" fmla="*/ 123450 h 788699"/>
                <a:gd name="connsiteX75" fmla="*/ 101693 w 625521"/>
                <a:gd name="connsiteY75" fmla="*/ 123450 h 788699"/>
                <a:gd name="connsiteX76" fmla="*/ 74496 w 625521"/>
                <a:gd name="connsiteY76" fmla="*/ 118011 h 788699"/>
                <a:gd name="connsiteX77" fmla="*/ 58178 w 625521"/>
                <a:gd name="connsiteY77" fmla="*/ 101693 h 788699"/>
                <a:gd name="connsiteX78" fmla="*/ 63618 w 625521"/>
                <a:gd name="connsiteY78" fmla="*/ 93534 h 788699"/>
                <a:gd name="connsiteX79" fmla="*/ 85375 w 625521"/>
                <a:gd name="connsiteY79" fmla="*/ 85375 h 788699"/>
                <a:gd name="connsiteX80" fmla="*/ 137048 w 625521"/>
                <a:gd name="connsiteY80" fmla="*/ 82655 h 788699"/>
                <a:gd name="connsiteX81" fmla="*/ 147927 w 625521"/>
                <a:gd name="connsiteY81" fmla="*/ 82655 h 788699"/>
                <a:gd name="connsiteX82" fmla="*/ 186003 w 625521"/>
                <a:gd name="connsiteY82" fmla="*/ 58178 h 788699"/>
                <a:gd name="connsiteX83" fmla="*/ 226797 w 625521"/>
                <a:gd name="connsiteY83" fmla="*/ 79936 h 788699"/>
                <a:gd name="connsiteX84" fmla="*/ 253994 w 625521"/>
                <a:gd name="connsiteY84" fmla="*/ 79936 h 788699"/>
                <a:gd name="connsiteX85" fmla="*/ 294789 w 625521"/>
                <a:gd name="connsiteY85" fmla="*/ 96253 h 788699"/>
                <a:gd name="connsiteX86" fmla="*/ 283910 w 625521"/>
                <a:gd name="connsiteY86" fmla="*/ 112571 h 788699"/>
                <a:gd name="connsiteX87" fmla="*/ 267592 w 625521"/>
                <a:gd name="connsiteY87" fmla="*/ 120730 h 788699"/>
                <a:gd name="connsiteX88" fmla="*/ 245835 w 625521"/>
                <a:gd name="connsiteY88" fmla="*/ 123450 h 788699"/>
                <a:gd name="connsiteX89" fmla="*/ 237676 w 625521"/>
                <a:gd name="connsiteY89" fmla="*/ 123450 h 788699"/>
                <a:gd name="connsiteX90" fmla="*/ 240396 w 625521"/>
                <a:gd name="connsiteY90" fmla="*/ 128889 h 788699"/>
                <a:gd name="connsiteX91" fmla="*/ 251274 w 625521"/>
                <a:gd name="connsiteY91" fmla="*/ 177843 h 788699"/>
                <a:gd name="connsiteX92" fmla="*/ 256714 w 625521"/>
                <a:gd name="connsiteY92" fmla="*/ 226797 h 788699"/>
                <a:gd name="connsiteX93" fmla="*/ 262153 w 625521"/>
                <a:gd name="connsiteY93" fmla="*/ 273031 h 788699"/>
                <a:gd name="connsiteX94" fmla="*/ 262153 w 625521"/>
                <a:gd name="connsiteY94" fmla="*/ 289349 h 788699"/>
                <a:gd name="connsiteX95" fmla="*/ 262153 w 625521"/>
                <a:gd name="connsiteY95" fmla="*/ 297508 h 788699"/>
                <a:gd name="connsiteX96" fmla="*/ 264872 w 625521"/>
                <a:gd name="connsiteY96" fmla="*/ 321985 h 788699"/>
                <a:gd name="connsiteX97" fmla="*/ 270312 w 625521"/>
                <a:gd name="connsiteY97" fmla="*/ 335583 h 788699"/>
                <a:gd name="connsiteX98" fmla="*/ 270312 w 625521"/>
                <a:gd name="connsiteY98" fmla="*/ 338303 h 788699"/>
                <a:gd name="connsiteX99" fmla="*/ 270312 w 625521"/>
                <a:gd name="connsiteY99" fmla="*/ 346462 h 788699"/>
                <a:gd name="connsiteX100" fmla="*/ 278471 w 625521"/>
                <a:gd name="connsiteY100" fmla="*/ 354621 h 788699"/>
                <a:gd name="connsiteX101" fmla="*/ 338304 w 625521"/>
                <a:gd name="connsiteY101" fmla="*/ 349181 h 788699"/>
                <a:gd name="connsiteX102" fmla="*/ 365500 w 625521"/>
                <a:gd name="connsiteY102" fmla="*/ 349181 h 788699"/>
                <a:gd name="connsiteX103" fmla="*/ 381817 w 625521"/>
                <a:gd name="connsiteY103" fmla="*/ 349181 h 788699"/>
                <a:gd name="connsiteX104" fmla="*/ 392697 w 625521"/>
                <a:gd name="connsiteY104" fmla="*/ 338303 h 788699"/>
                <a:gd name="connsiteX105" fmla="*/ 389977 w 625521"/>
                <a:gd name="connsiteY105" fmla="*/ 313826 h 788699"/>
                <a:gd name="connsiteX106" fmla="*/ 392697 w 625521"/>
                <a:gd name="connsiteY106" fmla="*/ 262152 h 788699"/>
                <a:gd name="connsiteX107" fmla="*/ 395416 w 625521"/>
                <a:gd name="connsiteY107" fmla="*/ 224077 h 788699"/>
                <a:gd name="connsiteX108" fmla="*/ 398136 w 625521"/>
                <a:gd name="connsiteY108" fmla="*/ 177843 h 788699"/>
                <a:gd name="connsiteX109" fmla="*/ 395416 w 625521"/>
                <a:gd name="connsiteY109" fmla="*/ 153366 h 788699"/>
                <a:gd name="connsiteX110" fmla="*/ 395416 w 625521"/>
                <a:gd name="connsiteY110" fmla="*/ 137048 h 788699"/>
                <a:gd name="connsiteX111" fmla="*/ 379098 w 625521"/>
                <a:gd name="connsiteY111" fmla="*/ 137048 h 788699"/>
                <a:gd name="connsiteX112" fmla="*/ 351902 w 625521"/>
                <a:gd name="connsiteY112" fmla="*/ 131609 h 788699"/>
                <a:gd name="connsiteX113" fmla="*/ 338304 w 625521"/>
                <a:gd name="connsiteY113" fmla="*/ 115291 h 788699"/>
                <a:gd name="connsiteX114" fmla="*/ 343742 w 625521"/>
                <a:gd name="connsiteY114" fmla="*/ 107132 h 788699"/>
                <a:gd name="connsiteX115" fmla="*/ 362780 w 625521"/>
                <a:gd name="connsiteY115" fmla="*/ 98973 h 788699"/>
                <a:gd name="connsiteX116" fmla="*/ 395416 w 625521"/>
                <a:gd name="connsiteY116" fmla="*/ 96253 h 788699"/>
                <a:gd name="connsiteX117" fmla="*/ 403575 w 625521"/>
                <a:gd name="connsiteY117" fmla="*/ 90814 h 788699"/>
                <a:gd name="connsiteX118" fmla="*/ 422612 w 625521"/>
                <a:gd name="connsiteY118" fmla="*/ 88095 h 788699"/>
                <a:gd name="connsiteX119" fmla="*/ 428052 w 625521"/>
                <a:gd name="connsiteY119" fmla="*/ 88095 h 788699"/>
                <a:gd name="connsiteX120" fmla="*/ 447090 w 625521"/>
                <a:gd name="connsiteY120" fmla="*/ 90814 h 788699"/>
                <a:gd name="connsiteX121" fmla="*/ 455249 w 625521"/>
                <a:gd name="connsiteY121" fmla="*/ 96253 h 788699"/>
                <a:gd name="connsiteX122" fmla="*/ 525960 w 625521"/>
                <a:gd name="connsiteY122" fmla="*/ 93534 h 788699"/>
                <a:gd name="connsiteX123" fmla="*/ 561315 w 625521"/>
                <a:gd name="connsiteY123" fmla="*/ 109852 h 788699"/>
                <a:gd name="connsiteX124" fmla="*/ 555876 w 625521"/>
                <a:gd name="connsiteY124" fmla="*/ 126170 h 788699"/>
                <a:gd name="connsiteX125" fmla="*/ 539558 w 625521"/>
                <a:gd name="connsiteY125" fmla="*/ 134329 h 788699"/>
                <a:gd name="connsiteX126" fmla="*/ 517800 w 625521"/>
                <a:gd name="connsiteY126" fmla="*/ 137048 h 788699"/>
                <a:gd name="connsiteX127" fmla="*/ 477006 w 625521"/>
                <a:gd name="connsiteY127" fmla="*/ 137048 h 788699"/>
                <a:gd name="connsiteX128" fmla="*/ 485165 w 625521"/>
                <a:gd name="connsiteY128" fmla="*/ 161525 h 788699"/>
                <a:gd name="connsiteX129" fmla="*/ 496043 w 625521"/>
                <a:gd name="connsiteY129" fmla="*/ 210479 h 788699"/>
                <a:gd name="connsiteX130" fmla="*/ 501483 w 625521"/>
                <a:gd name="connsiteY130" fmla="*/ 251274 h 788699"/>
                <a:gd name="connsiteX131" fmla="*/ 506922 w 625521"/>
                <a:gd name="connsiteY131" fmla="*/ 292069 h 788699"/>
                <a:gd name="connsiteX132" fmla="*/ 506922 w 625521"/>
                <a:gd name="connsiteY132" fmla="*/ 321985 h 788699"/>
                <a:gd name="connsiteX133" fmla="*/ 509642 w 625521"/>
                <a:gd name="connsiteY133" fmla="*/ 341022 h 788699"/>
                <a:gd name="connsiteX134" fmla="*/ 509642 w 625521"/>
                <a:gd name="connsiteY134" fmla="*/ 343742 h 788699"/>
                <a:gd name="connsiteX135" fmla="*/ 517800 w 625521"/>
                <a:gd name="connsiteY135" fmla="*/ 349181 h 788699"/>
                <a:gd name="connsiteX136" fmla="*/ 528680 w 625521"/>
                <a:gd name="connsiteY136" fmla="*/ 349181 h 788699"/>
                <a:gd name="connsiteX137" fmla="*/ 550437 w 625521"/>
                <a:gd name="connsiteY137" fmla="*/ 357340 h 788699"/>
                <a:gd name="connsiteX138" fmla="*/ 550437 w 625521"/>
                <a:gd name="connsiteY138" fmla="*/ 362780 h 788699"/>
                <a:gd name="connsiteX139" fmla="*/ 534119 w 625521"/>
                <a:gd name="connsiteY139" fmla="*/ 384537 h 788699"/>
                <a:gd name="connsiteX140" fmla="*/ 520520 w 625521"/>
                <a:gd name="connsiteY140" fmla="*/ 389976 h 788699"/>
                <a:gd name="connsiteX141" fmla="*/ 512362 w 625521"/>
                <a:gd name="connsiteY141" fmla="*/ 395415 h 788699"/>
                <a:gd name="connsiteX142" fmla="*/ 512362 w 625521"/>
                <a:gd name="connsiteY142" fmla="*/ 398135 h 788699"/>
                <a:gd name="connsiteX143" fmla="*/ 512362 w 625521"/>
                <a:gd name="connsiteY143" fmla="*/ 409014 h 788699"/>
                <a:gd name="connsiteX144" fmla="*/ 512362 w 625521"/>
                <a:gd name="connsiteY144" fmla="*/ 414453 h 788699"/>
                <a:gd name="connsiteX145" fmla="*/ 512362 w 625521"/>
                <a:gd name="connsiteY145" fmla="*/ 438930 h 788699"/>
                <a:gd name="connsiteX146" fmla="*/ 515081 w 625521"/>
                <a:gd name="connsiteY146" fmla="*/ 504202 h 788699"/>
                <a:gd name="connsiteX147" fmla="*/ 520520 w 625521"/>
                <a:gd name="connsiteY147" fmla="*/ 572193 h 788699"/>
                <a:gd name="connsiteX148" fmla="*/ 517800 w 625521"/>
                <a:gd name="connsiteY148" fmla="*/ 604829 h 788699"/>
                <a:gd name="connsiteX149" fmla="*/ 512362 w 625521"/>
                <a:gd name="connsiteY149" fmla="*/ 661942 h 788699"/>
                <a:gd name="connsiteX150" fmla="*/ 509642 w 625521"/>
                <a:gd name="connsiteY150" fmla="*/ 670101 h 788699"/>
                <a:gd name="connsiteX151" fmla="*/ 512362 w 625521"/>
                <a:gd name="connsiteY151" fmla="*/ 680979 h 788699"/>
                <a:gd name="connsiteX152" fmla="*/ 512362 w 625521"/>
                <a:gd name="connsiteY152" fmla="*/ 686419 h 788699"/>
                <a:gd name="connsiteX153" fmla="*/ 536838 w 625521"/>
                <a:gd name="connsiteY153" fmla="*/ 680979 h 788699"/>
                <a:gd name="connsiteX154" fmla="*/ 536838 w 625521"/>
                <a:gd name="connsiteY154" fmla="*/ 680979 h 7886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</a:cxnLst>
              <a:rect l="l" t="t" r="r" b="b"/>
              <a:pathLst>
                <a:path w="625521" h="788699">
                  <a:moveTo>
                    <a:pt x="536838" y="680979"/>
                  </a:moveTo>
                  <a:cubicBezTo>
                    <a:pt x="550437" y="680979"/>
                    <a:pt x="574913" y="680979"/>
                    <a:pt x="574913" y="697297"/>
                  </a:cubicBezTo>
                  <a:cubicBezTo>
                    <a:pt x="574913" y="705456"/>
                    <a:pt x="572194" y="708176"/>
                    <a:pt x="566755" y="713615"/>
                  </a:cubicBezTo>
                  <a:cubicBezTo>
                    <a:pt x="561315" y="719054"/>
                    <a:pt x="555876" y="721774"/>
                    <a:pt x="550437" y="721774"/>
                  </a:cubicBezTo>
                  <a:cubicBezTo>
                    <a:pt x="539558" y="724494"/>
                    <a:pt x="534119" y="724494"/>
                    <a:pt x="528680" y="724494"/>
                  </a:cubicBezTo>
                  <a:cubicBezTo>
                    <a:pt x="517800" y="724494"/>
                    <a:pt x="428052" y="724494"/>
                    <a:pt x="417174" y="724494"/>
                  </a:cubicBezTo>
                  <a:cubicBezTo>
                    <a:pt x="403575" y="724494"/>
                    <a:pt x="414454" y="724494"/>
                    <a:pt x="398136" y="724494"/>
                  </a:cubicBezTo>
                  <a:cubicBezTo>
                    <a:pt x="389977" y="724494"/>
                    <a:pt x="381817" y="724494"/>
                    <a:pt x="373659" y="724494"/>
                  </a:cubicBezTo>
                  <a:cubicBezTo>
                    <a:pt x="365500" y="724494"/>
                    <a:pt x="354621" y="721774"/>
                    <a:pt x="346462" y="719054"/>
                  </a:cubicBezTo>
                  <a:cubicBezTo>
                    <a:pt x="338304" y="716335"/>
                    <a:pt x="330144" y="708176"/>
                    <a:pt x="330144" y="702737"/>
                  </a:cubicBezTo>
                  <a:cubicBezTo>
                    <a:pt x="330144" y="700017"/>
                    <a:pt x="330144" y="697297"/>
                    <a:pt x="335584" y="694578"/>
                  </a:cubicBezTo>
                  <a:cubicBezTo>
                    <a:pt x="341023" y="691858"/>
                    <a:pt x="351902" y="689138"/>
                    <a:pt x="357341" y="686419"/>
                  </a:cubicBezTo>
                  <a:cubicBezTo>
                    <a:pt x="373659" y="683699"/>
                    <a:pt x="387257" y="680979"/>
                    <a:pt x="395416" y="680979"/>
                  </a:cubicBezTo>
                  <a:cubicBezTo>
                    <a:pt x="387257" y="675540"/>
                    <a:pt x="384537" y="670101"/>
                    <a:pt x="381817" y="656502"/>
                  </a:cubicBezTo>
                  <a:cubicBezTo>
                    <a:pt x="379098" y="632026"/>
                    <a:pt x="379098" y="610268"/>
                    <a:pt x="379098" y="585791"/>
                  </a:cubicBezTo>
                  <a:cubicBezTo>
                    <a:pt x="379098" y="564034"/>
                    <a:pt x="379098" y="542277"/>
                    <a:pt x="379098" y="517800"/>
                  </a:cubicBezTo>
                  <a:cubicBezTo>
                    <a:pt x="379098" y="504202"/>
                    <a:pt x="379098" y="487884"/>
                    <a:pt x="379098" y="474286"/>
                  </a:cubicBezTo>
                  <a:cubicBezTo>
                    <a:pt x="379098" y="457968"/>
                    <a:pt x="376379" y="444369"/>
                    <a:pt x="379098" y="430771"/>
                  </a:cubicBezTo>
                  <a:cubicBezTo>
                    <a:pt x="379098" y="425332"/>
                    <a:pt x="381817" y="417173"/>
                    <a:pt x="381817" y="411733"/>
                  </a:cubicBezTo>
                  <a:cubicBezTo>
                    <a:pt x="381817" y="406294"/>
                    <a:pt x="381817" y="403575"/>
                    <a:pt x="379098" y="400855"/>
                  </a:cubicBezTo>
                  <a:cubicBezTo>
                    <a:pt x="376379" y="400855"/>
                    <a:pt x="373659" y="398135"/>
                    <a:pt x="370939" y="398135"/>
                  </a:cubicBezTo>
                  <a:cubicBezTo>
                    <a:pt x="360061" y="398135"/>
                    <a:pt x="343742" y="400855"/>
                    <a:pt x="338304" y="400855"/>
                  </a:cubicBezTo>
                  <a:cubicBezTo>
                    <a:pt x="330144" y="400855"/>
                    <a:pt x="319266" y="403575"/>
                    <a:pt x="289349" y="403575"/>
                  </a:cubicBezTo>
                  <a:cubicBezTo>
                    <a:pt x="275751" y="403575"/>
                    <a:pt x="267592" y="400855"/>
                    <a:pt x="264872" y="400855"/>
                  </a:cubicBezTo>
                  <a:cubicBezTo>
                    <a:pt x="262153" y="400855"/>
                    <a:pt x="259433" y="400855"/>
                    <a:pt x="259433" y="406294"/>
                  </a:cubicBezTo>
                  <a:cubicBezTo>
                    <a:pt x="259433" y="414453"/>
                    <a:pt x="259433" y="419892"/>
                    <a:pt x="259433" y="425332"/>
                  </a:cubicBezTo>
                  <a:cubicBezTo>
                    <a:pt x="259433" y="433491"/>
                    <a:pt x="259433" y="441650"/>
                    <a:pt x="259433" y="449809"/>
                  </a:cubicBezTo>
                  <a:cubicBezTo>
                    <a:pt x="259433" y="457968"/>
                    <a:pt x="259433" y="463407"/>
                    <a:pt x="259433" y="471566"/>
                  </a:cubicBezTo>
                  <a:cubicBezTo>
                    <a:pt x="259433" y="482445"/>
                    <a:pt x="259433" y="493323"/>
                    <a:pt x="259433" y="504202"/>
                  </a:cubicBezTo>
                  <a:cubicBezTo>
                    <a:pt x="259433" y="506921"/>
                    <a:pt x="259433" y="506921"/>
                    <a:pt x="259433" y="509641"/>
                  </a:cubicBezTo>
                  <a:cubicBezTo>
                    <a:pt x="259433" y="520520"/>
                    <a:pt x="256714" y="531398"/>
                    <a:pt x="256714" y="542277"/>
                  </a:cubicBezTo>
                  <a:cubicBezTo>
                    <a:pt x="256714" y="553156"/>
                    <a:pt x="256714" y="566754"/>
                    <a:pt x="256714" y="577632"/>
                  </a:cubicBezTo>
                  <a:cubicBezTo>
                    <a:pt x="256714" y="588511"/>
                    <a:pt x="256714" y="599390"/>
                    <a:pt x="256714" y="612988"/>
                  </a:cubicBezTo>
                  <a:cubicBezTo>
                    <a:pt x="256714" y="629306"/>
                    <a:pt x="253994" y="642904"/>
                    <a:pt x="253994" y="656502"/>
                  </a:cubicBezTo>
                  <a:cubicBezTo>
                    <a:pt x="253994" y="664661"/>
                    <a:pt x="256714" y="672820"/>
                    <a:pt x="256714" y="678260"/>
                  </a:cubicBezTo>
                  <a:cubicBezTo>
                    <a:pt x="270312" y="678260"/>
                    <a:pt x="286629" y="680979"/>
                    <a:pt x="286629" y="694578"/>
                  </a:cubicBezTo>
                  <a:cubicBezTo>
                    <a:pt x="286629" y="702737"/>
                    <a:pt x="283910" y="705456"/>
                    <a:pt x="281191" y="710895"/>
                  </a:cubicBezTo>
                  <a:cubicBezTo>
                    <a:pt x="275751" y="716335"/>
                    <a:pt x="270312" y="719054"/>
                    <a:pt x="264872" y="719054"/>
                  </a:cubicBezTo>
                  <a:cubicBezTo>
                    <a:pt x="256714" y="721774"/>
                    <a:pt x="248554" y="721774"/>
                    <a:pt x="243116" y="721774"/>
                  </a:cubicBezTo>
                  <a:cubicBezTo>
                    <a:pt x="243116" y="721774"/>
                    <a:pt x="243116" y="721774"/>
                    <a:pt x="243116" y="721774"/>
                  </a:cubicBezTo>
                  <a:cubicBezTo>
                    <a:pt x="237676" y="724494"/>
                    <a:pt x="237676" y="724494"/>
                    <a:pt x="232236" y="727214"/>
                  </a:cubicBezTo>
                  <a:cubicBezTo>
                    <a:pt x="229517" y="729933"/>
                    <a:pt x="229517" y="732653"/>
                    <a:pt x="224078" y="735372"/>
                  </a:cubicBezTo>
                  <a:cubicBezTo>
                    <a:pt x="221358" y="738092"/>
                    <a:pt x="215919" y="738092"/>
                    <a:pt x="213199" y="738092"/>
                  </a:cubicBezTo>
                  <a:cubicBezTo>
                    <a:pt x="199601" y="738092"/>
                    <a:pt x="188722" y="735372"/>
                    <a:pt x="183283" y="727214"/>
                  </a:cubicBezTo>
                  <a:cubicBezTo>
                    <a:pt x="180563" y="724494"/>
                    <a:pt x="177843" y="721774"/>
                    <a:pt x="175124" y="719054"/>
                  </a:cubicBezTo>
                  <a:cubicBezTo>
                    <a:pt x="161526" y="719054"/>
                    <a:pt x="150646" y="719054"/>
                    <a:pt x="145208" y="719054"/>
                  </a:cubicBezTo>
                  <a:cubicBezTo>
                    <a:pt x="131609" y="719054"/>
                    <a:pt x="142488" y="719054"/>
                    <a:pt x="126170" y="719054"/>
                  </a:cubicBezTo>
                  <a:cubicBezTo>
                    <a:pt x="118011" y="719054"/>
                    <a:pt x="109852" y="719054"/>
                    <a:pt x="101693" y="719054"/>
                  </a:cubicBezTo>
                  <a:cubicBezTo>
                    <a:pt x="93534" y="719054"/>
                    <a:pt x="82655" y="719054"/>
                    <a:pt x="74496" y="713615"/>
                  </a:cubicBezTo>
                  <a:cubicBezTo>
                    <a:pt x="66338" y="710895"/>
                    <a:pt x="58178" y="702737"/>
                    <a:pt x="58178" y="697297"/>
                  </a:cubicBezTo>
                  <a:cubicBezTo>
                    <a:pt x="58178" y="694578"/>
                    <a:pt x="58178" y="691858"/>
                    <a:pt x="63618" y="689138"/>
                  </a:cubicBezTo>
                  <a:cubicBezTo>
                    <a:pt x="69057" y="686419"/>
                    <a:pt x="79936" y="683699"/>
                    <a:pt x="85375" y="680979"/>
                  </a:cubicBezTo>
                  <a:cubicBezTo>
                    <a:pt x="98973" y="678260"/>
                    <a:pt x="118011" y="678260"/>
                    <a:pt x="131609" y="675540"/>
                  </a:cubicBezTo>
                  <a:cubicBezTo>
                    <a:pt x="131609" y="672820"/>
                    <a:pt x="131609" y="670101"/>
                    <a:pt x="131609" y="667381"/>
                  </a:cubicBezTo>
                  <a:cubicBezTo>
                    <a:pt x="131609" y="661942"/>
                    <a:pt x="131609" y="656502"/>
                    <a:pt x="131609" y="651063"/>
                  </a:cubicBezTo>
                  <a:cubicBezTo>
                    <a:pt x="131609" y="640184"/>
                    <a:pt x="131609" y="629306"/>
                    <a:pt x="131609" y="618427"/>
                  </a:cubicBezTo>
                  <a:cubicBezTo>
                    <a:pt x="131609" y="604829"/>
                    <a:pt x="131609" y="593950"/>
                    <a:pt x="131609" y="580352"/>
                  </a:cubicBezTo>
                  <a:cubicBezTo>
                    <a:pt x="131609" y="564034"/>
                    <a:pt x="131609" y="547716"/>
                    <a:pt x="131609" y="531398"/>
                  </a:cubicBezTo>
                  <a:cubicBezTo>
                    <a:pt x="131609" y="509641"/>
                    <a:pt x="131609" y="487884"/>
                    <a:pt x="131609" y="466126"/>
                  </a:cubicBezTo>
                  <a:cubicBezTo>
                    <a:pt x="131609" y="452528"/>
                    <a:pt x="131609" y="436210"/>
                    <a:pt x="131609" y="422612"/>
                  </a:cubicBezTo>
                  <a:cubicBezTo>
                    <a:pt x="131609" y="419892"/>
                    <a:pt x="131609" y="414453"/>
                    <a:pt x="131609" y="411733"/>
                  </a:cubicBezTo>
                  <a:cubicBezTo>
                    <a:pt x="131609" y="409014"/>
                    <a:pt x="131609" y="400855"/>
                    <a:pt x="131609" y="398135"/>
                  </a:cubicBezTo>
                  <a:cubicBezTo>
                    <a:pt x="131609" y="392696"/>
                    <a:pt x="131609" y="392696"/>
                    <a:pt x="126170" y="389976"/>
                  </a:cubicBezTo>
                  <a:cubicBezTo>
                    <a:pt x="123450" y="389976"/>
                    <a:pt x="109852" y="387257"/>
                    <a:pt x="101693" y="387257"/>
                  </a:cubicBezTo>
                  <a:cubicBezTo>
                    <a:pt x="90814" y="384537"/>
                    <a:pt x="77216" y="381817"/>
                    <a:pt x="77216" y="376378"/>
                  </a:cubicBezTo>
                  <a:cubicBezTo>
                    <a:pt x="77216" y="373658"/>
                    <a:pt x="79936" y="370939"/>
                    <a:pt x="82655" y="368219"/>
                  </a:cubicBezTo>
                  <a:cubicBezTo>
                    <a:pt x="88095" y="365499"/>
                    <a:pt x="93534" y="362780"/>
                    <a:pt x="98973" y="360060"/>
                  </a:cubicBezTo>
                  <a:cubicBezTo>
                    <a:pt x="104413" y="360060"/>
                    <a:pt x="112571" y="357340"/>
                    <a:pt x="118011" y="357340"/>
                  </a:cubicBezTo>
                  <a:cubicBezTo>
                    <a:pt x="126170" y="354621"/>
                    <a:pt x="128890" y="357340"/>
                    <a:pt x="131609" y="351901"/>
                  </a:cubicBezTo>
                  <a:cubicBezTo>
                    <a:pt x="131609" y="349181"/>
                    <a:pt x="131609" y="346462"/>
                    <a:pt x="131609" y="343742"/>
                  </a:cubicBezTo>
                  <a:cubicBezTo>
                    <a:pt x="131609" y="319265"/>
                    <a:pt x="131609" y="294788"/>
                    <a:pt x="131609" y="270311"/>
                  </a:cubicBezTo>
                  <a:cubicBezTo>
                    <a:pt x="131609" y="226797"/>
                    <a:pt x="131609" y="186002"/>
                    <a:pt x="137048" y="145207"/>
                  </a:cubicBezTo>
                  <a:cubicBezTo>
                    <a:pt x="137048" y="139768"/>
                    <a:pt x="137048" y="131609"/>
                    <a:pt x="139768" y="123450"/>
                  </a:cubicBezTo>
                  <a:cubicBezTo>
                    <a:pt x="134329" y="123450"/>
                    <a:pt x="137048" y="123450"/>
                    <a:pt x="123450" y="123450"/>
                  </a:cubicBezTo>
                  <a:cubicBezTo>
                    <a:pt x="120731" y="123450"/>
                    <a:pt x="120731" y="123450"/>
                    <a:pt x="118011" y="123450"/>
                  </a:cubicBezTo>
                  <a:cubicBezTo>
                    <a:pt x="112571" y="123450"/>
                    <a:pt x="107133" y="123450"/>
                    <a:pt x="101693" y="123450"/>
                  </a:cubicBezTo>
                  <a:cubicBezTo>
                    <a:pt x="93534" y="123450"/>
                    <a:pt x="82655" y="120730"/>
                    <a:pt x="74496" y="118011"/>
                  </a:cubicBezTo>
                  <a:cubicBezTo>
                    <a:pt x="66338" y="115291"/>
                    <a:pt x="58178" y="107132"/>
                    <a:pt x="58178" y="101693"/>
                  </a:cubicBezTo>
                  <a:cubicBezTo>
                    <a:pt x="58178" y="98973"/>
                    <a:pt x="58178" y="96253"/>
                    <a:pt x="63618" y="93534"/>
                  </a:cubicBezTo>
                  <a:cubicBezTo>
                    <a:pt x="66338" y="90814"/>
                    <a:pt x="77216" y="88095"/>
                    <a:pt x="85375" y="85375"/>
                  </a:cubicBezTo>
                  <a:cubicBezTo>
                    <a:pt x="104413" y="82655"/>
                    <a:pt x="128890" y="82655"/>
                    <a:pt x="137048" y="82655"/>
                  </a:cubicBezTo>
                  <a:cubicBezTo>
                    <a:pt x="139768" y="82655"/>
                    <a:pt x="142488" y="82655"/>
                    <a:pt x="147927" y="82655"/>
                  </a:cubicBezTo>
                  <a:cubicBezTo>
                    <a:pt x="153366" y="69057"/>
                    <a:pt x="164245" y="58178"/>
                    <a:pt x="186003" y="58178"/>
                  </a:cubicBezTo>
                  <a:cubicBezTo>
                    <a:pt x="202321" y="58178"/>
                    <a:pt x="215919" y="66337"/>
                    <a:pt x="226797" y="79936"/>
                  </a:cubicBezTo>
                  <a:cubicBezTo>
                    <a:pt x="237676" y="79936"/>
                    <a:pt x="248554" y="79936"/>
                    <a:pt x="253994" y="79936"/>
                  </a:cubicBezTo>
                  <a:cubicBezTo>
                    <a:pt x="267592" y="79936"/>
                    <a:pt x="294789" y="79936"/>
                    <a:pt x="294789" y="96253"/>
                  </a:cubicBezTo>
                  <a:cubicBezTo>
                    <a:pt x="294789" y="104412"/>
                    <a:pt x="289349" y="107132"/>
                    <a:pt x="283910" y="112571"/>
                  </a:cubicBezTo>
                  <a:cubicBezTo>
                    <a:pt x="278471" y="118011"/>
                    <a:pt x="273031" y="120730"/>
                    <a:pt x="267592" y="120730"/>
                  </a:cubicBezTo>
                  <a:cubicBezTo>
                    <a:pt x="259433" y="123450"/>
                    <a:pt x="251274" y="123450"/>
                    <a:pt x="245835" y="123450"/>
                  </a:cubicBezTo>
                  <a:cubicBezTo>
                    <a:pt x="245835" y="123450"/>
                    <a:pt x="243116" y="123450"/>
                    <a:pt x="237676" y="123450"/>
                  </a:cubicBezTo>
                  <a:cubicBezTo>
                    <a:pt x="237676" y="126170"/>
                    <a:pt x="237676" y="126170"/>
                    <a:pt x="240396" y="128889"/>
                  </a:cubicBezTo>
                  <a:cubicBezTo>
                    <a:pt x="245835" y="145207"/>
                    <a:pt x="248554" y="161525"/>
                    <a:pt x="251274" y="177843"/>
                  </a:cubicBezTo>
                  <a:cubicBezTo>
                    <a:pt x="253994" y="194161"/>
                    <a:pt x="253994" y="210479"/>
                    <a:pt x="256714" y="226797"/>
                  </a:cubicBezTo>
                  <a:cubicBezTo>
                    <a:pt x="259433" y="243115"/>
                    <a:pt x="262153" y="256713"/>
                    <a:pt x="262153" y="273031"/>
                  </a:cubicBezTo>
                  <a:cubicBezTo>
                    <a:pt x="262153" y="278470"/>
                    <a:pt x="262153" y="283910"/>
                    <a:pt x="262153" y="289349"/>
                  </a:cubicBezTo>
                  <a:lnTo>
                    <a:pt x="262153" y="297508"/>
                  </a:lnTo>
                  <a:cubicBezTo>
                    <a:pt x="262153" y="305667"/>
                    <a:pt x="262153" y="313826"/>
                    <a:pt x="264872" y="321985"/>
                  </a:cubicBezTo>
                  <a:cubicBezTo>
                    <a:pt x="264872" y="327424"/>
                    <a:pt x="270312" y="330144"/>
                    <a:pt x="270312" y="335583"/>
                  </a:cubicBezTo>
                  <a:cubicBezTo>
                    <a:pt x="270312" y="335583"/>
                    <a:pt x="270312" y="338303"/>
                    <a:pt x="270312" y="338303"/>
                  </a:cubicBezTo>
                  <a:cubicBezTo>
                    <a:pt x="270312" y="341022"/>
                    <a:pt x="270312" y="343742"/>
                    <a:pt x="270312" y="346462"/>
                  </a:cubicBezTo>
                  <a:cubicBezTo>
                    <a:pt x="270312" y="351901"/>
                    <a:pt x="273031" y="354621"/>
                    <a:pt x="278471" y="354621"/>
                  </a:cubicBezTo>
                  <a:cubicBezTo>
                    <a:pt x="289349" y="354621"/>
                    <a:pt x="335584" y="351901"/>
                    <a:pt x="338304" y="349181"/>
                  </a:cubicBezTo>
                  <a:cubicBezTo>
                    <a:pt x="346462" y="349181"/>
                    <a:pt x="357341" y="349181"/>
                    <a:pt x="365500" y="349181"/>
                  </a:cubicBezTo>
                  <a:cubicBezTo>
                    <a:pt x="370939" y="349181"/>
                    <a:pt x="376379" y="349181"/>
                    <a:pt x="381817" y="349181"/>
                  </a:cubicBezTo>
                  <a:cubicBezTo>
                    <a:pt x="387257" y="349181"/>
                    <a:pt x="392697" y="346462"/>
                    <a:pt x="392697" y="338303"/>
                  </a:cubicBezTo>
                  <a:cubicBezTo>
                    <a:pt x="392697" y="330144"/>
                    <a:pt x="389977" y="316545"/>
                    <a:pt x="389977" y="313826"/>
                  </a:cubicBezTo>
                  <a:cubicBezTo>
                    <a:pt x="389977" y="294788"/>
                    <a:pt x="389977" y="278470"/>
                    <a:pt x="392697" y="262152"/>
                  </a:cubicBezTo>
                  <a:cubicBezTo>
                    <a:pt x="392697" y="259433"/>
                    <a:pt x="395416" y="243115"/>
                    <a:pt x="395416" y="224077"/>
                  </a:cubicBezTo>
                  <a:cubicBezTo>
                    <a:pt x="395416" y="207759"/>
                    <a:pt x="398136" y="188722"/>
                    <a:pt x="398136" y="177843"/>
                  </a:cubicBezTo>
                  <a:cubicBezTo>
                    <a:pt x="398136" y="169684"/>
                    <a:pt x="395416" y="158806"/>
                    <a:pt x="395416" y="153366"/>
                  </a:cubicBezTo>
                  <a:cubicBezTo>
                    <a:pt x="395416" y="145207"/>
                    <a:pt x="395416" y="142488"/>
                    <a:pt x="395416" y="137048"/>
                  </a:cubicBezTo>
                  <a:cubicBezTo>
                    <a:pt x="389977" y="137048"/>
                    <a:pt x="384537" y="137048"/>
                    <a:pt x="379098" y="137048"/>
                  </a:cubicBezTo>
                  <a:cubicBezTo>
                    <a:pt x="370939" y="137048"/>
                    <a:pt x="360061" y="134329"/>
                    <a:pt x="351902" y="131609"/>
                  </a:cubicBezTo>
                  <a:cubicBezTo>
                    <a:pt x="343742" y="128889"/>
                    <a:pt x="338304" y="120730"/>
                    <a:pt x="338304" y="115291"/>
                  </a:cubicBezTo>
                  <a:cubicBezTo>
                    <a:pt x="338304" y="112571"/>
                    <a:pt x="338304" y="109852"/>
                    <a:pt x="343742" y="107132"/>
                  </a:cubicBezTo>
                  <a:cubicBezTo>
                    <a:pt x="349182" y="104412"/>
                    <a:pt x="357341" y="101693"/>
                    <a:pt x="362780" y="98973"/>
                  </a:cubicBezTo>
                  <a:cubicBezTo>
                    <a:pt x="373659" y="96253"/>
                    <a:pt x="387257" y="96253"/>
                    <a:pt x="395416" y="96253"/>
                  </a:cubicBezTo>
                  <a:cubicBezTo>
                    <a:pt x="398136" y="93534"/>
                    <a:pt x="400855" y="90814"/>
                    <a:pt x="403575" y="90814"/>
                  </a:cubicBezTo>
                  <a:cubicBezTo>
                    <a:pt x="411734" y="90814"/>
                    <a:pt x="419893" y="88095"/>
                    <a:pt x="422612" y="88095"/>
                  </a:cubicBezTo>
                  <a:cubicBezTo>
                    <a:pt x="425332" y="88095"/>
                    <a:pt x="425332" y="88095"/>
                    <a:pt x="428052" y="88095"/>
                  </a:cubicBezTo>
                  <a:cubicBezTo>
                    <a:pt x="433492" y="88095"/>
                    <a:pt x="441650" y="88095"/>
                    <a:pt x="447090" y="90814"/>
                  </a:cubicBezTo>
                  <a:cubicBezTo>
                    <a:pt x="449809" y="90814"/>
                    <a:pt x="452529" y="93534"/>
                    <a:pt x="455249" y="96253"/>
                  </a:cubicBezTo>
                  <a:cubicBezTo>
                    <a:pt x="482445" y="96253"/>
                    <a:pt x="509642" y="93534"/>
                    <a:pt x="525960" y="93534"/>
                  </a:cubicBezTo>
                  <a:cubicBezTo>
                    <a:pt x="539558" y="93534"/>
                    <a:pt x="561315" y="93534"/>
                    <a:pt x="561315" y="109852"/>
                  </a:cubicBezTo>
                  <a:cubicBezTo>
                    <a:pt x="561315" y="118011"/>
                    <a:pt x="561315" y="120730"/>
                    <a:pt x="555876" y="126170"/>
                  </a:cubicBezTo>
                  <a:cubicBezTo>
                    <a:pt x="550437" y="131609"/>
                    <a:pt x="544997" y="134329"/>
                    <a:pt x="539558" y="134329"/>
                  </a:cubicBezTo>
                  <a:cubicBezTo>
                    <a:pt x="531399" y="137048"/>
                    <a:pt x="523240" y="137048"/>
                    <a:pt x="517800" y="137048"/>
                  </a:cubicBezTo>
                  <a:cubicBezTo>
                    <a:pt x="515081" y="137048"/>
                    <a:pt x="498763" y="137048"/>
                    <a:pt x="477006" y="137048"/>
                  </a:cubicBezTo>
                  <a:cubicBezTo>
                    <a:pt x="479725" y="145207"/>
                    <a:pt x="485165" y="153366"/>
                    <a:pt x="485165" y="161525"/>
                  </a:cubicBezTo>
                  <a:cubicBezTo>
                    <a:pt x="487885" y="177843"/>
                    <a:pt x="493324" y="194161"/>
                    <a:pt x="496043" y="210479"/>
                  </a:cubicBezTo>
                  <a:cubicBezTo>
                    <a:pt x="498763" y="224077"/>
                    <a:pt x="498763" y="237676"/>
                    <a:pt x="501483" y="251274"/>
                  </a:cubicBezTo>
                  <a:cubicBezTo>
                    <a:pt x="504202" y="264872"/>
                    <a:pt x="506922" y="275751"/>
                    <a:pt x="506922" y="292069"/>
                  </a:cubicBezTo>
                  <a:cubicBezTo>
                    <a:pt x="506922" y="302947"/>
                    <a:pt x="506922" y="311106"/>
                    <a:pt x="506922" y="321985"/>
                  </a:cubicBezTo>
                  <a:cubicBezTo>
                    <a:pt x="506922" y="327424"/>
                    <a:pt x="509642" y="335583"/>
                    <a:pt x="509642" y="341022"/>
                  </a:cubicBezTo>
                  <a:cubicBezTo>
                    <a:pt x="509642" y="343742"/>
                    <a:pt x="509642" y="343742"/>
                    <a:pt x="509642" y="343742"/>
                  </a:cubicBezTo>
                  <a:cubicBezTo>
                    <a:pt x="509642" y="349181"/>
                    <a:pt x="515081" y="349181"/>
                    <a:pt x="517800" y="349181"/>
                  </a:cubicBezTo>
                  <a:cubicBezTo>
                    <a:pt x="520520" y="349181"/>
                    <a:pt x="523240" y="349181"/>
                    <a:pt x="528680" y="349181"/>
                  </a:cubicBezTo>
                  <a:cubicBezTo>
                    <a:pt x="536838" y="349181"/>
                    <a:pt x="547717" y="349181"/>
                    <a:pt x="550437" y="357340"/>
                  </a:cubicBezTo>
                  <a:cubicBezTo>
                    <a:pt x="550437" y="360060"/>
                    <a:pt x="550437" y="360060"/>
                    <a:pt x="550437" y="362780"/>
                  </a:cubicBezTo>
                  <a:cubicBezTo>
                    <a:pt x="550437" y="370939"/>
                    <a:pt x="539558" y="381817"/>
                    <a:pt x="534119" y="384537"/>
                  </a:cubicBezTo>
                  <a:cubicBezTo>
                    <a:pt x="531399" y="387257"/>
                    <a:pt x="523240" y="387257"/>
                    <a:pt x="520520" y="389976"/>
                  </a:cubicBezTo>
                  <a:cubicBezTo>
                    <a:pt x="515081" y="389976"/>
                    <a:pt x="512362" y="392696"/>
                    <a:pt x="512362" y="395415"/>
                  </a:cubicBezTo>
                  <a:cubicBezTo>
                    <a:pt x="512362" y="395415"/>
                    <a:pt x="512362" y="398135"/>
                    <a:pt x="512362" y="398135"/>
                  </a:cubicBezTo>
                  <a:cubicBezTo>
                    <a:pt x="512362" y="400855"/>
                    <a:pt x="512362" y="406294"/>
                    <a:pt x="512362" y="409014"/>
                  </a:cubicBezTo>
                  <a:cubicBezTo>
                    <a:pt x="512362" y="411733"/>
                    <a:pt x="512362" y="411733"/>
                    <a:pt x="512362" y="414453"/>
                  </a:cubicBezTo>
                  <a:cubicBezTo>
                    <a:pt x="512362" y="422612"/>
                    <a:pt x="512362" y="430771"/>
                    <a:pt x="512362" y="438930"/>
                  </a:cubicBezTo>
                  <a:cubicBezTo>
                    <a:pt x="512362" y="460687"/>
                    <a:pt x="512362" y="482445"/>
                    <a:pt x="515081" y="504202"/>
                  </a:cubicBezTo>
                  <a:cubicBezTo>
                    <a:pt x="517800" y="525959"/>
                    <a:pt x="520520" y="550436"/>
                    <a:pt x="520520" y="572193"/>
                  </a:cubicBezTo>
                  <a:cubicBezTo>
                    <a:pt x="520520" y="583072"/>
                    <a:pt x="520520" y="593950"/>
                    <a:pt x="517800" y="604829"/>
                  </a:cubicBezTo>
                  <a:cubicBezTo>
                    <a:pt x="515081" y="623867"/>
                    <a:pt x="515081" y="642904"/>
                    <a:pt x="512362" y="661942"/>
                  </a:cubicBezTo>
                  <a:cubicBezTo>
                    <a:pt x="512362" y="664661"/>
                    <a:pt x="509642" y="667381"/>
                    <a:pt x="509642" y="670101"/>
                  </a:cubicBezTo>
                  <a:cubicBezTo>
                    <a:pt x="509642" y="672820"/>
                    <a:pt x="512362" y="678260"/>
                    <a:pt x="512362" y="680979"/>
                  </a:cubicBezTo>
                  <a:cubicBezTo>
                    <a:pt x="512362" y="683699"/>
                    <a:pt x="512362" y="686419"/>
                    <a:pt x="512362" y="686419"/>
                  </a:cubicBezTo>
                  <a:cubicBezTo>
                    <a:pt x="517800" y="680979"/>
                    <a:pt x="528680" y="680979"/>
                    <a:pt x="536838" y="680979"/>
                  </a:cubicBezTo>
                  <a:lnTo>
                    <a:pt x="536838" y="680979"/>
                  </a:ln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0" name="Freeform: Shape 49">
              <a:extLst>
                <a:ext uri="{FF2B5EF4-FFF2-40B4-BE49-F238E27FC236}">
                  <a16:creationId xmlns:a16="http://schemas.microsoft.com/office/drawing/2014/main" id="{64463117-BF45-4116-9B90-88E469EA87AD}"/>
                </a:ext>
              </a:extLst>
            </p:cNvPr>
            <p:cNvSpPr/>
            <p:nvPr/>
          </p:nvSpPr>
          <p:spPr>
            <a:xfrm>
              <a:off x="9592416" y="4192158"/>
              <a:ext cx="516735" cy="761503"/>
            </a:xfrm>
            <a:custGeom>
              <a:avLst/>
              <a:gdLst>
                <a:gd name="connsiteX0" fmla="*/ 463407 w 516735"/>
                <a:gd name="connsiteY0" fmla="*/ 194161 h 761503"/>
                <a:gd name="connsiteX1" fmla="*/ 447089 w 516735"/>
                <a:gd name="connsiteY1" fmla="*/ 226797 h 761503"/>
                <a:gd name="connsiteX2" fmla="*/ 430771 w 516735"/>
                <a:gd name="connsiteY2" fmla="*/ 221357 h 761503"/>
                <a:gd name="connsiteX3" fmla="*/ 422612 w 516735"/>
                <a:gd name="connsiteY3" fmla="*/ 207759 h 761503"/>
                <a:gd name="connsiteX4" fmla="*/ 419893 w 516735"/>
                <a:gd name="connsiteY4" fmla="*/ 188722 h 761503"/>
                <a:gd name="connsiteX5" fmla="*/ 419893 w 516735"/>
                <a:gd name="connsiteY5" fmla="*/ 139768 h 761503"/>
                <a:gd name="connsiteX6" fmla="*/ 419893 w 516735"/>
                <a:gd name="connsiteY6" fmla="*/ 120730 h 761503"/>
                <a:gd name="connsiteX7" fmla="*/ 395416 w 516735"/>
                <a:gd name="connsiteY7" fmla="*/ 120730 h 761503"/>
                <a:gd name="connsiteX8" fmla="*/ 370939 w 516735"/>
                <a:gd name="connsiteY8" fmla="*/ 120730 h 761503"/>
                <a:gd name="connsiteX9" fmla="*/ 346461 w 516735"/>
                <a:gd name="connsiteY9" fmla="*/ 123450 h 761503"/>
                <a:gd name="connsiteX10" fmla="*/ 335583 w 516735"/>
                <a:gd name="connsiteY10" fmla="*/ 123450 h 761503"/>
                <a:gd name="connsiteX11" fmla="*/ 335583 w 516735"/>
                <a:gd name="connsiteY11" fmla="*/ 123450 h 761503"/>
                <a:gd name="connsiteX12" fmla="*/ 324704 w 516735"/>
                <a:gd name="connsiteY12" fmla="*/ 128889 h 761503"/>
                <a:gd name="connsiteX13" fmla="*/ 327424 w 516735"/>
                <a:gd name="connsiteY13" fmla="*/ 139768 h 761503"/>
                <a:gd name="connsiteX14" fmla="*/ 330144 w 516735"/>
                <a:gd name="connsiteY14" fmla="*/ 175123 h 761503"/>
                <a:gd name="connsiteX15" fmla="*/ 330144 w 516735"/>
                <a:gd name="connsiteY15" fmla="*/ 199600 h 761503"/>
                <a:gd name="connsiteX16" fmla="*/ 327424 w 516735"/>
                <a:gd name="connsiteY16" fmla="*/ 224077 h 761503"/>
                <a:gd name="connsiteX17" fmla="*/ 330144 w 516735"/>
                <a:gd name="connsiteY17" fmla="*/ 251274 h 761503"/>
                <a:gd name="connsiteX18" fmla="*/ 327424 w 516735"/>
                <a:gd name="connsiteY18" fmla="*/ 278470 h 761503"/>
                <a:gd name="connsiteX19" fmla="*/ 327424 w 516735"/>
                <a:gd name="connsiteY19" fmla="*/ 332864 h 761503"/>
                <a:gd name="connsiteX20" fmla="*/ 330144 w 516735"/>
                <a:gd name="connsiteY20" fmla="*/ 357340 h 761503"/>
                <a:gd name="connsiteX21" fmla="*/ 330144 w 516735"/>
                <a:gd name="connsiteY21" fmla="*/ 368219 h 761503"/>
                <a:gd name="connsiteX22" fmla="*/ 332863 w 516735"/>
                <a:gd name="connsiteY22" fmla="*/ 387257 h 761503"/>
                <a:gd name="connsiteX23" fmla="*/ 332863 w 516735"/>
                <a:gd name="connsiteY23" fmla="*/ 433491 h 761503"/>
                <a:gd name="connsiteX24" fmla="*/ 332863 w 516735"/>
                <a:gd name="connsiteY24" fmla="*/ 487884 h 761503"/>
                <a:gd name="connsiteX25" fmla="*/ 330144 w 516735"/>
                <a:gd name="connsiteY25" fmla="*/ 512361 h 761503"/>
                <a:gd name="connsiteX26" fmla="*/ 330144 w 516735"/>
                <a:gd name="connsiteY26" fmla="*/ 539557 h 761503"/>
                <a:gd name="connsiteX27" fmla="*/ 332863 w 516735"/>
                <a:gd name="connsiteY27" fmla="*/ 593950 h 761503"/>
                <a:gd name="connsiteX28" fmla="*/ 332863 w 516735"/>
                <a:gd name="connsiteY28" fmla="*/ 648343 h 761503"/>
                <a:gd name="connsiteX29" fmla="*/ 332863 w 516735"/>
                <a:gd name="connsiteY29" fmla="*/ 656502 h 761503"/>
                <a:gd name="connsiteX30" fmla="*/ 357341 w 516735"/>
                <a:gd name="connsiteY30" fmla="*/ 656502 h 761503"/>
                <a:gd name="connsiteX31" fmla="*/ 395416 w 516735"/>
                <a:gd name="connsiteY31" fmla="*/ 675540 h 761503"/>
                <a:gd name="connsiteX32" fmla="*/ 389976 w 516735"/>
                <a:gd name="connsiteY32" fmla="*/ 691858 h 761503"/>
                <a:gd name="connsiteX33" fmla="*/ 373658 w 516735"/>
                <a:gd name="connsiteY33" fmla="*/ 700017 h 761503"/>
                <a:gd name="connsiteX34" fmla="*/ 351901 w 516735"/>
                <a:gd name="connsiteY34" fmla="*/ 702737 h 761503"/>
                <a:gd name="connsiteX35" fmla="*/ 319265 w 516735"/>
                <a:gd name="connsiteY35" fmla="*/ 702737 h 761503"/>
                <a:gd name="connsiteX36" fmla="*/ 311106 w 516735"/>
                <a:gd name="connsiteY36" fmla="*/ 708176 h 761503"/>
                <a:gd name="connsiteX37" fmla="*/ 289349 w 516735"/>
                <a:gd name="connsiteY37" fmla="*/ 713615 h 761503"/>
                <a:gd name="connsiteX38" fmla="*/ 270311 w 516735"/>
                <a:gd name="connsiteY38" fmla="*/ 713615 h 761503"/>
                <a:gd name="connsiteX39" fmla="*/ 243115 w 516735"/>
                <a:gd name="connsiteY39" fmla="*/ 705456 h 761503"/>
                <a:gd name="connsiteX40" fmla="*/ 237675 w 516735"/>
                <a:gd name="connsiteY40" fmla="*/ 702737 h 761503"/>
                <a:gd name="connsiteX41" fmla="*/ 199600 w 516735"/>
                <a:gd name="connsiteY41" fmla="*/ 702737 h 761503"/>
                <a:gd name="connsiteX42" fmla="*/ 175123 w 516735"/>
                <a:gd name="connsiteY42" fmla="*/ 702737 h 761503"/>
                <a:gd name="connsiteX43" fmla="*/ 147927 w 516735"/>
                <a:gd name="connsiteY43" fmla="*/ 697297 h 761503"/>
                <a:gd name="connsiteX44" fmla="*/ 131609 w 516735"/>
                <a:gd name="connsiteY44" fmla="*/ 678260 h 761503"/>
                <a:gd name="connsiteX45" fmla="*/ 137048 w 516735"/>
                <a:gd name="connsiteY45" fmla="*/ 670101 h 761503"/>
                <a:gd name="connsiteX46" fmla="*/ 158805 w 516735"/>
                <a:gd name="connsiteY46" fmla="*/ 661942 h 761503"/>
                <a:gd name="connsiteX47" fmla="*/ 199600 w 516735"/>
                <a:gd name="connsiteY47" fmla="*/ 659222 h 761503"/>
                <a:gd name="connsiteX48" fmla="*/ 199600 w 516735"/>
                <a:gd name="connsiteY48" fmla="*/ 659222 h 761503"/>
                <a:gd name="connsiteX49" fmla="*/ 196880 w 516735"/>
                <a:gd name="connsiteY49" fmla="*/ 629306 h 761503"/>
                <a:gd name="connsiteX50" fmla="*/ 199600 w 516735"/>
                <a:gd name="connsiteY50" fmla="*/ 574913 h 761503"/>
                <a:gd name="connsiteX51" fmla="*/ 202320 w 516735"/>
                <a:gd name="connsiteY51" fmla="*/ 523239 h 761503"/>
                <a:gd name="connsiteX52" fmla="*/ 205040 w 516735"/>
                <a:gd name="connsiteY52" fmla="*/ 460687 h 761503"/>
                <a:gd name="connsiteX53" fmla="*/ 205040 w 516735"/>
                <a:gd name="connsiteY53" fmla="*/ 417173 h 761503"/>
                <a:gd name="connsiteX54" fmla="*/ 207759 w 516735"/>
                <a:gd name="connsiteY54" fmla="*/ 392696 h 761503"/>
                <a:gd name="connsiteX55" fmla="*/ 210478 w 516735"/>
                <a:gd name="connsiteY55" fmla="*/ 368219 h 761503"/>
                <a:gd name="connsiteX56" fmla="*/ 210478 w 516735"/>
                <a:gd name="connsiteY56" fmla="*/ 313826 h 761503"/>
                <a:gd name="connsiteX57" fmla="*/ 210478 w 516735"/>
                <a:gd name="connsiteY57" fmla="*/ 259433 h 761503"/>
                <a:gd name="connsiteX58" fmla="*/ 210478 w 516735"/>
                <a:gd name="connsiteY58" fmla="*/ 213199 h 761503"/>
                <a:gd name="connsiteX59" fmla="*/ 210478 w 516735"/>
                <a:gd name="connsiteY59" fmla="*/ 145207 h 761503"/>
                <a:gd name="connsiteX60" fmla="*/ 213198 w 516735"/>
                <a:gd name="connsiteY60" fmla="*/ 131609 h 761503"/>
                <a:gd name="connsiteX61" fmla="*/ 205040 w 516735"/>
                <a:gd name="connsiteY61" fmla="*/ 123450 h 761503"/>
                <a:gd name="connsiteX62" fmla="*/ 161525 w 516735"/>
                <a:gd name="connsiteY62" fmla="*/ 123450 h 761503"/>
                <a:gd name="connsiteX63" fmla="*/ 112571 w 516735"/>
                <a:gd name="connsiteY63" fmla="*/ 120730 h 761503"/>
                <a:gd name="connsiteX64" fmla="*/ 104412 w 516735"/>
                <a:gd name="connsiteY64" fmla="*/ 118011 h 761503"/>
                <a:gd name="connsiteX65" fmla="*/ 107132 w 516735"/>
                <a:gd name="connsiteY65" fmla="*/ 191441 h 761503"/>
                <a:gd name="connsiteX66" fmla="*/ 90814 w 516735"/>
                <a:gd name="connsiteY66" fmla="*/ 224077 h 761503"/>
                <a:gd name="connsiteX67" fmla="*/ 74496 w 516735"/>
                <a:gd name="connsiteY67" fmla="*/ 218638 h 761503"/>
                <a:gd name="connsiteX68" fmla="*/ 66337 w 516735"/>
                <a:gd name="connsiteY68" fmla="*/ 205040 h 761503"/>
                <a:gd name="connsiteX69" fmla="*/ 63617 w 516735"/>
                <a:gd name="connsiteY69" fmla="*/ 186002 h 761503"/>
                <a:gd name="connsiteX70" fmla="*/ 63617 w 516735"/>
                <a:gd name="connsiteY70" fmla="*/ 145207 h 761503"/>
                <a:gd name="connsiteX71" fmla="*/ 63617 w 516735"/>
                <a:gd name="connsiteY71" fmla="*/ 109852 h 761503"/>
                <a:gd name="connsiteX72" fmla="*/ 58178 w 516735"/>
                <a:gd name="connsiteY72" fmla="*/ 96253 h 761503"/>
                <a:gd name="connsiteX73" fmla="*/ 66337 w 516735"/>
                <a:gd name="connsiteY73" fmla="*/ 85375 h 761503"/>
                <a:gd name="connsiteX74" fmla="*/ 93533 w 516735"/>
                <a:gd name="connsiteY74" fmla="*/ 77216 h 761503"/>
                <a:gd name="connsiteX75" fmla="*/ 115290 w 516735"/>
                <a:gd name="connsiteY75" fmla="*/ 77216 h 761503"/>
                <a:gd name="connsiteX76" fmla="*/ 169684 w 516735"/>
                <a:gd name="connsiteY76" fmla="*/ 74496 h 761503"/>
                <a:gd name="connsiteX77" fmla="*/ 194161 w 516735"/>
                <a:gd name="connsiteY77" fmla="*/ 71776 h 761503"/>
                <a:gd name="connsiteX78" fmla="*/ 196880 w 516735"/>
                <a:gd name="connsiteY78" fmla="*/ 71776 h 761503"/>
                <a:gd name="connsiteX79" fmla="*/ 210478 w 516735"/>
                <a:gd name="connsiteY79" fmla="*/ 71776 h 761503"/>
                <a:gd name="connsiteX80" fmla="*/ 218638 w 516735"/>
                <a:gd name="connsiteY80" fmla="*/ 71776 h 761503"/>
                <a:gd name="connsiteX81" fmla="*/ 237675 w 516735"/>
                <a:gd name="connsiteY81" fmla="*/ 60898 h 761503"/>
                <a:gd name="connsiteX82" fmla="*/ 253993 w 516735"/>
                <a:gd name="connsiteY82" fmla="*/ 58178 h 761503"/>
                <a:gd name="connsiteX83" fmla="*/ 283910 w 516735"/>
                <a:gd name="connsiteY83" fmla="*/ 60898 h 761503"/>
                <a:gd name="connsiteX84" fmla="*/ 294788 w 516735"/>
                <a:gd name="connsiteY84" fmla="*/ 66337 h 761503"/>
                <a:gd name="connsiteX85" fmla="*/ 305667 w 516735"/>
                <a:gd name="connsiteY85" fmla="*/ 74496 h 761503"/>
                <a:gd name="connsiteX86" fmla="*/ 313826 w 516735"/>
                <a:gd name="connsiteY86" fmla="*/ 74496 h 761503"/>
                <a:gd name="connsiteX87" fmla="*/ 327424 w 516735"/>
                <a:gd name="connsiteY87" fmla="*/ 74496 h 761503"/>
                <a:gd name="connsiteX88" fmla="*/ 354621 w 516735"/>
                <a:gd name="connsiteY88" fmla="*/ 74496 h 761503"/>
                <a:gd name="connsiteX89" fmla="*/ 422612 w 516735"/>
                <a:gd name="connsiteY89" fmla="*/ 74496 h 761503"/>
                <a:gd name="connsiteX90" fmla="*/ 455248 w 516735"/>
                <a:gd name="connsiteY90" fmla="*/ 79936 h 761503"/>
                <a:gd name="connsiteX91" fmla="*/ 466127 w 516735"/>
                <a:gd name="connsiteY91" fmla="*/ 98973 h 761503"/>
                <a:gd name="connsiteX92" fmla="*/ 463407 w 516735"/>
                <a:gd name="connsiteY92" fmla="*/ 109852 h 761503"/>
                <a:gd name="connsiteX93" fmla="*/ 463407 w 516735"/>
                <a:gd name="connsiteY93" fmla="*/ 120730 h 761503"/>
                <a:gd name="connsiteX94" fmla="*/ 463407 w 516735"/>
                <a:gd name="connsiteY94" fmla="*/ 194161 h 761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</a:cxnLst>
              <a:rect l="l" t="t" r="r" b="b"/>
              <a:pathLst>
                <a:path w="516735" h="761503">
                  <a:moveTo>
                    <a:pt x="463407" y="194161"/>
                  </a:moveTo>
                  <a:cubicBezTo>
                    <a:pt x="463407" y="205040"/>
                    <a:pt x="463407" y="226797"/>
                    <a:pt x="447089" y="226797"/>
                  </a:cubicBezTo>
                  <a:cubicBezTo>
                    <a:pt x="438930" y="226797"/>
                    <a:pt x="436211" y="226797"/>
                    <a:pt x="430771" y="221357"/>
                  </a:cubicBezTo>
                  <a:cubicBezTo>
                    <a:pt x="425332" y="218638"/>
                    <a:pt x="422612" y="210479"/>
                    <a:pt x="422612" y="207759"/>
                  </a:cubicBezTo>
                  <a:cubicBezTo>
                    <a:pt x="419893" y="199600"/>
                    <a:pt x="419893" y="194161"/>
                    <a:pt x="419893" y="188722"/>
                  </a:cubicBezTo>
                  <a:cubicBezTo>
                    <a:pt x="419893" y="183282"/>
                    <a:pt x="419893" y="147927"/>
                    <a:pt x="419893" y="139768"/>
                  </a:cubicBezTo>
                  <a:cubicBezTo>
                    <a:pt x="419893" y="134329"/>
                    <a:pt x="419893" y="128889"/>
                    <a:pt x="419893" y="120730"/>
                  </a:cubicBezTo>
                  <a:cubicBezTo>
                    <a:pt x="411734" y="120730"/>
                    <a:pt x="403574" y="120730"/>
                    <a:pt x="395416" y="120730"/>
                  </a:cubicBezTo>
                  <a:cubicBezTo>
                    <a:pt x="387256" y="120730"/>
                    <a:pt x="379098" y="120730"/>
                    <a:pt x="370939" y="120730"/>
                  </a:cubicBezTo>
                  <a:cubicBezTo>
                    <a:pt x="362780" y="120730"/>
                    <a:pt x="354621" y="123450"/>
                    <a:pt x="346461" y="123450"/>
                  </a:cubicBezTo>
                  <a:cubicBezTo>
                    <a:pt x="343742" y="123450"/>
                    <a:pt x="341023" y="123450"/>
                    <a:pt x="335583" y="123450"/>
                  </a:cubicBezTo>
                  <a:cubicBezTo>
                    <a:pt x="335583" y="123450"/>
                    <a:pt x="335583" y="123450"/>
                    <a:pt x="335583" y="123450"/>
                  </a:cubicBezTo>
                  <a:cubicBezTo>
                    <a:pt x="327424" y="123450"/>
                    <a:pt x="324704" y="126170"/>
                    <a:pt x="324704" y="128889"/>
                  </a:cubicBezTo>
                  <a:cubicBezTo>
                    <a:pt x="324704" y="131609"/>
                    <a:pt x="324704" y="137048"/>
                    <a:pt x="327424" y="139768"/>
                  </a:cubicBezTo>
                  <a:cubicBezTo>
                    <a:pt x="330144" y="147927"/>
                    <a:pt x="330144" y="166964"/>
                    <a:pt x="330144" y="175123"/>
                  </a:cubicBezTo>
                  <a:cubicBezTo>
                    <a:pt x="330144" y="183282"/>
                    <a:pt x="330144" y="191441"/>
                    <a:pt x="330144" y="199600"/>
                  </a:cubicBezTo>
                  <a:cubicBezTo>
                    <a:pt x="330144" y="207759"/>
                    <a:pt x="327424" y="215918"/>
                    <a:pt x="327424" y="224077"/>
                  </a:cubicBezTo>
                  <a:cubicBezTo>
                    <a:pt x="327424" y="232236"/>
                    <a:pt x="330144" y="243115"/>
                    <a:pt x="330144" y="251274"/>
                  </a:cubicBezTo>
                  <a:cubicBezTo>
                    <a:pt x="330144" y="259433"/>
                    <a:pt x="330144" y="267592"/>
                    <a:pt x="327424" y="278470"/>
                  </a:cubicBezTo>
                  <a:cubicBezTo>
                    <a:pt x="327424" y="294788"/>
                    <a:pt x="327424" y="313826"/>
                    <a:pt x="327424" y="332864"/>
                  </a:cubicBezTo>
                  <a:cubicBezTo>
                    <a:pt x="327424" y="341022"/>
                    <a:pt x="327424" y="349181"/>
                    <a:pt x="330144" y="357340"/>
                  </a:cubicBezTo>
                  <a:cubicBezTo>
                    <a:pt x="330144" y="360060"/>
                    <a:pt x="330144" y="365499"/>
                    <a:pt x="330144" y="368219"/>
                  </a:cubicBezTo>
                  <a:cubicBezTo>
                    <a:pt x="330144" y="373658"/>
                    <a:pt x="332863" y="384537"/>
                    <a:pt x="332863" y="387257"/>
                  </a:cubicBezTo>
                  <a:cubicBezTo>
                    <a:pt x="332863" y="406294"/>
                    <a:pt x="332863" y="414453"/>
                    <a:pt x="332863" y="433491"/>
                  </a:cubicBezTo>
                  <a:cubicBezTo>
                    <a:pt x="332863" y="452528"/>
                    <a:pt x="335583" y="468846"/>
                    <a:pt x="332863" y="487884"/>
                  </a:cubicBezTo>
                  <a:cubicBezTo>
                    <a:pt x="332863" y="496043"/>
                    <a:pt x="330144" y="504202"/>
                    <a:pt x="330144" y="512361"/>
                  </a:cubicBezTo>
                  <a:cubicBezTo>
                    <a:pt x="330144" y="520520"/>
                    <a:pt x="330144" y="531398"/>
                    <a:pt x="330144" y="539557"/>
                  </a:cubicBezTo>
                  <a:cubicBezTo>
                    <a:pt x="330144" y="558595"/>
                    <a:pt x="330144" y="574913"/>
                    <a:pt x="332863" y="593950"/>
                  </a:cubicBezTo>
                  <a:cubicBezTo>
                    <a:pt x="332863" y="610268"/>
                    <a:pt x="332863" y="632026"/>
                    <a:pt x="332863" y="648343"/>
                  </a:cubicBezTo>
                  <a:cubicBezTo>
                    <a:pt x="332863" y="651063"/>
                    <a:pt x="332863" y="653783"/>
                    <a:pt x="332863" y="656502"/>
                  </a:cubicBezTo>
                  <a:cubicBezTo>
                    <a:pt x="343742" y="656502"/>
                    <a:pt x="351901" y="656502"/>
                    <a:pt x="357341" y="656502"/>
                  </a:cubicBezTo>
                  <a:cubicBezTo>
                    <a:pt x="370939" y="656502"/>
                    <a:pt x="395416" y="659222"/>
                    <a:pt x="395416" y="675540"/>
                  </a:cubicBezTo>
                  <a:cubicBezTo>
                    <a:pt x="395416" y="683699"/>
                    <a:pt x="392696" y="686419"/>
                    <a:pt x="389976" y="691858"/>
                  </a:cubicBezTo>
                  <a:cubicBezTo>
                    <a:pt x="384537" y="697297"/>
                    <a:pt x="379098" y="700017"/>
                    <a:pt x="373658" y="700017"/>
                  </a:cubicBezTo>
                  <a:cubicBezTo>
                    <a:pt x="365499" y="702737"/>
                    <a:pt x="357341" y="702737"/>
                    <a:pt x="351901" y="702737"/>
                  </a:cubicBezTo>
                  <a:cubicBezTo>
                    <a:pt x="349181" y="702737"/>
                    <a:pt x="335583" y="702737"/>
                    <a:pt x="319265" y="702737"/>
                  </a:cubicBezTo>
                  <a:cubicBezTo>
                    <a:pt x="316546" y="705456"/>
                    <a:pt x="313826" y="705456"/>
                    <a:pt x="311106" y="708176"/>
                  </a:cubicBezTo>
                  <a:cubicBezTo>
                    <a:pt x="302948" y="713615"/>
                    <a:pt x="297508" y="713615"/>
                    <a:pt x="289349" y="713615"/>
                  </a:cubicBezTo>
                  <a:cubicBezTo>
                    <a:pt x="283910" y="713615"/>
                    <a:pt x="278470" y="713615"/>
                    <a:pt x="270311" y="713615"/>
                  </a:cubicBezTo>
                  <a:cubicBezTo>
                    <a:pt x="259433" y="713615"/>
                    <a:pt x="251273" y="710895"/>
                    <a:pt x="243115" y="705456"/>
                  </a:cubicBezTo>
                  <a:cubicBezTo>
                    <a:pt x="240395" y="705456"/>
                    <a:pt x="237675" y="702737"/>
                    <a:pt x="237675" y="702737"/>
                  </a:cubicBezTo>
                  <a:cubicBezTo>
                    <a:pt x="224077" y="702737"/>
                    <a:pt x="213198" y="702737"/>
                    <a:pt x="199600" y="702737"/>
                  </a:cubicBezTo>
                  <a:cubicBezTo>
                    <a:pt x="191441" y="702737"/>
                    <a:pt x="183282" y="702737"/>
                    <a:pt x="175123" y="702737"/>
                  </a:cubicBezTo>
                  <a:cubicBezTo>
                    <a:pt x="166965" y="702737"/>
                    <a:pt x="156085" y="702737"/>
                    <a:pt x="147927" y="697297"/>
                  </a:cubicBezTo>
                  <a:cubicBezTo>
                    <a:pt x="139768" y="694578"/>
                    <a:pt x="131609" y="680979"/>
                    <a:pt x="131609" y="678260"/>
                  </a:cubicBezTo>
                  <a:cubicBezTo>
                    <a:pt x="131609" y="675540"/>
                    <a:pt x="131609" y="672820"/>
                    <a:pt x="137048" y="670101"/>
                  </a:cubicBezTo>
                  <a:cubicBezTo>
                    <a:pt x="142487" y="667381"/>
                    <a:pt x="153366" y="664661"/>
                    <a:pt x="158805" y="661942"/>
                  </a:cubicBezTo>
                  <a:cubicBezTo>
                    <a:pt x="175123" y="659222"/>
                    <a:pt x="191441" y="659222"/>
                    <a:pt x="199600" y="659222"/>
                  </a:cubicBezTo>
                  <a:lnTo>
                    <a:pt x="199600" y="659222"/>
                  </a:lnTo>
                  <a:cubicBezTo>
                    <a:pt x="199600" y="648343"/>
                    <a:pt x="196880" y="640184"/>
                    <a:pt x="196880" y="629306"/>
                  </a:cubicBezTo>
                  <a:cubicBezTo>
                    <a:pt x="196880" y="612988"/>
                    <a:pt x="196880" y="591231"/>
                    <a:pt x="199600" y="574913"/>
                  </a:cubicBezTo>
                  <a:cubicBezTo>
                    <a:pt x="199600" y="558595"/>
                    <a:pt x="199600" y="539557"/>
                    <a:pt x="202320" y="523239"/>
                  </a:cubicBezTo>
                  <a:cubicBezTo>
                    <a:pt x="202320" y="501482"/>
                    <a:pt x="205040" y="482445"/>
                    <a:pt x="205040" y="460687"/>
                  </a:cubicBezTo>
                  <a:cubicBezTo>
                    <a:pt x="205040" y="447089"/>
                    <a:pt x="205040" y="430771"/>
                    <a:pt x="205040" y="417173"/>
                  </a:cubicBezTo>
                  <a:cubicBezTo>
                    <a:pt x="205040" y="409014"/>
                    <a:pt x="207759" y="400855"/>
                    <a:pt x="207759" y="392696"/>
                  </a:cubicBezTo>
                  <a:cubicBezTo>
                    <a:pt x="207759" y="384537"/>
                    <a:pt x="210478" y="376378"/>
                    <a:pt x="210478" y="368219"/>
                  </a:cubicBezTo>
                  <a:cubicBezTo>
                    <a:pt x="210478" y="351901"/>
                    <a:pt x="210478" y="332864"/>
                    <a:pt x="210478" y="313826"/>
                  </a:cubicBezTo>
                  <a:cubicBezTo>
                    <a:pt x="210478" y="294788"/>
                    <a:pt x="210478" y="275751"/>
                    <a:pt x="210478" y="259433"/>
                  </a:cubicBezTo>
                  <a:cubicBezTo>
                    <a:pt x="210478" y="243115"/>
                    <a:pt x="210478" y="226797"/>
                    <a:pt x="210478" y="213199"/>
                  </a:cubicBezTo>
                  <a:cubicBezTo>
                    <a:pt x="210478" y="194161"/>
                    <a:pt x="210478" y="164245"/>
                    <a:pt x="210478" y="145207"/>
                  </a:cubicBezTo>
                  <a:cubicBezTo>
                    <a:pt x="210478" y="139768"/>
                    <a:pt x="213198" y="134329"/>
                    <a:pt x="213198" y="131609"/>
                  </a:cubicBezTo>
                  <a:cubicBezTo>
                    <a:pt x="213198" y="126170"/>
                    <a:pt x="207759" y="123450"/>
                    <a:pt x="205040" y="123450"/>
                  </a:cubicBezTo>
                  <a:cubicBezTo>
                    <a:pt x="199600" y="123450"/>
                    <a:pt x="166965" y="123450"/>
                    <a:pt x="161525" y="123450"/>
                  </a:cubicBezTo>
                  <a:cubicBezTo>
                    <a:pt x="145207" y="123450"/>
                    <a:pt x="128889" y="123450"/>
                    <a:pt x="112571" y="120730"/>
                  </a:cubicBezTo>
                  <a:cubicBezTo>
                    <a:pt x="109852" y="120730"/>
                    <a:pt x="107132" y="120730"/>
                    <a:pt x="104412" y="118011"/>
                  </a:cubicBezTo>
                  <a:cubicBezTo>
                    <a:pt x="107132" y="137048"/>
                    <a:pt x="107132" y="172404"/>
                    <a:pt x="107132" y="191441"/>
                  </a:cubicBezTo>
                  <a:cubicBezTo>
                    <a:pt x="107132" y="202320"/>
                    <a:pt x="107132" y="224077"/>
                    <a:pt x="90814" y="224077"/>
                  </a:cubicBezTo>
                  <a:cubicBezTo>
                    <a:pt x="82655" y="224077"/>
                    <a:pt x="79935" y="221357"/>
                    <a:pt x="74496" y="218638"/>
                  </a:cubicBezTo>
                  <a:cubicBezTo>
                    <a:pt x="69057" y="215918"/>
                    <a:pt x="66337" y="210479"/>
                    <a:pt x="66337" y="205040"/>
                  </a:cubicBezTo>
                  <a:cubicBezTo>
                    <a:pt x="63617" y="196881"/>
                    <a:pt x="63617" y="191441"/>
                    <a:pt x="63617" y="186002"/>
                  </a:cubicBezTo>
                  <a:cubicBezTo>
                    <a:pt x="63617" y="180563"/>
                    <a:pt x="63617" y="153366"/>
                    <a:pt x="63617" y="145207"/>
                  </a:cubicBezTo>
                  <a:cubicBezTo>
                    <a:pt x="63617" y="134329"/>
                    <a:pt x="63617" y="120730"/>
                    <a:pt x="63617" y="109852"/>
                  </a:cubicBezTo>
                  <a:cubicBezTo>
                    <a:pt x="60897" y="104412"/>
                    <a:pt x="58178" y="101693"/>
                    <a:pt x="58178" y="96253"/>
                  </a:cubicBezTo>
                  <a:cubicBezTo>
                    <a:pt x="58178" y="93534"/>
                    <a:pt x="60897" y="88095"/>
                    <a:pt x="66337" y="85375"/>
                  </a:cubicBezTo>
                  <a:cubicBezTo>
                    <a:pt x="74496" y="79936"/>
                    <a:pt x="77215" y="77216"/>
                    <a:pt x="93533" y="77216"/>
                  </a:cubicBezTo>
                  <a:cubicBezTo>
                    <a:pt x="101692" y="77216"/>
                    <a:pt x="109852" y="77216"/>
                    <a:pt x="115290" y="77216"/>
                  </a:cubicBezTo>
                  <a:cubicBezTo>
                    <a:pt x="134328" y="77216"/>
                    <a:pt x="150646" y="77216"/>
                    <a:pt x="169684" y="74496"/>
                  </a:cubicBezTo>
                  <a:cubicBezTo>
                    <a:pt x="177843" y="74496"/>
                    <a:pt x="186002" y="71776"/>
                    <a:pt x="194161" y="71776"/>
                  </a:cubicBezTo>
                  <a:cubicBezTo>
                    <a:pt x="194161" y="71776"/>
                    <a:pt x="196880" y="71776"/>
                    <a:pt x="196880" y="71776"/>
                  </a:cubicBezTo>
                  <a:cubicBezTo>
                    <a:pt x="199600" y="71776"/>
                    <a:pt x="205040" y="71776"/>
                    <a:pt x="210478" y="71776"/>
                  </a:cubicBezTo>
                  <a:cubicBezTo>
                    <a:pt x="213198" y="71776"/>
                    <a:pt x="215918" y="71776"/>
                    <a:pt x="218638" y="71776"/>
                  </a:cubicBezTo>
                  <a:cubicBezTo>
                    <a:pt x="224077" y="69057"/>
                    <a:pt x="229516" y="63618"/>
                    <a:pt x="237675" y="60898"/>
                  </a:cubicBezTo>
                  <a:cubicBezTo>
                    <a:pt x="243115" y="58178"/>
                    <a:pt x="248554" y="58178"/>
                    <a:pt x="253993" y="58178"/>
                  </a:cubicBezTo>
                  <a:cubicBezTo>
                    <a:pt x="264872" y="58178"/>
                    <a:pt x="273031" y="58178"/>
                    <a:pt x="283910" y="60898"/>
                  </a:cubicBezTo>
                  <a:cubicBezTo>
                    <a:pt x="286629" y="60898"/>
                    <a:pt x="292068" y="63618"/>
                    <a:pt x="294788" y="66337"/>
                  </a:cubicBezTo>
                  <a:cubicBezTo>
                    <a:pt x="297508" y="69057"/>
                    <a:pt x="302948" y="71776"/>
                    <a:pt x="305667" y="74496"/>
                  </a:cubicBezTo>
                  <a:cubicBezTo>
                    <a:pt x="308386" y="74496"/>
                    <a:pt x="311106" y="74496"/>
                    <a:pt x="313826" y="74496"/>
                  </a:cubicBezTo>
                  <a:cubicBezTo>
                    <a:pt x="319265" y="74496"/>
                    <a:pt x="321985" y="74496"/>
                    <a:pt x="327424" y="74496"/>
                  </a:cubicBezTo>
                  <a:cubicBezTo>
                    <a:pt x="335583" y="74496"/>
                    <a:pt x="346461" y="74496"/>
                    <a:pt x="354621" y="74496"/>
                  </a:cubicBezTo>
                  <a:cubicBezTo>
                    <a:pt x="376378" y="74496"/>
                    <a:pt x="400855" y="74496"/>
                    <a:pt x="422612" y="74496"/>
                  </a:cubicBezTo>
                  <a:cubicBezTo>
                    <a:pt x="433491" y="74496"/>
                    <a:pt x="447089" y="74496"/>
                    <a:pt x="455248" y="79936"/>
                  </a:cubicBezTo>
                  <a:cubicBezTo>
                    <a:pt x="460687" y="82655"/>
                    <a:pt x="466127" y="90814"/>
                    <a:pt x="466127" y="98973"/>
                  </a:cubicBezTo>
                  <a:cubicBezTo>
                    <a:pt x="466127" y="101693"/>
                    <a:pt x="466127" y="107132"/>
                    <a:pt x="463407" y="109852"/>
                  </a:cubicBezTo>
                  <a:cubicBezTo>
                    <a:pt x="463407" y="112571"/>
                    <a:pt x="463407" y="112571"/>
                    <a:pt x="463407" y="120730"/>
                  </a:cubicBezTo>
                  <a:cubicBezTo>
                    <a:pt x="463407" y="142488"/>
                    <a:pt x="463407" y="172404"/>
                    <a:pt x="463407" y="194161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19793674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Full PIctur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Picture Placeholder 56">
            <a:extLst>
              <a:ext uri="{FF2B5EF4-FFF2-40B4-BE49-F238E27FC236}">
                <a16:creationId xmlns:a16="http://schemas.microsoft.com/office/drawing/2014/main" id="{2410F133-604A-4AC7-8A06-35B16808E83C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3459602" y="0"/>
            <a:ext cx="8732399" cy="6858000"/>
          </a:xfrm>
          <a:custGeom>
            <a:avLst/>
            <a:gdLst>
              <a:gd name="connsiteX0" fmla="*/ 343919 w 8732399"/>
              <a:gd name="connsiteY0" fmla="*/ 0 h 6858000"/>
              <a:gd name="connsiteX1" fmla="*/ 8732399 w 8732399"/>
              <a:gd name="connsiteY1" fmla="*/ 0 h 6858000"/>
              <a:gd name="connsiteX2" fmla="*/ 8732399 w 8732399"/>
              <a:gd name="connsiteY2" fmla="*/ 6858000 h 6858000"/>
              <a:gd name="connsiteX3" fmla="*/ 0 w 8732399"/>
              <a:gd name="connsiteY3" fmla="*/ 6858000 h 6858000"/>
              <a:gd name="connsiteX4" fmla="*/ 177693 w 8732399"/>
              <a:gd name="connsiteY4" fmla="*/ 6768713 h 6858000"/>
              <a:gd name="connsiteX5" fmla="*/ 2063325 w 8732399"/>
              <a:gd name="connsiteY5" fmla="*/ 3899618 h 6858000"/>
              <a:gd name="connsiteX6" fmla="*/ 2077959 w 8732399"/>
              <a:gd name="connsiteY6" fmla="*/ 3618494 h 6858000"/>
              <a:gd name="connsiteX7" fmla="*/ 2077954 w 8732399"/>
              <a:gd name="connsiteY7" fmla="*/ 3617951 h 6858000"/>
              <a:gd name="connsiteX8" fmla="*/ 2077959 w 8732399"/>
              <a:gd name="connsiteY8" fmla="*/ 3617865 h 6858000"/>
              <a:gd name="connsiteX9" fmla="*/ 2076397 w 8732399"/>
              <a:gd name="connsiteY9" fmla="*/ 3429041 h 6858000"/>
              <a:gd name="connsiteX10" fmla="*/ 2075650 w 8732399"/>
              <a:gd name="connsiteY10" fmla="*/ 3338309 h 6858000"/>
              <a:gd name="connsiteX11" fmla="*/ 404439 w 8732399"/>
              <a:gd name="connsiteY11" fmla="*/ 39934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8732399" h="6858000">
                <a:moveTo>
                  <a:pt x="343919" y="0"/>
                </a:moveTo>
                <a:lnTo>
                  <a:pt x="8732399" y="0"/>
                </a:lnTo>
                <a:lnTo>
                  <a:pt x="8732399" y="6858000"/>
                </a:lnTo>
                <a:lnTo>
                  <a:pt x="0" y="6858000"/>
                </a:lnTo>
                <a:lnTo>
                  <a:pt x="177693" y="6768713"/>
                </a:lnTo>
                <a:cubicBezTo>
                  <a:pt x="1141742" y="6254472"/>
                  <a:pt x="1951349" y="5360222"/>
                  <a:pt x="2063325" y="3899618"/>
                </a:cubicBezTo>
                <a:cubicBezTo>
                  <a:pt x="2071055" y="3805858"/>
                  <a:pt x="2075919" y="3712098"/>
                  <a:pt x="2077959" y="3618494"/>
                </a:cubicBezTo>
                <a:lnTo>
                  <a:pt x="2077954" y="3617951"/>
                </a:lnTo>
                <a:lnTo>
                  <a:pt x="2077959" y="3617865"/>
                </a:lnTo>
                <a:lnTo>
                  <a:pt x="2076397" y="3429041"/>
                </a:lnTo>
                <a:lnTo>
                  <a:pt x="2075650" y="3338309"/>
                </a:lnTo>
                <a:cubicBezTo>
                  <a:pt x="2025731" y="2034428"/>
                  <a:pt x="1430533" y="791870"/>
                  <a:pt x="404439" y="39934"/>
                </a:cubicBezTo>
                <a:close/>
              </a:path>
            </a:pathLst>
          </a:custGeom>
          <a:solidFill>
            <a:srgbClr val="D9D9D9"/>
          </a:solidFill>
        </p:spPr>
        <p:txBody>
          <a:bodyPr wrap="square" lIns="4663440" tIns="0" anchor="ctr" anchorCtr="0">
            <a:noAutofit/>
          </a:bodyPr>
          <a:lstStyle>
            <a:lvl1pPr marL="0" indent="0" algn="l">
              <a:spcBef>
                <a:spcPts val="0"/>
              </a:spcBef>
              <a:buNone/>
              <a:defRPr sz="1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insert picture</a:t>
            </a:r>
            <a:br>
              <a:rPr lang="en-US"/>
            </a:br>
            <a:r>
              <a:rPr lang="en-US"/>
              <a:t>(minimum recommended size for </a:t>
            </a:r>
            <a:br>
              <a:rPr lang="en-US"/>
            </a:br>
            <a:r>
              <a:rPr lang="en-US"/>
              <a:t>full slide image is 1280 x 720 pixels)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3683E8B-89CE-4EF5-BBB9-62368C3820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1660503"/>
            <a:ext cx="4389120" cy="2391042"/>
          </a:xfrm>
          <a:prstGeom prst="rect">
            <a:avLst/>
          </a:prstGeom>
        </p:spPr>
        <p:txBody>
          <a:bodyPr/>
          <a:lstStyle>
            <a:lvl1pPr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F99B91ED-E0FA-43C7-8B4E-31F9017845E6}"/>
              </a:ext>
            </a:extLst>
          </p:cNvPr>
          <p:cNvGrpSpPr>
            <a:grpSpLocks noChangeAspect="1"/>
          </p:cNvGrpSpPr>
          <p:nvPr/>
        </p:nvGrpSpPr>
        <p:grpSpPr bwMode="black">
          <a:xfrm>
            <a:off x="609630" y="457200"/>
            <a:ext cx="2286000" cy="880288"/>
            <a:chOff x="2078951" y="1888610"/>
            <a:chExt cx="8030200" cy="3092248"/>
          </a:xfrm>
          <a:solidFill>
            <a:srgbClr val="FFFFFF"/>
          </a:solidFill>
        </p:grpSpPr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A9AB0108-0379-4A18-900E-6A61DF3018CE}"/>
                </a:ext>
              </a:extLst>
            </p:cNvPr>
            <p:cNvSpPr/>
            <p:nvPr/>
          </p:nvSpPr>
          <p:spPr bwMode="black">
            <a:xfrm>
              <a:off x="2078951" y="2872694"/>
              <a:ext cx="951880" cy="652717"/>
            </a:xfrm>
            <a:custGeom>
              <a:avLst/>
              <a:gdLst>
                <a:gd name="connsiteX0" fmla="*/ 903041 w 951880"/>
                <a:gd name="connsiteY0" fmla="*/ 330574 h 652717"/>
                <a:gd name="connsiteX1" fmla="*/ 780656 w 951880"/>
                <a:gd name="connsiteY1" fmla="*/ 379528 h 652717"/>
                <a:gd name="connsiteX2" fmla="*/ 598439 w 951880"/>
                <a:gd name="connsiteY2" fmla="*/ 311537 h 652717"/>
                <a:gd name="connsiteX3" fmla="*/ 505970 w 951880"/>
                <a:gd name="connsiteY3" fmla="*/ 164675 h 652717"/>
                <a:gd name="connsiteX4" fmla="*/ 266640 w 951880"/>
                <a:gd name="connsiteY4" fmla="*/ 61329 h 652717"/>
                <a:gd name="connsiteX5" fmla="*/ 103461 w 951880"/>
                <a:gd name="connsiteY5" fmla="*/ 458398 h 652717"/>
                <a:gd name="connsiteX6" fmla="*/ 756179 w 951880"/>
                <a:gd name="connsiteY6" fmla="*/ 485595 h 652717"/>
                <a:gd name="connsiteX7" fmla="*/ 903041 w 951880"/>
                <a:gd name="connsiteY7" fmla="*/ 330574 h 6527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51880" h="652717">
                  <a:moveTo>
                    <a:pt x="903041" y="330574"/>
                  </a:moveTo>
                  <a:cubicBezTo>
                    <a:pt x="867685" y="363210"/>
                    <a:pt x="813292" y="374089"/>
                    <a:pt x="780656" y="379528"/>
                  </a:cubicBezTo>
                  <a:cubicBezTo>
                    <a:pt x="712664" y="387687"/>
                    <a:pt x="641953" y="365930"/>
                    <a:pt x="598439" y="311537"/>
                  </a:cubicBezTo>
                  <a:cubicBezTo>
                    <a:pt x="563083" y="268022"/>
                    <a:pt x="544046" y="210910"/>
                    <a:pt x="505970" y="164675"/>
                  </a:cubicBezTo>
                  <a:cubicBezTo>
                    <a:pt x="448858" y="93964"/>
                    <a:pt x="359109" y="45011"/>
                    <a:pt x="266640" y="61329"/>
                  </a:cubicBezTo>
                  <a:cubicBezTo>
                    <a:pt x="81704" y="93964"/>
                    <a:pt x="114" y="308817"/>
                    <a:pt x="103461" y="458398"/>
                  </a:cubicBezTo>
                  <a:cubicBezTo>
                    <a:pt x="253042" y="670531"/>
                    <a:pt x="584840" y="635176"/>
                    <a:pt x="756179" y="485595"/>
                  </a:cubicBezTo>
                  <a:cubicBezTo>
                    <a:pt x="813292" y="442080"/>
                    <a:pt x="862246" y="390407"/>
                    <a:pt x="903041" y="330574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5F2F77B2-9024-4ACC-A728-CA3AB71F5A8E}"/>
                </a:ext>
              </a:extLst>
            </p:cNvPr>
            <p:cNvSpPr/>
            <p:nvPr/>
          </p:nvSpPr>
          <p:spPr bwMode="black">
            <a:xfrm>
              <a:off x="9151831" y="2872694"/>
              <a:ext cx="951880" cy="652717"/>
            </a:xfrm>
            <a:custGeom>
              <a:avLst/>
              <a:gdLst>
                <a:gd name="connsiteX0" fmla="*/ 58178 w 951880"/>
                <a:gd name="connsiteY0" fmla="*/ 330574 h 652717"/>
                <a:gd name="connsiteX1" fmla="*/ 180563 w 951880"/>
                <a:gd name="connsiteY1" fmla="*/ 379528 h 652717"/>
                <a:gd name="connsiteX2" fmla="*/ 362780 w 951880"/>
                <a:gd name="connsiteY2" fmla="*/ 311537 h 652717"/>
                <a:gd name="connsiteX3" fmla="*/ 455249 w 951880"/>
                <a:gd name="connsiteY3" fmla="*/ 164675 h 652717"/>
                <a:gd name="connsiteX4" fmla="*/ 694578 w 951880"/>
                <a:gd name="connsiteY4" fmla="*/ 61329 h 652717"/>
                <a:gd name="connsiteX5" fmla="*/ 857758 w 951880"/>
                <a:gd name="connsiteY5" fmla="*/ 458398 h 652717"/>
                <a:gd name="connsiteX6" fmla="*/ 205040 w 951880"/>
                <a:gd name="connsiteY6" fmla="*/ 485595 h 652717"/>
                <a:gd name="connsiteX7" fmla="*/ 58178 w 951880"/>
                <a:gd name="connsiteY7" fmla="*/ 330574 h 6527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51880" h="652717">
                  <a:moveTo>
                    <a:pt x="58178" y="330574"/>
                  </a:moveTo>
                  <a:cubicBezTo>
                    <a:pt x="96253" y="363210"/>
                    <a:pt x="147927" y="374089"/>
                    <a:pt x="180563" y="379528"/>
                  </a:cubicBezTo>
                  <a:cubicBezTo>
                    <a:pt x="248554" y="387687"/>
                    <a:pt x="319266" y="365930"/>
                    <a:pt x="362780" y="311537"/>
                  </a:cubicBezTo>
                  <a:cubicBezTo>
                    <a:pt x="398136" y="268022"/>
                    <a:pt x="417174" y="210910"/>
                    <a:pt x="455249" y="164675"/>
                  </a:cubicBezTo>
                  <a:cubicBezTo>
                    <a:pt x="512362" y="93964"/>
                    <a:pt x="602110" y="45011"/>
                    <a:pt x="694578" y="61329"/>
                  </a:cubicBezTo>
                  <a:cubicBezTo>
                    <a:pt x="879515" y="93964"/>
                    <a:pt x="961105" y="308817"/>
                    <a:pt x="857758" y="458398"/>
                  </a:cubicBezTo>
                  <a:cubicBezTo>
                    <a:pt x="708176" y="670531"/>
                    <a:pt x="376379" y="635176"/>
                    <a:pt x="205040" y="485595"/>
                  </a:cubicBezTo>
                  <a:cubicBezTo>
                    <a:pt x="150646" y="442080"/>
                    <a:pt x="101693" y="390407"/>
                    <a:pt x="58178" y="330574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40BB7A39-4E40-4061-A76F-7B79D98B54EE}"/>
                </a:ext>
              </a:extLst>
            </p:cNvPr>
            <p:cNvSpPr/>
            <p:nvPr/>
          </p:nvSpPr>
          <p:spPr bwMode="black">
            <a:xfrm>
              <a:off x="8001294" y="2010994"/>
              <a:ext cx="734308" cy="299162"/>
            </a:xfrm>
            <a:custGeom>
              <a:avLst/>
              <a:gdLst>
                <a:gd name="connsiteX0" fmla="*/ 596792 w 734307"/>
                <a:gd name="connsiteY0" fmla="*/ 58178 h 299162"/>
                <a:gd name="connsiteX1" fmla="*/ 148048 w 734307"/>
                <a:gd name="connsiteY1" fmla="*/ 58178 h 299162"/>
                <a:gd name="connsiteX2" fmla="*/ 58299 w 734307"/>
                <a:gd name="connsiteY2" fmla="*/ 150646 h 299162"/>
                <a:gd name="connsiteX3" fmla="*/ 148048 w 734307"/>
                <a:gd name="connsiteY3" fmla="*/ 251274 h 299162"/>
                <a:gd name="connsiteX4" fmla="*/ 596792 w 734307"/>
                <a:gd name="connsiteY4" fmla="*/ 251274 h 299162"/>
                <a:gd name="connsiteX5" fmla="*/ 686541 w 734307"/>
                <a:gd name="connsiteY5" fmla="*/ 158805 h 299162"/>
                <a:gd name="connsiteX6" fmla="*/ 596792 w 734307"/>
                <a:gd name="connsiteY6" fmla="*/ 58178 h 2991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34307" h="299162">
                  <a:moveTo>
                    <a:pt x="596792" y="58178"/>
                  </a:moveTo>
                  <a:cubicBezTo>
                    <a:pt x="591353" y="58178"/>
                    <a:pt x="153487" y="58178"/>
                    <a:pt x="148048" y="58178"/>
                  </a:cubicBezTo>
                  <a:cubicBezTo>
                    <a:pt x="99094" y="60898"/>
                    <a:pt x="61019" y="104412"/>
                    <a:pt x="58299" y="150646"/>
                  </a:cubicBezTo>
                  <a:cubicBezTo>
                    <a:pt x="55580" y="199600"/>
                    <a:pt x="99094" y="248554"/>
                    <a:pt x="148048" y="251274"/>
                  </a:cubicBezTo>
                  <a:cubicBezTo>
                    <a:pt x="153487" y="251274"/>
                    <a:pt x="591353" y="251274"/>
                    <a:pt x="596792" y="251274"/>
                  </a:cubicBezTo>
                  <a:cubicBezTo>
                    <a:pt x="645746" y="248554"/>
                    <a:pt x="683821" y="205040"/>
                    <a:pt x="686541" y="158805"/>
                  </a:cubicBezTo>
                  <a:cubicBezTo>
                    <a:pt x="689260" y="109852"/>
                    <a:pt x="648465" y="60898"/>
                    <a:pt x="596792" y="58178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45441B9D-EA57-4F40-8DCE-CBEF348C3A0F}"/>
                </a:ext>
              </a:extLst>
            </p:cNvPr>
            <p:cNvSpPr/>
            <p:nvPr/>
          </p:nvSpPr>
          <p:spPr bwMode="black">
            <a:xfrm>
              <a:off x="4920042" y="2277520"/>
              <a:ext cx="1006274" cy="951879"/>
            </a:xfrm>
            <a:custGeom>
              <a:avLst/>
              <a:gdLst>
                <a:gd name="connsiteX0" fmla="*/ 884954 w 1006273"/>
                <a:gd name="connsiteY0" fmla="*/ 746251 h 951879"/>
                <a:gd name="connsiteX1" fmla="*/ 874076 w 1006273"/>
                <a:gd name="connsiteY1" fmla="*/ 670101 h 951879"/>
                <a:gd name="connsiteX2" fmla="*/ 874076 w 1006273"/>
                <a:gd name="connsiteY2" fmla="*/ 536837 h 951879"/>
                <a:gd name="connsiteX3" fmla="*/ 689139 w 1006273"/>
                <a:gd name="connsiteY3" fmla="*/ 88094 h 951879"/>
                <a:gd name="connsiteX4" fmla="*/ 428052 w 1006273"/>
                <a:gd name="connsiteY4" fmla="*/ 253993 h 951879"/>
                <a:gd name="connsiteX5" fmla="*/ 196881 w 1006273"/>
                <a:gd name="connsiteY5" fmla="*/ 58178 h 951879"/>
                <a:gd name="connsiteX6" fmla="*/ 58178 w 1006273"/>
                <a:gd name="connsiteY6" fmla="*/ 128889 h 951879"/>
                <a:gd name="connsiteX7" fmla="*/ 142488 w 1006273"/>
                <a:gd name="connsiteY7" fmla="*/ 273031 h 951879"/>
                <a:gd name="connsiteX8" fmla="*/ 142488 w 1006273"/>
                <a:gd name="connsiteY8" fmla="*/ 757130 h 951879"/>
                <a:gd name="connsiteX9" fmla="*/ 283910 w 1006273"/>
                <a:gd name="connsiteY9" fmla="*/ 895832 h 951879"/>
                <a:gd name="connsiteX10" fmla="*/ 428052 w 1006273"/>
                <a:gd name="connsiteY10" fmla="*/ 757130 h 951879"/>
                <a:gd name="connsiteX11" fmla="*/ 428052 w 1006273"/>
                <a:gd name="connsiteY11" fmla="*/ 400855 h 951879"/>
                <a:gd name="connsiteX12" fmla="*/ 523240 w 1006273"/>
                <a:gd name="connsiteY12" fmla="*/ 283910 h 951879"/>
                <a:gd name="connsiteX13" fmla="*/ 591231 w 1006273"/>
                <a:gd name="connsiteY13" fmla="*/ 354621 h 951879"/>
                <a:gd name="connsiteX14" fmla="*/ 591231 w 1006273"/>
                <a:gd name="connsiteY14" fmla="*/ 697297 h 951879"/>
                <a:gd name="connsiteX15" fmla="*/ 593951 w 1006273"/>
                <a:gd name="connsiteY15" fmla="*/ 729933 h 951879"/>
                <a:gd name="connsiteX16" fmla="*/ 610269 w 1006273"/>
                <a:gd name="connsiteY16" fmla="*/ 778887 h 951879"/>
                <a:gd name="connsiteX17" fmla="*/ 822402 w 1006273"/>
                <a:gd name="connsiteY17" fmla="*/ 893112 h 951879"/>
                <a:gd name="connsiteX18" fmla="*/ 961105 w 1006273"/>
                <a:gd name="connsiteY18" fmla="*/ 822401 h 951879"/>
                <a:gd name="connsiteX19" fmla="*/ 884954 w 1006273"/>
                <a:gd name="connsiteY19" fmla="*/ 746251 h 9518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006273" h="951879">
                  <a:moveTo>
                    <a:pt x="884954" y="746251"/>
                  </a:moveTo>
                  <a:cubicBezTo>
                    <a:pt x="879515" y="721774"/>
                    <a:pt x="876795" y="694578"/>
                    <a:pt x="874076" y="670101"/>
                  </a:cubicBezTo>
                  <a:cubicBezTo>
                    <a:pt x="874076" y="634745"/>
                    <a:pt x="874076" y="583072"/>
                    <a:pt x="874076" y="536837"/>
                  </a:cubicBezTo>
                  <a:cubicBezTo>
                    <a:pt x="879515" y="373658"/>
                    <a:pt x="909431" y="88094"/>
                    <a:pt x="689139" y="88094"/>
                  </a:cubicBezTo>
                  <a:cubicBezTo>
                    <a:pt x="539558" y="88094"/>
                    <a:pt x="452529" y="213199"/>
                    <a:pt x="428052" y="253993"/>
                  </a:cubicBezTo>
                  <a:cubicBezTo>
                    <a:pt x="425332" y="139768"/>
                    <a:pt x="335583" y="58178"/>
                    <a:pt x="196881" y="58178"/>
                  </a:cubicBezTo>
                  <a:cubicBezTo>
                    <a:pt x="109852" y="58178"/>
                    <a:pt x="58178" y="128889"/>
                    <a:pt x="58178" y="128889"/>
                  </a:cubicBezTo>
                  <a:cubicBezTo>
                    <a:pt x="58178" y="128889"/>
                    <a:pt x="142488" y="158805"/>
                    <a:pt x="142488" y="273031"/>
                  </a:cubicBezTo>
                  <a:cubicBezTo>
                    <a:pt x="142488" y="354621"/>
                    <a:pt x="142488" y="757130"/>
                    <a:pt x="142488" y="757130"/>
                  </a:cubicBezTo>
                  <a:cubicBezTo>
                    <a:pt x="145207" y="827841"/>
                    <a:pt x="194161" y="895832"/>
                    <a:pt x="283910" y="895832"/>
                  </a:cubicBezTo>
                  <a:cubicBezTo>
                    <a:pt x="373659" y="895832"/>
                    <a:pt x="428052" y="827841"/>
                    <a:pt x="428052" y="757130"/>
                  </a:cubicBezTo>
                  <a:lnTo>
                    <a:pt x="428052" y="400855"/>
                  </a:lnTo>
                  <a:cubicBezTo>
                    <a:pt x="441650" y="343742"/>
                    <a:pt x="474286" y="283910"/>
                    <a:pt x="523240" y="283910"/>
                  </a:cubicBezTo>
                  <a:cubicBezTo>
                    <a:pt x="585792" y="283910"/>
                    <a:pt x="591231" y="354621"/>
                    <a:pt x="591231" y="354621"/>
                  </a:cubicBezTo>
                  <a:lnTo>
                    <a:pt x="591231" y="697297"/>
                  </a:lnTo>
                  <a:cubicBezTo>
                    <a:pt x="591231" y="708176"/>
                    <a:pt x="593951" y="719054"/>
                    <a:pt x="593951" y="729933"/>
                  </a:cubicBezTo>
                  <a:cubicBezTo>
                    <a:pt x="596671" y="748971"/>
                    <a:pt x="602110" y="765289"/>
                    <a:pt x="610269" y="778887"/>
                  </a:cubicBezTo>
                  <a:cubicBezTo>
                    <a:pt x="645624" y="846878"/>
                    <a:pt x="719055" y="893112"/>
                    <a:pt x="822402" y="893112"/>
                  </a:cubicBezTo>
                  <a:cubicBezTo>
                    <a:pt x="909431" y="893112"/>
                    <a:pt x="961105" y="822401"/>
                    <a:pt x="961105" y="822401"/>
                  </a:cubicBezTo>
                  <a:cubicBezTo>
                    <a:pt x="961105" y="822401"/>
                    <a:pt x="909431" y="808803"/>
                    <a:pt x="884954" y="746251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9AE4E4D0-FF92-495C-9CD5-354ED8923672}"/>
                </a:ext>
              </a:extLst>
            </p:cNvPr>
            <p:cNvSpPr/>
            <p:nvPr/>
          </p:nvSpPr>
          <p:spPr bwMode="black">
            <a:xfrm>
              <a:off x="7552331" y="1888610"/>
              <a:ext cx="489539" cy="1332631"/>
            </a:xfrm>
            <a:custGeom>
              <a:avLst/>
              <a:gdLst>
                <a:gd name="connsiteX0" fmla="*/ 368560 w 489538"/>
                <a:gd name="connsiteY0" fmla="*/ 1135162 h 1332630"/>
                <a:gd name="connsiteX1" fmla="*/ 357681 w 489538"/>
                <a:gd name="connsiteY1" fmla="*/ 1059011 h 1332630"/>
                <a:gd name="connsiteX2" fmla="*/ 357681 w 489538"/>
                <a:gd name="connsiteY2" fmla="*/ 207759 h 1332630"/>
                <a:gd name="connsiteX3" fmla="*/ 208099 w 489538"/>
                <a:gd name="connsiteY3" fmla="*/ 58178 h 1332630"/>
                <a:gd name="connsiteX4" fmla="*/ 58518 w 489538"/>
                <a:gd name="connsiteY4" fmla="*/ 207759 h 1332630"/>
                <a:gd name="connsiteX5" fmla="*/ 58518 w 489538"/>
                <a:gd name="connsiteY5" fmla="*/ 961104 h 1332630"/>
                <a:gd name="connsiteX6" fmla="*/ 85715 w 489538"/>
                <a:gd name="connsiteY6" fmla="*/ 1159639 h 1332630"/>
                <a:gd name="connsiteX7" fmla="*/ 306007 w 489538"/>
                <a:gd name="connsiteY7" fmla="*/ 1282023 h 1332630"/>
                <a:gd name="connsiteX8" fmla="*/ 444710 w 489538"/>
                <a:gd name="connsiteY8" fmla="*/ 1211312 h 1332630"/>
                <a:gd name="connsiteX9" fmla="*/ 368560 w 489538"/>
                <a:gd name="connsiteY9" fmla="*/ 1135162 h 13326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89538" h="1332630">
                  <a:moveTo>
                    <a:pt x="368560" y="1135162"/>
                  </a:moveTo>
                  <a:cubicBezTo>
                    <a:pt x="363120" y="1110685"/>
                    <a:pt x="357681" y="1083488"/>
                    <a:pt x="357681" y="1059011"/>
                  </a:cubicBezTo>
                  <a:lnTo>
                    <a:pt x="357681" y="207759"/>
                  </a:lnTo>
                  <a:cubicBezTo>
                    <a:pt x="357681" y="126170"/>
                    <a:pt x="289689" y="58178"/>
                    <a:pt x="208099" y="58178"/>
                  </a:cubicBezTo>
                  <a:cubicBezTo>
                    <a:pt x="126510" y="58178"/>
                    <a:pt x="58518" y="126170"/>
                    <a:pt x="58518" y="207759"/>
                  </a:cubicBezTo>
                  <a:lnTo>
                    <a:pt x="58518" y="961104"/>
                  </a:lnTo>
                  <a:cubicBezTo>
                    <a:pt x="58518" y="1029095"/>
                    <a:pt x="53079" y="1097086"/>
                    <a:pt x="85715" y="1159639"/>
                  </a:cubicBezTo>
                  <a:cubicBezTo>
                    <a:pt x="118351" y="1227630"/>
                    <a:pt x="202660" y="1282023"/>
                    <a:pt x="306007" y="1282023"/>
                  </a:cubicBezTo>
                  <a:cubicBezTo>
                    <a:pt x="393036" y="1282023"/>
                    <a:pt x="444710" y="1211312"/>
                    <a:pt x="444710" y="1211312"/>
                  </a:cubicBezTo>
                  <a:cubicBezTo>
                    <a:pt x="444710" y="1211312"/>
                    <a:pt x="393036" y="1197714"/>
                    <a:pt x="368560" y="1135162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5D4AF130-6E23-4412-BC70-EE04DCC1545D}"/>
                </a:ext>
              </a:extLst>
            </p:cNvPr>
            <p:cNvSpPr/>
            <p:nvPr/>
          </p:nvSpPr>
          <p:spPr bwMode="black">
            <a:xfrm>
              <a:off x="4162324" y="2357456"/>
              <a:ext cx="815899" cy="815898"/>
            </a:xfrm>
            <a:custGeom>
              <a:avLst/>
              <a:gdLst>
                <a:gd name="connsiteX0" fmla="*/ 407949 w 815899"/>
                <a:gd name="connsiteY0" fmla="*/ 174058 h 815898"/>
                <a:gd name="connsiteX1" fmla="*/ 293723 w 815899"/>
                <a:gd name="connsiteY1" fmla="*/ 407950 h 815898"/>
                <a:gd name="connsiteX2" fmla="*/ 410669 w 815899"/>
                <a:gd name="connsiteY2" fmla="*/ 641840 h 815898"/>
                <a:gd name="connsiteX3" fmla="*/ 522175 w 815899"/>
                <a:gd name="connsiteY3" fmla="*/ 407950 h 815898"/>
                <a:gd name="connsiteX4" fmla="*/ 407949 w 815899"/>
                <a:gd name="connsiteY4" fmla="*/ 174058 h 815898"/>
                <a:gd name="connsiteX5" fmla="*/ 407950 w 815899"/>
                <a:gd name="connsiteY5" fmla="*/ 0 h 815898"/>
                <a:gd name="connsiteX6" fmla="*/ 815899 w 815899"/>
                <a:gd name="connsiteY6" fmla="*/ 407949 h 815898"/>
                <a:gd name="connsiteX7" fmla="*/ 407950 w 815899"/>
                <a:gd name="connsiteY7" fmla="*/ 815898 h 815898"/>
                <a:gd name="connsiteX8" fmla="*/ 0 w 815899"/>
                <a:gd name="connsiteY8" fmla="*/ 407949 h 815898"/>
                <a:gd name="connsiteX9" fmla="*/ 407950 w 815899"/>
                <a:gd name="connsiteY9" fmla="*/ 0 h 815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15899" h="815898">
                  <a:moveTo>
                    <a:pt x="407949" y="174058"/>
                  </a:moveTo>
                  <a:cubicBezTo>
                    <a:pt x="342677" y="174058"/>
                    <a:pt x="293723" y="263807"/>
                    <a:pt x="293723" y="407950"/>
                  </a:cubicBezTo>
                  <a:cubicBezTo>
                    <a:pt x="293723" y="552091"/>
                    <a:pt x="331799" y="639120"/>
                    <a:pt x="410669" y="641840"/>
                  </a:cubicBezTo>
                  <a:cubicBezTo>
                    <a:pt x="489539" y="641840"/>
                    <a:pt x="527614" y="552091"/>
                    <a:pt x="522175" y="407950"/>
                  </a:cubicBezTo>
                  <a:cubicBezTo>
                    <a:pt x="522175" y="263807"/>
                    <a:pt x="473221" y="176778"/>
                    <a:pt x="407949" y="174058"/>
                  </a:cubicBezTo>
                  <a:close/>
                  <a:moveTo>
                    <a:pt x="407950" y="0"/>
                  </a:moveTo>
                  <a:cubicBezTo>
                    <a:pt x="633682" y="0"/>
                    <a:pt x="815899" y="182217"/>
                    <a:pt x="815899" y="407949"/>
                  </a:cubicBezTo>
                  <a:cubicBezTo>
                    <a:pt x="815899" y="633681"/>
                    <a:pt x="633682" y="815898"/>
                    <a:pt x="407950" y="815898"/>
                  </a:cubicBezTo>
                  <a:cubicBezTo>
                    <a:pt x="182218" y="815898"/>
                    <a:pt x="0" y="633681"/>
                    <a:pt x="0" y="407949"/>
                  </a:cubicBezTo>
                  <a:cubicBezTo>
                    <a:pt x="0" y="182217"/>
                    <a:pt x="182218" y="0"/>
                    <a:pt x="407950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C2ABE821-58B4-49BB-A652-52A61F3BD10D}"/>
                </a:ext>
              </a:extLst>
            </p:cNvPr>
            <p:cNvSpPr/>
            <p:nvPr/>
          </p:nvSpPr>
          <p:spPr bwMode="black">
            <a:xfrm>
              <a:off x="5884871" y="1946788"/>
              <a:ext cx="912802" cy="1223846"/>
            </a:xfrm>
            <a:custGeom>
              <a:avLst/>
              <a:gdLst>
                <a:gd name="connsiteX0" fmla="*/ 387907 w 912802"/>
                <a:gd name="connsiteY0" fmla="*/ 620081 h 1223846"/>
                <a:gd name="connsiteX1" fmla="*/ 273681 w 912802"/>
                <a:gd name="connsiteY1" fmla="*/ 824055 h 1223846"/>
                <a:gd name="connsiteX2" fmla="*/ 390627 w 912802"/>
                <a:gd name="connsiteY2" fmla="*/ 1028029 h 1223846"/>
                <a:gd name="connsiteX3" fmla="*/ 502132 w 912802"/>
                <a:gd name="connsiteY3" fmla="*/ 824055 h 1223846"/>
                <a:gd name="connsiteX4" fmla="*/ 387907 w 912802"/>
                <a:gd name="connsiteY4" fmla="*/ 620081 h 1223846"/>
                <a:gd name="connsiteX5" fmla="*/ 676192 w 912802"/>
                <a:gd name="connsiteY5" fmla="*/ 0 h 1223846"/>
                <a:gd name="connsiteX6" fmla="*/ 825773 w 912802"/>
                <a:gd name="connsiteY6" fmla="*/ 149581 h 1223846"/>
                <a:gd name="connsiteX7" fmla="*/ 825773 w 912802"/>
                <a:gd name="connsiteY7" fmla="*/ 1000834 h 1223846"/>
                <a:gd name="connsiteX8" fmla="*/ 836651 w 912802"/>
                <a:gd name="connsiteY8" fmla="*/ 1076985 h 1223846"/>
                <a:gd name="connsiteX9" fmla="*/ 912802 w 912802"/>
                <a:gd name="connsiteY9" fmla="*/ 1150415 h 1223846"/>
                <a:gd name="connsiteX10" fmla="*/ 774099 w 912802"/>
                <a:gd name="connsiteY10" fmla="*/ 1221126 h 1223846"/>
                <a:gd name="connsiteX11" fmla="*/ 553807 w 912802"/>
                <a:gd name="connsiteY11" fmla="*/ 1098742 h 1223846"/>
                <a:gd name="connsiteX12" fmla="*/ 548367 w 912802"/>
                <a:gd name="connsiteY12" fmla="*/ 1085144 h 1223846"/>
                <a:gd name="connsiteX13" fmla="*/ 398786 w 912802"/>
                <a:gd name="connsiteY13" fmla="*/ 1212967 h 1223846"/>
                <a:gd name="connsiteX14" fmla="*/ 156736 w 912802"/>
                <a:gd name="connsiteY14" fmla="*/ 1180332 h 1223846"/>
                <a:gd name="connsiteX15" fmla="*/ 287280 w 912802"/>
                <a:gd name="connsiteY15" fmla="*/ 416107 h 1223846"/>
                <a:gd name="connsiteX16" fmla="*/ 526611 w 912802"/>
                <a:gd name="connsiteY16" fmla="*/ 552091 h 1223846"/>
                <a:gd name="connsiteX17" fmla="*/ 526611 w 912802"/>
                <a:gd name="connsiteY17" fmla="*/ 149581 h 1223846"/>
                <a:gd name="connsiteX18" fmla="*/ 676192 w 912802"/>
                <a:gd name="connsiteY18" fmla="*/ 0 h 1223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912802" h="1223846">
                  <a:moveTo>
                    <a:pt x="387907" y="620081"/>
                  </a:moveTo>
                  <a:cubicBezTo>
                    <a:pt x="322635" y="620081"/>
                    <a:pt x="273681" y="698951"/>
                    <a:pt x="273681" y="824055"/>
                  </a:cubicBezTo>
                  <a:cubicBezTo>
                    <a:pt x="273681" y="949160"/>
                    <a:pt x="311756" y="1028029"/>
                    <a:pt x="390627" y="1028029"/>
                  </a:cubicBezTo>
                  <a:cubicBezTo>
                    <a:pt x="466777" y="1025310"/>
                    <a:pt x="504852" y="949160"/>
                    <a:pt x="502132" y="824055"/>
                  </a:cubicBezTo>
                  <a:cubicBezTo>
                    <a:pt x="502132" y="698951"/>
                    <a:pt x="455898" y="622801"/>
                    <a:pt x="387907" y="620081"/>
                  </a:cubicBezTo>
                  <a:close/>
                  <a:moveTo>
                    <a:pt x="676192" y="0"/>
                  </a:moveTo>
                  <a:cubicBezTo>
                    <a:pt x="757781" y="0"/>
                    <a:pt x="825773" y="67992"/>
                    <a:pt x="825773" y="149581"/>
                  </a:cubicBezTo>
                  <a:lnTo>
                    <a:pt x="825773" y="1000834"/>
                  </a:lnTo>
                  <a:cubicBezTo>
                    <a:pt x="828492" y="1025311"/>
                    <a:pt x="831212" y="1052508"/>
                    <a:pt x="836651" y="1076985"/>
                  </a:cubicBezTo>
                  <a:cubicBezTo>
                    <a:pt x="861128" y="1139537"/>
                    <a:pt x="912802" y="1150415"/>
                    <a:pt x="912802" y="1150415"/>
                  </a:cubicBezTo>
                  <a:cubicBezTo>
                    <a:pt x="912802" y="1150415"/>
                    <a:pt x="861128" y="1221126"/>
                    <a:pt x="774099" y="1221126"/>
                  </a:cubicBezTo>
                  <a:cubicBezTo>
                    <a:pt x="670752" y="1221126"/>
                    <a:pt x="589162" y="1166733"/>
                    <a:pt x="553807" y="1098742"/>
                  </a:cubicBezTo>
                  <a:cubicBezTo>
                    <a:pt x="551087" y="1093303"/>
                    <a:pt x="551087" y="1090583"/>
                    <a:pt x="548367" y="1085144"/>
                  </a:cubicBezTo>
                  <a:cubicBezTo>
                    <a:pt x="534769" y="1147696"/>
                    <a:pt x="450460" y="1199369"/>
                    <a:pt x="398786" y="1212967"/>
                  </a:cubicBezTo>
                  <a:cubicBezTo>
                    <a:pt x="322636" y="1234725"/>
                    <a:pt x="222008" y="1223846"/>
                    <a:pt x="156736" y="1180332"/>
                  </a:cubicBezTo>
                  <a:cubicBezTo>
                    <a:pt x="-79874" y="1028031"/>
                    <a:pt x="-58117" y="416107"/>
                    <a:pt x="287280" y="416107"/>
                  </a:cubicBezTo>
                  <a:cubicBezTo>
                    <a:pt x="412385" y="416107"/>
                    <a:pt x="491255" y="503137"/>
                    <a:pt x="526611" y="552091"/>
                  </a:cubicBezTo>
                  <a:lnTo>
                    <a:pt x="526611" y="149581"/>
                  </a:lnTo>
                  <a:cubicBezTo>
                    <a:pt x="526611" y="67992"/>
                    <a:pt x="594602" y="0"/>
                    <a:pt x="676192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10D66007-2868-471F-B969-3FB8E82DCC4E}"/>
                </a:ext>
              </a:extLst>
            </p:cNvPr>
            <p:cNvSpPr/>
            <p:nvPr/>
          </p:nvSpPr>
          <p:spPr bwMode="black">
            <a:xfrm>
              <a:off x="6789513" y="2362895"/>
              <a:ext cx="747906" cy="810458"/>
            </a:xfrm>
            <a:custGeom>
              <a:avLst/>
              <a:gdLst>
                <a:gd name="connsiteX0" fmla="*/ 394818 w 747906"/>
                <a:gd name="connsiteY0" fmla="*/ 163222 h 810458"/>
                <a:gd name="connsiteX1" fmla="*/ 356275 w 747906"/>
                <a:gd name="connsiteY1" fmla="*/ 174058 h 810458"/>
                <a:gd name="connsiteX2" fmla="*/ 274685 w 747906"/>
                <a:gd name="connsiteY2" fmla="*/ 356275 h 810458"/>
                <a:gd name="connsiteX3" fmla="*/ 375313 w 747906"/>
                <a:gd name="connsiteY3" fmla="*/ 358994 h 810458"/>
                <a:gd name="connsiteX4" fmla="*/ 473220 w 747906"/>
                <a:gd name="connsiteY4" fmla="*/ 239329 h 810458"/>
                <a:gd name="connsiteX5" fmla="*/ 394818 w 747906"/>
                <a:gd name="connsiteY5" fmla="*/ 163222 h 810458"/>
                <a:gd name="connsiteX6" fmla="*/ 386192 w 747906"/>
                <a:gd name="connsiteY6" fmla="*/ 0 h 810458"/>
                <a:gd name="connsiteX7" fmla="*/ 747906 w 747906"/>
                <a:gd name="connsiteY7" fmla="*/ 266526 h 810458"/>
                <a:gd name="connsiteX8" fmla="*/ 291004 w 747906"/>
                <a:gd name="connsiteY8" fmla="*/ 484100 h 810458"/>
                <a:gd name="connsiteX9" fmla="*/ 497698 w 747906"/>
                <a:gd name="connsiteY9" fmla="*/ 617363 h 810458"/>
                <a:gd name="connsiteX10" fmla="*/ 712551 w 747906"/>
                <a:gd name="connsiteY10" fmla="*/ 557530 h 810458"/>
                <a:gd name="connsiteX11" fmla="*/ 388912 w 747906"/>
                <a:gd name="connsiteY11" fmla="*/ 810458 h 810458"/>
                <a:gd name="connsiteX12" fmla="*/ 0 w 747906"/>
                <a:gd name="connsiteY12" fmla="*/ 413389 h 810458"/>
                <a:gd name="connsiteX13" fmla="*/ 386192 w 747906"/>
                <a:gd name="connsiteY13" fmla="*/ 0 h 8104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747906" h="810458">
                  <a:moveTo>
                    <a:pt x="394818" y="163222"/>
                  </a:moveTo>
                  <a:cubicBezTo>
                    <a:pt x="381772" y="163179"/>
                    <a:pt x="368514" y="166579"/>
                    <a:pt x="356275" y="174058"/>
                  </a:cubicBezTo>
                  <a:cubicBezTo>
                    <a:pt x="299162" y="212133"/>
                    <a:pt x="282844" y="291003"/>
                    <a:pt x="274685" y="356275"/>
                  </a:cubicBezTo>
                  <a:cubicBezTo>
                    <a:pt x="274685" y="364434"/>
                    <a:pt x="369873" y="358994"/>
                    <a:pt x="375313" y="358994"/>
                  </a:cubicBezTo>
                  <a:cubicBezTo>
                    <a:pt x="432425" y="345396"/>
                    <a:pt x="473220" y="301881"/>
                    <a:pt x="473220" y="239329"/>
                  </a:cubicBezTo>
                  <a:cubicBezTo>
                    <a:pt x="471181" y="194455"/>
                    <a:pt x="433956" y="163349"/>
                    <a:pt x="394818" y="163222"/>
                  </a:cubicBezTo>
                  <a:close/>
                  <a:moveTo>
                    <a:pt x="386192" y="0"/>
                  </a:moveTo>
                  <a:cubicBezTo>
                    <a:pt x="519455" y="0"/>
                    <a:pt x="747906" y="65272"/>
                    <a:pt x="747906" y="266526"/>
                  </a:cubicBezTo>
                  <a:cubicBezTo>
                    <a:pt x="747906" y="467782"/>
                    <a:pt x="538493" y="484100"/>
                    <a:pt x="291004" y="484100"/>
                  </a:cubicBezTo>
                  <a:cubicBezTo>
                    <a:pt x="291004" y="484100"/>
                    <a:pt x="326359" y="617363"/>
                    <a:pt x="497698" y="617363"/>
                  </a:cubicBezTo>
                  <a:cubicBezTo>
                    <a:pt x="669036" y="617363"/>
                    <a:pt x="712551" y="557530"/>
                    <a:pt x="712551" y="557530"/>
                  </a:cubicBezTo>
                  <a:cubicBezTo>
                    <a:pt x="712551" y="557530"/>
                    <a:pt x="696233" y="810458"/>
                    <a:pt x="388912" y="810458"/>
                  </a:cubicBezTo>
                  <a:cubicBezTo>
                    <a:pt x="212134" y="810458"/>
                    <a:pt x="0" y="677195"/>
                    <a:pt x="0" y="413389"/>
                  </a:cubicBezTo>
                  <a:cubicBezTo>
                    <a:pt x="0" y="176778"/>
                    <a:pt x="163180" y="0"/>
                    <a:pt x="386192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36270846-6F4C-40AA-99D4-EF9934A7E399}"/>
                </a:ext>
              </a:extLst>
            </p:cNvPr>
            <p:cNvSpPr/>
            <p:nvPr/>
          </p:nvSpPr>
          <p:spPr bwMode="black">
            <a:xfrm>
              <a:off x="7988882" y="2362895"/>
              <a:ext cx="747906" cy="810458"/>
            </a:xfrm>
            <a:custGeom>
              <a:avLst/>
              <a:gdLst>
                <a:gd name="connsiteX0" fmla="*/ 394818 w 747906"/>
                <a:gd name="connsiteY0" fmla="*/ 163222 h 810458"/>
                <a:gd name="connsiteX1" fmla="*/ 356275 w 747906"/>
                <a:gd name="connsiteY1" fmla="*/ 174058 h 810458"/>
                <a:gd name="connsiteX2" fmla="*/ 274685 w 747906"/>
                <a:gd name="connsiteY2" fmla="*/ 356275 h 810458"/>
                <a:gd name="connsiteX3" fmla="*/ 375313 w 747906"/>
                <a:gd name="connsiteY3" fmla="*/ 358994 h 810458"/>
                <a:gd name="connsiteX4" fmla="*/ 473220 w 747906"/>
                <a:gd name="connsiteY4" fmla="*/ 239329 h 810458"/>
                <a:gd name="connsiteX5" fmla="*/ 394818 w 747906"/>
                <a:gd name="connsiteY5" fmla="*/ 163222 h 810458"/>
                <a:gd name="connsiteX6" fmla="*/ 386192 w 747906"/>
                <a:gd name="connsiteY6" fmla="*/ 0 h 810458"/>
                <a:gd name="connsiteX7" fmla="*/ 747906 w 747906"/>
                <a:gd name="connsiteY7" fmla="*/ 266526 h 810458"/>
                <a:gd name="connsiteX8" fmla="*/ 291004 w 747906"/>
                <a:gd name="connsiteY8" fmla="*/ 484100 h 810458"/>
                <a:gd name="connsiteX9" fmla="*/ 497697 w 747906"/>
                <a:gd name="connsiteY9" fmla="*/ 617363 h 810458"/>
                <a:gd name="connsiteX10" fmla="*/ 712551 w 747906"/>
                <a:gd name="connsiteY10" fmla="*/ 557530 h 810458"/>
                <a:gd name="connsiteX11" fmla="*/ 388911 w 747906"/>
                <a:gd name="connsiteY11" fmla="*/ 810458 h 810458"/>
                <a:gd name="connsiteX12" fmla="*/ 0 w 747906"/>
                <a:gd name="connsiteY12" fmla="*/ 413389 h 810458"/>
                <a:gd name="connsiteX13" fmla="*/ 386192 w 747906"/>
                <a:gd name="connsiteY13" fmla="*/ 0 h 8104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747906" h="810458">
                  <a:moveTo>
                    <a:pt x="394818" y="163222"/>
                  </a:moveTo>
                  <a:cubicBezTo>
                    <a:pt x="381772" y="163179"/>
                    <a:pt x="368514" y="166579"/>
                    <a:pt x="356275" y="174058"/>
                  </a:cubicBezTo>
                  <a:cubicBezTo>
                    <a:pt x="299162" y="212133"/>
                    <a:pt x="282844" y="291003"/>
                    <a:pt x="274685" y="356275"/>
                  </a:cubicBezTo>
                  <a:cubicBezTo>
                    <a:pt x="274685" y="364434"/>
                    <a:pt x="369873" y="358994"/>
                    <a:pt x="375313" y="358994"/>
                  </a:cubicBezTo>
                  <a:cubicBezTo>
                    <a:pt x="432426" y="345396"/>
                    <a:pt x="473220" y="301881"/>
                    <a:pt x="473220" y="239329"/>
                  </a:cubicBezTo>
                  <a:cubicBezTo>
                    <a:pt x="471181" y="194455"/>
                    <a:pt x="433955" y="163349"/>
                    <a:pt x="394818" y="163222"/>
                  </a:cubicBezTo>
                  <a:close/>
                  <a:moveTo>
                    <a:pt x="386192" y="0"/>
                  </a:moveTo>
                  <a:cubicBezTo>
                    <a:pt x="519455" y="0"/>
                    <a:pt x="747906" y="65272"/>
                    <a:pt x="747906" y="266526"/>
                  </a:cubicBezTo>
                  <a:cubicBezTo>
                    <a:pt x="747906" y="467782"/>
                    <a:pt x="538492" y="484100"/>
                    <a:pt x="291004" y="484100"/>
                  </a:cubicBezTo>
                  <a:cubicBezTo>
                    <a:pt x="291004" y="484100"/>
                    <a:pt x="326359" y="617363"/>
                    <a:pt x="497697" y="617363"/>
                  </a:cubicBezTo>
                  <a:cubicBezTo>
                    <a:pt x="669036" y="617363"/>
                    <a:pt x="712551" y="557530"/>
                    <a:pt x="712551" y="557530"/>
                  </a:cubicBezTo>
                  <a:cubicBezTo>
                    <a:pt x="712551" y="557530"/>
                    <a:pt x="696233" y="810458"/>
                    <a:pt x="388911" y="810458"/>
                  </a:cubicBezTo>
                  <a:cubicBezTo>
                    <a:pt x="212133" y="810458"/>
                    <a:pt x="0" y="677195"/>
                    <a:pt x="0" y="413389"/>
                  </a:cubicBezTo>
                  <a:cubicBezTo>
                    <a:pt x="0" y="176778"/>
                    <a:pt x="163180" y="0"/>
                    <a:pt x="386192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3703D0E3-2D30-4032-9E53-A7EB9F4BC9C3}"/>
                </a:ext>
              </a:extLst>
            </p:cNvPr>
            <p:cNvSpPr/>
            <p:nvPr/>
          </p:nvSpPr>
          <p:spPr bwMode="black">
            <a:xfrm>
              <a:off x="8683414" y="2274801"/>
              <a:ext cx="897487" cy="951879"/>
            </a:xfrm>
            <a:custGeom>
              <a:avLst/>
              <a:gdLst>
                <a:gd name="connsiteX0" fmla="*/ 580988 w 897487"/>
                <a:gd name="connsiteY0" fmla="*/ 667381 h 951879"/>
                <a:gd name="connsiteX1" fmla="*/ 409649 w 897487"/>
                <a:gd name="connsiteY1" fmla="*/ 667381 h 951879"/>
                <a:gd name="connsiteX2" fmla="*/ 591866 w 897487"/>
                <a:gd name="connsiteY2" fmla="*/ 525959 h 951879"/>
                <a:gd name="connsiteX3" fmla="*/ 842075 w 897487"/>
                <a:gd name="connsiteY3" fmla="*/ 123450 h 951879"/>
                <a:gd name="connsiteX4" fmla="*/ 842075 w 897487"/>
                <a:gd name="connsiteY4" fmla="*/ 123450 h 951879"/>
                <a:gd name="connsiteX5" fmla="*/ 798560 w 897487"/>
                <a:gd name="connsiteY5" fmla="*/ 58178 h 951879"/>
                <a:gd name="connsiteX6" fmla="*/ 746887 w 897487"/>
                <a:gd name="connsiteY6" fmla="*/ 107132 h 951879"/>
                <a:gd name="connsiteX7" fmla="*/ 697933 w 897487"/>
                <a:gd name="connsiteY7" fmla="*/ 115291 h 951879"/>
                <a:gd name="connsiteX8" fmla="*/ 219273 w 897487"/>
                <a:gd name="connsiteY8" fmla="*/ 115291 h 951879"/>
                <a:gd name="connsiteX9" fmla="*/ 102328 w 897487"/>
                <a:gd name="connsiteY9" fmla="*/ 224077 h 951879"/>
                <a:gd name="connsiteX10" fmla="*/ 213834 w 897487"/>
                <a:gd name="connsiteY10" fmla="*/ 332863 h 951879"/>
                <a:gd name="connsiteX11" fmla="*/ 485800 w 897487"/>
                <a:gd name="connsiteY11" fmla="*/ 335583 h 951879"/>
                <a:gd name="connsiteX12" fmla="*/ 134964 w 897487"/>
                <a:gd name="connsiteY12" fmla="*/ 615708 h 951879"/>
                <a:gd name="connsiteX13" fmla="*/ 61533 w 897487"/>
                <a:gd name="connsiteY13" fmla="*/ 884953 h 951879"/>
                <a:gd name="connsiteX14" fmla="*/ 398771 w 897487"/>
                <a:gd name="connsiteY14" fmla="*/ 806083 h 951879"/>
                <a:gd name="connsiteX15" fmla="*/ 529314 w 897487"/>
                <a:gd name="connsiteY15" fmla="*/ 863196 h 951879"/>
                <a:gd name="connsiteX16" fmla="*/ 782242 w 897487"/>
                <a:gd name="connsiteY16" fmla="*/ 607549 h 951879"/>
                <a:gd name="connsiteX17" fmla="*/ 580988 w 897487"/>
                <a:gd name="connsiteY17" fmla="*/ 667381 h 9518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897487" h="951879">
                  <a:moveTo>
                    <a:pt x="580988" y="667381"/>
                  </a:moveTo>
                  <a:lnTo>
                    <a:pt x="409649" y="667381"/>
                  </a:lnTo>
                  <a:cubicBezTo>
                    <a:pt x="423248" y="667381"/>
                    <a:pt x="548352" y="561314"/>
                    <a:pt x="591866" y="525959"/>
                  </a:cubicBezTo>
                  <a:cubicBezTo>
                    <a:pt x="700653" y="433491"/>
                    <a:pt x="899188" y="297508"/>
                    <a:pt x="842075" y="123450"/>
                  </a:cubicBezTo>
                  <a:lnTo>
                    <a:pt x="842075" y="123450"/>
                  </a:lnTo>
                  <a:cubicBezTo>
                    <a:pt x="831197" y="82655"/>
                    <a:pt x="798560" y="58178"/>
                    <a:pt x="798560" y="58178"/>
                  </a:cubicBezTo>
                  <a:cubicBezTo>
                    <a:pt x="798560" y="58178"/>
                    <a:pt x="787682" y="90814"/>
                    <a:pt x="746887" y="107132"/>
                  </a:cubicBezTo>
                  <a:cubicBezTo>
                    <a:pt x="730569" y="109852"/>
                    <a:pt x="714251" y="115291"/>
                    <a:pt x="697933" y="115291"/>
                  </a:cubicBezTo>
                  <a:cubicBezTo>
                    <a:pt x="684334" y="115291"/>
                    <a:pt x="219273" y="115291"/>
                    <a:pt x="219273" y="115291"/>
                  </a:cubicBezTo>
                  <a:cubicBezTo>
                    <a:pt x="156721" y="115291"/>
                    <a:pt x="105048" y="166964"/>
                    <a:pt x="102328" y="224077"/>
                  </a:cubicBezTo>
                  <a:cubicBezTo>
                    <a:pt x="102328" y="283910"/>
                    <a:pt x="151282" y="332863"/>
                    <a:pt x="213834" y="332863"/>
                  </a:cubicBezTo>
                  <a:lnTo>
                    <a:pt x="485800" y="335583"/>
                  </a:lnTo>
                  <a:cubicBezTo>
                    <a:pt x="360695" y="406294"/>
                    <a:pt x="211114" y="487884"/>
                    <a:pt x="134964" y="615708"/>
                  </a:cubicBezTo>
                  <a:cubicBezTo>
                    <a:pt x="91449" y="689138"/>
                    <a:pt x="45215" y="800644"/>
                    <a:pt x="61533" y="884953"/>
                  </a:cubicBezTo>
                  <a:cubicBezTo>
                    <a:pt x="121366" y="830560"/>
                    <a:pt x="279106" y="778887"/>
                    <a:pt x="398771" y="806083"/>
                  </a:cubicBezTo>
                  <a:cubicBezTo>
                    <a:pt x="445005" y="814242"/>
                    <a:pt x="491239" y="838719"/>
                    <a:pt x="529314" y="863196"/>
                  </a:cubicBezTo>
                  <a:cubicBezTo>
                    <a:pt x="755046" y="1004618"/>
                    <a:pt x="891029" y="727213"/>
                    <a:pt x="782242" y="607549"/>
                  </a:cubicBezTo>
                  <a:cubicBezTo>
                    <a:pt x="784962" y="607549"/>
                    <a:pt x="722410" y="667381"/>
                    <a:pt x="580988" y="667381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7FD40A0A-73C4-4955-9FF6-0EEB215FD392}"/>
                </a:ext>
              </a:extLst>
            </p:cNvPr>
            <p:cNvSpPr/>
            <p:nvPr/>
          </p:nvSpPr>
          <p:spPr bwMode="black">
            <a:xfrm>
              <a:off x="2624650" y="1948442"/>
              <a:ext cx="1903761" cy="1577400"/>
            </a:xfrm>
            <a:custGeom>
              <a:avLst/>
              <a:gdLst>
                <a:gd name="connsiteX0" fmla="*/ 1559430 w 1903760"/>
                <a:gd name="connsiteY0" fmla="*/ 1165078 h 1577399"/>
                <a:gd name="connsiteX1" fmla="*/ 1369054 w 1903760"/>
                <a:gd name="connsiteY1" fmla="*/ 593950 h 1577399"/>
                <a:gd name="connsiteX2" fmla="*/ 1483279 w 1903760"/>
                <a:gd name="connsiteY2" fmla="*/ 126170 h 1577399"/>
                <a:gd name="connsiteX3" fmla="*/ 1311941 w 1903760"/>
                <a:gd name="connsiteY3" fmla="*/ 58178 h 1577399"/>
                <a:gd name="connsiteX4" fmla="*/ 1078050 w 1903760"/>
                <a:gd name="connsiteY4" fmla="*/ 205040 h 1577399"/>
                <a:gd name="connsiteX5" fmla="*/ 846879 w 1903760"/>
                <a:gd name="connsiteY5" fmla="*/ 523239 h 1577399"/>
                <a:gd name="connsiteX6" fmla="*/ 645624 w 1903760"/>
                <a:gd name="connsiteY6" fmla="*/ 210479 h 1577399"/>
                <a:gd name="connsiteX7" fmla="*/ 455248 w 1903760"/>
                <a:gd name="connsiteY7" fmla="*/ 63617 h 1577399"/>
                <a:gd name="connsiteX8" fmla="*/ 234956 w 1903760"/>
                <a:gd name="connsiteY8" fmla="*/ 137048 h 1577399"/>
                <a:gd name="connsiteX9" fmla="*/ 316546 w 1903760"/>
                <a:gd name="connsiteY9" fmla="*/ 588511 h 1577399"/>
                <a:gd name="connsiteX10" fmla="*/ 58178 w 1903760"/>
                <a:gd name="connsiteY10" fmla="*/ 1072610 h 1577399"/>
                <a:gd name="connsiteX11" fmla="*/ 474286 w 1903760"/>
                <a:gd name="connsiteY11" fmla="*/ 1020936 h 1577399"/>
                <a:gd name="connsiteX12" fmla="*/ 555876 w 1903760"/>
                <a:gd name="connsiteY12" fmla="*/ 572193 h 1577399"/>
                <a:gd name="connsiteX13" fmla="*/ 830561 w 1903760"/>
                <a:gd name="connsiteY13" fmla="*/ 993740 h 1577399"/>
                <a:gd name="connsiteX14" fmla="*/ 1140602 w 1903760"/>
                <a:gd name="connsiteY14" fmla="*/ 574913 h 1577399"/>
                <a:gd name="connsiteX15" fmla="*/ 1567589 w 1903760"/>
                <a:gd name="connsiteY15" fmla="*/ 1526792 h 1577399"/>
                <a:gd name="connsiteX16" fmla="*/ 1866751 w 1903760"/>
                <a:gd name="connsiteY16" fmla="*/ 1322818 h 1577399"/>
                <a:gd name="connsiteX17" fmla="*/ 1559430 w 1903760"/>
                <a:gd name="connsiteY17" fmla="*/ 1165078 h 15773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903760" h="1577399">
                  <a:moveTo>
                    <a:pt x="1559430" y="1165078"/>
                  </a:moveTo>
                  <a:cubicBezTo>
                    <a:pt x="1420727" y="1012777"/>
                    <a:pt x="1377213" y="762569"/>
                    <a:pt x="1369054" y="593950"/>
                  </a:cubicBezTo>
                  <a:cubicBezTo>
                    <a:pt x="1360895" y="449809"/>
                    <a:pt x="1369054" y="199600"/>
                    <a:pt x="1483279" y="126170"/>
                  </a:cubicBezTo>
                  <a:cubicBezTo>
                    <a:pt x="1445204" y="77216"/>
                    <a:pt x="1369054" y="58178"/>
                    <a:pt x="1311941" y="58178"/>
                  </a:cubicBezTo>
                  <a:cubicBezTo>
                    <a:pt x="1184117" y="58178"/>
                    <a:pt x="1121565" y="142488"/>
                    <a:pt x="1078050" y="205040"/>
                  </a:cubicBezTo>
                  <a:cubicBezTo>
                    <a:pt x="1064452" y="224077"/>
                    <a:pt x="846879" y="523239"/>
                    <a:pt x="846879" y="523239"/>
                  </a:cubicBezTo>
                  <a:cubicBezTo>
                    <a:pt x="846879" y="523239"/>
                    <a:pt x="667382" y="243115"/>
                    <a:pt x="645624" y="210479"/>
                  </a:cubicBezTo>
                  <a:cubicBezTo>
                    <a:pt x="615708" y="164245"/>
                    <a:pt x="555876" y="77216"/>
                    <a:pt x="455248" y="63617"/>
                  </a:cubicBezTo>
                  <a:cubicBezTo>
                    <a:pt x="411734" y="58178"/>
                    <a:pt x="297508" y="52739"/>
                    <a:pt x="234956" y="137048"/>
                  </a:cubicBezTo>
                  <a:cubicBezTo>
                    <a:pt x="341023" y="221357"/>
                    <a:pt x="338303" y="438930"/>
                    <a:pt x="316546" y="588511"/>
                  </a:cubicBezTo>
                  <a:cubicBezTo>
                    <a:pt x="248554" y="1031815"/>
                    <a:pt x="58178" y="1072610"/>
                    <a:pt x="58178" y="1072610"/>
                  </a:cubicBezTo>
                  <a:cubicBezTo>
                    <a:pt x="156086" y="1333696"/>
                    <a:pt x="403575" y="1230350"/>
                    <a:pt x="474286" y="1020936"/>
                  </a:cubicBezTo>
                  <a:cubicBezTo>
                    <a:pt x="520520" y="884953"/>
                    <a:pt x="550436" y="713615"/>
                    <a:pt x="555876" y="572193"/>
                  </a:cubicBezTo>
                  <a:lnTo>
                    <a:pt x="830561" y="993740"/>
                  </a:lnTo>
                  <a:cubicBezTo>
                    <a:pt x="830561" y="993740"/>
                    <a:pt x="1140602" y="574913"/>
                    <a:pt x="1140602" y="574913"/>
                  </a:cubicBezTo>
                  <a:cubicBezTo>
                    <a:pt x="1088929" y="1314659"/>
                    <a:pt x="1344577" y="1526792"/>
                    <a:pt x="1567589" y="1526792"/>
                  </a:cubicBezTo>
                  <a:cubicBezTo>
                    <a:pt x="1790601" y="1526792"/>
                    <a:pt x="1866751" y="1322818"/>
                    <a:pt x="1866751" y="1322818"/>
                  </a:cubicBezTo>
                  <a:cubicBezTo>
                    <a:pt x="1744367" y="1314659"/>
                    <a:pt x="1641019" y="1252107"/>
                    <a:pt x="1559430" y="1165078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C904D811-319A-4186-8A59-457C07D35712}"/>
                </a:ext>
              </a:extLst>
            </p:cNvPr>
            <p:cNvSpPr/>
            <p:nvPr/>
          </p:nvSpPr>
          <p:spPr bwMode="black">
            <a:xfrm>
              <a:off x="4792218" y="3234839"/>
              <a:ext cx="271966" cy="652717"/>
            </a:xfrm>
            <a:custGeom>
              <a:avLst/>
              <a:gdLst>
                <a:gd name="connsiteX0" fmla="*/ 88095 w 271965"/>
                <a:gd name="connsiteY0" fmla="*/ 120730 h 652717"/>
                <a:gd name="connsiteX1" fmla="*/ 93534 w 271965"/>
                <a:gd name="connsiteY1" fmla="*/ 153366 h 652717"/>
                <a:gd name="connsiteX2" fmla="*/ 93534 w 271965"/>
                <a:gd name="connsiteY2" fmla="*/ 544997 h 652717"/>
                <a:gd name="connsiteX3" fmla="*/ 156086 w 271965"/>
                <a:gd name="connsiteY3" fmla="*/ 604829 h 652717"/>
                <a:gd name="connsiteX4" fmla="*/ 221358 w 271965"/>
                <a:gd name="connsiteY4" fmla="*/ 544997 h 652717"/>
                <a:gd name="connsiteX5" fmla="*/ 221358 w 271965"/>
                <a:gd name="connsiteY5" fmla="*/ 194161 h 652717"/>
                <a:gd name="connsiteX6" fmla="*/ 210479 w 271965"/>
                <a:gd name="connsiteY6" fmla="*/ 109852 h 652717"/>
                <a:gd name="connsiteX7" fmla="*/ 118011 w 271965"/>
                <a:gd name="connsiteY7" fmla="*/ 58178 h 652717"/>
                <a:gd name="connsiteX8" fmla="*/ 58178 w 271965"/>
                <a:gd name="connsiteY8" fmla="*/ 88094 h 652717"/>
                <a:gd name="connsiteX9" fmla="*/ 88095 w 271965"/>
                <a:gd name="connsiteY9" fmla="*/ 120730 h 6527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71965" h="652717">
                  <a:moveTo>
                    <a:pt x="88095" y="120730"/>
                  </a:moveTo>
                  <a:cubicBezTo>
                    <a:pt x="90814" y="131609"/>
                    <a:pt x="90814" y="142487"/>
                    <a:pt x="93534" y="153366"/>
                  </a:cubicBezTo>
                  <a:cubicBezTo>
                    <a:pt x="93534" y="156086"/>
                    <a:pt x="93534" y="542277"/>
                    <a:pt x="93534" y="544997"/>
                  </a:cubicBezTo>
                  <a:cubicBezTo>
                    <a:pt x="93534" y="577632"/>
                    <a:pt x="123450" y="604829"/>
                    <a:pt x="156086" y="604829"/>
                  </a:cubicBezTo>
                  <a:cubicBezTo>
                    <a:pt x="188722" y="607548"/>
                    <a:pt x="221358" y="577632"/>
                    <a:pt x="221358" y="544997"/>
                  </a:cubicBezTo>
                  <a:cubicBezTo>
                    <a:pt x="221358" y="539557"/>
                    <a:pt x="221358" y="194161"/>
                    <a:pt x="221358" y="194161"/>
                  </a:cubicBezTo>
                  <a:cubicBezTo>
                    <a:pt x="221358" y="164245"/>
                    <a:pt x="224078" y="134329"/>
                    <a:pt x="210479" y="109852"/>
                  </a:cubicBezTo>
                  <a:cubicBezTo>
                    <a:pt x="196881" y="79935"/>
                    <a:pt x="158806" y="58178"/>
                    <a:pt x="118011" y="58178"/>
                  </a:cubicBezTo>
                  <a:cubicBezTo>
                    <a:pt x="79936" y="58178"/>
                    <a:pt x="58178" y="88094"/>
                    <a:pt x="58178" y="88094"/>
                  </a:cubicBezTo>
                  <a:cubicBezTo>
                    <a:pt x="58178" y="88094"/>
                    <a:pt x="77216" y="93534"/>
                    <a:pt x="88095" y="120730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770FC748-AD59-44E9-9226-9F3F398D3C6A}"/>
                </a:ext>
              </a:extLst>
            </p:cNvPr>
            <p:cNvSpPr/>
            <p:nvPr/>
          </p:nvSpPr>
          <p:spPr bwMode="black">
            <a:xfrm>
              <a:off x="8751819" y="3234667"/>
              <a:ext cx="271966" cy="652717"/>
            </a:xfrm>
            <a:custGeom>
              <a:avLst/>
              <a:gdLst>
                <a:gd name="connsiteX0" fmla="*/ 191663 w 271965"/>
                <a:gd name="connsiteY0" fmla="*/ 542449 h 652717"/>
                <a:gd name="connsiteX1" fmla="*/ 186224 w 271965"/>
                <a:gd name="connsiteY1" fmla="*/ 509813 h 652717"/>
                <a:gd name="connsiteX2" fmla="*/ 186224 w 271965"/>
                <a:gd name="connsiteY2" fmla="*/ 118183 h 652717"/>
                <a:gd name="connsiteX3" fmla="*/ 123672 w 271965"/>
                <a:gd name="connsiteY3" fmla="*/ 58350 h 652717"/>
                <a:gd name="connsiteX4" fmla="*/ 58400 w 271965"/>
                <a:gd name="connsiteY4" fmla="*/ 118183 h 652717"/>
                <a:gd name="connsiteX5" fmla="*/ 58400 w 271965"/>
                <a:gd name="connsiteY5" fmla="*/ 469018 h 652717"/>
                <a:gd name="connsiteX6" fmla="*/ 69279 w 271965"/>
                <a:gd name="connsiteY6" fmla="*/ 553328 h 652717"/>
                <a:gd name="connsiteX7" fmla="*/ 161747 w 271965"/>
                <a:gd name="connsiteY7" fmla="*/ 605001 h 652717"/>
                <a:gd name="connsiteX8" fmla="*/ 221580 w 271965"/>
                <a:gd name="connsiteY8" fmla="*/ 575085 h 652717"/>
                <a:gd name="connsiteX9" fmla="*/ 191663 w 271965"/>
                <a:gd name="connsiteY9" fmla="*/ 542449 h 6527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71965" h="652717">
                  <a:moveTo>
                    <a:pt x="191663" y="542449"/>
                  </a:moveTo>
                  <a:cubicBezTo>
                    <a:pt x="188944" y="531570"/>
                    <a:pt x="186224" y="520692"/>
                    <a:pt x="186224" y="509813"/>
                  </a:cubicBezTo>
                  <a:cubicBezTo>
                    <a:pt x="186224" y="507093"/>
                    <a:pt x="186224" y="120902"/>
                    <a:pt x="186224" y="118183"/>
                  </a:cubicBezTo>
                  <a:cubicBezTo>
                    <a:pt x="186224" y="85547"/>
                    <a:pt x="156308" y="58350"/>
                    <a:pt x="123672" y="58350"/>
                  </a:cubicBezTo>
                  <a:cubicBezTo>
                    <a:pt x="91036" y="55631"/>
                    <a:pt x="58400" y="85547"/>
                    <a:pt x="58400" y="118183"/>
                  </a:cubicBezTo>
                  <a:cubicBezTo>
                    <a:pt x="58400" y="123622"/>
                    <a:pt x="58400" y="469018"/>
                    <a:pt x="58400" y="469018"/>
                  </a:cubicBezTo>
                  <a:cubicBezTo>
                    <a:pt x="58400" y="498934"/>
                    <a:pt x="55680" y="528851"/>
                    <a:pt x="69279" y="553328"/>
                  </a:cubicBezTo>
                  <a:cubicBezTo>
                    <a:pt x="82877" y="583244"/>
                    <a:pt x="120953" y="605001"/>
                    <a:pt x="161747" y="605001"/>
                  </a:cubicBezTo>
                  <a:cubicBezTo>
                    <a:pt x="199822" y="605001"/>
                    <a:pt x="221580" y="575085"/>
                    <a:pt x="221580" y="575085"/>
                  </a:cubicBezTo>
                  <a:cubicBezTo>
                    <a:pt x="221580" y="575085"/>
                    <a:pt x="202542" y="566926"/>
                    <a:pt x="191663" y="542449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67A6B2FE-A112-480D-A8E6-6ED513559C90}"/>
                </a:ext>
              </a:extLst>
            </p:cNvPr>
            <p:cNvSpPr/>
            <p:nvPr/>
          </p:nvSpPr>
          <p:spPr bwMode="black">
            <a:xfrm>
              <a:off x="6320666" y="3416868"/>
              <a:ext cx="435145" cy="462341"/>
            </a:xfrm>
            <a:custGeom>
              <a:avLst/>
              <a:gdLst>
                <a:gd name="connsiteX0" fmla="*/ 302948 w 435145"/>
                <a:gd name="connsiteY0" fmla="*/ 74684 h 462341"/>
                <a:gd name="connsiteX1" fmla="*/ 186003 w 435145"/>
                <a:gd name="connsiteY1" fmla="*/ 148115 h 462341"/>
                <a:gd name="connsiteX2" fmla="*/ 186003 w 435145"/>
                <a:gd name="connsiteY2" fmla="*/ 148115 h 462341"/>
                <a:gd name="connsiteX3" fmla="*/ 186003 w 435145"/>
                <a:gd name="connsiteY3" fmla="*/ 115479 h 462341"/>
                <a:gd name="connsiteX4" fmla="*/ 123450 w 435145"/>
                <a:gd name="connsiteY4" fmla="*/ 58366 h 462341"/>
                <a:gd name="connsiteX5" fmla="*/ 58178 w 435145"/>
                <a:gd name="connsiteY5" fmla="*/ 115479 h 462341"/>
                <a:gd name="connsiteX6" fmla="*/ 58178 w 435145"/>
                <a:gd name="connsiteY6" fmla="*/ 362967 h 462341"/>
                <a:gd name="connsiteX7" fmla="*/ 120730 w 435145"/>
                <a:gd name="connsiteY7" fmla="*/ 422800 h 462341"/>
                <a:gd name="connsiteX8" fmla="*/ 186003 w 435145"/>
                <a:gd name="connsiteY8" fmla="*/ 362967 h 462341"/>
                <a:gd name="connsiteX9" fmla="*/ 186003 w 435145"/>
                <a:gd name="connsiteY9" fmla="*/ 213386 h 462341"/>
                <a:gd name="connsiteX10" fmla="*/ 186003 w 435145"/>
                <a:gd name="connsiteY10" fmla="*/ 213386 h 462341"/>
                <a:gd name="connsiteX11" fmla="*/ 229517 w 435145"/>
                <a:gd name="connsiteY11" fmla="*/ 161713 h 462341"/>
                <a:gd name="connsiteX12" fmla="*/ 259433 w 435145"/>
                <a:gd name="connsiteY12" fmla="*/ 194349 h 462341"/>
                <a:gd name="connsiteX13" fmla="*/ 259433 w 435145"/>
                <a:gd name="connsiteY13" fmla="*/ 362967 h 462341"/>
                <a:gd name="connsiteX14" fmla="*/ 321985 w 435145"/>
                <a:gd name="connsiteY14" fmla="*/ 422800 h 462341"/>
                <a:gd name="connsiteX15" fmla="*/ 387257 w 435145"/>
                <a:gd name="connsiteY15" fmla="*/ 362967 h 462341"/>
                <a:gd name="connsiteX16" fmla="*/ 387257 w 435145"/>
                <a:gd name="connsiteY16" fmla="*/ 273219 h 462341"/>
                <a:gd name="connsiteX17" fmla="*/ 302948 w 435145"/>
                <a:gd name="connsiteY17" fmla="*/ 74684 h 4623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435145" h="462341">
                  <a:moveTo>
                    <a:pt x="302948" y="74684"/>
                  </a:moveTo>
                  <a:cubicBezTo>
                    <a:pt x="234956" y="74684"/>
                    <a:pt x="196881" y="131797"/>
                    <a:pt x="186003" y="148115"/>
                  </a:cubicBezTo>
                  <a:lnTo>
                    <a:pt x="186003" y="148115"/>
                  </a:lnTo>
                  <a:cubicBezTo>
                    <a:pt x="186003" y="129077"/>
                    <a:pt x="186003" y="115479"/>
                    <a:pt x="186003" y="115479"/>
                  </a:cubicBezTo>
                  <a:cubicBezTo>
                    <a:pt x="186003" y="82843"/>
                    <a:pt x="156086" y="58366"/>
                    <a:pt x="123450" y="58366"/>
                  </a:cubicBezTo>
                  <a:cubicBezTo>
                    <a:pt x="90814" y="55646"/>
                    <a:pt x="58178" y="82843"/>
                    <a:pt x="58178" y="115479"/>
                  </a:cubicBezTo>
                  <a:cubicBezTo>
                    <a:pt x="58178" y="120918"/>
                    <a:pt x="58178" y="360248"/>
                    <a:pt x="58178" y="362967"/>
                  </a:cubicBezTo>
                  <a:cubicBezTo>
                    <a:pt x="58178" y="395603"/>
                    <a:pt x="88095" y="422800"/>
                    <a:pt x="120730" y="422800"/>
                  </a:cubicBezTo>
                  <a:cubicBezTo>
                    <a:pt x="153366" y="425519"/>
                    <a:pt x="186003" y="395603"/>
                    <a:pt x="186003" y="362967"/>
                  </a:cubicBezTo>
                  <a:cubicBezTo>
                    <a:pt x="186003" y="360248"/>
                    <a:pt x="186003" y="281378"/>
                    <a:pt x="186003" y="213386"/>
                  </a:cubicBezTo>
                  <a:lnTo>
                    <a:pt x="186003" y="213386"/>
                  </a:lnTo>
                  <a:cubicBezTo>
                    <a:pt x="191442" y="186190"/>
                    <a:pt x="205040" y="161713"/>
                    <a:pt x="229517" y="161713"/>
                  </a:cubicBezTo>
                  <a:cubicBezTo>
                    <a:pt x="259433" y="161713"/>
                    <a:pt x="259433" y="194349"/>
                    <a:pt x="259433" y="194349"/>
                  </a:cubicBezTo>
                  <a:lnTo>
                    <a:pt x="259433" y="362967"/>
                  </a:lnTo>
                  <a:cubicBezTo>
                    <a:pt x="259433" y="395603"/>
                    <a:pt x="289349" y="422800"/>
                    <a:pt x="321985" y="422800"/>
                  </a:cubicBezTo>
                  <a:cubicBezTo>
                    <a:pt x="354621" y="425519"/>
                    <a:pt x="387257" y="395603"/>
                    <a:pt x="387257" y="362967"/>
                  </a:cubicBezTo>
                  <a:lnTo>
                    <a:pt x="387257" y="273219"/>
                  </a:lnTo>
                  <a:cubicBezTo>
                    <a:pt x="387257" y="183470"/>
                    <a:pt x="395416" y="71964"/>
                    <a:pt x="302948" y="74684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DDBBC33B-5E76-47D0-9997-B175DC5CA88D}"/>
                </a:ext>
              </a:extLst>
            </p:cNvPr>
            <p:cNvSpPr/>
            <p:nvPr/>
          </p:nvSpPr>
          <p:spPr bwMode="black">
            <a:xfrm>
              <a:off x="7960620" y="3416868"/>
              <a:ext cx="435145" cy="462341"/>
            </a:xfrm>
            <a:custGeom>
              <a:avLst/>
              <a:gdLst>
                <a:gd name="connsiteX0" fmla="*/ 302948 w 435145"/>
                <a:gd name="connsiteY0" fmla="*/ 74684 h 462341"/>
                <a:gd name="connsiteX1" fmla="*/ 186002 w 435145"/>
                <a:gd name="connsiteY1" fmla="*/ 148115 h 462341"/>
                <a:gd name="connsiteX2" fmla="*/ 186002 w 435145"/>
                <a:gd name="connsiteY2" fmla="*/ 148115 h 462341"/>
                <a:gd name="connsiteX3" fmla="*/ 186002 w 435145"/>
                <a:gd name="connsiteY3" fmla="*/ 115479 h 462341"/>
                <a:gd name="connsiteX4" fmla="*/ 123450 w 435145"/>
                <a:gd name="connsiteY4" fmla="*/ 58366 h 462341"/>
                <a:gd name="connsiteX5" fmla="*/ 58178 w 435145"/>
                <a:gd name="connsiteY5" fmla="*/ 115479 h 462341"/>
                <a:gd name="connsiteX6" fmla="*/ 58178 w 435145"/>
                <a:gd name="connsiteY6" fmla="*/ 362967 h 462341"/>
                <a:gd name="connsiteX7" fmla="*/ 120730 w 435145"/>
                <a:gd name="connsiteY7" fmla="*/ 422800 h 462341"/>
                <a:gd name="connsiteX8" fmla="*/ 186002 w 435145"/>
                <a:gd name="connsiteY8" fmla="*/ 362967 h 462341"/>
                <a:gd name="connsiteX9" fmla="*/ 186002 w 435145"/>
                <a:gd name="connsiteY9" fmla="*/ 213386 h 462341"/>
                <a:gd name="connsiteX10" fmla="*/ 186002 w 435145"/>
                <a:gd name="connsiteY10" fmla="*/ 213386 h 462341"/>
                <a:gd name="connsiteX11" fmla="*/ 229517 w 435145"/>
                <a:gd name="connsiteY11" fmla="*/ 161713 h 462341"/>
                <a:gd name="connsiteX12" fmla="*/ 259433 w 435145"/>
                <a:gd name="connsiteY12" fmla="*/ 194349 h 462341"/>
                <a:gd name="connsiteX13" fmla="*/ 259433 w 435145"/>
                <a:gd name="connsiteY13" fmla="*/ 362967 h 462341"/>
                <a:gd name="connsiteX14" fmla="*/ 321985 w 435145"/>
                <a:gd name="connsiteY14" fmla="*/ 422800 h 462341"/>
                <a:gd name="connsiteX15" fmla="*/ 387257 w 435145"/>
                <a:gd name="connsiteY15" fmla="*/ 362967 h 462341"/>
                <a:gd name="connsiteX16" fmla="*/ 387257 w 435145"/>
                <a:gd name="connsiteY16" fmla="*/ 273219 h 462341"/>
                <a:gd name="connsiteX17" fmla="*/ 302948 w 435145"/>
                <a:gd name="connsiteY17" fmla="*/ 74684 h 4623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435145" h="462341">
                  <a:moveTo>
                    <a:pt x="302948" y="74684"/>
                  </a:moveTo>
                  <a:cubicBezTo>
                    <a:pt x="234956" y="74684"/>
                    <a:pt x="196881" y="131797"/>
                    <a:pt x="186002" y="148115"/>
                  </a:cubicBezTo>
                  <a:lnTo>
                    <a:pt x="186002" y="148115"/>
                  </a:lnTo>
                  <a:cubicBezTo>
                    <a:pt x="186002" y="129077"/>
                    <a:pt x="186002" y="115479"/>
                    <a:pt x="186002" y="115479"/>
                  </a:cubicBezTo>
                  <a:cubicBezTo>
                    <a:pt x="186002" y="82843"/>
                    <a:pt x="156086" y="58366"/>
                    <a:pt x="123450" y="58366"/>
                  </a:cubicBezTo>
                  <a:cubicBezTo>
                    <a:pt x="90814" y="55646"/>
                    <a:pt x="58178" y="82843"/>
                    <a:pt x="58178" y="115479"/>
                  </a:cubicBezTo>
                  <a:cubicBezTo>
                    <a:pt x="58178" y="120918"/>
                    <a:pt x="58178" y="360248"/>
                    <a:pt x="58178" y="362967"/>
                  </a:cubicBezTo>
                  <a:cubicBezTo>
                    <a:pt x="58178" y="395603"/>
                    <a:pt x="88095" y="422800"/>
                    <a:pt x="120730" y="422800"/>
                  </a:cubicBezTo>
                  <a:cubicBezTo>
                    <a:pt x="153366" y="425519"/>
                    <a:pt x="186002" y="395603"/>
                    <a:pt x="186002" y="362967"/>
                  </a:cubicBezTo>
                  <a:cubicBezTo>
                    <a:pt x="186002" y="360248"/>
                    <a:pt x="186002" y="281378"/>
                    <a:pt x="186002" y="213386"/>
                  </a:cubicBezTo>
                  <a:lnTo>
                    <a:pt x="186002" y="213386"/>
                  </a:lnTo>
                  <a:cubicBezTo>
                    <a:pt x="191442" y="186190"/>
                    <a:pt x="205040" y="161713"/>
                    <a:pt x="229517" y="161713"/>
                  </a:cubicBezTo>
                  <a:cubicBezTo>
                    <a:pt x="259433" y="161713"/>
                    <a:pt x="259433" y="194349"/>
                    <a:pt x="259433" y="194349"/>
                  </a:cubicBezTo>
                  <a:lnTo>
                    <a:pt x="259433" y="362967"/>
                  </a:lnTo>
                  <a:cubicBezTo>
                    <a:pt x="259433" y="395603"/>
                    <a:pt x="289349" y="422800"/>
                    <a:pt x="321985" y="422800"/>
                  </a:cubicBezTo>
                  <a:cubicBezTo>
                    <a:pt x="354621" y="425519"/>
                    <a:pt x="387257" y="395603"/>
                    <a:pt x="387257" y="362967"/>
                  </a:cubicBezTo>
                  <a:lnTo>
                    <a:pt x="387257" y="273219"/>
                  </a:lnTo>
                  <a:cubicBezTo>
                    <a:pt x="384537" y="183470"/>
                    <a:pt x="395416" y="71964"/>
                    <a:pt x="302948" y="74684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3F5FE826-C991-4781-9C3E-F5243696119B}"/>
                </a:ext>
              </a:extLst>
            </p:cNvPr>
            <p:cNvSpPr/>
            <p:nvPr/>
          </p:nvSpPr>
          <p:spPr bwMode="black">
            <a:xfrm>
              <a:off x="5020669" y="3416868"/>
              <a:ext cx="435145" cy="462341"/>
            </a:xfrm>
            <a:custGeom>
              <a:avLst/>
              <a:gdLst>
                <a:gd name="connsiteX0" fmla="*/ 302948 w 435145"/>
                <a:gd name="connsiteY0" fmla="*/ 74684 h 462341"/>
                <a:gd name="connsiteX1" fmla="*/ 186002 w 435145"/>
                <a:gd name="connsiteY1" fmla="*/ 148115 h 462341"/>
                <a:gd name="connsiteX2" fmla="*/ 186002 w 435145"/>
                <a:gd name="connsiteY2" fmla="*/ 148115 h 462341"/>
                <a:gd name="connsiteX3" fmla="*/ 186002 w 435145"/>
                <a:gd name="connsiteY3" fmla="*/ 115479 h 462341"/>
                <a:gd name="connsiteX4" fmla="*/ 123450 w 435145"/>
                <a:gd name="connsiteY4" fmla="*/ 58366 h 462341"/>
                <a:gd name="connsiteX5" fmla="*/ 58178 w 435145"/>
                <a:gd name="connsiteY5" fmla="*/ 115479 h 462341"/>
                <a:gd name="connsiteX6" fmla="*/ 58178 w 435145"/>
                <a:gd name="connsiteY6" fmla="*/ 362967 h 462341"/>
                <a:gd name="connsiteX7" fmla="*/ 120730 w 435145"/>
                <a:gd name="connsiteY7" fmla="*/ 422800 h 462341"/>
                <a:gd name="connsiteX8" fmla="*/ 186002 w 435145"/>
                <a:gd name="connsiteY8" fmla="*/ 362967 h 462341"/>
                <a:gd name="connsiteX9" fmla="*/ 186002 w 435145"/>
                <a:gd name="connsiteY9" fmla="*/ 213386 h 462341"/>
                <a:gd name="connsiteX10" fmla="*/ 186002 w 435145"/>
                <a:gd name="connsiteY10" fmla="*/ 213386 h 462341"/>
                <a:gd name="connsiteX11" fmla="*/ 229517 w 435145"/>
                <a:gd name="connsiteY11" fmla="*/ 161713 h 462341"/>
                <a:gd name="connsiteX12" fmla="*/ 259433 w 435145"/>
                <a:gd name="connsiteY12" fmla="*/ 194349 h 462341"/>
                <a:gd name="connsiteX13" fmla="*/ 259433 w 435145"/>
                <a:gd name="connsiteY13" fmla="*/ 362967 h 462341"/>
                <a:gd name="connsiteX14" fmla="*/ 321985 w 435145"/>
                <a:gd name="connsiteY14" fmla="*/ 422800 h 462341"/>
                <a:gd name="connsiteX15" fmla="*/ 387257 w 435145"/>
                <a:gd name="connsiteY15" fmla="*/ 362967 h 462341"/>
                <a:gd name="connsiteX16" fmla="*/ 387257 w 435145"/>
                <a:gd name="connsiteY16" fmla="*/ 273219 h 462341"/>
                <a:gd name="connsiteX17" fmla="*/ 302948 w 435145"/>
                <a:gd name="connsiteY17" fmla="*/ 74684 h 4623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435145" h="462341">
                  <a:moveTo>
                    <a:pt x="302948" y="74684"/>
                  </a:moveTo>
                  <a:cubicBezTo>
                    <a:pt x="234956" y="74684"/>
                    <a:pt x="196881" y="131797"/>
                    <a:pt x="186002" y="148115"/>
                  </a:cubicBezTo>
                  <a:lnTo>
                    <a:pt x="186002" y="148115"/>
                  </a:lnTo>
                  <a:cubicBezTo>
                    <a:pt x="186002" y="129077"/>
                    <a:pt x="186002" y="115479"/>
                    <a:pt x="186002" y="115479"/>
                  </a:cubicBezTo>
                  <a:cubicBezTo>
                    <a:pt x="186002" y="82843"/>
                    <a:pt x="156086" y="58366"/>
                    <a:pt x="123450" y="58366"/>
                  </a:cubicBezTo>
                  <a:cubicBezTo>
                    <a:pt x="90814" y="55646"/>
                    <a:pt x="58178" y="82843"/>
                    <a:pt x="58178" y="115479"/>
                  </a:cubicBezTo>
                  <a:cubicBezTo>
                    <a:pt x="58178" y="120918"/>
                    <a:pt x="58178" y="360248"/>
                    <a:pt x="58178" y="362967"/>
                  </a:cubicBezTo>
                  <a:cubicBezTo>
                    <a:pt x="58178" y="395603"/>
                    <a:pt x="88094" y="422800"/>
                    <a:pt x="120730" y="422800"/>
                  </a:cubicBezTo>
                  <a:cubicBezTo>
                    <a:pt x="153366" y="425519"/>
                    <a:pt x="186002" y="395603"/>
                    <a:pt x="186002" y="362967"/>
                  </a:cubicBezTo>
                  <a:cubicBezTo>
                    <a:pt x="186002" y="360248"/>
                    <a:pt x="186002" y="281378"/>
                    <a:pt x="186002" y="213386"/>
                  </a:cubicBezTo>
                  <a:lnTo>
                    <a:pt x="186002" y="213386"/>
                  </a:lnTo>
                  <a:cubicBezTo>
                    <a:pt x="191442" y="186190"/>
                    <a:pt x="205040" y="161713"/>
                    <a:pt x="229517" y="161713"/>
                  </a:cubicBezTo>
                  <a:cubicBezTo>
                    <a:pt x="259433" y="161713"/>
                    <a:pt x="259433" y="194349"/>
                    <a:pt x="259433" y="194349"/>
                  </a:cubicBezTo>
                  <a:lnTo>
                    <a:pt x="259433" y="362967"/>
                  </a:lnTo>
                  <a:cubicBezTo>
                    <a:pt x="259433" y="395603"/>
                    <a:pt x="289349" y="422800"/>
                    <a:pt x="321985" y="422800"/>
                  </a:cubicBezTo>
                  <a:cubicBezTo>
                    <a:pt x="354621" y="425519"/>
                    <a:pt x="387257" y="395603"/>
                    <a:pt x="387257" y="362967"/>
                  </a:cubicBezTo>
                  <a:lnTo>
                    <a:pt x="387257" y="273219"/>
                  </a:lnTo>
                  <a:cubicBezTo>
                    <a:pt x="384537" y="183470"/>
                    <a:pt x="395416" y="71964"/>
                    <a:pt x="302948" y="74684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2EFB7C3C-C9B9-4A7C-9802-BE61D791106C}"/>
                </a:ext>
              </a:extLst>
            </p:cNvPr>
            <p:cNvSpPr/>
            <p:nvPr/>
          </p:nvSpPr>
          <p:spPr bwMode="black">
            <a:xfrm>
              <a:off x="7616289" y="3475234"/>
              <a:ext cx="364436" cy="364434"/>
            </a:xfrm>
            <a:custGeom>
              <a:avLst/>
              <a:gdLst>
                <a:gd name="connsiteX0" fmla="*/ 182218 w 364436"/>
                <a:gd name="connsiteY0" fmla="*/ 73431 h 364434"/>
                <a:gd name="connsiteX1" fmla="*/ 130544 w 364436"/>
                <a:gd name="connsiteY1" fmla="*/ 179499 h 364434"/>
                <a:gd name="connsiteX2" fmla="*/ 182218 w 364436"/>
                <a:gd name="connsiteY2" fmla="*/ 285565 h 364434"/>
                <a:gd name="connsiteX3" fmla="*/ 233891 w 364436"/>
                <a:gd name="connsiteY3" fmla="*/ 179499 h 364434"/>
                <a:gd name="connsiteX4" fmla="*/ 182218 w 364436"/>
                <a:gd name="connsiteY4" fmla="*/ 73431 h 364434"/>
                <a:gd name="connsiteX5" fmla="*/ 182219 w 364436"/>
                <a:gd name="connsiteY5" fmla="*/ 0 h 364434"/>
                <a:gd name="connsiteX6" fmla="*/ 364436 w 364436"/>
                <a:gd name="connsiteY6" fmla="*/ 182217 h 364434"/>
                <a:gd name="connsiteX7" fmla="*/ 182219 w 364436"/>
                <a:gd name="connsiteY7" fmla="*/ 364434 h 364434"/>
                <a:gd name="connsiteX8" fmla="*/ 0 w 364436"/>
                <a:gd name="connsiteY8" fmla="*/ 182217 h 364434"/>
                <a:gd name="connsiteX9" fmla="*/ 182219 w 364436"/>
                <a:gd name="connsiteY9" fmla="*/ 0 h 3644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64436" h="364434">
                  <a:moveTo>
                    <a:pt x="182218" y="73431"/>
                  </a:moveTo>
                  <a:cubicBezTo>
                    <a:pt x="152302" y="76151"/>
                    <a:pt x="130544" y="114226"/>
                    <a:pt x="130544" y="179499"/>
                  </a:cubicBezTo>
                  <a:cubicBezTo>
                    <a:pt x="130544" y="244770"/>
                    <a:pt x="146862" y="285565"/>
                    <a:pt x="182218" y="285565"/>
                  </a:cubicBezTo>
                  <a:cubicBezTo>
                    <a:pt x="217573" y="285565"/>
                    <a:pt x="233891" y="247490"/>
                    <a:pt x="233891" y="179499"/>
                  </a:cubicBezTo>
                  <a:cubicBezTo>
                    <a:pt x="233891" y="114226"/>
                    <a:pt x="212134" y="73431"/>
                    <a:pt x="182218" y="73431"/>
                  </a:cubicBezTo>
                  <a:close/>
                  <a:moveTo>
                    <a:pt x="182219" y="0"/>
                  </a:moveTo>
                  <a:cubicBezTo>
                    <a:pt x="282846" y="0"/>
                    <a:pt x="364436" y="81590"/>
                    <a:pt x="364436" y="182217"/>
                  </a:cubicBezTo>
                  <a:cubicBezTo>
                    <a:pt x="364436" y="282844"/>
                    <a:pt x="282846" y="364434"/>
                    <a:pt x="182219" y="364434"/>
                  </a:cubicBezTo>
                  <a:cubicBezTo>
                    <a:pt x="81591" y="364434"/>
                    <a:pt x="0" y="282844"/>
                    <a:pt x="0" y="182217"/>
                  </a:cubicBezTo>
                  <a:cubicBezTo>
                    <a:pt x="0" y="81590"/>
                    <a:pt x="81591" y="0"/>
                    <a:pt x="182219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CE6058B8-6C4B-4DD3-9D56-2A32C09E480C}"/>
                </a:ext>
              </a:extLst>
            </p:cNvPr>
            <p:cNvSpPr/>
            <p:nvPr/>
          </p:nvSpPr>
          <p:spPr bwMode="black">
            <a:xfrm>
              <a:off x="6743101" y="3464184"/>
              <a:ext cx="372773" cy="375657"/>
            </a:xfrm>
            <a:custGeom>
              <a:avLst/>
              <a:gdLst>
                <a:gd name="connsiteX0" fmla="*/ 176958 w 372773"/>
                <a:gd name="connsiteY0" fmla="*/ 98080 h 375657"/>
                <a:gd name="connsiteX1" fmla="*/ 125284 w 372773"/>
                <a:gd name="connsiteY1" fmla="*/ 190548 h 375657"/>
                <a:gd name="connsiteX2" fmla="*/ 176958 w 372773"/>
                <a:gd name="connsiteY2" fmla="*/ 283017 h 375657"/>
                <a:gd name="connsiteX3" fmla="*/ 228631 w 372773"/>
                <a:gd name="connsiteY3" fmla="*/ 190548 h 375657"/>
                <a:gd name="connsiteX4" fmla="*/ 176958 w 372773"/>
                <a:gd name="connsiteY4" fmla="*/ 98080 h 375657"/>
                <a:gd name="connsiteX5" fmla="*/ 307501 w 372773"/>
                <a:gd name="connsiteY5" fmla="*/ 172 h 375657"/>
                <a:gd name="connsiteX6" fmla="*/ 372773 w 372773"/>
                <a:gd name="connsiteY6" fmla="*/ 62724 h 375657"/>
                <a:gd name="connsiteX7" fmla="*/ 372773 w 372773"/>
                <a:gd name="connsiteY7" fmla="*/ 312934 h 375657"/>
                <a:gd name="connsiteX8" fmla="*/ 302061 w 372773"/>
                <a:gd name="connsiteY8" fmla="*/ 375486 h 375657"/>
                <a:gd name="connsiteX9" fmla="*/ 239509 w 372773"/>
                <a:gd name="connsiteY9" fmla="*/ 326532 h 375657"/>
                <a:gd name="connsiteX10" fmla="*/ 179677 w 372773"/>
                <a:gd name="connsiteY10" fmla="*/ 370046 h 375657"/>
                <a:gd name="connsiteX11" fmla="*/ 70890 w 372773"/>
                <a:gd name="connsiteY11" fmla="*/ 353728 h 375657"/>
                <a:gd name="connsiteX12" fmla="*/ 128003 w 372773"/>
                <a:gd name="connsiteY12" fmla="*/ 11051 h 375657"/>
                <a:gd name="connsiteX13" fmla="*/ 236790 w 372773"/>
                <a:gd name="connsiteY13" fmla="*/ 70883 h 375657"/>
                <a:gd name="connsiteX14" fmla="*/ 236790 w 372773"/>
                <a:gd name="connsiteY14" fmla="*/ 62724 h 375657"/>
                <a:gd name="connsiteX15" fmla="*/ 307501 w 372773"/>
                <a:gd name="connsiteY15" fmla="*/ 172 h 3756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72773" h="375657">
                  <a:moveTo>
                    <a:pt x="176958" y="98080"/>
                  </a:moveTo>
                  <a:cubicBezTo>
                    <a:pt x="147042" y="100800"/>
                    <a:pt x="125284" y="133436"/>
                    <a:pt x="125284" y="190548"/>
                  </a:cubicBezTo>
                  <a:cubicBezTo>
                    <a:pt x="125284" y="247661"/>
                    <a:pt x="141602" y="283017"/>
                    <a:pt x="176958" y="283017"/>
                  </a:cubicBezTo>
                  <a:cubicBezTo>
                    <a:pt x="212314" y="283017"/>
                    <a:pt x="228631" y="247661"/>
                    <a:pt x="228631" y="190548"/>
                  </a:cubicBezTo>
                  <a:cubicBezTo>
                    <a:pt x="228631" y="133436"/>
                    <a:pt x="206874" y="98080"/>
                    <a:pt x="176958" y="98080"/>
                  </a:cubicBezTo>
                  <a:close/>
                  <a:moveTo>
                    <a:pt x="307501" y="172"/>
                  </a:moveTo>
                  <a:cubicBezTo>
                    <a:pt x="340137" y="172"/>
                    <a:pt x="372773" y="30088"/>
                    <a:pt x="372773" y="62724"/>
                  </a:cubicBezTo>
                  <a:cubicBezTo>
                    <a:pt x="372773" y="65444"/>
                    <a:pt x="372773" y="307494"/>
                    <a:pt x="372773" y="312934"/>
                  </a:cubicBezTo>
                  <a:cubicBezTo>
                    <a:pt x="370053" y="348289"/>
                    <a:pt x="337417" y="378205"/>
                    <a:pt x="302061" y="375486"/>
                  </a:cubicBezTo>
                  <a:cubicBezTo>
                    <a:pt x="274865" y="372766"/>
                    <a:pt x="247668" y="353728"/>
                    <a:pt x="239509" y="326532"/>
                  </a:cubicBezTo>
                  <a:cubicBezTo>
                    <a:pt x="225911" y="348289"/>
                    <a:pt x="198715" y="364607"/>
                    <a:pt x="179677" y="370046"/>
                  </a:cubicBezTo>
                  <a:cubicBezTo>
                    <a:pt x="147041" y="378205"/>
                    <a:pt x="100807" y="372766"/>
                    <a:pt x="70890" y="353728"/>
                  </a:cubicBezTo>
                  <a:cubicBezTo>
                    <a:pt x="-35177" y="285737"/>
                    <a:pt x="-27018" y="11051"/>
                    <a:pt x="128003" y="11051"/>
                  </a:cubicBezTo>
                  <a:cubicBezTo>
                    <a:pt x="185116" y="11051"/>
                    <a:pt x="220471" y="49126"/>
                    <a:pt x="236790" y="70883"/>
                  </a:cubicBezTo>
                  <a:cubicBezTo>
                    <a:pt x="236790" y="70883"/>
                    <a:pt x="236790" y="65444"/>
                    <a:pt x="236790" y="62724"/>
                  </a:cubicBezTo>
                  <a:cubicBezTo>
                    <a:pt x="239509" y="27369"/>
                    <a:pt x="272145" y="-2547"/>
                    <a:pt x="307501" y="172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7BDDCE3B-CBF0-46A0-95E3-BE2D1DB5CC39}"/>
                </a:ext>
              </a:extLst>
            </p:cNvPr>
            <p:cNvSpPr/>
            <p:nvPr/>
          </p:nvSpPr>
          <p:spPr bwMode="black">
            <a:xfrm>
              <a:off x="8380335" y="3464184"/>
              <a:ext cx="372772" cy="375657"/>
            </a:xfrm>
            <a:custGeom>
              <a:avLst/>
              <a:gdLst>
                <a:gd name="connsiteX0" fmla="*/ 176957 w 372772"/>
                <a:gd name="connsiteY0" fmla="*/ 98080 h 375657"/>
                <a:gd name="connsiteX1" fmla="*/ 125282 w 372772"/>
                <a:gd name="connsiteY1" fmla="*/ 190548 h 375657"/>
                <a:gd name="connsiteX2" fmla="*/ 176957 w 372772"/>
                <a:gd name="connsiteY2" fmla="*/ 283017 h 375657"/>
                <a:gd name="connsiteX3" fmla="*/ 228630 w 372772"/>
                <a:gd name="connsiteY3" fmla="*/ 190548 h 375657"/>
                <a:gd name="connsiteX4" fmla="*/ 176957 w 372772"/>
                <a:gd name="connsiteY4" fmla="*/ 98080 h 375657"/>
                <a:gd name="connsiteX5" fmla="*/ 307501 w 372772"/>
                <a:gd name="connsiteY5" fmla="*/ 172 h 375657"/>
                <a:gd name="connsiteX6" fmla="*/ 372772 w 372772"/>
                <a:gd name="connsiteY6" fmla="*/ 62724 h 375657"/>
                <a:gd name="connsiteX7" fmla="*/ 372772 w 372772"/>
                <a:gd name="connsiteY7" fmla="*/ 312934 h 375657"/>
                <a:gd name="connsiteX8" fmla="*/ 302062 w 372772"/>
                <a:gd name="connsiteY8" fmla="*/ 375486 h 375657"/>
                <a:gd name="connsiteX9" fmla="*/ 239509 w 372772"/>
                <a:gd name="connsiteY9" fmla="*/ 326532 h 375657"/>
                <a:gd name="connsiteX10" fmla="*/ 179677 w 372772"/>
                <a:gd name="connsiteY10" fmla="*/ 370046 h 375657"/>
                <a:gd name="connsiteX11" fmla="*/ 70890 w 372772"/>
                <a:gd name="connsiteY11" fmla="*/ 353728 h 375657"/>
                <a:gd name="connsiteX12" fmla="*/ 128002 w 372772"/>
                <a:gd name="connsiteY12" fmla="*/ 11051 h 375657"/>
                <a:gd name="connsiteX13" fmla="*/ 236790 w 372772"/>
                <a:gd name="connsiteY13" fmla="*/ 70883 h 375657"/>
                <a:gd name="connsiteX14" fmla="*/ 236790 w 372772"/>
                <a:gd name="connsiteY14" fmla="*/ 62724 h 375657"/>
                <a:gd name="connsiteX15" fmla="*/ 307501 w 372772"/>
                <a:gd name="connsiteY15" fmla="*/ 172 h 3756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72772" h="375657">
                  <a:moveTo>
                    <a:pt x="176957" y="98080"/>
                  </a:moveTo>
                  <a:cubicBezTo>
                    <a:pt x="147039" y="100800"/>
                    <a:pt x="125282" y="133436"/>
                    <a:pt x="125282" y="190548"/>
                  </a:cubicBezTo>
                  <a:cubicBezTo>
                    <a:pt x="125282" y="247661"/>
                    <a:pt x="141600" y="283017"/>
                    <a:pt x="176957" y="283017"/>
                  </a:cubicBezTo>
                  <a:cubicBezTo>
                    <a:pt x="212312" y="283017"/>
                    <a:pt x="228630" y="247661"/>
                    <a:pt x="228630" y="190548"/>
                  </a:cubicBezTo>
                  <a:cubicBezTo>
                    <a:pt x="228630" y="133436"/>
                    <a:pt x="206873" y="98080"/>
                    <a:pt x="176957" y="98080"/>
                  </a:cubicBezTo>
                  <a:close/>
                  <a:moveTo>
                    <a:pt x="307501" y="172"/>
                  </a:moveTo>
                  <a:cubicBezTo>
                    <a:pt x="340137" y="172"/>
                    <a:pt x="372772" y="30088"/>
                    <a:pt x="372772" y="62724"/>
                  </a:cubicBezTo>
                  <a:cubicBezTo>
                    <a:pt x="372772" y="65444"/>
                    <a:pt x="372772" y="307494"/>
                    <a:pt x="372772" y="312934"/>
                  </a:cubicBezTo>
                  <a:cubicBezTo>
                    <a:pt x="370053" y="348289"/>
                    <a:pt x="337417" y="378205"/>
                    <a:pt x="302062" y="375486"/>
                  </a:cubicBezTo>
                  <a:cubicBezTo>
                    <a:pt x="274865" y="372766"/>
                    <a:pt x="247668" y="353728"/>
                    <a:pt x="239509" y="326532"/>
                  </a:cubicBezTo>
                  <a:cubicBezTo>
                    <a:pt x="228630" y="348289"/>
                    <a:pt x="198714" y="364607"/>
                    <a:pt x="179677" y="370046"/>
                  </a:cubicBezTo>
                  <a:cubicBezTo>
                    <a:pt x="147040" y="378205"/>
                    <a:pt x="100806" y="372766"/>
                    <a:pt x="70890" y="353728"/>
                  </a:cubicBezTo>
                  <a:cubicBezTo>
                    <a:pt x="-35177" y="285737"/>
                    <a:pt x="-27018" y="11051"/>
                    <a:pt x="128002" y="11051"/>
                  </a:cubicBezTo>
                  <a:cubicBezTo>
                    <a:pt x="185116" y="11051"/>
                    <a:pt x="220472" y="49126"/>
                    <a:pt x="236790" y="70883"/>
                  </a:cubicBezTo>
                  <a:cubicBezTo>
                    <a:pt x="236790" y="70883"/>
                    <a:pt x="236790" y="65444"/>
                    <a:pt x="236790" y="62724"/>
                  </a:cubicBezTo>
                  <a:cubicBezTo>
                    <a:pt x="239509" y="27369"/>
                    <a:pt x="272145" y="-2547"/>
                    <a:pt x="307501" y="172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CA898F72-C445-4743-97BA-4379F1696CC7}"/>
                </a:ext>
              </a:extLst>
            </p:cNvPr>
            <p:cNvSpPr/>
            <p:nvPr/>
          </p:nvSpPr>
          <p:spPr bwMode="black">
            <a:xfrm>
              <a:off x="7389492" y="3444253"/>
              <a:ext cx="217573" cy="435145"/>
            </a:xfrm>
            <a:custGeom>
              <a:avLst/>
              <a:gdLst>
                <a:gd name="connsiteX0" fmla="*/ 186002 w 217572"/>
                <a:gd name="connsiteY0" fmla="*/ 118011 h 435144"/>
                <a:gd name="connsiteX1" fmla="*/ 128890 w 217572"/>
                <a:gd name="connsiteY1" fmla="*/ 58178 h 435144"/>
                <a:gd name="connsiteX2" fmla="*/ 123450 w 217572"/>
                <a:gd name="connsiteY2" fmla="*/ 58178 h 435144"/>
                <a:gd name="connsiteX3" fmla="*/ 58178 w 217572"/>
                <a:gd name="connsiteY3" fmla="*/ 115291 h 435144"/>
                <a:gd name="connsiteX4" fmla="*/ 58178 w 217572"/>
                <a:gd name="connsiteY4" fmla="*/ 232236 h 435144"/>
                <a:gd name="connsiteX5" fmla="*/ 58178 w 217572"/>
                <a:gd name="connsiteY5" fmla="*/ 232236 h 435144"/>
                <a:gd name="connsiteX6" fmla="*/ 58178 w 217572"/>
                <a:gd name="connsiteY6" fmla="*/ 335583 h 435144"/>
                <a:gd name="connsiteX7" fmla="*/ 115291 w 217572"/>
                <a:gd name="connsiteY7" fmla="*/ 395415 h 435144"/>
                <a:gd name="connsiteX8" fmla="*/ 120730 w 217572"/>
                <a:gd name="connsiteY8" fmla="*/ 395415 h 435144"/>
                <a:gd name="connsiteX9" fmla="*/ 186002 w 217572"/>
                <a:gd name="connsiteY9" fmla="*/ 338303 h 435144"/>
                <a:gd name="connsiteX10" fmla="*/ 186002 w 217572"/>
                <a:gd name="connsiteY10" fmla="*/ 240395 h 435144"/>
                <a:gd name="connsiteX11" fmla="*/ 186002 w 217572"/>
                <a:gd name="connsiteY11" fmla="*/ 240395 h 435144"/>
                <a:gd name="connsiteX12" fmla="*/ 186002 w 217572"/>
                <a:gd name="connsiteY12" fmla="*/ 118011 h 4351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17572" h="435144">
                  <a:moveTo>
                    <a:pt x="186002" y="118011"/>
                  </a:moveTo>
                  <a:cubicBezTo>
                    <a:pt x="183283" y="85375"/>
                    <a:pt x="158806" y="60898"/>
                    <a:pt x="128890" y="58178"/>
                  </a:cubicBezTo>
                  <a:cubicBezTo>
                    <a:pt x="126170" y="58178"/>
                    <a:pt x="126170" y="58178"/>
                    <a:pt x="123450" y="58178"/>
                  </a:cubicBezTo>
                  <a:cubicBezTo>
                    <a:pt x="96254" y="58178"/>
                    <a:pt x="58178" y="82655"/>
                    <a:pt x="58178" y="115291"/>
                  </a:cubicBezTo>
                  <a:lnTo>
                    <a:pt x="58178" y="232236"/>
                  </a:lnTo>
                  <a:lnTo>
                    <a:pt x="58178" y="232236"/>
                  </a:lnTo>
                  <a:cubicBezTo>
                    <a:pt x="58178" y="270311"/>
                    <a:pt x="58178" y="335583"/>
                    <a:pt x="58178" y="335583"/>
                  </a:cubicBezTo>
                  <a:cubicBezTo>
                    <a:pt x="60898" y="368219"/>
                    <a:pt x="85375" y="392696"/>
                    <a:pt x="115291" y="395415"/>
                  </a:cubicBezTo>
                  <a:cubicBezTo>
                    <a:pt x="118011" y="395415"/>
                    <a:pt x="118011" y="395415"/>
                    <a:pt x="120730" y="395415"/>
                  </a:cubicBezTo>
                  <a:cubicBezTo>
                    <a:pt x="147927" y="395415"/>
                    <a:pt x="186002" y="370938"/>
                    <a:pt x="186002" y="338303"/>
                  </a:cubicBezTo>
                  <a:lnTo>
                    <a:pt x="186002" y="240395"/>
                  </a:lnTo>
                  <a:lnTo>
                    <a:pt x="186002" y="240395"/>
                  </a:lnTo>
                  <a:cubicBezTo>
                    <a:pt x="186002" y="202320"/>
                    <a:pt x="186002" y="118011"/>
                    <a:pt x="186002" y="118011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2FC0A55B-CEB1-43A3-BD42-9118CCCC4997}"/>
                </a:ext>
              </a:extLst>
            </p:cNvPr>
            <p:cNvSpPr/>
            <p:nvPr/>
          </p:nvSpPr>
          <p:spPr bwMode="black">
            <a:xfrm>
              <a:off x="7392212" y="3280901"/>
              <a:ext cx="217573" cy="217572"/>
            </a:xfrm>
            <a:custGeom>
              <a:avLst/>
              <a:gdLst>
                <a:gd name="connsiteX0" fmla="*/ 183282 w 217572"/>
                <a:gd name="connsiteY0" fmla="*/ 120902 h 217572"/>
                <a:gd name="connsiteX1" fmla="*/ 120730 w 217572"/>
                <a:gd name="connsiteY1" fmla="*/ 183454 h 217572"/>
                <a:gd name="connsiteX2" fmla="*/ 58178 w 217572"/>
                <a:gd name="connsiteY2" fmla="*/ 120902 h 217572"/>
                <a:gd name="connsiteX3" fmla="*/ 120730 w 217572"/>
                <a:gd name="connsiteY3" fmla="*/ 58350 h 217572"/>
                <a:gd name="connsiteX4" fmla="*/ 183282 w 217572"/>
                <a:gd name="connsiteY4" fmla="*/ 120902 h 2175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17572" h="217572">
                  <a:moveTo>
                    <a:pt x="183282" y="120902"/>
                  </a:moveTo>
                  <a:cubicBezTo>
                    <a:pt x="183282" y="156258"/>
                    <a:pt x="156086" y="183454"/>
                    <a:pt x="120730" y="183454"/>
                  </a:cubicBezTo>
                  <a:cubicBezTo>
                    <a:pt x="85375" y="183454"/>
                    <a:pt x="58178" y="156258"/>
                    <a:pt x="58178" y="120902"/>
                  </a:cubicBezTo>
                  <a:cubicBezTo>
                    <a:pt x="58178" y="85547"/>
                    <a:pt x="85375" y="58350"/>
                    <a:pt x="120730" y="58350"/>
                  </a:cubicBezTo>
                  <a:cubicBezTo>
                    <a:pt x="153366" y="55630"/>
                    <a:pt x="183282" y="85547"/>
                    <a:pt x="183282" y="120902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0B50D7FF-ABF7-48B0-B01A-BDAB3E56A59C}"/>
                </a:ext>
              </a:extLst>
            </p:cNvPr>
            <p:cNvSpPr/>
            <p:nvPr/>
          </p:nvSpPr>
          <p:spPr bwMode="black">
            <a:xfrm>
              <a:off x="6005186" y="3416884"/>
              <a:ext cx="380752" cy="462341"/>
            </a:xfrm>
            <a:custGeom>
              <a:avLst/>
              <a:gdLst>
                <a:gd name="connsiteX0" fmla="*/ 270312 w 380752"/>
                <a:gd name="connsiteY0" fmla="*/ 69229 h 462341"/>
                <a:gd name="connsiteX1" fmla="*/ 188722 w 380752"/>
                <a:gd name="connsiteY1" fmla="*/ 134501 h 462341"/>
                <a:gd name="connsiteX2" fmla="*/ 188722 w 380752"/>
                <a:gd name="connsiteY2" fmla="*/ 118183 h 462341"/>
                <a:gd name="connsiteX3" fmla="*/ 126170 w 380752"/>
                <a:gd name="connsiteY3" fmla="*/ 58350 h 462341"/>
                <a:gd name="connsiteX4" fmla="*/ 58178 w 380752"/>
                <a:gd name="connsiteY4" fmla="*/ 118183 h 462341"/>
                <a:gd name="connsiteX5" fmla="*/ 58178 w 380752"/>
                <a:gd name="connsiteY5" fmla="*/ 210651 h 462341"/>
                <a:gd name="connsiteX6" fmla="*/ 58178 w 380752"/>
                <a:gd name="connsiteY6" fmla="*/ 365671 h 462341"/>
                <a:gd name="connsiteX7" fmla="*/ 58178 w 380752"/>
                <a:gd name="connsiteY7" fmla="*/ 365671 h 462341"/>
                <a:gd name="connsiteX8" fmla="*/ 120730 w 380752"/>
                <a:gd name="connsiteY8" fmla="*/ 425504 h 462341"/>
                <a:gd name="connsiteX9" fmla="*/ 186002 w 380752"/>
                <a:gd name="connsiteY9" fmla="*/ 365671 h 462341"/>
                <a:gd name="connsiteX10" fmla="*/ 186002 w 380752"/>
                <a:gd name="connsiteY10" fmla="*/ 365671 h 462341"/>
                <a:gd name="connsiteX11" fmla="*/ 186002 w 380752"/>
                <a:gd name="connsiteY11" fmla="*/ 210651 h 462341"/>
                <a:gd name="connsiteX12" fmla="*/ 215919 w 380752"/>
                <a:gd name="connsiteY12" fmla="*/ 158978 h 462341"/>
                <a:gd name="connsiteX13" fmla="*/ 275751 w 380752"/>
                <a:gd name="connsiteY13" fmla="*/ 221530 h 462341"/>
                <a:gd name="connsiteX14" fmla="*/ 270312 w 380752"/>
                <a:gd name="connsiteY14" fmla="*/ 69229 h 4623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80752" h="462341">
                  <a:moveTo>
                    <a:pt x="270312" y="69229"/>
                  </a:moveTo>
                  <a:cubicBezTo>
                    <a:pt x="232236" y="71949"/>
                    <a:pt x="213199" y="99145"/>
                    <a:pt x="188722" y="134501"/>
                  </a:cubicBezTo>
                  <a:cubicBezTo>
                    <a:pt x="188722" y="134501"/>
                    <a:pt x="188722" y="118183"/>
                    <a:pt x="188722" y="118183"/>
                  </a:cubicBezTo>
                  <a:cubicBezTo>
                    <a:pt x="188722" y="85547"/>
                    <a:pt x="158806" y="58350"/>
                    <a:pt x="126170" y="58350"/>
                  </a:cubicBezTo>
                  <a:cubicBezTo>
                    <a:pt x="93534" y="55631"/>
                    <a:pt x="60898" y="85547"/>
                    <a:pt x="58178" y="118183"/>
                  </a:cubicBezTo>
                  <a:lnTo>
                    <a:pt x="58178" y="210651"/>
                  </a:lnTo>
                  <a:lnTo>
                    <a:pt x="58178" y="365671"/>
                  </a:lnTo>
                  <a:lnTo>
                    <a:pt x="58178" y="365671"/>
                  </a:lnTo>
                  <a:cubicBezTo>
                    <a:pt x="58178" y="398307"/>
                    <a:pt x="88094" y="425504"/>
                    <a:pt x="120730" y="425504"/>
                  </a:cubicBezTo>
                  <a:cubicBezTo>
                    <a:pt x="153366" y="428224"/>
                    <a:pt x="186002" y="398307"/>
                    <a:pt x="186002" y="365671"/>
                  </a:cubicBezTo>
                  <a:lnTo>
                    <a:pt x="186002" y="365671"/>
                  </a:lnTo>
                  <a:lnTo>
                    <a:pt x="186002" y="210651"/>
                  </a:lnTo>
                  <a:cubicBezTo>
                    <a:pt x="188722" y="188894"/>
                    <a:pt x="196881" y="158978"/>
                    <a:pt x="215919" y="158978"/>
                  </a:cubicBezTo>
                  <a:cubicBezTo>
                    <a:pt x="243115" y="158978"/>
                    <a:pt x="215919" y="221530"/>
                    <a:pt x="275751" y="221530"/>
                  </a:cubicBezTo>
                  <a:cubicBezTo>
                    <a:pt x="362780" y="221530"/>
                    <a:pt x="373658" y="63790"/>
                    <a:pt x="270312" y="69229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25498461-453E-4B01-AC09-28EB4FE30933}"/>
                </a:ext>
              </a:extLst>
            </p:cNvPr>
            <p:cNvSpPr/>
            <p:nvPr/>
          </p:nvSpPr>
          <p:spPr bwMode="black">
            <a:xfrm>
              <a:off x="5693490" y="3475234"/>
              <a:ext cx="337238" cy="364434"/>
            </a:xfrm>
            <a:custGeom>
              <a:avLst/>
              <a:gdLst>
                <a:gd name="connsiteX0" fmla="*/ 180433 w 337238"/>
                <a:gd name="connsiteY0" fmla="*/ 73984 h 364434"/>
                <a:gd name="connsiteX1" fmla="*/ 163180 w 337238"/>
                <a:gd name="connsiteY1" fmla="*/ 78870 h 364434"/>
                <a:gd name="connsiteX2" fmla="*/ 125105 w 337238"/>
                <a:gd name="connsiteY2" fmla="*/ 160461 h 364434"/>
                <a:gd name="connsiteX3" fmla="*/ 171339 w 337238"/>
                <a:gd name="connsiteY3" fmla="*/ 163180 h 364434"/>
                <a:gd name="connsiteX4" fmla="*/ 214854 w 337238"/>
                <a:gd name="connsiteY4" fmla="*/ 108787 h 364434"/>
                <a:gd name="connsiteX5" fmla="*/ 180433 w 337238"/>
                <a:gd name="connsiteY5" fmla="*/ 73984 h 364434"/>
                <a:gd name="connsiteX6" fmla="*/ 174059 w 337238"/>
                <a:gd name="connsiteY6" fmla="*/ 0 h 364434"/>
                <a:gd name="connsiteX7" fmla="*/ 337238 w 337238"/>
                <a:gd name="connsiteY7" fmla="*/ 119665 h 364434"/>
                <a:gd name="connsiteX8" fmla="*/ 133264 w 337238"/>
                <a:gd name="connsiteY8" fmla="*/ 217573 h 364434"/>
                <a:gd name="connsiteX9" fmla="*/ 225732 w 337238"/>
                <a:gd name="connsiteY9" fmla="*/ 277405 h 364434"/>
                <a:gd name="connsiteX10" fmla="*/ 320920 w 337238"/>
                <a:gd name="connsiteY10" fmla="*/ 250208 h 364434"/>
                <a:gd name="connsiteX11" fmla="*/ 174059 w 337238"/>
                <a:gd name="connsiteY11" fmla="*/ 364434 h 364434"/>
                <a:gd name="connsiteX12" fmla="*/ 0 w 337238"/>
                <a:gd name="connsiteY12" fmla="*/ 184937 h 364434"/>
                <a:gd name="connsiteX13" fmla="*/ 174059 w 337238"/>
                <a:gd name="connsiteY13" fmla="*/ 0 h 3644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37238" h="364434">
                  <a:moveTo>
                    <a:pt x="180433" y="73984"/>
                  </a:moveTo>
                  <a:cubicBezTo>
                    <a:pt x="174569" y="73941"/>
                    <a:pt x="168620" y="75471"/>
                    <a:pt x="163180" y="78870"/>
                  </a:cubicBezTo>
                  <a:cubicBezTo>
                    <a:pt x="135984" y="95189"/>
                    <a:pt x="127825" y="130544"/>
                    <a:pt x="125105" y="160461"/>
                  </a:cubicBezTo>
                  <a:cubicBezTo>
                    <a:pt x="125105" y="163180"/>
                    <a:pt x="168620" y="160461"/>
                    <a:pt x="171339" y="163180"/>
                  </a:cubicBezTo>
                  <a:cubicBezTo>
                    <a:pt x="195816" y="157741"/>
                    <a:pt x="214854" y="135984"/>
                    <a:pt x="214854" y="108787"/>
                  </a:cubicBezTo>
                  <a:cubicBezTo>
                    <a:pt x="214854" y="88389"/>
                    <a:pt x="198026" y="74111"/>
                    <a:pt x="180433" y="73984"/>
                  </a:cubicBezTo>
                  <a:close/>
                  <a:moveTo>
                    <a:pt x="174059" y="0"/>
                  </a:moveTo>
                  <a:cubicBezTo>
                    <a:pt x="233891" y="0"/>
                    <a:pt x="337238" y="29916"/>
                    <a:pt x="337238" y="119665"/>
                  </a:cubicBezTo>
                  <a:cubicBezTo>
                    <a:pt x="337238" y="209414"/>
                    <a:pt x="244770" y="217573"/>
                    <a:pt x="133264" y="217573"/>
                  </a:cubicBezTo>
                  <a:cubicBezTo>
                    <a:pt x="133264" y="217573"/>
                    <a:pt x="149581" y="277405"/>
                    <a:pt x="225732" y="277405"/>
                  </a:cubicBezTo>
                  <a:cubicBezTo>
                    <a:pt x="301883" y="277405"/>
                    <a:pt x="320920" y="250208"/>
                    <a:pt x="320920" y="250208"/>
                  </a:cubicBezTo>
                  <a:cubicBezTo>
                    <a:pt x="320920" y="250208"/>
                    <a:pt x="315481" y="364434"/>
                    <a:pt x="174059" y="364434"/>
                  </a:cubicBezTo>
                  <a:cubicBezTo>
                    <a:pt x="95188" y="364434"/>
                    <a:pt x="0" y="304602"/>
                    <a:pt x="0" y="184937"/>
                  </a:cubicBezTo>
                  <a:cubicBezTo>
                    <a:pt x="0" y="78870"/>
                    <a:pt x="73431" y="0"/>
                    <a:pt x="174059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id="{29CBDCEB-800E-4D28-B2C3-1A925BFB4697}"/>
                </a:ext>
              </a:extLst>
            </p:cNvPr>
            <p:cNvSpPr/>
            <p:nvPr/>
          </p:nvSpPr>
          <p:spPr bwMode="black">
            <a:xfrm>
              <a:off x="5376945" y="3338014"/>
              <a:ext cx="353556" cy="543931"/>
            </a:xfrm>
            <a:custGeom>
              <a:avLst/>
              <a:gdLst>
                <a:gd name="connsiteX0" fmla="*/ 311107 w 353555"/>
                <a:gd name="connsiteY0" fmla="*/ 433663 h 543931"/>
                <a:gd name="connsiteX1" fmla="*/ 215919 w 353555"/>
                <a:gd name="connsiteY1" fmla="*/ 501654 h 543931"/>
                <a:gd name="connsiteX2" fmla="*/ 98973 w 353555"/>
                <a:gd name="connsiteY2" fmla="*/ 392868 h 543931"/>
                <a:gd name="connsiteX3" fmla="*/ 98973 w 353555"/>
                <a:gd name="connsiteY3" fmla="*/ 221530 h 543931"/>
                <a:gd name="connsiteX4" fmla="*/ 82655 w 353555"/>
                <a:gd name="connsiteY4" fmla="*/ 221530 h 543931"/>
                <a:gd name="connsiteX5" fmla="*/ 58178 w 353555"/>
                <a:gd name="connsiteY5" fmla="*/ 191614 h 543931"/>
                <a:gd name="connsiteX6" fmla="*/ 85375 w 353555"/>
                <a:gd name="connsiteY6" fmla="*/ 164417 h 543931"/>
                <a:gd name="connsiteX7" fmla="*/ 101693 w 353555"/>
                <a:gd name="connsiteY7" fmla="*/ 164417 h 543931"/>
                <a:gd name="connsiteX8" fmla="*/ 101693 w 353555"/>
                <a:gd name="connsiteY8" fmla="*/ 118183 h 543931"/>
                <a:gd name="connsiteX9" fmla="*/ 166965 w 353555"/>
                <a:gd name="connsiteY9" fmla="*/ 58350 h 543931"/>
                <a:gd name="connsiteX10" fmla="*/ 229517 w 353555"/>
                <a:gd name="connsiteY10" fmla="*/ 118183 h 543931"/>
                <a:gd name="connsiteX11" fmla="*/ 229517 w 353555"/>
                <a:gd name="connsiteY11" fmla="*/ 118183 h 543931"/>
                <a:gd name="connsiteX12" fmla="*/ 229517 w 353555"/>
                <a:gd name="connsiteY12" fmla="*/ 164417 h 543931"/>
                <a:gd name="connsiteX13" fmla="*/ 283910 w 353555"/>
                <a:gd name="connsiteY13" fmla="*/ 164417 h 543931"/>
                <a:gd name="connsiteX14" fmla="*/ 308387 w 353555"/>
                <a:gd name="connsiteY14" fmla="*/ 194333 h 543931"/>
                <a:gd name="connsiteX15" fmla="*/ 281190 w 353555"/>
                <a:gd name="connsiteY15" fmla="*/ 221530 h 543931"/>
                <a:gd name="connsiteX16" fmla="*/ 229517 w 353555"/>
                <a:gd name="connsiteY16" fmla="*/ 221530 h 543931"/>
                <a:gd name="connsiteX17" fmla="*/ 229517 w 353555"/>
                <a:gd name="connsiteY17" fmla="*/ 365671 h 543931"/>
                <a:gd name="connsiteX18" fmla="*/ 311107 w 353555"/>
                <a:gd name="connsiteY18" fmla="*/ 433663 h 5439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353555" h="543931">
                  <a:moveTo>
                    <a:pt x="311107" y="433663"/>
                  </a:moveTo>
                  <a:cubicBezTo>
                    <a:pt x="311107" y="433663"/>
                    <a:pt x="278471" y="501654"/>
                    <a:pt x="215919" y="501654"/>
                  </a:cubicBezTo>
                  <a:cubicBezTo>
                    <a:pt x="164245" y="501654"/>
                    <a:pt x="101693" y="458140"/>
                    <a:pt x="98973" y="392868"/>
                  </a:cubicBezTo>
                  <a:cubicBezTo>
                    <a:pt x="98973" y="392868"/>
                    <a:pt x="98973" y="297680"/>
                    <a:pt x="98973" y="221530"/>
                  </a:cubicBezTo>
                  <a:lnTo>
                    <a:pt x="82655" y="221530"/>
                  </a:lnTo>
                  <a:cubicBezTo>
                    <a:pt x="74496" y="221530"/>
                    <a:pt x="58178" y="216090"/>
                    <a:pt x="58178" y="191614"/>
                  </a:cubicBezTo>
                  <a:cubicBezTo>
                    <a:pt x="58178" y="167137"/>
                    <a:pt x="77216" y="164417"/>
                    <a:pt x="85375" y="164417"/>
                  </a:cubicBezTo>
                  <a:lnTo>
                    <a:pt x="101693" y="164417"/>
                  </a:lnTo>
                  <a:cubicBezTo>
                    <a:pt x="101693" y="137220"/>
                    <a:pt x="101693" y="118183"/>
                    <a:pt x="101693" y="118183"/>
                  </a:cubicBezTo>
                  <a:cubicBezTo>
                    <a:pt x="104413" y="85547"/>
                    <a:pt x="134329" y="55631"/>
                    <a:pt x="166965" y="58350"/>
                  </a:cubicBezTo>
                  <a:cubicBezTo>
                    <a:pt x="196881" y="61070"/>
                    <a:pt x="229517" y="85547"/>
                    <a:pt x="229517" y="118183"/>
                  </a:cubicBezTo>
                  <a:lnTo>
                    <a:pt x="229517" y="118183"/>
                  </a:lnTo>
                  <a:lnTo>
                    <a:pt x="229517" y="164417"/>
                  </a:lnTo>
                  <a:lnTo>
                    <a:pt x="283910" y="164417"/>
                  </a:lnTo>
                  <a:cubicBezTo>
                    <a:pt x="292069" y="164417"/>
                    <a:pt x="308387" y="169856"/>
                    <a:pt x="308387" y="194333"/>
                  </a:cubicBezTo>
                  <a:cubicBezTo>
                    <a:pt x="308387" y="218810"/>
                    <a:pt x="292069" y="221530"/>
                    <a:pt x="281190" y="221530"/>
                  </a:cubicBezTo>
                  <a:lnTo>
                    <a:pt x="229517" y="221530"/>
                  </a:lnTo>
                  <a:lnTo>
                    <a:pt x="229517" y="365671"/>
                  </a:lnTo>
                  <a:cubicBezTo>
                    <a:pt x="226797" y="409186"/>
                    <a:pt x="267592" y="433663"/>
                    <a:pt x="311107" y="433663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5" name="Freeform: Shape 34">
              <a:extLst>
                <a:ext uri="{FF2B5EF4-FFF2-40B4-BE49-F238E27FC236}">
                  <a16:creationId xmlns:a16="http://schemas.microsoft.com/office/drawing/2014/main" id="{81C4C5D3-38A9-48A3-A737-2E1782DEC6C3}"/>
                </a:ext>
              </a:extLst>
            </p:cNvPr>
            <p:cNvSpPr/>
            <p:nvPr/>
          </p:nvSpPr>
          <p:spPr bwMode="black">
            <a:xfrm>
              <a:off x="7090329" y="3338014"/>
              <a:ext cx="353556" cy="543931"/>
            </a:xfrm>
            <a:custGeom>
              <a:avLst/>
              <a:gdLst>
                <a:gd name="connsiteX0" fmla="*/ 311107 w 353555"/>
                <a:gd name="connsiteY0" fmla="*/ 433663 h 543931"/>
                <a:gd name="connsiteX1" fmla="*/ 215919 w 353555"/>
                <a:gd name="connsiteY1" fmla="*/ 501654 h 543931"/>
                <a:gd name="connsiteX2" fmla="*/ 98973 w 353555"/>
                <a:gd name="connsiteY2" fmla="*/ 392868 h 543931"/>
                <a:gd name="connsiteX3" fmla="*/ 98973 w 353555"/>
                <a:gd name="connsiteY3" fmla="*/ 221530 h 543931"/>
                <a:gd name="connsiteX4" fmla="*/ 82655 w 353555"/>
                <a:gd name="connsiteY4" fmla="*/ 221530 h 543931"/>
                <a:gd name="connsiteX5" fmla="*/ 58178 w 353555"/>
                <a:gd name="connsiteY5" fmla="*/ 191614 h 543931"/>
                <a:gd name="connsiteX6" fmla="*/ 85375 w 353555"/>
                <a:gd name="connsiteY6" fmla="*/ 164417 h 543931"/>
                <a:gd name="connsiteX7" fmla="*/ 101693 w 353555"/>
                <a:gd name="connsiteY7" fmla="*/ 164417 h 543931"/>
                <a:gd name="connsiteX8" fmla="*/ 101693 w 353555"/>
                <a:gd name="connsiteY8" fmla="*/ 118183 h 543931"/>
                <a:gd name="connsiteX9" fmla="*/ 166965 w 353555"/>
                <a:gd name="connsiteY9" fmla="*/ 58350 h 543931"/>
                <a:gd name="connsiteX10" fmla="*/ 229517 w 353555"/>
                <a:gd name="connsiteY10" fmla="*/ 118183 h 543931"/>
                <a:gd name="connsiteX11" fmla="*/ 229517 w 353555"/>
                <a:gd name="connsiteY11" fmla="*/ 118183 h 543931"/>
                <a:gd name="connsiteX12" fmla="*/ 229517 w 353555"/>
                <a:gd name="connsiteY12" fmla="*/ 164417 h 543931"/>
                <a:gd name="connsiteX13" fmla="*/ 283910 w 353555"/>
                <a:gd name="connsiteY13" fmla="*/ 164417 h 543931"/>
                <a:gd name="connsiteX14" fmla="*/ 308387 w 353555"/>
                <a:gd name="connsiteY14" fmla="*/ 194333 h 543931"/>
                <a:gd name="connsiteX15" fmla="*/ 281190 w 353555"/>
                <a:gd name="connsiteY15" fmla="*/ 221530 h 543931"/>
                <a:gd name="connsiteX16" fmla="*/ 229517 w 353555"/>
                <a:gd name="connsiteY16" fmla="*/ 221530 h 543931"/>
                <a:gd name="connsiteX17" fmla="*/ 229517 w 353555"/>
                <a:gd name="connsiteY17" fmla="*/ 365671 h 543931"/>
                <a:gd name="connsiteX18" fmla="*/ 311107 w 353555"/>
                <a:gd name="connsiteY18" fmla="*/ 433663 h 5439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353555" h="543931">
                  <a:moveTo>
                    <a:pt x="311107" y="433663"/>
                  </a:moveTo>
                  <a:cubicBezTo>
                    <a:pt x="311107" y="433663"/>
                    <a:pt x="278471" y="501654"/>
                    <a:pt x="215919" y="501654"/>
                  </a:cubicBezTo>
                  <a:cubicBezTo>
                    <a:pt x="164245" y="501654"/>
                    <a:pt x="101693" y="458140"/>
                    <a:pt x="98973" y="392868"/>
                  </a:cubicBezTo>
                  <a:cubicBezTo>
                    <a:pt x="98973" y="392868"/>
                    <a:pt x="98973" y="297680"/>
                    <a:pt x="98973" y="221530"/>
                  </a:cubicBezTo>
                  <a:lnTo>
                    <a:pt x="82655" y="221530"/>
                  </a:lnTo>
                  <a:cubicBezTo>
                    <a:pt x="74496" y="221530"/>
                    <a:pt x="58178" y="216090"/>
                    <a:pt x="58178" y="191614"/>
                  </a:cubicBezTo>
                  <a:cubicBezTo>
                    <a:pt x="58178" y="167137"/>
                    <a:pt x="77216" y="164417"/>
                    <a:pt x="85375" y="164417"/>
                  </a:cubicBezTo>
                  <a:lnTo>
                    <a:pt x="101693" y="164417"/>
                  </a:lnTo>
                  <a:cubicBezTo>
                    <a:pt x="101693" y="137220"/>
                    <a:pt x="101693" y="118183"/>
                    <a:pt x="101693" y="118183"/>
                  </a:cubicBezTo>
                  <a:cubicBezTo>
                    <a:pt x="104412" y="85547"/>
                    <a:pt x="134329" y="55631"/>
                    <a:pt x="166965" y="58350"/>
                  </a:cubicBezTo>
                  <a:cubicBezTo>
                    <a:pt x="196881" y="61070"/>
                    <a:pt x="229517" y="85547"/>
                    <a:pt x="229517" y="118183"/>
                  </a:cubicBezTo>
                  <a:lnTo>
                    <a:pt x="229517" y="118183"/>
                  </a:lnTo>
                  <a:lnTo>
                    <a:pt x="229517" y="164417"/>
                  </a:lnTo>
                  <a:lnTo>
                    <a:pt x="283910" y="164417"/>
                  </a:lnTo>
                  <a:cubicBezTo>
                    <a:pt x="292069" y="164417"/>
                    <a:pt x="308387" y="169856"/>
                    <a:pt x="308387" y="194333"/>
                  </a:cubicBezTo>
                  <a:cubicBezTo>
                    <a:pt x="308387" y="218810"/>
                    <a:pt x="292069" y="221530"/>
                    <a:pt x="281190" y="221530"/>
                  </a:cubicBezTo>
                  <a:lnTo>
                    <a:pt x="229517" y="221530"/>
                  </a:lnTo>
                  <a:lnTo>
                    <a:pt x="229517" y="365671"/>
                  </a:lnTo>
                  <a:cubicBezTo>
                    <a:pt x="229517" y="409186"/>
                    <a:pt x="270312" y="433663"/>
                    <a:pt x="311107" y="433663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6" name="Freeform: Shape 35">
              <a:extLst>
                <a:ext uri="{FF2B5EF4-FFF2-40B4-BE49-F238E27FC236}">
                  <a16:creationId xmlns:a16="http://schemas.microsoft.com/office/drawing/2014/main" id="{CC67A3C2-5E36-485E-BD0C-74020928665D}"/>
                </a:ext>
              </a:extLst>
            </p:cNvPr>
            <p:cNvSpPr/>
            <p:nvPr/>
          </p:nvSpPr>
          <p:spPr bwMode="black">
            <a:xfrm>
              <a:off x="2080719" y="4178559"/>
              <a:ext cx="462342" cy="788700"/>
            </a:xfrm>
            <a:custGeom>
              <a:avLst/>
              <a:gdLst>
                <a:gd name="connsiteX0" fmla="*/ 403575 w 462341"/>
                <a:gd name="connsiteY0" fmla="*/ 583072 h 788699"/>
                <a:gd name="connsiteX1" fmla="*/ 406295 w 462341"/>
                <a:gd name="connsiteY1" fmla="*/ 596670 h 788699"/>
                <a:gd name="connsiteX2" fmla="*/ 400855 w 462341"/>
                <a:gd name="connsiteY2" fmla="*/ 610268 h 788699"/>
                <a:gd name="connsiteX3" fmla="*/ 389977 w 462341"/>
                <a:gd name="connsiteY3" fmla="*/ 626586 h 788699"/>
                <a:gd name="connsiteX4" fmla="*/ 354621 w 462341"/>
                <a:gd name="connsiteY4" fmla="*/ 675540 h 788699"/>
                <a:gd name="connsiteX5" fmla="*/ 327424 w 462341"/>
                <a:gd name="connsiteY5" fmla="*/ 691858 h 788699"/>
                <a:gd name="connsiteX6" fmla="*/ 292069 w 462341"/>
                <a:gd name="connsiteY6" fmla="*/ 713615 h 788699"/>
                <a:gd name="connsiteX7" fmla="*/ 251274 w 462341"/>
                <a:gd name="connsiteY7" fmla="*/ 724494 h 788699"/>
                <a:gd name="connsiteX8" fmla="*/ 221358 w 462341"/>
                <a:gd name="connsiteY8" fmla="*/ 721774 h 788699"/>
                <a:gd name="connsiteX9" fmla="*/ 191442 w 462341"/>
                <a:gd name="connsiteY9" fmla="*/ 721774 h 788699"/>
                <a:gd name="connsiteX10" fmla="*/ 153366 w 462341"/>
                <a:gd name="connsiteY10" fmla="*/ 713615 h 788699"/>
                <a:gd name="connsiteX11" fmla="*/ 104412 w 462341"/>
                <a:gd name="connsiteY11" fmla="*/ 675540 h 788699"/>
                <a:gd name="connsiteX12" fmla="*/ 104412 w 462341"/>
                <a:gd name="connsiteY12" fmla="*/ 689138 h 788699"/>
                <a:gd name="connsiteX13" fmla="*/ 101693 w 462341"/>
                <a:gd name="connsiteY13" fmla="*/ 710895 h 788699"/>
                <a:gd name="connsiteX14" fmla="*/ 85375 w 462341"/>
                <a:gd name="connsiteY14" fmla="*/ 732653 h 788699"/>
                <a:gd name="connsiteX15" fmla="*/ 69057 w 462341"/>
                <a:gd name="connsiteY15" fmla="*/ 727214 h 788699"/>
                <a:gd name="connsiteX16" fmla="*/ 60898 w 462341"/>
                <a:gd name="connsiteY16" fmla="*/ 710895 h 788699"/>
                <a:gd name="connsiteX17" fmla="*/ 58178 w 462341"/>
                <a:gd name="connsiteY17" fmla="*/ 691858 h 788699"/>
                <a:gd name="connsiteX18" fmla="*/ 60898 w 462341"/>
                <a:gd name="connsiteY18" fmla="*/ 664661 h 788699"/>
                <a:gd name="connsiteX19" fmla="*/ 60898 w 462341"/>
                <a:gd name="connsiteY19" fmla="*/ 607549 h 788699"/>
                <a:gd name="connsiteX20" fmla="*/ 63618 w 462341"/>
                <a:gd name="connsiteY20" fmla="*/ 528679 h 788699"/>
                <a:gd name="connsiteX21" fmla="*/ 69057 w 462341"/>
                <a:gd name="connsiteY21" fmla="*/ 504202 h 788699"/>
                <a:gd name="connsiteX22" fmla="*/ 74496 w 462341"/>
                <a:gd name="connsiteY22" fmla="*/ 493323 h 788699"/>
                <a:gd name="connsiteX23" fmla="*/ 82655 w 462341"/>
                <a:gd name="connsiteY23" fmla="*/ 487884 h 788699"/>
                <a:gd name="connsiteX24" fmla="*/ 90814 w 462341"/>
                <a:gd name="connsiteY24" fmla="*/ 493323 h 788699"/>
                <a:gd name="connsiteX25" fmla="*/ 98973 w 462341"/>
                <a:gd name="connsiteY25" fmla="*/ 512361 h 788699"/>
                <a:gd name="connsiteX26" fmla="*/ 101693 w 462341"/>
                <a:gd name="connsiteY26" fmla="*/ 555875 h 788699"/>
                <a:gd name="connsiteX27" fmla="*/ 101693 w 462341"/>
                <a:gd name="connsiteY27" fmla="*/ 596670 h 788699"/>
                <a:gd name="connsiteX28" fmla="*/ 109852 w 462341"/>
                <a:gd name="connsiteY28" fmla="*/ 626586 h 788699"/>
                <a:gd name="connsiteX29" fmla="*/ 128889 w 462341"/>
                <a:gd name="connsiteY29" fmla="*/ 651063 h 788699"/>
                <a:gd name="connsiteX30" fmla="*/ 153366 w 462341"/>
                <a:gd name="connsiteY30" fmla="*/ 670101 h 788699"/>
                <a:gd name="connsiteX31" fmla="*/ 196881 w 462341"/>
                <a:gd name="connsiteY31" fmla="*/ 678260 h 788699"/>
                <a:gd name="connsiteX32" fmla="*/ 221358 w 462341"/>
                <a:gd name="connsiteY32" fmla="*/ 667381 h 788699"/>
                <a:gd name="connsiteX33" fmla="*/ 253994 w 462341"/>
                <a:gd name="connsiteY33" fmla="*/ 659222 h 788699"/>
                <a:gd name="connsiteX34" fmla="*/ 275751 w 462341"/>
                <a:gd name="connsiteY34" fmla="*/ 637465 h 788699"/>
                <a:gd name="connsiteX35" fmla="*/ 281190 w 462341"/>
                <a:gd name="connsiteY35" fmla="*/ 615708 h 788699"/>
                <a:gd name="connsiteX36" fmla="*/ 278471 w 462341"/>
                <a:gd name="connsiteY36" fmla="*/ 602109 h 788699"/>
                <a:gd name="connsiteX37" fmla="*/ 262153 w 462341"/>
                <a:gd name="connsiteY37" fmla="*/ 572193 h 788699"/>
                <a:gd name="connsiteX38" fmla="*/ 245835 w 462341"/>
                <a:gd name="connsiteY38" fmla="*/ 536838 h 788699"/>
                <a:gd name="connsiteX39" fmla="*/ 196881 w 462341"/>
                <a:gd name="connsiteY39" fmla="*/ 477005 h 788699"/>
                <a:gd name="connsiteX40" fmla="*/ 145207 w 462341"/>
                <a:gd name="connsiteY40" fmla="*/ 419892 h 788699"/>
                <a:gd name="connsiteX41" fmla="*/ 93534 w 462341"/>
                <a:gd name="connsiteY41" fmla="*/ 357340 h 788699"/>
                <a:gd name="connsiteX42" fmla="*/ 66337 w 462341"/>
                <a:gd name="connsiteY42" fmla="*/ 283910 h 788699"/>
                <a:gd name="connsiteX43" fmla="*/ 58178 w 462341"/>
                <a:gd name="connsiteY43" fmla="*/ 224077 h 788699"/>
                <a:gd name="connsiteX44" fmla="*/ 82655 w 462341"/>
                <a:gd name="connsiteY44" fmla="*/ 150647 h 788699"/>
                <a:gd name="connsiteX45" fmla="*/ 137048 w 462341"/>
                <a:gd name="connsiteY45" fmla="*/ 96253 h 788699"/>
                <a:gd name="connsiteX46" fmla="*/ 196881 w 462341"/>
                <a:gd name="connsiteY46" fmla="*/ 77216 h 788699"/>
                <a:gd name="connsiteX47" fmla="*/ 232236 w 462341"/>
                <a:gd name="connsiteY47" fmla="*/ 69057 h 788699"/>
                <a:gd name="connsiteX48" fmla="*/ 262153 w 462341"/>
                <a:gd name="connsiteY48" fmla="*/ 74496 h 788699"/>
                <a:gd name="connsiteX49" fmla="*/ 294789 w 462341"/>
                <a:gd name="connsiteY49" fmla="*/ 85375 h 788699"/>
                <a:gd name="connsiteX50" fmla="*/ 327424 w 462341"/>
                <a:gd name="connsiteY50" fmla="*/ 104412 h 788699"/>
                <a:gd name="connsiteX51" fmla="*/ 332864 w 462341"/>
                <a:gd name="connsiteY51" fmla="*/ 74496 h 788699"/>
                <a:gd name="connsiteX52" fmla="*/ 338303 w 462341"/>
                <a:gd name="connsiteY52" fmla="*/ 63618 h 788699"/>
                <a:gd name="connsiteX53" fmla="*/ 349182 w 462341"/>
                <a:gd name="connsiteY53" fmla="*/ 58178 h 788699"/>
                <a:gd name="connsiteX54" fmla="*/ 357341 w 462341"/>
                <a:gd name="connsiteY54" fmla="*/ 63618 h 788699"/>
                <a:gd name="connsiteX55" fmla="*/ 365500 w 462341"/>
                <a:gd name="connsiteY55" fmla="*/ 82655 h 788699"/>
                <a:gd name="connsiteX56" fmla="*/ 368219 w 462341"/>
                <a:gd name="connsiteY56" fmla="*/ 142488 h 788699"/>
                <a:gd name="connsiteX57" fmla="*/ 368219 w 462341"/>
                <a:gd name="connsiteY57" fmla="*/ 188722 h 788699"/>
                <a:gd name="connsiteX58" fmla="*/ 370939 w 462341"/>
                <a:gd name="connsiteY58" fmla="*/ 245834 h 788699"/>
                <a:gd name="connsiteX59" fmla="*/ 354621 w 462341"/>
                <a:gd name="connsiteY59" fmla="*/ 286629 h 788699"/>
                <a:gd name="connsiteX60" fmla="*/ 338303 w 462341"/>
                <a:gd name="connsiteY60" fmla="*/ 281190 h 788699"/>
                <a:gd name="connsiteX61" fmla="*/ 330144 w 462341"/>
                <a:gd name="connsiteY61" fmla="*/ 264872 h 788699"/>
                <a:gd name="connsiteX62" fmla="*/ 327424 w 462341"/>
                <a:gd name="connsiteY62" fmla="*/ 248554 h 788699"/>
                <a:gd name="connsiteX63" fmla="*/ 330144 w 462341"/>
                <a:gd name="connsiteY63" fmla="*/ 221357 h 788699"/>
                <a:gd name="connsiteX64" fmla="*/ 330144 w 462341"/>
                <a:gd name="connsiteY64" fmla="*/ 188722 h 788699"/>
                <a:gd name="connsiteX65" fmla="*/ 327424 w 462341"/>
                <a:gd name="connsiteY65" fmla="*/ 164245 h 788699"/>
                <a:gd name="connsiteX66" fmla="*/ 311107 w 462341"/>
                <a:gd name="connsiteY66" fmla="*/ 134329 h 788699"/>
                <a:gd name="connsiteX67" fmla="*/ 283910 w 462341"/>
                <a:gd name="connsiteY67" fmla="*/ 118011 h 788699"/>
                <a:gd name="connsiteX68" fmla="*/ 251274 w 462341"/>
                <a:gd name="connsiteY68" fmla="*/ 112571 h 788699"/>
                <a:gd name="connsiteX69" fmla="*/ 215918 w 462341"/>
                <a:gd name="connsiteY69" fmla="*/ 123450 h 788699"/>
                <a:gd name="connsiteX70" fmla="*/ 202320 w 462341"/>
                <a:gd name="connsiteY70" fmla="*/ 147927 h 788699"/>
                <a:gd name="connsiteX71" fmla="*/ 188722 w 462341"/>
                <a:gd name="connsiteY71" fmla="*/ 180563 h 788699"/>
                <a:gd name="connsiteX72" fmla="*/ 183283 w 462341"/>
                <a:gd name="connsiteY72" fmla="*/ 210479 h 788699"/>
                <a:gd name="connsiteX73" fmla="*/ 188722 w 462341"/>
                <a:gd name="connsiteY73" fmla="*/ 226797 h 788699"/>
                <a:gd name="connsiteX74" fmla="*/ 188722 w 462341"/>
                <a:gd name="connsiteY74" fmla="*/ 248554 h 788699"/>
                <a:gd name="connsiteX75" fmla="*/ 210479 w 462341"/>
                <a:gd name="connsiteY75" fmla="*/ 273031 h 788699"/>
                <a:gd name="connsiteX76" fmla="*/ 226797 w 462341"/>
                <a:gd name="connsiteY76" fmla="*/ 300228 h 788699"/>
                <a:gd name="connsiteX77" fmla="*/ 256713 w 462341"/>
                <a:gd name="connsiteY77" fmla="*/ 332864 h 788699"/>
                <a:gd name="connsiteX78" fmla="*/ 275751 w 462341"/>
                <a:gd name="connsiteY78" fmla="*/ 351901 h 788699"/>
                <a:gd name="connsiteX79" fmla="*/ 324705 w 462341"/>
                <a:gd name="connsiteY79" fmla="*/ 400855 h 788699"/>
                <a:gd name="connsiteX80" fmla="*/ 343742 w 462341"/>
                <a:gd name="connsiteY80" fmla="*/ 428051 h 788699"/>
                <a:gd name="connsiteX81" fmla="*/ 351901 w 462341"/>
                <a:gd name="connsiteY81" fmla="*/ 433491 h 788699"/>
                <a:gd name="connsiteX82" fmla="*/ 360060 w 462341"/>
                <a:gd name="connsiteY82" fmla="*/ 447089 h 788699"/>
                <a:gd name="connsiteX83" fmla="*/ 384537 w 462341"/>
                <a:gd name="connsiteY83" fmla="*/ 474286 h 788699"/>
                <a:gd name="connsiteX84" fmla="*/ 395416 w 462341"/>
                <a:gd name="connsiteY84" fmla="*/ 506921 h 788699"/>
                <a:gd name="connsiteX85" fmla="*/ 406295 w 462341"/>
                <a:gd name="connsiteY85" fmla="*/ 536838 h 788699"/>
                <a:gd name="connsiteX86" fmla="*/ 409014 w 462341"/>
                <a:gd name="connsiteY86" fmla="*/ 547716 h 788699"/>
                <a:gd name="connsiteX87" fmla="*/ 406295 w 462341"/>
                <a:gd name="connsiteY87" fmla="*/ 569473 h 788699"/>
                <a:gd name="connsiteX88" fmla="*/ 403575 w 462341"/>
                <a:gd name="connsiteY88" fmla="*/ 583072 h 788699"/>
                <a:gd name="connsiteX89" fmla="*/ 403575 w 462341"/>
                <a:gd name="connsiteY89" fmla="*/ 583072 h 7886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</a:cxnLst>
              <a:rect l="l" t="t" r="r" b="b"/>
              <a:pathLst>
                <a:path w="462341" h="788699">
                  <a:moveTo>
                    <a:pt x="403575" y="583072"/>
                  </a:moveTo>
                  <a:cubicBezTo>
                    <a:pt x="403575" y="588511"/>
                    <a:pt x="406295" y="591231"/>
                    <a:pt x="406295" y="596670"/>
                  </a:cubicBezTo>
                  <a:cubicBezTo>
                    <a:pt x="406295" y="602109"/>
                    <a:pt x="403575" y="604829"/>
                    <a:pt x="400855" y="610268"/>
                  </a:cubicBezTo>
                  <a:cubicBezTo>
                    <a:pt x="398136" y="615708"/>
                    <a:pt x="392696" y="621147"/>
                    <a:pt x="389977" y="626586"/>
                  </a:cubicBezTo>
                  <a:cubicBezTo>
                    <a:pt x="381818" y="645624"/>
                    <a:pt x="368219" y="661942"/>
                    <a:pt x="354621" y="675540"/>
                  </a:cubicBezTo>
                  <a:cubicBezTo>
                    <a:pt x="346462" y="683699"/>
                    <a:pt x="338303" y="686419"/>
                    <a:pt x="327424" y="691858"/>
                  </a:cubicBezTo>
                  <a:cubicBezTo>
                    <a:pt x="316546" y="700017"/>
                    <a:pt x="302948" y="708176"/>
                    <a:pt x="292069" y="713615"/>
                  </a:cubicBezTo>
                  <a:cubicBezTo>
                    <a:pt x="281190" y="719054"/>
                    <a:pt x="264872" y="724494"/>
                    <a:pt x="251274" y="724494"/>
                  </a:cubicBezTo>
                  <a:cubicBezTo>
                    <a:pt x="240395" y="724494"/>
                    <a:pt x="229517" y="721774"/>
                    <a:pt x="221358" y="721774"/>
                  </a:cubicBezTo>
                  <a:cubicBezTo>
                    <a:pt x="213199" y="721774"/>
                    <a:pt x="202320" y="721774"/>
                    <a:pt x="191442" y="721774"/>
                  </a:cubicBezTo>
                  <a:cubicBezTo>
                    <a:pt x="172404" y="721774"/>
                    <a:pt x="172404" y="721774"/>
                    <a:pt x="153366" y="713615"/>
                  </a:cubicBezTo>
                  <a:cubicBezTo>
                    <a:pt x="134329" y="708176"/>
                    <a:pt x="118011" y="691858"/>
                    <a:pt x="104412" y="675540"/>
                  </a:cubicBezTo>
                  <a:cubicBezTo>
                    <a:pt x="104412" y="678260"/>
                    <a:pt x="104412" y="680979"/>
                    <a:pt x="104412" y="689138"/>
                  </a:cubicBezTo>
                  <a:cubicBezTo>
                    <a:pt x="104412" y="694578"/>
                    <a:pt x="104412" y="702737"/>
                    <a:pt x="101693" y="710895"/>
                  </a:cubicBezTo>
                  <a:cubicBezTo>
                    <a:pt x="101693" y="721774"/>
                    <a:pt x="96253" y="732653"/>
                    <a:pt x="85375" y="732653"/>
                  </a:cubicBezTo>
                  <a:cubicBezTo>
                    <a:pt x="77216" y="732653"/>
                    <a:pt x="74496" y="729933"/>
                    <a:pt x="69057" y="727214"/>
                  </a:cubicBezTo>
                  <a:cubicBezTo>
                    <a:pt x="63618" y="724494"/>
                    <a:pt x="60898" y="716335"/>
                    <a:pt x="60898" y="710895"/>
                  </a:cubicBezTo>
                  <a:cubicBezTo>
                    <a:pt x="58178" y="702737"/>
                    <a:pt x="58178" y="697297"/>
                    <a:pt x="58178" y="691858"/>
                  </a:cubicBezTo>
                  <a:cubicBezTo>
                    <a:pt x="58178" y="683699"/>
                    <a:pt x="60898" y="678260"/>
                    <a:pt x="60898" y="664661"/>
                  </a:cubicBezTo>
                  <a:cubicBezTo>
                    <a:pt x="60898" y="656502"/>
                    <a:pt x="60898" y="632026"/>
                    <a:pt x="60898" y="607549"/>
                  </a:cubicBezTo>
                  <a:cubicBezTo>
                    <a:pt x="60898" y="574913"/>
                    <a:pt x="60898" y="542277"/>
                    <a:pt x="63618" y="528679"/>
                  </a:cubicBezTo>
                  <a:cubicBezTo>
                    <a:pt x="63618" y="520520"/>
                    <a:pt x="63618" y="509641"/>
                    <a:pt x="69057" y="504202"/>
                  </a:cubicBezTo>
                  <a:cubicBezTo>
                    <a:pt x="71777" y="501482"/>
                    <a:pt x="71777" y="498762"/>
                    <a:pt x="74496" y="493323"/>
                  </a:cubicBezTo>
                  <a:cubicBezTo>
                    <a:pt x="77216" y="490603"/>
                    <a:pt x="79936" y="487884"/>
                    <a:pt x="82655" y="487884"/>
                  </a:cubicBezTo>
                  <a:cubicBezTo>
                    <a:pt x="85375" y="487884"/>
                    <a:pt x="90814" y="490603"/>
                    <a:pt x="90814" y="493323"/>
                  </a:cubicBezTo>
                  <a:cubicBezTo>
                    <a:pt x="93534" y="498762"/>
                    <a:pt x="98973" y="506921"/>
                    <a:pt x="98973" y="512361"/>
                  </a:cubicBezTo>
                  <a:cubicBezTo>
                    <a:pt x="98973" y="520520"/>
                    <a:pt x="101693" y="536838"/>
                    <a:pt x="101693" y="555875"/>
                  </a:cubicBezTo>
                  <a:cubicBezTo>
                    <a:pt x="101693" y="569473"/>
                    <a:pt x="101693" y="583072"/>
                    <a:pt x="101693" y="596670"/>
                  </a:cubicBezTo>
                  <a:cubicBezTo>
                    <a:pt x="101693" y="607549"/>
                    <a:pt x="104412" y="618427"/>
                    <a:pt x="109852" y="626586"/>
                  </a:cubicBezTo>
                  <a:cubicBezTo>
                    <a:pt x="115291" y="637465"/>
                    <a:pt x="123450" y="642904"/>
                    <a:pt x="128889" y="651063"/>
                  </a:cubicBezTo>
                  <a:cubicBezTo>
                    <a:pt x="137048" y="661942"/>
                    <a:pt x="139768" y="667381"/>
                    <a:pt x="153366" y="670101"/>
                  </a:cubicBezTo>
                  <a:cubicBezTo>
                    <a:pt x="161525" y="670101"/>
                    <a:pt x="183283" y="678260"/>
                    <a:pt x="196881" y="678260"/>
                  </a:cubicBezTo>
                  <a:cubicBezTo>
                    <a:pt x="207759" y="678260"/>
                    <a:pt x="210479" y="672820"/>
                    <a:pt x="221358" y="667381"/>
                  </a:cubicBezTo>
                  <a:cubicBezTo>
                    <a:pt x="232236" y="661942"/>
                    <a:pt x="245835" y="664661"/>
                    <a:pt x="253994" y="659222"/>
                  </a:cubicBezTo>
                  <a:cubicBezTo>
                    <a:pt x="262153" y="653783"/>
                    <a:pt x="273031" y="645624"/>
                    <a:pt x="275751" y="637465"/>
                  </a:cubicBezTo>
                  <a:cubicBezTo>
                    <a:pt x="281190" y="629306"/>
                    <a:pt x="281190" y="621147"/>
                    <a:pt x="281190" y="615708"/>
                  </a:cubicBezTo>
                  <a:cubicBezTo>
                    <a:pt x="281190" y="610268"/>
                    <a:pt x="281190" y="607549"/>
                    <a:pt x="278471" y="602109"/>
                  </a:cubicBezTo>
                  <a:cubicBezTo>
                    <a:pt x="275751" y="591231"/>
                    <a:pt x="267592" y="583072"/>
                    <a:pt x="262153" y="572193"/>
                  </a:cubicBezTo>
                  <a:cubicBezTo>
                    <a:pt x="256713" y="561314"/>
                    <a:pt x="253994" y="547716"/>
                    <a:pt x="245835" y="536838"/>
                  </a:cubicBezTo>
                  <a:cubicBezTo>
                    <a:pt x="232236" y="515080"/>
                    <a:pt x="213199" y="498762"/>
                    <a:pt x="196881" y="477005"/>
                  </a:cubicBezTo>
                  <a:cubicBezTo>
                    <a:pt x="180563" y="457968"/>
                    <a:pt x="164245" y="438930"/>
                    <a:pt x="145207" y="419892"/>
                  </a:cubicBezTo>
                  <a:cubicBezTo>
                    <a:pt x="126170" y="400855"/>
                    <a:pt x="109852" y="379098"/>
                    <a:pt x="93534" y="357340"/>
                  </a:cubicBezTo>
                  <a:cubicBezTo>
                    <a:pt x="77216" y="335583"/>
                    <a:pt x="71777" y="308387"/>
                    <a:pt x="66337" y="283910"/>
                  </a:cubicBezTo>
                  <a:cubicBezTo>
                    <a:pt x="63618" y="267592"/>
                    <a:pt x="58178" y="245834"/>
                    <a:pt x="58178" y="224077"/>
                  </a:cubicBezTo>
                  <a:cubicBezTo>
                    <a:pt x="58178" y="194161"/>
                    <a:pt x="69057" y="175123"/>
                    <a:pt x="82655" y="150647"/>
                  </a:cubicBezTo>
                  <a:cubicBezTo>
                    <a:pt x="96253" y="128889"/>
                    <a:pt x="115291" y="109852"/>
                    <a:pt x="137048" y="96253"/>
                  </a:cubicBezTo>
                  <a:cubicBezTo>
                    <a:pt x="158806" y="82655"/>
                    <a:pt x="172404" y="79936"/>
                    <a:pt x="196881" y="77216"/>
                  </a:cubicBezTo>
                  <a:cubicBezTo>
                    <a:pt x="210479" y="77216"/>
                    <a:pt x="215918" y="69057"/>
                    <a:pt x="232236" y="69057"/>
                  </a:cubicBezTo>
                  <a:cubicBezTo>
                    <a:pt x="243115" y="69057"/>
                    <a:pt x="251274" y="71776"/>
                    <a:pt x="262153" y="74496"/>
                  </a:cubicBezTo>
                  <a:cubicBezTo>
                    <a:pt x="273031" y="77216"/>
                    <a:pt x="283910" y="82655"/>
                    <a:pt x="294789" y="85375"/>
                  </a:cubicBezTo>
                  <a:cubicBezTo>
                    <a:pt x="308387" y="90814"/>
                    <a:pt x="319265" y="96253"/>
                    <a:pt x="327424" y="104412"/>
                  </a:cubicBezTo>
                  <a:cubicBezTo>
                    <a:pt x="327424" y="90814"/>
                    <a:pt x="327424" y="79936"/>
                    <a:pt x="332864" y="74496"/>
                  </a:cubicBezTo>
                  <a:cubicBezTo>
                    <a:pt x="335583" y="71776"/>
                    <a:pt x="335583" y="69057"/>
                    <a:pt x="338303" y="63618"/>
                  </a:cubicBezTo>
                  <a:cubicBezTo>
                    <a:pt x="341023" y="60898"/>
                    <a:pt x="346462" y="58178"/>
                    <a:pt x="349182" y="58178"/>
                  </a:cubicBezTo>
                  <a:cubicBezTo>
                    <a:pt x="351901" y="58178"/>
                    <a:pt x="357341" y="60898"/>
                    <a:pt x="357341" y="63618"/>
                  </a:cubicBezTo>
                  <a:cubicBezTo>
                    <a:pt x="360060" y="69057"/>
                    <a:pt x="365500" y="77216"/>
                    <a:pt x="365500" y="82655"/>
                  </a:cubicBezTo>
                  <a:cubicBezTo>
                    <a:pt x="365500" y="90814"/>
                    <a:pt x="368219" y="123450"/>
                    <a:pt x="368219" y="142488"/>
                  </a:cubicBezTo>
                  <a:cubicBezTo>
                    <a:pt x="368219" y="158806"/>
                    <a:pt x="368219" y="177843"/>
                    <a:pt x="368219" y="188722"/>
                  </a:cubicBezTo>
                  <a:cubicBezTo>
                    <a:pt x="368219" y="213199"/>
                    <a:pt x="370939" y="224077"/>
                    <a:pt x="370939" y="245834"/>
                  </a:cubicBezTo>
                  <a:cubicBezTo>
                    <a:pt x="370939" y="256713"/>
                    <a:pt x="370939" y="286629"/>
                    <a:pt x="354621" y="286629"/>
                  </a:cubicBezTo>
                  <a:cubicBezTo>
                    <a:pt x="346462" y="286629"/>
                    <a:pt x="343742" y="283910"/>
                    <a:pt x="338303" y="281190"/>
                  </a:cubicBezTo>
                  <a:cubicBezTo>
                    <a:pt x="332864" y="278470"/>
                    <a:pt x="330144" y="270311"/>
                    <a:pt x="330144" y="264872"/>
                  </a:cubicBezTo>
                  <a:cubicBezTo>
                    <a:pt x="327424" y="256713"/>
                    <a:pt x="327424" y="251274"/>
                    <a:pt x="327424" y="248554"/>
                  </a:cubicBezTo>
                  <a:cubicBezTo>
                    <a:pt x="327424" y="240395"/>
                    <a:pt x="330144" y="234956"/>
                    <a:pt x="330144" y="221357"/>
                  </a:cubicBezTo>
                  <a:cubicBezTo>
                    <a:pt x="330144" y="213199"/>
                    <a:pt x="330144" y="202320"/>
                    <a:pt x="330144" y="188722"/>
                  </a:cubicBezTo>
                  <a:cubicBezTo>
                    <a:pt x="330144" y="180563"/>
                    <a:pt x="327424" y="172404"/>
                    <a:pt x="327424" y="164245"/>
                  </a:cubicBezTo>
                  <a:cubicBezTo>
                    <a:pt x="324705" y="153366"/>
                    <a:pt x="319265" y="142488"/>
                    <a:pt x="311107" y="134329"/>
                  </a:cubicBezTo>
                  <a:cubicBezTo>
                    <a:pt x="302948" y="126170"/>
                    <a:pt x="294789" y="120730"/>
                    <a:pt x="283910" y="118011"/>
                  </a:cubicBezTo>
                  <a:cubicBezTo>
                    <a:pt x="275751" y="115291"/>
                    <a:pt x="262153" y="112571"/>
                    <a:pt x="251274" y="112571"/>
                  </a:cubicBezTo>
                  <a:cubicBezTo>
                    <a:pt x="237676" y="112571"/>
                    <a:pt x="224077" y="115291"/>
                    <a:pt x="215918" y="123450"/>
                  </a:cubicBezTo>
                  <a:cubicBezTo>
                    <a:pt x="207759" y="128889"/>
                    <a:pt x="205040" y="139768"/>
                    <a:pt x="202320" y="147927"/>
                  </a:cubicBezTo>
                  <a:cubicBezTo>
                    <a:pt x="196881" y="158806"/>
                    <a:pt x="191442" y="166964"/>
                    <a:pt x="188722" y="180563"/>
                  </a:cubicBezTo>
                  <a:cubicBezTo>
                    <a:pt x="186002" y="191441"/>
                    <a:pt x="183283" y="199600"/>
                    <a:pt x="183283" y="210479"/>
                  </a:cubicBezTo>
                  <a:cubicBezTo>
                    <a:pt x="183283" y="215918"/>
                    <a:pt x="186002" y="221357"/>
                    <a:pt x="188722" y="226797"/>
                  </a:cubicBezTo>
                  <a:cubicBezTo>
                    <a:pt x="191442" y="234956"/>
                    <a:pt x="188722" y="243115"/>
                    <a:pt x="188722" y="248554"/>
                  </a:cubicBezTo>
                  <a:cubicBezTo>
                    <a:pt x="191442" y="259433"/>
                    <a:pt x="202320" y="264872"/>
                    <a:pt x="210479" y="273031"/>
                  </a:cubicBezTo>
                  <a:cubicBezTo>
                    <a:pt x="218638" y="281190"/>
                    <a:pt x="221358" y="292069"/>
                    <a:pt x="226797" y="300228"/>
                  </a:cubicBezTo>
                  <a:cubicBezTo>
                    <a:pt x="234956" y="311106"/>
                    <a:pt x="245835" y="321985"/>
                    <a:pt x="256713" y="332864"/>
                  </a:cubicBezTo>
                  <a:cubicBezTo>
                    <a:pt x="259433" y="338303"/>
                    <a:pt x="267592" y="343742"/>
                    <a:pt x="275751" y="351901"/>
                  </a:cubicBezTo>
                  <a:cubicBezTo>
                    <a:pt x="292069" y="368219"/>
                    <a:pt x="311107" y="384537"/>
                    <a:pt x="324705" y="400855"/>
                  </a:cubicBezTo>
                  <a:cubicBezTo>
                    <a:pt x="332864" y="409014"/>
                    <a:pt x="335583" y="419892"/>
                    <a:pt x="343742" y="428051"/>
                  </a:cubicBezTo>
                  <a:cubicBezTo>
                    <a:pt x="346462" y="430771"/>
                    <a:pt x="349182" y="430771"/>
                    <a:pt x="351901" y="433491"/>
                  </a:cubicBezTo>
                  <a:cubicBezTo>
                    <a:pt x="354621" y="436210"/>
                    <a:pt x="357341" y="441650"/>
                    <a:pt x="360060" y="447089"/>
                  </a:cubicBezTo>
                  <a:cubicBezTo>
                    <a:pt x="368219" y="455248"/>
                    <a:pt x="376378" y="463407"/>
                    <a:pt x="384537" y="474286"/>
                  </a:cubicBezTo>
                  <a:cubicBezTo>
                    <a:pt x="389977" y="482445"/>
                    <a:pt x="392696" y="496043"/>
                    <a:pt x="395416" y="506921"/>
                  </a:cubicBezTo>
                  <a:cubicBezTo>
                    <a:pt x="400855" y="517800"/>
                    <a:pt x="400855" y="528679"/>
                    <a:pt x="406295" y="536838"/>
                  </a:cubicBezTo>
                  <a:cubicBezTo>
                    <a:pt x="409014" y="539557"/>
                    <a:pt x="409014" y="544997"/>
                    <a:pt x="409014" y="547716"/>
                  </a:cubicBezTo>
                  <a:cubicBezTo>
                    <a:pt x="409014" y="555875"/>
                    <a:pt x="406295" y="561314"/>
                    <a:pt x="406295" y="569473"/>
                  </a:cubicBezTo>
                  <a:cubicBezTo>
                    <a:pt x="406295" y="574913"/>
                    <a:pt x="403575" y="577632"/>
                    <a:pt x="403575" y="583072"/>
                  </a:cubicBezTo>
                  <a:lnTo>
                    <a:pt x="403575" y="583072"/>
                  </a:ln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7" name="Freeform: Shape 36">
              <a:extLst>
                <a:ext uri="{FF2B5EF4-FFF2-40B4-BE49-F238E27FC236}">
                  <a16:creationId xmlns:a16="http://schemas.microsoft.com/office/drawing/2014/main" id="{EED642CE-A789-4786-8A92-D88EC62AC133}"/>
                </a:ext>
              </a:extLst>
            </p:cNvPr>
            <p:cNvSpPr/>
            <p:nvPr/>
          </p:nvSpPr>
          <p:spPr bwMode="black">
            <a:xfrm>
              <a:off x="2456032" y="4192158"/>
              <a:ext cx="571128" cy="761503"/>
            </a:xfrm>
            <a:custGeom>
              <a:avLst/>
              <a:gdLst>
                <a:gd name="connsiteX0" fmla="*/ 512361 w 571128"/>
                <a:gd name="connsiteY0" fmla="*/ 79936 h 761503"/>
                <a:gd name="connsiteX1" fmla="*/ 539558 w 571128"/>
                <a:gd name="connsiteY1" fmla="*/ 96253 h 761503"/>
                <a:gd name="connsiteX2" fmla="*/ 534118 w 571128"/>
                <a:gd name="connsiteY2" fmla="*/ 112571 h 761503"/>
                <a:gd name="connsiteX3" fmla="*/ 523240 w 571128"/>
                <a:gd name="connsiteY3" fmla="*/ 120730 h 761503"/>
                <a:gd name="connsiteX4" fmla="*/ 506922 w 571128"/>
                <a:gd name="connsiteY4" fmla="*/ 123450 h 761503"/>
                <a:gd name="connsiteX5" fmla="*/ 477006 w 571128"/>
                <a:gd name="connsiteY5" fmla="*/ 123450 h 761503"/>
                <a:gd name="connsiteX6" fmla="*/ 479725 w 571128"/>
                <a:gd name="connsiteY6" fmla="*/ 145207 h 761503"/>
                <a:gd name="connsiteX7" fmla="*/ 477006 w 571128"/>
                <a:gd name="connsiteY7" fmla="*/ 180563 h 761503"/>
                <a:gd name="connsiteX8" fmla="*/ 482445 w 571128"/>
                <a:gd name="connsiteY8" fmla="*/ 232236 h 761503"/>
                <a:gd name="connsiteX9" fmla="*/ 485165 w 571128"/>
                <a:gd name="connsiteY9" fmla="*/ 283910 h 761503"/>
                <a:gd name="connsiteX10" fmla="*/ 485165 w 571128"/>
                <a:gd name="connsiteY10" fmla="*/ 327424 h 761503"/>
                <a:gd name="connsiteX11" fmla="*/ 487884 w 571128"/>
                <a:gd name="connsiteY11" fmla="*/ 373658 h 761503"/>
                <a:gd name="connsiteX12" fmla="*/ 485165 w 571128"/>
                <a:gd name="connsiteY12" fmla="*/ 419892 h 761503"/>
                <a:gd name="connsiteX13" fmla="*/ 485165 w 571128"/>
                <a:gd name="connsiteY13" fmla="*/ 463407 h 761503"/>
                <a:gd name="connsiteX14" fmla="*/ 482445 w 571128"/>
                <a:gd name="connsiteY14" fmla="*/ 515080 h 761503"/>
                <a:gd name="connsiteX15" fmla="*/ 482445 w 571128"/>
                <a:gd name="connsiteY15" fmla="*/ 558595 h 761503"/>
                <a:gd name="connsiteX16" fmla="*/ 479725 w 571128"/>
                <a:gd name="connsiteY16" fmla="*/ 602109 h 761503"/>
                <a:gd name="connsiteX17" fmla="*/ 485165 w 571128"/>
                <a:gd name="connsiteY17" fmla="*/ 648343 h 761503"/>
                <a:gd name="connsiteX18" fmla="*/ 474286 w 571128"/>
                <a:gd name="connsiteY18" fmla="*/ 675540 h 761503"/>
                <a:gd name="connsiteX19" fmla="*/ 428052 w 571128"/>
                <a:gd name="connsiteY19" fmla="*/ 691858 h 761503"/>
                <a:gd name="connsiteX20" fmla="*/ 387257 w 571128"/>
                <a:gd name="connsiteY20" fmla="*/ 683699 h 761503"/>
                <a:gd name="connsiteX21" fmla="*/ 351901 w 571128"/>
                <a:gd name="connsiteY21" fmla="*/ 664661 h 761503"/>
                <a:gd name="connsiteX22" fmla="*/ 305667 w 571128"/>
                <a:gd name="connsiteY22" fmla="*/ 596670 h 761503"/>
                <a:gd name="connsiteX23" fmla="*/ 270312 w 571128"/>
                <a:gd name="connsiteY23" fmla="*/ 509641 h 761503"/>
                <a:gd name="connsiteX24" fmla="*/ 251274 w 571128"/>
                <a:gd name="connsiteY24" fmla="*/ 460687 h 761503"/>
                <a:gd name="connsiteX25" fmla="*/ 224077 w 571128"/>
                <a:gd name="connsiteY25" fmla="*/ 381817 h 761503"/>
                <a:gd name="connsiteX26" fmla="*/ 207759 w 571128"/>
                <a:gd name="connsiteY26" fmla="*/ 330144 h 761503"/>
                <a:gd name="connsiteX27" fmla="*/ 191442 w 571128"/>
                <a:gd name="connsiteY27" fmla="*/ 286629 h 761503"/>
                <a:gd name="connsiteX28" fmla="*/ 183283 w 571128"/>
                <a:gd name="connsiteY28" fmla="*/ 278470 h 761503"/>
                <a:gd name="connsiteX29" fmla="*/ 180563 w 571128"/>
                <a:gd name="connsiteY29" fmla="*/ 292069 h 761503"/>
                <a:gd name="connsiteX30" fmla="*/ 180563 w 571128"/>
                <a:gd name="connsiteY30" fmla="*/ 305667 h 761503"/>
                <a:gd name="connsiteX31" fmla="*/ 183283 w 571128"/>
                <a:gd name="connsiteY31" fmla="*/ 354621 h 761503"/>
                <a:gd name="connsiteX32" fmla="*/ 188722 w 571128"/>
                <a:gd name="connsiteY32" fmla="*/ 449809 h 761503"/>
                <a:gd name="connsiteX33" fmla="*/ 188722 w 571128"/>
                <a:gd name="connsiteY33" fmla="*/ 479725 h 761503"/>
                <a:gd name="connsiteX34" fmla="*/ 188722 w 571128"/>
                <a:gd name="connsiteY34" fmla="*/ 542277 h 761503"/>
                <a:gd name="connsiteX35" fmla="*/ 186002 w 571128"/>
                <a:gd name="connsiteY35" fmla="*/ 615708 h 761503"/>
                <a:gd name="connsiteX36" fmla="*/ 186002 w 571128"/>
                <a:gd name="connsiteY36" fmla="*/ 637465 h 761503"/>
                <a:gd name="connsiteX37" fmla="*/ 183283 w 571128"/>
                <a:gd name="connsiteY37" fmla="*/ 664661 h 761503"/>
                <a:gd name="connsiteX38" fmla="*/ 226797 w 571128"/>
                <a:gd name="connsiteY38" fmla="*/ 664661 h 761503"/>
                <a:gd name="connsiteX39" fmla="*/ 253994 w 571128"/>
                <a:gd name="connsiteY39" fmla="*/ 680979 h 761503"/>
                <a:gd name="connsiteX40" fmla="*/ 248554 w 571128"/>
                <a:gd name="connsiteY40" fmla="*/ 697297 h 761503"/>
                <a:gd name="connsiteX41" fmla="*/ 234956 w 571128"/>
                <a:gd name="connsiteY41" fmla="*/ 705456 h 761503"/>
                <a:gd name="connsiteX42" fmla="*/ 218638 w 571128"/>
                <a:gd name="connsiteY42" fmla="*/ 708176 h 761503"/>
                <a:gd name="connsiteX43" fmla="*/ 183283 w 571128"/>
                <a:gd name="connsiteY43" fmla="*/ 708176 h 761503"/>
                <a:gd name="connsiteX44" fmla="*/ 150647 w 571128"/>
                <a:gd name="connsiteY44" fmla="*/ 708176 h 761503"/>
                <a:gd name="connsiteX45" fmla="*/ 107132 w 571128"/>
                <a:gd name="connsiteY45" fmla="*/ 708176 h 761503"/>
                <a:gd name="connsiteX46" fmla="*/ 88094 w 571128"/>
                <a:gd name="connsiteY46" fmla="*/ 708176 h 761503"/>
                <a:gd name="connsiteX47" fmla="*/ 69057 w 571128"/>
                <a:gd name="connsiteY47" fmla="*/ 702737 h 761503"/>
                <a:gd name="connsiteX48" fmla="*/ 58178 w 571128"/>
                <a:gd name="connsiteY48" fmla="*/ 686419 h 761503"/>
                <a:gd name="connsiteX49" fmla="*/ 60898 w 571128"/>
                <a:gd name="connsiteY49" fmla="*/ 678260 h 761503"/>
                <a:gd name="connsiteX50" fmla="*/ 77216 w 571128"/>
                <a:gd name="connsiteY50" fmla="*/ 670101 h 761503"/>
                <a:gd name="connsiteX51" fmla="*/ 120730 w 571128"/>
                <a:gd name="connsiteY51" fmla="*/ 664661 h 761503"/>
                <a:gd name="connsiteX52" fmla="*/ 131609 w 571128"/>
                <a:gd name="connsiteY52" fmla="*/ 664661 h 761503"/>
                <a:gd name="connsiteX53" fmla="*/ 134329 w 571128"/>
                <a:gd name="connsiteY53" fmla="*/ 539557 h 761503"/>
                <a:gd name="connsiteX54" fmla="*/ 134329 w 571128"/>
                <a:gd name="connsiteY54" fmla="*/ 504202 h 761503"/>
                <a:gd name="connsiteX55" fmla="*/ 131609 w 571128"/>
                <a:gd name="connsiteY55" fmla="*/ 376378 h 761503"/>
                <a:gd name="connsiteX56" fmla="*/ 131609 w 571128"/>
                <a:gd name="connsiteY56" fmla="*/ 302947 h 761503"/>
                <a:gd name="connsiteX57" fmla="*/ 134329 w 571128"/>
                <a:gd name="connsiteY57" fmla="*/ 221357 h 761503"/>
                <a:gd name="connsiteX58" fmla="*/ 137048 w 571128"/>
                <a:gd name="connsiteY58" fmla="*/ 123450 h 761503"/>
                <a:gd name="connsiteX59" fmla="*/ 107132 w 571128"/>
                <a:gd name="connsiteY59" fmla="*/ 123450 h 761503"/>
                <a:gd name="connsiteX60" fmla="*/ 88094 w 571128"/>
                <a:gd name="connsiteY60" fmla="*/ 123450 h 761503"/>
                <a:gd name="connsiteX61" fmla="*/ 69057 w 571128"/>
                <a:gd name="connsiteY61" fmla="*/ 118011 h 761503"/>
                <a:gd name="connsiteX62" fmla="*/ 58178 w 571128"/>
                <a:gd name="connsiteY62" fmla="*/ 101693 h 761503"/>
                <a:gd name="connsiteX63" fmla="*/ 60898 w 571128"/>
                <a:gd name="connsiteY63" fmla="*/ 93534 h 761503"/>
                <a:gd name="connsiteX64" fmla="*/ 77216 w 571128"/>
                <a:gd name="connsiteY64" fmla="*/ 85375 h 761503"/>
                <a:gd name="connsiteX65" fmla="*/ 131609 w 571128"/>
                <a:gd name="connsiteY65" fmla="*/ 79936 h 761503"/>
                <a:gd name="connsiteX66" fmla="*/ 161525 w 571128"/>
                <a:gd name="connsiteY66" fmla="*/ 79936 h 761503"/>
                <a:gd name="connsiteX67" fmla="*/ 177843 w 571128"/>
                <a:gd name="connsiteY67" fmla="*/ 66337 h 761503"/>
                <a:gd name="connsiteX68" fmla="*/ 202320 w 571128"/>
                <a:gd name="connsiteY68" fmla="*/ 58178 h 761503"/>
                <a:gd name="connsiteX69" fmla="*/ 234956 w 571128"/>
                <a:gd name="connsiteY69" fmla="*/ 77216 h 761503"/>
                <a:gd name="connsiteX70" fmla="*/ 251274 w 571128"/>
                <a:gd name="connsiteY70" fmla="*/ 107132 h 761503"/>
                <a:gd name="connsiteX71" fmla="*/ 267592 w 571128"/>
                <a:gd name="connsiteY71" fmla="*/ 147927 h 761503"/>
                <a:gd name="connsiteX72" fmla="*/ 281190 w 571128"/>
                <a:gd name="connsiteY72" fmla="*/ 183282 h 761503"/>
                <a:gd name="connsiteX73" fmla="*/ 297508 w 571128"/>
                <a:gd name="connsiteY73" fmla="*/ 224077 h 761503"/>
                <a:gd name="connsiteX74" fmla="*/ 308387 w 571128"/>
                <a:gd name="connsiteY74" fmla="*/ 264872 h 761503"/>
                <a:gd name="connsiteX75" fmla="*/ 319265 w 571128"/>
                <a:gd name="connsiteY75" fmla="*/ 300228 h 761503"/>
                <a:gd name="connsiteX76" fmla="*/ 351901 w 571128"/>
                <a:gd name="connsiteY76" fmla="*/ 379098 h 761503"/>
                <a:gd name="connsiteX77" fmla="*/ 365500 w 571128"/>
                <a:gd name="connsiteY77" fmla="*/ 417173 h 761503"/>
                <a:gd name="connsiteX78" fmla="*/ 379098 w 571128"/>
                <a:gd name="connsiteY78" fmla="*/ 457968 h 761503"/>
                <a:gd name="connsiteX79" fmla="*/ 395416 w 571128"/>
                <a:gd name="connsiteY79" fmla="*/ 496043 h 761503"/>
                <a:gd name="connsiteX80" fmla="*/ 406295 w 571128"/>
                <a:gd name="connsiteY80" fmla="*/ 512361 h 761503"/>
                <a:gd name="connsiteX81" fmla="*/ 411734 w 571128"/>
                <a:gd name="connsiteY81" fmla="*/ 531398 h 761503"/>
                <a:gd name="connsiteX82" fmla="*/ 419893 w 571128"/>
                <a:gd name="connsiteY82" fmla="*/ 558595 h 761503"/>
                <a:gd name="connsiteX83" fmla="*/ 425332 w 571128"/>
                <a:gd name="connsiteY83" fmla="*/ 564034 h 761503"/>
                <a:gd name="connsiteX84" fmla="*/ 430771 w 571128"/>
                <a:gd name="connsiteY84" fmla="*/ 558595 h 761503"/>
                <a:gd name="connsiteX85" fmla="*/ 430771 w 571128"/>
                <a:gd name="connsiteY85" fmla="*/ 550436 h 761503"/>
                <a:gd name="connsiteX86" fmla="*/ 430771 w 571128"/>
                <a:gd name="connsiteY86" fmla="*/ 501482 h 761503"/>
                <a:gd name="connsiteX87" fmla="*/ 430771 w 571128"/>
                <a:gd name="connsiteY87" fmla="*/ 403575 h 761503"/>
                <a:gd name="connsiteX88" fmla="*/ 425332 w 571128"/>
                <a:gd name="connsiteY88" fmla="*/ 313826 h 761503"/>
                <a:gd name="connsiteX89" fmla="*/ 425332 w 571128"/>
                <a:gd name="connsiteY89" fmla="*/ 248554 h 761503"/>
                <a:gd name="connsiteX90" fmla="*/ 425332 w 571128"/>
                <a:gd name="connsiteY90" fmla="*/ 210479 h 761503"/>
                <a:gd name="connsiteX91" fmla="*/ 422613 w 571128"/>
                <a:gd name="connsiteY91" fmla="*/ 153366 h 761503"/>
                <a:gd name="connsiteX92" fmla="*/ 425332 w 571128"/>
                <a:gd name="connsiteY92" fmla="*/ 123450 h 761503"/>
                <a:gd name="connsiteX93" fmla="*/ 398136 w 571128"/>
                <a:gd name="connsiteY93" fmla="*/ 123450 h 761503"/>
                <a:gd name="connsiteX94" fmla="*/ 379098 w 571128"/>
                <a:gd name="connsiteY94" fmla="*/ 123450 h 761503"/>
                <a:gd name="connsiteX95" fmla="*/ 360060 w 571128"/>
                <a:gd name="connsiteY95" fmla="*/ 118011 h 761503"/>
                <a:gd name="connsiteX96" fmla="*/ 349182 w 571128"/>
                <a:gd name="connsiteY96" fmla="*/ 101693 h 761503"/>
                <a:gd name="connsiteX97" fmla="*/ 351901 w 571128"/>
                <a:gd name="connsiteY97" fmla="*/ 93534 h 761503"/>
                <a:gd name="connsiteX98" fmla="*/ 368219 w 571128"/>
                <a:gd name="connsiteY98" fmla="*/ 85375 h 761503"/>
                <a:gd name="connsiteX99" fmla="*/ 422613 w 571128"/>
                <a:gd name="connsiteY99" fmla="*/ 79936 h 761503"/>
                <a:gd name="connsiteX100" fmla="*/ 444370 w 571128"/>
                <a:gd name="connsiteY100" fmla="*/ 79936 h 761503"/>
                <a:gd name="connsiteX101" fmla="*/ 463407 w 571128"/>
                <a:gd name="connsiteY101" fmla="*/ 71776 h 761503"/>
                <a:gd name="connsiteX102" fmla="*/ 477006 w 571128"/>
                <a:gd name="connsiteY102" fmla="*/ 79936 h 761503"/>
                <a:gd name="connsiteX103" fmla="*/ 512361 w 571128"/>
                <a:gd name="connsiteY103" fmla="*/ 79936 h 761503"/>
                <a:gd name="connsiteX104" fmla="*/ 512361 w 571128"/>
                <a:gd name="connsiteY104" fmla="*/ 79936 h 761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</a:cxnLst>
              <a:rect l="l" t="t" r="r" b="b"/>
              <a:pathLst>
                <a:path w="571128" h="761503">
                  <a:moveTo>
                    <a:pt x="512361" y="79936"/>
                  </a:moveTo>
                  <a:cubicBezTo>
                    <a:pt x="520520" y="79936"/>
                    <a:pt x="539558" y="79936"/>
                    <a:pt x="539558" y="96253"/>
                  </a:cubicBezTo>
                  <a:cubicBezTo>
                    <a:pt x="539558" y="104412"/>
                    <a:pt x="539558" y="107132"/>
                    <a:pt x="534118" y="112571"/>
                  </a:cubicBezTo>
                  <a:cubicBezTo>
                    <a:pt x="531399" y="118011"/>
                    <a:pt x="525960" y="120730"/>
                    <a:pt x="523240" y="120730"/>
                  </a:cubicBezTo>
                  <a:cubicBezTo>
                    <a:pt x="515081" y="123450"/>
                    <a:pt x="512361" y="123450"/>
                    <a:pt x="506922" y="123450"/>
                  </a:cubicBezTo>
                  <a:cubicBezTo>
                    <a:pt x="504202" y="123450"/>
                    <a:pt x="490604" y="123450"/>
                    <a:pt x="477006" y="123450"/>
                  </a:cubicBezTo>
                  <a:cubicBezTo>
                    <a:pt x="477006" y="131609"/>
                    <a:pt x="479725" y="137048"/>
                    <a:pt x="479725" y="145207"/>
                  </a:cubicBezTo>
                  <a:cubicBezTo>
                    <a:pt x="479725" y="156086"/>
                    <a:pt x="477006" y="166964"/>
                    <a:pt x="477006" y="180563"/>
                  </a:cubicBezTo>
                  <a:cubicBezTo>
                    <a:pt x="477006" y="196881"/>
                    <a:pt x="479725" y="215918"/>
                    <a:pt x="482445" y="232236"/>
                  </a:cubicBezTo>
                  <a:cubicBezTo>
                    <a:pt x="485165" y="248554"/>
                    <a:pt x="485165" y="267592"/>
                    <a:pt x="485165" y="283910"/>
                  </a:cubicBezTo>
                  <a:cubicBezTo>
                    <a:pt x="485165" y="297508"/>
                    <a:pt x="485165" y="313826"/>
                    <a:pt x="485165" y="327424"/>
                  </a:cubicBezTo>
                  <a:cubicBezTo>
                    <a:pt x="485165" y="343742"/>
                    <a:pt x="487884" y="357340"/>
                    <a:pt x="487884" y="373658"/>
                  </a:cubicBezTo>
                  <a:cubicBezTo>
                    <a:pt x="487884" y="389976"/>
                    <a:pt x="485165" y="403575"/>
                    <a:pt x="485165" y="419892"/>
                  </a:cubicBezTo>
                  <a:cubicBezTo>
                    <a:pt x="485165" y="436210"/>
                    <a:pt x="485165" y="449809"/>
                    <a:pt x="485165" y="463407"/>
                  </a:cubicBezTo>
                  <a:cubicBezTo>
                    <a:pt x="485165" y="479725"/>
                    <a:pt x="485165" y="498762"/>
                    <a:pt x="482445" y="515080"/>
                  </a:cubicBezTo>
                  <a:cubicBezTo>
                    <a:pt x="482445" y="528679"/>
                    <a:pt x="482445" y="542277"/>
                    <a:pt x="482445" y="558595"/>
                  </a:cubicBezTo>
                  <a:cubicBezTo>
                    <a:pt x="482445" y="572193"/>
                    <a:pt x="479725" y="588511"/>
                    <a:pt x="479725" y="602109"/>
                  </a:cubicBezTo>
                  <a:cubicBezTo>
                    <a:pt x="479725" y="615708"/>
                    <a:pt x="485165" y="632026"/>
                    <a:pt x="485165" y="648343"/>
                  </a:cubicBezTo>
                  <a:cubicBezTo>
                    <a:pt x="485165" y="659222"/>
                    <a:pt x="482445" y="670101"/>
                    <a:pt x="474286" y="675540"/>
                  </a:cubicBezTo>
                  <a:cubicBezTo>
                    <a:pt x="460688" y="686419"/>
                    <a:pt x="444370" y="691858"/>
                    <a:pt x="428052" y="691858"/>
                  </a:cubicBezTo>
                  <a:cubicBezTo>
                    <a:pt x="414454" y="691858"/>
                    <a:pt x="400855" y="689138"/>
                    <a:pt x="387257" y="683699"/>
                  </a:cubicBezTo>
                  <a:cubicBezTo>
                    <a:pt x="373659" y="678260"/>
                    <a:pt x="360060" y="672820"/>
                    <a:pt x="351901" y="664661"/>
                  </a:cubicBezTo>
                  <a:cubicBezTo>
                    <a:pt x="330144" y="645624"/>
                    <a:pt x="316546" y="621147"/>
                    <a:pt x="305667" y="596670"/>
                  </a:cubicBezTo>
                  <a:cubicBezTo>
                    <a:pt x="292069" y="569473"/>
                    <a:pt x="281190" y="539557"/>
                    <a:pt x="270312" y="509641"/>
                  </a:cubicBezTo>
                  <a:cubicBezTo>
                    <a:pt x="264872" y="493323"/>
                    <a:pt x="256713" y="477005"/>
                    <a:pt x="251274" y="460687"/>
                  </a:cubicBezTo>
                  <a:cubicBezTo>
                    <a:pt x="240395" y="433491"/>
                    <a:pt x="232236" y="409014"/>
                    <a:pt x="224077" y="381817"/>
                  </a:cubicBezTo>
                  <a:cubicBezTo>
                    <a:pt x="218638" y="365499"/>
                    <a:pt x="213199" y="346462"/>
                    <a:pt x="207759" y="330144"/>
                  </a:cubicBezTo>
                  <a:cubicBezTo>
                    <a:pt x="202320" y="316545"/>
                    <a:pt x="196881" y="300228"/>
                    <a:pt x="191442" y="286629"/>
                  </a:cubicBezTo>
                  <a:cubicBezTo>
                    <a:pt x="188722" y="281190"/>
                    <a:pt x="186002" y="278470"/>
                    <a:pt x="183283" y="278470"/>
                  </a:cubicBezTo>
                  <a:cubicBezTo>
                    <a:pt x="180563" y="278470"/>
                    <a:pt x="180563" y="286629"/>
                    <a:pt x="180563" y="292069"/>
                  </a:cubicBezTo>
                  <a:cubicBezTo>
                    <a:pt x="180563" y="297508"/>
                    <a:pt x="180563" y="302947"/>
                    <a:pt x="180563" y="305667"/>
                  </a:cubicBezTo>
                  <a:cubicBezTo>
                    <a:pt x="180563" y="321985"/>
                    <a:pt x="183283" y="338303"/>
                    <a:pt x="183283" y="354621"/>
                  </a:cubicBezTo>
                  <a:cubicBezTo>
                    <a:pt x="183283" y="387257"/>
                    <a:pt x="186002" y="417173"/>
                    <a:pt x="188722" y="449809"/>
                  </a:cubicBezTo>
                  <a:cubicBezTo>
                    <a:pt x="188722" y="460687"/>
                    <a:pt x="188722" y="468846"/>
                    <a:pt x="188722" y="479725"/>
                  </a:cubicBezTo>
                  <a:cubicBezTo>
                    <a:pt x="188722" y="501482"/>
                    <a:pt x="188722" y="523239"/>
                    <a:pt x="188722" y="542277"/>
                  </a:cubicBezTo>
                  <a:cubicBezTo>
                    <a:pt x="188722" y="566754"/>
                    <a:pt x="186002" y="591231"/>
                    <a:pt x="186002" y="615708"/>
                  </a:cubicBezTo>
                  <a:cubicBezTo>
                    <a:pt x="186002" y="623867"/>
                    <a:pt x="186002" y="632026"/>
                    <a:pt x="186002" y="637465"/>
                  </a:cubicBezTo>
                  <a:cubicBezTo>
                    <a:pt x="186002" y="645624"/>
                    <a:pt x="183283" y="656502"/>
                    <a:pt x="183283" y="664661"/>
                  </a:cubicBezTo>
                  <a:cubicBezTo>
                    <a:pt x="202320" y="664661"/>
                    <a:pt x="218638" y="664661"/>
                    <a:pt x="226797" y="664661"/>
                  </a:cubicBezTo>
                  <a:cubicBezTo>
                    <a:pt x="234956" y="664661"/>
                    <a:pt x="253994" y="664661"/>
                    <a:pt x="253994" y="680979"/>
                  </a:cubicBezTo>
                  <a:cubicBezTo>
                    <a:pt x="253994" y="689138"/>
                    <a:pt x="253994" y="691858"/>
                    <a:pt x="248554" y="697297"/>
                  </a:cubicBezTo>
                  <a:cubicBezTo>
                    <a:pt x="245835" y="702737"/>
                    <a:pt x="240395" y="705456"/>
                    <a:pt x="234956" y="705456"/>
                  </a:cubicBezTo>
                  <a:cubicBezTo>
                    <a:pt x="226797" y="708176"/>
                    <a:pt x="224077" y="708176"/>
                    <a:pt x="218638" y="708176"/>
                  </a:cubicBezTo>
                  <a:cubicBezTo>
                    <a:pt x="215918" y="708176"/>
                    <a:pt x="199600" y="708176"/>
                    <a:pt x="183283" y="708176"/>
                  </a:cubicBezTo>
                  <a:cubicBezTo>
                    <a:pt x="166965" y="708176"/>
                    <a:pt x="153366" y="708176"/>
                    <a:pt x="150647" y="708176"/>
                  </a:cubicBezTo>
                  <a:cubicBezTo>
                    <a:pt x="139768" y="708176"/>
                    <a:pt x="120730" y="708176"/>
                    <a:pt x="107132" y="708176"/>
                  </a:cubicBezTo>
                  <a:cubicBezTo>
                    <a:pt x="101693" y="708176"/>
                    <a:pt x="96253" y="708176"/>
                    <a:pt x="88094" y="708176"/>
                  </a:cubicBezTo>
                  <a:cubicBezTo>
                    <a:pt x="82655" y="708176"/>
                    <a:pt x="74496" y="708176"/>
                    <a:pt x="69057" y="702737"/>
                  </a:cubicBezTo>
                  <a:cubicBezTo>
                    <a:pt x="63618" y="700017"/>
                    <a:pt x="58178" y="691858"/>
                    <a:pt x="58178" y="686419"/>
                  </a:cubicBezTo>
                  <a:cubicBezTo>
                    <a:pt x="58178" y="683699"/>
                    <a:pt x="58178" y="680979"/>
                    <a:pt x="60898" y="678260"/>
                  </a:cubicBezTo>
                  <a:cubicBezTo>
                    <a:pt x="63618" y="675540"/>
                    <a:pt x="71777" y="672820"/>
                    <a:pt x="77216" y="670101"/>
                  </a:cubicBezTo>
                  <a:cubicBezTo>
                    <a:pt x="90814" y="667381"/>
                    <a:pt x="115291" y="664661"/>
                    <a:pt x="120730" y="664661"/>
                  </a:cubicBezTo>
                  <a:cubicBezTo>
                    <a:pt x="123450" y="664661"/>
                    <a:pt x="126170" y="664661"/>
                    <a:pt x="131609" y="664661"/>
                  </a:cubicBezTo>
                  <a:cubicBezTo>
                    <a:pt x="131609" y="623867"/>
                    <a:pt x="134329" y="583072"/>
                    <a:pt x="134329" y="539557"/>
                  </a:cubicBezTo>
                  <a:cubicBezTo>
                    <a:pt x="134329" y="528679"/>
                    <a:pt x="134329" y="515080"/>
                    <a:pt x="134329" y="504202"/>
                  </a:cubicBezTo>
                  <a:cubicBezTo>
                    <a:pt x="131609" y="460687"/>
                    <a:pt x="131609" y="417173"/>
                    <a:pt x="131609" y="376378"/>
                  </a:cubicBezTo>
                  <a:cubicBezTo>
                    <a:pt x="131609" y="351901"/>
                    <a:pt x="131609" y="327424"/>
                    <a:pt x="131609" y="302947"/>
                  </a:cubicBezTo>
                  <a:cubicBezTo>
                    <a:pt x="131609" y="275751"/>
                    <a:pt x="131609" y="248554"/>
                    <a:pt x="134329" y="221357"/>
                  </a:cubicBezTo>
                  <a:cubicBezTo>
                    <a:pt x="134329" y="188722"/>
                    <a:pt x="137048" y="156086"/>
                    <a:pt x="137048" y="123450"/>
                  </a:cubicBezTo>
                  <a:cubicBezTo>
                    <a:pt x="126170" y="123450"/>
                    <a:pt x="115291" y="123450"/>
                    <a:pt x="107132" y="123450"/>
                  </a:cubicBezTo>
                  <a:cubicBezTo>
                    <a:pt x="101693" y="123450"/>
                    <a:pt x="96253" y="123450"/>
                    <a:pt x="88094" y="123450"/>
                  </a:cubicBezTo>
                  <a:cubicBezTo>
                    <a:pt x="82655" y="123450"/>
                    <a:pt x="74496" y="120730"/>
                    <a:pt x="69057" y="118011"/>
                  </a:cubicBezTo>
                  <a:cubicBezTo>
                    <a:pt x="63618" y="115291"/>
                    <a:pt x="58178" y="107132"/>
                    <a:pt x="58178" y="101693"/>
                  </a:cubicBezTo>
                  <a:cubicBezTo>
                    <a:pt x="58178" y="98973"/>
                    <a:pt x="58178" y="96253"/>
                    <a:pt x="60898" y="93534"/>
                  </a:cubicBezTo>
                  <a:cubicBezTo>
                    <a:pt x="63618" y="90814"/>
                    <a:pt x="71777" y="88095"/>
                    <a:pt x="77216" y="85375"/>
                  </a:cubicBezTo>
                  <a:cubicBezTo>
                    <a:pt x="90814" y="82655"/>
                    <a:pt x="126170" y="79936"/>
                    <a:pt x="131609" y="79936"/>
                  </a:cubicBezTo>
                  <a:cubicBezTo>
                    <a:pt x="137048" y="79936"/>
                    <a:pt x="147927" y="79936"/>
                    <a:pt x="161525" y="79936"/>
                  </a:cubicBezTo>
                  <a:cubicBezTo>
                    <a:pt x="166965" y="74496"/>
                    <a:pt x="172404" y="71776"/>
                    <a:pt x="177843" y="66337"/>
                  </a:cubicBezTo>
                  <a:cubicBezTo>
                    <a:pt x="186002" y="60898"/>
                    <a:pt x="194161" y="58178"/>
                    <a:pt x="202320" y="58178"/>
                  </a:cubicBezTo>
                  <a:cubicBezTo>
                    <a:pt x="215918" y="58178"/>
                    <a:pt x="226797" y="63618"/>
                    <a:pt x="234956" y="77216"/>
                  </a:cubicBezTo>
                  <a:cubicBezTo>
                    <a:pt x="240395" y="88095"/>
                    <a:pt x="248554" y="96253"/>
                    <a:pt x="251274" y="107132"/>
                  </a:cubicBezTo>
                  <a:cubicBezTo>
                    <a:pt x="256713" y="120730"/>
                    <a:pt x="259433" y="134329"/>
                    <a:pt x="267592" y="147927"/>
                  </a:cubicBezTo>
                  <a:cubicBezTo>
                    <a:pt x="273031" y="158806"/>
                    <a:pt x="275751" y="172404"/>
                    <a:pt x="281190" y="183282"/>
                  </a:cubicBezTo>
                  <a:cubicBezTo>
                    <a:pt x="286630" y="196881"/>
                    <a:pt x="292069" y="210479"/>
                    <a:pt x="297508" y="224077"/>
                  </a:cubicBezTo>
                  <a:cubicBezTo>
                    <a:pt x="300228" y="237676"/>
                    <a:pt x="305667" y="251274"/>
                    <a:pt x="308387" y="264872"/>
                  </a:cubicBezTo>
                  <a:cubicBezTo>
                    <a:pt x="311107" y="278470"/>
                    <a:pt x="311107" y="289349"/>
                    <a:pt x="319265" y="300228"/>
                  </a:cubicBezTo>
                  <a:cubicBezTo>
                    <a:pt x="332864" y="324704"/>
                    <a:pt x="346462" y="351901"/>
                    <a:pt x="351901" y="379098"/>
                  </a:cubicBezTo>
                  <a:cubicBezTo>
                    <a:pt x="354621" y="392696"/>
                    <a:pt x="360060" y="403575"/>
                    <a:pt x="365500" y="417173"/>
                  </a:cubicBezTo>
                  <a:cubicBezTo>
                    <a:pt x="373659" y="430771"/>
                    <a:pt x="373659" y="444369"/>
                    <a:pt x="379098" y="457968"/>
                  </a:cubicBezTo>
                  <a:cubicBezTo>
                    <a:pt x="381818" y="471566"/>
                    <a:pt x="387257" y="482445"/>
                    <a:pt x="395416" y="496043"/>
                  </a:cubicBezTo>
                  <a:cubicBezTo>
                    <a:pt x="398136" y="501482"/>
                    <a:pt x="403575" y="506921"/>
                    <a:pt x="406295" y="512361"/>
                  </a:cubicBezTo>
                  <a:cubicBezTo>
                    <a:pt x="409014" y="517800"/>
                    <a:pt x="409014" y="525959"/>
                    <a:pt x="411734" y="531398"/>
                  </a:cubicBezTo>
                  <a:cubicBezTo>
                    <a:pt x="414454" y="539557"/>
                    <a:pt x="417173" y="550436"/>
                    <a:pt x="419893" y="558595"/>
                  </a:cubicBezTo>
                  <a:cubicBezTo>
                    <a:pt x="422613" y="561314"/>
                    <a:pt x="422613" y="564034"/>
                    <a:pt x="425332" y="564034"/>
                  </a:cubicBezTo>
                  <a:cubicBezTo>
                    <a:pt x="428052" y="564034"/>
                    <a:pt x="428052" y="561314"/>
                    <a:pt x="430771" y="558595"/>
                  </a:cubicBezTo>
                  <a:cubicBezTo>
                    <a:pt x="430771" y="555875"/>
                    <a:pt x="430771" y="553156"/>
                    <a:pt x="430771" y="550436"/>
                  </a:cubicBezTo>
                  <a:cubicBezTo>
                    <a:pt x="430771" y="534118"/>
                    <a:pt x="430771" y="517800"/>
                    <a:pt x="430771" y="501482"/>
                  </a:cubicBezTo>
                  <a:cubicBezTo>
                    <a:pt x="430771" y="468846"/>
                    <a:pt x="433491" y="436210"/>
                    <a:pt x="430771" y="403575"/>
                  </a:cubicBezTo>
                  <a:cubicBezTo>
                    <a:pt x="430771" y="373658"/>
                    <a:pt x="425332" y="343742"/>
                    <a:pt x="425332" y="313826"/>
                  </a:cubicBezTo>
                  <a:cubicBezTo>
                    <a:pt x="425332" y="292069"/>
                    <a:pt x="425332" y="270311"/>
                    <a:pt x="425332" y="248554"/>
                  </a:cubicBezTo>
                  <a:cubicBezTo>
                    <a:pt x="425332" y="234956"/>
                    <a:pt x="425332" y="224077"/>
                    <a:pt x="425332" y="210479"/>
                  </a:cubicBezTo>
                  <a:cubicBezTo>
                    <a:pt x="425332" y="191441"/>
                    <a:pt x="422613" y="172404"/>
                    <a:pt x="422613" y="153366"/>
                  </a:cubicBezTo>
                  <a:cubicBezTo>
                    <a:pt x="422613" y="142488"/>
                    <a:pt x="422613" y="134329"/>
                    <a:pt x="425332" y="123450"/>
                  </a:cubicBezTo>
                  <a:cubicBezTo>
                    <a:pt x="417173" y="123450"/>
                    <a:pt x="406295" y="123450"/>
                    <a:pt x="398136" y="123450"/>
                  </a:cubicBezTo>
                  <a:cubicBezTo>
                    <a:pt x="392696" y="123450"/>
                    <a:pt x="387257" y="123450"/>
                    <a:pt x="379098" y="123450"/>
                  </a:cubicBezTo>
                  <a:cubicBezTo>
                    <a:pt x="373659" y="123450"/>
                    <a:pt x="365500" y="120730"/>
                    <a:pt x="360060" y="118011"/>
                  </a:cubicBezTo>
                  <a:cubicBezTo>
                    <a:pt x="354621" y="115291"/>
                    <a:pt x="349182" y="107132"/>
                    <a:pt x="349182" y="101693"/>
                  </a:cubicBezTo>
                  <a:cubicBezTo>
                    <a:pt x="349182" y="98973"/>
                    <a:pt x="349182" y="96253"/>
                    <a:pt x="351901" y="93534"/>
                  </a:cubicBezTo>
                  <a:cubicBezTo>
                    <a:pt x="354621" y="90814"/>
                    <a:pt x="362780" y="88095"/>
                    <a:pt x="368219" y="85375"/>
                  </a:cubicBezTo>
                  <a:cubicBezTo>
                    <a:pt x="381818" y="82655"/>
                    <a:pt x="417173" y="79936"/>
                    <a:pt x="422613" y="79936"/>
                  </a:cubicBezTo>
                  <a:cubicBezTo>
                    <a:pt x="428052" y="79936"/>
                    <a:pt x="433491" y="79936"/>
                    <a:pt x="444370" y="79936"/>
                  </a:cubicBezTo>
                  <a:cubicBezTo>
                    <a:pt x="449809" y="74496"/>
                    <a:pt x="455248" y="71776"/>
                    <a:pt x="463407" y="71776"/>
                  </a:cubicBezTo>
                  <a:cubicBezTo>
                    <a:pt x="471566" y="71776"/>
                    <a:pt x="477006" y="74496"/>
                    <a:pt x="477006" y="79936"/>
                  </a:cubicBezTo>
                  <a:cubicBezTo>
                    <a:pt x="490604" y="82655"/>
                    <a:pt x="504202" y="79936"/>
                    <a:pt x="512361" y="79936"/>
                  </a:cubicBezTo>
                  <a:lnTo>
                    <a:pt x="512361" y="79936"/>
                  </a:ln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8" name="Freeform: Shape 37">
              <a:extLst>
                <a:ext uri="{FF2B5EF4-FFF2-40B4-BE49-F238E27FC236}">
                  <a16:creationId xmlns:a16="http://schemas.microsoft.com/office/drawing/2014/main" id="{94386D89-2FDC-4706-8B37-36CF6ABF07FB}"/>
                </a:ext>
              </a:extLst>
            </p:cNvPr>
            <p:cNvSpPr/>
            <p:nvPr/>
          </p:nvSpPr>
          <p:spPr bwMode="black">
            <a:xfrm>
              <a:off x="2987430" y="4242177"/>
              <a:ext cx="494979" cy="674476"/>
            </a:xfrm>
            <a:custGeom>
              <a:avLst/>
              <a:gdLst>
                <a:gd name="connsiteX0" fmla="*/ 228453 w 494979"/>
                <a:gd name="connsiteY0" fmla="*/ 97907 h 674476"/>
                <a:gd name="connsiteX1" fmla="*/ 212135 w 494979"/>
                <a:gd name="connsiteY1" fmla="*/ 119665 h 674476"/>
                <a:gd name="connsiteX2" fmla="*/ 203976 w 494979"/>
                <a:gd name="connsiteY2" fmla="*/ 152300 h 674476"/>
                <a:gd name="connsiteX3" fmla="*/ 201256 w 494979"/>
                <a:gd name="connsiteY3" fmla="*/ 168618 h 674476"/>
                <a:gd name="connsiteX4" fmla="*/ 198537 w 494979"/>
                <a:gd name="connsiteY4" fmla="*/ 184936 h 674476"/>
                <a:gd name="connsiteX5" fmla="*/ 190378 w 494979"/>
                <a:gd name="connsiteY5" fmla="*/ 220292 h 674476"/>
                <a:gd name="connsiteX6" fmla="*/ 171340 w 494979"/>
                <a:gd name="connsiteY6" fmla="*/ 291003 h 674476"/>
                <a:gd name="connsiteX7" fmla="*/ 163180 w 494979"/>
                <a:gd name="connsiteY7" fmla="*/ 323639 h 674476"/>
                <a:gd name="connsiteX8" fmla="*/ 152302 w 494979"/>
                <a:gd name="connsiteY8" fmla="*/ 361714 h 674476"/>
                <a:gd name="connsiteX9" fmla="*/ 146862 w 494979"/>
                <a:gd name="connsiteY9" fmla="*/ 388910 h 674476"/>
                <a:gd name="connsiteX10" fmla="*/ 152302 w 494979"/>
                <a:gd name="connsiteY10" fmla="*/ 391630 h 674476"/>
                <a:gd name="connsiteX11" fmla="*/ 174060 w 494979"/>
                <a:gd name="connsiteY11" fmla="*/ 391630 h 674476"/>
                <a:gd name="connsiteX12" fmla="*/ 195817 w 494979"/>
                <a:gd name="connsiteY12" fmla="*/ 388910 h 674476"/>
                <a:gd name="connsiteX13" fmla="*/ 214855 w 494979"/>
                <a:gd name="connsiteY13" fmla="*/ 388910 h 674476"/>
                <a:gd name="connsiteX14" fmla="*/ 239332 w 494979"/>
                <a:gd name="connsiteY14" fmla="*/ 388910 h 674476"/>
                <a:gd name="connsiteX15" fmla="*/ 252930 w 494979"/>
                <a:gd name="connsiteY15" fmla="*/ 386191 h 674476"/>
                <a:gd name="connsiteX16" fmla="*/ 261089 w 494979"/>
                <a:gd name="connsiteY16" fmla="*/ 386191 h 674476"/>
                <a:gd name="connsiteX17" fmla="*/ 258369 w 494979"/>
                <a:gd name="connsiteY17" fmla="*/ 367153 h 674476"/>
                <a:gd name="connsiteX18" fmla="*/ 252930 w 494979"/>
                <a:gd name="connsiteY18" fmla="*/ 331797 h 674476"/>
                <a:gd name="connsiteX19" fmla="*/ 250210 w 494979"/>
                <a:gd name="connsiteY19" fmla="*/ 244769 h 674476"/>
                <a:gd name="connsiteX20" fmla="*/ 244771 w 494979"/>
                <a:gd name="connsiteY20" fmla="*/ 203974 h 674476"/>
                <a:gd name="connsiteX21" fmla="*/ 239332 w 494979"/>
                <a:gd name="connsiteY21" fmla="*/ 157740 h 674476"/>
                <a:gd name="connsiteX22" fmla="*/ 236612 w 494979"/>
                <a:gd name="connsiteY22" fmla="*/ 119665 h 674476"/>
                <a:gd name="connsiteX23" fmla="*/ 228453 w 494979"/>
                <a:gd name="connsiteY23" fmla="*/ 97907 h 674476"/>
                <a:gd name="connsiteX24" fmla="*/ 274687 w 494979"/>
                <a:gd name="connsiteY24" fmla="*/ 0 h 674476"/>
                <a:gd name="connsiteX25" fmla="*/ 304603 w 494979"/>
                <a:gd name="connsiteY25" fmla="*/ 5439 h 674476"/>
                <a:gd name="connsiteX26" fmla="*/ 320921 w 494979"/>
                <a:gd name="connsiteY26" fmla="*/ 24477 h 674476"/>
                <a:gd name="connsiteX27" fmla="*/ 334519 w 494979"/>
                <a:gd name="connsiteY27" fmla="*/ 43515 h 674476"/>
                <a:gd name="connsiteX28" fmla="*/ 339959 w 494979"/>
                <a:gd name="connsiteY28" fmla="*/ 65272 h 674476"/>
                <a:gd name="connsiteX29" fmla="*/ 348118 w 494979"/>
                <a:gd name="connsiteY29" fmla="*/ 114226 h 674476"/>
                <a:gd name="connsiteX30" fmla="*/ 361716 w 494979"/>
                <a:gd name="connsiteY30" fmla="*/ 163180 h 674476"/>
                <a:gd name="connsiteX31" fmla="*/ 369875 w 494979"/>
                <a:gd name="connsiteY31" fmla="*/ 220293 h 674476"/>
                <a:gd name="connsiteX32" fmla="*/ 378034 w 494979"/>
                <a:gd name="connsiteY32" fmla="*/ 274686 h 674476"/>
                <a:gd name="connsiteX33" fmla="*/ 383473 w 494979"/>
                <a:gd name="connsiteY33" fmla="*/ 301883 h 674476"/>
                <a:gd name="connsiteX34" fmla="*/ 391632 w 494979"/>
                <a:gd name="connsiteY34" fmla="*/ 337238 h 674476"/>
                <a:gd name="connsiteX35" fmla="*/ 397071 w 494979"/>
                <a:gd name="connsiteY35" fmla="*/ 364435 h 674476"/>
                <a:gd name="connsiteX36" fmla="*/ 405230 w 494979"/>
                <a:gd name="connsiteY36" fmla="*/ 383473 h 674476"/>
                <a:gd name="connsiteX37" fmla="*/ 416109 w 494979"/>
                <a:gd name="connsiteY37" fmla="*/ 386192 h 674476"/>
                <a:gd name="connsiteX38" fmla="*/ 426988 w 494979"/>
                <a:gd name="connsiteY38" fmla="*/ 386192 h 674476"/>
                <a:gd name="connsiteX39" fmla="*/ 454184 w 494979"/>
                <a:gd name="connsiteY39" fmla="*/ 397071 h 674476"/>
                <a:gd name="connsiteX40" fmla="*/ 456904 w 494979"/>
                <a:gd name="connsiteY40" fmla="*/ 405230 h 674476"/>
                <a:gd name="connsiteX41" fmla="*/ 451465 w 494979"/>
                <a:gd name="connsiteY41" fmla="*/ 416108 h 674476"/>
                <a:gd name="connsiteX42" fmla="*/ 432427 w 494979"/>
                <a:gd name="connsiteY42" fmla="*/ 429707 h 674476"/>
                <a:gd name="connsiteX43" fmla="*/ 421548 w 494979"/>
                <a:gd name="connsiteY43" fmla="*/ 432426 h 674476"/>
                <a:gd name="connsiteX44" fmla="*/ 413389 w 494979"/>
                <a:gd name="connsiteY44" fmla="*/ 435146 h 674476"/>
                <a:gd name="connsiteX45" fmla="*/ 413389 w 494979"/>
                <a:gd name="connsiteY45" fmla="*/ 440585 h 674476"/>
                <a:gd name="connsiteX46" fmla="*/ 416109 w 494979"/>
                <a:gd name="connsiteY46" fmla="*/ 451464 h 674476"/>
                <a:gd name="connsiteX47" fmla="*/ 418829 w 494979"/>
                <a:gd name="connsiteY47" fmla="*/ 465062 h 674476"/>
                <a:gd name="connsiteX48" fmla="*/ 418829 w 494979"/>
                <a:gd name="connsiteY48" fmla="*/ 475941 h 674476"/>
                <a:gd name="connsiteX49" fmla="*/ 418829 w 494979"/>
                <a:gd name="connsiteY49" fmla="*/ 486820 h 674476"/>
                <a:gd name="connsiteX50" fmla="*/ 426988 w 494979"/>
                <a:gd name="connsiteY50" fmla="*/ 516736 h 674476"/>
                <a:gd name="connsiteX51" fmla="*/ 432427 w 494979"/>
                <a:gd name="connsiteY51" fmla="*/ 543932 h 674476"/>
                <a:gd name="connsiteX52" fmla="*/ 437866 w 494979"/>
                <a:gd name="connsiteY52" fmla="*/ 573848 h 674476"/>
                <a:gd name="connsiteX53" fmla="*/ 443306 w 494979"/>
                <a:gd name="connsiteY53" fmla="*/ 606484 h 674476"/>
                <a:gd name="connsiteX54" fmla="*/ 446025 w 494979"/>
                <a:gd name="connsiteY54" fmla="*/ 617363 h 674476"/>
                <a:gd name="connsiteX55" fmla="*/ 470502 w 494979"/>
                <a:gd name="connsiteY55" fmla="*/ 617363 h 674476"/>
                <a:gd name="connsiteX56" fmla="*/ 494979 w 494979"/>
                <a:gd name="connsiteY56" fmla="*/ 641840 h 674476"/>
                <a:gd name="connsiteX57" fmla="*/ 486820 w 494979"/>
                <a:gd name="connsiteY57" fmla="*/ 655438 h 674476"/>
                <a:gd name="connsiteX58" fmla="*/ 470502 w 494979"/>
                <a:gd name="connsiteY58" fmla="*/ 663597 h 674476"/>
                <a:gd name="connsiteX59" fmla="*/ 446025 w 494979"/>
                <a:gd name="connsiteY59" fmla="*/ 666317 h 674476"/>
                <a:gd name="connsiteX60" fmla="*/ 424268 w 494979"/>
                <a:gd name="connsiteY60" fmla="*/ 666317 h 674476"/>
                <a:gd name="connsiteX61" fmla="*/ 416109 w 494979"/>
                <a:gd name="connsiteY61" fmla="*/ 666317 h 674476"/>
                <a:gd name="connsiteX62" fmla="*/ 402511 w 494979"/>
                <a:gd name="connsiteY62" fmla="*/ 671756 h 674476"/>
                <a:gd name="connsiteX63" fmla="*/ 386193 w 494979"/>
                <a:gd name="connsiteY63" fmla="*/ 674476 h 674476"/>
                <a:gd name="connsiteX64" fmla="*/ 350837 w 494979"/>
                <a:gd name="connsiteY64" fmla="*/ 669036 h 674476"/>
                <a:gd name="connsiteX65" fmla="*/ 329080 w 494979"/>
                <a:gd name="connsiteY65" fmla="*/ 669036 h 674476"/>
                <a:gd name="connsiteX66" fmla="*/ 280126 w 494979"/>
                <a:gd name="connsiteY66" fmla="*/ 669036 h 674476"/>
                <a:gd name="connsiteX67" fmla="*/ 255649 w 494979"/>
                <a:gd name="connsiteY67" fmla="*/ 663597 h 674476"/>
                <a:gd name="connsiteX68" fmla="*/ 239331 w 494979"/>
                <a:gd name="connsiteY68" fmla="*/ 647279 h 674476"/>
                <a:gd name="connsiteX69" fmla="*/ 263808 w 494979"/>
                <a:gd name="connsiteY69" fmla="*/ 630961 h 674476"/>
                <a:gd name="connsiteX70" fmla="*/ 291005 w 494979"/>
                <a:gd name="connsiteY70" fmla="*/ 628241 h 674476"/>
                <a:gd name="connsiteX71" fmla="*/ 288285 w 494979"/>
                <a:gd name="connsiteY71" fmla="*/ 609204 h 674476"/>
                <a:gd name="connsiteX72" fmla="*/ 285565 w 494979"/>
                <a:gd name="connsiteY72" fmla="*/ 582007 h 674476"/>
                <a:gd name="connsiteX73" fmla="*/ 282846 w 494979"/>
                <a:gd name="connsiteY73" fmla="*/ 568409 h 674476"/>
                <a:gd name="connsiteX74" fmla="*/ 285565 w 494979"/>
                <a:gd name="connsiteY74" fmla="*/ 554811 h 674476"/>
                <a:gd name="connsiteX75" fmla="*/ 280126 w 494979"/>
                <a:gd name="connsiteY75" fmla="*/ 538493 h 674476"/>
                <a:gd name="connsiteX76" fmla="*/ 274687 w 494979"/>
                <a:gd name="connsiteY76" fmla="*/ 505857 h 674476"/>
                <a:gd name="connsiteX77" fmla="*/ 271967 w 494979"/>
                <a:gd name="connsiteY77" fmla="*/ 478660 h 674476"/>
                <a:gd name="connsiteX78" fmla="*/ 269247 w 494979"/>
                <a:gd name="connsiteY78" fmla="*/ 446025 h 674476"/>
                <a:gd name="connsiteX79" fmla="*/ 263808 w 494979"/>
                <a:gd name="connsiteY79" fmla="*/ 437866 h 674476"/>
                <a:gd name="connsiteX80" fmla="*/ 252929 w 494979"/>
                <a:gd name="connsiteY80" fmla="*/ 437866 h 674476"/>
                <a:gd name="connsiteX81" fmla="*/ 223013 w 494979"/>
                <a:gd name="connsiteY81" fmla="*/ 440585 h 674476"/>
                <a:gd name="connsiteX82" fmla="*/ 193097 w 494979"/>
                <a:gd name="connsiteY82" fmla="*/ 443305 h 674476"/>
                <a:gd name="connsiteX83" fmla="*/ 168620 w 494979"/>
                <a:gd name="connsiteY83" fmla="*/ 443305 h 674476"/>
                <a:gd name="connsiteX84" fmla="*/ 146862 w 494979"/>
                <a:gd name="connsiteY84" fmla="*/ 440585 h 674476"/>
                <a:gd name="connsiteX85" fmla="*/ 138703 w 494979"/>
                <a:gd name="connsiteY85" fmla="*/ 454184 h 674476"/>
                <a:gd name="connsiteX86" fmla="*/ 133263 w 494979"/>
                <a:gd name="connsiteY86" fmla="*/ 486820 h 674476"/>
                <a:gd name="connsiteX87" fmla="*/ 122385 w 494979"/>
                <a:gd name="connsiteY87" fmla="*/ 541213 h 674476"/>
                <a:gd name="connsiteX88" fmla="*/ 106067 w 494979"/>
                <a:gd name="connsiteY88" fmla="*/ 614643 h 674476"/>
                <a:gd name="connsiteX89" fmla="*/ 135983 w 494979"/>
                <a:gd name="connsiteY89" fmla="*/ 614643 h 674476"/>
                <a:gd name="connsiteX90" fmla="*/ 171340 w 494979"/>
                <a:gd name="connsiteY90" fmla="*/ 630961 h 674476"/>
                <a:gd name="connsiteX91" fmla="*/ 165900 w 494979"/>
                <a:gd name="connsiteY91" fmla="*/ 647279 h 674476"/>
                <a:gd name="connsiteX92" fmla="*/ 149581 w 494979"/>
                <a:gd name="connsiteY92" fmla="*/ 655438 h 674476"/>
                <a:gd name="connsiteX93" fmla="*/ 127824 w 494979"/>
                <a:gd name="connsiteY93" fmla="*/ 658158 h 674476"/>
                <a:gd name="connsiteX94" fmla="*/ 106067 w 494979"/>
                <a:gd name="connsiteY94" fmla="*/ 658158 h 674476"/>
                <a:gd name="connsiteX95" fmla="*/ 62552 w 494979"/>
                <a:gd name="connsiteY95" fmla="*/ 658158 h 674476"/>
                <a:gd name="connsiteX96" fmla="*/ 40795 w 494979"/>
                <a:gd name="connsiteY96" fmla="*/ 658158 h 674476"/>
                <a:gd name="connsiteX97" fmla="*/ 16318 w 494979"/>
                <a:gd name="connsiteY97" fmla="*/ 652718 h 674476"/>
                <a:gd name="connsiteX98" fmla="*/ 0 w 494979"/>
                <a:gd name="connsiteY98" fmla="*/ 636401 h 674476"/>
                <a:gd name="connsiteX99" fmla="*/ 2720 w 494979"/>
                <a:gd name="connsiteY99" fmla="*/ 628241 h 674476"/>
                <a:gd name="connsiteX100" fmla="*/ 24477 w 494979"/>
                <a:gd name="connsiteY100" fmla="*/ 620082 h 674476"/>
                <a:gd name="connsiteX101" fmla="*/ 62552 w 494979"/>
                <a:gd name="connsiteY101" fmla="*/ 617363 h 674476"/>
                <a:gd name="connsiteX102" fmla="*/ 62552 w 494979"/>
                <a:gd name="connsiteY102" fmla="*/ 614643 h 674476"/>
                <a:gd name="connsiteX103" fmla="*/ 65272 w 494979"/>
                <a:gd name="connsiteY103" fmla="*/ 587447 h 674476"/>
                <a:gd name="connsiteX104" fmla="*/ 76151 w 494979"/>
                <a:gd name="connsiteY104" fmla="*/ 522175 h 674476"/>
                <a:gd name="connsiteX105" fmla="*/ 87029 w 494979"/>
                <a:gd name="connsiteY105" fmla="*/ 470501 h 674476"/>
                <a:gd name="connsiteX106" fmla="*/ 92469 w 494979"/>
                <a:gd name="connsiteY106" fmla="*/ 446025 h 674476"/>
                <a:gd name="connsiteX107" fmla="*/ 65272 w 494979"/>
                <a:gd name="connsiteY107" fmla="*/ 432426 h 674476"/>
                <a:gd name="connsiteX108" fmla="*/ 54393 w 494979"/>
                <a:gd name="connsiteY108" fmla="*/ 421548 h 674476"/>
                <a:gd name="connsiteX109" fmla="*/ 73431 w 494979"/>
                <a:gd name="connsiteY109" fmla="*/ 407949 h 674476"/>
                <a:gd name="connsiteX110" fmla="*/ 100628 w 494979"/>
                <a:gd name="connsiteY110" fmla="*/ 399790 h 674476"/>
                <a:gd name="connsiteX111" fmla="*/ 108787 w 494979"/>
                <a:gd name="connsiteY111" fmla="*/ 369874 h 674476"/>
                <a:gd name="connsiteX112" fmla="*/ 125105 w 494979"/>
                <a:gd name="connsiteY112" fmla="*/ 307322 h 674476"/>
                <a:gd name="connsiteX113" fmla="*/ 141423 w 494979"/>
                <a:gd name="connsiteY113" fmla="*/ 242051 h 674476"/>
                <a:gd name="connsiteX114" fmla="*/ 155021 w 494979"/>
                <a:gd name="connsiteY114" fmla="*/ 179498 h 674476"/>
                <a:gd name="connsiteX115" fmla="*/ 168620 w 494979"/>
                <a:gd name="connsiteY115" fmla="*/ 119665 h 674476"/>
                <a:gd name="connsiteX116" fmla="*/ 193097 w 494979"/>
                <a:gd name="connsiteY116" fmla="*/ 57113 h 674476"/>
                <a:gd name="connsiteX117" fmla="*/ 201256 w 494979"/>
                <a:gd name="connsiteY117" fmla="*/ 38075 h 674476"/>
                <a:gd name="connsiteX118" fmla="*/ 217574 w 494979"/>
                <a:gd name="connsiteY118" fmla="*/ 13598 h 674476"/>
                <a:gd name="connsiteX119" fmla="*/ 274687 w 494979"/>
                <a:gd name="connsiteY119" fmla="*/ 0 h 6744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</a:cxnLst>
              <a:rect l="l" t="t" r="r" b="b"/>
              <a:pathLst>
                <a:path w="494979" h="674476">
                  <a:moveTo>
                    <a:pt x="228453" y="97907"/>
                  </a:moveTo>
                  <a:cubicBezTo>
                    <a:pt x="220294" y="97907"/>
                    <a:pt x="212135" y="114225"/>
                    <a:pt x="212135" y="119665"/>
                  </a:cubicBezTo>
                  <a:cubicBezTo>
                    <a:pt x="209415" y="130543"/>
                    <a:pt x="206696" y="144141"/>
                    <a:pt x="203976" y="152300"/>
                  </a:cubicBezTo>
                  <a:cubicBezTo>
                    <a:pt x="201256" y="157740"/>
                    <a:pt x="201256" y="163179"/>
                    <a:pt x="201256" y="168618"/>
                  </a:cubicBezTo>
                  <a:cubicBezTo>
                    <a:pt x="201256" y="174058"/>
                    <a:pt x="198537" y="179497"/>
                    <a:pt x="198537" y="184936"/>
                  </a:cubicBezTo>
                  <a:cubicBezTo>
                    <a:pt x="195817" y="195815"/>
                    <a:pt x="193097" y="209413"/>
                    <a:pt x="190378" y="220292"/>
                  </a:cubicBezTo>
                  <a:cubicBezTo>
                    <a:pt x="187658" y="244769"/>
                    <a:pt x="179499" y="269246"/>
                    <a:pt x="171340" y="291003"/>
                  </a:cubicBezTo>
                  <a:cubicBezTo>
                    <a:pt x="168620" y="301881"/>
                    <a:pt x="165900" y="312760"/>
                    <a:pt x="163180" y="323639"/>
                  </a:cubicBezTo>
                  <a:cubicBezTo>
                    <a:pt x="160461" y="337237"/>
                    <a:pt x="157741" y="348115"/>
                    <a:pt x="152302" y="361714"/>
                  </a:cubicBezTo>
                  <a:cubicBezTo>
                    <a:pt x="149582" y="367153"/>
                    <a:pt x="146862" y="383471"/>
                    <a:pt x="146862" y="388910"/>
                  </a:cubicBezTo>
                  <a:cubicBezTo>
                    <a:pt x="146862" y="391630"/>
                    <a:pt x="149582" y="391630"/>
                    <a:pt x="152302" y="391630"/>
                  </a:cubicBezTo>
                  <a:cubicBezTo>
                    <a:pt x="157741" y="391630"/>
                    <a:pt x="171340" y="391630"/>
                    <a:pt x="174060" y="391630"/>
                  </a:cubicBezTo>
                  <a:cubicBezTo>
                    <a:pt x="182219" y="391630"/>
                    <a:pt x="190378" y="391630"/>
                    <a:pt x="195817" y="388910"/>
                  </a:cubicBezTo>
                  <a:cubicBezTo>
                    <a:pt x="201256" y="388910"/>
                    <a:pt x="206696" y="388910"/>
                    <a:pt x="214855" y="388910"/>
                  </a:cubicBezTo>
                  <a:cubicBezTo>
                    <a:pt x="220294" y="388910"/>
                    <a:pt x="228453" y="388910"/>
                    <a:pt x="239332" y="388910"/>
                  </a:cubicBezTo>
                  <a:cubicBezTo>
                    <a:pt x="244771" y="388910"/>
                    <a:pt x="250210" y="388910"/>
                    <a:pt x="252930" y="386191"/>
                  </a:cubicBezTo>
                  <a:cubicBezTo>
                    <a:pt x="258369" y="391630"/>
                    <a:pt x="261089" y="388910"/>
                    <a:pt x="261089" y="386191"/>
                  </a:cubicBezTo>
                  <a:cubicBezTo>
                    <a:pt x="261089" y="380751"/>
                    <a:pt x="258369" y="372592"/>
                    <a:pt x="258369" y="367153"/>
                  </a:cubicBezTo>
                  <a:cubicBezTo>
                    <a:pt x="255650" y="353555"/>
                    <a:pt x="252930" y="342676"/>
                    <a:pt x="252930" y="331797"/>
                  </a:cubicBezTo>
                  <a:cubicBezTo>
                    <a:pt x="252930" y="301881"/>
                    <a:pt x="252930" y="274685"/>
                    <a:pt x="250210" y="244769"/>
                  </a:cubicBezTo>
                  <a:cubicBezTo>
                    <a:pt x="250210" y="231170"/>
                    <a:pt x="247491" y="217572"/>
                    <a:pt x="244771" y="203974"/>
                  </a:cubicBezTo>
                  <a:cubicBezTo>
                    <a:pt x="242051" y="187656"/>
                    <a:pt x="239332" y="174058"/>
                    <a:pt x="239332" y="157740"/>
                  </a:cubicBezTo>
                  <a:cubicBezTo>
                    <a:pt x="239332" y="152300"/>
                    <a:pt x="239332" y="133263"/>
                    <a:pt x="236612" y="119665"/>
                  </a:cubicBezTo>
                  <a:cubicBezTo>
                    <a:pt x="236612" y="106066"/>
                    <a:pt x="233892" y="97907"/>
                    <a:pt x="228453" y="97907"/>
                  </a:cubicBezTo>
                  <a:close/>
                  <a:moveTo>
                    <a:pt x="274687" y="0"/>
                  </a:moveTo>
                  <a:cubicBezTo>
                    <a:pt x="288285" y="0"/>
                    <a:pt x="293724" y="2720"/>
                    <a:pt x="304603" y="5439"/>
                  </a:cubicBezTo>
                  <a:cubicBezTo>
                    <a:pt x="315482" y="10879"/>
                    <a:pt x="315482" y="16318"/>
                    <a:pt x="320921" y="24477"/>
                  </a:cubicBezTo>
                  <a:cubicBezTo>
                    <a:pt x="326360" y="29916"/>
                    <a:pt x="331800" y="35356"/>
                    <a:pt x="334519" y="43515"/>
                  </a:cubicBezTo>
                  <a:cubicBezTo>
                    <a:pt x="337239" y="51674"/>
                    <a:pt x="337239" y="57113"/>
                    <a:pt x="339959" y="65272"/>
                  </a:cubicBezTo>
                  <a:cubicBezTo>
                    <a:pt x="345398" y="78870"/>
                    <a:pt x="342678" y="97908"/>
                    <a:pt x="348118" y="114226"/>
                  </a:cubicBezTo>
                  <a:cubicBezTo>
                    <a:pt x="350837" y="130544"/>
                    <a:pt x="358996" y="146863"/>
                    <a:pt x="361716" y="163180"/>
                  </a:cubicBezTo>
                  <a:cubicBezTo>
                    <a:pt x="364435" y="182218"/>
                    <a:pt x="364435" y="201256"/>
                    <a:pt x="369875" y="220293"/>
                  </a:cubicBezTo>
                  <a:cubicBezTo>
                    <a:pt x="375314" y="239331"/>
                    <a:pt x="378034" y="255649"/>
                    <a:pt x="378034" y="274686"/>
                  </a:cubicBezTo>
                  <a:cubicBezTo>
                    <a:pt x="378034" y="282845"/>
                    <a:pt x="380753" y="293724"/>
                    <a:pt x="383473" y="301883"/>
                  </a:cubicBezTo>
                  <a:cubicBezTo>
                    <a:pt x="386193" y="312762"/>
                    <a:pt x="388912" y="326360"/>
                    <a:pt x="391632" y="337238"/>
                  </a:cubicBezTo>
                  <a:cubicBezTo>
                    <a:pt x="391632" y="342678"/>
                    <a:pt x="394352" y="353556"/>
                    <a:pt x="397071" y="364435"/>
                  </a:cubicBezTo>
                  <a:cubicBezTo>
                    <a:pt x="399791" y="372594"/>
                    <a:pt x="402511" y="380753"/>
                    <a:pt x="405230" y="383473"/>
                  </a:cubicBezTo>
                  <a:cubicBezTo>
                    <a:pt x="407950" y="386192"/>
                    <a:pt x="413389" y="386192"/>
                    <a:pt x="416109" y="386192"/>
                  </a:cubicBezTo>
                  <a:cubicBezTo>
                    <a:pt x="418829" y="386192"/>
                    <a:pt x="424268" y="386192"/>
                    <a:pt x="426988" y="386192"/>
                  </a:cubicBezTo>
                  <a:cubicBezTo>
                    <a:pt x="437866" y="386192"/>
                    <a:pt x="448745" y="388912"/>
                    <a:pt x="454184" y="397071"/>
                  </a:cubicBezTo>
                  <a:cubicBezTo>
                    <a:pt x="456904" y="399790"/>
                    <a:pt x="456904" y="402510"/>
                    <a:pt x="456904" y="405230"/>
                  </a:cubicBezTo>
                  <a:cubicBezTo>
                    <a:pt x="456904" y="407949"/>
                    <a:pt x="454184" y="410669"/>
                    <a:pt x="451465" y="416108"/>
                  </a:cubicBezTo>
                  <a:cubicBezTo>
                    <a:pt x="446025" y="421548"/>
                    <a:pt x="440586" y="426987"/>
                    <a:pt x="432427" y="429707"/>
                  </a:cubicBezTo>
                  <a:cubicBezTo>
                    <a:pt x="429707" y="429707"/>
                    <a:pt x="426988" y="432426"/>
                    <a:pt x="421548" y="432426"/>
                  </a:cubicBezTo>
                  <a:cubicBezTo>
                    <a:pt x="418829" y="432426"/>
                    <a:pt x="416109" y="432426"/>
                    <a:pt x="413389" y="435146"/>
                  </a:cubicBezTo>
                  <a:cubicBezTo>
                    <a:pt x="413389" y="435146"/>
                    <a:pt x="413389" y="437866"/>
                    <a:pt x="413389" y="440585"/>
                  </a:cubicBezTo>
                  <a:cubicBezTo>
                    <a:pt x="413389" y="443305"/>
                    <a:pt x="413389" y="448744"/>
                    <a:pt x="416109" y="451464"/>
                  </a:cubicBezTo>
                  <a:cubicBezTo>
                    <a:pt x="416109" y="456903"/>
                    <a:pt x="418829" y="462343"/>
                    <a:pt x="418829" y="465062"/>
                  </a:cubicBezTo>
                  <a:lnTo>
                    <a:pt x="418829" y="475941"/>
                  </a:lnTo>
                  <a:cubicBezTo>
                    <a:pt x="418829" y="481380"/>
                    <a:pt x="418829" y="484100"/>
                    <a:pt x="418829" y="486820"/>
                  </a:cubicBezTo>
                  <a:cubicBezTo>
                    <a:pt x="421548" y="497698"/>
                    <a:pt x="424268" y="505857"/>
                    <a:pt x="426988" y="516736"/>
                  </a:cubicBezTo>
                  <a:cubicBezTo>
                    <a:pt x="426988" y="524895"/>
                    <a:pt x="429707" y="535773"/>
                    <a:pt x="432427" y="543932"/>
                  </a:cubicBezTo>
                  <a:cubicBezTo>
                    <a:pt x="435147" y="554811"/>
                    <a:pt x="437866" y="562970"/>
                    <a:pt x="437866" y="573848"/>
                  </a:cubicBezTo>
                  <a:cubicBezTo>
                    <a:pt x="437866" y="587447"/>
                    <a:pt x="440586" y="595606"/>
                    <a:pt x="443306" y="606484"/>
                  </a:cubicBezTo>
                  <a:cubicBezTo>
                    <a:pt x="443306" y="609204"/>
                    <a:pt x="446025" y="614643"/>
                    <a:pt x="446025" y="617363"/>
                  </a:cubicBezTo>
                  <a:cubicBezTo>
                    <a:pt x="454184" y="617363"/>
                    <a:pt x="462343" y="617363"/>
                    <a:pt x="470502" y="617363"/>
                  </a:cubicBezTo>
                  <a:cubicBezTo>
                    <a:pt x="478661" y="625522"/>
                    <a:pt x="492259" y="630961"/>
                    <a:pt x="494979" y="641840"/>
                  </a:cubicBezTo>
                  <a:cubicBezTo>
                    <a:pt x="494979" y="647279"/>
                    <a:pt x="489540" y="649999"/>
                    <a:pt x="486820" y="655438"/>
                  </a:cubicBezTo>
                  <a:cubicBezTo>
                    <a:pt x="484100" y="660877"/>
                    <a:pt x="475942" y="663597"/>
                    <a:pt x="470502" y="663597"/>
                  </a:cubicBezTo>
                  <a:cubicBezTo>
                    <a:pt x="459623" y="666317"/>
                    <a:pt x="454184" y="666317"/>
                    <a:pt x="446025" y="666317"/>
                  </a:cubicBezTo>
                  <a:cubicBezTo>
                    <a:pt x="440586" y="666317"/>
                    <a:pt x="432427" y="666317"/>
                    <a:pt x="424268" y="666317"/>
                  </a:cubicBezTo>
                  <a:cubicBezTo>
                    <a:pt x="421548" y="666317"/>
                    <a:pt x="418829" y="666317"/>
                    <a:pt x="416109" y="666317"/>
                  </a:cubicBezTo>
                  <a:cubicBezTo>
                    <a:pt x="410670" y="669036"/>
                    <a:pt x="407950" y="669036"/>
                    <a:pt x="402511" y="671756"/>
                  </a:cubicBezTo>
                  <a:cubicBezTo>
                    <a:pt x="397071" y="671756"/>
                    <a:pt x="391632" y="674476"/>
                    <a:pt x="386193" y="674476"/>
                  </a:cubicBezTo>
                  <a:cubicBezTo>
                    <a:pt x="375314" y="674476"/>
                    <a:pt x="361716" y="671756"/>
                    <a:pt x="350837" y="669036"/>
                  </a:cubicBezTo>
                  <a:cubicBezTo>
                    <a:pt x="342678" y="669036"/>
                    <a:pt x="334519" y="669036"/>
                    <a:pt x="329080" y="669036"/>
                  </a:cubicBezTo>
                  <a:cubicBezTo>
                    <a:pt x="307323" y="669036"/>
                    <a:pt x="288285" y="669036"/>
                    <a:pt x="280126" y="669036"/>
                  </a:cubicBezTo>
                  <a:cubicBezTo>
                    <a:pt x="271967" y="669036"/>
                    <a:pt x="261088" y="669036"/>
                    <a:pt x="255649" y="663597"/>
                  </a:cubicBezTo>
                  <a:cubicBezTo>
                    <a:pt x="250210" y="660877"/>
                    <a:pt x="239331" y="655438"/>
                    <a:pt x="239331" y="647279"/>
                  </a:cubicBezTo>
                  <a:cubicBezTo>
                    <a:pt x="239331" y="636401"/>
                    <a:pt x="255649" y="633681"/>
                    <a:pt x="263808" y="630961"/>
                  </a:cubicBezTo>
                  <a:cubicBezTo>
                    <a:pt x="269247" y="630961"/>
                    <a:pt x="277406" y="630961"/>
                    <a:pt x="291005" y="628241"/>
                  </a:cubicBezTo>
                  <a:cubicBezTo>
                    <a:pt x="291005" y="620082"/>
                    <a:pt x="291005" y="614643"/>
                    <a:pt x="288285" y="609204"/>
                  </a:cubicBezTo>
                  <a:cubicBezTo>
                    <a:pt x="288285" y="601045"/>
                    <a:pt x="285565" y="590166"/>
                    <a:pt x="285565" y="582007"/>
                  </a:cubicBezTo>
                  <a:cubicBezTo>
                    <a:pt x="285565" y="576568"/>
                    <a:pt x="282846" y="573848"/>
                    <a:pt x="282846" y="568409"/>
                  </a:cubicBezTo>
                  <a:cubicBezTo>
                    <a:pt x="282846" y="562970"/>
                    <a:pt x="285565" y="557531"/>
                    <a:pt x="285565" y="554811"/>
                  </a:cubicBezTo>
                  <a:cubicBezTo>
                    <a:pt x="285565" y="549371"/>
                    <a:pt x="282846" y="546652"/>
                    <a:pt x="280126" y="538493"/>
                  </a:cubicBezTo>
                  <a:cubicBezTo>
                    <a:pt x="280126" y="527614"/>
                    <a:pt x="274687" y="516736"/>
                    <a:pt x="274687" y="505857"/>
                  </a:cubicBezTo>
                  <a:cubicBezTo>
                    <a:pt x="274687" y="494978"/>
                    <a:pt x="274687" y="486820"/>
                    <a:pt x="271967" y="478660"/>
                  </a:cubicBezTo>
                  <a:cubicBezTo>
                    <a:pt x="269247" y="467782"/>
                    <a:pt x="269247" y="456903"/>
                    <a:pt x="269247" y="446025"/>
                  </a:cubicBezTo>
                  <a:cubicBezTo>
                    <a:pt x="269247" y="440585"/>
                    <a:pt x="266528" y="437866"/>
                    <a:pt x="263808" y="437866"/>
                  </a:cubicBezTo>
                  <a:cubicBezTo>
                    <a:pt x="261088" y="437866"/>
                    <a:pt x="258369" y="437866"/>
                    <a:pt x="252929" y="437866"/>
                  </a:cubicBezTo>
                  <a:cubicBezTo>
                    <a:pt x="242051" y="437866"/>
                    <a:pt x="231172" y="437866"/>
                    <a:pt x="223013" y="440585"/>
                  </a:cubicBezTo>
                  <a:cubicBezTo>
                    <a:pt x="212135" y="440585"/>
                    <a:pt x="203976" y="443305"/>
                    <a:pt x="193097" y="443305"/>
                  </a:cubicBezTo>
                  <a:cubicBezTo>
                    <a:pt x="184938" y="443305"/>
                    <a:pt x="176779" y="443305"/>
                    <a:pt x="168620" y="443305"/>
                  </a:cubicBezTo>
                  <a:cubicBezTo>
                    <a:pt x="165900" y="443305"/>
                    <a:pt x="155021" y="440585"/>
                    <a:pt x="146862" y="440585"/>
                  </a:cubicBezTo>
                  <a:cubicBezTo>
                    <a:pt x="138703" y="440585"/>
                    <a:pt x="138703" y="448744"/>
                    <a:pt x="138703" y="454184"/>
                  </a:cubicBezTo>
                  <a:cubicBezTo>
                    <a:pt x="138703" y="465062"/>
                    <a:pt x="135983" y="475941"/>
                    <a:pt x="133263" y="486820"/>
                  </a:cubicBezTo>
                  <a:cubicBezTo>
                    <a:pt x="130544" y="505857"/>
                    <a:pt x="125105" y="522175"/>
                    <a:pt x="122385" y="541213"/>
                  </a:cubicBezTo>
                  <a:cubicBezTo>
                    <a:pt x="119665" y="560250"/>
                    <a:pt x="111506" y="595606"/>
                    <a:pt x="106067" y="614643"/>
                  </a:cubicBezTo>
                  <a:cubicBezTo>
                    <a:pt x="114226" y="614643"/>
                    <a:pt x="125105" y="614643"/>
                    <a:pt x="135983" y="614643"/>
                  </a:cubicBezTo>
                  <a:cubicBezTo>
                    <a:pt x="149581" y="614643"/>
                    <a:pt x="171340" y="614643"/>
                    <a:pt x="171340" y="630961"/>
                  </a:cubicBezTo>
                  <a:cubicBezTo>
                    <a:pt x="171340" y="639120"/>
                    <a:pt x="168620" y="639120"/>
                    <a:pt x="165900" y="647279"/>
                  </a:cubicBezTo>
                  <a:cubicBezTo>
                    <a:pt x="163181" y="652718"/>
                    <a:pt x="155021" y="655438"/>
                    <a:pt x="149581" y="655438"/>
                  </a:cubicBezTo>
                  <a:cubicBezTo>
                    <a:pt x="141423" y="658158"/>
                    <a:pt x="135983" y="658158"/>
                    <a:pt x="127824" y="658158"/>
                  </a:cubicBezTo>
                  <a:cubicBezTo>
                    <a:pt x="122385" y="658158"/>
                    <a:pt x="116946" y="658158"/>
                    <a:pt x="106067" y="658158"/>
                  </a:cubicBezTo>
                  <a:cubicBezTo>
                    <a:pt x="92469" y="658158"/>
                    <a:pt x="78870" y="658158"/>
                    <a:pt x="62552" y="658158"/>
                  </a:cubicBezTo>
                  <a:cubicBezTo>
                    <a:pt x="54393" y="658158"/>
                    <a:pt x="46234" y="658158"/>
                    <a:pt x="40795" y="658158"/>
                  </a:cubicBezTo>
                  <a:cubicBezTo>
                    <a:pt x="32636" y="658158"/>
                    <a:pt x="21758" y="658158"/>
                    <a:pt x="16318" y="652718"/>
                  </a:cubicBezTo>
                  <a:cubicBezTo>
                    <a:pt x="8159" y="649999"/>
                    <a:pt x="0" y="641840"/>
                    <a:pt x="0" y="636401"/>
                  </a:cubicBezTo>
                  <a:cubicBezTo>
                    <a:pt x="0" y="633681"/>
                    <a:pt x="0" y="630961"/>
                    <a:pt x="2720" y="628241"/>
                  </a:cubicBezTo>
                  <a:cubicBezTo>
                    <a:pt x="8159" y="625522"/>
                    <a:pt x="16318" y="622802"/>
                    <a:pt x="24477" y="620082"/>
                  </a:cubicBezTo>
                  <a:cubicBezTo>
                    <a:pt x="38075" y="617363"/>
                    <a:pt x="48954" y="617363"/>
                    <a:pt x="62552" y="617363"/>
                  </a:cubicBezTo>
                  <a:cubicBezTo>
                    <a:pt x="62552" y="617363"/>
                    <a:pt x="62552" y="614643"/>
                    <a:pt x="62552" y="614643"/>
                  </a:cubicBezTo>
                  <a:cubicBezTo>
                    <a:pt x="62552" y="603765"/>
                    <a:pt x="65272" y="590166"/>
                    <a:pt x="65272" y="587447"/>
                  </a:cubicBezTo>
                  <a:cubicBezTo>
                    <a:pt x="67992" y="565689"/>
                    <a:pt x="73431" y="543932"/>
                    <a:pt x="76151" y="522175"/>
                  </a:cubicBezTo>
                  <a:cubicBezTo>
                    <a:pt x="78870" y="505857"/>
                    <a:pt x="81590" y="486820"/>
                    <a:pt x="87029" y="470501"/>
                  </a:cubicBezTo>
                  <a:cubicBezTo>
                    <a:pt x="87029" y="465062"/>
                    <a:pt x="92469" y="451464"/>
                    <a:pt x="92469" y="446025"/>
                  </a:cubicBezTo>
                  <a:cubicBezTo>
                    <a:pt x="92469" y="437866"/>
                    <a:pt x="73431" y="437866"/>
                    <a:pt x="65272" y="432426"/>
                  </a:cubicBezTo>
                  <a:cubicBezTo>
                    <a:pt x="59833" y="429707"/>
                    <a:pt x="54393" y="426987"/>
                    <a:pt x="54393" y="421548"/>
                  </a:cubicBezTo>
                  <a:cubicBezTo>
                    <a:pt x="54393" y="413389"/>
                    <a:pt x="62552" y="410669"/>
                    <a:pt x="73431" y="407949"/>
                  </a:cubicBezTo>
                  <a:cubicBezTo>
                    <a:pt x="78870" y="407949"/>
                    <a:pt x="92469" y="405230"/>
                    <a:pt x="100628" y="399790"/>
                  </a:cubicBezTo>
                  <a:cubicBezTo>
                    <a:pt x="106067" y="394351"/>
                    <a:pt x="106067" y="378033"/>
                    <a:pt x="108787" y="369874"/>
                  </a:cubicBezTo>
                  <a:cubicBezTo>
                    <a:pt x="114226" y="348117"/>
                    <a:pt x="119665" y="326360"/>
                    <a:pt x="125105" y="307322"/>
                  </a:cubicBezTo>
                  <a:cubicBezTo>
                    <a:pt x="130544" y="285565"/>
                    <a:pt x="135983" y="263808"/>
                    <a:pt x="141423" y="242051"/>
                  </a:cubicBezTo>
                  <a:cubicBezTo>
                    <a:pt x="146862" y="220293"/>
                    <a:pt x="152301" y="198536"/>
                    <a:pt x="155021" y="179498"/>
                  </a:cubicBezTo>
                  <a:cubicBezTo>
                    <a:pt x="157740" y="160461"/>
                    <a:pt x="163181" y="138703"/>
                    <a:pt x="168620" y="119665"/>
                  </a:cubicBezTo>
                  <a:cubicBezTo>
                    <a:pt x="176779" y="100627"/>
                    <a:pt x="182218" y="76150"/>
                    <a:pt x="193097" y="57113"/>
                  </a:cubicBezTo>
                  <a:lnTo>
                    <a:pt x="201256" y="38075"/>
                  </a:lnTo>
                  <a:cubicBezTo>
                    <a:pt x="206695" y="29916"/>
                    <a:pt x="209415" y="19038"/>
                    <a:pt x="217574" y="13598"/>
                  </a:cubicBezTo>
                  <a:cubicBezTo>
                    <a:pt x="231172" y="2720"/>
                    <a:pt x="255649" y="0"/>
                    <a:pt x="274687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: Shape 38">
              <a:extLst>
                <a:ext uri="{FF2B5EF4-FFF2-40B4-BE49-F238E27FC236}">
                  <a16:creationId xmlns:a16="http://schemas.microsoft.com/office/drawing/2014/main" id="{5FE86223-C5DA-4CB7-B13B-0B51B75F54C4}"/>
                </a:ext>
              </a:extLst>
            </p:cNvPr>
            <p:cNvSpPr/>
            <p:nvPr/>
          </p:nvSpPr>
          <p:spPr bwMode="black">
            <a:xfrm>
              <a:off x="3443268" y="4186718"/>
              <a:ext cx="435145" cy="761503"/>
            </a:xfrm>
            <a:custGeom>
              <a:avLst/>
              <a:gdLst>
                <a:gd name="connsiteX0" fmla="*/ 400855 w 435145"/>
                <a:gd name="connsiteY0" fmla="*/ 678260 h 761503"/>
                <a:gd name="connsiteX1" fmla="*/ 384537 w 435145"/>
                <a:gd name="connsiteY1" fmla="*/ 719054 h 761503"/>
                <a:gd name="connsiteX2" fmla="*/ 368219 w 435145"/>
                <a:gd name="connsiteY2" fmla="*/ 713615 h 761503"/>
                <a:gd name="connsiteX3" fmla="*/ 360060 w 435145"/>
                <a:gd name="connsiteY3" fmla="*/ 697297 h 761503"/>
                <a:gd name="connsiteX4" fmla="*/ 360060 w 435145"/>
                <a:gd name="connsiteY4" fmla="*/ 651063 h 761503"/>
                <a:gd name="connsiteX5" fmla="*/ 332864 w 435145"/>
                <a:gd name="connsiteY5" fmla="*/ 686418 h 761503"/>
                <a:gd name="connsiteX6" fmla="*/ 251274 w 435145"/>
                <a:gd name="connsiteY6" fmla="*/ 721774 h 761503"/>
                <a:gd name="connsiteX7" fmla="*/ 229517 w 435145"/>
                <a:gd name="connsiteY7" fmla="*/ 719054 h 761503"/>
                <a:gd name="connsiteX8" fmla="*/ 158806 w 435145"/>
                <a:gd name="connsiteY8" fmla="*/ 694578 h 761503"/>
                <a:gd name="connsiteX9" fmla="*/ 112571 w 435145"/>
                <a:gd name="connsiteY9" fmla="*/ 659222 h 761503"/>
                <a:gd name="connsiteX10" fmla="*/ 79936 w 435145"/>
                <a:gd name="connsiteY10" fmla="*/ 607548 h 761503"/>
                <a:gd name="connsiteX11" fmla="*/ 63618 w 435145"/>
                <a:gd name="connsiteY11" fmla="*/ 542277 h 761503"/>
                <a:gd name="connsiteX12" fmla="*/ 58178 w 435145"/>
                <a:gd name="connsiteY12" fmla="*/ 471566 h 761503"/>
                <a:gd name="connsiteX13" fmla="*/ 60898 w 435145"/>
                <a:gd name="connsiteY13" fmla="*/ 400855 h 761503"/>
                <a:gd name="connsiteX14" fmla="*/ 66337 w 435145"/>
                <a:gd name="connsiteY14" fmla="*/ 335583 h 761503"/>
                <a:gd name="connsiteX15" fmla="*/ 85375 w 435145"/>
                <a:gd name="connsiteY15" fmla="*/ 267592 h 761503"/>
                <a:gd name="connsiteX16" fmla="*/ 109852 w 435145"/>
                <a:gd name="connsiteY16" fmla="*/ 199600 h 761503"/>
                <a:gd name="connsiteX17" fmla="*/ 145207 w 435145"/>
                <a:gd name="connsiteY17" fmla="*/ 145207 h 761503"/>
                <a:gd name="connsiteX18" fmla="*/ 188722 w 435145"/>
                <a:gd name="connsiteY18" fmla="*/ 96253 h 761503"/>
                <a:gd name="connsiteX19" fmla="*/ 243115 w 435145"/>
                <a:gd name="connsiteY19" fmla="*/ 71776 h 761503"/>
                <a:gd name="connsiteX20" fmla="*/ 286630 w 435145"/>
                <a:gd name="connsiteY20" fmla="*/ 63617 h 761503"/>
                <a:gd name="connsiteX21" fmla="*/ 305667 w 435145"/>
                <a:gd name="connsiteY21" fmla="*/ 66337 h 761503"/>
                <a:gd name="connsiteX22" fmla="*/ 324705 w 435145"/>
                <a:gd name="connsiteY22" fmla="*/ 79936 h 761503"/>
                <a:gd name="connsiteX23" fmla="*/ 341023 w 435145"/>
                <a:gd name="connsiteY23" fmla="*/ 101693 h 761503"/>
                <a:gd name="connsiteX24" fmla="*/ 354621 w 435145"/>
                <a:gd name="connsiteY24" fmla="*/ 123450 h 761503"/>
                <a:gd name="connsiteX25" fmla="*/ 354621 w 435145"/>
                <a:gd name="connsiteY25" fmla="*/ 98973 h 761503"/>
                <a:gd name="connsiteX26" fmla="*/ 360060 w 435145"/>
                <a:gd name="connsiteY26" fmla="*/ 74496 h 761503"/>
                <a:gd name="connsiteX27" fmla="*/ 365500 w 435145"/>
                <a:gd name="connsiteY27" fmla="*/ 63617 h 761503"/>
                <a:gd name="connsiteX28" fmla="*/ 373659 w 435145"/>
                <a:gd name="connsiteY28" fmla="*/ 58178 h 761503"/>
                <a:gd name="connsiteX29" fmla="*/ 381818 w 435145"/>
                <a:gd name="connsiteY29" fmla="*/ 63617 h 761503"/>
                <a:gd name="connsiteX30" fmla="*/ 389977 w 435145"/>
                <a:gd name="connsiteY30" fmla="*/ 82655 h 761503"/>
                <a:gd name="connsiteX31" fmla="*/ 392696 w 435145"/>
                <a:gd name="connsiteY31" fmla="*/ 126170 h 761503"/>
                <a:gd name="connsiteX32" fmla="*/ 395416 w 435145"/>
                <a:gd name="connsiteY32" fmla="*/ 186002 h 761503"/>
                <a:gd name="connsiteX33" fmla="*/ 398136 w 435145"/>
                <a:gd name="connsiteY33" fmla="*/ 237675 h 761503"/>
                <a:gd name="connsiteX34" fmla="*/ 398136 w 435145"/>
                <a:gd name="connsiteY34" fmla="*/ 243115 h 761503"/>
                <a:gd name="connsiteX35" fmla="*/ 395416 w 435145"/>
                <a:gd name="connsiteY35" fmla="*/ 256713 h 761503"/>
                <a:gd name="connsiteX36" fmla="*/ 379098 w 435145"/>
                <a:gd name="connsiteY36" fmla="*/ 278470 h 761503"/>
                <a:gd name="connsiteX37" fmla="*/ 362780 w 435145"/>
                <a:gd name="connsiteY37" fmla="*/ 273031 h 761503"/>
                <a:gd name="connsiteX38" fmla="*/ 354621 w 435145"/>
                <a:gd name="connsiteY38" fmla="*/ 256713 h 761503"/>
                <a:gd name="connsiteX39" fmla="*/ 354621 w 435145"/>
                <a:gd name="connsiteY39" fmla="*/ 213198 h 761503"/>
                <a:gd name="connsiteX40" fmla="*/ 354621 w 435145"/>
                <a:gd name="connsiteY40" fmla="*/ 205040 h 761503"/>
                <a:gd name="connsiteX41" fmla="*/ 338303 w 435145"/>
                <a:gd name="connsiteY41" fmla="*/ 147927 h 761503"/>
                <a:gd name="connsiteX42" fmla="*/ 292069 w 435145"/>
                <a:gd name="connsiteY42" fmla="*/ 107132 h 761503"/>
                <a:gd name="connsiteX43" fmla="*/ 262153 w 435145"/>
                <a:gd name="connsiteY43" fmla="*/ 120730 h 761503"/>
                <a:gd name="connsiteX44" fmla="*/ 251274 w 435145"/>
                <a:gd name="connsiteY44" fmla="*/ 131609 h 761503"/>
                <a:gd name="connsiteX45" fmla="*/ 240395 w 435145"/>
                <a:gd name="connsiteY45" fmla="*/ 139768 h 761503"/>
                <a:gd name="connsiteX46" fmla="*/ 237676 w 435145"/>
                <a:gd name="connsiteY46" fmla="*/ 164245 h 761503"/>
                <a:gd name="connsiteX47" fmla="*/ 226797 w 435145"/>
                <a:gd name="connsiteY47" fmla="*/ 196881 h 761503"/>
                <a:gd name="connsiteX48" fmla="*/ 213199 w 435145"/>
                <a:gd name="connsiteY48" fmla="*/ 259433 h 761503"/>
                <a:gd name="connsiteX49" fmla="*/ 207759 w 435145"/>
                <a:gd name="connsiteY49" fmla="*/ 324704 h 761503"/>
                <a:gd name="connsiteX50" fmla="*/ 207759 w 435145"/>
                <a:gd name="connsiteY50" fmla="*/ 335583 h 761503"/>
                <a:gd name="connsiteX51" fmla="*/ 205040 w 435145"/>
                <a:gd name="connsiteY51" fmla="*/ 349181 h 761503"/>
                <a:gd name="connsiteX52" fmla="*/ 207759 w 435145"/>
                <a:gd name="connsiteY52" fmla="*/ 368219 h 761503"/>
                <a:gd name="connsiteX53" fmla="*/ 207759 w 435145"/>
                <a:gd name="connsiteY53" fmla="*/ 376378 h 761503"/>
                <a:gd name="connsiteX54" fmla="*/ 205040 w 435145"/>
                <a:gd name="connsiteY54" fmla="*/ 387256 h 761503"/>
                <a:gd name="connsiteX55" fmla="*/ 205040 w 435145"/>
                <a:gd name="connsiteY55" fmla="*/ 395415 h 761503"/>
                <a:gd name="connsiteX56" fmla="*/ 205040 w 435145"/>
                <a:gd name="connsiteY56" fmla="*/ 406294 h 761503"/>
                <a:gd name="connsiteX57" fmla="*/ 205040 w 435145"/>
                <a:gd name="connsiteY57" fmla="*/ 425332 h 761503"/>
                <a:gd name="connsiteX58" fmla="*/ 213199 w 435145"/>
                <a:gd name="connsiteY58" fmla="*/ 493323 h 761503"/>
                <a:gd name="connsiteX59" fmla="*/ 221358 w 435145"/>
                <a:gd name="connsiteY59" fmla="*/ 561314 h 761503"/>
                <a:gd name="connsiteX60" fmla="*/ 226797 w 435145"/>
                <a:gd name="connsiteY60" fmla="*/ 591231 h 761503"/>
                <a:gd name="connsiteX61" fmla="*/ 240395 w 435145"/>
                <a:gd name="connsiteY61" fmla="*/ 618427 h 761503"/>
                <a:gd name="connsiteX62" fmla="*/ 283910 w 435145"/>
                <a:gd name="connsiteY62" fmla="*/ 651063 h 761503"/>
                <a:gd name="connsiteX63" fmla="*/ 338303 w 435145"/>
                <a:gd name="connsiteY63" fmla="*/ 612988 h 761503"/>
                <a:gd name="connsiteX64" fmla="*/ 354621 w 435145"/>
                <a:gd name="connsiteY64" fmla="*/ 577632 h 761503"/>
                <a:gd name="connsiteX65" fmla="*/ 357341 w 435145"/>
                <a:gd name="connsiteY65" fmla="*/ 509641 h 761503"/>
                <a:gd name="connsiteX66" fmla="*/ 362780 w 435145"/>
                <a:gd name="connsiteY66" fmla="*/ 485164 h 761503"/>
                <a:gd name="connsiteX67" fmla="*/ 368219 w 435145"/>
                <a:gd name="connsiteY67" fmla="*/ 474286 h 761503"/>
                <a:gd name="connsiteX68" fmla="*/ 376378 w 435145"/>
                <a:gd name="connsiteY68" fmla="*/ 468846 h 761503"/>
                <a:gd name="connsiteX69" fmla="*/ 384537 w 435145"/>
                <a:gd name="connsiteY69" fmla="*/ 474286 h 761503"/>
                <a:gd name="connsiteX70" fmla="*/ 392696 w 435145"/>
                <a:gd name="connsiteY70" fmla="*/ 493323 h 761503"/>
                <a:gd name="connsiteX71" fmla="*/ 395416 w 435145"/>
                <a:gd name="connsiteY71" fmla="*/ 558595 h 761503"/>
                <a:gd name="connsiteX72" fmla="*/ 398136 w 435145"/>
                <a:gd name="connsiteY72" fmla="*/ 618427 h 761503"/>
                <a:gd name="connsiteX73" fmla="*/ 400855 w 435145"/>
                <a:gd name="connsiteY73" fmla="*/ 678260 h 761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</a:cxnLst>
              <a:rect l="l" t="t" r="r" b="b"/>
              <a:pathLst>
                <a:path w="435145" h="761503">
                  <a:moveTo>
                    <a:pt x="400855" y="678260"/>
                  </a:moveTo>
                  <a:cubicBezTo>
                    <a:pt x="400855" y="689138"/>
                    <a:pt x="400855" y="719054"/>
                    <a:pt x="384537" y="719054"/>
                  </a:cubicBezTo>
                  <a:cubicBezTo>
                    <a:pt x="376378" y="719054"/>
                    <a:pt x="373659" y="716335"/>
                    <a:pt x="368219" y="713615"/>
                  </a:cubicBezTo>
                  <a:cubicBezTo>
                    <a:pt x="362780" y="710895"/>
                    <a:pt x="360060" y="702736"/>
                    <a:pt x="360060" y="697297"/>
                  </a:cubicBezTo>
                  <a:cubicBezTo>
                    <a:pt x="357341" y="680979"/>
                    <a:pt x="357341" y="664661"/>
                    <a:pt x="360060" y="651063"/>
                  </a:cubicBezTo>
                  <a:cubicBezTo>
                    <a:pt x="354621" y="659222"/>
                    <a:pt x="341023" y="678260"/>
                    <a:pt x="332864" y="686418"/>
                  </a:cubicBezTo>
                  <a:cubicBezTo>
                    <a:pt x="311107" y="708176"/>
                    <a:pt x="283910" y="721774"/>
                    <a:pt x="251274" y="721774"/>
                  </a:cubicBezTo>
                  <a:cubicBezTo>
                    <a:pt x="243115" y="721774"/>
                    <a:pt x="237676" y="721774"/>
                    <a:pt x="229517" y="719054"/>
                  </a:cubicBezTo>
                  <a:cubicBezTo>
                    <a:pt x="207759" y="716335"/>
                    <a:pt x="183283" y="708176"/>
                    <a:pt x="158806" y="694578"/>
                  </a:cubicBezTo>
                  <a:cubicBezTo>
                    <a:pt x="142488" y="686418"/>
                    <a:pt x="126170" y="672820"/>
                    <a:pt x="112571" y="659222"/>
                  </a:cubicBezTo>
                  <a:cubicBezTo>
                    <a:pt x="98973" y="642904"/>
                    <a:pt x="88095" y="626586"/>
                    <a:pt x="79936" y="607548"/>
                  </a:cubicBezTo>
                  <a:cubicBezTo>
                    <a:pt x="71777" y="585791"/>
                    <a:pt x="66337" y="566754"/>
                    <a:pt x="63618" y="542277"/>
                  </a:cubicBezTo>
                  <a:cubicBezTo>
                    <a:pt x="60898" y="517800"/>
                    <a:pt x="58178" y="493323"/>
                    <a:pt x="58178" y="471566"/>
                  </a:cubicBezTo>
                  <a:cubicBezTo>
                    <a:pt x="58178" y="447089"/>
                    <a:pt x="58178" y="425332"/>
                    <a:pt x="60898" y="400855"/>
                  </a:cubicBezTo>
                  <a:cubicBezTo>
                    <a:pt x="63618" y="379098"/>
                    <a:pt x="60898" y="357340"/>
                    <a:pt x="66337" y="335583"/>
                  </a:cubicBezTo>
                  <a:cubicBezTo>
                    <a:pt x="69057" y="313826"/>
                    <a:pt x="77216" y="289349"/>
                    <a:pt x="85375" y="267592"/>
                  </a:cubicBezTo>
                  <a:cubicBezTo>
                    <a:pt x="93534" y="243115"/>
                    <a:pt x="98973" y="221357"/>
                    <a:pt x="109852" y="199600"/>
                  </a:cubicBezTo>
                  <a:cubicBezTo>
                    <a:pt x="118011" y="177843"/>
                    <a:pt x="131609" y="161525"/>
                    <a:pt x="145207" y="145207"/>
                  </a:cubicBezTo>
                  <a:cubicBezTo>
                    <a:pt x="158806" y="128889"/>
                    <a:pt x="172404" y="109852"/>
                    <a:pt x="188722" y="96253"/>
                  </a:cubicBezTo>
                  <a:cubicBezTo>
                    <a:pt x="205040" y="82655"/>
                    <a:pt x="224077" y="77216"/>
                    <a:pt x="243115" y="71776"/>
                  </a:cubicBezTo>
                  <a:cubicBezTo>
                    <a:pt x="256713" y="69057"/>
                    <a:pt x="273031" y="63617"/>
                    <a:pt x="286630" y="63617"/>
                  </a:cubicBezTo>
                  <a:cubicBezTo>
                    <a:pt x="292069" y="63617"/>
                    <a:pt x="297508" y="63617"/>
                    <a:pt x="305667" y="66337"/>
                  </a:cubicBezTo>
                  <a:cubicBezTo>
                    <a:pt x="313826" y="69057"/>
                    <a:pt x="319266" y="74496"/>
                    <a:pt x="324705" y="79936"/>
                  </a:cubicBezTo>
                  <a:cubicBezTo>
                    <a:pt x="332864" y="85375"/>
                    <a:pt x="332864" y="93534"/>
                    <a:pt x="341023" y="101693"/>
                  </a:cubicBezTo>
                  <a:cubicBezTo>
                    <a:pt x="346462" y="107132"/>
                    <a:pt x="349182" y="118011"/>
                    <a:pt x="354621" y="123450"/>
                  </a:cubicBezTo>
                  <a:cubicBezTo>
                    <a:pt x="354621" y="115291"/>
                    <a:pt x="354621" y="101693"/>
                    <a:pt x="354621" y="98973"/>
                  </a:cubicBezTo>
                  <a:cubicBezTo>
                    <a:pt x="354621" y="90814"/>
                    <a:pt x="354621" y="79936"/>
                    <a:pt x="360060" y="74496"/>
                  </a:cubicBezTo>
                  <a:cubicBezTo>
                    <a:pt x="362780" y="71776"/>
                    <a:pt x="362780" y="69057"/>
                    <a:pt x="365500" y="63617"/>
                  </a:cubicBezTo>
                  <a:cubicBezTo>
                    <a:pt x="368219" y="60898"/>
                    <a:pt x="370939" y="58178"/>
                    <a:pt x="373659" y="58178"/>
                  </a:cubicBezTo>
                  <a:cubicBezTo>
                    <a:pt x="376378" y="58178"/>
                    <a:pt x="379098" y="60898"/>
                    <a:pt x="381818" y="63617"/>
                  </a:cubicBezTo>
                  <a:cubicBezTo>
                    <a:pt x="384537" y="69057"/>
                    <a:pt x="387257" y="77216"/>
                    <a:pt x="389977" y="82655"/>
                  </a:cubicBezTo>
                  <a:cubicBezTo>
                    <a:pt x="389977" y="90814"/>
                    <a:pt x="392696" y="107132"/>
                    <a:pt x="392696" y="126170"/>
                  </a:cubicBezTo>
                  <a:cubicBezTo>
                    <a:pt x="392696" y="150647"/>
                    <a:pt x="392696" y="177843"/>
                    <a:pt x="395416" y="186002"/>
                  </a:cubicBezTo>
                  <a:cubicBezTo>
                    <a:pt x="398136" y="205040"/>
                    <a:pt x="398136" y="215918"/>
                    <a:pt x="398136" y="237675"/>
                  </a:cubicBezTo>
                  <a:cubicBezTo>
                    <a:pt x="398136" y="240395"/>
                    <a:pt x="398136" y="243115"/>
                    <a:pt x="398136" y="243115"/>
                  </a:cubicBezTo>
                  <a:cubicBezTo>
                    <a:pt x="398136" y="248554"/>
                    <a:pt x="398136" y="251274"/>
                    <a:pt x="395416" y="256713"/>
                  </a:cubicBezTo>
                  <a:cubicBezTo>
                    <a:pt x="392696" y="267592"/>
                    <a:pt x="389977" y="278470"/>
                    <a:pt x="379098" y="278470"/>
                  </a:cubicBezTo>
                  <a:cubicBezTo>
                    <a:pt x="370939" y="278470"/>
                    <a:pt x="368219" y="275751"/>
                    <a:pt x="362780" y="273031"/>
                  </a:cubicBezTo>
                  <a:cubicBezTo>
                    <a:pt x="357341" y="270311"/>
                    <a:pt x="354621" y="262152"/>
                    <a:pt x="354621" y="256713"/>
                  </a:cubicBezTo>
                  <a:cubicBezTo>
                    <a:pt x="349182" y="237675"/>
                    <a:pt x="354621" y="232236"/>
                    <a:pt x="354621" y="213198"/>
                  </a:cubicBezTo>
                  <a:cubicBezTo>
                    <a:pt x="354621" y="210479"/>
                    <a:pt x="354621" y="207759"/>
                    <a:pt x="354621" y="205040"/>
                  </a:cubicBezTo>
                  <a:cubicBezTo>
                    <a:pt x="349182" y="186002"/>
                    <a:pt x="343742" y="169684"/>
                    <a:pt x="338303" y="147927"/>
                  </a:cubicBezTo>
                  <a:cubicBezTo>
                    <a:pt x="332864" y="131609"/>
                    <a:pt x="311107" y="107132"/>
                    <a:pt x="292069" y="107132"/>
                  </a:cubicBezTo>
                  <a:cubicBezTo>
                    <a:pt x="281190" y="107132"/>
                    <a:pt x="270312" y="115291"/>
                    <a:pt x="262153" y="120730"/>
                  </a:cubicBezTo>
                  <a:cubicBezTo>
                    <a:pt x="259433" y="123450"/>
                    <a:pt x="256713" y="126170"/>
                    <a:pt x="251274" y="131609"/>
                  </a:cubicBezTo>
                  <a:cubicBezTo>
                    <a:pt x="248554" y="134329"/>
                    <a:pt x="243115" y="137048"/>
                    <a:pt x="240395" y="139768"/>
                  </a:cubicBezTo>
                  <a:cubicBezTo>
                    <a:pt x="237676" y="145207"/>
                    <a:pt x="240395" y="156086"/>
                    <a:pt x="237676" y="164245"/>
                  </a:cubicBezTo>
                  <a:cubicBezTo>
                    <a:pt x="232236" y="175123"/>
                    <a:pt x="229517" y="186002"/>
                    <a:pt x="226797" y="196881"/>
                  </a:cubicBezTo>
                  <a:cubicBezTo>
                    <a:pt x="221358" y="218638"/>
                    <a:pt x="218638" y="237675"/>
                    <a:pt x="213199" y="259433"/>
                  </a:cubicBezTo>
                  <a:cubicBezTo>
                    <a:pt x="210479" y="281190"/>
                    <a:pt x="207759" y="302947"/>
                    <a:pt x="207759" y="324704"/>
                  </a:cubicBezTo>
                  <a:cubicBezTo>
                    <a:pt x="207759" y="327424"/>
                    <a:pt x="207759" y="332863"/>
                    <a:pt x="207759" y="335583"/>
                  </a:cubicBezTo>
                  <a:cubicBezTo>
                    <a:pt x="207759" y="341022"/>
                    <a:pt x="205040" y="343742"/>
                    <a:pt x="205040" y="349181"/>
                  </a:cubicBezTo>
                  <a:cubicBezTo>
                    <a:pt x="205040" y="354621"/>
                    <a:pt x="207759" y="362779"/>
                    <a:pt x="207759" y="368219"/>
                  </a:cubicBezTo>
                  <a:cubicBezTo>
                    <a:pt x="207759" y="370939"/>
                    <a:pt x="207759" y="373658"/>
                    <a:pt x="207759" y="376378"/>
                  </a:cubicBezTo>
                  <a:cubicBezTo>
                    <a:pt x="205040" y="381817"/>
                    <a:pt x="205040" y="384537"/>
                    <a:pt x="205040" y="387256"/>
                  </a:cubicBezTo>
                  <a:cubicBezTo>
                    <a:pt x="205040" y="389976"/>
                    <a:pt x="205040" y="392696"/>
                    <a:pt x="205040" y="395415"/>
                  </a:cubicBezTo>
                  <a:cubicBezTo>
                    <a:pt x="205040" y="398135"/>
                    <a:pt x="205040" y="403574"/>
                    <a:pt x="205040" y="406294"/>
                  </a:cubicBezTo>
                  <a:cubicBezTo>
                    <a:pt x="205040" y="411733"/>
                    <a:pt x="205040" y="417173"/>
                    <a:pt x="205040" y="425332"/>
                  </a:cubicBezTo>
                  <a:cubicBezTo>
                    <a:pt x="205040" y="449809"/>
                    <a:pt x="213199" y="471566"/>
                    <a:pt x="213199" y="493323"/>
                  </a:cubicBezTo>
                  <a:cubicBezTo>
                    <a:pt x="213199" y="517800"/>
                    <a:pt x="215919" y="539557"/>
                    <a:pt x="221358" y="561314"/>
                  </a:cubicBezTo>
                  <a:cubicBezTo>
                    <a:pt x="224077" y="572193"/>
                    <a:pt x="224077" y="580352"/>
                    <a:pt x="226797" y="591231"/>
                  </a:cubicBezTo>
                  <a:cubicBezTo>
                    <a:pt x="229517" y="599390"/>
                    <a:pt x="237676" y="607548"/>
                    <a:pt x="240395" y="618427"/>
                  </a:cubicBezTo>
                  <a:cubicBezTo>
                    <a:pt x="248554" y="637465"/>
                    <a:pt x="262153" y="651063"/>
                    <a:pt x="283910" y="651063"/>
                  </a:cubicBezTo>
                  <a:cubicBezTo>
                    <a:pt x="302948" y="651063"/>
                    <a:pt x="330144" y="629306"/>
                    <a:pt x="338303" y="612988"/>
                  </a:cubicBezTo>
                  <a:cubicBezTo>
                    <a:pt x="346462" y="599390"/>
                    <a:pt x="351901" y="591231"/>
                    <a:pt x="354621" y="577632"/>
                  </a:cubicBezTo>
                  <a:cubicBezTo>
                    <a:pt x="354621" y="550436"/>
                    <a:pt x="354621" y="517800"/>
                    <a:pt x="357341" y="509641"/>
                  </a:cubicBezTo>
                  <a:cubicBezTo>
                    <a:pt x="357341" y="501482"/>
                    <a:pt x="357341" y="490603"/>
                    <a:pt x="362780" y="485164"/>
                  </a:cubicBezTo>
                  <a:cubicBezTo>
                    <a:pt x="365500" y="482444"/>
                    <a:pt x="365500" y="479725"/>
                    <a:pt x="368219" y="474286"/>
                  </a:cubicBezTo>
                  <a:cubicBezTo>
                    <a:pt x="370939" y="471566"/>
                    <a:pt x="373659" y="468846"/>
                    <a:pt x="376378" y="468846"/>
                  </a:cubicBezTo>
                  <a:cubicBezTo>
                    <a:pt x="379098" y="468846"/>
                    <a:pt x="381818" y="471566"/>
                    <a:pt x="384537" y="474286"/>
                  </a:cubicBezTo>
                  <a:cubicBezTo>
                    <a:pt x="387257" y="479725"/>
                    <a:pt x="389977" y="487884"/>
                    <a:pt x="392696" y="493323"/>
                  </a:cubicBezTo>
                  <a:cubicBezTo>
                    <a:pt x="392696" y="501482"/>
                    <a:pt x="395416" y="539557"/>
                    <a:pt x="395416" y="558595"/>
                  </a:cubicBezTo>
                  <a:cubicBezTo>
                    <a:pt x="395416" y="583072"/>
                    <a:pt x="395416" y="610268"/>
                    <a:pt x="398136" y="618427"/>
                  </a:cubicBezTo>
                  <a:cubicBezTo>
                    <a:pt x="398136" y="648343"/>
                    <a:pt x="400855" y="659222"/>
                    <a:pt x="400855" y="678260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0" name="Freeform: Shape 39">
              <a:extLst>
                <a:ext uri="{FF2B5EF4-FFF2-40B4-BE49-F238E27FC236}">
                  <a16:creationId xmlns:a16="http://schemas.microsoft.com/office/drawing/2014/main" id="{423558B8-06E0-4621-852F-9D8F09A23F14}"/>
                </a:ext>
              </a:extLst>
            </p:cNvPr>
            <p:cNvSpPr/>
            <p:nvPr/>
          </p:nvSpPr>
          <p:spPr bwMode="black">
            <a:xfrm>
              <a:off x="3829459" y="4200317"/>
              <a:ext cx="598325" cy="761503"/>
            </a:xfrm>
            <a:custGeom>
              <a:avLst/>
              <a:gdLst>
                <a:gd name="connsiteX0" fmla="*/ 360060 w 598324"/>
                <a:gd name="connsiteY0" fmla="*/ 332863 h 761503"/>
                <a:gd name="connsiteX1" fmla="*/ 341023 w 598324"/>
                <a:gd name="connsiteY1" fmla="*/ 370939 h 761503"/>
                <a:gd name="connsiteX2" fmla="*/ 376378 w 598324"/>
                <a:gd name="connsiteY2" fmla="*/ 389976 h 761503"/>
                <a:gd name="connsiteX3" fmla="*/ 425332 w 598324"/>
                <a:gd name="connsiteY3" fmla="*/ 433491 h 761503"/>
                <a:gd name="connsiteX4" fmla="*/ 438930 w 598324"/>
                <a:gd name="connsiteY4" fmla="*/ 463407 h 761503"/>
                <a:gd name="connsiteX5" fmla="*/ 449809 w 598324"/>
                <a:gd name="connsiteY5" fmla="*/ 498762 h 761503"/>
                <a:gd name="connsiteX6" fmla="*/ 457968 w 598324"/>
                <a:gd name="connsiteY6" fmla="*/ 528679 h 761503"/>
                <a:gd name="connsiteX7" fmla="*/ 466127 w 598324"/>
                <a:gd name="connsiteY7" fmla="*/ 564034 h 761503"/>
                <a:gd name="connsiteX8" fmla="*/ 471566 w 598324"/>
                <a:gd name="connsiteY8" fmla="*/ 593950 h 761503"/>
                <a:gd name="connsiteX9" fmla="*/ 479725 w 598324"/>
                <a:gd name="connsiteY9" fmla="*/ 607548 h 761503"/>
                <a:gd name="connsiteX10" fmla="*/ 487884 w 598324"/>
                <a:gd name="connsiteY10" fmla="*/ 623867 h 761503"/>
                <a:gd name="connsiteX11" fmla="*/ 501482 w 598324"/>
                <a:gd name="connsiteY11" fmla="*/ 651063 h 761503"/>
                <a:gd name="connsiteX12" fmla="*/ 523240 w 598324"/>
                <a:gd name="connsiteY12" fmla="*/ 670101 h 761503"/>
                <a:gd name="connsiteX13" fmla="*/ 534119 w 598324"/>
                <a:gd name="connsiteY13" fmla="*/ 686418 h 761503"/>
                <a:gd name="connsiteX14" fmla="*/ 531399 w 598324"/>
                <a:gd name="connsiteY14" fmla="*/ 694578 h 761503"/>
                <a:gd name="connsiteX15" fmla="*/ 498763 w 598324"/>
                <a:gd name="connsiteY15" fmla="*/ 708176 h 761503"/>
                <a:gd name="connsiteX16" fmla="*/ 449809 w 598324"/>
                <a:gd name="connsiteY16" fmla="*/ 700017 h 761503"/>
                <a:gd name="connsiteX17" fmla="*/ 400855 w 598324"/>
                <a:gd name="connsiteY17" fmla="*/ 667381 h 761503"/>
                <a:gd name="connsiteX18" fmla="*/ 381817 w 598324"/>
                <a:gd name="connsiteY18" fmla="*/ 642904 h 761503"/>
                <a:gd name="connsiteX19" fmla="*/ 368219 w 598324"/>
                <a:gd name="connsiteY19" fmla="*/ 610268 h 761503"/>
                <a:gd name="connsiteX20" fmla="*/ 349182 w 598324"/>
                <a:gd name="connsiteY20" fmla="*/ 550436 h 761503"/>
                <a:gd name="connsiteX21" fmla="*/ 338303 w 598324"/>
                <a:gd name="connsiteY21" fmla="*/ 504202 h 761503"/>
                <a:gd name="connsiteX22" fmla="*/ 330144 w 598324"/>
                <a:gd name="connsiteY22" fmla="*/ 477005 h 761503"/>
                <a:gd name="connsiteX23" fmla="*/ 321985 w 598324"/>
                <a:gd name="connsiteY23" fmla="*/ 455248 h 761503"/>
                <a:gd name="connsiteX24" fmla="*/ 305667 w 598324"/>
                <a:gd name="connsiteY24" fmla="*/ 436210 h 761503"/>
                <a:gd name="connsiteX25" fmla="*/ 294788 w 598324"/>
                <a:gd name="connsiteY25" fmla="*/ 441650 h 761503"/>
                <a:gd name="connsiteX26" fmla="*/ 278471 w 598324"/>
                <a:gd name="connsiteY26" fmla="*/ 463407 h 761503"/>
                <a:gd name="connsiteX27" fmla="*/ 264872 w 598324"/>
                <a:gd name="connsiteY27" fmla="*/ 496043 h 761503"/>
                <a:gd name="connsiteX28" fmla="*/ 262153 w 598324"/>
                <a:gd name="connsiteY28" fmla="*/ 517800 h 761503"/>
                <a:gd name="connsiteX29" fmla="*/ 262153 w 598324"/>
                <a:gd name="connsiteY29" fmla="*/ 523239 h 761503"/>
                <a:gd name="connsiteX30" fmla="*/ 262153 w 598324"/>
                <a:gd name="connsiteY30" fmla="*/ 553155 h 761503"/>
                <a:gd name="connsiteX31" fmla="*/ 262153 w 598324"/>
                <a:gd name="connsiteY31" fmla="*/ 629306 h 761503"/>
                <a:gd name="connsiteX32" fmla="*/ 259433 w 598324"/>
                <a:gd name="connsiteY32" fmla="*/ 659222 h 761503"/>
                <a:gd name="connsiteX33" fmla="*/ 283910 w 598324"/>
                <a:gd name="connsiteY33" fmla="*/ 659222 h 761503"/>
                <a:gd name="connsiteX34" fmla="*/ 321985 w 598324"/>
                <a:gd name="connsiteY34" fmla="*/ 675540 h 761503"/>
                <a:gd name="connsiteX35" fmla="*/ 316546 w 598324"/>
                <a:gd name="connsiteY35" fmla="*/ 691858 h 761503"/>
                <a:gd name="connsiteX36" fmla="*/ 300228 w 598324"/>
                <a:gd name="connsiteY36" fmla="*/ 700017 h 761503"/>
                <a:gd name="connsiteX37" fmla="*/ 278471 w 598324"/>
                <a:gd name="connsiteY37" fmla="*/ 702736 h 761503"/>
                <a:gd name="connsiteX38" fmla="*/ 243115 w 598324"/>
                <a:gd name="connsiteY38" fmla="*/ 702736 h 761503"/>
                <a:gd name="connsiteX39" fmla="*/ 221358 w 598324"/>
                <a:gd name="connsiteY39" fmla="*/ 710895 h 761503"/>
                <a:gd name="connsiteX40" fmla="*/ 194161 w 598324"/>
                <a:gd name="connsiteY40" fmla="*/ 702736 h 761503"/>
                <a:gd name="connsiteX41" fmla="*/ 177843 w 598324"/>
                <a:gd name="connsiteY41" fmla="*/ 702736 h 761503"/>
                <a:gd name="connsiteX42" fmla="*/ 126170 w 598324"/>
                <a:gd name="connsiteY42" fmla="*/ 702736 h 761503"/>
                <a:gd name="connsiteX43" fmla="*/ 101693 w 598324"/>
                <a:gd name="connsiteY43" fmla="*/ 702736 h 761503"/>
                <a:gd name="connsiteX44" fmla="*/ 74496 w 598324"/>
                <a:gd name="connsiteY44" fmla="*/ 697297 h 761503"/>
                <a:gd name="connsiteX45" fmla="*/ 58178 w 598324"/>
                <a:gd name="connsiteY45" fmla="*/ 680979 h 761503"/>
                <a:gd name="connsiteX46" fmla="*/ 63617 w 598324"/>
                <a:gd name="connsiteY46" fmla="*/ 672820 h 761503"/>
                <a:gd name="connsiteX47" fmla="*/ 85375 w 598324"/>
                <a:gd name="connsiteY47" fmla="*/ 664661 h 761503"/>
                <a:gd name="connsiteX48" fmla="*/ 128889 w 598324"/>
                <a:gd name="connsiteY48" fmla="*/ 659222 h 761503"/>
                <a:gd name="connsiteX49" fmla="*/ 147927 w 598324"/>
                <a:gd name="connsiteY49" fmla="*/ 659222 h 761503"/>
                <a:gd name="connsiteX50" fmla="*/ 145207 w 598324"/>
                <a:gd name="connsiteY50" fmla="*/ 653783 h 761503"/>
                <a:gd name="connsiteX51" fmla="*/ 131609 w 598324"/>
                <a:gd name="connsiteY51" fmla="*/ 585791 h 761503"/>
                <a:gd name="connsiteX52" fmla="*/ 134329 w 598324"/>
                <a:gd name="connsiteY52" fmla="*/ 498762 h 761503"/>
                <a:gd name="connsiteX53" fmla="*/ 137048 w 598324"/>
                <a:gd name="connsiteY53" fmla="*/ 406294 h 761503"/>
                <a:gd name="connsiteX54" fmla="*/ 134329 w 598324"/>
                <a:gd name="connsiteY54" fmla="*/ 327424 h 761503"/>
                <a:gd name="connsiteX55" fmla="*/ 137048 w 598324"/>
                <a:gd name="connsiteY55" fmla="*/ 253993 h 761503"/>
                <a:gd name="connsiteX56" fmla="*/ 139768 w 598324"/>
                <a:gd name="connsiteY56" fmla="*/ 207759 h 761503"/>
                <a:gd name="connsiteX57" fmla="*/ 137048 w 598324"/>
                <a:gd name="connsiteY57" fmla="*/ 172404 h 761503"/>
                <a:gd name="connsiteX58" fmla="*/ 137048 w 598324"/>
                <a:gd name="connsiteY58" fmla="*/ 112571 h 761503"/>
                <a:gd name="connsiteX59" fmla="*/ 126170 w 598324"/>
                <a:gd name="connsiteY59" fmla="*/ 112571 h 761503"/>
                <a:gd name="connsiteX60" fmla="*/ 101693 w 598324"/>
                <a:gd name="connsiteY60" fmla="*/ 112571 h 761503"/>
                <a:gd name="connsiteX61" fmla="*/ 74496 w 598324"/>
                <a:gd name="connsiteY61" fmla="*/ 107132 h 761503"/>
                <a:gd name="connsiteX62" fmla="*/ 58178 w 598324"/>
                <a:gd name="connsiteY62" fmla="*/ 90814 h 761503"/>
                <a:gd name="connsiteX63" fmla="*/ 63617 w 598324"/>
                <a:gd name="connsiteY63" fmla="*/ 82655 h 761503"/>
                <a:gd name="connsiteX64" fmla="*/ 85375 w 598324"/>
                <a:gd name="connsiteY64" fmla="*/ 74496 h 761503"/>
                <a:gd name="connsiteX65" fmla="*/ 137048 w 598324"/>
                <a:gd name="connsiteY65" fmla="*/ 69057 h 761503"/>
                <a:gd name="connsiteX66" fmla="*/ 145207 w 598324"/>
                <a:gd name="connsiteY66" fmla="*/ 69057 h 761503"/>
                <a:gd name="connsiteX67" fmla="*/ 169684 w 598324"/>
                <a:gd name="connsiteY67" fmla="*/ 58178 h 761503"/>
                <a:gd name="connsiteX68" fmla="*/ 177843 w 598324"/>
                <a:gd name="connsiteY68" fmla="*/ 58178 h 761503"/>
                <a:gd name="connsiteX69" fmla="*/ 205040 w 598324"/>
                <a:gd name="connsiteY69" fmla="*/ 66337 h 761503"/>
                <a:gd name="connsiteX70" fmla="*/ 286629 w 598324"/>
                <a:gd name="connsiteY70" fmla="*/ 63617 h 761503"/>
                <a:gd name="connsiteX71" fmla="*/ 324705 w 598324"/>
                <a:gd name="connsiteY71" fmla="*/ 79936 h 761503"/>
                <a:gd name="connsiteX72" fmla="*/ 319265 w 598324"/>
                <a:gd name="connsiteY72" fmla="*/ 96253 h 761503"/>
                <a:gd name="connsiteX73" fmla="*/ 302948 w 598324"/>
                <a:gd name="connsiteY73" fmla="*/ 104412 h 761503"/>
                <a:gd name="connsiteX74" fmla="*/ 278471 w 598324"/>
                <a:gd name="connsiteY74" fmla="*/ 112571 h 761503"/>
                <a:gd name="connsiteX75" fmla="*/ 232236 w 598324"/>
                <a:gd name="connsiteY75" fmla="*/ 112571 h 761503"/>
                <a:gd name="connsiteX76" fmla="*/ 240395 w 598324"/>
                <a:gd name="connsiteY76" fmla="*/ 137048 h 761503"/>
                <a:gd name="connsiteX77" fmla="*/ 240395 w 598324"/>
                <a:gd name="connsiteY77" fmla="*/ 150647 h 761503"/>
                <a:gd name="connsiteX78" fmla="*/ 243115 w 598324"/>
                <a:gd name="connsiteY78" fmla="*/ 158805 h 761503"/>
                <a:gd name="connsiteX79" fmla="*/ 248554 w 598324"/>
                <a:gd name="connsiteY79" fmla="*/ 188722 h 761503"/>
                <a:gd name="connsiteX80" fmla="*/ 248554 w 598324"/>
                <a:gd name="connsiteY80" fmla="*/ 199600 h 761503"/>
                <a:gd name="connsiteX81" fmla="*/ 248554 w 598324"/>
                <a:gd name="connsiteY81" fmla="*/ 221357 h 761503"/>
                <a:gd name="connsiteX82" fmla="*/ 253994 w 598324"/>
                <a:gd name="connsiteY82" fmla="*/ 264872 h 761503"/>
                <a:gd name="connsiteX83" fmla="*/ 262153 w 598324"/>
                <a:gd name="connsiteY83" fmla="*/ 297508 h 761503"/>
                <a:gd name="connsiteX84" fmla="*/ 264872 w 598324"/>
                <a:gd name="connsiteY84" fmla="*/ 324704 h 761503"/>
                <a:gd name="connsiteX85" fmla="*/ 264872 w 598324"/>
                <a:gd name="connsiteY85" fmla="*/ 332863 h 761503"/>
                <a:gd name="connsiteX86" fmla="*/ 264872 w 598324"/>
                <a:gd name="connsiteY86" fmla="*/ 351901 h 761503"/>
                <a:gd name="connsiteX87" fmla="*/ 262153 w 598324"/>
                <a:gd name="connsiteY87" fmla="*/ 370939 h 761503"/>
                <a:gd name="connsiteX88" fmla="*/ 267592 w 598324"/>
                <a:gd name="connsiteY88" fmla="*/ 384537 h 761503"/>
                <a:gd name="connsiteX89" fmla="*/ 278471 w 598324"/>
                <a:gd name="connsiteY89" fmla="*/ 370939 h 761503"/>
                <a:gd name="connsiteX90" fmla="*/ 297508 w 598324"/>
                <a:gd name="connsiteY90" fmla="*/ 332863 h 761503"/>
                <a:gd name="connsiteX91" fmla="*/ 311106 w 598324"/>
                <a:gd name="connsiteY91" fmla="*/ 305667 h 761503"/>
                <a:gd name="connsiteX92" fmla="*/ 335583 w 598324"/>
                <a:gd name="connsiteY92" fmla="*/ 259433 h 761503"/>
                <a:gd name="connsiteX93" fmla="*/ 354621 w 598324"/>
                <a:gd name="connsiteY93" fmla="*/ 224077 h 761503"/>
                <a:gd name="connsiteX94" fmla="*/ 381817 w 598324"/>
                <a:gd name="connsiteY94" fmla="*/ 172404 h 761503"/>
                <a:gd name="connsiteX95" fmla="*/ 409014 w 598324"/>
                <a:gd name="connsiteY95" fmla="*/ 118011 h 761503"/>
                <a:gd name="connsiteX96" fmla="*/ 411734 w 598324"/>
                <a:gd name="connsiteY96" fmla="*/ 115291 h 761503"/>
                <a:gd name="connsiteX97" fmla="*/ 398136 w 598324"/>
                <a:gd name="connsiteY97" fmla="*/ 115291 h 761503"/>
                <a:gd name="connsiteX98" fmla="*/ 379098 w 598324"/>
                <a:gd name="connsiteY98" fmla="*/ 109852 h 761503"/>
                <a:gd name="connsiteX99" fmla="*/ 368219 w 598324"/>
                <a:gd name="connsiteY99" fmla="*/ 93534 h 761503"/>
                <a:gd name="connsiteX100" fmla="*/ 370939 w 598324"/>
                <a:gd name="connsiteY100" fmla="*/ 85375 h 761503"/>
                <a:gd name="connsiteX101" fmla="*/ 387257 w 598324"/>
                <a:gd name="connsiteY101" fmla="*/ 77216 h 761503"/>
                <a:gd name="connsiteX102" fmla="*/ 422612 w 598324"/>
                <a:gd name="connsiteY102" fmla="*/ 71776 h 761503"/>
                <a:gd name="connsiteX103" fmla="*/ 436211 w 598324"/>
                <a:gd name="connsiteY103" fmla="*/ 71776 h 761503"/>
                <a:gd name="connsiteX104" fmla="*/ 438930 w 598324"/>
                <a:gd name="connsiteY104" fmla="*/ 69057 h 761503"/>
                <a:gd name="connsiteX105" fmla="*/ 452529 w 598324"/>
                <a:gd name="connsiteY105" fmla="*/ 66337 h 761503"/>
                <a:gd name="connsiteX106" fmla="*/ 466127 w 598324"/>
                <a:gd name="connsiteY106" fmla="*/ 69057 h 761503"/>
                <a:gd name="connsiteX107" fmla="*/ 471566 w 598324"/>
                <a:gd name="connsiteY107" fmla="*/ 71776 h 761503"/>
                <a:gd name="connsiteX108" fmla="*/ 515081 w 598324"/>
                <a:gd name="connsiteY108" fmla="*/ 71776 h 761503"/>
                <a:gd name="connsiteX109" fmla="*/ 542277 w 598324"/>
                <a:gd name="connsiteY109" fmla="*/ 88094 h 761503"/>
                <a:gd name="connsiteX110" fmla="*/ 536838 w 598324"/>
                <a:gd name="connsiteY110" fmla="*/ 104412 h 761503"/>
                <a:gd name="connsiteX111" fmla="*/ 525959 w 598324"/>
                <a:gd name="connsiteY111" fmla="*/ 112571 h 761503"/>
                <a:gd name="connsiteX112" fmla="*/ 509642 w 598324"/>
                <a:gd name="connsiteY112" fmla="*/ 115291 h 761503"/>
                <a:gd name="connsiteX113" fmla="*/ 468847 w 598324"/>
                <a:gd name="connsiteY113" fmla="*/ 115291 h 761503"/>
                <a:gd name="connsiteX114" fmla="*/ 457968 w 598324"/>
                <a:gd name="connsiteY114" fmla="*/ 137048 h 761503"/>
                <a:gd name="connsiteX115" fmla="*/ 430771 w 598324"/>
                <a:gd name="connsiteY115" fmla="*/ 194161 h 761503"/>
                <a:gd name="connsiteX116" fmla="*/ 400855 w 598324"/>
                <a:gd name="connsiteY116" fmla="*/ 262152 h 761503"/>
                <a:gd name="connsiteX117" fmla="*/ 360060 w 598324"/>
                <a:gd name="connsiteY117" fmla="*/ 332863 h 761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</a:cxnLst>
              <a:rect l="l" t="t" r="r" b="b"/>
              <a:pathLst>
                <a:path w="598324" h="761503">
                  <a:moveTo>
                    <a:pt x="360060" y="332863"/>
                  </a:moveTo>
                  <a:cubicBezTo>
                    <a:pt x="351901" y="343742"/>
                    <a:pt x="341023" y="357340"/>
                    <a:pt x="341023" y="370939"/>
                  </a:cubicBezTo>
                  <a:cubicBezTo>
                    <a:pt x="341023" y="379098"/>
                    <a:pt x="357341" y="381817"/>
                    <a:pt x="376378" y="389976"/>
                  </a:cubicBezTo>
                  <a:cubicBezTo>
                    <a:pt x="395416" y="398135"/>
                    <a:pt x="417173" y="417173"/>
                    <a:pt x="425332" y="433491"/>
                  </a:cubicBezTo>
                  <a:cubicBezTo>
                    <a:pt x="430771" y="444369"/>
                    <a:pt x="436211" y="452528"/>
                    <a:pt x="438930" y="463407"/>
                  </a:cubicBezTo>
                  <a:cubicBezTo>
                    <a:pt x="444370" y="474286"/>
                    <a:pt x="447089" y="487884"/>
                    <a:pt x="449809" y="498762"/>
                  </a:cubicBezTo>
                  <a:cubicBezTo>
                    <a:pt x="452529" y="512361"/>
                    <a:pt x="452529" y="517800"/>
                    <a:pt x="457968" y="528679"/>
                  </a:cubicBezTo>
                  <a:cubicBezTo>
                    <a:pt x="463407" y="539557"/>
                    <a:pt x="463407" y="553155"/>
                    <a:pt x="466127" y="564034"/>
                  </a:cubicBezTo>
                  <a:cubicBezTo>
                    <a:pt x="468847" y="572193"/>
                    <a:pt x="468847" y="585791"/>
                    <a:pt x="471566" y="593950"/>
                  </a:cubicBezTo>
                  <a:cubicBezTo>
                    <a:pt x="474286" y="599390"/>
                    <a:pt x="477006" y="602109"/>
                    <a:pt x="479725" y="607548"/>
                  </a:cubicBezTo>
                  <a:cubicBezTo>
                    <a:pt x="482445" y="612988"/>
                    <a:pt x="487884" y="618427"/>
                    <a:pt x="487884" y="623867"/>
                  </a:cubicBezTo>
                  <a:cubicBezTo>
                    <a:pt x="490604" y="634745"/>
                    <a:pt x="496043" y="642904"/>
                    <a:pt x="501482" y="651063"/>
                  </a:cubicBezTo>
                  <a:cubicBezTo>
                    <a:pt x="506922" y="661942"/>
                    <a:pt x="512361" y="664661"/>
                    <a:pt x="523240" y="670101"/>
                  </a:cubicBezTo>
                  <a:cubicBezTo>
                    <a:pt x="528679" y="672820"/>
                    <a:pt x="534119" y="680979"/>
                    <a:pt x="534119" y="686418"/>
                  </a:cubicBezTo>
                  <a:cubicBezTo>
                    <a:pt x="534119" y="689138"/>
                    <a:pt x="534119" y="691858"/>
                    <a:pt x="531399" y="694578"/>
                  </a:cubicBezTo>
                  <a:cubicBezTo>
                    <a:pt x="525959" y="702736"/>
                    <a:pt x="512361" y="708176"/>
                    <a:pt x="498763" y="708176"/>
                  </a:cubicBezTo>
                  <a:cubicBezTo>
                    <a:pt x="485165" y="708176"/>
                    <a:pt x="466127" y="705456"/>
                    <a:pt x="449809" y="700017"/>
                  </a:cubicBezTo>
                  <a:cubicBezTo>
                    <a:pt x="430771" y="694578"/>
                    <a:pt x="409014" y="675540"/>
                    <a:pt x="400855" y="667381"/>
                  </a:cubicBezTo>
                  <a:cubicBezTo>
                    <a:pt x="392696" y="659222"/>
                    <a:pt x="387257" y="651063"/>
                    <a:pt x="381817" y="642904"/>
                  </a:cubicBezTo>
                  <a:cubicBezTo>
                    <a:pt x="376378" y="632025"/>
                    <a:pt x="370939" y="623867"/>
                    <a:pt x="368219" y="610268"/>
                  </a:cubicBezTo>
                  <a:cubicBezTo>
                    <a:pt x="360060" y="588511"/>
                    <a:pt x="357341" y="574913"/>
                    <a:pt x="349182" y="550436"/>
                  </a:cubicBezTo>
                  <a:cubicBezTo>
                    <a:pt x="343742" y="534118"/>
                    <a:pt x="341023" y="520520"/>
                    <a:pt x="338303" y="504202"/>
                  </a:cubicBezTo>
                  <a:cubicBezTo>
                    <a:pt x="335583" y="493323"/>
                    <a:pt x="332864" y="485164"/>
                    <a:pt x="330144" y="477005"/>
                  </a:cubicBezTo>
                  <a:cubicBezTo>
                    <a:pt x="327424" y="471566"/>
                    <a:pt x="324705" y="463407"/>
                    <a:pt x="321985" y="455248"/>
                  </a:cubicBezTo>
                  <a:cubicBezTo>
                    <a:pt x="316546" y="444369"/>
                    <a:pt x="311106" y="436210"/>
                    <a:pt x="305667" y="436210"/>
                  </a:cubicBezTo>
                  <a:cubicBezTo>
                    <a:pt x="302948" y="436210"/>
                    <a:pt x="300228" y="438930"/>
                    <a:pt x="294788" y="441650"/>
                  </a:cubicBezTo>
                  <a:cubicBezTo>
                    <a:pt x="289349" y="447089"/>
                    <a:pt x="283910" y="455248"/>
                    <a:pt x="278471" y="463407"/>
                  </a:cubicBezTo>
                  <a:cubicBezTo>
                    <a:pt x="270312" y="474286"/>
                    <a:pt x="267592" y="485164"/>
                    <a:pt x="264872" y="496043"/>
                  </a:cubicBezTo>
                  <a:cubicBezTo>
                    <a:pt x="264872" y="504202"/>
                    <a:pt x="262153" y="512361"/>
                    <a:pt x="262153" y="517800"/>
                  </a:cubicBezTo>
                  <a:cubicBezTo>
                    <a:pt x="262153" y="520520"/>
                    <a:pt x="262153" y="520520"/>
                    <a:pt x="262153" y="523239"/>
                  </a:cubicBezTo>
                  <a:cubicBezTo>
                    <a:pt x="262153" y="528679"/>
                    <a:pt x="262153" y="544997"/>
                    <a:pt x="262153" y="553155"/>
                  </a:cubicBezTo>
                  <a:cubicBezTo>
                    <a:pt x="262153" y="583072"/>
                    <a:pt x="264872" y="599390"/>
                    <a:pt x="262153" y="629306"/>
                  </a:cubicBezTo>
                  <a:cubicBezTo>
                    <a:pt x="262153" y="640184"/>
                    <a:pt x="262153" y="648343"/>
                    <a:pt x="259433" y="659222"/>
                  </a:cubicBezTo>
                  <a:cubicBezTo>
                    <a:pt x="270312" y="659222"/>
                    <a:pt x="278471" y="659222"/>
                    <a:pt x="283910" y="659222"/>
                  </a:cubicBezTo>
                  <a:cubicBezTo>
                    <a:pt x="297508" y="659222"/>
                    <a:pt x="321985" y="659222"/>
                    <a:pt x="321985" y="675540"/>
                  </a:cubicBezTo>
                  <a:cubicBezTo>
                    <a:pt x="321985" y="683699"/>
                    <a:pt x="319265" y="686418"/>
                    <a:pt x="316546" y="691858"/>
                  </a:cubicBezTo>
                  <a:cubicBezTo>
                    <a:pt x="311106" y="697297"/>
                    <a:pt x="305667" y="700017"/>
                    <a:pt x="300228" y="700017"/>
                  </a:cubicBezTo>
                  <a:cubicBezTo>
                    <a:pt x="292069" y="702736"/>
                    <a:pt x="283910" y="702736"/>
                    <a:pt x="278471" y="702736"/>
                  </a:cubicBezTo>
                  <a:cubicBezTo>
                    <a:pt x="275751" y="702736"/>
                    <a:pt x="259433" y="702736"/>
                    <a:pt x="243115" y="702736"/>
                  </a:cubicBezTo>
                  <a:cubicBezTo>
                    <a:pt x="237676" y="708176"/>
                    <a:pt x="229517" y="710895"/>
                    <a:pt x="221358" y="710895"/>
                  </a:cubicBezTo>
                  <a:cubicBezTo>
                    <a:pt x="213199" y="710895"/>
                    <a:pt x="202320" y="708176"/>
                    <a:pt x="194161" y="702736"/>
                  </a:cubicBezTo>
                  <a:cubicBezTo>
                    <a:pt x="186002" y="702736"/>
                    <a:pt x="180563" y="702736"/>
                    <a:pt x="177843" y="702736"/>
                  </a:cubicBezTo>
                  <a:cubicBezTo>
                    <a:pt x="164245" y="702736"/>
                    <a:pt x="139768" y="702736"/>
                    <a:pt x="126170" y="702736"/>
                  </a:cubicBezTo>
                  <a:cubicBezTo>
                    <a:pt x="118011" y="702736"/>
                    <a:pt x="109852" y="702736"/>
                    <a:pt x="101693" y="702736"/>
                  </a:cubicBezTo>
                  <a:cubicBezTo>
                    <a:pt x="93534" y="702736"/>
                    <a:pt x="82655" y="702736"/>
                    <a:pt x="74496" y="697297"/>
                  </a:cubicBezTo>
                  <a:cubicBezTo>
                    <a:pt x="66337" y="694578"/>
                    <a:pt x="58178" y="686418"/>
                    <a:pt x="58178" y="680979"/>
                  </a:cubicBezTo>
                  <a:cubicBezTo>
                    <a:pt x="58178" y="678260"/>
                    <a:pt x="58178" y="675540"/>
                    <a:pt x="63617" y="672820"/>
                  </a:cubicBezTo>
                  <a:cubicBezTo>
                    <a:pt x="69057" y="670101"/>
                    <a:pt x="79935" y="667381"/>
                    <a:pt x="85375" y="664661"/>
                  </a:cubicBezTo>
                  <a:cubicBezTo>
                    <a:pt x="104412" y="661942"/>
                    <a:pt x="123450" y="659222"/>
                    <a:pt x="128889" y="659222"/>
                  </a:cubicBezTo>
                  <a:cubicBezTo>
                    <a:pt x="134329" y="659222"/>
                    <a:pt x="139768" y="659222"/>
                    <a:pt x="147927" y="659222"/>
                  </a:cubicBezTo>
                  <a:cubicBezTo>
                    <a:pt x="147927" y="656502"/>
                    <a:pt x="145207" y="653783"/>
                    <a:pt x="145207" y="653783"/>
                  </a:cubicBezTo>
                  <a:cubicBezTo>
                    <a:pt x="131609" y="632025"/>
                    <a:pt x="131609" y="610268"/>
                    <a:pt x="131609" y="585791"/>
                  </a:cubicBezTo>
                  <a:cubicBezTo>
                    <a:pt x="131609" y="555875"/>
                    <a:pt x="131609" y="528679"/>
                    <a:pt x="134329" y="498762"/>
                  </a:cubicBezTo>
                  <a:cubicBezTo>
                    <a:pt x="134329" y="468846"/>
                    <a:pt x="137048" y="436210"/>
                    <a:pt x="137048" y="406294"/>
                  </a:cubicBezTo>
                  <a:cubicBezTo>
                    <a:pt x="137048" y="379098"/>
                    <a:pt x="134329" y="354621"/>
                    <a:pt x="134329" y="327424"/>
                  </a:cubicBezTo>
                  <a:cubicBezTo>
                    <a:pt x="134329" y="302947"/>
                    <a:pt x="137048" y="278470"/>
                    <a:pt x="137048" y="253993"/>
                  </a:cubicBezTo>
                  <a:cubicBezTo>
                    <a:pt x="137048" y="237675"/>
                    <a:pt x="139768" y="224077"/>
                    <a:pt x="139768" y="207759"/>
                  </a:cubicBezTo>
                  <a:cubicBezTo>
                    <a:pt x="139768" y="196881"/>
                    <a:pt x="137048" y="183282"/>
                    <a:pt x="137048" y="172404"/>
                  </a:cubicBezTo>
                  <a:cubicBezTo>
                    <a:pt x="137048" y="150647"/>
                    <a:pt x="137048" y="131609"/>
                    <a:pt x="137048" y="112571"/>
                  </a:cubicBezTo>
                  <a:cubicBezTo>
                    <a:pt x="134329" y="112571"/>
                    <a:pt x="137048" y="112571"/>
                    <a:pt x="126170" y="112571"/>
                  </a:cubicBezTo>
                  <a:cubicBezTo>
                    <a:pt x="118011" y="112571"/>
                    <a:pt x="109852" y="112571"/>
                    <a:pt x="101693" y="112571"/>
                  </a:cubicBezTo>
                  <a:cubicBezTo>
                    <a:pt x="93534" y="112571"/>
                    <a:pt x="82655" y="109852"/>
                    <a:pt x="74496" y="107132"/>
                  </a:cubicBezTo>
                  <a:cubicBezTo>
                    <a:pt x="66337" y="104412"/>
                    <a:pt x="58178" y="96253"/>
                    <a:pt x="58178" y="90814"/>
                  </a:cubicBezTo>
                  <a:cubicBezTo>
                    <a:pt x="58178" y="88094"/>
                    <a:pt x="58178" y="85375"/>
                    <a:pt x="63617" y="82655"/>
                  </a:cubicBezTo>
                  <a:cubicBezTo>
                    <a:pt x="69057" y="79936"/>
                    <a:pt x="79935" y="77216"/>
                    <a:pt x="85375" y="74496"/>
                  </a:cubicBezTo>
                  <a:cubicBezTo>
                    <a:pt x="104412" y="71776"/>
                    <a:pt x="128889" y="69057"/>
                    <a:pt x="137048" y="69057"/>
                  </a:cubicBezTo>
                  <a:cubicBezTo>
                    <a:pt x="137048" y="69057"/>
                    <a:pt x="139768" y="69057"/>
                    <a:pt x="145207" y="69057"/>
                  </a:cubicBezTo>
                  <a:cubicBezTo>
                    <a:pt x="150646" y="60898"/>
                    <a:pt x="158806" y="58178"/>
                    <a:pt x="169684" y="58178"/>
                  </a:cubicBezTo>
                  <a:cubicBezTo>
                    <a:pt x="172404" y="58178"/>
                    <a:pt x="175123" y="58178"/>
                    <a:pt x="177843" y="58178"/>
                  </a:cubicBezTo>
                  <a:cubicBezTo>
                    <a:pt x="186002" y="58178"/>
                    <a:pt x="196881" y="63617"/>
                    <a:pt x="205040" y="66337"/>
                  </a:cubicBezTo>
                  <a:cubicBezTo>
                    <a:pt x="237676" y="66337"/>
                    <a:pt x="273031" y="63617"/>
                    <a:pt x="286629" y="63617"/>
                  </a:cubicBezTo>
                  <a:cubicBezTo>
                    <a:pt x="300228" y="63617"/>
                    <a:pt x="324705" y="63617"/>
                    <a:pt x="324705" y="79936"/>
                  </a:cubicBezTo>
                  <a:cubicBezTo>
                    <a:pt x="324705" y="88094"/>
                    <a:pt x="321985" y="90814"/>
                    <a:pt x="319265" y="96253"/>
                  </a:cubicBezTo>
                  <a:cubicBezTo>
                    <a:pt x="313826" y="101693"/>
                    <a:pt x="308387" y="104412"/>
                    <a:pt x="302948" y="104412"/>
                  </a:cubicBezTo>
                  <a:cubicBezTo>
                    <a:pt x="289349" y="112571"/>
                    <a:pt x="283910" y="112571"/>
                    <a:pt x="278471" y="112571"/>
                  </a:cubicBezTo>
                  <a:cubicBezTo>
                    <a:pt x="273031" y="112571"/>
                    <a:pt x="253994" y="112571"/>
                    <a:pt x="232236" y="112571"/>
                  </a:cubicBezTo>
                  <a:cubicBezTo>
                    <a:pt x="237676" y="120730"/>
                    <a:pt x="240395" y="128889"/>
                    <a:pt x="240395" y="137048"/>
                  </a:cubicBezTo>
                  <a:cubicBezTo>
                    <a:pt x="240395" y="142487"/>
                    <a:pt x="240395" y="145207"/>
                    <a:pt x="240395" y="150647"/>
                  </a:cubicBezTo>
                  <a:cubicBezTo>
                    <a:pt x="240395" y="153366"/>
                    <a:pt x="240395" y="156086"/>
                    <a:pt x="243115" y="158805"/>
                  </a:cubicBezTo>
                  <a:cubicBezTo>
                    <a:pt x="245835" y="169684"/>
                    <a:pt x="245835" y="180563"/>
                    <a:pt x="248554" y="188722"/>
                  </a:cubicBezTo>
                  <a:cubicBezTo>
                    <a:pt x="248554" y="191441"/>
                    <a:pt x="248554" y="194161"/>
                    <a:pt x="248554" y="199600"/>
                  </a:cubicBezTo>
                  <a:cubicBezTo>
                    <a:pt x="248554" y="207759"/>
                    <a:pt x="248554" y="213198"/>
                    <a:pt x="248554" y="221357"/>
                  </a:cubicBezTo>
                  <a:cubicBezTo>
                    <a:pt x="248554" y="234956"/>
                    <a:pt x="251274" y="248554"/>
                    <a:pt x="253994" y="264872"/>
                  </a:cubicBezTo>
                  <a:cubicBezTo>
                    <a:pt x="256713" y="275751"/>
                    <a:pt x="259433" y="286629"/>
                    <a:pt x="262153" y="297508"/>
                  </a:cubicBezTo>
                  <a:cubicBezTo>
                    <a:pt x="264872" y="305667"/>
                    <a:pt x="264872" y="313826"/>
                    <a:pt x="264872" y="324704"/>
                  </a:cubicBezTo>
                  <a:cubicBezTo>
                    <a:pt x="264872" y="327424"/>
                    <a:pt x="264872" y="330144"/>
                    <a:pt x="264872" y="332863"/>
                  </a:cubicBezTo>
                  <a:cubicBezTo>
                    <a:pt x="264872" y="338303"/>
                    <a:pt x="264872" y="346462"/>
                    <a:pt x="264872" y="351901"/>
                  </a:cubicBezTo>
                  <a:cubicBezTo>
                    <a:pt x="264872" y="357340"/>
                    <a:pt x="262153" y="365499"/>
                    <a:pt x="262153" y="370939"/>
                  </a:cubicBezTo>
                  <a:cubicBezTo>
                    <a:pt x="262153" y="376378"/>
                    <a:pt x="264872" y="384537"/>
                    <a:pt x="267592" y="384537"/>
                  </a:cubicBezTo>
                  <a:cubicBezTo>
                    <a:pt x="273031" y="384537"/>
                    <a:pt x="275751" y="376378"/>
                    <a:pt x="278471" y="370939"/>
                  </a:cubicBezTo>
                  <a:cubicBezTo>
                    <a:pt x="283910" y="360060"/>
                    <a:pt x="289349" y="346462"/>
                    <a:pt x="297508" y="332863"/>
                  </a:cubicBezTo>
                  <a:cubicBezTo>
                    <a:pt x="302948" y="324704"/>
                    <a:pt x="305667" y="313826"/>
                    <a:pt x="311106" y="305667"/>
                  </a:cubicBezTo>
                  <a:cubicBezTo>
                    <a:pt x="319265" y="289349"/>
                    <a:pt x="327424" y="275751"/>
                    <a:pt x="335583" y="259433"/>
                  </a:cubicBezTo>
                  <a:cubicBezTo>
                    <a:pt x="341023" y="248554"/>
                    <a:pt x="349182" y="234956"/>
                    <a:pt x="354621" y="224077"/>
                  </a:cubicBezTo>
                  <a:cubicBezTo>
                    <a:pt x="362780" y="207759"/>
                    <a:pt x="370939" y="191441"/>
                    <a:pt x="381817" y="172404"/>
                  </a:cubicBezTo>
                  <a:cubicBezTo>
                    <a:pt x="389977" y="153366"/>
                    <a:pt x="400855" y="134329"/>
                    <a:pt x="409014" y="118011"/>
                  </a:cubicBezTo>
                  <a:cubicBezTo>
                    <a:pt x="409014" y="115291"/>
                    <a:pt x="409014" y="115291"/>
                    <a:pt x="411734" y="115291"/>
                  </a:cubicBezTo>
                  <a:cubicBezTo>
                    <a:pt x="406294" y="115291"/>
                    <a:pt x="400855" y="115291"/>
                    <a:pt x="398136" y="115291"/>
                  </a:cubicBezTo>
                  <a:cubicBezTo>
                    <a:pt x="392696" y="115291"/>
                    <a:pt x="384537" y="115291"/>
                    <a:pt x="379098" y="109852"/>
                  </a:cubicBezTo>
                  <a:cubicBezTo>
                    <a:pt x="373659" y="107132"/>
                    <a:pt x="368219" y="98973"/>
                    <a:pt x="368219" y="93534"/>
                  </a:cubicBezTo>
                  <a:cubicBezTo>
                    <a:pt x="368219" y="90814"/>
                    <a:pt x="368219" y="88094"/>
                    <a:pt x="370939" y="85375"/>
                  </a:cubicBezTo>
                  <a:cubicBezTo>
                    <a:pt x="373659" y="82655"/>
                    <a:pt x="381817" y="79936"/>
                    <a:pt x="387257" y="77216"/>
                  </a:cubicBezTo>
                  <a:cubicBezTo>
                    <a:pt x="400855" y="74496"/>
                    <a:pt x="414453" y="71776"/>
                    <a:pt x="422612" y="71776"/>
                  </a:cubicBezTo>
                  <a:cubicBezTo>
                    <a:pt x="425332" y="71776"/>
                    <a:pt x="430771" y="71776"/>
                    <a:pt x="436211" y="71776"/>
                  </a:cubicBezTo>
                  <a:cubicBezTo>
                    <a:pt x="436211" y="71776"/>
                    <a:pt x="438930" y="69057"/>
                    <a:pt x="438930" y="69057"/>
                  </a:cubicBezTo>
                  <a:cubicBezTo>
                    <a:pt x="444370" y="66337"/>
                    <a:pt x="447089" y="66337"/>
                    <a:pt x="452529" y="66337"/>
                  </a:cubicBezTo>
                  <a:cubicBezTo>
                    <a:pt x="457968" y="66337"/>
                    <a:pt x="460688" y="66337"/>
                    <a:pt x="466127" y="69057"/>
                  </a:cubicBezTo>
                  <a:cubicBezTo>
                    <a:pt x="468847" y="69057"/>
                    <a:pt x="471566" y="71776"/>
                    <a:pt x="471566" y="71776"/>
                  </a:cubicBezTo>
                  <a:cubicBezTo>
                    <a:pt x="490604" y="71776"/>
                    <a:pt x="506922" y="71776"/>
                    <a:pt x="515081" y="71776"/>
                  </a:cubicBezTo>
                  <a:cubicBezTo>
                    <a:pt x="523240" y="71776"/>
                    <a:pt x="542277" y="71776"/>
                    <a:pt x="542277" y="88094"/>
                  </a:cubicBezTo>
                  <a:cubicBezTo>
                    <a:pt x="542277" y="96253"/>
                    <a:pt x="542277" y="98973"/>
                    <a:pt x="536838" y="104412"/>
                  </a:cubicBezTo>
                  <a:cubicBezTo>
                    <a:pt x="534119" y="109852"/>
                    <a:pt x="528679" y="112571"/>
                    <a:pt x="525959" y="112571"/>
                  </a:cubicBezTo>
                  <a:cubicBezTo>
                    <a:pt x="520520" y="115291"/>
                    <a:pt x="515081" y="115291"/>
                    <a:pt x="509642" y="115291"/>
                  </a:cubicBezTo>
                  <a:cubicBezTo>
                    <a:pt x="506922" y="115291"/>
                    <a:pt x="487884" y="115291"/>
                    <a:pt x="468847" y="115291"/>
                  </a:cubicBezTo>
                  <a:cubicBezTo>
                    <a:pt x="466127" y="123450"/>
                    <a:pt x="460688" y="128889"/>
                    <a:pt x="457968" y="137048"/>
                  </a:cubicBezTo>
                  <a:cubicBezTo>
                    <a:pt x="447089" y="156086"/>
                    <a:pt x="438930" y="175123"/>
                    <a:pt x="430771" y="194161"/>
                  </a:cubicBezTo>
                  <a:cubicBezTo>
                    <a:pt x="419893" y="215918"/>
                    <a:pt x="411734" y="240395"/>
                    <a:pt x="400855" y="262152"/>
                  </a:cubicBezTo>
                  <a:cubicBezTo>
                    <a:pt x="387257" y="289349"/>
                    <a:pt x="373659" y="311106"/>
                    <a:pt x="360060" y="332863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1" name="Freeform: Shape 40">
              <a:extLst>
                <a:ext uri="{FF2B5EF4-FFF2-40B4-BE49-F238E27FC236}">
                  <a16:creationId xmlns:a16="http://schemas.microsoft.com/office/drawing/2014/main" id="{396A1217-0C47-4B68-B46A-6D7E7E1D3BBD}"/>
                </a:ext>
              </a:extLst>
            </p:cNvPr>
            <p:cNvSpPr/>
            <p:nvPr/>
          </p:nvSpPr>
          <p:spPr bwMode="black">
            <a:xfrm>
              <a:off x="4335316" y="4186718"/>
              <a:ext cx="353556" cy="761503"/>
            </a:xfrm>
            <a:custGeom>
              <a:avLst/>
              <a:gdLst>
                <a:gd name="connsiteX0" fmla="*/ 283910 w 353555"/>
                <a:gd name="connsiteY0" fmla="*/ 672820 h 761503"/>
                <a:gd name="connsiteX1" fmla="*/ 321985 w 353555"/>
                <a:gd name="connsiteY1" fmla="*/ 689138 h 761503"/>
                <a:gd name="connsiteX2" fmla="*/ 316546 w 353555"/>
                <a:gd name="connsiteY2" fmla="*/ 705456 h 761503"/>
                <a:gd name="connsiteX3" fmla="*/ 300228 w 353555"/>
                <a:gd name="connsiteY3" fmla="*/ 713615 h 761503"/>
                <a:gd name="connsiteX4" fmla="*/ 278471 w 353555"/>
                <a:gd name="connsiteY4" fmla="*/ 716335 h 761503"/>
                <a:gd name="connsiteX5" fmla="*/ 237676 w 353555"/>
                <a:gd name="connsiteY5" fmla="*/ 716335 h 761503"/>
                <a:gd name="connsiteX6" fmla="*/ 180563 w 353555"/>
                <a:gd name="connsiteY6" fmla="*/ 719054 h 761503"/>
                <a:gd name="connsiteX7" fmla="*/ 126170 w 353555"/>
                <a:gd name="connsiteY7" fmla="*/ 719054 h 761503"/>
                <a:gd name="connsiteX8" fmla="*/ 101693 w 353555"/>
                <a:gd name="connsiteY8" fmla="*/ 719054 h 761503"/>
                <a:gd name="connsiteX9" fmla="*/ 74496 w 353555"/>
                <a:gd name="connsiteY9" fmla="*/ 713615 h 761503"/>
                <a:gd name="connsiteX10" fmla="*/ 58178 w 353555"/>
                <a:gd name="connsiteY10" fmla="*/ 697297 h 761503"/>
                <a:gd name="connsiteX11" fmla="*/ 63617 w 353555"/>
                <a:gd name="connsiteY11" fmla="*/ 689138 h 761503"/>
                <a:gd name="connsiteX12" fmla="*/ 85375 w 353555"/>
                <a:gd name="connsiteY12" fmla="*/ 680979 h 761503"/>
                <a:gd name="connsiteX13" fmla="*/ 131609 w 353555"/>
                <a:gd name="connsiteY13" fmla="*/ 675540 h 761503"/>
                <a:gd name="connsiteX14" fmla="*/ 142488 w 353555"/>
                <a:gd name="connsiteY14" fmla="*/ 675540 h 761503"/>
                <a:gd name="connsiteX15" fmla="*/ 131609 w 353555"/>
                <a:gd name="connsiteY15" fmla="*/ 653783 h 761503"/>
                <a:gd name="connsiteX16" fmla="*/ 128889 w 353555"/>
                <a:gd name="connsiteY16" fmla="*/ 640184 h 761503"/>
                <a:gd name="connsiteX17" fmla="*/ 128889 w 353555"/>
                <a:gd name="connsiteY17" fmla="*/ 629306 h 761503"/>
                <a:gd name="connsiteX18" fmla="*/ 128889 w 353555"/>
                <a:gd name="connsiteY18" fmla="*/ 621147 h 761503"/>
                <a:gd name="connsiteX19" fmla="*/ 128889 w 353555"/>
                <a:gd name="connsiteY19" fmla="*/ 593950 h 761503"/>
                <a:gd name="connsiteX20" fmla="*/ 128889 w 353555"/>
                <a:gd name="connsiteY20" fmla="*/ 583072 h 761503"/>
                <a:gd name="connsiteX21" fmla="*/ 128889 w 353555"/>
                <a:gd name="connsiteY21" fmla="*/ 436210 h 761503"/>
                <a:gd name="connsiteX22" fmla="*/ 128889 w 353555"/>
                <a:gd name="connsiteY22" fmla="*/ 357340 h 761503"/>
                <a:gd name="connsiteX23" fmla="*/ 131609 w 353555"/>
                <a:gd name="connsiteY23" fmla="*/ 289349 h 761503"/>
                <a:gd name="connsiteX24" fmla="*/ 131609 w 353555"/>
                <a:gd name="connsiteY24" fmla="*/ 251274 h 761503"/>
                <a:gd name="connsiteX25" fmla="*/ 131609 w 353555"/>
                <a:gd name="connsiteY25" fmla="*/ 205040 h 761503"/>
                <a:gd name="connsiteX26" fmla="*/ 131609 w 353555"/>
                <a:gd name="connsiteY26" fmla="*/ 139768 h 761503"/>
                <a:gd name="connsiteX27" fmla="*/ 131609 w 353555"/>
                <a:gd name="connsiteY27" fmla="*/ 128889 h 761503"/>
                <a:gd name="connsiteX28" fmla="*/ 126170 w 353555"/>
                <a:gd name="connsiteY28" fmla="*/ 128889 h 761503"/>
                <a:gd name="connsiteX29" fmla="*/ 101693 w 353555"/>
                <a:gd name="connsiteY29" fmla="*/ 128889 h 761503"/>
                <a:gd name="connsiteX30" fmla="*/ 74496 w 353555"/>
                <a:gd name="connsiteY30" fmla="*/ 123450 h 761503"/>
                <a:gd name="connsiteX31" fmla="*/ 58178 w 353555"/>
                <a:gd name="connsiteY31" fmla="*/ 107132 h 761503"/>
                <a:gd name="connsiteX32" fmla="*/ 60898 w 353555"/>
                <a:gd name="connsiteY32" fmla="*/ 98973 h 761503"/>
                <a:gd name="connsiteX33" fmla="*/ 82655 w 353555"/>
                <a:gd name="connsiteY33" fmla="*/ 93534 h 761503"/>
                <a:gd name="connsiteX34" fmla="*/ 131609 w 353555"/>
                <a:gd name="connsiteY34" fmla="*/ 88094 h 761503"/>
                <a:gd name="connsiteX35" fmla="*/ 131609 w 353555"/>
                <a:gd name="connsiteY35" fmla="*/ 82655 h 761503"/>
                <a:gd name="connsiteX36" fmla="*/ 134329 w 353555"/>
                <a:gd name="connsiteY36" fmla="*/ 71776 h 761503"/>
                <a:gd name="connsiteX37" fmla="*/ 147927 w 353555"/>
                <a:gd name="connsiteY37" fmla="*/ 63617 h 761503"/>
                <a:gd name="connsiteX38" fmla="*/ 164245 w 353555"/>
                <a:gd name="connsiteY38" fmla="*/ 58178 h 761503"/>
                <a:gd name="connsiteX39" fmla="*/ 177843 w 353555"/>
                <a:gd name="connsiteY39" fmla="*/ 58178 h 761503"/>
                <a:gd name="connsiteX40" fmla="*/ 196881 w 353555"/>
                <a:gd name="connsiteY40" fmla="*/ 60898 h 761503"/>
                <a:gd name="connsiteX41" fmla="*/ 232236 w 353555"/>
                <a:gd name="connsiteY41" fmla="*/ 88094 h 761503"/>
                <a:gd name="connsiteX42" fmla="*/ 278471 w 353555"/>
                <a:gd name="connsiteY42" fmla="*/ 88094 h 761503"/>
                <a:gd name="connsiteX43" fmla="*/ 316546 w 353555"/>
                <a:gd name="connsiteY43" fmla="*/ 104412 h 761503"/>
                <a:gd name="connsiteX44" fmla="*/ 311106 w 353555"/>
                <a:gd name="connsiteY44" fmla="*/ 120730 h 761503"/>
                <a:gd name="connsiteX45" fmla="*/ 294788 w 353555"/>
                <a:gd name="connsiteY45" fmla="*/ 128889 h 761503"/>
                <a:gd name="connsiteX46" fmla="*/ 273031 w 353555"/>
                <a:gd name="connsiteY46" fmla="*/ 131609 h 761503"/>
                <a:gd name="connsiteX47" fmla="*/ 243115 w 353555"/>
                <a:gd name="connsiteY47" fmla="*/ 131609 h 761503"/>
                <a:gd name="connsiteX48" fmla="*/ 243115 w 353555"/>
                <a:gd name="connsiteY48" fmla="*/ 134329 h 761503"/>
                <a:gd name="connsiteX49" fmla="*/ 248554 w 353555"/>
                <a:gd name="connsiteY49" fmla="*/ 169684 h 761503"/>
                <a:gd name="connsiteX50" fmla="*/ 251274 w 353555"/>
                <a:gd name="connsiteY50" fmla="*/ 205040 h 761503"/>
                <a:gd name="connsiteX51" fmla="*/ 251274 w 353555"/>
                <a:gd name="connsiteY51" fmla="*/ 240395 h 761503"/>
                <a:gd name="connsiteX52" fmla="*/ 251274 w 353555"/>
                <a:gd name="connsiteY52" fmla="*/ 256713 h 761503"/>
                <a:gd name="connsiteX53" fmla="*/ 253994 w 353555"/>
                <a:gd name="connsiteY53" fmla="*/ 270311 h 761503"/>
                <a:gd name="connsiteX54" fmla="*/ 259433 w 353555"/>
                <a:gd name="connsiteY54" fmla="*/ 343742 h 761503"/>
                <a:gd name="connsiteX55" fmla="*/ 262153 w 353555"/>
                <a:gd name="connsiteY55" fmla="*/ 425332 h 761503"/>
                <a:gd name="connsiteX56" fmla="*/ 264872 w 353555"/>
                <a:gd name="connsiteY56" fmla="*/ 490603 h 761503"/>
                <a:gd name="connsiteX57" fmla="*/ 270312 w 353555"/>
                <a:gd name="connsiteY57" fmla="*/ 564034 h 761503"/>
                <a:gd name="connsiteX58" fmla="*/ 270312 w 353555"/>
                <a:gd name="connsiteY58" fmla="*/ 599390 h 761503"/>
                <a:gd name="connsiteX59" fmla="*/ 270312 w 353555"/>
                <a:gd name="connsiteY59" fmla="*/ 637465 h 761503"/>
                <a:gd name="connsiteX60" fmla="*/ 264872 w 353555"/>
                <a:gd name="connsiteY60" fmla="*/ 670101 h 761503"/>
                <a:gd name="connsiteX61" fmla="*/ 283910 w 353555"/>
                <a:gd name="connsiteY61" fmla="*/ 672820 h 761503"/>
                <a:gd name="connsiteX62" fmla="*/ 283910 w 353555"/>
                <a:gd name="connsiteY62" fmla="*/ 672820 h 761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</a:cxnLst>
              <a:rect l="l" t="t" r="r" b="b"/>
              <a:pathLst>
                <a:path w="353555" h="761503">
                  <a:moveTo>
                    <a:pt x="283910" y="672820"/>
                  </a:moveTo>
                  <a:cubicBezTo>
                    <a:pt x="297508" y="672820"/>
                    <a:pt x="321985" y="672820"/>
                    <a:pt x="321985" y="689138"/>
                  </a:cubicBezTo>
                  <a:cubicBezTo>
                    <a:pt x="321985" y="697297"/>
                    <a:pt x="319265" y="697297"/>
                    <a:pt x="316546" y="705456"/>
                  </a:cubicBezTo>
                  <a:cubicBezTo>
                    <a:pt x="311106" y="710895"/>
                    <a:pt x="305667" y="713615"/>
                    <a:pt x="300228" y="713615"/>
                  </a:cubicBezTo>
                  <a:cubicBezTo>
                    <a:pt x="292069" y="716335"/>
                    <a:pt x="283910" y="716335"/>
                    <a:pt x="278471" y="716335"/>
                  </a:cubicBezTo>
                  <a:cubicBezTo>
                    <a:pt x="275751" y="716335"/>
                    <a:pt x="256713" y="716335"/>
                    <a:pt x="237676" y="716335"/>
                  </a:cubicBezTo>
                  <a:cubicBezTo>
                    <a:pt x="213199" y="716335"/>
                    <a:pt x="186002" y="719054"/>
                    <a:pt x="180563" y="719054"/>
                  </a:cubicBezTo>
                  <a:cubicBezTo>
                    <a:pt x="166965" y="719054"/>
                    <a:pt x="142488" y="719054"/>
                    <a:pt x="126170" y="719054"/>
                  </a:cubicBezTo>
                  <a:cubicBezTo>
                    <a:pt x="118011" y="719054"/>
                    <a:pt x="109852" y="719054"/>
                    <a:pt x="101693" y="719054"/>
                  </a:cubicBezTo>
                  <a:cubicBezTo>
                    <a:pt x="93534" y="719054"/>
                    <a:pt x="82655" y="719054"/>
                    <a:pt x="74496" y="713615"/>
                  </a:cubicBezTo>
                  <a:cubicBezTo>
                    <a:pt x="66337" y="710895"/>
                    <a:pt x="58178" y="702736"/>
                    <a:pt x="58178" y="697297"/>
                  </a:cubicBezTo>
                  <a:cubicBezTo>
                    <a:pt x="58178" y="694578"/>
                    <a:pt x="58178" y="691858"/>
                    <a:pt x="63617" y="689138"/>
                  </a:cubicBezTo>
                  <a:cubicBezTo>
                    <a:pt x="69057" y="686418"/>
                    <a:pt x="79935" y="683699"/>
                    <a:pt x="85375" y="680979"/>
                  </a:cubicBezTo>
                  <a:cubicBezTo>
                    <a:pt x="104412" y="678260"/>
                    <a:pt x="123450" y="675540"/>
                    <a:pt x="131609" y="675540"/>
                  </a:cubicBezTo>
                  <a:cubicBezTo>
                    <a:pt x="134329" y="675540"/>
                    <a:pt x="137048" y="675540"/>
                    <a:pt x="142488" y="675540"/>
                  </a:cubicBezTo>
                  <a:cubicBezTo>
                    <a:pt x="134329" y="670101"/>
                    <a:pt x="131609" y="661942"/>
                    <a:pt x="131609" y="653783"/>
                  </a:cubicBezTo>
                  <a:cubicBezTo>
                    <a:pt x="131609" y="648343"/>
                    <a:pt x="131609" y="642904"/>
                    <a:pt x="128889" y="640184"/>
                  </a:cubicBezTo>
                  <a:cubicBezTo>
                    <a:pt x="128889" y="637465"/>
                    <a:pt x="128889" y="634745"/>
                    <a:pt x="128889" y="629306"/>
                  </a:cubicBezTo>
                  <a:cubicBezTo>
                    <a:pt x="128889" y="626586"/>
                    <a:pt x="128889" y="623867"/>
                    <a:pt x="128889" y="621147"/>
                  </a:cubicBezTo>
                  <a:cubicBezTo>
                    <a:pt x="128889" y="612988"/>
                    <a:pt x="128889" y="604829"/>
                    <a:pt x="128889" y="593950"/>
                  </a:cubicBezTo>
                  <a:cubicBezTo>
                    <a:pt x="128889" y="591231"/>
                    <a:pt x="128889" y="585791"/>
                    <a:pt x="128889" y="583072"/>
                  </a:cubicBezTo>
                  <a:cubicBezTo>
                    <a:pt x="128889" y="534118"/>
                    <a:pt x="131609" y="485164"/>
                    <a:pt x="128889" y="436210"/>
                  </a:cubicBezTo>
                  <a:cubicBezTo>
                    <a:pt x="128889" y="409014"/>
                    <a:pt x="128889" y="384537"/>
                    <a:pt x="128889" y="357340"/>
                  </a:cubicBezTo>
                  <a:cubicBezTo>
                    <a:pt x="128889" y="335583"/>
                    <a:pt x="131609" y="313826"/>
                    <a:pt x="131609" y="289349"/>
                  </a:cubicBezTo>
                  <a:cubicBezTo>
                    <a:pt x="131609" y="275751"/>
                    <a:pt x="131609" y="264872"/>
                    <a:pt x="131609" y="251274"/>
                  </a:cubicBezTo>
                  <a:cubicBezTo>
                    <a:pt x="131609" y="234956"/>
                    <a:pt x="131609" y="221357"/>
                    <a:pt x="131609" y="205040"/>
                  </a:cubicBezTo>
                  <a:cubicBezTo>
                    <a:pt x="131609" y="183282"/>
                    <a:pt x="131609" y="161525"/>
                    <a:pt x="131609" y="139768"/>
                  </a:cubicBezTo>
                  <a:cubicBezTo>
                    <a:pt x="131609" y="137048"/>
                    <a:pt x="131609" y="134329"/>
                    <a:pt x="131609" y="128889"/>
                  </a:cubicBezTo>
                  <a:cubicBezTo>
                    <a:pt x="128889" y="128889"/>
                    <a:pt x="126170" y="128889"/>
                    <a:pt x="126170" y="128889"/>
                  </a:cubicBezTo>
                  <a:cubicBezTo>
                    <a:pt x="118011" y="128889"/>
                    <a:pt x="109852" y="128889"/>
                    <a:pt x="101693" y="128889"/>
                  </a:cubicBezTo>
                  <a:cubicBezTo>
                    <a:pt x="93534" y="128889"/>
                    <a:pt x="82655" y="128889"/>
                    <a:pt x="74496" y="123450"/>
                  </a:cubicBezTo>
                  <a:cubicBezTo>
                    <a:pt x="66337" y="120730"/>
                    <a:pt x="58178" y="112571"/>
                    <a:pt x="58178" y="107132"/>
                  </a:cubicBezTo>
                  <a:cubicBezTo>
                    <a:pt x="58178" y="104412"/>
                    <a:pt x="58178" y="101693"/>
                    <a:pt x="60898" y="98973"/>
                  </a:cubicBezTo>
                  <a:cubicBezTo>
                    <a:pt x="63617" y="96253"/>
                    <a:pt x="77216" y="93534"/>
                    <a:pt x="82655" y="93534"/>
                  </a:cubicBezTo>
                  <a:cubicBezTo>
                    <a:pt x="98973" y="90814"/>
                    <a:pt x="123450" y="88094"/>
                    <a:pt x="131609" y="88094"/>
                  </a:cubicBezTo>
                  <a:cubicBezTo>
                    <a:pt x="131609" y="85375"/>
                    <a:pt x="131609" y="85375"/>
                    <a:pt x="131609" y="82655"/>
                  </a:cubicBezTo>
                  <a:cubicBezTo>
                    <a:pt x="131609" y="77216"/>
                    <a:pt x="131609" y="74496"/>
                    <a:pt x="134329" y="71776"/>
                  </a:cubicBezTo>
                  <a:cubicBezTo>
                    <a:pt x="137048" y="69057"/>
                    <a:pt x="145207" y="66337"/>
                    <a:pt x="147927" y="63617"/>
                  </a:cubicBezTo>
                  <a:cubicBezTo>
                    <a:pt x="153366" y="60898"/>
                    <a:pt x="158806" y="58178"/>
                    <a:pt x="164245" y="58178"/>
                  </a:cubicBezTo>
                  <a:cubicBezTo>
                    <a:pt x="169684" y="58178"/>
                    <a:pt x="175123" y="58178"/>
                    <a:pt x="177843" y="58178"/>
                  </a:cubicBezTo>
                  <a:cubicBezTo>
                    <a:pt x="183283" y="58178"/>
                    <a:pt x="191442" y="58178"/>
                    <a:pt x="196881" y="60898"/>
                  </a:cubicBezTo>
                  <a:cubicBezTo>
                    <a:pt x="213199" y="63617"/>
                    <a:pt x="224077" y="74496"/>
                    <a:pt x="232236" y="88094"/>
                  </a:cubicBezTo>
                  <a:cubicBezTo>
                    <a:pt x="253994" y="88094"/>
                    <a:pt x="270312" y="88094"/>
                    <a:pt x="278471" y="88094"/>
                  </a:cubicBezTo>
                  <a:cubicBezTo>
                    <a:pt x="292069" y="88094"/>
                    <a:pt x="316546" y="88094"/>
                    <a:pt x="316546" y="104412"/>
                  </a:cubicBezTo>
                  <a:cubicBezTo>
                    <a:pt x="316546" y="112571"/>
                    <a:pt x="313826" y="112571"/>
                    <a:pt x="311106" y="120730"/>
                  </a:cubicBezTo>
                  <a:cubicBezTo>
                    <a:pt x="305667" y="126170"/>
                    <a:pt x="300228" y="128889"/>
                    <a:pt x="294788" y="128889"/>
                  </a:cubicBezTo>
                  <a:cubicBezTo>
                    <a:pt x="286630" y="131609"/>
                    <a:pt x="278471" y="131609"/>
                    <a:pt x="273031" y="131609"/>
                  </a:cubicBezTo>
                  <a:cubicBezTo>
                    <a:pt x="270312" y="131609"/>
                    <a:pt x="259433" y="131609"/>
                    <a:pt x="243115" y="131609"/>
                  </a:cubicBezTo>
                  <a:lnTo>
                    <a:pt x="243115" y="134329"/>
                  </a:lnTo>
                  <a:cubicBezTo>
                    <a:pt x="245835" y="145207"/>
                    <a:pt x="245835" y="158805"/>
                    <a:pt x="248554" y="169684"/>
                  </a:cubicBezTo>
                  <a:cubicBezTo>
                    <a:pt x="251274" y="180563"/>
                    <a:pt x="251274" y="194161"/>
                    <a:pt x="251274" y="205040"/>
                  </a:cubicBezTo>
                  <a:cubicBezTo>
                    <a:pt x="251274" y="215918"/>
                    <a:pt x="251274" y="226797"/>
                    <a:pt x="251274" y="240395"/>
                  </a:cubicBezTo>
                  <a:cubicBezTo>
                    <a:pt x="251274" y="245834"/>
                    <a:pt x="251274" y="251274"/>
                    <a:pt x="251274" y="256713"/>
                  </a:cubicBezTo>
                  <a:cubicBezTo>
                    <a:pt x="251274" y="262152"/>
                    <a:pt x="251274" y="267592"/>
                    <a:pt x="253994" y="270311"/>
                  </a:cubicBezTo>
                  <a:cubicBezTo>
                    <a:pt x="256713" y="294788"/>
                    <a:pt x="256713" y="319265"/>
                    <a:pt x="259433" y="343742"/>
                  </a:cubicBezTo>
                  <a:cubicBezTo>
                    <a:pt x="259433" y="370939"/>
                    <a:pt x="262153" y="398135"/>
                    <a:pt x="262153" y="425332"/>
                  </a:cubicBezTo>
                  <a:cubicBezTo>
                    <a:pt x="262153" y="447089"/>
                    <a:pt x="262153" y="468846"/>
                    <a:pt x="264872" y="490603"/>
                  </a:cubicBezTo>
                  <a:cubicBezTo>
                    <a:pt x="264872" y="515080"/>
                    <a:pt x="270312" y="539557"/>
                    <a:pt x="270312" y="564034"/>
                  </a:cubicBezTo>
                  <a:cubicBezTo>
                    <a:pt x="270312" y="574913"/>
                    <a:pt x="270312" y="588511"/>
                    <a:pt x="270312" y="599390"/>
                  </a:cubicBezTo>
                  <a:cubicBezTo>
                    <a:pt x="270312" y="612988"/>
                    <a:pt x="270312" y="623867"/>
                    <a:pt x="270312" y="637465"/>
                  </a:cubicBezTo>
                  <a:cubicBezTo>
                    <a:pt x="270312" y="648343"/>
                    <a:pt x="270312" y="661942"/>
                    <a:pt x="264872" y="670101"/>
                  </a:cubicBezTo>
                  <a:cubicBezTo>
                    <a:pt x="273031" y="672820"/>
                    <a:pt x="278471" y="672820"/>
                    <a:pt x="283910" y="672820"/>
                  </a:cubicBezTo>
                  <a:lnTo>
                    <a:pt x="283910" y="672820"/>
                  </a:ln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2" name="Freeform: Shape 41">
              <a:extLst>
                <a:ext uri="{FF2B5EF4-FFF2-40B4-BE49-F238E27FC236}">
                  <a16:creationId xmlns:a16="http://schemas.microsoft.com/office/drawing/2014/main" id="{1CAD3D5E-D368-4C1C-96EE-A63B27AC18E9}"/>
                </a:ext>
              </a:extLst>
            </p:cNvPr>
            <p:cNvSpPr/>
            <p:nvPr/>
          </p:nvSpPr>
          <p:spPr bwMode="black">
            <a:xfrm>
              <a:off x="4620880" y="4194877"/>
              <a:ext cx="598325" cy="761503"/>
            </a:xfrm>
            <a:custGeom>
              <a:avLst/>
              <a:gdLst>
                <a:gd name="connsiteX0" fmla="*/ 515081 w 598324"/>
                <a:gd name="connsiteY0" fmla="*/ 79935 h 761503"/>
                <a:gd name="connsiteX1" fmla="*/ 542277 w 598324"/>
                <a:gd name="connsiteY1" fmla="*/ 96253 h 761503"/>
                <a:gd name="connsiteX2" fmla="*/ 536838 w 598324"/>
                <a:gd name="connsiteY2" fmla="*/ 112571 h 761503"/>
                <a:gd name="connsiteX3" fmla="*/ 523240 w 598324"/>
                <a:gd name="connsiteY3" fmla="*/ 120730 h 761503"/>
                <a:gd name="connsiteX4" fmla="*/ 506922 w 598324"/>
                <a:gd name="connsiteY4" fmla="*/ 123450 h 761503"/>
                <a:gd name="connsiteX5" fmla="*/ 477006 w 598324"/>
                <a:gd name="connsiteY5" fmla="*/ 123450 h 761503"/>
                <a:gd name="connsiteX6" fmla="*/ 479725 w 598324"/>
                <a:gd name="connsiteY6" fmla="*/ 145207 h 761503"/>
                <a:gd name="connsiteX7" fmla="*/ 477006 w 598324"/>
                <a:gd name="connsiteY7" fmla="*/ 180563 h 761503"/>
                <a:gd name="connsiteX8" fmla="*/ 482445 w 598324"/>
                <a:gd name="connsiteY8" fmla="*/ 232236 h 761503"/>
                <a:gd name="connsiteX9" fmla="*/ 485165 w 598324"/>
                <a:gd name="connsiteY9" fmla="*/ 283909 h 761503"/>
                <a:gd name="connsiteX10" fmla="*/ 485165 w 598324"/>
                <a:gd name="connsiteY10" fmla="*/ 327424 h 761503"/>
                <a:gd name="connsiteX11" fmla="*/ 487884 w 598324"/>
                <a:gd name="connsiteY11" fmla="*/ 373658 h 761503"/>
                <a:gd name="connsiteX12" fmla="*/ 485165 w 598324"/>
                <a:gd name="connsiteY12" fmla="*/ 419892 h 761503"/>
                <a:gd name="connsiteX13" fmla="*/ 485165 w 598324"/>
                <a:gd name="connsiteY13" fmla="*/ 463407 h 761503"/>
                <a:gd name="connsiteX14" fmla="*/ 482445 w 598324"/>
                <a:gd name="connsiteY14" fmla="*/ 515080 h 761503"/>
                <a:gd name="connsiteX15" fmla="*/ 482445 w 598324"/>
                <a:gd name="connsiteY15" fmla="*/ 558595 h 761503"/>
                <a:gd name="connsiteX16" fmla="*/ 479725 w 598324"/>
                <a:gd name="connsiteY16" fmla="*/ 602109 h 761503"/>
                <a:gd name="connsiteX17" fmla="*/ 485165 w 598324"/>
                <a:gd name="connsiteY17" fmla="*/ 648343 h 761503"/>
                <a:gd name="connsiteX18" fmla="*/ 474286 w 598324"/>
                <a:gd name="connsiteY18" fmla="*/ 675540 h 761503"/>
                <a:gd name="connsiteX19" fmla="*/ 428052 w 598324"/>
                <a:gd name="connsiteY19" fmla="*/ 691858 h 761503"/>
                <a:gd name="connsiteX20" fmla="*/ 387257 w 598324"/>
                <a:gd name="connsiteY20" fmla="*/ 683699 h 761503"/>
                <a:gd name="connsiteX21" fmla="*/ 351901 w 598324"/>
                <a:gd name="connsiteY21" fmla="*/ 664661 h 761503"/>
                <a:gd name="connsiteX22" fmla="*/ 305667 w 598324"/>
                <a:gd name="connsiteY22" fmla="*/ 596670 h 761503"/>
                <a:gd name="connsiteX23" fmla="*/ 270312 w 598324"/>
                <a:gd name="connsiteY23" fmla="*/ 509641 h 761503"/>
                <a:gd name="connsiteX24" fmla="*/ 251274 w 598324"/>
                <a:gd name="connsiteY24" fmla="*/ 460687 h 761503"/>
                <a:gd name="connsiteX25" fmla="*/ 224077 w 598324"/>
                <a:gd name="connsiteY25" fmla="*/ 381817 h 761503"/>
                <a:gd name="connsiteX26" fmla="*/ 207759 w 598324"/>
                <a:gd name="connsiteY26" fmla="*/ 330144 h 761503"/>
                <a:gd name="connsiteX27" fmla="*/ 191442 w 598324"/>
                <a:gd name="connsiteY27" fmla="*/ 286629 h 761503"/>
                <a:gd name="connsiteX28" fmla="*/ 183283 w 598324"/>
                <a:gd name="connsiteY28" fmla="*/ 278470 h 761503"/>
                <a:gd name="connsiteX29" fmla="*/ 180563 w 598324"/>
                <a:gd name="connsiteY29" fmla="*/ 292068 h 761503"/>
                <a:gd name="connsiteX30" fmla="*/ 180563 w 598324"/>
                <a:gd name="connsiteY30" fmla="*/ 305667 h 761503"/>
                <a:gd name="connsiteX31" fmla="*/ 183283 w 598324"/>
                <a:gd name="connsiteY31" fmla="*/ 354620 h 761503"/>
                <a:gd name="connsiteX32" fmla="*/ 188722 w 598324"/>
                <a:gd name="connsiteY32" fmla="*/ 449808 h 761503"/>
                <a:gd name="connsiteX33" fmla="*/ 188722 w 598324"/>
                <a:gd name="connsiteY33" fmla="*/ 479725 h 761503"/>
                <a:gd name="connsiteX34" fmla="*/ 188722 w 598324"/>
                <a:gd name="connsiteY34" fmla="*/ 542277 h 761503"/>
                <a:gd name="connsiteX35" fmla="*/ 186002 w 598324"/>
                <a:gd name="connsiteY35" fmla="*/ 615708 h 761503"/>
                <a:gd name="connsiteX36" fmla="*/ 186002 w 598324"/>
                <a:gd name="connsiteY36" fmla="*/ 637465 h 761503"/>
                <a:gd name="connsiteX37" fmla="*/ 183283 w 598324"/>
                <a:gd name="connsiteY37" fmla="*/ 664661 h 761503"/>
                <a:gd name="connsiteX38" fmla="*/ 226797 w 598324"/>
                <a:gd name="connsiteY38" fmla="*/ 664661 h 761503"/>
                <a:gd name="connsiteX39" fmla="*/ 253994 w 598324"/>
                <a:gd name="connsiteY39" fmla="*/ 680979 h 761503"/>
                <a:gd name="connsiteX40" fmla="*/ 248554 w 598324"/>
                <a:gd name="connsiteY40" fmla="*/ 697297 h 761503"/>
                <a:gd name="connsiteX41" fmla="*/ 234956 w 598324"/>
                <a:gd name="connsiteY41" fmla="*/ 705456 h 761503"/>
                <a:gd name="connsiteX42" fmla="*/ 218638 w 598324"/>
                <a:gd name="connsiteY42" fmla="*/ 708176 h 761503"/>
                <a:gd name="connsiteX43" fmla="*/ 183283 w 598324"/>
                <a:gd name="connsiteY43" fmla="*/ 708176 h 761503"/>
                <a:gd name="connsiteX44" fmla="*/ 150647 w 598324"/>
                <a:gd name="connsiteY44" fmla="*/ 708176 h 761503"/>
                <a:gd name="connsiteX45" fmla="*/ 107132 w 598324"/>
                <a:gd name="connsiteY45" fmla="*/ 708176 h 761503"/>
                <a:gd name="connsiteX46" fmla="*/ 88094 w 598324"/>
                <a:gd name="connsiteY46" fmla="*/ 708176 h 761503"/>
                <a:gd name="connsiteX47" fmla="*/ 69057 w 598324"/>
                <a:gd name="connsiteY47" fmla="*/ 702736 h 761503"/>
                <a:gd name="connsiteX48" fmla="*/ 58178 w 598324"/>
                <a:gd name="connsiteY48" fmla="*/ 686418 h 761503"/>
                <a:gd name="connsiteX49" fmla="*/ 60898 w 598324"/>
                <a:gd name="connsiteY49" fmla="*/ 678259 h 761503"/>
                <a:gd name="connsiteX50" fmla="*/ 77216 w 598324"/>
                <a:gd name="connsiteY50" fmla="*/ 670101 h 761503"/>
                <a:gd name="connsiteX51" fmla="*/ 120730 w 598324"/>
                <a:gd name="connsiteY51" fmla="*/ 664661 h 761503"/>
                <a:gd name="connsiteX52" fmla="*/ 131609 w 598324"/>
                <a:gd name="connsiteY52" fmla="*/ 664661 h 761503"/>
                <a:gd name="connsiteX53" fmla="*/ 134329 w 598324"/>
                <a:gd name="connsiteY53" fmla="*/ 539557 h 761503"/>
                <a:gd name="connsiteX54" fmla="*/ 134329 w 598324"/>
                <a:gd name="connsiteY54" fmla="*/ 504201 h 761503"/>
                <a:gd name="connsiteX55" fmla="*/ 131609 w 598324"/>
                <a:gd name="connsiteY55" fmla="*/ 376378 h 761503"/>
                <a:gd name="connsiteX56" fmla="*/ 131609 w 598324"/>
                <a:gd name="connsiteY56" fmla="*/ 302947 h 761503"/>
                <a:gd name="connsiteX57" fmla="*/ 134329 w 598324"/>
                <a:gd name="connsiteY57" fmla="*/ 221357 h 761503"/>
                <a:gd name="connsiteX58" fmla="*/ 137048 w 598324"/>
                <a:gd name="connsiteY58" fmla="*/ 123450 h 761503"/>
                <a:gd name="connsiteX59" fmla="*/ 107132 w 598324"/>
                <a:gd name="connsiteY59" fmla="*/ 123450 h 761503"/>
                <a:gd name="connsiteX60" fmla="*/ 88094 w 598324"/>
                <a:gd name="connsiteY60" fmla="*/ 123450 h 761503"/>
                <a:gd name="connsiteX61" fmla="*/ 69057 w 598324"/>
                <a:gd name="connsiteY61" fmla="*/ 118011 h 761503"/>
                <a:gd name="connsiteX62" fmla="*/ 58178 w 598324"/>
                <a:gd name="connsiteY62" fmla="*/ 101693 h 761503"/>
                <a:gd name="connsiteX63" fmla="*/ 60898 w 598324"/>
                <a:gd name="connsiteY63" fmla="*/ 93534 h 761503"/>
                <a:gd name="connsiteX64" fmla="*/ 77216 w 598324"/>
                <a:gd name="connsiteY64" fmla="*/ 85375 h 761503"/>
                <a:gd name="connsiteX65" fmla="*/ 131609 w 598324"/>
                <a:gd name="connsiteY65" fmla="*/ 79935 h 761503"/>
                <a:gd name="connsiteX66" fmla="*/ 161525 w 598324"/>
                <a:gd name="connsiteY66" fmla="*/ 79935 h 761503"/>
                <a:gd name="connsiteX67" fmla="*/ 177843 w 598324"/>
                <a:gd name="connsiteY67" fmla="*/ 66337 h 761503"/>
                <a:gd name="connsiteX68" fmla="*/ 202320 w 598324"/>
                <a:gd name="connsiteY68" fmla="*/ 58178 h 761503"/>
                <a:gd name="connsiteX69" fmla="*/ 234956 w 598324"/>
                <a:gd name="connsiteY69" fmla="*/ 77216 h 761503"/>
                <a:gd name="connsiteX70" fmla="*/ 251274 w 598324"/>
                <a:gd name="connsiteY70" fmla="*/ 107132 h 761503"/>
                <a:gd name="connsiteX71" fmla="*/ 267592 w 598324"/>
                <a:gd name="connsiteY71" fmla="*/ 147927 h 761503"/>
                <a:gd name="connsiteX72" fmla="*/ 281190 w 598324"/>
                <a:gd name="connsiteY72" fmla="*/ 183282 h 761503"/>
                <a:gd name="connsiteX73" fmla="*/ 297508 w 598324"/>
                <a:gd name="connsiteY73" fmla="*/ 224077 h 761503"/>
                <a:gd name="connsiteX74" fmla="*/ 308387 w 598324"/>
                <a:gd name="connsiteY74" fmla="*/ 264872 h 761503"/>
                <a:gd name="connsiteX75" fmla="*/ 319265 w 598324"/>
                <a:gd name="connsiteY75" fmla="*/ 300227 h 761503"/>
                <a:gd name="connsiteX76" fmla="*/ 351901 w 598324"/>
                <a:gd name="connsiteY76" fmla="*/ 379097 h 761503"/>
                <a:gd name="connsiteX77" fmla="*/ 365500 w 598324"/>
                <a:gd name="connsiteY77" fmla="*/ 417173 h 761503"/>
                <a:gd name="connsiteX78" fmla="*/ 379098 w 598324"/>
                <a:gd name="connsiteY78" fmla="*/ 457967 h 761503"/>
                <a:gd name="connsiteX79" fmla="*/ 395416 w 598324"/>
                <a:gd name="connsiteY79" fmla="*/ 496043 h 761503"/>
                <a:gd name="connsiteX80" fmla="*/ 406294 w 598324"/>
                <a:gd name="connsiteY80" fmla="*/ 512361 h 761503"/>
                <a:gd name="connsiteX81" fmla="*/ 411734 w 598324"/>
                <a:gd name="connsiteY81" fmla="*/ 531398 h 761503"/>
                <a:gd name="connsiteX82" fmla="*/ 419893 w 598324"/>
                <a:gd name="connsiteY82" fmla="*/ 558595 h 761503"/>
                <a:gd name="connsiteX83" fmla="*/ 425332 w 598324"/>
                <a:gd name="connsiteY83" fmla="*/ 564034 h 761503"/>
                <a:gd name="connsiteX84" fmla="*/ 430771 w 598324"/>
                <a:gd name="connsiteY84" fmla="*/ 558595 h 761503"/>
                <a:gd name="connsiteX85" fmla="*/ 430771 w 598324"/>
                <a:gd name="connsiteY85" fmla="*/ 550436 h 761503"/>
                <a:gd name="connsiteX86" fmla="*/ 430771 w 598324"/>
                <a:gd name="connsiteY86" fmla="*/ 501482 h 761503"/>
                <a:gd name="connsiteX87" fmla="*/ 430771 w 598324"/>
                <a:gd name="connsiteY87" fmla="*/ 403574 h 761503"/>
                <a:gd name="connsiteX88" fmla="*/ 425332 w 598324"/>
                <a:gd name="connsiteY88" fmla="*/ 313826 h 761503"/>
                <a:gd name="connsiteX89" fmla="*/ 425332 w 598324"/>
                <a:gd name="connsiteY89" fmla="*/ 248554 h 761503"/>
                <a:gd name="connsiteX90" fmla="*/ 425332 w 598324"/>
                <a:gd name="connsiteY90" fmla="*/ 210479 h 761503"/>
                <a:gd name="connsiteX91" fmla="*/ 422613 w 598324"/>
                <a:gd name="connsiteY91" fmla="*/ 153366 h 761503"/>
                <a:gd name="connsiteX92" fmla="*/ 425332 w 598324"/>
                <a:gd name="connsiteY92" fmla="*/ 123450 h 761503"/>
                <a:gd name="connsiteX93" fmla="*/ 398136 w 598324"/>
                <a:gd name="connsiteY93" fmla="*/ 123450 h 761503"/>
                <a:gd name="connsiteX94" fmla="*/ 379098 w 598324"/>
                <a:gd name="connsiteY94" fmla="*/ 123450 h 761503"/>
                <a:gd name="connsiteX95" fmla="*/ 360060 w 598324"/>
                <a:gd name="connsiteY95" fmla="*/ 118011 h 761503"/>
                <a:gd name="connsiteX96" fmla="*/ 349182 w 598324"/>
                <a:gd name="connsiteY96" fmla="*/ 101693 h 761503"/>
                <a:gd name="connsiteX97" fmla="*/ 351901 w 598324"/>
                <a:gd name="connsiteY97" fmla="*/ 93534 h 761503"/>
                <a:gd name="connsiteX98" fmla="*/ 368219 w 598324"/>
                <a:gd name="connsiteY98" fmla="*/ 85375 h 761503"/>
                <a:gd name="connsiteX99" fmla="*/ 422613 w 598324"/>
                <a:gd name="connsiteY99" fmla="*/ 79935 h 761503"/>
                <a:gd name="connsiteX100" fmla="*/ 444370 w 598324"/>
                <a:gd name="connsiteY100" fmla="*/ 79935 h 761503"/>
                <a:gd name="connsiteX101" fmla="*/ 463407 w 598324"/>
                <a:gd name="connsiteY101" fmla="*/ 71776 h 761503"/>
                <a:gd name="connsiteX102" fmla="*/ 477006 w 598324"/>
                <a:gd name="connsiteY102" fmla="*/ 79935 h 761503"/>
                <a:gd name="connsiteX103" fmla="*/ 515081 w 598324"/>
                <a:gd name="connsiteY103" fmla="*/ 79935 h 761503"/>
                <a:gd name="connsiteX104" fmla="*/ 515081 w 598324"/>
                <a:gd name="connsiteY104" fmla="*/ 79935 h 761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</a:cxnLst>
              <a:rect l="l" t="t" r="r" b="b"/>
              <a:pathLst>
                <a:path w="598324" h="761503">
                  <a:moveTo>
                    <a:pt x="515081" y="79935"/>
                  </a:moveTo>
                  <a:cubicBezTo>
                    <a:pt x="523240" y="79935"/>
                    <a:pt x="542277" y="79935"/>
                    <a:pt x="542277" y="96253"/>
                  </a:cubicBezTo>
                  <a:cubicBezTo>
                    <a:pt x="542277" y="104412"/>
                    <a:pt x="542277" y="107132"/>
                    <a:pt x="536838" y="112571"/>
                  </a:cubicBezTo>
                  <a:cubicBezTo>
                    <a:pt x="534119" y="118011"/>
                    <a:pt x="528679" y="120730"/>
                    <a:pt x="523240" y="120730"/>
                  </a:cubicBezTo>
                  <a:cubicBezTo>
                    <a:pt x="515081" y="123450"/>
                    <a:pt x="512361" y="123450"/>
                    <a:pt x="506922" y="123450"/>
                  </a:cubicBezTo>
                  <a:cubicBezTo>
                    <a:pt x="504202" y="123450"/>
                    <a:pt x="490604" y="123450"/>
                    <a:pt x="477006" y="123450"/>
                  </a:cubicBezTo>
                  <a:cubicBezTo>
                    <a:pt x="477006" y="131609"/>
                    <a:pt x="479725" y="137048"/>
                    <a:pt x="479725" y="145207"/>
                  </a:cubicBezTo>
                  <a:cubicBezTo>
                    <a:pt x="479725" y="156086"/>
                    <a:pt x="477006" y="166964"/>
                    <a:pt x="477006" y="180563"/>
                  </a:cubicBezTo>
                  <a:cubicBezTo>
                    <a:pt x="477006" y="196881"/>
                    <a:pt x="479725" y="215918"/>
                    <a:pt x="482445" y="232236"/>
                  </a:cubicBezTo>
                  <a:cubicBezTo>
                    <a:pt x="485165" y="248554"/>
                    <a:pt x="485165" y="267592"/>
                    <a:pt x="485165" y="283909"/>
                  </a:cubicBezTo>
                  <a:cubicBezTo>
                    <a:pt x="485165" y="297508"/>
                    <a:pt x="485165" y="313826"/>
                    <a:pt x="485165" y="327424"/>
                  </a:cubicBezTo>
                  <a:cubicBezTo>
                    <a:pt x="485165" y="343742"/>
                    <a:pt x="487884" y="357340"/>
                    <a:pt x="487884" y="373658"/>
                  </a:cubicBezTo>
                  <a:cubicBezTo>
                    <a:pt x="487884" y="389976"/>
                    <a:pt x="485165" y="403574"/>
                    <a:pt x="485165" y="419892"/>
                  </a:cubicBezTo>
                  <a:cubicBezTo>
                    <a:pt x="485165" y="436210"/>
                    <a:pt x="485165" y="449808"/>
                    <a:pt x="485165" y="463407"/>
                  </a:cubicBezTo>
                  <a:cubicBezTo>
                    <a:pt x="485165" y="479725"/>
                    <a:pt x="485165" y="498762"/>
                    <a:pt x="482445" y="515080"/>
                  </a:cubicBezTo>
                  <a:cubicBezTo>
                    <a:pt x="482445" y="528678"/>
                    <a:pt x="482445" y="542277"/>
                    <a:pt x="482445" y="558595"/>
                  </a:cubicBezTo>
                  <a:cubicBezTo>
                    <a:pt x="482445" y="572193"/>
                    <a:pt x="479725" y="588511"/>
                    <a:pt x="479725" y="602109"/>
                  </a:cubicBezTo>
                  <a:cubicBezTo>
                    <a:pt x="479725" y="615708"/>
                    <a:pt x="485165" y="632025"/>
                    <a:pt x="485165" y="648343"/>
                  </a:cubicBezTo>
                  <a:cubicBezTo>
                    <a:pt x="485165" y="659222"/>
                    <a:pt x="482445" y="670101"/>
                    <a:pt x="474286" y="675540"/>
                  </a:cubicBezTo>
                  <a:cubicBezTo>
                    <a:pt x="460688" y="686418"/>
                    <a:pt x="444370" y="691858"/>
                    <a:pt x="428052" y="691858"/>
                  </a:cubicBezTo>
                  <a:cubicBezTo>
                    <a:pt x="414453" y="691858"/>
                    <a:pt x="400855" y="689138"/>
                    <a:pt x="387257" y="683699"/>
                  </a:cubicBezTo>
                  <a:cubicBezTo>
                    <a:pt x="373659" y="678259"/>
                    <a:pt x="360060" y="672820"/>
                    <a:pt x="351901" y="664661"/>
                  </a:cubicBezTo>
                  <a:cubicBezTo>
                    <a:pt x="330144" y="645624"/>
                    <a:pt x="316546" y="621147"/>
                    <a:pt x="305667" y="596670"/>
                  </a:cubicBezTo>
                  <a:cubicBezTo>
                    <a:pt x="292069" y="569473"/>
                    <a:pt x="281190" y="539557"/>
                    <a:pt x="270312" y="509641"/>
                  </a:cubicBezTo>
                  <a:cubicBezTo>
                    <a:pt x="264872" y="493323"/>
                    <a:pt x="256713" y="477005"/>
                    <a:pt x="251274" y="460687"/>
                  </a:cubicBezTo>
                  <a:cubicBezTo>
                    <a:pt x="240395" y="433490"/>
                    <a:pt x="232236" y="409014"/>
                    <a:pt x="224077" y="381817"/>
                  </a:cubicBezTo>
                  <a:cubicBezTo>
                    <a:pt x="218638" y="365499"/>
                    <a:pt x="213199" y="346462"/>
                    <a:pt x="207759" y="330144"/>
                  </a:cubicBezTo>
                  <a:cubicBezTo>
                    <a:pt x="202320" y="316545"/>
                    <a:pt x="196881" y="300227"/>
                    <a:pt x="191442" y="286629"/>
                  </a:cubicBezTo>
                  <a:cubicBezTo>
                    <a:pt x="188722" y="281190"/>
                    <a:pt x="186002" y="278470"/>
                    <a:pt x="183283" y="278470"/>
                  </a:cubicBezTo>
                  <a:cubicBezTo>
                    <a:pt x="180563" y="278470"/>
                    <a:pt x="180563" y="286629"/>
                    <a:pt x="180563" y="292068"/>
                  </a:cubicBezTo>
                  <a:cubicBezTo>
                    <a:pt x="180563" y="297508"/>
                    <a:pt x="180563" y="302947"/>
                    <a:pt x="180563" y="305667"/>
                  </a:cubicBezTo>
                  <a:cubicBezTo>
                    <a:pt x="180563" y="321985"/>
                    <a:pt x="183283" y="338303"/>
                    <a:pt x="183283" y="354620"/>
                  </a:cubicBezTo>
                  <a:cubicBezTo>
                    <a:pt x="183283" y="387256"/>
                    <a:pt x="186002" y="417173"/>
                    <a:pt x="188722" y="449808"/>
                  </a:cubicBezTo>
                  <a:cubicBezTo>
                    <a:pt x="188722" y="460687"/>
                    <a:pt x="188722" y="468846"/>
                    <a:pt x="188722" y="479725"/>
                  </a:cubicBezTo>
                  <a:cubicBezTo>
                    <a:pt x="188722" y="501482"/>
                    <a:pt x="188722" y="523239"/>
                    <a:pt x="188722" y="542277"/>
                  </a:cubicBezTo>
                  <a:cubicBezTo>
                    <a:pt x="188722" y="566754"/>
                    <a:pt x="186002" y="591231"/>
                    <a:pt x="186002" y="615708"/>
                  </a:cubicBezTo>
                  <a:cubicBezTo>
                    <a:pt x="186002" y="623866"/>
                    <a:pt x="186002" y="632025"/>
                    <a:pt x="186002" y="637465"/>
                  </a:cubicBezTo>
                  <a:cubicBezTo>
                    <a:pt x="186002" y="645624"/>
                    <a:pt x="183283" y="656502"/>
                    <a:pt x="183283" y="664661"/>
                  </a:cubicBezTo>
                  <a:cubicBezTo>
                    <a:pt x="202320" y="664661"/>
                    <a:pt x="218638" y="664661"/>
                    <a:pt x="226797" y="664661"/>
                  </a:cubicBezTo>
                  <a:cubicBezTo>
                    <a:pt x="234956" y="664661"/>
                    <a:pt x="253994" y="664661"/>
                    <a:pt x="253994" y="680979"/>
                  </a:cubicBezTo>
                  <a:cubicBezTo>
                    <a:pt x="253994" y="689138"/>
                    <a:pt x="253994" y="691858"/>
                    <a:pt x="248554" y="697297"/>
                  </a:cubicBezTo>
                  <a:cubicBezTo>
                    <a:pt x="245835" y="702736"/>
                    <a:pt x="240395" y="705456"/>
                    <a:pt x="234956" y="705456"/>
                  </a:cubicBezTo>
                  <a:cubicBezTo>
                    <a:pt x="226797" y="708176"/>
                    <a:pt x="224077" y="708176"/>
                    <a:pt x="218638" y="708176"/>
                  </a:cubicBezTo>
                  <a:cubicBezTo>
                    <a:pt x="215918" y="708176"/>
                    <a:pt x="199600" y="708176"/>
                    <a:pt x="183283" y="708176"/>
                  </a:cubicBezTo>
                  <a:cubicBezTo>
                    <a:pt x="166965" y="708176"/>
                    <a:pt x="153366" y="708176"/>
                    <a:pt x="150647" y="708176"/>
                  </a:cubicBezTo>
                  <a:cubicBezTo>
                    <a:pt x="139768" y="708176"/>
                    <a:pt x="120730" y="708176"/>
                    <a:pt x="107132" y="708176"/>
                  </a:cubicBezTo>
                  <a:cubicBezTo>
                    <a:pt x="101693" y="708176"/>
                    <a:pt x="96254" y="708176"/>
                    <a:pt x="88094" y="708176"/>
                  </a:cubicBezTo>
                  <a:cubicBezTo>
                    <a:pt x="82655" y="708176"/>
                    <a:pt x="74496" y="708176"/>
                    <a:pt x="69057" y="702736"/>
                  </a:cubicBezTo>
                  <a:cubicBezTo>
                    <a:pt x="63617" y="700017"/>
                    <a:pt x="58178" y="691858"/>
                    <a:pt x="58178" y="686418"/>
                  </a:cubicBezTo>
                  <a:cubicBezTo>
                    <a:pt x="58178" y="683699"/>
                    <a:pt x="58178" y="680979"/>
                    <a:pt x="60898" y="678259"/>
                  </a:cubicBezTo>
                  <a:cubicBezTo>
                    <a:pt x="63617" y="675540"/>
                    <a:pt x="71777" y="672820"/>
                    <a:pt x="77216" y="670101"/>
                  </a:cubicBezTo>
                  <a:cubicBezTo>
                    <a:pt x="90814" y="667381"/>
                    <a:pt x="115291" y="664661"/>
                    <a:pt x="120730" y="664661"/>
                  </a:cubicBezTo>
                  <a:cubicBezTo>
                    <a:pt x="123450" y="664661"/>
                    <a:pt x="126170" y="664661"/>
                    <a:pt x="131609" y="664661"/>
                  </a:cubicBezTo>
                  <a:cubicBezTo>
                    <a:pt x="131609" y="623866"/>
                    <a:pt x="134329" y="583072"/>
                    <a:pt x="134329" y="539557"/>
                  </a:cubicBezTo>
                  <a:cubicBezTo>
                    <a:pt x="134329" y="528678"/>
                    <a:pt x="134329" y="515080"/>
                    <a:pt x="134329" y="504201"/>
                  </a:cubicBezTo>
                  <a:cubicBezTo>
                    <a:pt x="131609" y="460687"/>
                    <a:pt x="131609" y="417173"/>
                    <a:pt x="131609" y="376378"/>
                  </a:cubicBezTo>
                  <a:cubicBezTo>
                    <a:pt x="131609" y="351901"/>
                    <a:pt x="131609" y="327424"/>
                    <a:pt x="131609" y="302947"/>
                  </a:cubicBezTo>
                  <a:cubicBezTo>
                    <a:pt x="131609" y="275751"/>
                    <a:pt x="131609" y="248554"/>
                    <a:pt x="134329" y="221357"/>
                  </a:cubicBezTo>
                  <a:cubicBezTo>
                    <a:pt x="134329" y="188722"/>
                    <a:pt x="137048" y="156086"/>
                    <a:pt x="137048" y="123450"/>
                  </a:cubicBezTo>
                  <a:cubicBezTo>
                    <a:pt x="126170" y="123450"/>
                    <a:pt x="115291" y="123450"/>
                    <a:pt x="107132" y="123450"/>
                  </a:cubicBezTo>
                  <a:cubicBezTo>
                    <a:pt x="101693" y="123450"/>
                    <a:pt x="96254" y="123450"/>
                    <a:pt x="88094" y="123450"/>
                  </a:cubicBezTo>
                  <a:cubicBezTo>
                    <a:pt x="82655" y="123450"/>
                    <a:pt x="74496" y="120730"/>
                    <a:pt x="69057" y="118011"/>
                  </a:cubicBezTo>
                  <a:cubicBezTo>
                    <a:pt x="63617" y="115291"/>
                    <a:pt x="58178" y="107132"/>
                    <a:pt x="58178" y="101693"/>
                  </a:cubicBezTo>
                  <a:cubicBezTo>
                    <a:pt x="58178" y="98973"/>
                    <a:pt x="58178" y="96253"/>
                    <a:pt x="60898" y="93534"/>
                  </a:cubicBezTo>
                  <a:cubicBezTo>
                    <a:pt x="63617" y="90814"/>
                    <a:pt x="71777" y="88094"/>
                    <a:pt x="77216" y="85375"/>
                  </a:cubicBezTo>
                  <a:cubicBezTo>
                    <a:pt x="90814" y="82655"/>
                    <a:pt x="126170" y="79935"/>
                    <a:pt x="131609" y="79935"/>
                  </a:cubicBezTo>
                  <a:cubicBezTo>
                    <a:pt x="137048" y="79935"/>
                    <a:pt x="147927" y="79935"/>
                    <a:pt x="161525" y="79935"/>
                  </a:cubicBezTo>
                  <a:cubicBezTo>
                    <a:pt x="166965" y="74496"/>
                    <a:pt x="172404" y="71776"/>
                    <a:pt x="177843" y="66337"/>
                  </a:cubicBezTo>
                  <a:cubicBezTo>
                    <a:pt x="186002" y="60898"/>
                    <a:pt x="194161" y="58178"/>
                    <a:pt x="202320" y="58178"/>
                  </a:cubicBezTo>
                  <a:cubicBezTo>
                    <a:pt x="215918" y="58178"/>
                    <a:pt x="226797" y="63617"/>
                    <a:pt x="234956" y="77216"/>
                  </a:cubicBezTo>
                  <a:cubicBezTo>
                    <a:pt x="240395" y="88094"/>
                    <a:pt x="248554" y="96253"/>
                    <a:pt x="251274" y="107132"/>
                  </a:cubicBezTo>
                  <a:cubicBezTo>
                    <a:pt x="256713" y="120730"/>
                    <a:pt x="259433" y="134328"/>
                    <a:pt x="267592" y="147927"/>
                  </a:cubicBezTo>
                  <a:cubicBezTo>
                    <a:pt x="273031" y="158805"/>
                    <a:pt x="275751" y="172404"/>
                    <a:pt x="281190" y="183282"/>
                  </a:cubicBezTo>
                  <a:cubicBezTo>
                    <a:pt x="286630" y="196881"/>
                    <a:pt x="292069" y="210479"/>
                    <a:pt x="297508" y="224077"/>
                  </a:cubicBezTo>
                  <a:cubicBezTo>
                    <a:pt x="300228" y="237675"/>
                    <a:pt x="305667" y="251274"/>
                    <a:pt x="308387" y="264872"/>
                  </a:cubicBezTo>
                  <a:cubicBezTo>
                    <a:pt x="311106" y="278470"/>
                    <a:pt x="311106" y="289349"/>
                    <a:pt x="319265" y="300227"/>
                  </a:cubicBezTo>
                  <a:cubicBezTo>
                    <a:pt x="332864" y="324704"/>
                    <a:pt x="346462" y="351901"/>
                    <a:pt x="351901" y="379097"/>
                  </a:cubicBezTo>
                  <a:cubicBezTo>
                    <a:pt x="354621" y="392696"/>
                    <a:pt x="360060" y="403574"/>
                    <a:pt x="365500" y="417173"/>
                  </a:cubicBezTo>
                  <a:cubicBezTo>
                    <a:pt x="373659" y="430771"/>
                    <a:pt x="373659" y="444369"/>
                    <a:pt x="379098" y="457967"/>
                  </a:cubicBezTo>
                  <a:cubicBezTo>
                    <a:pt x="381818" y="471566"/>
                    <a:pt x="387257" y="482444"/>
                    <a:pt x="395416" y="496043"/>
                  </a:cubicBezTo>
                  <a:cubicBezTo>
                    <a:pt x="398136" y="501482"/>
                    <a:pt x="403575" y="506921"/>
                    <a:pt x="406294" y="512361"/>
                  </a:cubicBezTo>
                  <a:cubicBezTo>
                    <a:pt x="409014" y="517800"/>
                    <a:pt x="409014" y="525959"/>
                    <a:pt x="411734" y="531398"/>
                  </a:cubicBezTo>
                  <a:cubicBezTo>
                    <a:pt x="414453" y="539557"/>
                    <a:pt x="417173" y="550436"/>
                    <a:pt x="419893" y="558595"/>
                  </a:cubicBezTo>
                  <a:cubicBezTo>
                    <a:pt x="422613" y="561314"/>
                    <a:pt x="422613" y="564034"/>
                    <a:pt x="425332" y="564034"/>
                  </a:cubicBezTo>
                  <a:cubicBezTo>
                    <a:pt x="428052" y="564034"/>
                    <a:pt x="428052" y="561314"/>
                    <a:pt x="430771" y="558595"/>
                  </a:cubicBezTo>
                  <a:cubicBezTo>
                    <a:pt x="430771" y="555875"/>
                    <a:pt x="430771" y="553155"/>
                    <a:pt x="430771" y="550436"/>
                  </a:cubicBezTo>
                  <a:cubicBezTo>
                    <a:pt x="430771" y="534118"/>
                    <a:pt x="430771" y="517800"/>
                    <a:pt x="430771" y="501482"/>
                  </a:cubicBezTo>
                  <a:cubicBezTo>
                    <a:pt x="430771" y="468846"/>
                    <a:pt x="433491" y="436210"/>
                    <a:pt x="430771" y="403574"/>
                  </a:cubicBezTo>
                  <a:cubicBezTo>
                    <a:pt x="430771" y="373658"/>
                    <a:pt x="425332" y="343742"/>
                    <a:pt x="425332" y="313826"/>
                  </a:cubicBezTo>
                  <a:cubicBezTo>
                    <a:pt x="425332" y="292068"/>
                    <a:pt x="425332" y="270311"/>
                    <a:pt x="425332" y="248554"/>
                  </a:cubicBezTo>
                  <a:cubicBezTo>
                    <a:pt x="425332" y="234956"/>
                    <a:pt x="425332" y="224077"/>
                    <a:pt x="425332" y="210479"/>
                  </a:cubicBezTo>
                  <a:cubicBezTo>
                    <a:pt x="425332" y="191441"/>
                    <a:pt x="422613" y="172404"/>
                    <a:pt x="422613" y="153366"/>
                  </a:cubicBezTo>
                  <a:cubicBezTo>
                    <a:pt x="422613" y="142487"/>
                    <a:pt x="422613" y="134328"/>
                    <a:pt x="425332" y="123450"/>
                  </a:cubicBezTo>
                  <a:cubicBezTo>
                    <a:pt x="417173" y="123450"/>
                    <a:pt x="406294" y="123450"/>
                    <a:pt x="398136" y="123450"/>
                  </a:cubicBezTo>
                  <a:cubicBezTo>
                    <a:pt x="392696" y="123450"/>
                    <a:pt x="387257" y="123450"/>
                    <a:pt x="379098" y="123450"/>
                  </a:cubicBezTo>
                  <a:cubicBezTo>
                    <a:pt x="373659" y="123450"/>
                    <a:pt x="365500" y="120730"/>
                    <a:pt x="360060" y="118011"/>
                  </a:cubicBezTo>
                  <a:cubicBezTo>
                    <a:pt x="354621" y="115291"/>
                    <a:pt x="349182" y="107132"/>
                    <a:pt x="349182" y="101693"/>
                  </a:cubicBezTo>
                  <a:cubicBezTo>
                    <a:pt x="349182" y="98973"/>
                    <a:pt x="349182" y="96253"/>
                    <a:pt x="351901" y="93534"/>
                  </a:cubicBezTo>
                  <a:cubicBezTo>
                    <a:pt x="354621" y="90814"/>
                    <a:pt x="362780" y="88094"/>
                    <a:pt x="368219" y="85375"/>
                  </a:cubicBezTo>
                  <a:cubicBezTo>
                    <a:pt x="381818" y="82655"/>
                    <a:pt x="417173" y="79935"/>
                    <a:pt x="422613" y="79935"/>
                  </a:cubicBezTo>
                  <a:cubicBezTo>
                    <a:pt x="428052" y="79935"/>
                    <a:pt x="433491" y="79935"/>
                    <a:pt x="444370" y="79935"/>
                  </a:cubicBezTo>
                  <a:cubicBezTo>
                    <a:pt x="449809" y="74496"/>
                    <a:pt x="455248" y="71776"/>
                    <a:pt x="463407" y="71776"/>
                  </a:cubicBezTo>
                  <a:cubicBezTo>
                    <a:pt x="471566" y="71776"/>
                    <a:pt x="477006" y="74496"/>
                    <a:pt x="477006" y="79935"/>
                  </a:cubicBezTo>
                  <a:cubicBezTo>
                    <a:pt x="493324" y="79935"/>
                    <a:pt x="506922" y="79935"/>
                    <a:pt x="515081" y="79935"/>
                  </a:cubicBezTo>
                  <a:lnTo>
                    <a:pt x="515081" y="79935"/>
                  </a:ln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3" name="Freeform: Shape 42">
              <a:extLst>
                <a:ext uri="{FF2B5EF4-FFF2-40B4-BE49-F238E27FC236}">
                  <a16:creationId xmlns:a16="http://schemas.microsoft.com/office/drawing/2014/main" id="{48589BCD-A0C1-497B-8D9B-7071336DC859}"/>
                </a:ext>
              </a:extLst>
            </p:cNvPr>
            <p:cNvSpPr/>
            <p:nvPr/>
          </p:nvSpPr>
          <p:spPr bwMode="black">
            <a:xfrm>
              <a:off x="5139126" y="4192158"/>
              <a:ext cx="516735" cy="788700"/>
            </a:xfrm>
            <a:custGeom>
              <a:avLst/>
              <a:gdLst>
                <a:gd name="connsiteX0" fmla="*/ 464616 w 516735"/>
                <a:gd name="connsiteY0" fmla="*/ 436210 h 788699"/>
                <a:gd name="connsiteX1" fmla="*/ 445578 w 516735"/>
                <a:gd name="connsiteY1" fmla="*/ 455248 h 788699"/>
                <a:gd name="connsiteX2" fmla="*/ 404784 w 516735"/>
                <a:gd name="connsiteY2" fmla="*/ 466126 h 788699"/>
                <a:gd name="connsiteX3" fmla="*/ 385746 w 516735"/>
                <a:gd name="connsiteY3" fmla="*/ 479725 h 788699"/>
                <a:gd name="connsiteX4" fmla="*/ 388466 w 516735"/>
                <a:gd name="connsiteY4" fmla="*/ 512361 h 788699"/>
                <a:gd name="connsiteX5" fmla="*/ 388466 w 516735"/>
                <a:gd name="connsiteY5" fmla="*/ 544997 h 788699"/>
                <a:gd name="connsiteX6" fmla="*/ 388466 w 516735"/>
                <a:gd name="connsiteY6" fmla="*/ 566754 h 788699"/>
                <a:gd name="connsiteX7" fmla="*/ 391185 w 516735"/>
                <a:gd name="connsiteY7" fmla="*/ 632026 h 788699"/>
                <a:gd name="connsiteX8" fmla="*/ 393905 w 516735"/>
                <a:gd name="connsiteY8" fmla="*/ 683699 h 788699"/>
                <a:gd name="connsiteX9" fmla="*/ 377587 w 516735"/>
                <a:gd name="connsiteY9" fmla="*/ 724494 h 788699"/>
                <a:gd name="connsiteX10" fmla="*/ 361269 w 516735"/>
                <a:gd name="connsiteY10" fmla="*/ 719054 h 788699"/>
                <a:gd name="connsiteX11" fmla="*/ 353110 w 516735"/>
                <a:gd name="connsiteY11" fmla="*/ 702737 h 788699"/>
                <a:gd name="connsiteX12" fmla="*/ 350390 w 516735"/>
                <a:gd name="connsiteY12" fmla="*/ 686419 h 788699"/>
                <a:gd name="connsiteX13" fmla="*/ 353110 w 516735"/>
                <a:gd name="connsiteY13" fmla="*/ 659222 h 788699"/>
                <a:gd name="connsiteX14" fmla="*/ 353110 w 516735"/>
                <a:gd name="connsiteY14" fmla="*/ 656502 h 788699"/>
                <a:gd name="connsiteX15" fmla="*/ 317755 w 516735"/>
                <a:gd name="connsiteY15" fmla="*/ 708176 h 788699"/>
                <a:gd name="connsiteX16" fmla="*/ 241604 w 516735"/>
                <a:gd name="connsiteY16" fmla="*/ 735372 h 788699"/>
                <a:gd name="connsiteX17" fmla="*/ 187211 w 516735"/>
                <a:gd name="connsiteY17" fmla="*/ 727214 h 788699"/>
                <a:gd name="connsiteX18" fmla="*/ 135538 w 516735"/>
                <a:gd name="connsiteY18" fmla="*/ 694578 h 788699"/>
                <a:gd name="connsiteX19" fmla="*/ 86584 w 516735"/>
                <a:gd name="connsiteY19" fmla="*/ 621147 h 788699"/>
                <a:gd name="connsiteX20" fmla="*/ 67546 w 516735"/>
                <a:gd name="connsiteY20" fmla="*/ 555875 h 788699"/>
                <a:gd name="connsiteX21" fmla="*/ 59387 w 516735"/>
                <a:gd name="connsiteY21" fmla="*/ 509641 h 788699"/>
                <a:gd name="connsiteX22" fmla="*/ 59387 w 516735"/>
                <a:gd name="connsiteY22" fmla="*/ 468846 h 788699"/>
                <a:gd name="connsiteX23" fmla="*/ 86584 w 516735"/>
                <a:gd name="connsiteY23" fmla="*/ 302947 h 788699"/>
                <a:gd name="connsiteX24" fmla="*/ 108341 w 516735"/>
                <a:gd name="connsiteY24" fmla="*/ 224077 h 788699"/>
                <a:gd name="connsiteX25" fmla="*/ 146416 w 516735"/>
                <a:gd name="connsiteY25" fmla="*/ 145207 h 788699"/>
                <a:gd name="connsiteX26" fmla="*/ 198090 w 516735"/>
                <a:gd name="connsiteY26" fmla="*/ 85375 h 788699"/>
                <a:gd name="connsiteX27" fmla="*/ 228006 w 516735"/>
                <a:gd name="connsiteY27" fmla="*/ 69057 h 788699"/>
                <a:gd name="connsiteX28" fmla="*/ 268801 w 516735"/>
                <a:gd name="connsiteY28" fmla="*/ 58178 h 788699"/>
                <a:gd name="connsiteX29" fmla="*/ 274240 w 516735"/>
                <a:gd name="connsiteY29" fmla="*/ 58178 h 788699"/>
                <a:gd name="connsiteX30" fmla="*/ 295997 w 516735"/>
                <a:gd name="connsiteY30" fmla="*/ 60898 h 788699"/>
                <a:gd name="connsiteX31" fmla="*/ 331353 w 516735"/>
                <a:gd name="connsiteY31" fmla="*/ 71776 h 788699"/>
                <a:gd name="connsiteX32" fmla="*/ 350390 w 516735"/>
                <a:gd name="connsiteY32" fmla="*/ 93534 h 788699"/>
                <a:gd name="connsiteX33" fmla="*/ 353110 w 516735"/>
                <a:gd name="connsiteY33" fmla="*/ 74496 h 788699"/>
                <a:gd name="connsiteX34" fmla="*/ 358549 w 516735"/>
                <a:gd name="connsiteY34" fmla="*/ 63618 h 788699"/>
                <a:gd name="connsiteX35" fmla="*/ 366708 w 516735"/>
                <a:gd name="connsiteY35" fmla="*/ 58178 h 788699"/>
                <a:gd name="connsiteX36" fmla="*/ 374867 w 516735"/>
                <a:gd name="connsiteY36" fmla="*/ 63618 h 788699"/>
                <a:gd name="connsiteX37" fmla="*/ 383026 w 516735"/>
                <a:gd name="connsiteY37" fmla="*/ 82655 h 788699"/>
                <a:gd name="connsiteX38" fmla="*/ 385746 w 516735"/>
                <a:gd name="connsiteY38" fmla="*/ 126170 h 788699"/>
                <a:gd name="connsiteX39" fmla="*/ 388466 w 516735"/>
                <a:gd name="connsiteY39" fmla="*/ 186002 h 788699"/>
                <a:gd name="connsiteX40" fmla="*/ 391185 w 516735"/>
                <a:gd name="connsiteY40" fmla="*/ 237676 h 788699"/>
                <a:gd name="connsiteX41" fmla="*/ 374867 w 516735"/>
                <a:gd name="connsiteY41" fmla="*/ 278470 h 788699"/>
                <a:gd name="connsiteX42" fmla="*/ 358549 w 516735"/>
                <a:gd name="connsiteY42" fmla="*/ 273031 h 788699"/>
                <a:gd name="connsiteX43" fmla="*/ 350390 w 516735"/>
                <a:gd name="connsiteY43" fmla="*/ 256713 h 788699"/>
                <a:gd name="connsiteX44" fmla="*/ 347671 w 516735"/>
                <a:gd name="connsiteY44" fmla="*/ 240395 h 788699"/>
                <a:gd name="connsiteX45" fmla="*/ 347671 w 516735"/>
                <a:gd name="connsiteY45" fmla="*/ 213199 h 788699"/>
                <a:gd name="connsiteX46" fmla="*/ 344951 w 516735"/>
                <a:gd name="connsiteY46" fmla="*/ 194161 h 788699"/>
                <a:gd name="connsiteX47" fmla="*/ 339512 w 516735"/>
                <a:gd name="connsiteY47" fmla="*/ 150647 h 788699"/>
                <a:gd name="connsiteX48" fmla="*/ 323194 w 516735"/>
                <a:gd name="connsiteY48" fmla="*/ 112571 h 788699"/>
                <a:gd name="connsiteX49" fmla="*/ 293278 w 516735"/>
                <a:gd name="connsiteY49" fmla="*/ 101693 h 788699"/>
                <a:gd name="connsiteX50" fmla="*/ 263361 w 516735"/>
                <a:gd name="connsiteY50" fmla="*/ 120730 h 788699"/>
                <a:gd name="connsiteX51" fmla="*/ 241604 w 516735"/>
                <a:gd name="connsiteY51" fmla="*/ 153366 h 788699"/>
                <a:gd name="connsiteX52" fmla="*/ 233445 w 516735"/>
                <a:gd name="connsiteY52" fmla="*/ 194161 h 788699"/>
                <a:gd name="connsiteX53" fmla="*/ 225286 w 516735"/>
                <a:gd name="connsiteY53" fmla="*/ 232236 h 788699"/>
                <a:gd name="connsiteX54" fmla="*/ 217127 w 516735"/>
                <a:gd name="connsiteY54" fmla="*/ 275751 h 788699"/>
                <a:gd name="connsiteX55" fmla="*/ 211688 w 516735"/>
                <a:gd name="connsiteY55" fmla="*/ 316545 h 788699"/>
                <a:gd name="connsiteX56" fmla="*/ 206249 w 516735"/>
                <a:gd name="connsiteY56" fmla="*/ 354621 h 788699"/>
                <a:gd name="connsiteX57" fmla="*/ 200809 w 516735"/>
                <a:gd name="connsiteY57" fmla="*/ 398135 h 788699"/>
                <a:gd name="connsiteX58" fmla="*/ 195370 w 516735"/>
                <a:gd name="connsiteY58" fmla="*/ 438930 h 788699"/>
                <a:gd name="connsiteX59" fmla="*/ 192650 w 516735"/>
                <a:gd name="connsiteY59" fmla="*/ 474286 h 788699"/>
                <a:gd name="connsiteX60" fmla="*/ 195370 w 516735"/>
                <a:gd name="connsiteY60" fmla="*/ 525959 h 788699"/>
                <a:gd name="connsiteX61" fmla="*/ 208968 w 516735"/>
                <a:gd name="connsiteY61" fmla="*/ 596670 h 788699"/>
                <a:gd name="connsiteX62" fmla="*/ 214407 w 516735"/>
                <a:gd name="connsiteY62" fmla="*/ 623867 h 788699"/>
                <a:gd name="connsiteX63" fmla="*/ 228006 w 516735"/>
                <a:gd name="connsiteY63" fmla="*/ 656502 h 788699"/>
                <a:gd name="connsiteX64" fmla="*/ 271520 w 516735"/>
                <a:gd name="connsiteY64" fmla="*/ 689138 h 788699"/>
                <a:gd name="connsiteX65" fmla="*/ 306876 w 516735"/>
                <a:gd name="connsiteY65" fmla="*/ 664661 h 788699"/>
                <a:gd name="connsiteX66" fmla="*/ 331353 w 516735"/>
                <a:gd name="connsiteY66" fmla="*/ 602109 h 788699"/>
                <a:gd name="connsiteX67" fmla="*/ 336792 w 516735"/>
                <a:gd name="connsiteY67" fmla="*/ 544997 h 788699"/>
                <a:gd name="connsiteX68" fmla="*/ 336792 w 516735"/>
                <a:gd name="connsiteY68" fmla="*/ 498762 h 788699"/>
                <a:gd name="connsiteX69" fmla="*/ 336792 w 516735"/>
                <a:gd name="connsiteY69" fmla="*/ 490603 h 788699"/>
                <a:gd name="connsiteX70" fmla="*/ 320474 w 516735"/>
                <a:gd name="connsiteY70" fmla="*/ 477005 h 788699"/>
                <a:gd name="connsiteX71" fmla="*/ 282399 w 516735"/>
                <a:gd name="connsiteY71" fmla="*/ 479725 h 788699"/>
                <a:gd name="connsiteX72" fmla="*/ 252483 w 516735"/>
                <a:gd name="connsiteY72" fmla="*/ 474286 h 788699"/>
                <a:gd name="connsiteX73" fmla="*/ 247043 w 516735"/>
                <a:gd name="connsiteY73" fmla="*/ 466126 h 788699"/>
                <a:gd name="connsiteX74" fmla="*/ 249763 w 516735"/>
                <a:gd name="connsiteY74" fmla="*/ 457968 h 788699"/>
                <a:gd name="connsiteX75" fmla="*/ 268801 w 516735"/>
                <a:gd name="connsiteY75" fmla="*/ 447089 h 788699"/>
                <a:gd name="connsiteX76" fmla="*/ 312315 w 516735"/>
                <a:gd name="connsiteY76" fmla="*/ 436210 h 788699"/>
                <a:gd name="connsiteX77" fmla="*/ 353110 w 516735"/>
                <a:gd name="connsiteY77" fmla="*/ 430771 h 788699"/>
                <a:gd name="connsiteX78" fmla="*/ 385746 w 516735"/>
                <a:gd name="connsiteY78" fmla="*/ 430771 h 788699"/>
                <a:gd name="connsiteX79" fmla="*/ 437420 w 516735"/>
                <a:gd name="connsiteY79" fmla="*/ 428051 h 788699"/>
                <a:gd name="connsiteX80" fmla="*/ 464616 w 516735"/>
                <a:gd name="connsiteY80" fmla="*/ 436210 h 7886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</a:cxnLst>
              <a:rect l="l" t="t" r="r" b="b"/>
              <a:pathLst>
                <a:path w="516735" h="788699">
                  <a:moveTo>
                    <a:pt x="464616" y="436210"/>
                  </a:moveTo>
                  <a:cubicBezTo>
                    <a:pt x="464616" y="447089"/>
                    <a:pt x="453737" y="452528"/>
                    <a:pt x="445578" y="455248"/>
                  </a:cubicBezTo>
                  <a:cubicBezTo>
                    <a:pt x="434700" y="460687"/>
                    <a:pt x="415662" y="463407"/>
                    <a:pt x="404784" y="466126"/>
                  </a:cubicBezTo>
                  <a:cubicBezTo>
                    <a:pt x="393905" y="466126"/>
                    <a:pt x="385746" y="468846"/>
                    <a:pt x="385746" y="479725"/>
                  </a:cubicBezTo>
                  <a:cubicBezTo>
                    <a:pt x="385746" y="487884"/>
                    <a:pt x="388466" y="506921"/>
                    <a:pt x="388466" y="512361"/>
                  </a:cubicBezTo>
                  <a:cubicBezTo>
                    <a:pt x="388466" y="515080"/>
                    <a:pt x="388466" y="539557"/>
                    <a:pt x="388466" y="544997"/>
                  </a:cubicBezTo>
                  <a:cubicBezTo>
                    <a:pt x="388466" y="550436"/>
                    <a:pt x="388466" y="558595"/>
                    <a:pt x="388466" y="566754"/>
                  </a:cubicBezTo>
                  <a:cubicBezTo>
                    <a:pt x="388466" y="591231"/>
                    <a:pt x="388466" y="621147"/>
                    <a:pt x="391185" y="632026"/>
                  </a:cubicBezTo>
                  <a:cubicBezTo>
                    <a:pt x="393905" y="653783"/>
                    <a:pt x="393905" y="661942"/>
                    <a:pt x="393905" y="683699"/>
                  </a:cubicBezTo>
                  <a:cubicBezTo>
                    <a:pt x="393905" y="694578"/>
                    <a:pt x="393905" y="724494"/>
                    <a:pt x="377587" y="724494"/>
                  </a:cubicBezTo>
                  <a:cubicBezTo>
                    <a:pt x="369428" y="724494"/>
                    <a:pt x="366708" y="721774"/>
                    <a:pt x="361269" y="719054"/>
                  </a:cubicBezTo>
                  <a:cubicBezTo>
                    <a:pt x="355830" y="716335"/>
                    <a:pt x="353110" y="708176"/>
                    <a:pt x="353110" y="702737"/>
                  </a:cubicBezTo>
                  <a:cubicBezTo>
                    <a:pt x="350390" y="694578"/>
                    <a:pt x="350390" y="689138"/>
                    <a:pt x="350390" y="686419"/>
                  </a:cubicBezTo>
                  <a:cubicBezTo>
                    <a:pt x="350390" y="678260"/>
                    <a:pt x="353110" y="672820"/>
                    <a:pt x="353110" y="659222"/>
                  </a:cubicBezTo>
                  <a:lnTo>
                    <a:pt x="353110" y="656502"/>
                  </a:lnTo>
                  <a:cubicBezTo>
                    <a:pt x="347671" y="675540"/>
                    <a:pt x="334072" y="694578"/>
                    <a:pt x="317755" y="708176"/>
                  </a:cubicBezTo>
                  <a:cubicBezTo>
                    <a:pt x="293278" y="727214"/>
                    <a:pt x="274240" y="735372"/>
                    <a:pt x="241604" y="735372"/>
                  </a:cubicBezTo>
                  <a:cubicBezTo>
                    <a:pt x="222566" y="735372"/>
                    <a:pt x="203529" y="732653"/>
                    <a:pt x="187211" y="727214"/>
                  </a:cubicBezTo>
                  <a:cubicBezTo>
                    <a:pt x="165454" y="719054"/>
                    <a:pt x="149136" y="708176"/>
                    <a:pt x="135538" y="694578"/>
                  </a:cubicBezTo>
                  <a:cubicBezTo>
                    <a:pt x="113780" y="672820"/>
                    <a:pt x="100182" y="648343"/>
                    <a:pt x="86584" y="621147"/>
                  </a:cubicBezTo>
                  <a:cubicBezTo>
                    <a:pt x="75705" y="599390"/>
                    <a:pt x="70266" y="580352"/>
                    <a:pt x="67546" y="555875"/>
                  </a:cubicBezTo>
                  <a:cubicBezTo>
                    <a:pt x="64826" y="539557"/>
                    <a:pt x="62107" y="525959"/>
                    <a:pt x="59387" y="509641"/>
                  </a:cubicBezTo>
                  <a:cubicBezTo>
                    <a:pt x="56667" y="493323"/>
                    <a:pt x="59387" y="485164"/>
                    <a:pt x="59387" y="468846"/>
                  </a:cubicBezTo>
                  <a:cubicBezTo>
                    <a:pt x="59387" y="414453"/>
                    <a:pt x="72985" y="362780"/>
                    <a:pt x="86584" y="302947"/>
                  </a:cubicBezTo>
                  <a:cubicBezTo>
                    <a:pt x="92023" y="275751"/>
                    <a:pt x="100182" y="248554"/>
                    <a:pt x="108341" y="224077"/>
                  </a:cubicBezTo>
                  <a:cubicBezTo>
                    <a:pt x="116500" y="196881"/>
                    <a:pt x="130098" y="169684"/>
                    <a:pt x="146416" y="145207"/>
                  </a:cubicBezTo>
                  <a:cubicBezTo>
                    <a:pt x="160014" y="123450"/>
                    <a:pt x="176332" y="101693"/>
                    <a:pt x="198090" y="85375"/>
                  </a:cubicBezTo>
                  <a:cubicBezTo>
                    <a:pt x="206249" y="77216"/>
                    <a:pt x="217127" y="71776"/>
                    <a:pt x="228006" y="69057"/>
                  </a:cubicBezTo>
                  <a:cubicBezTo>
                    <a:pt x="241604" y="63618"/>
                    <a:pt x="255202" y="58178"/>
                    <a:pt x="268801" y="58178"/>
                  </a:cubicBezTo>
                  <a:cubicBezTo>
                    <a:pt x="271520" y="58178"/>
                    <a:pt x="274240" y="58178"/>
                    <a:pt x="274240" y="58178"/>
                  </a:cubicBezTo>
                  <a:cubicBezTo>
                    <a:pt x="279679" y="58178"/>
                    <a:pt x="285119" y="58178"/>
                    <a:pt x="295997" y="60898"/>
                  </a:cubicBezTo>
                  <a:cubicBezTo>
                    <a:pt x="309595" y="63618"/>
                    <a:pt x="320474" y="66337"/>
                    <a:pt x="331353" y="71776"/>
                  </a:cubicBezTo>
                  <a:cubicBezTo>
                    <a:pt x="339512" y="77216"/>
                    <a:pt x="347671" y="85375"/>
                    <a:pt x="350390" y="93534"/>
                  </a:cubicBezTo>
                  <a:cubicBezTo>
                    <a:pt x="350390" y="88095"/>
                    <a:pt x="353110" y="79936"/>
                    <a:pt x="353110" y="74496"/>
                  </a:cubicBezTo>
                  <a:cubicBezTo>
                    <a:pt x="355830" y="71776"/>
                    <a:pt x="355830" y="69057"/>
                    <a:pt x="358549" y="63618"/>
                  </a:cubicBezTo>
                  <a:cubicBezTo>
                    <a:pt x="361269" y="60898"/>
                    <a:pt x="363989" y="58178"/>
                    <a:pt x="366708" y="58178"/>
                  </a:cubicBezTo>
                  <a:cubicBezTo>
                    <a:pt x="369428" y="58178"/>
                    <a:pt x="372148" y="60898"/>
                    <a:pt x="374867" y="63618"/>
                  </a:cubicBezTo>
                  <a:cubicBezTo>
                    <a:pt x="377587" y="69057"/>
                    <a:pt x="380307" y="77216"/>
                    <a:pt x="383026" y="82655"/>
                  </a:cubicBezTo>
                  <a:cubicBezTo>
                    <a:pt x="383026" y="90814"/>
                    <a:pt x="385746" y="107132"/>
                    <a:pt x="385746" y="126170"/>
                  </a:cubicBezTo>
                  <a:cubicBezTo>
                    <a:pt x="385746" y="150647"/>
                    <a:pt x="385746" y="177843"/>
                    <a:pt x="388466" y="186002"/>
                  </a:cubicBezTo>
                  <a:cubicBezTo>
                    <a:pt x="391185" y="207759"/>
                    <a:pt x="391185" y="215918"/>
                    <a:pt x="391185" y="237676"/>
                  </a:cubicBezTo>
                  <a:cubicBezTo>
                    <a:pt x="391185" y="248554"/>
                    <a:pt x="391185" y="278470"/>
                    <a:pt x="374867" y="278470"/>
                  </a:cubicBezTo>
                  <a:cubicBezTo>
                    <a:pt x="366708" y="278470"/>
                    <a:pt x="363989" y="275751"/>
                    <a:pt x="358549" y="273031"/>
                  </a:cubicBezTo>
                  <a:cubicBezTo>
                    <a:pt x="353110" y="270311"/>
                    <a:pt x="350390" y="262152"/>
                    <a:pt x="350390" y="256713"/>
                  </a:cubicBezTo>
                  <a:cubicBezTo>
                    <a:pt x="350390" y="251274"/>
                    <a:pt x="347671" y="245834"/>
                    <a:pt x="347671" y="240395"/>
                  </a:cubicBezTo>
                  <a:cubicBezTo>
                    <a:pt x="347671" y="232236"/>
                    <a:pt x="347671" y="224077"/>
                    <a:pt x="347671" y="213199"/>
                  </a:cubicBezTo>
                  <a:cubicBezTo>
                    <a:pt x="347671" y="207759"/>
                    <a:pt x="347671" y="199600"/>
                    <a:pt x="344951" y="194161"/>
                  </a:cubicBezTo>
                  <a:cubicBezTo>
                    <a:pt x="342232" y="180563"/>
                    <a:pt x="342232" y="164245"/>
                    <a:pt x="339512" y="150647"/>
                  </a:cubicBezTo>
                  <a:cubicBezTo>
                    <a:pt x="336792" y="137048"/>
                    <a:pt x="331353" y="123450"/>
                    <a:pt x="323194" y="112571"/>
                  </a:cubicBezTo>
                  <a:cubicBezTo>
                    <a:pt x="317755" y="104412"/>
                    <a:pt x="304156" y="101693"/>
                    <a:pt x="293278" y="101693"/>
                  </a:cubicBezTo>
                  <a:cubicBezTo>
                    <a:pt x="279679" y="101693"/>
                    <a:pt x="271520" y="109852"/>
                    <a:pt x="263361" y="120730"/>
                  </a:cubicBezTo>
                  <a:cubicBezTo>
                    <a:pt x="257922" y="131609"/>
                    <a:pt x="247043" y="139768"/>
                    <a:pt x="241604" y="153366"/>
                  </a:cubicBezTo>
                  <a:cubicBezTo>
                    <a:pt x="236165" y="166964"/>
                    <a:pt x="233445" y="180563"/>
                    <a:pt x="233445" y="194161"/>
                  </a:cubicBezTo>
                  <a:cubicBezTo>
                    <a:pt x="233445" y="207759"/>
                    <a:pt x="230726" y="218638"/>
                    <a:pt x="225286" y="232236"/>
                  </a:cubicBezTo>
                  <a:cubicBezTo>
                    <a:pt x="219847" y="245834"/>
                    <a:pt x="219847" y="262152"/>
                    <a:pt x="217127" y="275751"/>
                  </a:cubicBezTo>
                  <a:cubicBezTo>
                    <a:pt x="214407" y="289349"/>
                    <a:pt x="214407" y="302947"/>
                    <a:pt x="211688" y="316545"/>
                  </a:cubicBezTo>
                  <a:cubicBezTo>
                    <a:pt x="211688" y="330144"/>
                    <a:pt x="206249" y="341022"/>
                    <a:pt x="206249" y="354621"/>
                  </a:cubicBezTo>
                  <a:cubicBezTo>
                    <a:pt x="203529" y="368219"/>
                    <a:pt x="203529" y="381817"/>
                    <a:pt x="200809" y="398135"/>
                  </a:cubicBezTo>
                  <a:cubicBezTo>
                    <a:pt x="198090" y="411733"/>
                    <a:pt x="198090" y="425332"/>
                    <a:pt x="195370" y="438930"/>
                  </a:cubicBezTo>
                  <a:cubicBezTo>
                    <a:pt x="195370" y="449809"/>
                    <a:pt x="192650" y="463407"/>
                    <a:pt x="192650" y="474286"/>
                  </a:cubicBezTo>
                  <a:cubicBezTo>
                    <a:pt x="192650" y="490603"/>
                    <a:pt x="195370" y="509641"/>
                    <a:pt x="195370" y="525959"/>
                  </a:cubicBezTo>
                  <a:cubicBezTo>
                    <a:pt x="195370" y="550436"/>
                    <a:pt x="203529" y="572193"/>
                    <a:pt x="208968" y="596670"/>
                  </a:cubicBezTo>
                  <a:cubicBezTo>
                    <a:pt x="211688" y="604829"/>
                    <a:pt x="211688" y="615708"/>
                    <a:pt x="214407" y="623867"/>
                  </a:cubicBezTo>
                  <a:cubicBezTo>
                    <a:pt x="217127" y="634745"/>
                    <a:pt x="222566" y="645624"/>
                    <a:pt x="228006" y="656502"/>
                  </a:cubicBezTo>
                  <a:cubicBezTo>
                    <a:pt x="236165" y="670101"/>
                    <a:pt x="252483" y="689138"/>
                    <a:pt x="271520" y="689138"/>
                  </a:cubicBezTo>
                  <a:cubicBezTo>
                    <a:pt x="287838" y="689138"/>
                    <a:pt x="298717" y="675540"/>
                    <a:pt x="306876" y="664661"/>
                  </a:cubicBezTo>
                  <a:cubicBezTo>
                    <a:pt x="320474" y="645624"/>
                    <a:pt x="325914" y="623867"/>
                    <a:pt x="331353" y="602109"/>
                  </a:cubicBezTo>
                  <a:cubicBezTo>
                    <a:pt x="334072" y="583072"/>
                    <a:pt x="336792" y="564034"/>
                    <a:pt x="336792" y="544997"/>
                  </a:cubicBezTo>
                  <a:cubicBezTo>
                    <a:pt x="336792" y="531398"/>
                    <a:pt x="336792" y="512361"/>
                    <a:pt x="336792" y="498762"/>
                  </a:cubicBezTo>
                  <a:cubicBezTo>
                    <a:pt x="336792" y="496043"/>
                    <a:pt x="336792" y="493323"/>
                    <a:pt x="336792" y="490603"/>
                  </a:cubicBezTo>
                  <a:cubicBezTo>
                    <a:pt x="336792" y="479725"/>
                    <a:pt x="336792" y="477005"/>
                    <a:pt x="320474" y="477005"/>
                  </a:cubicBezTo>
                  <a:cubicBezTo>
                    <a:pt x="309595" y="477005"/>
                    <a:pt x="295997" y="479725"/>
                    <a:pt x="282399" y="479725"/>
                  </a:cubicBezTo>
                  <a:cubicBezTo>
                    <a:pt x="271520" y="479725"/>
                    <a:pt x="260642" y="479725"/>
                    <a:pt x="252483" y="474286"/>
                  </a:cubicBezTo>
                  <a:cubicBezTo>
                    <a:pt x="249763" y="471566"/>
                    <a:pt x="247043" y="468846"/>
                    <a:pt x="247043" y="466126"/>
                  </a:cubicBezTo>
                  <a:cubicBezTo>
                    <a:pt x="247043" y="463407"/>
                    <a:pt x="247043" y="460687"/>
                    <a:pt x="249763" y="457968"/>
                  </a:cubicBezTo>
                  <a:cubicBezTo>
                    <a:pt x="255202" y="452528"/>
                    <a:pt x="260642" y="449809"/>
                    <a:pt x="268801" y="447089"/>
                  </a:cubicBezTo>
                  <a:cubicBezTo>
                    <a:pt x="282399" y="441650"/>
                    <a:pt x="295997" y="438930"/>
                    <a:pt x="312315" y="436210"/>
                  </a:cubicBezTo>
                  <a:cubicBezTo>
                    <a:pt x="325914" y="433491"/>
                    <a:pt x="339512" y="433491"/>
                    <a:pt x="353110" y="430771"/>
                  </a:cubicBezTo>
                  <a:cubicBezTo>
                    <a:pt x="363989" y="430771"/>
                    <a:pt x="374867" y="430771"/>
                    <a:pt x="385746" y="430771"/>
                  </a:cubicBezTo>
                  <a:cubicBezTo>
                    <a:pt x="402064" y="430771"/>
                    <a:pt x="426541" y="428051"/>
                    <a:pt x="437420" y="428051"/>
                  </a:cubicBezTo>
                  <a:cubicBezTo>
                    <a:pt x="451018" y="419892"/>
                    <a:pt x="464616" y="425332"/>
                    <a:pt x="464616" y="436210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4" name="Freeform: Shape 43">
              <a:extLst>
                <a:ext uri="{FF2B5EF4-FFF2-40B4-BE49-F238E27FC236}">
                  <a16:creationId xmlns:a16="http://schemas.microsoft.com/office/drawing/2014/main" id="{8DFF6291-0096-416B-8932-CFAEE8C24CC3}"/>
                </a:ext>
              </a:extLst>
            </p:cNvPr>
            <p:cNvSpPr/>
            <p:nvPr/>
          </p:nvSpPr>
          <p:spPr bwMode="black">
            <a:xfrm>
              <a:off x="5651630" y="4181279"/>
              <a:ext cx="734308" cy="788700"/>
            </a:xfrm>
            <a:custGeom>
              <a:avLst/>
              <a:gdLst>
                <a:gd name="connsiteX0" fmla="*/ 653783 w 734307"/>
                <a:gd name="connsiteY0" fmla="*/ 678259 h 788699"/>
                <a:gd name="connsiteX1" fmla="*/ 691859 w 734307"/>
                <a:gd name="connsiteY1" fmla="*/ 694577 h 788699"/>
                <a:gd name="connsiteX2" fmla="*/ 686419 w 734307"/>
                <a:gd name="connsiteY2" fmla="*/ 710895 h 788699"/>
                <a:gd name="connsiteX3" fmla="*/ 670101 w 734307"/>
                <a:gd name="connsiteY3" fmla="*/ 719054 h 788699"/>
                <a:gd name="connsiteX4" fmla="*/ 648344 w 734307"/>
                <a:gd name="connsiteY4" fmla="*/ 721774 h 788699"/>
                <a:gd name="connsiteX5" fmla="*/ 618428 w 734307"/>
                <a:gd name="connsiteY5" fmla="*/ 721774 h 788699"/>
                <a:gd name="connsiteX6" fmla="*/ 572194 w 734307"/>
                <a:gd name="connsiteY6" fmla="*/ 735372 h 788699"/>
                <a:gd name="connsiteX7" fmla="*/ 544997 w 734307"/>
                <a:gd name="connsiteY7" fmla="*/ 729933 h 788699"/>
                <a:gd name="connsiteX8" fmla="*/ 534119 w 734307"/>
                <a:gd name="connsiteY8" fmla="*/ 721774 h 788699"/>
                <a:gd name="connsiteX9" fmla="*/ 496043 w 734307"/>
                <a:gd name="connsiteY9" fmla="*/ 721774 h 788699"/>
                <a:gd name="connsiteX10" fmla="*/ 471566 w 734307"/>
                <a:gd name="connsiteY10" fmla="*/ 721774 h 788699"/>
                <a:gd name="connsiteX11" fmla="*/ 444370 w 734307"/>
                <a:gd name="connsiteY11" fmla="*/ 716335 h 788699"/>
                <a:gd name="connsiteX12" fmla="*/ 428052 w 734307"/>
                <a:gd name="connsiteY12" fmla="*/ 700017 h 788699"/>
                <a:gd name="connsiteX13" fmla="*/ 433491 w 734307"/>
                <a:gd name="connsiteY13" fmla="*/ 691858 h 788699"/>
                <a:gd name="connsiteX14" fmla="*/ 455248 w 734307"/>
                <a:gd name="connsiteY14" fmla="*/ 683699 h 788699"/>
                <a:gd name="connsiteX15" fmla="*/ 506922 w 734307"/>
                <a:gd name="connsiteY15" fmla="*/ 678259 h 788699"/>
                <a:gd name="connsiteX16" fmla="*/ 509641 w 734307"/>
                <a:gd name="connsiteY16" fmla="*/ 678259 h 788699"/>
                <a:gd name="connsiteX17" fmla="*/ 506922 w 734307"/>
                <a:gd name="connsiteY17" fmla="*/ 664661 h 788699"/>
                <a:gd name="connsiteX18" fmla="*/ 498763 w 734307"/>
                <a:gd name="connsiteY18" fmla="*/ 580352 h 788699"/>
                <a:gd name="connsiteX19" fmla="*/ 496043 w 734307"/>
                <a:gd name="connsiteY19" fmla="*/ 479725 h 788699"/>
                <a:gd name="connsiteX20" fmla="*/ 493324 w 734307"/>
                <a:gd name="connsiteY20" fmla="*/ 389976 h 788699"/>
                <a:gd name="connsiteX21" fmla="*/ 490604 w 734307"/>
                <a:gd name="connsiteY21" fmla="*/ 302947 h 788699"/>
                <a:gd name="connsiteX22" fmla="*/ 487884 w 734307"/>
                <a:gd name="connsiteY22" fmla="*/ 229516 h 788699"/>
                <a:gd name="connsiteX23" fmla="*/ 485165 w 734307"/>
                <a:gd name="connsiteY23" fmla="*/ 221357 h 788699"/>
                <a:gd name="connsiteX24" fmla="*/ 482445 w 734307"/>
                <a:gd name="connsiteY24" fmla="*/ 226797 h 788699"/>
                <a:gd name="connsiteX25" fmla="*/ 477006 w 734307"/>
                <a:gd name="connsiteY25" fmla="*/ 262152 h 788699"/>
                <a:gd name="connsiteX26" fmla="*/ 460688 w 734307"/>
                <a:gd name="connsiteY26" fmla="*/ 341022 h 788699"/>
                <a:gd name="connsiteX27" fmla="*/ 444370 w 734307"/>
                <a:gd name="connsiteY27" fmla="*/ 417173 h 788699"/>
                <a:gd name="connsiteX28" fmla="*/ 436211 w 734307"/>
                <a:gd name="connsiteY28" fmla="*/ 455248 h 788699"/>
                <a:gd name="connsiteX29" fmla="*/ 425332 w 734307"/>
                <a:gd name="connsiteY29" fmla="*/ 493323 h 788699"/>
                <a:gd name="connsiteX30" fmla="*/ 411734 w 734307"/>
                <a:gd name="connsiteY30" fmla="*/ 531398 h 788699"/>
                <a:gd name="connsiteX31" fmla="*/ 376378 w 734307"/>
                <a:gd name="connsiteY31" fmla="*/ 547716 h 788699"/>
                <a:gd name="connsiteX32" fmla="*/ 319265 w 734307"/>
                <a:gd name="connsiteY32" fmla="*/ 525959 h 788699"/>
                <a:gd name="connsiteX33" fmla="*/ 289349 w 734307"/>
                <a:gd name="connsiteY33" fmla="*/ 455248 h 788699"/>
                <a:gd name="connsiteX34" fmla="*/ 273031 w 734307"/>
                <a:gd name="connsiteY34" fmla="*/ 373658 h 788699"/>
                <a:gd name="connsiteX35" fmla="*/ 262153 w 734307"/>
                <a:gd name="connsiteY35" fmla="*/ 316545 h 788699"/>
                <a:gd name="connsiteX36" fmla="*/ 245835 w 734307"/>
                <a:gd name="connsiteY36" fmla="*/ 237675 h 788699"/>
                <a:gd name="connsiteX37" fmla="*/ 234956 w 734307"/>
                <a:gd name="connsiteY37" fmla="*/ 196881 h 788699"/>
                <a:gd name="connsiteX38" fmla="*/ 232236 w 734307"/>
                <a:gd name="connsiteY38" fmla="*/ 191441 h 788699"/>
                <a:gd name="connsiteX39" fmla="*/ 226797 w 734307"/>
                <a:gd name="connsiteY39" fmla="*/ 207759 h 788699"/>
                <a:gd name="connsiteX40" fmla="*/ 226797 w 734307"/>
                <a:gd name="connsiteY40" fmla="*/ 232236 h 788699"/>
                <a:gd name="connsiteX41" fmla="*/ 224077 w 734307"/>
                <a:gd name="connsiteY41" fmla="*/ 267592 h 788699"/>
                <a:gd name="connsiteX42" fmla="*/ 221358 w 734307"/>
                <a:gd name="connsiteY42" fmla="*/ 311106 h 788699"/>
                <a:gd name="connsiteX43" fmla="*/ 218638 w 734307"/>
                <a:gd name="connsiteY43" fmla="*/ 360060 h 788699"/>
                <a:gd name="connsiteX44" fmla="*/ 215919 w 734307"/>
                <a:gd name="connsiteY44" fmla="*/ 398135 h 788699"/>
                <a:gd name="connsiteX45" fmla="*/ 213199 w 734307"/>
                <a:gd name="connsiteY45" fmla="*/ 430771 h 788699"/>
                <a:gd name="connsiteX46" fmla="*/ 213199 w 734307"/>
                <a:gd name="connsiteY46" fmla="*/ 455248 h 788699"/>
                <a:gd name="connsiteX47" fmla="*/ 213199 w 734307"/>
                <a:gd name="connsiteY47" fmla="*/ 477005 h 788699"/>
                <a:gd name="connsiteX48" fmla="*/ 207759 w 734307"/>
                <a:gd name="connsiteY48" fmla="*/ 520520 h 788699"/>
                <a:gd name="connsiteX49" fmla="*/ 196881 w 734307"/>
                <a:gd name="connsiteY49" fmla="*/ 610268 h 788699"/>
                <a:gd name="connsiteX50" fmla="*/ 194161 w 734307"/>
                <a:gd name="connsiteY50" fmla="*/ 653783 h 788699"/>
                <a:gd name="connsiteX51" fmla="*/ 191441 w 734307"/>
                <a:gd name="connsiteY51" fmla="*/ 667381 h 788699"/>
                <a:gd name="connsiteX52" fmla="*/ 243115 w 734307"/>
                <a:gd name="connsiteY52" fmla="*/ 667381 h 788699"/>
                <a:gd name="connsiteX53" fmla="*/ 273031 w 734307"/>
                <a:gd name="connsiteY53" fmla="*/ 683699 h 788699"/>
                <a:gd name="connsiteX54" fmla="*/ 262153 w 734307"/>
                <a:gd name="connsiteY54" fmla="*/ 697297 h 788699"/>
                <a:gd name="connsiteX55" fmla="*/ 248554 w 734307"/>
                <a:gd name="connsiteY55" fmla="*/ 705456 h 788699"/>
                <a:gd name="connsiteX56" fmla="*/ 232236 w 734307"/>
                <a:gd name="connsiteY56" fmla="*/ 708176 h 788699"/>
                <a:gd name="connsiteX57" fmla="*/ 166965 w 734307"/>
                <a:gd name="connsiteY57" fmla="*/ 708176 h 788699"/>
                <a:gd name="connsiteX58" fmla="*/ 109852 w 734307"/>
                <a:gd name="connsiteY58" fmla="*/ 708176 h 788699"/>
                <a:gd name="connsiteX59" fmla="*/ 90814 w 734307"/>
                <a:gd name="connsiteY59" fmla="*/ 708176 h 788699"/>
                <a:gd name="connsiteX60" fmla="*/ 69057 w 734307"/>
                <a:gd name="connsiteY60" fmla="*/ 702736 h 788699"/>
                <a:gd name="connsiteX61" fmla="*/ 58178 w 734307"/>
                <a:gd name="connsiteY61" fmla="*/ 686418 h 788699"/>
                <a:gd name="connsiteX62" fmla="*/ 60898 w 734307"/>
                <a:gd name="connsiteY62" fmla="*/ 678259 h 788699"/>
                <a:gd name="connsiteX63" fmla="*/ 77216 w 734307"/>
                <a:gd name="connsiteY63" fmla="*/ 670101 h 788699"/>
                <a:gd name="connsiteX64" fmla="*/ 126170 w 734307"/>
                <a:gd name="connsiteY64" fmla="*/ 664661 h 788699"/>
                <a:gd name="connsiteX65" fmla="*/ 142487 w 734307"/>
                <a:gd name="connsiteY65" fmla="*/ 664661 h 788699"/>
                <a:gd name="connsiteX66" fmla="*/ 147927 w 734307"/>
                <a:gd name="connsiteY66" fmla="*/ 588511 h 788699"/>
                <a:gd name="connsiteX67" fmla="*/ 153366 w 734307"/>
                <a:gd name="connsiteY67" fmla="*/ 493323 h 788699"/>
                <a:gd name="connsiteX68" fmla="*/ 156086 w 734307"/>
                <a:gd name="connsiteY68" fmla="*/ 411733 h 788699"/>
                <a:gd name="connsiteX69" fmla="*/ 161525 w 734307"/>
                <a:gd name="connsiteY69" fmla="*/ 297508 h 788699"/>
                <a:gd name="connsiteX70" fmla="*/ 166965 w 734307"/>
                <a:gd name="connsiteY70" fmla="*/ 240395 h 788699"/>
                <a:gd name="connsiteX71" fmla="*/ 177843 w 734307"/>
                <a:gd name="connsiteY71" fmla="*/ 161525 h 788699"/>
                <a:gd name="connsiteX72" fmla="*/ 183282 w 734307"/>
                <a:gd name="connsiteY72" fmla="*/ 118011 h 788699"/>
                <a:gd name="connsiteX73" fmla="*/ 183282 w 734307"/>
                <a:gd name="connsiteY73" fmla="*/ 115291 h 788699"/>
                <a:gd name="connsiteX74" fmla="*/ 161525 w 734307"/>
                <a:gd name="connsiteY74" fmla="*/ 115291 h 788699"/>
                <a:gd name="connsiteX75" fmla="*/ 137048 w 734307"/>
                <a:gd name="connsiteY75" fmla="*/ 115291 h 788699"/>
                <a:gd name="connsiteX76" fmla="*/ 109852 w 734307"/>
                <a:gd name="connsiteY76" fmla="*/ 109851 h 788699"/>
                <a:gd name="connsiteX77" fmla="*/ 93534 w 734307"/>
                <a:gd name="connsiteY77" fmla="*/ 93534 h 788699"/>
                <a:gd name="connsiteX78" fmla="*/ 98973 w 734307"/>
                <a:gd name="connsiteY78" fmla="*/ 85375 h 788699"/>
                <a:gd name="connsiteX79" fmla="*/ 120730 w 734307"/>
                <a:gd name="connsiteY79" fmla="*/ 77216 h 788699"/>
                <a:gd name="connsiteX80" fmla="*/ 172404 w 734307"/>
                <a:gd name="connsiteY80" fmla="*/ 71776 h 788699"/>
                <a:gd name="connsiteX81" fmla="*/ 234956 w 734307"/>
                <a:gd name="connsiteY81" fmla="*/ 69057 h 788699"/>
                <a:gd name="connsiteX82" fmla="*/ 243115 w 734307"/>
                <a:gd name="connsiteY82" fmla="*/ 69057 h 788699"/>
                <a:gd name="connsiteX83" fmla="*/ 270312 w 734307"/>
                <a:gd name="connsiteY83" fmla="*/ 74496 h 788699"/>
                <a:gd name="connsiteX84" fmla="*/ 308387 w 734307"/>
                <a:gd name="connsiteY84" fmla="*/ 123450 h 788699"/>
                <a:gd name="connsiteX85" fmla="*/ 332864 w 734307"/>
                <a:gd name="connsiteY85" fmla="*/ 202320 h 788699"/>
                <a:gd name="connsiteX86" fmla="*/ 338303 w 734307"/>
                <a:gd name="connsiteY86" fmla="*/ 237675 h 788699"/>
                <a:gd name="connsiteX87" fmla="*/ 349182 w 734307"/>
                <a:gd name="connsiteY87" fmla="*/ 281190 h 788699"/>
                <a:gd name="connsiteX88" fmla="*/ 357341 w 734307"/>
                <a:gd name="connsiteY88" fmla="*/ 316545 h 788699"/>
                <a:gd name="connsiteX89" fmla="*/ 365500 w 734307"/>
                <a:gd name="connsiteY89" fmla="*/ 351901 h 788699"/>
                <a:gd name="connsiteX90" fmla="*/ 376378 w 734307"/>
                <a:gd name="connsiteY90" fmla="*/ 389976 h 788699"/>
                <a:gd name="connsiteX91" fmla="*/ 387257 w 734307"/>
                <a:gd name="connsiteY91" fmla="*/ 414453 h 788699"/>
                <a:gd name="connsiteX92" fmla="*/ 398136 w 734307"/>
                <a:gd name="connsiteY92" fmla="*/ 376378 h 788699"/>
                <a:gd name="connsiteX93" fmla="*/ 406295 w 734307"/>
                <a:gd name="connsiteY93" fmla="*/ 332863 h 788699"/>
                <a:gd name="connsiteX94" fmla="*/ 425332 w 734307"/>
                <a:gd name="connsiteY94" fmla="*/ 243115 h 788699"/>
                <a:gd name="connsiteX95" fmla="*/ 444370 w 734307"/>
                <a:gd name="connsiteY95" fmla="*/ 150646 h 788699"/>
                <a:gd name="connsiteX96" fmla="*/ 477006 w 734307"/>
                <a:gd name="connsiteY96" fmla="*/ 79935 h 788699"/>
                <a:gd name="connsiteX97" fmla="*/ 523240 w 734307"/>
                <a:gd name="connsiteY97" fmla="*/ 58178 h 788699"/>
                <a:gd name="connsiteX98" fmla="*/ 544997 w 734307"/>
                <a:gd name="connsiteY98" fmla="*/ 63617 h 788699"/>
                <a:gd name="connsiteX99" fmla="*/ 612988 w 734307"/>
                <a:gd name="connsiteY99" fmla="*/ 63617 h 788699"/>
                <a:gd name="connsiteX100" fmla="*/ 651064 w 734307"/>
                <a:gd name="connsiteY100" fmla="*/ 79935 h 788699"/>
                <a:gd name="connsiteX101" fmla="*/ 645624 w 734307"/>
                <a:gd name="connsiteY101" fmla="*/ 96253 h 788699"/>
                <a:gd name="connsiteX102" fmla="*/ 629307 w 734307"/>
                <a:gd name="connsiteY102" fmla="*/ 104412 h 788699"/>
                <a:gd name="connsiteX103" fmla="*/ 607549 w 734307"/>
                <a:gd name="connsiteY103" fmla="*/ 107132 h 788699"/>
                <a:gd name="connsiteX104" fmla="*/ 580353 w 734307"/>
                <a:gd name="connsiteY104" fmla="*/ 107132 h 788699"/>
                <a:gd name="connsiteX105" fmla="*/ 583072 w 734307"/>
                <a:gd name="connsiteY105" fmla="*/ 115291 h 788699"/>
                <a:gd name="connsiteX106" fmla="*/ 588512 w 734307"/>
                <a:gd name="connsiteY106" fmla="*/ 156086 h 788699"/>
                <a:gd name="connsiteX107" fmla="*/ 593951 w 734307"/>
                <a:gd name="connsiteY107" fmla="*/ 196881 h 788699"/>
                <a:gd name="connsiteX108" fmla="*/ 599390 w 734307"/>
                <a:gd name="connsiteY108" fmla="*/ 226797 h 788699"/>
                <a:gd name="connsiteX109" fmla="*/ 599390 w 734307"/>
                <a:gd name="connsiteY109" fmla="*/ 232236 h 788699"/>
                <a:gd name="connsiteX110" fmla="*/ 599390 w 734307"/>
                <a:gd name="connsiteY110" fmla="*/ 240395 h 788699"/>
                <a:gd name="connsiteX111" fmla="*/ 602110 w 734307"/>
                <a:gd name="connsiteY111" fmla="*/ 270311 h 788699"/>
                <a:gd name="connsiteX112" fmla="*/ 607549 w 734307"/>
                <a:gd name="connsiteY112" fmla="*/ 308386 h 788699"/>
                <a:gd name="connsiteX113" fmla="*/ 607549 w 734307"/>
                <a:gd name="connsiteY113" fmla="*/ 319265 h 788699"/>
                <a:gd name="connsiteX114" fmla="*/ 612988 w 734307"/>
                <a:gd name="connsiteY114" fmla="*/ 335583 h 788699"/>
                <a:gd name="connsiteX115" fmla="*/ 612988 w 734307"/>
                <a:gd name="connsiteY115" fmla="*/ 346462 h 788699"/>
                <a:gd name="connsiteX116" fmla="*/ 612988 w 734307"/>
                <a:gd name="connsiteY116" fmla="*/ 370939 h 788699"/>
                <a:gd name="connsiteX117" fmla="*/ 612988 w 734307"/>
                <a:gd name="connsiteY117" fmla="*/ 395415 h 788699"/>
                <a:gd name="connsiteX118" fmla="*/ 615708 w 734307"/>
                <a:gd name="connsiteY118" fmla="*/ 422612 h 788699"/>
                <a:gd name="connsiteX119" fmla="*/ 618428 w 734307"/>
                <a:gd name="connsiteY119" fmla="*/ 441650 h 788699"/>
                <a:gd name="connsiteX120" fmla="*/ 618428 w 734307"/>
                <a:gd name="connsiteY120" fmla="*/ 455248 h 788699"/>
                <a:gd name="connsiteX121" fmla="*/ 621147 w 734307"/>
                <a:gd name="connsiteY121" fmla="*/ 463407 h 788699"/>
                <a:gd name="connsiteX122" fmla="*/ 626587 w 734307"/>
                <a:gd name="connsiteY122" fmla="*/ 482444 h 788699"/>
                <a:gd name="connsiteX123" fmla="*/ 629307 w 734307"/>
                <a:gd name="connsiteY123" fmla="*/ 517800 h 788699"/>
                <a:gd name="connsiteX124" fmla="*/ 634746 w 734307"/>
                <a:gd name="connsiteY124" fmla="*/ 561314 h 788699"/>
                <a:gd name="connsiteX125" fmla="*/ 634746 w 734307"/>
                <a:gd name="connsiteY125" fmla="*/ 566754 h 788699"/>
                <a:gd name="connsiteX126" fmla="*/ 634746 w 734307"/>
                <a:gd name="connsiteY126" fmla="*/ 583072 h 788699"/>
                <a:gd name="connsiteX127" fmla="*/ 637466 w 734307"/>
                <a:gd name="connsiteY127" fmla="*/ 607548 h 788699"/>
                <a:gd name="connsiteX128" fmla="*/ 640185 w 734307"/>
                <a:gd name="connsiteY128" fmla="*/ 618427 h 788699"/>
                <a:gd name="connsiteX129" fmla="*/ 640185 w 734307"/>
                <a:gd name="connsiteY129" fmla="*/ 632025 h 788699"/>
                <a:gd name="connsiteX130" fmla="*/ 640185 w 734307"/>
                <a:gd name="connsiteY130" fmla="*/ 640184 h 788699"/>
                <a:gd name="connsiteX131" fmla="*/ 642905 w 734307"/>
                <a:gd name="connsiteY131" fmla="*/ 659222 h 788699"/>
                <a:gd name="connsiteX132" fmla="*/ 642905 w 734307"/>
                <a:gd name="connsiteY132" fmla="*/ 664661 h 788699"/>
                <a:gd name="connsiteX133" fmla="*/ 653783 w 734307"/>
                <a:gd name="connsiteY133" fmla="*/ 678259 h 788699"/>
                <a:gd name="connsiteX134" fmla="*/ 653783 w 734307"/>
                <a:gd name="connsiteY134" fmla="*/ 678259 h 7886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</a:cxnLst>
              <a:rect l="l" t="t" r="r" b="b"/>
              <a:pathLst>
                <a:path w="734307" h="788699">
                  <a:moveTo>
                    <a:pt x="653783" y="678259"/>
                  </a:moveTo>
                  <a:cubicBezTo>
                    <a:pt x="667382" y="678259"/>
                    <a:pt x="691859" y="678259"/>
                    <a:pt x="691859" y="694577"/>
                  </a:cubicBezTo>
                  <a:cubicBezTo>
                    <a:pt x="691859" y="702736"/>
                    <a:pt x="689139" y="705456"/>
                    <a:pt x="686419" y="710895"/>
                  </a:cubicBezTo>
                  <a:cubicBezTo>
                    <a:pt x="683700" y="716335"/>
                    <a:pt x="675541" y="719054"/>
                    <a:pt x="670101" y="719054"/>
                  </a:cubicBezTo>
                  <a:cubicBezTo>
                    <a:pt x="661942" y="721774"/>
                    <a:pt x="653783" y="721774"/>
                    <a:pt x="648344" y="721774"/>
                  </a:cubicBezTo>
                  <a:cubicBezTo>
                    <a:pt x="645624" y="721774"/>
                    <a:pt x="634746" y="721774"/>
                    <a:pt x="618428" y="721774"/>
                  </a:cubicBezTo>
                  <a:cubicBezTo>
                    <a:pt x="604829" y="729933"/>
                    <a:pt x="588512" y="735372"/>
                    <a:pt x="572194" y="735372"/>
                  </a:cubicBezTo>
                  <a:cubicBezTo>
                    <a:pt x="564035" y="735372"/>
                    <a:pt x="553156" y="732653"/>
                    <a:pt x="544997" y="729933"/>
                  </a:cubicBezTo>
                  <a:cubicBezTo>
                    <a:pt x="539558" y="727213"/>
                    <a:pt x="536838" y="724494"/>
                    <a:pt x="534119" y="721774"/>
                  </a:cubicBezTo>
                  <a:cubicBezTo>
                    <a:pt x="520520" y="721774"/>
                    <a:pt x="509641" y="721774"/>
                    <a:pt x="496043" y="721774"/>
                  </a:cubicBezTo>
                  <a:cubicBezTo>
                    <a:pt x="487884" y="721774"/>
                    <a:pt x="479725" y="721774"/>
                    <a:pt x="471566" y="721774"/>
                  </a:cubicBezTo>
                  <a:cubicBezTo>
                    <a:pt x="463407" y="721774"/>
                    <a:pt x="452529" y="721774"/>
                    <a:pt x="444370" y="716335"/>
                  </a:cubicBezTo>
                  <a:cubicBezTo>
                    <a:pt x="436211" y="713615"/>
                    <a:pt x="428052" y="705456"/>
                    <a:pt x="428052" y="700017"/>
                  </a:cubicBezTo>
                  <a:cubicBezTo>
                    <a:pt x="428052" y="697297"/>
                    <a:pt x="428052" y="694577"/>
                    <a:pt x="433491" y="691858"/>
                  </a:cubicBezTo>
                  <a:cubicBezTo>
                    <a:pt x="438930" y="689138"/>
                    <a:pt x="449809" y="686418"/>
                    <a:pt x="455248" y="683699"/>
                  </a:cubicBezTo>
                  <a:cubicBezTo>
                    <a:pt x="474286" y="680979"/>
                    <a:pt x="498763" y="678259"/>
                    <a:pt x="506922" y="678259"/>
                  </a:cubicBezTo>
                  <a:cubicBezTo>
                    <a:pt x="506922" y="678259"/>
                    <a:pt x="509641" y="678259"/>
                    <a:pt x="509641" y="678259"/>
                  </a:cubicBezTo>
                  <a:cubicBezTo>
                    <a:pt x="509641" y="672820"/>
                    <a:pt x="506922" y="670101"/>
                    <a:pt x="506922" y="664661"/>
                  </a:cubicBezTo>
                  <a:cubicBezTo>
                    <a:pt x="501483" y="640184"/>
                    <a:pt x="501483" y="612988"/>
                    <a:pt x="498763" y="580352"/>
                  </a:cubicBezTo>
                  <a:cubicBezTo>
                    <a:pt x="496043" y="547716"/>
                    <a:pt x="498763" y="512361"/>
                    <a:pt x="496043" y="479725"/>
                  </a:cubicBezTo>
                  <a:cubicBezTo>
                    <a:pt x="493324" y="449808"/>
                    <a:pt x="493324" y="419892"/>
                    <a:pt x="493324" y="389976"/>
                  </a:cubicBezTo>
                  <a:cubicBezTo>
                    <a:pt x="493324" y="360060"/>
                    <a:pt x="490604" y="332863"/>
                    <a:pt x="490604" y="302947"/>
                  </a:cubicBezTo>
                  <a:cubicBezTo>
                    <a:pt x="487884" y="275751"/>
                    <a:pt x="487884" y="240395"/>
                    <a:pt x="487884" y="229516"/>
                  </a:cubicBezTo>
                  <a:cubicBezTo>
                    <a:pt x="487884" y="224077"/>
                    <a:pt x="487884" y="221357"/>
                    <a:pt x="485165" y="221357"/>
                  </a:cubicBezTo>
                  <a:cubicBezTo>
                    <a:pt x="485165" y="221357"/>
                    <a:pt x="482445" y="224077"/>
                    <a:pt x="482445" y="226797"/>
                  </a:cubicBezTo>
                  <a:cubicBezTo>
                    <a:pt x="479725" y="237675"/>
                    <a:pt x="479725" y="251274"/>
                    <a:pt x="477006" y="262152"/>
                  </a:cubicBezTo>
                  <a:cubicBezTo>
                    <a:pt x="471566" y="289349"/>
                    <a:pt x="466127" y="316545"/>
                    <a:pt x="460688" y="341022"/>
                  </a:cubicBezTo>
                  <a:cubicBezTo>
                    <a:pt x="455248" y="365499"/>
                    <a:pt x="447090" y="392696"/>
                    <a:pt x="444370" y="417173"/>
                  </a:cubicBezTo>
                  <a:cubicBezTo>
                    <a:pt x="441650" y="430771"/>
                    <a:pt x="438930" y="441650"/>
                    <a:pt x="436211" y="455248"/>
                  </a:cubicBezTo>
                  <a:cubicBezTo>
                    <a:pt x="433491" y="468846"/>
                    <a:pt x="428052" y="479725"/>
                    <a:pt x="425332" y="493323"/>
                  </a:cubicBezTo>
                  <a:cubicBezTo>
                    <a:pt x="422612" y="506921"/>
                    <a:pt x="419893" y="520520"/>
                    <a:pt x="411734" y="531398"/>
                  </a:cubicBezTo>
                  <a:cubicBezTo>
                    <a:pt x="406295" y="539557"/>
                    <a:pt x="395416" y="547716"/>
                    <a:pt x="376378" y="547716"/>
                  </a:cubicBezTo>
                  <a:cubicBezTo>
                    <a:pt x="357341" y="547716"/>
                    <a:pt x="335583" y="539557"/>
                    <a:pt x="319265" y="525959"/>
                  </a:cubicBezTo>
                  <a:cubicBezTo>
                    <a:pt x="300228" y="506921"/>
                    <a:pt x="294788" y="479725"/>
                    <a:pt x="289349" y="455248"/>
                  </a:cubicBezTo>
                  <a:cubicBezTo>
                    <a:pt x="283910" y="428051"/>
                    <a:pt x="278470" y="400855"/>
                    <a:pt x="273031" y="373658"/>
                  </a:cubicBezTo>
                  <a:cubicBezTo>
                    <a:pt x="273031" y="368219"/>
                    <a:pt x="267592" y="346462"/>
                    <a:pt x="262153" y="316545"/>
                  </a:cubicBezTo>
                  <a:cubicBezTo>
                    <a:pt x="256713" y="292068"/>
                    <a:pt x="251274" y="262152"/>
                    <a:pt x="245835" y="237675"/>
                  </a:cubicBezTo>
                  <a:cubicBezTo>
                    <a:pt x="240395" y="218638"/>
                    <a:pt x="237675" y="205039"/>
                    <a:pt x="234956" y="196881"/>
                  </a:cubicBezTo>
                  <a:cubicBezTo>
                    <a:pt x="232236" y="191441"/>
                    <a:pt x="232236" y="191441"/>
                    <a:pt x="232236" y="191441"/>
                  </a:cubicBezTo>
                  <a:cubicBezTo>
                    <a:pt x="229517" y="191441"/>
                    <a:pt x="229517" y="196881"/>
                    <a:pt x="226797" y="207759"/>
                  </a:cubicBezTo>
                  <a:cubicBezTo>
                    <a:pt x="226797" y="215918"/>
                    <a:pt x="226797" y="229516"/>
                    <a:pt x="226797" y="232236"/>
                  </a:cubicBezTo>
                  <a:cubicBezTo>
                    <a:pt x="226797" y="243115"/>
                    <a:pt x="224077" y="256713"/>
                    <a:pt x="224077" y="267592"/>
                  </a:cubicBezTo>
                  <a:cubicBezTo>
                    <a:pt x="224077" y="278470"/>
                    <a:pt x="224077" y="294788"/>
                    <a:pt x="221358" y="311106"/>
                  </a:cubicBezTo>
                  <a:cubicBezTo>
                    <a:pt x="221358" y="327424"/>
                    <a:pt x="218638" y="343742"/>
                    <a:pt x="218638" y="360060"/>
                  </a:cubicBezTo>
                  <a:cubicBezTo>
                    <a:pt x="218638" y="373658"/>
                    <a:pt x="215919" y="384537"/>
                    <a:pt x="215919" y="398135"/>
                  </a:cubicBezTo>
                  <a:cubicBezTo>
                    <a:pt x="215919" y="409014"/>
                    <a:pt x="213199" y="419892"/>
                    <a:pt x="213199" y="430771"/>
                  </a:cubicBezTo>
                  <a:cubicBezTo>
                    <a:pt x="213199" y="438930"/>
                    <a:pt x="213199" y="447089"/>
                    <a:pt x="213199" y="455248"/>
                  </a:cubicBezTo>
                  <a:cubicBezTo>
                    <a:pt x="213199" y="463407"/>
                    <a:pt x="213199" y="471566"/>
                    <a:pt x="213199" y="477005"/>
                  </a:cubicBezTo>
                  <a:cubicBezTo>
                    <a:pt x="210479" y="490603"/>
                    <a:pt x="207759" y="506921"/>
                    <a:pt x="207759" y="520520"/>
                  </a:cubicBezTo>
                  <a:cubicBezTo>
                    <a:pt x="202320" y="550436"/>
                    <a:pt x="199600" y="580352"/>
                    <a:pt x="196881" y="610268"/>
                  </a:cubicBezTo>
                  <a:cubicBezTo>
                    <a:pt x="196881" y="623866"/>
                    <a:pt x="196881" y="640184"/>
                    <a:pt x="194161" y="653783"/>
                  </a:cubicBezTo>
                  <a:cubicBezTo>
                    <a:pt x="194161" y="659222"/>
                    <a:pt x="194161" y="661942"/>
                    <a:pt x="191441" y="667381"/>
                  </a:cubicBezTo>
                  <a:cubicBezTo>
                    <a:pt x="213199" y="667381"/>
                    <a:pt x="232236" y="667381"/>
                    <a:pt x="243115" y="667381"/>
                  </a:cubicBezTo>
                  <a:cubicBezTo>
                    <a:pt x="253994" y="667381"/>
                    <a:pt x="273031" y="670101"/>
                    <a:pt x="273031" y="683699"/>
                  </a:cubicBezTo>
                  <a:cubicBezTo>
                    <a:pt x="273031" y="691858"/>
                    <a:pt x="267592" y="691858"/>
                    <a:pt x="262153" y="697297"/>
                  </a:cubicBezTo>
                  <a:cubicBezTo>
                    <a:pt x="259433" y="702736"/>
                    <a:pt x="253994" y="705456"/>
                    <a:pt x="248554" y="705456"/>
                  </a:cubicBezTo>
                  <a:cubicBezTo>
                    <a:pt x="240395" y="708176"/>
                    <a:pt x="234956" y="708176"/>
                    <a:pt x="232236" y="708176"/>
                  </a:cubicBezTo>
                  <a:cubicBezTo>
                    <a:pt x="226797" y="708176"/>
                    <a:pt x="175124" y="708176"/>
                    <a:pt x="166965" y="708176"/>
                  </a:cubicBezTo>
                  <a:cubicBezTo>
                    <a:pt x="156086" y="708176"/>
                    <a:pt x="120730" y="708176"/>
                    <a:pt x="109852" y="708176"/>
                  </a:cubicBezTo>
                  <a:cubicBezTo>
                    <a:pt x="104412" y="708176"/>
                    <a:pt x="96253" y="708176"/>
                    <a:pt x="90814" y="708176"/>
                  </a:cubicBezTo>
                  <a:cubicBezTo>
                    <a:pt x="85375" y="708176"/>
                    <a:pt x="77216" y="705456"/>
                    <a:pt x="69057" y="702736"/>
                  </a:cubicBezTo>
                  <a:cubicBezTo>
                    <a:pt x="63617" y="700017"/>
                    <a:pt x="58178" y="691858"/>
                    <a:pt x="58178" y="686418"/>
                  </a:cubicBezTo>
                  <a:cubicBezTo>
                    <a:pt x="58178" y="683699"/>
                    <a:pt x="58178" y="680979"/>
                    <a:pt x="60898" y="678259"/>
                  </a:cubicBezTo>
                  <a:cubicBezTo>
                    <a:pt x="63617" y="675540"/>
                    <a:pt x="71777" y="672820"/>
                    <a:pt x="77216" y="670101"/>
                  </a:cubicBezTo>
                  <a:cubicBezTo>
                    <a:pt x="90814" y="667381"/>
                    <a:pt x="120730" y="664661"/>
                    <a:pt x="126170" y="664661"/>
                  </a:cubicBezTo>
                  <a:cubicBezTo>
                    <a:pt x="128889" y="664661"/>
                    <a:pt x="134329" y="664661"/>
                    <a:pt x="142487" y="664661"/>
                  </a:cubicBezTo>
                  <a:cubicBezTo>
                    <a:pt x="142487" y="640184"/>
                    <a:pt x="147927" y="612988"/>
                    <a:pt x="147927" y="588511"/>
                  </a:cubicBezTo>
                  <a:cubicBezTo>
                    <a:pt x="150646" y="555875"/>
                    <a:pt x="153366" y="523239"/>
                    <a:pt x="153366" y="493323"/>
                  </a:cubicBezTo>
                  <a:cubicBezTo>
                    <a:pt x="153366" y="466126"/>
                    <a:pt x="156086" y="438930"/>
                    <a:pt x="156086" y="411733"/>
                  </a:cubicBezTo>
                  <a:cubicBezTo>
                    <a:pt x="158806" y="373658"/>
                    <a:pt x="158806" y="335583"/>
                    <a:pt x="161525" y="297508"/>
                  </a:cubicBezTo>
                  <a:cubicBezTo>
                    <a:pt x="161525" y="278470"/>
                    <a:pt x="164245" y="259433"/>
                    <a:pt x="166965" y="240395"/>
                  </a:cubicBezTo>
                  <a:cubicBezTo>
                    <a:pt x="169684" y="210479"/>
                    <a:pt x="172404" y="191441"/>
                    <a:pt x="177843" y="161525"/>
                  </a:cubicBezTo>
                  <a:cubicBezTo>
                    <a:pt x="180563" y="147927"/>
                    <a:pt x="180563" y="131609"/>
                    <a:pt x="183282" y="118011"/>
                  </a:cubicBezTo>
                  <a:cubicBezTo>
                    <a:pt x="183282" y="118011"/>
                    <a:pt x="183282" y="115291"/>
                    <a:pt x="183282" y="115291"/>
                  </a:cubicBezTo>
                  <a:cubicBezTo>
                    <a:pt x="177843" y="115291"/>
                    <a:pt x="172404" y="115291"/>
                    <a:pt x="161525" y="115291"/>
                  </a:cubicBezTo>
                  <a:cubicBezTo>
                    <a:pt x="153366" y="115291"/>
                    <a:pt x="145207" y="115291"/>
                    <a:pt x="137048" y="115291"/>
                  </a:cubicBezTo>
                  <a:cubicBezTo>
                    <a:pt x="128889" y="115291"/>
                    <a:pt x="118011" y="115291"/>
                    <a:pt x="109852" y="109851"/>
                  </a:cubicBezTo>
                  <a:cubicBezTo>
                    <a:pt x="101693" y="107132"/>
                    <a:pt x="93534" y="98973"/>
                    <a:pt x="93534" y="93534"/>
                  </a:cubicBezTo>
                  <a:cubicBezTo>
                    <a:pt x="93534" y="90814"/>
                    <a:pt x="93534" y="88094"/>
                    <a:pt x="98973" y="85375"/>
                  </a:cubicBezTo>
                  <a:cubicBezTo>
                    <a:pt x="104412" y="82655"/>
                    <a:pt x="115291" y="79935"/>
                    <a:pt x="120730" y="77216"/>
                  </a:cubicBezTo>
                  <a:cubicBezTo>
                    <a:pt x="139768" y="74496"/>
                    <a:pt x="164245" y="71776"/>
                    <a:pt x="172404" y="71776"/>
                  </a:cubicBezTo>
                  <a:cubicBezTo>
                    <a:pt x="194161" y="71776"/>
                    <a:pt x="210479" y="69057"/>
                    <a:pt x="234956" y="69057"/>
                  </a:cubicBezTo>
                  <a:cubicBezTo>
                    <a:pt x="237675" y="69057"/>
                    <a:pt x="240395" y="69057"/>
                    <a:pt x="243115" y="69057"/>
                  </a:cubicBezTo>
                  <a:cubicBezTo>
                    <a:pt x="251274" y="69057"/>
                    <a:pt x="262153" y="69057"/>
                    <a:pt x="270312" y="74496"/>
                  </a:cubicBezTo>
                  <a:cubicBezTo>
                    <a:pt x="283910" y="82655"/>
                    <a:pt x="300228" y="96253"/>
                    <a:pt x="308387" y="123450"/>
                  </a:cubicBezTo>
                  <a:cubicBezTo>
                    <a:pt x="316546" y="147927"/>
                    <a:pt x="327424" y="175123"/>
                    <a:pt x="332864" y="202320"/>
                  </a:cubicBezTo>
                  <a:cubicBezTo>
                    <a:pt x="335583" y="213198"/>
                    <a:pt x="335583" y="226797"/>
                    <a:pt x="338303" y="237675"/>
                  </a:cubicBezTo>
                  <a:cubicBezTo>
                    <a:pt x="343742" y="251274"/>
                    <a:pt x="346462" y="264872"/>
                    <a:pt x="349182" y="281190"/>
                  </a:cubicBezTo>
                  <a:cubicBezTo>
                    <a:pt x="351901" y="292068"/>
                    <a:pt x="351901" y="305667"/>
                    <a:pt x="357341" y="316545"/>
                  </a:cubicBezTo>
                  <a:cubicBezTo>
                    <a:pt x="362780" y="327424"/>
                    <a:pt x="362780" y="338303"/>
                    <a:pt x="365500" y="351901"/>
                  </a:cubicBezTo>
                  <a:cubicBezTo>
                    <a:pt x="365500" y="357340"/>
                    <a:pt x="373658" y="373658"/>
                    <a:pt x="376378" y="389976"/>
                  </a:cubicBezTo>
                  <a:cubicBezTo>
                    <a:pt x="381817" y="403574"/>
                    <a:pt x="384537" y="414453"/>
                    <a:pt x="387257" y="414453"/>
                  </a:cubicBezTo>
                  <a:cubicBezTo>
                    <a:pt x="392696" y="414453"/>
                    <a:pt x="395416" y="381817"/>
                    <a:pt x="398136" y="376378"/>
                  </a:cubicBezTo>
                  <a:cubicBezTo>
                    <a:pt x="400855" y="362779"/>
                    <a:pt x="403575" y="346462"/>
                    <a:pt x="406295" y="332863"/>
                  </a:cubicBezTo>
                  <a:cubicBezTo>
                    <a:pt x="411734" y="302947"/>
                    <a:pt x="417173" y="273031"/>
                    <a:pt x="425332" y="243115"/>
                  </a:cubicBezTo>
                  <a:cubicBezTo>
                    <a:pt x="430771" y="213198"/>
                    <a:pt x="436211" y="180563"/>
                    <a:pt x="444370" y="150646"/>
                  </a:cubicBezTo>
                  <a:cubicBezTo>
                    <a:pt x="449809" y="126170"/>
                    <a:pt x="460688" y="98973"/>
                    <a:pt x="477006" y="79935"/>
                  </a:cubicBezTo>
                  <a:cubicBezTo>
                    <a:pt x="487884" y="66337"/>
                    <a:pt x="506922" y="58178"/>
                    <a:pt x="523240" y="58178"/>
                  </a:cubicBezTo>
                  <a:cubicBezTo>
                    <a:pt x="528679" y="58178"/>
                    <a:pt x="539558" y="58178"/>
                    <a:pt x="544997" y="63617"/>
                  </a:cubicBezTo>
                  <a:lnTo>
                    <a:pt x="612988" y="63617"/>
                  </a:lnTo>
                  <a:cubicBezTo>
                    <a:pt x="626587" y="63617"/>
                    <a:pt x="651064" y="63617"/>
                    <a:pt x="651064" y="79935"/>
                  </a:cubicBezTo>
                  <a:cubicBezTo>
                    <a:pt x="651064" y="88094"/>
                    <a:pt x="648344" y="88094"/>
                    <a:pt x="645624" y="96253"/>
                  </a:cubicBezTo>
                  <a:cubicBezTo>
                    <a:pt x="640185" y="101693"/>
                    <a:pt x="634746" y="104412"/>
                    <a:pt x="629307" y="104412"/>
                  </a:cubicBezTo>
                  <a:cubicBezTo>
                    <a:pt x="621147" y="107132"/>
                    <a:pt x="612988" y="107132"/>
                    <a:pt x="607549" y="107132"/>
                  </a:cubicBezTo>
                  <a:cubicBezTo>
                    <a:pt x="604829" y="107132"/>
                    <a:pt x="591231" y="107132"/>
                    <a:pt x="580353" y="107132"/>
                  </a:cubicBezTo>
                  <a:cubicBezTo>
                    <a:pt x="580353" y="109851"/>
                    <a:pt x="583072" y="112571"/>
                    <a:pt x="583072" y="115291"/>
                  </a:cubicBezTo>
                  <a:cubicBezTo>
                    <a:pt x="585792" y="128889"/>
                    <a:pt x="585792" y="142487"/>
                    <a:pt x="588512" y="156086"/>
                  </a:cubicBezTo>
                  <a:cubicBezTo>
                    <a:pt x="591231" y="169684"/>
                    <a:pt x="591231" y="183282"/>
                    <a:pt x="593951" y="196881"/>
                  </a:cubicBezTo>
                  <a:cubicBezTo>
                    <a:pt x="593951" y="207759"/>
                    <a:pt x="599390" y="215918"/>
                    <a:pt x="599390" y="226797"/>
                  </a:cubicBezTo>
                  <a:cubicBezTo>
                    <a:pt x="599390" y="229516"/>
                    <a:pt x="599390" y="229516"/>
                    <a:pt x="599390" y="232236"/>
                  </a:cubicBezTo>
                  <a:cubicBezTo>
                    <a:pt x="599390" y="234956"/>
                    <a:pt x="599390" y="237675"/>
                    <a:pt x="599390" y="240395"/>
                  </a:cubicBezTo>
                  <a:cubicBezTo>
                    <a:pt x="599390" y="251274"/>
                    <a:pt x="599390" y="259433"/>
                    <a:pt x="602110" y="270311"/>
                  </a:cubicBezTo>
                  <a:cubicBezTo>
                    <a:pt x="604829" y="283909"/>
                    <a:pt x="607549" y="294788"/>
                    <a:pt x="607549" y="308386"/>
                  </a:cubicBezTo>
                  <a:cubicBezTo>
                    <a:pt x="607549" y="311106"/>
                    <a:pt x="607549" y="316545"/>
                    <a:pt x="607549" y="319265"/>
                  </a:cubicBezTo>
                  <a:cubicBezTo>
                    <a:pt x="607549" y="324704"/>
                    <a:pt x="610269" y="330144"/>
                    <a:pt x="612988" y="335583"/>
                  </a:cubicBezTo>
                  <a:cubicBezTo>
                    <a:pt x="612988" y="338303"/>
                    <a:pt x="612988" y="343742"/>
                    <a:pt x="612988" y="346462"/>
                  </a:cubicBezTo>
                  <a:cubicBezTo>
                    <a:pt x="612988" y="354620"/>
                    <a:pt x="612988" y="362779"/>
                    <a:pt x="612988" y="370939"/>
                  </a:cubicBezTo>
                  <a:cubicBezTo>
                    <a:pt x="612988" y="379097"/>
                    <a:pt x="612988" y="387256"/>
                    <a:pt x="612988" y="395415"/>
                  </a:cubicBezTo>
                  <a:cubicBezTo>
                    <a:pt x="612988" y="403574"/>
                    <a:pt x="615708" y="414453"/>
                    <a:pt x="615708" y="422612"/>
                  </a:cubicBezTo>
                  <a:cubicBezTo>
                    <a:pt x="618428" y="430771"/>
                    <a:pt x="618428" y="436210"/>
                    <a:pt x="618428" y="441650"/>
                  </a:cubicBezTo>
                  <a:cubicBezTo>
                    <a:pt x="618428" y="444369"/>
                    <a:pt x="618428" y="449808"/>
                    <a:pt x="618428" y="455248"/>
                  </a:cubicBezTo>
                  <a:cubicBezTo>
                    <a:pt x="618428" y="460687"/>
                    <a:pt x="618428" y="460687"/>
                    <a:pt x="621147" y="463407"/>
                  </a:cubicBezTo>
                  <a:cubicBezTo>
                    <a:pt x="623867" y="471566"/>
                    <a:pt x="623867" y="477005"/>
                    <a:pt x="626587" y="482444"/>
                  </a:cubicBezTo>
                  <a:cubicBezTo>
                    <a:pt x="629307" y="493323"/>
                    <a:pt x="629307" y="506921"/>
                    <a:pt x="629307" y="517800"/>
                  </a:cubicBezTo>
                  <a:cubicBezTo>
                    <a:pt x="632026" y="534118"/>
                    <a:pt x="632026" y="547716"/>
                    <a:pt x="634746" y="561314"/>
                  </a:cubicBezTo>
                  <a:cubicBezTo>
                    <a:pt x="634746" y="564034"/>
                    <a:pt x="634746" y="564034"/>
                    <a:pt x="634746" y="566754"/>
                  </a:cubicBezTo>
                  <a:cubicBezTo>
                    <a:pt x="634746" y="572193"/>
                    <a:pt x="634746" y="577632"/>
                    <a:pt x="634746" y="583072"/>
                  </a:cubicBezTo>
                  <a:cubicBezTo>
                    <a:pt x="634746" y="596670"/>
                    <a:pt x="637466" y="602109"/>
                    <a:pt x="637466" y="607548"/>
                  </a:cubicBezTo>
                  <a:cubicBezTo>
                    <a:pt x="637466" y="610268"/>
                    <a:pt x="640185" y="615708"/>
                    <a:pt x="640185" y="618427"/>
                  </a:cubicBezTo>
                  <a:cubicBezTo>
                    <a:pt x="640185" y="623866"/>
                    <a:pt x="640185" y="629306"/>
                    <a:pt x="640185" y="632025"/>
                  </a:cubicBezTo>
                  <a:cubicBezTo>
                    <a:pt x="640185" y="634745"/>
                    <a:pt x="640185" y="637465"/>
                    <a:pt x="640185" y="640184"/>
                  </a:cubicBezTo>
                  <a:cubicBezTo>
                    <a:pt x="640185" y="645624"/>
                    <a:pt x="642905" y="653783"/>
                    <a:pt x="642905" y="659222"/>
                  </a:cubicBezTo>
                  <a:cubicBezTo>
                    <a:pt x="642905" y="661942"/>
                    <a:pt x="642905" y="661942"/>
                    <a:pt x="642905" y="664661"/>
                  </a:cubicBezTo>
                  <a:cubicBezTo>
                    <a:pt x="645624" y="678259"/>
                    <a:pt x="651064" y="678259"/>
                    <a:pt x="653783" y="678259"/>
                  </a:cubicBezTo>
                  <a:lnTo>
                    <a:pt x="653783" y="678259"/>
                  </a:ln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5" name="Freeform: Shape 44">
              <a:extLst>
                <a:ext uri="{FF2B5EF4-FFF2-40B4-BE49-F238E27FC236}">
                  <a16:creationId xmlns:a16="http://schemas.microsoft.com/office/drawing/2014/main" id="{9F0A9BCD-4E63-42B7-9992-63F009834CC8}"/>
                </a:ext>
              </a:extLst>
            </p:cNvPr>
            <p:cNvSpPr/>
            <p:nvPr/>
          </p:nvSpPr>
          <p:spPr bwMode="black">
            <a:xfrm>
              <a:off x="6362526" y="4242177"/>
              <a:ext cx="492259" cy="674476"/>
            </a:xfrm>
            <a:custGeom>
              <a:avLst/>
              <a:gdLst>
                <a:gd name="connsiteX0" fmla="*/ 225733 w 492259"/>
                <a:gd name="connsiteY0" fmla="*/ 97907 h 674476"/>
                <a:gd name="connsiteX1" fmla="*/ 209415 w 492259"/>
                <a:gd name="connsiteY1" fmla="*/ 119665 h 674476"/>
                <a:gd name="connsiteX2" fmla="*/ 201256 w 492259"/>
                <a:gd name="connsiteY2" fmla="*/ 152300 h 674476"/>
                <a:gd name="connsiteX3" fmla="*/ 198536 w 492259"/>
                <a:gd name="connsiteY3" fmla="*/ 168618 h 674476"/>
                <a:gd name="connsiteX4" fmla="*/ 195817 w 492259"/>
                <a:gd name="connsiteY4" fmla="*/ 184936 h 674476"/>
                <a:gd name="connsiteX5" fmla="*/ 187658 w 492259"/>
                <a:gd name="connsiteY5" fmla="*/ 220292 h 674476"/>
                <a:gd name="connsiteX6" fmla="*/ 168620 w 492259"/>
                <a:gd name="connsiteY6" fmla="*/ 291003 h 674476"/>
                <a:gd name="connsiteX7" fmla="*/ 160461 w 492259"/>
                <a:gd name="connsiteY7" fmla="*/ 323639 h 674476"/>
                <a:gd name="connsiteX8" fmla="*/ 149582 w 492259"/>
                <a:gd name="connsiteY8" fmla="*/ 361714 h 674476"/>
                <a:gd name="connsiteX9" fmla="*/ 144143 w 492259"/>
                <a:gd name="connsiteY9" fmla="*/ 388910 h 674476"/>
                <a:gd name="connsiteX10" fmla="*/ 149582 w 492259"/>
                <a:gd name="connsiteY10" fmla="*/ 391630 h 674476"/>
                <a:gd name="connsiteX11" fmla="*/ 171340 w 492259"/>
                <a:gd name="connsiteY11" fmla="*/ 391630 h 674476"/>
                <a:gd name="connsiteX12" fmla="*/ 193097 w 492259"/>
                <a:gd name="connsiteY12" fmla="*/ 388910 h 674476"/>
                <a:gd name="connsiteX13" fmla="*/ 212135 w 492259"/>
                <a:gd name="connsiteY13" fmla="*/ 388910 h 674476"/>
                <a:gd name="connsiteX14" fmla="*/ 236611 w 492259"/>
                <a:gd name="connsiteY14" fmla="*/ 388910 h 674476"/>
                <a:gd name="connsiteX15" fmla="*/ 250210 w 492259"/>
                <a:gd name="connsiteY15" fmla="*/ 386191 h 674476"/>
                <a:gd name="connsiteX16" fmla="*/ 258369 w 492259"/>
                <a:gd name="connsiteY16" fmla="*/ 386191 h 674476"/>
                <a:gd name="connsiteX17" fmla="*/ 255649 w 492259"/>
                <a:gd name="connsiteY17" fmla="*/ 367153 h 674476"/>
                <a:gd name="connsiteX18" fmla="*/ 250210 w 492259"/>
                <a:gd name="connsiteY18" fmla="*/ 331797 h 674476"/>
                <a:gd name="connsiteX19" fmla="*/ 247490 w 492259"/>
                <a:gd name="connsiteY19" fmla="*/ 244769 h 674476"/>
                <a:gd name="connsiteX20" fmla="*/ 242051 w 492259"/>
                <a:gd name="connsiteY20" fmla="*/ 203974 h 674476"/>
                <a:gd name="connsiteX21" fmla="*/ 236611 w 492259"/>
                <a:gd name="connsiteY21" fmla="*/ 157740 h 674476"/>
                <a:gd name="connsiteX22" fmla="*/ 233892 w 492259"/>
                <a:gd name="connsiteY22" fmla="*/ 119665 h 674476"/>
                <a:gd name="connsiteX23" fmla="*/ 225733 w 492259"/>
                <a:gd name="connsiteY23" fmla="*/ 97907 h 674476"/>
                <a:gd name="connsiteX24" fmla="*/ 274687 w 492259"/>
                <a:gd name="connsiteY24" fmla="*/ 0 h 674476"/>
                <a:gd name="connsiteX25" fmla="*/ 304603 w 492259"/>
                <a:gd name="connsiteY25" fmla="*/ 5439 h 674476"/>
                <a:gd name="connsiteX26" fmla="*/ 320921 w 492259"/>
                <a:gd name="connsiteY26" fmla="*/ 24477 h 674476"/>
                <a:gd name="connsiteX27" fmla="*/ 334519 w 492259"/>
                <a:gd name="connsiteY27" fmla="*/ 43515 h 674476"/>
                <a:gd name="connsiteX28" fmla="*/ 339959 w 492259"/>
                <a:gd name="connsiteY28" fmla="*/ 65272 h 674476"/>
                <a:gd name="connsiteX29" fmla="*/ 348118 w 492259"/>
                <a:gd name="connsiteY29" fmla="*/ 114226 h 674476"/>
                <a:gd name="connsiteX30" fmla="*/ 361716 w 492259"/>
                <a:gd name="connsiteY30" fmla="*/ 163180 h 674476"/>
                <a:gd name="connsiteX31" fmla="*/ 369875 w 492259"/>
                <a:gd name="connsiteY31" fmla="*/ 220293 h 674476"/>
                <a:gd name="connsiteX32" fmla="*/ 378034 w 492259"/>
                <a:gd name="connsiteY32" fmla="*/ 274686 h 674476"/>
                <a:gd name="connsiteX33" fmla="*/ 383473 w 492259"/>
                <a:gd name="connsiteY33" fmla="*/ 301883 h 674476"/>
                <a:gd name="connsiteX34" fmla="*/ 391632 w 492259"/>
                <a:gd name="connsiteY34" fmla="*/ 337238 h 674476"/>
                <a:gd name="connsiteX35" fmla="*/ 397071 w 492259"/>
                <a:gd name="connsiteY35" fmla="*/ 364435 h 674476"/>
                <a:gd name="connsiteX36" fmla="*/ 405230 w 492259"/>
                <a:gd name="connsiteY36" fmla="*/ 383473 h 674476"/>
                <a:gd name="connsiteX37" fmla="*/ 416109 w 492259"/>
                <a:gd name="connsiteY37" fmla="*/ 386192 h 674476"/>
                <a:gd name="connsiteX38" fmla="*/ 426988 w 492259"/>
                <a:gd name="connsiteY38" fmla="*/ 386192 h 674476"/>
                <a:gd name="connsiteX39" fmla="*/ 454184 w 492259"/>
                <a:gd name="connsiteY39" fmla="*/ 397071 h 674476"/>
                <a:gd name="connsiteX40" fmla="*/ 456904 w 492259"/>
                <a:gd name="connsiteY40" fmla="*/ 405230 h 674476"/>
                <a:gd name="connsiteX41" fmla="*/ 451464 w 492259"/>
                <a:gd name="connsiteY41" fmla="*/ 416108 h 674476"/>
                <a:gd name="connsiteX42" fmla="*/ 432427 w 492259"/>
                <a:gd name="connsiteY42" fmla="*/ 429707 h 674476"/>
                <a:gd name="connsiteX43" fmla="*/ 421548 w 492259"/>
                <a:gd name="connsiteY43" fmla="*/ 432426 h 674476"/>
                <a:gd name="connsiteX44" fmla="*/ 413389 w 492259"/>
                <a:gd name="connsiteY44" fmla="*/ 435146 h 674476"/>
                <a:gd name="connsiteX45" fmla="*/ 413389 w 492259"/>
                <a:gd name="connsiteY45" fmla="*/ 440585 h 674476"/>
                <a:gd name="connsiteX46" fmla="*/ 416109 w 492259"/>
                <a:gd name="connsiteY46" fmla="*/ 451464 h 674476"/>
                <a:gd name="connsiteX47" fmla="*/ 418829 w 492259"/>
                <a:gd name="connsiteY47" fmla="*/ 465062 h 674476"/>
                <a:gd name="connsiteX48" fmla="*/ 418829 w 492259"/>
                <a:gd name="connsiteY48" fmla="*/ 475941 h 674476"/>
                <a:gd name="connsiteX49" fmla="*/ 418829 w 492259"/>
                <a:gd name="connsiteY49" fmla="*/ 486820 h 674476"/>
                <a:gd name="connsiteX50" fmla="*/ 426988 w 492259"/>
                <a:gd name="connsiteY50" fmla="*/ 516736 h 674476"/>
                <a:gd name="connsiteX51" fmla="*/ 432427 w 492259"/>
                <a:gd name="connsiteY51" fmla="*/ 543932 h 674476"/>
                <a:gd name="connsiteX52" fmla="*/ 437866 w 492259"/>
                <a:gd name="connsiteY52" fmla="*/ 573848 h 674476"/>
                <a:gd name="connsiteX53" fmla="*/ 443306 w 492259"/>
                <a:gd name="connsiteY53" fmla="*/ 606484 h 674476"/>
                <a:gd name="connsiteX54" fmla="*/ 446025 w 492259"/>
                <a:gd name="connsiteY54" fmla="*/ 617363 h 674476"/>
                <a:gd name="connsiteX55" fmla="*/ 470502 w 492259"/>
                <a:gd name="connsiteY55" fmla="*/ 617363 h 674476"/>
                <a:gd name="connsiteX56" fmla="*/ 492259 w 492259"/>
                <a:gd name="connsiteY56" fmla="*/ 641840 h 674476"/>
                <a:gd name="connsiteX57" fmla="*/ 484101 w 492259"/>
                <a:gd name="connsiteY57" fmla="*/ 655438 h 674476"/>
                <a:gd name="connsiteX58" fmla="*/ 467782 w 492259"/>
                <a:gd name="connsiteY58" fmla="*/ 663597 h 674476"/>
                <a:gd name="connsiteX59" fmla="*/ 443306 w 492259"/>
                <a:gd name="connsiteY59" fmla="*/ 666317 h 674476"/>
                <a:gd name="connsiteX60" fmla="*/ 421548 w 492259"/>
                <a:gd name="connsiteY60" fmla="*/ 666317 h 674476"/>
                <a:gd name="connsiteX61" fmla="*/ 413389 w 492259"/>
                <a:gd name="connsiteY61" fmla="*/ 666317 h 674476"/>
                <a:gd name="connsiteX62" fmla="*/ 399791 w 492259"/>
                <a:gd name="connsiteY62" fmla="*/ 671756 h 674476"/>
                <a:gd name="connsiteX63" fmla="*/ 383473 w 492259"/>
                <a:gd name="connsiteY63" fmla="*/ 674476 h 674476"/>
                <a:gd name="connsiteX64" fmla="*/ 348118 w 492259"/>
                <a:gd name="connsiteY64" fmla="*/ 669036 h 674476"/>
                <a:gd name="connsiteX65" fmla="*/ 326360 w 492259"/>
                <a:gd name="connsiteY65" fmla="*/ 669036 h 674476"/>
                <a:gd name="connsiteX66" fmla="*/ 277406 w 492259"/>
                <a:gd name="connsiteY66" fmla="*/ 669036 h 674476"/>
                <a:gd name="connsiteX67" fmla="*/ 252930 w 492259"/>
                <a:gd name="connsiteY67" fmla="*/ 663597 h 674476"/>
                <a:gd name="connsiteX68" fmla="*/ 236611 w 492259"/>
                <a:gd name="connsiteY68" fmla="*/ 647279 h 674476"/>
                <a:gd name="connsiteX69" fmla="*/ 261088 w 492259"/>
                <a:gd name="connsiteY69" fmla="*/ 630961 h 674476"/>
                <a:gd name="connsiteX70" fmla="*/ 288285 w 492259"/>
                <a:gd name="connsiteY70" fmla="*/ 628241 h 674476"/>
                <a:gd name="connsiteX71" fmla="*/ 285565 w 492259"/>
                <a:gd name="connsiteY71" fmla="*/ 609204 h 674476"/>
                <a:gd name="connsiteX72" fmla="*/ 282846 w 492259"/>
                <a:gd name="connsiteY72" fmla="*/ 582007 h 674476"/>
                <a:gd name="connsiteX73" fmla="*/ 280126 w 492259"/>
                <a:gd name="connsiteY73" fmla="*/ 568409 h 674476"/>
                <a:gd name="connsiteX74" fmla="*/ 282846 w 492259"/>
                <a:gd name="connsiteY74" fmla="*/ 554811 h 674476"/>
                <a:gd name="connsiteX75" fmla="*/ 277406 w 492259"/>
                <a:gd name="connsiteY75" fmla="*/ 538493 h 674476"/>
                <a:gd name="connsiteX76" fmla="*/ 271967 w 492259"/>
                <a:gd name="connsiteY76" fmla="*/ 505857 h 674476"/>
                <a:gd name="connsiteX77" fmla="*/ 269247 w 492259"/>
                <a:gd name="connsiteY77" fmla="*/ 478660 h 674476"/>
                <a:gd name="connsiteX78" fmla="*/ 266528 w 492259"/>
                <a:gd name="connsiteY78" fmla="*/ 446025 h 674476"/>
                <a:gd name="connsiteX79" fmla="*/ 261088 w 492259"/>
                <a:gd name="connsiteY79" fmla="*/ 437866 h 674476"/>
                <a:gd name="connsiteX80" fmla="*/ 250210 w 492259"/>
                <a:gd name="connsiteY80" fmla="*/ 437866 h 674476"/>
                <a:gd name="connsiteX81" fmla="*/ 220293 w 492259"/>
                <a:gd name="connsiteY81" fmla="*/ 440585 h 674476"/>
                <a:gd name="connsiteX82" fmla="*/ 190377 w 492259"/>
                <a:gd name="connsiteY82" fmla="*/ 443305 h 674476"/>
                <a:gd name="connsiteX83" fmla="*/ 165900 w 492259"/>
                <a:gd name="connsiteY83" fmla="*/ 443305 h 674476"/>
                <a:gd name="connsiteX84" fmla="*/ 144143 w 492259"/>
                <a:gd name="connsiteY84" fmla="*/ 440585 h 674476"/>
                <a:gd name="connsiteX85" fmla="*/ 135984 w 492259"/>
                <a:gd name="connsiteY85" fmla="*/ 454184 h 674476"/>
                <a:gd name="connsiteX86" fmla="*/ 130545 w 492259"/>
                <a:gd name="connsiteY86" fmla="*/ 486820 h 674476"/>
                <a:gd name="connsiteX87" fmla="*/ 119666 w 492259"/>
                <a:gd name="connsiteY87" fmla="*/ 541213 h 674476"/>
                <a:gd name="connsiteX88" fmla="*/ 103348 w 492259"/>
                <a:gd name="connsiteY88" fmla="*/ 614643 h 674476"/>
                <a:gd name="connsiteX89" fmla="*/ 133264 w 492259"/>
                <a:gd name="connsiteY89" fmla="*/ 614643 h 674476"/>
                <a:gd name="connsiteX90" fmla="*/ 168620 w 492259"/>
                <a:gd name="connsiteY90" fmla="*/ 630961 h 674476"/>
                <a:gd name="connsiteX91" fmla="*/ 163181 w 492259"/>
                <a:gd name="connsiteY91" fmla="*/ 647279 h 674476"/>
                <a:gd name="connsiteX92" fmla="*/ 146863 w 492259"/>
                <a:gd name="connsiteY92" fmla="*/ 655438 h 674476"/>
                <a:gd name="connsiteX93" fmla="*/ 127825 w 492259"/>
                <a:gd name="connsiteY93" fmla="*/ 658158 h 674476"/>
                <a:gd name="connsiteX94" fmla="*/ 106068 w 492259"/>
                <a:gd name="connsiteY94" fmla="*/ 658158 h 674476"/>
                <a:gd name="connsiteX95" fmla="*/ 62552 w 492259"/>
                <a:gd name="connsiteY95" fmla="*/ 658158 h 674476"/>
                <a:gd name="connsiteX96" fmla="*/ 40795 w 492259"/>
                <a:gd name="connsiteY96" fmla="*/ 658158 h 674476"/>
                <a:gd name="connsiteX97" fmla="*/ 16318 w 492259"/>
                <a:gd name="connsiteY97" fmla="*/ 652718 h 674476"/>
                <a:gd name="connsiteX98" fmla="*/ 0 w 492259"/>
                <a:gd name="connsiteY98" fmla="*/ 636401 h 674476"/>
                <a:gd name="connsiteX99" fmla="*/ 2720 w 492259"/>
                <a:gd name="connsiteY99" fmla="*/ 628241 h 674476"/>
                <a:gd name="connsiteX100" fmla="*/ 24477 w 492259"/>
                <a:gd name="connsiteY100" fmla="*/ 620082 h 674476"/>
                <a:gd name="connsiteX101" fmla="*/ 62552 w 492259"/>
                <a:gd name="connsiteY101" fmla="*/ 617363 h 674476"/>
                <a:gd name="connsiteX102" fmla="*/ 62552 w 492259"/>
                <a:gd name="connsiteY102" fmla="*/ 614643 h 674476"/>
                <a:gd name="connsiteX103" fmla="*/ 65272 w 492259"/>
                <a:gd name="connsiteY103" fmla="*/ 587447 h 674476"/>
                <a:gd name="connsiteX104" fmla="*/ 76151 w 492259"/>
                <a:gd name="connsiteY104" fmla="*/ 522175 h 674476"/>
                <a:gd name="connsiteX105" fmla="*/ 87029 w 492259"/>
                <a:gd name="connsiteY105" fmla="*/ 470501 h 674476"/>
                <a:gd name="connsiteX106" fmla="*/ 92468 w 492259"/>
                <a:gd name="connsiteY106" fmla="*/ 446025 h 674476"/>
                <a:gd name="connsiteX107" fmla="*/ 65272 w 492259"/>
                <a:gd name="connsiteY107" fmla="*/ 432426 h 674476"/>
                <a:gd name="connsiteX108" fmla="*/ 54393 w 492259"/>
                <a:gd name="connsiteY108" fmla="*/ 421548 h 674476"/>
                <a:gd name="connsiteX109" fmla="*/ 73431 w 492259"/>
                <a:gd name="connsiteY109" fmla="*/ 407949 h 674476"/>
                <a:gd name="connsiteX110" fmla="*/ 100629 w 492259"/>
                <a:gd name="connsiteY110" fmla="*/ 399790 h 674476"/>
                <a:gd name="connsiteX111" fmla="*/ 108788 w 492259"/>
                <a:gd name="connsiteY111" fmla="*/ 369874 h 674476"/>
                <a:gd name="connsiteX112" fmla="*/ 125105 w 492259"/>
                <a:gd name="connsiteY112" fmla="*/ 307322 h 674476"/>
                <a:gd name="connsiteX113" fmla="*/ 141423 w 492259"/>
                <a:gd name="connsiteY113" fmla="*/ 242051 h 674476"/>
                <a:gd name="connsiteX114" fmla="*/ 155022 w 492259"/>
                <a:gd name="connsiteY114" fmla="*/ 179498 h 674476"/>
                <a:gd name="connsiteX115" fmla="*/ 168620 w 492259"/>
                <a:gd name="connsiteY115" fmla="*/ 119665 h 674476"/>
                <a:gd name="connsiteX116" fmla="*/ 193097 w 492259"/>
                <a:gd name="connsiteY116" fmla="*/ 57113 h 674476"/>
                <a:gd name="connsiteX117" fmla="*/ 201256 w 492259"/>
                <a:gd name="connsiteY117" fmla="*/ 38075 h 674476"/>
                <a:gd name="connsiteX118" fmla="*/ 217574 w 492259"/>
                <a:gd name="connsiteY118" fmla="*/ 13598 h 674476"/>
                <a:gd name="connsiteX119" fmla="*/ 274687 w 492259"/>
                <a:gd name="connsiteY119" fmla="*/ 0 h 6744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</a:cxnLst>
              <a:rect l="l" t="t" r="r" b="b"/>
              <a:pathLst>
                <a:path w="492259" h="674476">
                  <a:moveTo>
                    <a:pt x="225733" y="97907"/>
                  </a:moveTo>
                  <a:cubicBezTo>
                    <a:pt x="217574" y="97907"/>
                    <a:pt x="209415" y="114225"/>
                    <a:pt x="209415" y="119665"/>
                  </a:cubicBezTo>
                  <a:cubicBezTo>
                    <a:pt x="206695" y="130543"/>
                    <a:pt x="203976" y="144141"/>
                    <a:pt x="201256" y="152300"/>
                  </a:cubicBezTo>
                  <a:cubicBezTo>
                    <a:pt x="198536" y="157740"/>
                    <a:pt x="198536" y="163179"/>
                    <a:pt x="198536" y="168618"/>
                  </a:cubicBezTo>
                  <a:cubicBezTo>
                    <a:pt x="198536" y="174058"/>
                    <a:pt x="195817" y="179497"/>
                    <a:pt x="195817" y="184936"/>
                  </a:cubicBezTo>
                  <a:cubicBezTo>
                    <a:pt x="193097" y="195815"/>
                    <a:pt x="190377" y="209413"/>
                    <a:pt x="187658" y="220292"/>
                  </a:cubicBezTo>
                  <a:cubicBezTo>
                    <a:pt x="184938" y="244769"/>
                    <a:pt x="176779" y="269246"/>
                    <a:pt x="168620" y="291003"/>
                  </a:cubicBezTo>
                  <a:cubicBezTo>
                    <a:pt x="165900" y="301881"/>
                    <a:pt x="163181" y="312760"/>
                    <a:pt x="160461" y="323639"/>
                  </a:cubicBezTo>
                  <a:cubicBezTo>
                    <a:pt x="157742" y="337237"/>
                    <a:pt x="155022" y="348115"/>
                    <a:pt x="149582" y="361714"/>
                  </a:cubicBezTo>
                  <a:cubicBezTo>
                    <a:pt x="146863" y="367153"/>
                    <a:pt x="144143" y="383471"/>
                    <a:pt x="144143" y="388910"/>
                  </a:cubicBezTo>
                  <a:cubicBezTo>
                    <a:pt x="144143" y="391630"/>
                    <a:pt x="146863" y="391630"/>
                    <a:pt x="149582" y="391630"/>
                  </a:cubicBezTo>
                  <a:cubicBezTo>
                    <a:pt x="155022" y="391630"/>
                    <a:pt x="168620" y="391630"/>
                    <a:pt x="171340" y="391630"/>
                  </a:cubicBezTo>
                  <a:cubicBezTo>
                    <a:pt x="179498" y="391630"/>
                    <a:pt x="187658" y="391630"/>
                    <a:pt x="193097" y="388910"/>
                  </a:cubicBezTo>
                  <a:cubicBezTo>
                    <a:pt x="198536" y="388910"/>
                    <a:pt x="203976" y="388910"/>
                    <a:pt x="212135" y="388910"/>
                  </a:cubicBezTo>
                  <a:cubicBezTo>
                    <a:pt x="217574" y="388910"/>
                    <a:pt x="225733" y="388910"/>
                    <a:pt x="236611" y="388910"/>
                  </a:cubicBezTo>
                  <a:cubicBezTo>
                    <a:pt x="242051" y="388910"/>
                    <a:pt x="247490" y="388910"/>
                    <a:pt x="250210" y="386191"/>
                  </a:cubicBezTo>
                  <a:cubicBezTo>
                    <a:pt x="255649" y="391630"/>
                    <a:pt x="258369" y="388910"/>
                    <a:pt x="258369" y="386191"/>
                  </a:cubicBezTo>
                  <a:cubicBezTo>
                    <a:pt x="258369" y="380751"/>
                    <a:pt x="255649" y="372592"/>
                    <a:pt x="255649" y="367153"/>
                  </a:cubicBezTo>
                  <a:cubicBezTo>
                    <a:pt x="252930" y="353555"/>
                    <a:pt x="250210" y="342676"/>
                    <a:pt x="250210" y="331797"/>
                  </a:cubicBezTo>
                  <a:cubicBezTo>
                    <a:pt x="250210" y="301881"/>
                    <a:pt x="250210" y="274685"/>
                    <a:pt x="247490" y="244769"/>
                  </a:cubicBezTo>
                  <a:cubicBezTo>
                    <a:pt x="247490" y="231170"/>
                    <a:pt x="244771" y="217572"/>
                    <a:pt x="242051" y="203974"/>
                  </a:cubicBezTo>
                  <a:cubicBezTo>
                    <a:pt x="239331" y="187656"/>
                    <a:pt x="236611" y="174058"/>
                    <a:pt x="236611" y="157740"/>
                  </a:cubicBezTo>
                  <a:cubicBezTo>
                    <a:pt x="236611" y="152300"/>
                    <a:pt x="236611" y="133263"/>
                    <a:pt x="233892" y="119665"/>
                  </a:cubicBezTo>
                  <a:cubicBezTo>
                    <a:pt x="233892" y="106066"/>
                    <a:pt x="231172" y="97907"/>
                    <a:pt x="225733" y="97907"/>
                  </a:cubicBezTo>
                  <a:close/>
                  <a:moveTo>
                    <a:pt x="274687" y="0"/>
                  </a:moveTo>
                  <a:cubicBezTo>
                    <a:pt x="288285" y="0"/>
                    <a:pt x="293724" y="2720"/>
                    <a:pt x="304603" y="5439"/>
                  </a:cubicBezTo>
                  <a:cubicBezTo>
                    <a:pt x="315481" y="10879"/>
                    <a:pt x="315481" y="16318"/>
                    <a:pt x="320921" y="24477"/>
                  </a:cubicBezTo>
                  <a:cubicBezTo>
                    <a:pt x="326360" y="29916"/>
                    <a:pt x="331800" y="35356"/>
                    <a:pt x="334519" y="43515"/>
                  </a:cubicBezTo>
                  <a:cubicBezTo>
                    <a:pt x="337239" y="51674"/>
                    <a:pt x="337239" y="57113"/>
                    <a:pt x="339959" y="65272"/>
                  </a:cubicBezTo>
                  <a:cubicBezTo>
                    <a:pt x="345398" y="78870"/>
                    <a:pt x="342678" y="97908"/>
                    <a:pt x="348118" y="114226"/>
                  </a:cubicBezTo>
                  <a:cubicBezTo>
                    <a:pt x="350837" y="130544"/>
                    <a:pt x="358996" y="146863"/>
                    <a:pt x="361716" y="163180"/>
                  </a:cubicBezTo>
                  <a:cubicBezTo>
                    <a:pt x="364435" y="182218"/>
                    <a:pt x="364435" y="201256"/>
                    <a:pt x="369875" y="220293"/>
                  </a:cubicBezTo>
                  <a:cubicBezTo>
                    <a:pt x="375314" y="239331"/>
                    <a:pt x="378034" y="255649"/>
                    <a:pt x="378034" y="274686"/>
                  </a:cubicBezTo>
                  <a:cubicBezTo>
                    <a:pt x="378034" y="282845"/>
                    <a:pt x="380753" y="293724"/>
                    <a:pt x="383473" y="301883"/>
                  </a:cubicBezTo>
                  <a:cubicBezTo>
                    <a:pt x="386193" y="312762"/>
                    <a:pt x="388913" y="326360"/>
                    <a:pt x="391632" y="337238"/>
                  </a:cubicBezTo>
                  <a:cubicBezTo>
                    <a:pt x="391632" y="342678"/>
                    <a:pt x="394352" y="353556"/>
                    <a:pt x="397071" y="364435"/>
                  </a:cubicBezTo>
                  <a:cubicBezTo>
                    <a:pt x="399791" y="372594"/>
                    <a:pt x="402511" y="380753"/>
                    <a:pt x="405230" y="383473"/>
                  </a:cubicBezTo>
                  <a:cubicBezTo>
                    <a:pt x="407950" y="386192"/>
                    <a:pt x="413389" y="386192"/>
                    <a:pt x="416109" y="386192"/>
                  </a:cubicBezTo>
                  <a:cubicBezTo>
                    <a:pt x="418829" y="386192"/>
                    <a:pt x="424268" y="386192"/>
                    <a:pt x="426988" y="386192"/>
                  </a:cubicBezTo>
                  <a:cubicBezTo>
                    <a:pt x="437866" y="386192"/>
                    <a:pt x="448745" y="388912"/>
                    <a:pt x="454184" y="397071"/>
                  </a:cubicBezTo>
                  <a:cubicBezTo>
                    <a:pt x="456904" y="399790"/>
                    <a:pt x="456904" y="402510"/>
                    <a:pt x="456904" y="405230"/>
                  </a:cubicBezTo>
                  <a:cubicBezTo>
                    <a:pt x="456904" y="407949"/>
                    <a:pt x="454184" y="410669"/>
                    <a:pt x="451464" y="416108"/>
                  </a:cubicBezTo>
                  <a:cubicBezTo>
                    <a:pt x="446025" y="421548"/>
                    <a:pt x="440586" y="426987"/>
                    <a:pt x="432427" y="429707"/>
                  </a:cubicBezTo>
                  <a:cubicBezTo>
                    <a:pt x="429707" y="429707"/>
                    <a:pt x="426988" y="432426"/>
                    <a:pt x="421548" y="432426"/>
                  </a:cubicBezTo>
                  <a:cubicBezTo>
                    <a:pt x="418829" y="432426"/>
                    <a:pt x="416109" y="432426"/>
                    <a:pt x="413389" y="435146"/>
                  </a:cubicBezTo>
                  <a:cubicBezTo>
                    <a:pt x="413389" y="435146"/>
                    <a:pt x="413389" y="437866"/>
                    <a:pt x="413389" y="440585"/>
                  </a:cubicBezTo>
                  <a:cubicBezTo>
                    <a:pt x="413389" y="443305"/>
                    <a:pt x="413389" y="448744"/>
                    <a:pt x="416109" y="451464"/>
                  </a:cubicBezTo>
                  <a:cubicBezTo>
                    <a:pt x="416109" y="456903"/>
                    <a:pt x="418829" y="462343"/>
                    <a:pt x="418829" y="465062"/>
                  </a:cubicBezTo>
                  <a:lnTo>
                    <a:pt x="418829" y="475941"/>
                  </a:lnTo>
                  <a:cubicBezTo>
                    <a:pt x="418829" y="481380"/>
                    <a:pt x="418829" y="484100"/>
                    <a:pt x="418829" y="486820"/>
                  </a:cubicBezTo>
                  <a:cubicBezTo>
                    <a:pt x="421548" y="497698"/>
                    <a:pt x="424268" y="505857"/>
                    <a:pt x="426988" y="516736"/>
                  </a:cubicBezTo>
                  <a:cubicBezTo>
                    <a:pt x="426988" y="524895"/>
                    <a:pt x="429707" y="535773"/>
                    <a:pt x="432427" y="543932"/>
                  </a:cubicBezTo>
                  <a:cubicBezTo>
                    <a:pt x="435147" y="554811"/>
                    <a:pt x="437866" y="562970"/>
                    <a:pt x="437866" y="573848"/>
                  </a:cubicBezTo>
                  <a:cubicBezTo>
                    <a:pt x="437866" y="587447"/>
                    <a:pt x="440586" y="595606"/>
                    <a:pt x="443306" y="606484"/>
                  </a:cubicBezTo>
                  <a:cubicBezTo>
                    <a:pt x="443306" y="609204"/>
                    <a:pt x="446025" y="614643"/>
                    <a:pt x="446025" y="617363"/>
                  </a:cubicBezTo>
                  <a:cubicBezTo>
                    <a:pt x="454184" y="617363"/>
                    <a:pt x="462343" y="617363"/>
                    <a:pt x="470502" y="617363"/>
                  </a:cubicBezTo>
                  <a:cubicBezTo>
                    <a:pt x="475942" y="625522"/>
                    <a:pt x="492259" y="630961"/>
                    <a:pt x="492259" y="641840"/>
                  </a:cubicBezTo>
                  <a:cubicBezTo>
                    <a:pt x="492259" y="647279"/>
                    <a:pt x="486820" y="649999"/>
                    <a:pt x="484101" y="655438"/>
                  </a:cubicBezTo>
                  <a:cubicBezTo>
                    <a:pt x="481381" y="660877"/>
                    <a:pt x="473222" y="663597"/>
                    <a:pt x="467782" y="663597"/>
                  </a:cubicBezTo>
                  <a:cubicBezTo>
                    <a:pt x="456904" y="666317"/>
                    <a:pt x="451464" y="666317"/>
                    <a:pt x="443306" y="666317"/>
                  </a:cubicBezTo>
                  <a:cubicBezTo>
                    <a:pt x="437866" y="666317"/>
                    <a:pt x="429707" y="666317"/>
                    <a:pt x="421548" y="666317"/>
                  </a:cubicBezTo>
                  <a:cubicBezTo>
                    <a:pt x="418829" y="666317"/>
                    <a:pt x="416109" y="666317"/>
                    <a:pt x="413389" y="666317"/>
                  </a:cubicBezTo>
                  <a:cubicBezTo>
                    <a:pt x="407950" y="669036"/>
                    <a:pt x="405230" y="669036"/>
                    <a:pt x="399791" y="671756"/>
                  </a:cubicBezTo>
                  <a:cubicBezTo>
                    <a:pt x="394352" y="671756"/>
                    <a:pt x="388913" y="674476"/>
                    <a:pt x="383473" y="674476"/>
                  </a:cubicBezTo>
                  <a:cubicBezTo>
                    <a:pt x="372594" y="674476"/>
                    <a:pt x="358996" y="671756"/>
                    <a:pt x="348118" y="669036"/>
                  </a:cubicBezTo>
                  <a:cubicBezTo>
                    <a:pt x="339959" y="669036"/>
                    <a:pt x="331800" y="669036"/>
                    <a:pt x="326360" y="669036"/>
                  </a:cubicBezTo>
                  <a:cubicBezTo>
                    <a:pt x="304603" y="669036"/>
                    <a:pt x="285565" y="669036"/>
                    <a:pt x="277406" y="669036"/>
                  </a:cubicBezTo>
                  <a:cubicBezTo>
                    <a:pt x="269247" y="669036"/>
                    <a:pt x="258369" y="669036"/>
                    <a:pt x="252930" y="663597"/>
                  </a:cubicBezTo>
                  <a:cubicBezTo>
                    <a:pt x="247490" y="660877"/>
                    <a:pt x="236611" y="655438"/>
                    <a:pt x="236611" y="647279"/>
                  </a:cubicBezTo>
                  <a:cubicBezTo>
                    <a:pt x="236611" y="636401"/>
                    <a:pt x="252930" y="633681"/>
                    <a:pt x="261088" y="630961"/>
                  </a:cubicBezTo>
                  <a:cubicBezTo>
                    <a:pt x="266528" y="630961"/>
                    <a:pt x="274687" y="630961"/>
                    <a:pt x="288285" y="628241"/>
                  </a:cubicBezTo>
                  <a:cubicBezTo>
                    <a:pt x="288285" y="620082"/>
                    <a:pt x="288285" y="614643"/>
                    <a:pt x="285565" y="609204"/>
                  </a:cubicBezTo>
                  <a:cubicBezTo>
                    <a:pt x="285565" y="601045"/>
                    <a:pt x="282846" y="590166"/>
                    <a:pt x="282846" y="582007"/>
                  </a:cubicBezTo>
                  <a:cubicBezTo>
                    <a:pt x="282846" y="576568"/>
                    <a:pt x="280126" y="573848"/>
                    <a:pt x="280126" y="568409"/>
                  </a:cubicBezTo>
                  <a:cubicBezTo>
                    <a:pt x="280126" y="562970"/>
                    <a:pt x="282846" y="557531"/>
                    <a:pt x="282846" y="554811"/>
                  </a:cubicBezTo>
                  <a:cubicBezTo>
                    <a:pt x="282846" y="549371"/>
                    <a:pt x="280126" y="546652"/>
                    <a:pt x="277406" y="538493"/>
                  </a:cubicBezTo>
                  <a:cubicBezTo>
                    <a:pt x="277406" y="527614"/>
                    <a:pt x="271967" y="516736"/>
                    <a:pt x="271967" y="505857"/>
                  </a:cubicBezTo>
                  <a:cubicBezTo>
                    <a:pt x="271967" y="494978"/>
                    <a:pt x="271967" y="486820"/>
                    <a:pt x="269247" y="478660"/>
                  </a:cubicBezTo>
                  <a:cubicBezTo>
                    <a:pt x="266528" y="467782"/>
                    <a:pt x="266528" y="456903"/>
                    <a:pt x="266528" y="446025"/>
                  </a:cubicBezTo>
                  <a:cubicBezTo>
                    <a:pt x="266528" y="440585"/>
                    <a:pt x="263808" y="437866"/>
                    <a:pt x="261088" y="437866"/>
                  </a:cubicBezTo>
                  <a:cubicBezTo>
                    <a:pt x="258369" y="437866"/>
                    <a:pt x="255649" y="437866"/>
                    <a:pt x="250210" y="437866"/>
                  </a:cubicBezTo>
                  <a:cubicBezTo>
                    <a:pt x="239331" y="437866"/>
                    <a:pt x="228452" y="437866"/>
                    <a:pt x="220293" y="440585"/>
                  </a:cubicBezTo>
                  <a:cubicBezTo>
                    <a:pt x="209415" y="440585"/>
                    <a:pt x="201256" y="443305"/>
                    <a:pt x="190377" y="443305"/>
                  </a:cubicBezTo>
                  <a:cubicBezTo>
                    <a:pt x="182218" y="443305"/>
                    <a:pt x="174059" y="443305"/>
                    <a:pt x="165900" y="443305"/>
                  </a:cubicBezTo>
                  <a:cubicBezTo>
                    <a:pt x="163181" y="443305"/>
                    <a:pt x="152302" y="440585"/>
                    <a:pt x="144143" y="440585"/>
                  </a:cubicBezTo>
                  <a:cubicBezTo>
                    <a:pt x="135984" y="440585"/>
                    <a:pt x="135984" y="448744"/>
                    <a:pt x="135984" y="454184"/>
                  </a:cubicBezTo>
                  <a:cubicBezTo>
                    <a:pt x="135984" y="465062"/>
                    <a:pt x="133264" y="475941"/>
                    <a:pt x="130545" y="486820"/>
                  </a:cubicBezTo>
                  <a:cubicBezTo>
                    <a:pt x="127825" y="505857"/>
                    <a:pt x="122386" y="522175"/>
                    <a:pt x="119666" y="541213"/>
                  </a:cubicBezTo>
                  <a:cubicBezTo>
                    <a:pt x="116947" y="560250"/>
                    <a:pt x="108788" y="595606"/>
                    <a:pt x="103348" y="614643"/>
                  </a:cubicBezTo>
                  <a:cubicBezTo>
                    <a:pt x="111507" y="614643"/>
                    <a:pt x="122386" y="614643"/>
                    <a:pt x="133264" y="614643"/>
                  </a:cubicBezTo>
                  <a:cubicBezTo>
                    <a:pt x="146863" y="614643"/>
                    <a:pt x="168620" y="614643"/>
                    <a:pt x="168620" y="630961"/>
                  </a:cubicBezTo>
                  <a:cubicBezTo>
                    <a:pt x="168620" y="639120"/>
                    <a:pt x="165900" y="639120"/>
                    <a:pt x="163181" y="647279"/>
                  </a:cubicBezTo>
                  <a:cubicBezTo>
                    <a:pt x="160461" y="652718"/>
                    <a:pt x="152302" y="655438"/>
                    <a:pt x="146863" y="655438"/>
                  </a:cubicBezTo>
                  <a:cubicBezTo>
                    <a:pt x="138704" y="658158"/>
                    <a:pt x="133264" y="658158"/>
                    <a:pt x="127825" y="658158"/>
                  </a:cubicBezTo>
                  <a:cubicBezTo>
                    <a:pt x="122386" y="658158"/>
                    <a:pt x="116947" y="658158"/>
                    <a:pt x="106068" y="658158"/>
                  </a:cubicBezTo>
                  <a:cubicBezTo>
                    <a:pt x="92468" y="658158"/>
                    <a:pt x="78870" y="658158"/>
                    <a:pt x="62552" y="658158"/>
                  </a:cubicBezTo>
                  <a:cubicBezTo>
                    <a:pt x="54393" y="658158"/>
                    <a:pt x="46234" y="658158"/>
                    <a:pt x="40795" y="658158"/>
                  </a:cubicBezTo>
                  <a:cubicBezTo>
                    <a:pt x="32636" y="658158"/>
                    <a:pt x="21758" y="658158"/>
                    <a:pt x="16318" y="652718"/>
                  </a:cubicBezTo>
                  <a:cubicBezTo>
                    <a:pt x="8159" y="649999"/>
                    <a:pt x="0" y="641840"/>
                    <a:pt x="0" y="636401"/>
                  </a:cubicBezTo>
                  <a:cubicBezTo>
                    <a:pt x="0" y="633681"/>
                    <a:pt x="0" y="630961"/>
                    <a:pt x="2720" y="628241"/>
                  </a:cubicBezTo>
                  <a:cubicBezTo>
                    <a:pt x="8159" y="625522"/>
                    <a:pt x="16318" y="622802"/>
                    <a:pt x="24477" y="620082"/>
                  </a:cubicBezTo>
                  <a:cubicBezTo>
                    <a:pt x="38075" y="617363"/>
                    <a:pt x="48954" y="617363"/>
                    <a:pt x="62552" y="617363"/>
                  </a:cubicBezTo>
                  <a:cubicBezTo>
                    <a:pt x="62552" y="617363"/>
                    <a:pt x="62552" y="614643"/>
                    <a:pt x="62552" y="614643"/>
                  </a:cubicBezTo>
                  <a:cubicBezTo>
                    <a:pt x="62552" y="603765"/>
                    <a:pt x="65272" y="590166"/>
                    <a:pt x="65272" y="587447"/>
                  </a:cubicBezTo>
                  <a:cubicBezTo>
                    <a:pt x="67992" y="565689"/>
                    <a:pt x="73431" y="543932"/>
                    <a:pt x="76151" y="522175"/>
                  </a:cubicBezTo>
                  <a:cubicBezTo>
                    <a:pt x="78870" y="505857"/>
                    <a:pt x="81590" y="486820"/>
                    <a:pt x="87029" y="470501"/>
                  </a:cubicBezTo>
                  <a:cubicBezTo>
                    <a:pt x="87029" y="465062"/>
                    <a:pt x="92468" y="451464"/>
                    <a:pt x="92468" y="446025"/>
                  </a:cubicBezTo>
                  <a:cubicBezTo>
                    <a:pt x="92468" y="437866"/>
                    <a:pt x="73431" y="437866"/>
                    <a:pt x="65272" y="432426"/>
                  </a:cubicBezTo>
                  <a:cubicBezTo>
                    <a:pt x="59833" y="429707"/>
                    <a:pt x="54393" y="426987"/>
                    <a:pt x="54393" y="421548"/>
                  </a:cubicBezTo>
                  <a:cubicBezTo>
                    <a:pt x="54393" y="413389"/>
                    <a:pt x="62552" y="410669"/>
                    <a:pt x="73431" y="407949"/>
                  </a:cubicBezTo>
                  <a:cubicBezTo>
                    <a:pt x="78870" y="407949"/>
                    <a:pt x="92468" y="405230"/>
                    <a:pt x="100629" y="399790"/>
                  </a:cubicBezTo>
                  <a:cubicBezTo>
                    <a:pt x="106068" y="394351"/>
                    <a:pt x="106068" y="378033"/>
                    <a:pt x="108788" y="369874"/>
                  </a:cubicBezTo>
                  <a:cubicBezTo>
                    <a:pt x="114227" y="348117"/>
                    <a:pt x="119666" y="326360"/>
                    <a:pt x="125105" y="307322"/>
                  </a:cubicBezTo>
                  <a:cubicBezTo>
                    <a:pt x="130545" y="285565"/>
                    <a:pt x="135984" y="263808"/>
                    <a:pt x="141423" y="242051"/>
                  </a:cubicBezTo>
                  <a:cubicBezTo>
                    <a:pt x="146863" y="220293"/>
                    <a:pt x="152302" y="198536"/>
                    <a:pt x="155022" y="179498"/>
                  </a:cubicBezTo>
                  <a:cubicBezTo>
                    <a:pt x="157742" y="160461"/>
                    <a:pt x="163181" y="138703"/>
                    <a:pt x="168620" y="119665"/>
                  </a:cubicBezTo>
                  <a:cubicBezTo>
                    <a:pt x="176779" y="100627"/>
                    <a:pt x="182218" y="76150"/>
                    <a:pt x="193097" y="57113"/>
                  </a:cubicBezTo>
                  <a:lnTo>
                    <a:pt x="201256" y="38075"/>
                  </a:lnTo>
                  <a:cubicBezTo>
                    <a:pt x="206695" y="29916"/>
                    <a:pt x="209415" y="19038"/>
                    <a:pt x="217574" y="13598"/>
                  </a:cubicBezTo>
                  <a:cubicBezTo>
                    <a:pt x="231172" y="2720"/>
                    <a:pt x="255649" y="0"/>
                    <a:pt x="274687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6" name="Freeform: Shape 45">
              <a:extLst>
                <a:ext uri="{FF2B5EF4-FFF2-40B4-BE49-F238E27FC236}">
                  <a16:creationId xmlns:a16="http://schemas.microsoft.com/office/drawing/2014/main" id="{D45F9331-6EB0-4EF1-AF1B-D8101C2D5B8D}"/>
                </a:ext>
              </a:extLst>
            </p:cNvPr>
            <p:cNvSpPr/>
            <p:nvPr/>
          </p:nvSpPr>
          <p:spPr bwMode="black">
            <a:xfrm>
              <a:off x="6876542" y="4244897"/>
              <a:ext cx="462342" cy="677195"/>
            </a:xfrm>
            <a:custGeom>
              <a:avLst/>
              <a:gdLst>
                <a:gd name="connsiteX0" fmla="*/ 214853 w 462342"/>
                <a:gd name="connsiteY0" fmla="*/ 65272 h 677195"/>
                <a:gd name="connsiteX1" fmla="*/ 195815 w 462342"/>
                <a:gd name="connsiteY1" fmla="*/ 73431 h 677195"/>
                <a:gd name="connsiteX2" fmla="*/ 193096 w 462342"/>
                <a:gd name="connsiteY2" fmla="*/ 125105 h 677195"/>
                <a:gd name="connsiteX3" fmla="*/ 190376 w 462342"/>
                <a:gd name="connsiteY3" fmla="*/ 280125 h 677195"/>
                <a:gd name="connsiteX4" fmla="*/ 190376 w 462342"/>
                <a:gd name="connsiteY4" fmla="*/ 301882 h 677195"/>
                <a:gd name="connsiteX5" fmla="*/ 193096 w 462342"/>
                <a:gd name="connsiteY5" fmla="*/ 342677 h 677195"/>
                <a:gd name="connsiteX6" fmla="*/ 195815 w 462342"/>
                <a:gd name="connsiteY6" fmla="*/ 397070 h 677195"/>
                <a:gd name="connsiteX7" fmla="*/ 195815 w 462342"/>
                <a:gd name="connsiteY7" fmla="*/ 443304 h 677195"/>
                <a:gd name="connsiteX8" fmla="*/ 195815 w 462342"/>
                <a:gd name="connsiteY8" fmla="*/ 530333 h 677195"/>
                <a:gd name="connsiteX9" fmla="*/ 193096 w 462342"/>
                <a:gd name="connsiteY9" fmla="*/ 554810 h 677195"/>
                <a:gd name="connsiteX10" fmla="*/ 190376 w 462342"/>
                <a:gd name="connsiteY10" fmla="*/ 603764 h 677195"/>
                <a:gd name="connsiteX11" fmla="*/ 198535 w 462342"/>
                <a:gd name="connsiteY11" fmla="*/ 611923 h 677195"/>
                <a:gd name="connsiteX12" fmla="*/ 214853 w 462342"/>
                <a:gd name="connsiteY12" fmla="*/ 611923 h 677195"/>
                <a:gd name="connsiteX13" fmla="*/ 236610 w 462342"/>
                <a:gd name="connsiteY13" fmla="*/ 611923 h 677195"/>
                <a:gd name="connsiteX14" fmla="*/ 263807 w 462342"/>
                <a:gd name="connsiteY14" fmla="*/ 598325 h 677195"/>
                <a:gd name="connsiteX15" fmla="*/ 277405 w 462342"/>
                <a:gd name="connsiteY15" fmla="*/ 592885 h 677195"/>
                <a:gd name="connsiteX16" fmla="*/ 291004 w 462342"/>
                <a:gd name="connsiteY16" fmla="*/ 573848 h 677195"/>
                <a:gd name="connsiteX17" fmla="*/ 307322 w 462342"/>
                <a:gd name="connsiteY17" fmla="*/ 543931 h 677195"/>
                <a:gd name="connsiteX18" fmla="*/ 326359 w 462342"/>
                <a:gd name="connsiteY18" fmla="*/ 481379 h 677195"/>
                <a:gd name="connsiteX19" fmla="*/ 337238 w 462342"/>
                <a:gd name="connsiteY19" fmla="*/ 413388 h 677195"/>
                <a:gd name="connsiteX20" fmla="*/ 337238 w 462342"/>
                <a:gd name="connsiteY20" fmla="*/ 350836 h 677195"/>
                <a:gd name="connsiteX21" fmla="*/ 334518 w 462342"/>
                <a:gd name="connsiteY21" fmla="*/ 296443 h 677195"/>
                <a:gd name="connsiteX22" fmla="*/ 329079 w 462342"/>
                <a:gd name="connsiteY22" fmla="*/ 244769 h 677195"/>
                <a:gd name="connsiteX23" fmla="*/ 307322 w 462342"/>
                <a:gd name="connsiteY23" fmla="*/ 135983 h 677195"/>
                <a:gd name="connsiteX24" fmla="*/ 271966 w 462342"/>
                <a:gd name="connsiteY24" fmla="*/ 78870 h 677195"/>
                <a:gd name="connsiteX25" fmla="*/ 214853 w 462342"/>
                <a:gd name="connsiteY25" fmla="*/ 65272 h 677195"/>
                <a:gd name="connsiteX26" fmla="*/ 114226 w 462342"/>
                <a:gd name="connsiteY26" fmla="*/ 0 h 677195"/>
                <a:gd name="connsiteX27" fmla="*/ 127824 w 462342"/>
                <a:gd name="connsiteY27" fmla="*/ 0 h 677195"/>
                <a:gd name="connsiteX28" fmla="*/ 146862 w 462342"/>
                <a:gd name="connsiteY28" fmla="*/ 2720 h 677195"/>
                <a:gd name="connsiteX29" fmla="*/ 174059 w 462342"/>
                <a:gd name="connsiteY29" fmla="*/ 21758 h 677195"/>
                <a:gd name="connsiteX30" fmla="*/ 193096 w 462342"/>
                <a:gd name="connsiteY30" fmla="*/ 21758 h 677195"/>
                <a:gd name="connsiteX31" fmla="*/ 261088 w 462342"/>
                <a:gd name="connsiteY31" fmla="*/ 27197 h 677195"/>
                <a:gd name="connsiteX32" fmla="*/ 310042 w 462342"/>
                <a:gd name="connsiteY32" fmla="*/ 35356 h 677195"/>
                <a:gd name="connsiteX33" fmla="*/ 334518 w 462342"/>
                <a:gd name="connsiteY33" fmla="*/ 40795 h 677195"/>
                <a:gd name="connsiteX34" fmla="*/ 356276 w 462342"/>
                <a:gd name="connsiteY34" fmla="*/ 59833 h 677195"/>
                <a:gd name="connsiteX35" fmla="*/ 372593 w 462342"/>
                <a:gd name="connsiteY35" fmla="*/ 76151 h 677195"/>
                <a:gd name="connsiteX36" fmla="*/ 380752 w 462342"/>
                <a:gd name="connsiteY36" fmla="*/ 95188 h 677195"/>
                <a:gd name="connsiteX37" fmla="*/ 405230 w 462342"/>
                <a:gd name="connsiteY37" fmla="*/ 114226 h 677195"/>
                <a:gd name="connsiteX38" fmla="*/ 416108 w 462342"/>
                <a:gd name="connsiteY38" fmla="*/ 141422 h 677195"/>
                <a:gd name="connsiteX39" fmla="*/ 451464 w 462342"/>
                <a:gd name="connsiteY39" fmla="*/ 201256 h 677195"/>
                <a:gd name="connsiteX40" fmla="*/ 456903 w 462342"/>
                <a:gd name="connsiteY40" fmla="*/ 252929 h 677195"/>
                <a:gd name="connsiteX41" fmla="*/ 456903 w 462342"/>
                <a:gd name="connsiteY41" fmla="*/ 291004 h 677195"/>
                <a:gd name="connsiteX42" fmla="*/ 459623 w 462342"/>
                <a:gd name="connsiteY42" fmla="*/ 318201 h 677195"/>
                <a:gd name="connsiteX43" fmla="*/ 459623 w 462342"/>
                <a:gd name="connsiteY43" fmla="*/ 326360 h 677195"/>
                <a:gd name="connsiteX44" fmla="*/ 459623 w 462342"/>
                <a:gd name="connsiteY44" fmla="*/ 348117 h 677195"/>
                <a:gd name="connsiteX45" fmla="*/ 462342 w 462342"/>
                <a:gd name="connsiteY45" fmla="*/ 367155 h 677195"/>
                <a:gd name="connsiteX46" fmla="*/ 456903 w 462342"/>
                <a:gd name="connsiteY46" fmla="*/ 391632 h 677195"/>
                <a:gd name="connsiteX47" fmla="*/ 456903 w 462342"/>
                <a:gd name="connsiteY47" fmla="*/ 418828 h 677195"/>
                <a:gd name="connsiteX48" fmla="*/ 451464 w 462342"/>
                <a:gd name="connsiteY48" fmla="*/ 437866 h 677195"/>
                <a:gd name="connsiteX49" fmla="*/ 446025 w 462342"/>
                <a:gd name="connsiteY49" fmla="*/ 454184 h 677195"/>
                <a:gd name="connsiteX50" fmla="*/ 440585 w 462342"/>
                <a:gd name="connsiteY50" fmla="*/ 481380 h 677195"/>
                <a:gd name="connsiteX51" fmla="*/ 432426 w 462342"/>
                <a:gd name="connsiteY51" fmla="*/ 508577 h 677195"/>
                <a:gd name="connsiteX52" fmla="*/ 418828 w 462342"/>
                <a:gd name="connsiteY52" fmla="*/ 530334 h 677195"/>
                <a:gd name="connsiteX53" fmla="*/ 410669 w 462342"/>
                <a:gd name="connsiteY53" fmla="*/ 549371 h 677195"/>
                <a:gd name="connsiteX54" fmla="*/ 391631 w 462342"/>
                <a:gd name="connsiteY54" fmla="*/ 579288 h 677195"/>
                <a:gd name="connsiteX55" fmla="*/ 337238 w 462342"/>
                <a:gd name="connsiteY55" fmla="*/ 630961 h 677195"/>
                <a:gd name="connsiteX56" fmla="*/ 301883 w 462342"/>
                <a:gd name="connsiteY56" fmla="*/ 647279 h 677195"/>
                <a:gd name="connsiteX57" fmla="*/ 263807 w 462342"/>
                <a:gd name="connsiteY57" fmla="*/ 652718 h 677195"/>
                <a:gd name="connsiteX58" fmla="*/ 233891 w 462342"/>
                <a:gd name="connsiteY58" fmla="*/ 649999 h 677195"/>
                <a:gd name="connsiteX59" fmla="*/ 187657 w 462342"/>
                <a:gd name="connsiteY59" fmla="*/ 652718 h 677195"/>
                <a:gd name="connsiteX60" fmla="*/ 171339 w 462342"/>
                <a:gd name="connsiteY60" fmla="*/ 669036 h 677195"/>
                <a:gd name="connsiteX61" fmla="*/ 155021 w 462342"/>
                <a:gd name="connsiteY61" fmla="*/ 671756 h 677195"/>
                <a:gd name="connsiteX62" fmla="*/ 138703 w 462342"/>
                <a:gd name="connsiteY62" fmla="*/ 674476 h 677195"/>
                <a:gd name="connsiteX63" fmla="*/ 125105 w 462342"/>
                <a:gd name="connsiteY63" fmla="*/ 677195 h 677195"/>
                <a:gd name="connsiteX64" fmla="*/ 106067 w 462342"/>
                <a:gd name="connsiteY64" fmla="*/ 671756 h 677195"/>
                <a:gd name="connsiteX65" fmla="*/ 87029 w 462342"/>
                <a:gd name="connsiteY65" fmla="*/ 658158 h 677195"/>
                <a:gd name="connsiteX66" fmla="*/ 81590 w 462342"/>
                <a:gd name="connsiteY66" fmla="*/ 652718 h 677195"/>
                <a:gd name="connsiteX67" fmla="*/ 67992 w 462342"/>
                <a:gd name="connsiteY67" fmla="*/ 652718 h 677195"/>
                <a:gd name="connsiteX68" fmla="*/ 43515 w 462342"/>
                <a:gd name="connsiteY68" fmla="*/ 652718 h 677195"/>
                <a:gd name="connsiteX69" fmla="*/ 16318 w 462342"/>
                <a:gd name="connsiteY69" fmla="*/ 647279 h 677195"/>
                <a:gd name="connsiteX70" fmla="*/ 0 w 462342"/>
                <a:gd name="connsiteY70" fmla="*/ 630961 h 677195"/>
                <a:gd name="connsiteX71" fmla="*/ 5439 w 462342"/>
                <a:gd name="connsiteY71" fmla="*/ 620083 h 677195"/>
                <a:gd name="connsiteX72" fmla="*/ 27197 w 462342"/>
                <a:gd name="connsiteY72" fmla="*/ 611924 h 677195"/>
                <a:gd name="connsiteX73" fmla="*/ 65272 w 462342"/>
                <a:gd name="connsiteY73" fmla="*/ 609204 h 677195"/>
                <a:gd name="connsiteX74" fmla="*/ 65272 w 462342"/>
                <a:gd name="connsiteY74" fmla="*/ 584727 h 677195"/>
                <a:gd name="connsiteX75" fmla="*/ 62552 w 462342"/>
                <a:gd name="connsiteY75" fmla="*/ 456903 h 677195"/>
                <a:gd name="connsiteX76" fmla="*/ 65272 w 462342"/>
                <a:gd name="connsiteY76" fmla="*/ 337238 h 677195"/>
                <a:gd name="connsiteX77" fmla="*/ 67992 w 462342"/>
                <a:gd name="connsiteY77" fmla="*/ 203975 h 677195"/>
                <a:gd name="connsiteX78" fmla="*/ 70712 w 462342"/>
                <a:gd name="connsiteY78" fmla="*/ 119665 h 677195"/>
                <a:gd name="connsiteX79" fmla="*/ 73431 w 462342"/>
                <a:gd name="connsiteY79" fmla="*/ 67992 h 677195"/>
                <a:gd name="connsiteX80" fmla="*/ 67992 w 462342"/>
                <a:gd name="connsiteY80" fmla="*/ 67992 h 677195"/>
                <a:gd name="connsiteX81" fmla="*/ 43515 w 462342"/>
                <a:gd name="connsiteY81" fmla="*/ 67992 h 677195"/>
                <a:gd name="connsiteX82" fmla="*/ 16318 w 462342"/>
                <a:gd name="connsiteY82" fmla="*/ 62552 h 677195"/>
                <a:gd name="connsiteX83" fmla="*/ 0 w 462342"/>
                <a:gd name="connsiteY83" fmla="*/ 46234 h 677195"/>
                <a:gd name="connsiteX84" fmla="*/ 5439 w 462342"/>
                <a:gd name="connsiteY84" fmla="*/ 35356 h 677195"/>
                <a:gd name="connsiteX85" fmla="*/ 27197 w 462342"/>
                <a:gd name="connsiteY85" fmla="*/ 27197 h 677195"/>
                <a:gd name="connsiteX86" fmla="*/ 76151 w 462342"/>
                <a:gd name="connsiteY86" fmla="*/ 21758 h 677195"/>
                <a:gd name="connsiteX87" fmla="*/ 81590 w 462342"/>
                <a:gd name="connsiteY87" fmla="*/ 13598 h 677195"/>
                <a:gd name="connsiteX88" fmla="*/ 97908 w 462342"/>
                <a:gd name="connsiteY88" fmla="*/ 5439 h 677195"/>
                <a:gd name="connsiteX89" fmla="*/ 114226 w 462342"/>
                <a:gd name="connsiteY89" fmla="*/ 0 h 6771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</a:cxnLst>
              <a:rect l="l" t="t" r="r" b="b"/>
              <a:pathLst>
                <a:path w="462342" h="677195">
                  <a:moveTo>
                    <a:pt x="214853" y="65272"/>
                  </a:moveTo>
                  <a:cubicBezTo>
                    <a:pt x="203975" y="65272"/>
                    <a:pt x="195815" y="67992"/>
                    <a:pt x="195815" y="73431"/>
                  </a:cubicBezTo>
                  <a:cubicBezTo>
                    <a:pt x="193096" y="78870"/>
                    <a:pt x="193096" y="100628"/>
                    <a:pt x="193096" y="125105"/>
                  </a:cubicBezTo>
                  <a:cubicBezTo>
                    <a:pt x="193096" y="182217"/>
                    <a:pt x="193096" y="266527"/>
                    <a:pt x="190376" y="280125"/>
                  </a:cubicBezTo>
                  <a:cubicBezTo>
                    <a:pt x="190376" y="288284"/>
                    <a:pt x="190376" y="293723"/>
                    <a:pt x="190376" y="301882"/>
                  </a:cubicBezTo>
                  <a:cubicBezTo>
                    <a:pt x="190376" y="315480"/>
                    <a:pt x="190376" y="329079"/>
                    <a:pt x="193096" y="342677"/>
                  </a:cubicBezTo>
                  <a:cubicBezTo>
                    <a:pt x="193096" y="361715"/>
                    <a:pt x="193096" y="378033"/>
                    <a:pt x="195815" y="397070"/>
                  </a:cubicBezTo>
                  <a:cubicBezTo>
                    <a:pt x="195815" y="413388"/>
                    <a:pt x="195815" y="426986"/>
                    <a:pt x="195815" y="443304"/>
                  </a:cubicBezTo>
                  <a:cubicBezTo>
                    <a:pt x="195815" y="465061"/>
                    <a:pt x="198535" y="508576"/>
                    <a:pt x="195815" y="530333"/>
                  </a:cubicBezTo>
                  <a:cubicBezTo>
                    <a:pt x="195815" y="538492"/>
                    <a:pt x="193096" y="546651"/>
                    <a:pt x="193096" y="554810"/>
                  </a:cubicBezTo>
                  <a:cubicBezTo>
                    <a:pt x="193096" y="560249"/>
                    <a:pt x="190376" y="590166"/>
                    <a:pt x="190376" y="603764"/>
                  </a:cubicBezTo>
                  <a:cubicBezTo>
                    <a:pt x="190376" y="609203"/>
                    <a:pt x="190376" y="611923"/>
                    <a:pt x="198535" y="611923"/>
                  </a:cubicBezTo>
                  <a:cubicBezTo>
                    <a:pt x="206694" y="611923"/>
                    <a:pt x="209414" y="611923"/>
                    <a:pt x="214853" y="611923"/>
                  </a:cubicBezTo>
                  <a:cubicBezTo>
                    <a:pt x="223012" y="611923"/>
                    <a:pt x="220293" y="611923"/>
                    <a:pt x="236610" y="611923"/>
                  </a:cubicBezTo>
                  <a:cubicBezTo>
                    <a:pt x="242050" y="611923"/>
                    <a:pt x="258368" y="601044"/>
                    <a:pt x="263807" y="598325"/>
                  </a:cubicBezTo>
                  <a:cubicBezTo>
                    <a:pt x="266527" y="598325"/>
                    <a:pt x="274686" y="592885"/>
                    <a:pt x="277405" y="592885"/>
                  </a:cubicBezTo>
                  <a:cubicBezTo>
                    <a:pt x="285564" y="587446"/>
                    <a:pt x="288284" y="579287"/>
                    <a:pt x="291004" y="573848"/>
                  </a:cubicBezTo>
                  <a:cubicBezTo>
                    <a:pt x="296443" y="562969"/>
                    <a:pt x="301882" y="554810"/>
                    <a:pt x="307322" y="543931"/>
                  </a:cubicBezTo>
                  <a:cubicBezTo>
                    <a:pt x="315481" y="524894"/>
                    <a:pt x="320920" y="524894"/>
                    <a:pt x="326359" y="481379"/>
                  </a:cubicBezTo>
                  <a:cubicBezTo>
                    <a:pt x="329079" y="456903"/>
                    <a:pt x="334518" y="435145"/>
                    <a:pt x="337238" y="413388"/>
                  </a:cubicBezTo>
                  <a:cubicBezTo>
                    <a:pt x="337238" y="391631"/>
                    <a:pt x="337238" y="369873"/>
                    <a:pt x="337238" y="350836"/>
                  </a:cubicBezTo>
                  <a:cubicBezTo>
                    <a:pt x="337238" y="339957"/>
                    <a:pt x="337238" y="320920"/>
                    <a:pt x="334518" y="296443"/>
                  </a:cubicBezTo>
                  <a:cubicBezTo>
                    <a:pt x="331798" y="269246"/>
                    <a:pt x="329079" y="250209"/>
                    <a:pt x="329079" y="244769"/>
                  </a:cubicBezTo>
                  <a:cubicBezTo>
                    <a:pt x="323640" y="206694"/>
                    <a:pt x="318200" y="174058"/>
                    <a:pt x="307322" y="135983"/>
                  </a:cubicBezTo>
                  <a:cubicBezTo>
                    <a:pt x="304602" y="125105"/>
                    <a:pt x="304602" y="108787"/>
                    <a:pt x="271966" y="78870"/>
                  </a:cubicBezTo>
                  <a:cubicBezTo>
                    <a:pt x="263807" y="73431"/>
                    <a:pt x="233891" y="65272"/>
                    <a:pt x="214853" y="65272"/>
                  </a:cubicBezTo>
                  <a:close/>
                  <a:moveTo>
                    <a:pt x="114226" y="0"/>
                  </a:moveTo>
                  <a:cubicBezTo>
                    <a:pt x="119665" y="0"/>
                    <a:pt x="125105" y="0"/>
                    <a:pt x="127824" y="0"/>
                  </a:cubicBezTo>
                  <a:cubicBezTo>
                    <a:pt x="133264" y="0"/>
                    <a:pt x="141422" y="0"/>
                    <a:pt x="146862" y="2720"/>
                  </a:cubicBezTo>
                  <a:cubicBezTo>
                    <a:pt x="157741" y="5439"/>
                    <a:pt x="165900" y="13598"/>
                    <a:pt x="174059" y="21758"/>
                  </a:cubicBezTo>
                  <a:cubicBezTo>
                    <a:pt x="179498" y="21758"/>
                    <a:pt x="187657" y="21758"/>
                    <a:pt x="193096" y="21758"/>
                  </a:cubicBezTo>
                  <a:cubicBezTo>
                    <a:pt x="212134" y="21758"/>
                    <a:pt x="228452" y="27197"/>
                    <a:pt x="261088" y="27197"/>
                  </a:cubicBezTo>
                  <a:cubicBezTo>
                    <a:pt x="277405" y="27197"/>
                    <a:pt x="293723" y="35356"/>
                    <a:pt x="310042" y="35356"/>
                  </a:cubicBezTo>
                  <a:cubicBezTo>
                    <a:pt x="318200" y="35356"/>
                    <a:pt x="329079" y="35356"/>
                    <a:pt x="334518" y="40795"/>
                  </a:cubicBezTo>
                  <a:cubicBezTo>
                    <a:pt x="342677" y="46234"/>
                    <a:pt x="348117" y="54393"/>
                    <a:pt x="356276" y="59833"/>
                  </a:cubicBezTo>
                  <a:cubicBezTo>
                    <a:pt x="361715" y="65272"/>
                    <a:pt x="369874" y="67992"/>
                    <a:pt x="372593" y="76151"/>
                  </a:cubicBezTo>
                  <a:cubicBezTo>
                    <a:pt x="375313" y="81590"/>
                    <a:pt x="378033" y="89749"/>
                    <a:pt x="380752" y="95188"/>
                  </a:cubicBezTo>
                  <a:cubicBezTo>
                    <a:pt x="386192" y="103347"/>
                    <a:pt x="391631" y="106067"/>
                    <a:pt x="405230" y="114226"/>
                  </a:cubicBezTo>
                  <a:cubicBezTo>
                    <a:pt x="413388" y="119665"/>
                    <a:pt x="410669" y="133263"/>
                    <a:pt x="416108" y="141422"/>
                  </a:cubicBezTo>
                  <a:cubicBezTo>
                    <a:pt x="426987" y="160461"/>
                    <a:pt x="446025" y="182218"/>
                    <a:pt x="451464" y="201256"/>
                  </a:cubicBezTo>
                  <a:cubicBezTo>
                    <a:pt x="456903" y="220293"/>
                    <a:pt x="456903" y="236611"/>
                    <a:pt x="456903" y="252929"/>
                  </a:cubicBezTo>
                  <a:cubicBezTo>
                    <a:pt x="456903" y="266527"/>
                    <a:pt x="456903" y="277406"/>
                    <a:pt x="456903" y="291004"/>
                  </a:cubicBezTo>
                  <a:cubicBezTo>
                    <a:pt x="456903" y="299163"/>
                    <a:pt x="456903" y="307322"/>
                    <a:pt x="459623" y="318201"/>
                  </a:cubicBezTo>
                  <a:cubicBezTo>
                    <a:pt x="459623" y="320921"/>
                    <a:pt x="459623" y="323640"/>
                    <a:pt x="459623" y="326360"/>
                  </a:cubicBezTo>
                  <a:cubicBezTo>
                    <a:pt x="462342" y="331799"/>
                    <a:pt x="459623" y="337238"/>
                    <a:pt x="459623" y="348117"/>
                  </a:cubicBezTo>
                  <a:cubicBezTo>
                    <a:pt x="459623" y="350837"/>
                    <a:pt x="462342" y="361715"/>
                    <a:pt x="462342" y="367155"/>
                  </a:cubicBezTo>
                  <a:cubicBezTo>
                    <a:pt x="462342" y="375314"/>
                    <a:pt x="456903" y="383473"/>
                    <a:pt x="456903" y="391632"/>
                  </a:cubicBezTo>
                  <a:cubicBezTo>
                    <a:pt x="456903" y="399790"/>
                    <a:pt x="456903" y="410669"/>
                    <a:pt x="456903" y="418828"/>
                  </a:cubicBezTo>
                  <a:cubicBezTo>
                    <a:pt x="456903" y="421548"/>
                    <a:pt x="454183" y="429707"/>
                    <a:pt x="451464" y="437866"/>
                  </a:cubicBezTo>
                  <a:cubicBezTo>
                    <a:pt x="448744" y="443305"/>
                    <a:pt x="448744" y="451464"/>
                    <a:pt x="446025" y="454184"/>
                  </a:cubicBezTo>
                  <a:cubicBezTo>
                    <a:pt x="443305" y="462343"/>
                    <a:pt x="440585" y="473221"/>
                    <a:pt x="440585" y="481380"/>
                  </a:cubicBezTo>
                  <a:cubicBezTo>
                    <a:pt x="437865" y="489539"/>
                    <a:pt x="437865" y="500418"/>
                    <a:pt x="432426" y="508577"/>
                  </a:cubicBezTo>
                  <a:cubicBezTo>
                    <a:pt x="429706" y="516736"/>
                    <a:pt x="424267" y="522175"/>
                    <a:pt x="418828" y="530334"/>
                  </a:cubicBezTo>
                  <a:cubicBezTo>
                    <a:pt x="416108" y="535773"/>
                    <a:pt x="413388" y="543932"/>
                    <a:pt x="410669" y="549371"/>
                  </a:cubicBezTo>
                  <a:cubicBezTo>
                    <a:pt x="405230" y="557531"/>
                    <a:pt x="397071" y="573848"/>
                    <a:pt x="391631" y="579288"/>
                  </a:cubicBezTo>
                  <a:cubicBezTo>
                    <a:pt x="369874" y="609204"/>
                    <a:pt x="350836" y="620083"/>
                    <a:pt x="337238" y="630961"/>
                  </a:cubicBezTo>
                  <a:cubicBezTo>
                    <a:pt x="326359" y="639120"/>
                    <a:pt x="315481" y="641840"/>
                    <a:pt x="301883" y="647279"/>
                  </a:cubicBezTo>
                  <a:cubicBezTo>
                    <a:pt x="291004" y="649999"/>
                    <a:pt x="277405" y="652718"/>
                    <a:pt x="263807" y="652718"/>
                  </a:cubicBezTo>
                  <a:cubicBezTo>
                    <a:pt x="252929" y="652718"/>
                    <a:pt x="244770" y="649999"/>
                    <a:pt x="233891" y="649999"/>
                  </a:cubicBezTo>
                  <a:cubicBezTo>
                    <a:pt x="206694" y="649999"/>
                    <a:pt x="217573" y="652718"/>
                    <a:pt x="187657" y="652718"/>
                  </a:cubicBezTo>
                  <a:cubicBezTo>
                    <a:pt x="184937" y="660877"/>
                    <a:pt x="179498" y="666317"/>
                    <a:pt x="171339" y="669036"/>
                  </a:cubicBezTo>
                  <a:cubicBezTo>
                    <a:pt x="165900" y="671756"/>
                    <a:pt x="160460" y="671756"/>
                    <a:pt x="155021" y="671756"/>
                  </a:cubicBezTo>
                  <a:cubicBezTo>
                    <a:pt x="149581" y="671756"/>
                    <a:pt x="144142" y="674476"/>
                    <a:pt x="138703" y="674476"/>
                  </a:cubicBezTo>
                  <a:cubicBezTo>
                    <a:pt x="135983" y="674476"/>
                    <a:pt x="127824" y="677195"/>
                    <a:pt x="125105" y="677195"/>
                  </a:cubicBezTo>
                  <a:cubicBezTo>
                    <a:pt x="116946" y="677195"/>
                    <a:pt x="108787" y="671756"/>
                    <a:pt x="106067" y="671756"/>
                  </a:cubicBezTo>
                  <a:cubicBezTo>
                    <a:pt x="100628" y="669036"/>
                    <a:pt x="95188" y="663597"/>
                    <a:pt x="87029" y="658158"/>
                  </a:cubicBezTo>
                  <a:cubicBezTo>
                    <a:pt x="84310" y="655438"/>
                    <a:pt x="81590" y="655438"/>
                    <a:pt x="81590" y="652718"/>
                  </a:cubicBezTo>
                  <a:cubicBezTo>
                    <a:pt x="73431" y="652718"/>
                    <a:pt x="81590" y="652718"/>
                    <a:pt x="67992" y="652718"/>
                  </a:cubicBezTo>
                  <a:cubicBezTo>
                    <a:pt x="59833" y="652718"/>
                    <a:pt x="51674" y="652718"/>
                    <a:pt x="43515" y="652718"/>
                  </a:cubicBezTo>
                  <a:cubicBezTo>
                    <a:pt x="35356" y="652718"/>
                    <a:pt x="24477" y="652718"/>
                    <a:pt x="16318" y="647279"/>
                  </a:cubicBezTo>
                  <a:cubicBezTo>
                    <a:pt x="8159" y="644559"/>
                    <a:pt x="0" y="636401"/>
                    <a:pt x="0" y="630961"/>
                  </a:cubicBezTo>
                  <a:cubicBezTo>
                    <a:pt x="0" y="625522"/>
                    <a:pt x="0" y="622802"/>
                    <a:pt x="5439" y="620083"/>
                  </a:cubicBezTo>
                  <a:cubicBezTo>
                    <a:pt x="10879" y="617363"/>
                    <a:pt x="21758" y="614643"/>
                    <a:pt x="27197" y="611924"/>
                  </a:cubicBezTo>
                  <a:cubicBezTo>
                    <a:pt x="38076" y="609204"/>
                    <a:pt x="54393" y="609204"/>
                    <a:pt x="65272" y="609204"/>
                  </a:cubicBezTo>
                  <a:cubicBezTo>
                    <a:pt x="65272" y="601045"/>
                    <a:pt x="65272" y="592886"/>
                    <a:pt x="65272" y="584727"/>
                  </a:cubicBezTo>
                  <a:cubicBezTo>
                    <a:pt x="65272" y="541213"/>
                    <a:pt x="62552" y="500418"/>
                    <a:pt x="62552" y="456903"/>
                  </a:cubicBezTo>
                  <a:cubicBezTo>
                    <a:pt x="62552" y="440585"/>
                    <a:pt x="65272" y="397071"/>
                    <a:pt x="65272" y="337238"/>
                  </a:cubicBezTo>
                  <a:cubicBezTo>
                    <a:pt x="65272" y="293724"/>
                    <a:pt x="67992" y="247490"/>
                    <a:pt x="67992" y="203975"/>
                  </a:cubicBezTo>
                  <a:cubicBezTo>
                    <a:pt x="67992" y="179498"/>
                    <a:pt x="67992" y="149582"/>
                    <a:pt x="70712" y="119665"/>
                  </a:cubicBezTo>
                  <a:cubicBezTo>
                    <a:pt x="70712" y="103347"/>
                    <a:pt x="73431" y="84309"/>
                    <a:pt x="73431" y="67992"/>
                  </a:cubicBezTo>
                  <a:cubicBezTo>
                    <a:pt x="73431" y="67992"/>
                    <a:pt x="70712" y="67992"/>
                    <a:pt x="67992" y="67992"/>
                  </a:cubicBezTo>
                  <a:cubicBezTo>
                    <a:pt x="59833" y="67992"/>
                    <a:pt x="51674" y="67992"/>
                    <a:pt x="43515" y="67992"/>
                  </a:cubicBezTo>
                  <a:cubicBezTo>
                    <a:pt x="35356" y="67992"/>
                    <a:pt x="24477" y="67992"/>
                    <a:pt x="16318" y="62552"/>
                  </a:cubicBezTo>
                  <a:cubicBezTo>
                    <a:pt x="8159" y="59833"/>
                    <a:pt x="0" y="51674"/>
                    <a:pt x="0" y="46234"/>
                  </a:cubicBezTo>
                  <a:cubicBezTo>
                    <a:pt x="0" y="43515"/>
                    <a:pt x="0" y="38075"/>
                    <a:pt x="5439" y="35356"/>
                  </a:cubicBezTo>
                  <a:cubicBezTo>
                    <a:pt x="10879" y="32636"/>
                    <a:pt x="21758" y="29916"/>
                    <a:pt x="27197" y="27197"/>
                  </a:cubicBezTo>
                  <a:cubicBezTo>
                    <a:pt x="46234" y="24477"/>
                    <a:pt x="65272" y="21758"/>
                    <a:pt x="76151" y="21758"/>
                  </a:cubicBezTo>
                  <a:cubicBezTo>
                    <a:pt x="76151" y="19038"/>
                    <a:pt x="78871" y="16318"/>
                    <a:pt x="81590" y="13598"/>
                  </a:cubicBezTo>
                  <a:cubicBezTo>
                    <a:pt x="84310" y="10879"/>
                    <a:pt x="92469" y="5439"/>
                    <a:pt x="97908" y="5439"/>
                  </a:cubicBezTo>
                  <a:cubicBezTo>
                    <a:pt x="103347" y="2720"/>
                    <a:pt x="108787" y="0"/>
                    <a:pt x="114226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7" name="Freeform: Shape 46">
              <a:extLst>
                <a:ext uri="{FF2B5EF4-FFF2-40B4-BE49-F238E27FC236}">
                  <a16:creationId xmlns:a16="http://schemas.microsoft.com/office/drawing/2014/main" id="{DE7CE7BB-5D54-49B3-B53E-541559A726B8}"/>
                </a:ext>
              </a:extLst>
            </p:cNvPr>
            <p:cNvSpPr/>
            <p:nvPr/>
          </p:nvSpPr>
          <p:spPr bwMode="black">
            <a:xfrm>
              <a:off x="7310622" y="4197597"/>
              <a:ext cx="489539" cy="761503"/>
            </a:xfrm>
            <a:custGeom>
              <a:avLst/>
              <a:gdLst>
                <a:gd name="connsiteX0" fmla="*/ 433491 w 489538"/>
                <a:gd name="connsiteY0" fmla="*/ 651063 h 761503"/>
                <a:gd name="connsiteX1" fmla="*/ 438930 w 489538"/>
                <a:gd name="connsiteY1" fmla="*/ 661942 h 761503"/>
                <a:gd name="connsiteX2" fmla="*/ 425332 w 489538"/>
                <a:gd name="connsiteY2" fmla="*/ 683699 h 761503"/>
                <a:gd name="connsiteX3" fmla="*/ 400855 w 489538"/>
                <a:gd name="connsiteY3" fmla="*/ 691858 h 761503"/>
                <a:gd name="connsiteX4" fmla="*/ 343742 w 489538"/>
                <a:gd name="connsiteY4" fmla="*/ 700017 h 761503"/>
                <a:gd name="connsiteX5" fmla="*/ 316546 w 489538"/>
                <a:gd name="connsiteY5" fmla="*/ 705456 h 761503"/>
                <a:gd name="connsiteX6" fmla="*/ 275751 w 489538"/>
                <a:gd name="connsiteY6" fmla="*/ 705456 h 761503"/>
                <a:gd name="connsiteX7" fmla="*/ 264872 w 489538"/>
                <a:gd name="connsiteY7" fmla="*/ 708176 h 761503"/>
                <a:gd name="connsiteX8" fmla="*/ 253994 w 489538"/>
                <a:gd name="connsiteY8" fmla="*/ 708176 h 761503"/>
                <a:gd name="connsiteX9" fmla="*/ 240395 w 489538"/>
                <a:gd name="connsiteY9" fmla="*/ 719054 h 761503"/>
                <a:gd name="connsiteX10" fmla="*/ 224077 w 489538"/>
                <a:gd name="connsiteY10" fmla="*/ 721774 h 761503"/>
                <a:gd name="connsiteX11" fmla="*/ 205040 w 489538"/>
                <a:gd name="connsiteY11" fmla="*/ 724494 h 761503"/>
                <a:gd name="connsiteX12" fmla="*/ 191441 w 489538"/>
                <a:gd name="connsiteY12" fmla="*/ 727213 h 761503"/>
                <a:gd name="connsiteX13" fmla="*/ 169684 w 489538"/>
                <a:gd name="connsiteY13" fmla="*/ 721774 h 761503"/>
                <a:gd name="connsiteX14" fmla="*/ 150646 w 489538"/>
                <a:gd name="connsiteY14" fmla="*/ 708176 h 761503"/>
                <a:gd name="connsiteX15" fmla="*/ 139768 w 489538"/>
                <a:gd name="connsiteY15" fmla="*/ 708176 h 761503"/>
                <a:gd name="connsiteX16" fmla="*/ 120730 w 489538"/>
                <a:gd name="connsiteY16" fmla="*/ 708176 h 761503"/>
                <a:gd name="connsiteX17" fmla="*/ 98973 w 489538"/>
                <a:gd name="connsiteY17" fmla="*/ 708176 h 761503"/>
                <a:gd name="connsiteX18" fmla="*/ 74496 w 489538"/>
                <a:gd name="connsiteY18" fmla="*/ 702736 h 761503"/>
                <a:gd name="connsiteX19" fmla="*/ 58178 w 489538"/>
                <a:gd name="connsiteY19" fmla="*/ 683699 h 761503"/>
                <a:gd name="connsiteX20" fmla="*/ 63617 w 489538"/>
                <a:gd name="connsiteY20" fmla="*/ 675540 h 761503"/>
                <a:gd name="connsiteX21" fmla="*/ 85375 w 489538"/>
                <a:gd name="connsiteY21" fmla="*/ 667381 h 761503"/>
                <a:gd name="connsiteX22" fmla="*/ 128889 w 489538"/>
                <a:gd name="connsiteY22" fmla="*/ 661942 h 761503"/>
                <a:gd name="connsiteX23" fmla="*/ 128889 w 489538"/>
                <a:gd name="connsiteY23" fmla="*/ 602109 h 761503"/>
                <a:gd name="connsiteX24" fmla="*/ 126170 w 489538"/>
                <a:gd name="connsiteY24" fmla="*/ 523239 h 761503"/>
                <a:gd name="connsiteX25" fmla="*/ 126170 w 489538"/>
                <a:gd name="connsiteY25" fmla="*/ 468846 h 761503"/>
                <a:gd name="connsiteX26" fmla="*/ 123450 w 489538"/>
                <a:gd name="connsiteY26" fmla="*/ 409014 h 761503"/>
                <a:gd name="connsiteX27" fmla="*/ 123450 w 489538"/>
                <a:gd name="connsiteY27" fmla="*/ 384537 h 761503"/>
                <a:gd name="connsiteX28" fmla="*/ 126170 w 489538"/>
                <a:gd name="connsiteY28" fmla="*/ 349181 h 761503"/>
                <a:gd name="connsiteX29" fmla="*/ 126170 w 489538"/>
                <a:gd name="connsiteY29" fmla="*/ 324704 h 761503"/>
                <a:gd name="connsiteX30" fmla="*/ 128889 w 489538"/>
                <a:gd name="connsiteY30" fmla="*/ 292068 h 761503"/>
                <a:gd name="connsiteX31" fmla="*/ 134329 w 489538"/>
                <a:gd name="connsiteY31" fmla="*/ 234956 h 761503"/>
                <a:gd name="connsiteX32" fmla="*/ 134329 w 489538"/>
                <a:gd name="connsiteY32" fmla="*/ 172404 h 761503"/>
                <a:gd name="connsiteX33" fmla="*/ 137048 w 489538"/>
                <a:gd name="connsiteY33" fmla="*/ 123450 h 761503"/>
                <a:gd name="connsiteX34" fmla="*/ 123450 w 489538"/>
                <a:gd name="connsiteY34" fmla="*/ 123450 h 761503"/>
                <a:gd name="connsiteX35" fmla="*/ 101693 w 489538"/>
                <a:gd name="connsiteY35" fmla="*/ 123450 h 761503"/>
                <a:gd name="connsiteX36" fmla="*/ 77216 w 489538"/>
                <a:gd name="connsiteY36" fmla="*/ 118011 h 761503"/>
                <a:gd name="connsiteX37" fmla="*/ 60898 w 489538"/>
                <a:gd name="connsiteY37" fmla="*/ 98973 h 761503"/>
                <a:gd name="connsiteX38" fmla="*/ 66337 w 489538"/>
                <a:gd name="connsiteY38" fmla="*/ 90814 h 761503"/>
                <a:gd name="connsiteX39" fmla="*/ 88094 w 489538"/>
                <a:gd name="connsiteY39" fmla="*/ 82655 h 761503"/>
                <a:gd name="connsiteX40" fmla="*/ 145207 w 489538"/>
                <a:gd name="connsiteY40" fmla="*/ 77216 h 761503"/>
                <a:gd name="connsiteX41" fmla="*/ 145207 w 489538"/>
                <a:gd name="connsiteY41" fmla="*/ 77216 h 761503"/>
                <a:gd name="connsiteX42" fmla="*/ 153366 w 489538"/>
                <a:gd name="connsiteY42" fmla="*/ 69057 h 761503"/>
                <a:gd name="connsiteX43" fmla="*/ 177843 w 489538"/>
                <a:gd name="connsiteY43" fmla="*/ 60898 h 761503"/>
                <a:gd name="connsiteX44" fmla="*/ 196881 w 489538"/>
                <a:gd name="connsiteY44" fmla="*/ 58178 h 761503"/>
                <a:gd name="connsiteX45" fmla="*/ 205040 w 489538"/>
                <a:gd name="connsiteY45" fmla="*/ 58178 h 761503"/>
                <a:gd name="connsiteX46" fmla="*/ 215919 w 489538"/>
                <a:gd name="connsiteY46" fmla="*/ 63617 h 761503"/>
                <a:gd name="connsiteX47" fmla="*/ 229517 w 489538"/>
                <a:gd name="connsiteY47" fmla="*/ 69057 h 761503"/>
                <a:gd name="connsiteX48" fmla="*/ 256713 w 489538"/>
                <a:gd name="connsiteY48" fmla="*/ 77216 h 761503"/>
                <a:gd name="connsiteX49" fmla="*/ 264872 w 489538"/>
                <a:gd name="connsiteY49" fmla="*/ 77216 h 761503"/>
                <a:gd name="connsiteX50" fmla="*/ 281190 w 489538"/>
                <a:gd name="connsiteY50" fmla="*/ 77216 h 761503"/>
                <a:gd name="connsiteX51" fmla="*/ 330144 w 489538"/>
                <a:gd name="connsiteY51" fmla="*/ 77216 h 761503"/>
                <a:gd name="connsiteX52" fmla="*/ 357341 w 489538"/>
                <a:gd name="connsiteY52" fmla="*/ 79935 h 761503"/>
                <a:gd name="connsiteX53" fmla="*/ 387257 w 489538"/>
                <a:gd name="connsiteY53" fmla="*/ 82655 h 761503"/>
                <a:gd name="connsiteX54" fmla="*/ 406295 w 489538"/>
                <a:gd name="connsiteY54" fmla="*/ 85375 h 761503"/>
                <a:gd name="connsiteX55" fmla="*/ 417173 w 489538"/>
                <a:gd name="connsiteY55" fmla="*/ 79935 h 761503"/>
                <a:gd name="connsiteX56" fmla="*/ 425332 w 489538"/>
                <a:gd name="connsiteY56" fmla="*/ 85375 h 761503"/>
                <a:gd name="connsiteX57" fmla="*/ 433491 w 489538"/>
                <a:gd name="connsiteY57" fmla="*/ 104412 h 761503"/>
                <a:gd name="connsiteX58" fmla="*/ 436211 w 489538"/>
                <a:gd name="connsiteY58" fmla="*/ 137048 h 761503"/>
                <a:gd name="connsiteX59" fmla="*/ 438930 w 489538"/>
                <a:gd name="connsiteY59" fmla="*/ 183282 h 761503"/>
                <a:gd name="connsiteX60" fmla="*/ 422612 w 489538"/>
                <a:gd name="connsiteY60" fmla="*/ 218638 h 761503"/>
                <a:gd name="connsiteX61" fmla="*/ 406295 w 489538"/>
                <a:gd name="connsiteY61" fmla="*/ 213198 h 761503"/>
                <a:gd name="connsiteX62" fmla="*/ 398136 w 489538"/>
                <a:gd name="connsiteY62" fmla="*/ 196881 h 761503"/>
                <a:gd name="connsiteX63" fmla="*/ 395416 w 489538"/>
                <a:gd name="connsiteY63" fmla="*/ 175123 h 761503"/>
                <a:gd name="connsiteX64" fmla="*/ 395416 w 489538"/>
                <a:gd name="connsiteY64" fmla="*/ 153366 h 761503"/>
                <a:gd name="connsiteX65" fmla="*/ 395416 w 489538"/>
                <a:gd name="connsiteY65" fmla="*/ 126170 h 761503"/>
                <a:gd name="connsiteX66" fmla="*/ 370939 w 489538"/>
                <a:gd name="connsiteY66" fmla="*/ 128889 h 761503"/>
                <a:gd name="connsiteX67" fmla="*/ 338303 w 489538"/>
                <a:gd name="connsiteY67" fmla="*/ 131609 h 761503"/>
                <a:gd name="connsiteX68" fmla="*/ 286629 w 489538"/>
                <a:gd name="connsiteY68" fmla="*/ 134328 h 761503"/>
                <a:gd name="connsiteX69" fmla="*/ 273031 w 489538"/>
                <a:gd name="connsiteY69" fmla="*/ 137048 h 761503"/>
                <a:gd name="connsiteX70" fmla="*/ 262153 w 489538"/>
                <a:gd name="connsiteY70" fmla="*/ 142487 h 761503"/>
                <a:gd name="connsiteX71" fmla="*/ 259433 w 489538"/>
                <a:gd name="connsiteY71" fmla="*/ 153366 h 761503"/>
                <a:gd name="connsiteX72" fmla="*/ 262153 w 489538"/>
                <a:gd name="connsiteY72" fmla="*/ 166964 h 761503"/>
                <a:gd name="connsiteX73" fmla="*/ 262153 w 489538"/>
                <a:gd name="connsiteY73" fmla="*/ 196881 h 761503"/>
                <a:gd name="connsiteX74" fmla="*/ 262153 w 489538"/>
                <a:gd name="connsiteY74" fmla="*/ 215918 h 761503"/>
                <a:gd name="connsiteX75" fmla="*/ 262153 w 489538"/>
                <a:gd name="connsiteY75" fmla="*/ 251274 h 761503"/>
                <a:gd name="connsiteX76" fmla="*/ 259433 w 489538"/>
                <a:gd name="connsiteY76" fmla="*/ 278470 h 761503"/>
                <a:gd name="connsiteX77" fmla="*/ 259433 w 489538"/>
                <a:gd name="connsiteY77" fmla="*/ 308386 h 761503"/>
                <a:gd name="connsiteX78" fmla="*/ 259433 w 489538"/>
                <a:gd name="connsiteY78" fmla="*/ 321985 h 761503"/>
                <a:gd name="connsiteX79" fmla="*/ 259433 w 489538"/>
                <a:gd name="connsiteY79" fmla="*/ 332863 h 761503"/>
                <a:gd name="connsiteX80" fmla="*/ 267592 w 489538"/>
                <a:gd name="connsiteY80" fmla="*/ 335583 h 761503"/>
                <a:gd name="connsiteX81" fmla="*/ 281190 w 489538"/>
                <a:gd name="connsiteY81" fmla="*/ 335583 h 761503"/>
                <a:gd name="connsiteX82" fmla="*/ 327424 w 489538"/>
                <a:gd name="connsiteY82" fmla="*/ 338303 h 761503"/>
                <a:gd name="connsiteX83" fmla="*/ 351901 w 489538"/>
                <a:gd name="connsiteY83" fmla="*/ 341022 h 761503"/>
                <a:gd name="connsiteX84" fmla="*/ 351901 w 489538"/>
                <a:gd name="connsiteY84" fmla="*/ 335583 h 761503"/>
                <a:gd name="connsiteX85" fmla="*/ 351901 w 489538"/>
                <a:gd name="connsiteY85" fmla="*/ 313826 h 761503"/>
                <a:gd name="connsiteX86" fmla="*/ 357341 w 489538"/>
                <a:gd name="connsiteY86" fmla="*/ 289349 h 761503"/>
                <a:gd name="connsiteX87" fmla="*/ 373658 w 489538"/>
                <a:gd name="connsiteY87" fmla="*/ 273031 h 761503"/>
                <a:gd name="connsiteX88" fmla="*/ 381817 w 489538"/>
                <a:gd name="connsiteY88" fmla="*/ 278470 h 761503"/>
                <a:gd name="connsiteX89" fmla="*/ 389977 w 489538"/>
                <a:gd name="connsiteY89" fmla="*/ 300228 h 761503"/>
                <a:gd name="connsiteX90" fmla="*/ 395416 w 489538"/>
                <a:gd name="connsiteY90" fmla="*/ 351901 h 761503"/>
                <a:gd name="connsiteX91" fmla="*/ 398136 w 489538"/>
                <a:gd name="connsiteY91" fmla="*/ 409014 h 761503"/>
                <a:gd name="connsiteX92" fmla="*/ 381817 w 489538"/>
                <a:gd name="connsiteY92" fmla="*/ 444369 h 761503"/>
                <a:gd name="connsiteX93" fmla="*/ 365500 w 489538"/>
                <a:gd name="connsiteY93" fmla="*/ 438930 h 761503"/>
                <a:gd name="connsiteX94" fmla="*/ 357341 w 489538"/>
                <a:gd name="connsiteY94" fmla="*/ 422612 h 761503"/>
                <a:gd name="connsiteX95" fmla="*/ 354621 w 489538"/>
                <a:gd name="connsiteY95" fmla="*/ 400855 h 761503"/>
                <a:gd name="connsiteX96" fmla="*/ 354621 w 489538"/>
                <a:gd name="connsiteY96" fmla="*/ 381817 h 761503"/>
                <a:gd name="connsiteX97" fmla="*/ 270312 w 489538"/>
                <a:gd name="connsiteY97" fmla="*/ 381817 h 761503"/>
                <a:gd name="connsiteX98" fmla="*/ 256713 w 489538"/>
                <a:gd name="connsiteY98" fmla="*/ 395415 h 761503"/>
                <a:gd name="connsiteX99" fmla="*/ 253994 w 489538"/>
                <a:gd name="connsiteY99" fmla="*/ 422612 h 761503"/>
                <a:gd name="connsiteX100" fmla="*/ 253994 w 489538"/>
                <a:gd name="connsiteY100" fmla="*/ 433490 h 761503"/>
                <a:gd name="connsiteX101" fmla="*/ 253994 w 489538"/>
                <a:gd name="connsiteY101" fmla="*/ 449809 h 761503"/>
                <a:gd name="connsiteX102" fmla="*/ 256713 w 489538"/>
                <a:gd name="connsiteY102" fmla="*/ 474285 h 761503"/>
                <a:gd name="connsiteX103" fmla="*/ 256713 w 489538"/>
                <a:gd name="connsiteY103" fmla="*/ 496043 h 761503"/>
                <a:gd name="connsiteX104" fmla="*/ 259433 w 489538"/>
                <a:gd name="connsiteY104" fmla="*/ 534118 h 761503"/>
                <a:gd name="connsiteX105" fmla="*/ 259433 w 489538"/>
                <a:gd name="connsiteY105" fmla="*/ 591231 h 761503"/>
                <a:gd name="connsiteX106" fmla="*/ 262153 w 489538"/>
                <a:gd name="connsiteY106" fmla="*/ 618427 h 761503"/>
                <a:gd name="connsiteX107" fmla="*/ 267592 w 489538"/>
                <a:gd name="connsiteY107" fmla="*/ 648343 h 761503"/>
                <a:gd name="connsiteX108" fmla="*/ 292069 w 489538"/>
                <a:gd name="connsiteY108" fmla="*/ 651063 h 761503"/>
                <a:gd name="connsiteX109" fmla="*/ 327424 w 489538"/>
                <a:gd name="connsiteY109" fmla="*/ 651063 h 761503"/>
                <a:gd name="connsiteX110" fmla="*/ 362780 w 489538"/>
                <a:gd name="connsiteY110" fmla="*/ 653783 h 761503"/>
                <a:gd name="connsiteX111" fmla="*/ 395416 w 489538"/>
                <a:gd name="connsiteY111" fmla="*/ 648343 h 761503"/>
                <a:gd name="connsiteX112" fmla="*/ 395416 w 489538"/>
                <a:gd name="connsiteY112" fmla="*/ 618427 h 761503"/>
                <a:gd name="connsiteX113" fmla="*/ 395416 w 489538"/>
                <a:gd name="connsiteY113" fmla="*/ 596670 h 761503"/>
                <a:gd name="connsiteX114" fmla="*/ 398136 w 489538"/>
                <a:gd name="connsiteY114" fmla="*/ 574913 h 761503"/>
                <a:gd name="connsiteX115" fmla="*/ 406295 w 489538"/>
                <a:gd name="connsiteY115" fmla="*/ 558595 h 761503"/>
                <a:gd name="connsiteX116" fmla="*/ 422612 w 489538"/>
                <a:gd name="connsiteY116" fmla="*/ 553155 h 761503"/>
                <a:gd name="connsiteX117" fmla="*/ 438930 w 489538"/>
                <a:gd name="connsiteY117" fmla="*/ 588511 h 761503"/>
                <a:gd name="connsiteX118" fmla="*/ 436211 w 489538"/>
                <a:gd name="connsiteY118" fmla="*/ 645624 h 761503"/>
                <a:gd name="connsiteX119" fmla="*/ 433491 w 489538"/>
                <a:gd name="connsiteY119" fmla="*/ 651063 h 761503"/>
                <a:gd name="connsiteX120" fmla="*/ 433491 w 489538"/>
                <a:gd name="connsiteY120" fmla="*/ 651063 h 761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</a:cxnLst>
              <a:rect l="l" t="t" r="r" b="b"/>
              <a:pathLst>
                <a:path w="489538" h="761503">
                  <a:moveTo>
                    <a:pt x="433491" y="651063"/>
                  </a:moveTo>
                  <a:cubicBezTo>
                    <a:pt x="436211" y="653783"/>
                    <a:pt x="438930" y="656502"/>
                    <a:pt x="438930" y="661942"/>
                  </a:cubicBezTo>
                  <a:cubicBezTo>
                    <a:pt x="438930" y="670101"/>
                    <a:pt x="433491" y="678259"/>
                    <a:pt x="425332" y="683699"/>
                  </a:cubicBezTo>
                  <a:cubicBezTo>
                    <a:pt x="417173" y="689138"/>
                    <a:pt x="409014" y="689138"/>
                    <a:pt x="400855" y="691858"/>
                  </a:cubicBezTo>
                  <a:cubicBezTo>
                    <a:pt x="381817" y="694578"/>
                    <a:pt x="362780" y="694578"/>
                    <a:pt x="343742" y="700017"/>
                  </a:cubicBezTo>
                  <a:cubicBezTo>
                    <a:pt x="335583" y="702736"/>
                    <a:pt x="324705" y="702736"/>
                    <a:pt x="316546" y="705456"/>
                  </a:cubicBezTo>
                  <a:cubicBezTo>
                    <a:pt x="308387" y="705456"/>
                    <a:pt x="289349" y="705456"/>
                    <a:pt x="275751" y="705456"/>
                  </a:cubicBezTo>
                  <a:cubicBezTo>
                    <a:pt x="270312" y="705456"/>
                    <a:pt x="267592" y="708176"/>
                    <a:pt x="264872" y="708176"/>
                  </a:cubicBezTo>
                  <a:cubicBezTo>
                    <a:pt x="264872" y="708176"/>
                    <a:pt x="259433" y="708176"/>
                    <a:pt x="253994" y="708176"/>
                  </a:cubicBezTo>
                  <a:cubicBezTo>
                    <a:pt x="251274" y="713615"/>
                    <a:pt x="245835" y="716335"/>
                    <a:pt x="240395" y="719054"/>
                  </a:cubicBezTo>
                  <a:cubicBezTo>
                    <a:pt x="234956" y="721774"/>
                    <a:pt x="229517" y="721774"/>
                    <a:pt x="224077" y="721774"/>
                  </a:cubicBezTo>
                  <a:cubicBezTo>
                    <a:pt x="218638" y="721774"/>
                    <a:pt x="213199" y="724494"/>
                    <a:pt x="205040" y="724494"/>
                  </a:cubicBezTo>
                  <a:cubicBezTo>
                    <a:pt x="202320" y="724494"/>
                    <a:pt x="194161" y="727213"/>
                    <a:pt x="191441" y="727213"/>
                  </a:cubicBezTo>
                  <a:cubicBezTo>
                    <a:pt x="183282" y="727213"/>
                    <a:pt x="172404" y="721774"/>
                    <a:pt x="169684" y="721774"/>
                  </a:cubicBezTo>
                  <a:cubicBezTo>
                    <a:pt x="164245" y="719054"/>
                    <a:pt x="156086" y="713615"/>
                    <a:pt x="150646" y="708176"/>
                  </a:cubicBezTo>
                  <a:cubicBezTo>
                    <a:pt x="145207" y="708176"/>
                    <a:pt x="139768" y="708176"/>
                    <a:pt x="139768" y="708176"/>
                  </a:cubicBezTo>
                  <a:cubicBezTo>
                    <a:pt x="126170" y="708176"/>
                    <a:pt x="137048" y="708176"/>
                    <a:pt x="120730" y="708176"/>
                  </a:cubicBezTo>
                  <a:cubicBezTo>
                    <a:pt x="112571" y="708176"/>
                    <a:pt x="104412" y="708176"/>
                    <a:pt x="98973" y="708176"/>
                  </a:cubicBezTo>
                  <a:cubicBezTo>
                    <a:pt x="90814" y="708176"/>
                    <a:pt x="79936" y="708176"/>
                    <a:pt x="74496" y="702736"/>
                  </a:cubicBezTo>
                  <a:cubicBezTo>
                    <a:pt x="66337" y="700017"/>
                    <a:pt x="58178" y="689138"/>
                    <a:pt x="58178" y="683699"/>
                  </a:cubicBezTo>
                  <a:cubicBezTo>
                    <a:pt x="58178" y="680979"/>
                    <a:pt x="58178" y="678259"/>
                    <a:pt x="63617" y="675540"/>
                  </a:cubicBezTo>
                  <a:cubicBezTo>
                    <a:pt x="69057" y="672820"/>
                    <a:pt x="77216" y="670101"/>
                    <a:pt x="85375" y="667381"/>
                  </a:cubicBezTo>
                  <a:cubicBezTo>
                    <a:pt x="98973" y="664661"/>
                    <a:pt x="115291" y="664661"/>
                    <a:pt x="128889" y="661942"/>
                  </a:cubicBezTo>
                  <a:cubicBezTo>
                    <a:pt x="128889" y="645624"/>
                    <a:pt x="128889" y="623866"/>
                    <a:pt x="128889" y="602109"/>
                  </a:cubicBezTo>
                  <a:cubicBezTo>
                    <a:pt x="128889" y="566754"/>
                    <a:pt x="128889" y="531398"/>
                    <a:pt x="126170" y="523239"/>
                  </a:cubicBezTo>
                  <a:cubicBezTo>
                    <a:pt x="126170" y="517800"/>
                    <a:pt x="126170" y="487884"/>
                    <a:pt x="126170" y="468846"/>
                  </a:cubicBezTo>
                  <a:cubicBezTo>
                    <a:pt x="126170" y="449809"/>
                    <a:pt x="123450" y="430771"/>
                    <a:pt x="123450" y="409014"/>
                  </a:cubicBezTo>
                  <a:cubicBezTo>
                    <a:pt x="123450" y="400855"/>
                    <a:pt x="123450" y="392696"/>
                    <a:pt x="123450" y="384537"/>
                  </a:cubicBezTo>
                  <a:cubicBezTo>
                    <a:pt x="123450" y="373658"/>
                    <a:pt x="126170" y="360060"/>
                    <a:pt x="126170" y="349181"/>
                  </a:cubicBezTo>
                  <a:cubicBezTo>
                    <a:pt x="126170" y="341022"/>
                    <a:pt x="126170" y="332863"/>
                    <a:pt x="126170" y="324704"/>
                  </a:cubicBezTo>
                  <a:cubicBezTo>
                    <a:pt x="126170" y="313826"/>
                    <a:pt x="126170" y="302947"/>
                    <a:pt x="128889" y="292068"/>
                  </a:cubicBezTo>
                  <a:cubicBezTo>
                    <a:pt x="131609" y="273031"/>
                    <a:pt x="134329" y="253993"/>
                    <a:pt x="134329" y="234956"/>
                  </a:cubicBezTo>
                  <a:cubicBezTo>
                    <a:pt x="134329" y="213198"/>
                    <a:pt x="134329" y="191441"/>
                    <a:pt x="134329" y="172404"/>
                  </a:cubicBezTo>
                  <a:cubicBezTo>
                    <a:pt x="134329" y="156086"/>
                    <a:pt x="134329" y="139768"/>
                    <a:pt x="137048" y="123450"/>
                  </a:cubicBezTo>
                  <a:cubicBezTo>
                    <a:pt x="131609" y="123450"/>
                    <a:pt x="134329" y="123450"/>
                    <a:pt x="123450" y="123450"/>
                  </a:cubicBezTo>
                  <a:cubicBezTo>
                    <a:pt x="115291" y="123450"/>
                    <a:pt x="107132" y="123450"/>
                    <a:pt x="101693" y="123450"/>
                  </a:cubicBezTo>
                  <a:cubicBezTo>
                    <a:pt x="93534" y="123450"/>
                    <a:pt x="82655" y="123450"/>
                    <a:pt x="77216" y="118011"/>
                  </a:cubicBezTo>
                  <a:cubicBezTo>
                    <a:pt x="69057" y="115291"/>
                    <a:pt x="60898" y="101693"/>
                    <a:pt x="60898" y="98973"/>
                  </a:cubicBezTo>
                  <a:cubicBezTo>
                    <a:pt x="60898" y="96253"/>
                    <a:pt x="60898" y="93534"/>
                    <a:pt x="66337" y="90814"/>
                  </a:cubicBezTo>
                  <a:cubicBezTo>
                    <a:pt x="71777" y="88094"/>
                    <a:pt x="79936" y="85375"/>
                    <a:pt x="88094" y="82655"/>
                  </a:cubicBezTo>
                  <a:cubicBezTo>
                    <a:pt x="104412" y="79935"/>
                    <a:pt x="131609" y="77216"/>
                    <a:pt x="145207" y="77216"/>
                  </a:cubicBezTo>
                  <a:cubicBezTo>
                    <a:pt x="145207" y="77216"/>
                    <a:pt x="145207" y="77216"/>
                    <a:pt x="145207" y="77216"/>
                  </a:cubicBezTo>
                  <a:cubicBezTo>
                    <a:pt x="145207" y="74496"/>
                    <a:pt x="150646" y="71776"/>
                    <a:pt x="153366" y="69057"/>
                  </a:cubicBezTo>
                  <a:cubicBezTo>
                    <a:pt x="161525" y="63617"/>
                    <a:pt x="169684" y="63617"/>
                    <a:pt x="177843" y="60898"/>
                  </a:cubicBezTo>
                  <a:cubicBezTo>
                    <a:pt x="183282" y="58178"/>
                    <a:pt x="191441" y="58178"/>
                    <a:pt x="196881" y="58178"/>
                  </a:cubicBezTo>
                  <a:cubicBezTo>
                    <a:pt x="199600" y="58178"/>
                    <a:pt x="202320" y="58178"/>
                    <a:pt x="205040" y="58178"/>
                  </a:cubicBezTo>
                  <a:cubicBezTo>
                    <a:pt x="207759" y="58178"/>
                    <a:pt x="213199" y="60898"/>
                    <a:pt x="215919" y="63617"/>
                  </a:cubicBezTo>
                  <a:cubicBezTo>
                    <a:pt x="221358" y="66337"/>
                    <a:pt x="224077" y="66337"/>
                    <a:pt x="229517" y="69057"/>
                  </a:cubicBezTo>
                  <a:cubicBezTo>
                    <a:pt x="237675" y="71776"/>
                    <a:pt x="245835" y="77216"/>
                    <a:pt x="256713" y="77216"/>
                  </a:cubicBezTo>
                  <a:cubicBezTo>
                    <a:pt x="259433" y="77216"/>
                    <a:pt x="262153" y="77216"/>
                    <a:pt x="264872" y="77216"/>
                  </a:cubicBezTo>
                  <a:cubicBezTo>
                    <a:pt x="270312" y="77216"/>
                    <a:pt x="275751" y="77216"/>
                    <a:pt x="281190" y="77216"/>
                  </a:cubicBezTo>
                  <a:cubicBezTo>
                    <a:pt x="292069" y="77216"/>
                    <a:pt x="321985" y="77216"/>
                    <a:pt x="330144" y="77216"/>
                  </a:cubicBezTo>
                  <a:cubicBezTo>
                    <a:pt x="338303" y="77216"/>
                    <a:pt x="349182" y="77216"/>
                    <a:pt x="357341" y="79935"/>
                  </a:cubicBezTo>
                  <a:cubicBezTo>
                    <a:pt x="368219" y="79935"/>
                    <a:pt x="379098" y="82655"/>
                    <a:pt x="387257" y="82655"/>
                  </a:cubicBezTo>
                  <a:cubicBezTo>
                    <a:pt x="392696" y="82655"/>
                    <a:pt x="400855" y="85375"/>
                    <a:pt x="406295" y="85375"/>
                  </a:cubicBezTo>
                  <a:cubicBezTo>
                    <a:pt x="409014" y="82655"/>
                    <a:pt x="414453" y="79935"/>
                    <a:pt x="417173" y="79935"/>
                  </a:cubicBezTo>
                  <a:cubicBezTo>
                    <a:pt x="419893" y="79935"/>
                    <a:pt x="422612" y="79935"/>
                    <a:pt x="425332" y="85375"/>
                  </a:cubicBezTo>
                  <a:cubicBezTo>
                    <a:pt x="428052" y="90814"/>
                    <a:pt x="433491" y="98973"/>
                    <a:pt x="433491" y="104412"/>
                  </a:cubicBezTo>
                  <a:cubicBezTo>
                    <a:pt x="436211" y="131609"/>
                    <a:pt x="436211" y="120730"/>
                    <a:pt x="436211" y="137048"/>
                  </a:cubicBezTo>
                  <a:cubicBezTo>
                    <a:pt x="438930" y="158805"/>
                    <a:pt x="438930" y="158805"/>
                    <a:pt x="438930" y="183282"/>
                  </a:cubicBezTo>
                  <a:cubicBezTo>
                    <a:pt x="438930" y="194161"/>
                    <a:pt x="438930" y="218638"/>
                    <a:pt x="422612" y="218638"/>
                  </a:cubicBezTo>
                  <a:cubicBezTo>
                    <a:pt x="414453" y="218638"/>
                    <a:pt x="411734" y="215918"/>
                    <a:pt x="406295" y="213198"/>
                  </a:cubicBezTo>
                  <a:cubicBezTo>
                    <a:pt x="400855" y="210479"/>
                    <a:pt x="398136" y="202320"/>
                    <a:pt x="398136" y="196881"/>
                  </a:cubicBezTo>
                  <a:cubicBezTo>
                    <a:pt x="395416" y="188722"/>
                    <a:pt x="395416" y="183282"/>
                    <a:pt x="395416" y="175123"/>
                  </a:cubicBezTo>
                  <a:cubicBezTo>
                    <a:pt x="395416" y="169684"/>
                    <a:pt x="395416" y="164245"/>
                    <a:pt x="395416" y="153366"/>
                  </a:cubicBezTo>
                  <a:cubicBezTo>
                    <a:pt x="395416" y="145207"/>
                    <a:pt x="395416" y="134328"/>
                    <a:pt x="395416" y="126170"/>
                  </a:cubicBezTo>
                  <a:cubicBezTo>
                    <a:pt x="387257" y="128889"/>
                    <a:pt x="379098" y="128889"/>
                    <a:pt x="370939" y="128889"/>
                  </a:cubicBezTo>
                  <a:cubicBezTo>
                    <a:pt x="360060" y="128889"/>
                    <a:pt x="349182" y="128889"/>
                    <a:pt x="338303" y="131609"/>
                  </a:cubicBezTo>
                  <a:cubicBezTo>
                    <a:pt x="327424" y="131609"/>
                    <a:pt x="319265" y="134328"/>
                    <a:pt x="286629" y="134328"/>
                  </a:cubicBezTo>
                  <a:cubicBezTo>
                    <a:pt x="281190" y="134328"/>
                    <a:pt x="278470" y="134328"/>
                    <a:pt x="273031" y="137048"/>
                  </a:cubicBezTo>
                  <a:cubicBezTo>
                    <a:pt x="270312" y="137048"/>
                    <a:pt x="264872" y="137048"/>
                    <a:pt x="262153" y="142487"/>
                  </a:cubicBezTo>
                  <a:cubicBezTo>
                    <a:pt x="259433" y="145207"/>
                    <a:pt x="259433" y="150647"/>
                    <a:pt x="259433" y="153366"/>
                  </a:cubicBezTo>
                  <a:cubicBezTo>
                    <a:pt x="259433" y="158805"/>
                    <a:pt x="259433" y="164245"/>
                    <a:pt x="262153" y="166964"/>
                  </a:cubicBezTo>
                  <a:cubicBezTo>
                    <a:pt x="262153" y="177843"/>
                    <a:pt x="262153" y="186002"/>
                    <a:pt x="262153" y="196881"/>
                  </a:cubicBezTo>
                  <a:cubicBezTo>
                    <a:pt x="262153" y="202320"/>
                    <a:pt x="262153" y="210479"/>
                    <a:pt x="262153" y="215918"/>
                  </a:cubicBezTo>
                  <a:cubicBezTo>
                    <a:pt x="262153" y="229516"/>
                    <a:pt x="262153" y="240395"/>
                    <a:pt x="262153" y="251274"/>
                  </a:cubicBezTo>
                  <a:cubicBezTo>
                    <a:pt x="262153" y="259433"/>
                    <a:pt x="259433" y="270311"/>
                    <a:pt x="259433" y="278470"/>
                  </a:cubicBezTo>
                  <a:cubicBezTo>
                    <a:pt x="259433" y="289349"/>
                    <a:pt x="259433" y="297508"/>
                    <a:pt x="259433" y="308386"/>
                  </a:cubicBezTo>
                  <a:cubicBezTo>
                    <a:pt x="259433" y="313826"/>
                    <a:pt x="259433" y="319265"/>
                    <a:pt x="259433" y="321985"/>
                  </a:cubicBezTo>
                  <a:cubicBezTo>
                    <a:pt x="259433" y="324704"/>
                    <a:pt x="259433" y="330144"/>
                    <a:pt x="259433" y="332863"/>
                  </a:cubicBezTo>
                  <a:cubicBezTo>
                    <a:pt x="262153" y="335583"/>
                    <a:pt x="264872" y="335583"/>
                    <a:pt x="267592" y="335583"/>
                  </a:cubicBezTo>
                  <a:cubicBezTo>
                    <a:pt x="273031" y="335583"/>
                    <a:pt x="275751" y="335583"/>
                    <a:pt x="281190" y="335583"/>
                  </a:cubicBezTo>
                  <a:cubicBezTo>
                    <a:pt x="311107" y="335583"/>
                    <a:pt x="319265" y="335583"/>
                    <a:pt x="327424" y="338303"/>
                  </a:cubicBezTo>
                  <a:cubicBezTo>
                    <a:pt x="335583" y="341022"/>
                    <a:pt x="343742" y="341022"/>
                    <a:pt x="351901" y="341022"/>
                  </a:cubicBezTo>
                  <a:cubicBezTo>
                    <a:pt x="351901" y="338303"/>
                    <a:pt x="351901" y="338303"/>
                    <a:pt x="351901" y="335583"/>
                  </a:cubicBezTo>
                  <a:cubicBezTo>
                    <a:pt x="351901" y="327424"/>
                    <a:pt x="351901" y="319265"/>
                    <a:pt x="351901" y="313826"/>
                  </a:cubicBezTo>
                  <a:cubicBezTo>
                    <a:pt x="351901" y="305667"/>
                    <a:pt x="351901" y="294788"/>
                    <a:pt x="357341" y="289349"/>
                  </a:cubicBezTo>
                  <a:cubicBezTo>
                    <a:pt x="360060" y="281190"/>
                    <a:pt x="368219" y="273031"/>
                    <a:pt x="373658" y="273031"/>
                  </a:cubicBezTo>
                  <a:cubicBezTo>
                    <a:pt x="376378" y="273031"/>
                    <a:pt x="379098" y="273031"/>
                    <a:pt x="381817" y="278470"/>
                  </a:cubicBezTo>
                  <a:cubicBezTo>
                    <a:pt x="384537" y="283909"/>
                    <a:pt x="387257" y="292068"/>
                    <a:pt x="389977" y="300228"/>
                  </a:cubicBezTo>
                  <a:cubicBezTo>
                    <a:pt x="392696" y="316545"/>
                    <a:pt x="392696" y="335583"/>
                    <a:pt x="395416" y="351901"/>
                  </a:cubicBezTo>
                  <a:cubicBezTo>
                    <a:pt x="398136" y="373658"/>
                    <a:pt x="398136" y="384537"/>
                    <a:pt x="398136" y="409014"/>
                  </a:cubicBezTo>
                  <a:cubicBezTo>
                    <a:pt x="398136" y="422612"/>
                    <a:pt x="398136" y="444369"/>
                    <a:pt x="381817" y="444369"/>
                  </a:cubicBezTo>
                  <a:cubicBezTo>
                    <a:pt x="373658" y="444369"/>
                    <a:pt x="370939" y="441650"/>
                    <a:pt x="365500" y="438930"/>
                  </a:cubicBezTo>
                  <a:cubicBezTo>
                    <a:pt x="360060" y="436210"/>
                    <a:pt x="357341" y="428051"/>
                    <a:pt x="357341" y="422612"/>
                  </a:cubicBezTo>
                  <a:cubicBezTo>
                    <a:pt x="354621" y="414453"/>
                    <a:pt x="354621" y="409014"/>
                    <a:pt x="354621" y="400855"/>
                  </a:cubicBezTo>
                  <a:cubicBezTo>
                    <a:pt x="354621" y="395415"/>
                    <a:pt x="354621" y="389976"/>
                    <a:pt x="354621" y="381817"/>
                  </a:cubicBezTo>
                  <a:cubicBezTo>
                    <a:pt x="335583" y="381817"/>
                    <a:pt x="308387" y="384537"/>
                    <a:pt x="270312" y="381817"/>
                  </a:cubicBezTo>
                  <a:cubicBezTo>
                    <a:pt x="262153" y="381817"/>
                    <a:pt x="256713" y="387256"/>
                    <a:pt x="256713" y="395415"/>
                  </a:cubicBezTo>
                  <a:cubicBezTo>
                    <a:pt x="256713" y="403574"/>
                    <a:pt x="256713" y="414453"/>
                    <a:pt x="253994" y="422612"/>
                  </a:cubicBezTo>
                  <a:cubicBezTo>
                    <a:pt x="253994" y="425332"/>
                    <a:pt x="253994" y="430771"/>
                    <a:pt x="253994" y="433490"/>
                  </a:cubicBezTo>
                  <a:cubicBezTo>
                    <a:pt x="253994" y="438930"/>
                    <a:pt x="253994" y="444369"/>
                    <a:pt x="253994" y="449809"/>
                  </a:cubicBezTo>
                  <a:cubicBezTo>
                    <a:pt x="253994" y="457967"/>
                    <a:pt x="256713" y="466126"/>
                    <a:pt x="256713" y="474285"/>
                  </a:cubicBezTo>
                  <a:cubicBezTo>
                    <a:pt x="256713" y="482444"/>
                    <a:pt x="256713" y="490603"/>
                    <a:pt x="256713" y="496043"/>
                  </a:cubicBezTo>
                  <a:cubicBezTo>
                    <a:pt x="256713" y="509641"/>
                    <a:pt x="259433" y="520520"/>
                    <a:pt x="259433" y="534118"/>
                  </a:cubicBezTo>
                  <a:cubicBezTo>
                    <a:pt x="259433" y="553155"/>
                    <a:pt x="259433" y="572193"/>
                    <a:pt x="259433" y="591231"/>
                  </a:cubicBezTo>
                  <a:cubicBezTo>
                    <a:pt x="259433" y="602109"/>
                    <a:pt x="262153" y="610268"/>
                    <a:pt x="262153" y="618427"/>
                  </a:cubicBezTo>
                  <a:cubicBezTo>
                    <a:pt x="264872" y="626586"/>
                    <a:pt x="262153" y="642904"/>
                    <a:pt x="267592" y="648343"/>
                  </a:cubicBezTo>
                  <a:cubicBezTo>
                    <a:pt x="270312" y="651063"/>
                    <a:pt x="275751" y="651063"/>
                    <a:pt x="292069" y="651063"/>
                  </a:cubicBezTo>
                  <a:cubicBezTo>
                    <a:pt x="305667" y="651063"/>
                    <a:pt x="319265" y="651063"/>
                    <a:pt x="327424" y="651063"/>
                  </a:cubicBezTo>
                  <a:cubicBezTo>
                    <a:pt x="338303" y="651063"/>
                    <a:pt x="351901" y="653783"/>
                    <a:pt x="362780" y="653783"/>
                  </a:cubicBezTo>
                  <a:cubicBezTo>
                    <a:pt x="376378" y="653783"/>
                    <a:pt x="384537" y="651063"/>
                    <a:pt x="395416" y="648343"/>
                  </a:cubicBezTo>
                  <a:cubicBezTo>
                    <a:pt x="395416" y="637465"/>
                    <a:pt x="395416" y="629306"/>
                    <a:pt x="395416" y="618427"/>
                  </a:cubicBezTo>
                  <a:cubicBezTo>
                    <a:pt x="395416" y="610268"/>
                    <a:pt x="395416" y="602109"/>
                    <a:pt x="395416" y="596670"/>
                  </a:cubicBezTo>
                  <a:cubicBezTo>
                    <a:pt x="395416" y="591231"/>
                    <a:pt x="395416" y="585791"/>
                    <a:pt x="398136" y="574913"/>
                  </a:cubicBezTo>
                  <a:cubicBezTo>
                    <a:pt x="400855" y="569473"/>
                    <a:pt x="400855" y="564034"/>
                    <a:pt x="406295" y="558595"/>
                  </a:cubicBezTo>
                  <a:cubicBezTo>
                    <a:pt x="411734" y="553155"/>
                    <a:pt x="414453" y="553155"/>
                    <a:pt x="422612" y="553155"/>
                  </a:cubicBezTo>
                  <a:cubicBezTo>
                    <a:pt x="436211" y="553155"/>
                    <a:pt x="438930" y="577632"/>
                    <a:pt x="438930" y="588511"/>
                  </a:cubicBezTo>
                  <a:cubicBezTo>
                    <a:pt x="438930" y="612988"/>
                    <a:pt x="438930" y="623866"/>
                    <a:pt x="436211" y="645624"/>
                  </a:cubicBezTo>
                  <a:cubicBezTo>
                    <a:pt x="433491" y="648343"/>
                    <a:pt x="433491" y="648343"/>
                    <a:pt x="433491" y="651063"/>
                  </a:cubicBezTo>
                  <a:lnTo>
                    <a:pt x="433491" y="651063"/>
                  </a:ln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8" name="Freeform: Shape 47">
              <a:extLst>
                <a:ext uri="{FF2B5EF4-FFF2-40B4-BE49-F238E27FC236}">
                  <a16:creationId xmlns:a16="http://schemas.microsoft.com/office/drawing/2014/main" id="{E0134D3C-A529-412E-B918-F35B50DB4607}"/>
                </a:ext>
              </a:extLst>
            </p:cNvPr>
            <p:cNvSpPr/>
            <p:nvPr/>
          </p:nvSpPr>
          <p:spPr bwMode="black">
            <a:xfrm>
              <a:off x="7912732" y="4250336"/>
              <a:ext cx="465062" cy="658157"/>
            </a:xfrm>
            <a:custGeom>
              <a:avLst/>
              <a:gdLst>
                <a:gd name="connsiteX0" fmla="*/ 193096 w 465062"/>
                <a:gd name="connsiteY0" fmla="*/ 59832 h 658157"/>
                <a:gd name="connsiteX1" fmla="*/ 193096 w 465062"/>
                <a:gd name="connsiteY1" fmla="*/ 114226 h 658157"/>
                <a:gd name="connsiteX2" fmla="*/ 198536 w 465062"/>
                <a:gd name="connsiteY2" fmla="*/ 209414 h 658157"/>
                <a:gd name="connsiteX3" fmla="*/ 201255 w 465062"/>
                <a:gd name="connsiteY3" fmla="*/ 282845 h 658157"/>
                <a:gd name="connsiteX4" fmla="*/ 203975 w 465062"/>
                <a:gd name="connsiteY4" fmla="*/ 315481 h 658157"/>
                <a:gd name="connsiteX5" fmla="*/ 203975 w 465062"/>
                <a:gd name="connsiteY5" fmla="*/ 320920 h 658157"/>
                <a:gd name="connsiteX6" fmla="*/ 212134 w 465062"/>
                <a:gd name="connsiteY6" fmla="*/ 329079 h 658157"/>
                <a:gd name="connsiteX7" fmla="*/ 223013 w 465062"/>
                <a:gd name="connsiteY7" fmla="*/ 329079 h 658157"/>
                <a:gd name="connsiteX8" fmla="*/ 239331 w 465062"/>
                <a:gd name="connsiteY8" fmla="*/ 329079 h 658157"/>
                <a:gd name="connsiteX9" fmla="*/ 280126 w 465062"/>
                <a:gd name="connsiteY9" fmla="*/ 312761 h 658157"/>
                <a:gd name="connsiteX10" fmla="*/ 296443 w 465062"/>
                <a:gd name="connsiteY10" fmla="*/ 288284 h 658157"/>
                <a:gd name="connsiteX11" fmla="*/ 304602 w 465062"/>
                <a:gd name="connsiteY11" fmla="*/ 258368 h 658157"/>
                <a:gd name="connsiteX12" fmla="*/ 312761 w 465062"/>
                <a:gd name="connsiteY12" fmla="*/ 225732 h 658157"/>
                <a:gd name="connsiteX13" fmla="*/ 315481 w 465062"/>
                <a:gd name="connsiteY13" fmla="*/ 195816 h 658157"/>
                <a:gd name="connsiteX14" fmla="*/ 318201 w 465062"/>
                <a:gd name="connsiteY14" fmla="*/ 168619 h 658157"/>
                <a:gd name="connsiteX15" fmla="*/ 312761 w 465062"/>
                <a:gd name="connsiteY15" fmla="*/ 135983 h 658157"/>
                <a:gd name="connsiteX16" fmla="*/ 312761 w 465062"/>
                <a:gd name="connsiteY16" fmla="*/ 122385 h 658157"/>
                <a:gd name="connsiteX17" fmla="*/ 293724 w 465062"/>
                <a:gd name="connsiteY17" fmla="*/ 84309 h 658157"/>
                <a:gd name="connsiteX18" fmla="*/ 280126 w 465062"/>
                <a:gd name="connsiteY18" fmla="*/ 73430 h 658157"/>
                <a:gd name="connsiteX19" fmla="*/ 258368 w 465062"/>
                <a:gd name="connsiteY19" fmla="*/ 62552 h 658157"/>
                <a:gd name="connsiteX20" fmla="*/ 217573 w 465062"/>
                <a:gd name="connsiteY20" fmla="*/ 59832 h 658157"/>
                <a:gd name="connsiteX21" fmla="*/ 111506 w 465062"/>
                <a:gd name="connsiteY21" fmla="*/ 0 h 658157"/>
                <a:gd name="connsiteX22" fmla="*/ 127824 w 465062"/>
                <a:gd name="connsiteY22" fmla="*/ 0 h 658157"/>
                <a:gd name="connsiteX23" fmla="*/ 157741 w 465062"/>
                <a:gd name="connsiteY23" fmla="*/ 5440 h 658157"/>
                <a:gd name="connsiteX24" fmla="*/ 179497 w 465062"/>
                <a:gd name="connsiteY24" fmla="*/ 16318 h 658157"/>
                <a:gd name="connsiteX25" fmla="*/ 209414 w 465062"/>
                <a:gd name="connsiteY25" fmla="*/ 16318 h 658157"/>
                <a:gd name="connsiteX26" fmla="*/ 247489 w 465062"/>
                <a:gd name="connsiteY26" fmla="*/ 16318 h 658157"/>
                <a:gd name="connsiteX27" fmla="*/ 266527 w 465062"/>
                <a:gd name="connsiteY27" fmla="*/ 16318 h 658157"/>
                <a:gd name="connsiteX28" fmla="*/ 312761 w 465062"/>
                <a:gd name="connsiteY28" fmla="*/ 27197 h 658157"/>
                <a:gd name="connsiteX29" fmla="*/ 337238 w 465062"/>
                <a:gd name="connsiteY29" fmla="*/ 38075 h 658157"/>
                <a:gd name="connsiteX30" fmla="*/ 364434 w 465062"/>
                <a:gd name="connsiteY30" fmla="*/ 54393 h 658157"/>
                <a:gd name="connsiteX31" fmla="*/ 386192 w 465062"/>
                <a:gd name="connsiteY31" fmla="*/ 73431 h 658157"/>
                <a:gd name="connsiteX32" fmla="*/ 407949 w 465062"/>
                <a:gd name="connsiteY32" fmla="*/ 103347 h 658157"/>
                <a:gd name="connsiteX33" fmla="*/ 416108 w 465062"/>
                <a:gd name="connsiteY33" fmla="*/ 141422 h 658157"/>
                <a:gd name="connsiteX34" fmla="*/ 418828 w 465062"/>
                <a:gd name="connsiteY34" fmla="*/ 163179 h 658157"/>
                <a:gd name="connsiteX35" fmla="*/ 418828 w 465062"/>
                <a:gd name="connsiteY35" fmla="*/ 171339 h 658157"/>
                <a:gd name="connsiteX36" fmla="*/ 421547 w 465062"/>
                <a:gd name="connsiteY36" fmla="*/ 187656 h 658157"/>
                <a:gd name="connsiteX37" fmla="*/ 418828 w 465062"/>
                <a:gd name="connsiteY37" fmla="*/ 206694 h 658157"/>
                <a:gd name="connsiteX38" fmla="*/ 416108 w 465062"/>
                <a:gd name="connsiteY38" fmla="*/ 233891 h 658157"/>
                <a:gd name="connsiteX39" fmla="*/ 405229 w 465062"/>
                <a:gd name="connsiteY39" fmla="*/ 263807 h 658157"/>
                <a:gd name="connsiteX40" fmla="*/ 394351 w 465062"/>
                <a:gd name="connsiteY40" fmla="*/ 274686 h 658157"/>
                <a:gd name="connsiteX41" fmla="*/ 388912 w 465062"/>
                <a:gd name="connsiteY41" fmla="*/ 285564 h 658157"/>
                <a:gd name="connsiteX42" fmla="*/ 369874 w 465062"/>
                <a:gd name="connsiteY42" fmla="*/ 304602 h 658157"/>
                <a:gd name="connsiteX43" fmla="*/ 358995 w 465062"/>
                <a:gd name="connsiteY43" fmla="*/ 310041 h 658157"/>
                <a:gd name="connsiteX44" fmla="*/ 348117 w 465062"/>
                <a:gd name="connsiteY44" fmla="*/ 320920 h 658157"/>
                <a:gd name="connsiteX45" fmla="*/ 326359 w 465062"/>
                <a:gd name="connsiteY45" fmla="*/ 339957 h 658157"/>
                <a:gd name="connsiteX46" fmla="*/ 312761 w 465062"/>
                <a:gd name="connsiteY46" fmla="*/ 353555 h 658157"/>
                <a:gd name="connsiteX47" fmla="*/ 337238 w 465062"/>
                <a:gd name="connsiteY47" fmla="*/ 380752 h 658157"/>
                <a:gd name="connsiteX48" fmla="*/ 358995 w 465062"/>
                <a:gd name="connsiteY48" fmla="*/ 421547 h 658157"/>
                <a:gd name="connsiteX49" fmla="*/ 372593 w 465062"/>
                <a:gd name="connsiteY49" fmla="*/ 459622 h 658157"/>
                <a:gd name="connsiteX50" fmla="*/ 386192 w 465062"/>
                <a:gd name="connsiteY50" fmla="*/ 514015 h 658157"/>
                <a:gd name="connsiteX51" fmla="*/ 407949 w 465062"/>
                <a:gd name="connsiteY51" fmla="*/ 568408 h 658157"/>
                <a:gd name="connsiteX52" fmla="*/ 421547 w 465062"/>
                <a:gd name="connsiteY52" fmla="*/ 598324 h 658157"/>
                <a:gd name="connsiteX53" fmla="*/ 451463 w 465062"/>
                <a:gd name="connsiteY53" fmla="*/ 628241 h 658157"/>
                <a:gd name="connsiteX54" fmla="*/ 465062 w 465062"/>
                <a:gd name="connsiteY54" fmla="*/ 644559 h 658157"/>
                <a:gd name="connsiteX55" fmla="*/ 462342 w 465062"/>
                <a:gd name="connsiteY55" fmla="*/ 649998 h 658157"/>
                <a:gd name="connsiteX56" fmla="*/ 437865 w 465062"/>
                <a:gd name="connsiteY56" fmla="*/ 658157 h 658157"/>
                <a:gd name="connsiteX57" fmla="*/ 361715 w 465062"/>
                <a:gd name="connsiteY57" fmla="*/ 622801 h 658157"/>
                <a:gd name="connsiteX58" fmla="*/ 320920 w 465062"/>
                <a:gd name="connsiteY58" fmla="*/ 565689 h 658157"/>
                <a:gd name="connsiteX59" fmla="*/ 304602 w 465062"/>
                <a:gd name="connsiteY59" fmla="*/ 530333 h 658157"/>
                <a:gd name="connsiteX60" fmla="*/ 293723 w 465062"/>
                <a:gd name="connsiteY60" fmla="*/ 497697 h 658157"/>
                <a:gd name="connsiteX61" fmla="*/ 282845 w 465062"/>
                <a:gd name="connsiteY61" fmla="*/ 462342 h 658157"/>
                <a:gd name="connsiteX62" fmla="*/ 269246 w 465062"/>
                <a:gd name="connsiteY62" fmla="*/ 424267 h 658157"/>
                <a:gd name="connsiteX63" fmla="*/ 255648 w 465062"/>
                <a:gd name="connsiteY63" fmla="*/ 391631 h 658157"/>
                <a:gd name="connsiteX64" fmla="*/ 236610 w 465062"/>
                <a:gd name="connsiteY64" fmla="*/ 367154 h 658157"/>
                <a:gd name="connsiteX65" fmla="*/ 217573 w 465062"/>
                <a:gd name="connsiteY65" fmla="*/ 361714 h 658157"/>
                <a:gd name="connsiteX66" fmla="*/ 201255 w 465062"/>
                <a:gd name="connsiteY66" fmla="*/ 361714 h 658157"/>
                <a:gd name="connsiteX67" fmla="*/ 198535 w 465062"/>
                <a:gd name="connsiteY67" fmla="*/ 367154 h 658157"/>
                <a:gd name="connsiteX68" fmla="*/ 201255 w 465062"/>
                <a:gd name="connsiteY68" fmla="*/ 388911 h 658157"/>
                <a:gd name="connsiteX69" fmla="*/ 198535 w 465062"/>
                <a:gd name="connsiteY69" fmla="*/ 426986 h 658157"/>
                <a:gd name="connsiteX70" fmla="*/ 203975 w 465062"/>
                <a:gd name="connsiteY70" fmla="*/ 478660 h 658157"/>
                <a:gd name="connsiteX71" fmla="*/ 198535 w 465062"/>
                <a:gd name="connsiteY71" fmla="*/ 552090 h 658157"/>
                <a:gd name="connsiteX72" fmla="*/ 195816 w 465062"/>
                <a:gd name="connsiteY72" fmla="*/ 576567 h 658157"/>
                <a:gd name="connsiteX73" fmla="*/ 198535 w 465062"/>
                <a:gd name="connsiteY73" fmla="*/ 592885 h 658157"/>
                <a:gd name="connsiteX74" fmla="*/ 233891 w 465062"/>
                <a:gd name="connsiteY74" fmla="*/ 592885 h 658157"/>
                <a:gd name="connsiteX75" fmla="*/ 271966 w 465062"/>
                <a:gd name="connsiteY75" fmla="*/ 611923 h 658157"/>
                <a:gd name="connsiteX76" fmla="*/ 266527 w 465062"/>
                <a:gd name="connsiteY76" fmla="*/ 628241 h 658157"/>
                <a:gd name="connsiteX77" fmla="*/ 250209 w 465062"/>
                <a:gd name="connsiteY77" fmla="*/ 636400 h 658157"/>
                <a:gd name="connsiteX78" fmla="*/ 228451 w 465062"/>
                <a:gd name="connsiteY78" fmla="*/ 639119 h 658157"/>
                <a:gd name="connsiteX79" fmla="*/ 187657 w 465062"/>
                <a:gd name="connsiteY79" fmla="*/ 639119 h 658157"/>
                <a:gd name="connsiteX80" fmla="*/ 152301 w 465062"/>
                <a:gd name="connsiteY80" fmla="*/ 652717 h 658157"/>
                <a:gd name="connsiteX81" fmla="*/ 133263 w 465062"/>
                <a:gd name="connsiteY81" fmla="*/ 655437 h 658157"/>
                <a:gd name="connsiteX82" fmla="*/ 122385 w 465062"/>
                <a:gd name="connsiteY82" fmla="*/ 652717 h 658157"/>
                <a:gd name="connsiteX83" fmla="*/ 97908 w 465062"/>
                <a:gd name="connsiteY83" fmla="*/ 639119 h 658157"/>
                <a:gd name="connsiteX84" fmla="*/ 70711 w 465062"/>
                <a:gd name="connsiteY84" fmla="*/ 639119 h 658157"/>
                <a:gd name="connsiteX85" fmla="*/ 46234 w 465062"/>
                <a:gd name="connsiteY85" fmla="*/ 639119 h 658157"/>
                <a:gd name="connsiteX86" fmla="*/ 19038 w 465062"/>
                <a:gd name="connsiteY86" fmla="*/ 630960 h 658157"/>
                <a:gd name="connsiteX87" fmla="*/ 2720 w 465062"/>
                <a:gd name="connsiteY87" fmla="*/ 614642 h 658157"/>
                <a:gd name="connsiteX88" fmla="*/ 8159 w 465062"/>
                <a:gd name="connsiteY88" fmla="*/ 606483 h 658157"/>
                <a:gd name="connsiteX89" fmla="*/ 29916 w 465062"/>
                <a:gd name="connsiteY89" fmla="*/ 598324 h 658157"/>
                <a:gd name="connsiteX90" fmla="*/ 76151 w 465062"/>
                <a:gd name="connsiteY90" fmla="*/ 592885 h 658157"/>
                <a:gd name="connsiteX91" fmla="*/ 73431 w 465062"/>
                <a:gd name="connsiteY91" fmla="*/ 573848 h 658157"/>
                <a:gd name="connsiteX92" fmla="*/ 70711 w 465062"/>
                <a:gd name="connsiteY92" fmla="*/ 500417 h 658157"/>
                <a:gd name="connsiteX93" fmla="*/ 73431 w 465062"/>
                <a:gd name="connsiteY93" fmla="*/ 437865 h 658157"/>
                <a:gd name="connsiteX94" fmla="*/ 70711 w 465062"/>
                <a:gd name="connsiteY94" fmla="*/ 369873 h 658157"/>
                <a:gd name="connsiteX95" fmla="*/ 70711 w 465062"/>
                <a:gd name="connsiteY95" fmla="*/ 293723 h 658157"/>
                <a:gd name="connsiteX96" fmla="*/ 73431 w 465062"/>
                <a:gd name="connsiteY96" fmla="*/ 212133 h 658157"/>
                <a:gd name="connsiteX97" fmla="*/ 76151 w 465062"/>
                <a:gd name="connsiteY97" fmla="*/ 155021 h 658157"/>
                <a:gd name="connsiteX98" fmla="*/ 76151 w 465062"/>
                <a:gd name="connsiteY98" fmla="*/ 119665 h 658157"/>
                <a:gd name="connsiteX99" fmla="*/ 78870 w 465062"/>
                <a:gd name="connsiteY99" fmla="*/ 84310 h 658157"/>
                <a:gd name="connsiteX100" fmla="*/ 76151 w 465062"/>
                <a:gd name="connsiteY100" fmla="*/ 62552 h 658157"/>
                <a:gd name="connsiteX101" fmla="*/ 67992 w 465062"/>
                <a:gd name="connsiteY101" fmla="*/ 62552 h 658157"/>
                <a:gd name="connsiteX102" fmla="*/ 43515 w 465062"/>
                <a:gd name="connsiteY102" fmla="*/ 62552 h 658157"/>
                <a:gd name="connsiteX103" fmla="*/ 16318 w 465062"/>
                <a:gd name="connsiteY103" fmla="*/ 57113 h 658157"/>
                <a:gd name="connsiteX104" fmla="*/ 0 w 465062"/>
                <a:gd name="connsiteY104" fmla="*/ 40795 h 658157"/>
                <a:gd name="connsiteX105" fmla="*/ 5439 w 465062"/>
                <a:gd name="connsiteY105" fmla="*/ 32636 h 658157"/>
                <a:gd name="connsiteX106" fmla="*/ 27197 w 465062"/>
                <a:gd name="connsiteY106" fmla="*/ 24477 h 658157"/>
                <a:gd name="connsiteX107" fmla="*/ 76151 w 465062"/>
                <a:gd name="connsiteY107" fmla="*/ 19038 h 658157"/>
                <a:gd name="connsiteX108" fmla="*/ 78870 w 465062"/>
                <a:gd name="connsiteY108" fmla="*/ 13598 h 658157"/>
                <a:gd name="connsiteX109" fmla="*/ 95188 w 465062"/>
                <a:gd name="connsiteY109" fmla="*/ 5440 h 658157"/>
                <a:gd name="connsiteX110" fmla="*/ 111506 w 465062"/>
                <a:gd name="connsiteY110" fmla="*/ 0 h 6581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</a:cxnLst>
              <a:rect l="l" t="t" r="r" b="b"/>
              <a:pathLst>
                <a:path w="465062" h="658157">
                  <a:moveTo>
                    <a:pt x="193096" y="59832"/>
                  </a:moveTo>
                  <a:cubicBezTo>
                    <a:pt x="193096" y="73430"/>
                    <a:pt x="193096" y="89748"/>
                    <a:pt x="193096" y="114226"/>
                  </a:cubicBezTo>
                  <a:cubicBezTo>
                    <a:pt x="193096" y="144142"/>
                    <a:pt x="195816" y="176778"/>
                    <a:pt x="198536" y="209414"/>
                  </a:cubicBezTo>
                  <a:cubicBezTo>
                    <a:pt x="198536" y="247489"/>
                    <a:pt x="201255" y="277406"/>
                    <a:pt x="201255" y="282845"/>
                  </a:cubicBezTo>
                  <a:cubicBezTo>
                    <a:pt x="201255" y="293723"/>
                    <a:pt x="203975" y="304602"/>
                    <a:pt x="203975" y="315481"/>
                  </a:cubicBezTo>
                  <a:cubicBezTo>
                    <a:pt x="203975" y="318200"/>
                    <a:pt x="203975" y="318200"/>
                    <a:pt x="203975" y="320920"/>
                  </a:cubicBezTo>
                  <a:cubicBezTo>
                    <a:pt x="203975" y="326359"/>
                    <a:pt x="206695" y="329079"/>
                    <a:pt x="212134" y="329079"/>
                  </a:cubicBezTo>
                  <a:cubicBezTo>
                    <a:pt x="214854" y="329079"/>
                    <a:pt x="220293" y="329079"/>
                    <a:pt x="223013" y="329079"/>
                  </a:cubicBezTo>
                  <a:cubicBezTo>
                    <a:pt x="228452" y="329079"/>
                    <a:pt x="233891" y="329079"/>
                    <a:pt x="239331" y="329079"/>
                  </a:cubicBezTo>
                  <a:cubicBezTo>
                    <a:pt x="252929" y="329079"/>
                    <a:pt x="271967" y="323640"/>
                    <a:pt x="280126" y="312761"/>
                  </a:cubicBezTo>
                  <a:cubicBezTo>
                    <a:pt x="288284" y="304602"/>
                    <a:pt x="291004" y="299163"/>
                    <a:pt x="296443" y="288284"/>
                  </a:cubicBezTo>
                  <a:cubicBezTo>
                    <a:pt x="299163" y="277406"/>
                    <a:pt x="301883" y="269247"/>
                    <a:pt x="304602" y="258368"/>
                  </a:cubicBezTo>
                  <a:cubicBezTo>
                    <a:pt x="307322" y="244770"/>
                    <a:pt x="310042" y="239330"/>
                    <a:pt x="312761" y="225732"/>
                  </a:cubicBezTo>
                  <a:cubicBezTo>
                    <a:pt x="315481" y="212134"/>
                    <a:pt x="315481" y="209414"/>
                    <a:pt x="315481" y="195816"/>
                  </a:cubicBezTo>
                  <a:cubicBezTo>
                    <a:pt x="315481" y="179498"/>
                    <a:pt x="315481" y="184937"/>
                    <a:pt x="318201" y="168619"/>
                  </a:cubicBezTo>
                  <a:cubicBezTo>
                    <a:pt x="312761" y="152302"/>
                    <a:pt x="312761" y="149582"/>
                    <a:pt x="312761" y="135983"/>
                  </a:cubicBezTo>
                  <a:cubicBezTo>
                    <a:pt x="312761" y="133264"/>
                    <a:pt x="312761" y="127825"/>
                    <a:pt x="312761" y="122385"/>
                  </a:cubicBezTo>
                  <a:cubicBezTo>
                    <a:pt x="312761" y="111507"/>
                    <a:pt x="301883" y="95188"/>
                    <a:pt x="293724" y="84309"/>
                  </a:cubicBezTo>
                  <a:cubicBezTo>
                    <a:pt x="288284" y="78870"/>
                    <a:pt x="285565" y="76150"/>
                    <a:pt x="280126" y="73430"/>
                  </a:cubicBezTo>
                  <a:cubicBezTo>
                    <a:pt x="271967" y="67991"/>
                    <a:pt x="266527" y="65271"/>
                    <a:pt x="258368" y="62552"/>
                  </a:cubicBezTo>
                  <a:cubicBezTo>
                    <a:pt x="244770" y="59832"/>
                    <a:pt x="228452" y="59832"/>
                    <a:pt x="217573" y="59832"/>
                  </a:cubicBezTo>
                  <a:close/>
                  <a:moveTo>
                    <a:pt x="111506" y="0"/>
                  </a:moveTo>
                  <a:cubicBezTo>
                    <a:pt x="114226" y="0"/>
                    <a:pt x="122385" y="0"/>
                    <a:pt x="127824" y="0"/>
                  </a:cubicBezTo>
                  <a:cubicBezTo>
                    <a:pt x="135983" y="0"/>
                    <a:pt x="146862" y="2720"/>
                    <a:pt x="157741" y="5440"/>
                  </a:cubicBezTo>
                  <a:cubicBezTo>
                    <a:pt x="168619" y="8159"/>
                    <a:pt x="176778" y="10879"/>
                    <a:pt x="179497" y="16318"/>
                  </a:cubicBezTo>
                  <a:cubicBezTo>
                    <a:pt x="193096" y="16318"/>
                    <a:pt x="201255" y="16318"/>
                    <a:pt x="209414" y="16318"/>
                  </a:cubicBezTo>
                  <a:cubicBezTo>
                    <a:pt x="220292" y="16318"/>
                    <a:pt x="231171" y="16318"/>
                    <a:pt x="247489" y="16318"/>
                  </a:cubicBezTo>
                  <a:cubicBezTo>
                    <a:pt x="250209" y="16318"/>
                    <a:pt x="258368" y="16318"/>
                    <a:pt x="266527" y="16318"/>
                  </a:cubicBezTo>
                  <a:cubicBezTo>
                    <a:pt x="277405" y="16318"/>
                    <a:pt x="291004" y="21758"/>
                    <a:pt x="312761" y="27197"/>
                  </a:cubicBezTo>
                  <a:cubicBezTo>
                    <a:pt x="320920" y="29917"/>
                    <a:pt x="329079" y="35356"/>
                    <a:pt x="337238" y="38075"/>
                  </a:cubicBezTo>
                  <a:cubicBezTo>
                    <a:pt x="342677" y="40795"/>
                    <a:pt x="353556" y="48954"/>
                    <a:pt x="364434" y="54393"/>
                  </a:cubicBezTo>
                  <a:cubicBezTo>
                    <a:pt x="375313" y="62552"/>
                    <a:pt x="386192" y="67992"/>
                    <a:pt x="386192" y="73431"/>
                  </a:cubicBezTo>
                  <a:cubicBezTo>
                    <a:pt x="391631" y="84310"/>
                    <a:pt x="402510" y="92469"/>
                    <a:pt x="407949" y="103347"/>
                  </a:cubicBezTo>
                  <a:cubicBezTo>
                    <a:pt x="413388" y="116945"/>
                    <a:pt x="416108" y="130544"/>
                    <a:pt x="416108" y="141422"/>
                  </a:cubicBezTo>
                  <a:cubicBezTo>
                    <a:pt x="416108" y="152301"/>
                    <a:pt x="418828" y="157740"/>
                    <a:pt x="418828" y="163179"/>
                  </a:cubicBezTo>
                  <a:cubicBezTo>
                    <a:pt x="418828" y="165899"/>
                    <a:pt x="418828" y="168619"/>
                    <a:pt x="418828" y="171339"/>
                  </a:cubicBezTo>
                  <a:cubicBezTo>
                    <a:pt x="418828" y="174058"/>
                    <a:pt x="421547" y="182217"/>
                    <a:pt x="421547" y="187656"/>
                  </a:cubicBezTo>
                  <a:cubicBezTo>
                    <a:pt x="421547" y="193096"/>
                    <a:pt x="418828" y="201255"/>
                    <a:pt x="418828" y="206694"/>
                  </a:cubicBezTo>
                  <a:cubicBezTo>
                    <a:pt x="418828" y="217573"/>
                    <a:pt x="418828" y="223012"/>
                    <a:pt x="416108" y="233891"/>
                  </a:cubicBezTo>
                  <a:cubicBezTo>
                    <a:pt x="413388" y="244769"/>
                    <a:pt x="410668" y="255648"/>
                    <a:pt x="405229" y="263807"/>
                  </a:cubicBezTo>
                  <a:cubicBezTo>
                    <a:pt x="402510" y="269246"/>
                    <a:pt x="397070" y="269246"/>
                    <a:pt x="394351" y="274686"/>
                  </a:cubicBezTo>
                  <a:cubicBezTo>
                    <a:pt x="391631" y="277405"/>
                    <a:pt x="391631" y="282844"/>
                    <a:pt x="388912" y="285564"/>
                  </a:cubicBezTo>
                  <a:cubicBezTo>
                    <a:pt x="383472" y="291003"/>
                    <a:pt x="375313" y="301882"/>
                    <a:pt x="369874" y="304602"/>
                  </a:cubicBezTo>
                  <a:cubicBezTo>
                    <a:pt x="367154" y="307321"/>
                    <a:pt x="361715" y="307321"/>
                    <a:pt x="358995" y="310041"/>
                  </a:cubicBezTo>
                  <a:cubicBezTo>
                    <a:pt x="356275" y="312761"/>
                    <a:pt x="350836" y="318200"/>
                    <a:pt x="348117" y="320920"/>
                  </a:cubicBezTo>
                  <a:cubicBezTo>
                    <a:pt x="339958" y="326359"/>
                    <a:pt x="334518" y="334518"/>
                    <a:pt x="326359" y="339957"/>
                  </a:cubicBezTo>
                  <a:cubicBezTo>
                    <a:pt x="320920" y="342677"/>
                    <a:pt x="312761" y="342677"/>
                    <a:pt x="312761" y="353555"/>
                  </a:cubicBezTo>
                  <a:cubicBezTo>
                    <a:pt x="312761" y="361714"/>
                    <a:pt x="334518" y="372593"/>
                    <a:pt x="337238" y="380752"/>
                  </a:cubicBezTo>
                  <a:cubicBezTo>
                    <a:pt x="345397" y="394350"/>
                    <a:pt x="353556" y="407948"/>
                    <a:pt x="358995" y="421547"/>
                  </a:cubicBezTo>
                  <a:cubicBezTo>
                    <a:pt x="364434" y="435145"/>
                    <a:pt x="367154" y="446024"/>
                    <a:pt x="372593" y="459622"/>
                  </a:cubicBezTo>
                  <a:cubicBezTo>
                    <a:pt x="378033" y="478660"/>
                    <a:pt x="383472" y="494978"/>
                    <a:pt x="386192" y="514015"/>
                  </a:cubicBezTo>
                  <a:cubicBezTo>
                    <a:pt x="391631" y="533053"/>
                    <a:pt x="402510" y="549371"/>
                    <a:pt x="407949" y="568408"/>
                  </a:cubicBezTo>
                  <a:cubicBezTo>
                    <a:pt x="410668" y="579287"/>
                    <a:pt x="416108" y="590165"/>
                    <a:pt x="421547" y="598324"/>
                  </a:cubicBezTo>
                  <a:cubicBezTo>
                    <a:pt x="435146" y="614642"/>
                    <a:pt x="443305" y="622801"/>
                    <a:pt x="451463" y="628241"/>
                  </a:cubicBezTo>
                  <a:cubicBezTo>
                    <a:pt x="456903" y="630960"/>
                    <a:pt x="465062" y="636400"/>
                    <a:pt x="465062" y="644559"/>
                  </a:cubicBezTo>
                  <a:cubicBezTo>
                    <a:pt x="465062" y="647278"/>
                    <a:pt x="465062" y="647278"/>
                    <a:pt x="462342" y="649998"/>
                  </a:cubicBezTo>
                  <a:cubicBezTo>
                    <a:pt x="456903" y="655437"/>
                    <a:pt x="446024" y="658157"/>
                    <a:pt x="437865" y="658157"/>
                  </a:cubicBezTo>
                  <a:cubicBezTo>
                    <a:pt x="413388" y="658157"/>
                    <a:pt x="378033" y="641839"/>
                    <a:pt x="361715" y="622801"/>
                  </a:cubicBezTo>
                  <a:cubicBezTo>
                    <a:pt x="345397" y="606483"/>
                    <a:pt x="334518" y="584726"/>
                    <a:pt x="320920" y="565689"/>
                  </a:cubicBezTo>
                  <a:cubicBezTo>
                    <a:pt x="315480" y="554810"/>
                    <a:pt x="310041" y="543931"/>
                    <a:pt x="304602" y="530333"/>
                  </a:cubicBezTo>
                  <a:cubicBezTo>
                    <a:pt x="299163" y="519454"/>
                    <a:pt x="296443" y="508576"/>
                    <a:pt x="293723" y="497697"/>
                  </a:cubicBezTo>
                  <a:cubicBezTo>
                    <a:pt x="291004" y="486819"/>
                    <a:pt x="288284" y="473220"/>
                    <a:pt x="282845" y="462342"/>
                  </a:cubicBezTo>
                  <a:cubicBezTo>
                    <a:pt x="280125" y="448743"/>
                    <a:pt x="274686" y="437865"/>
                    <a:pt x="269246" y="424267"/>
                  </a:cubicBezTo>
                  <a:cubicBezTo>
                    <a:pt x="266527" y="416108"/>
                    <a:pt x="261087" y="402509"/>
                    <a:pt x="255648" y="391631"/>
                  </a:cubicBezTo>
                  <a:cubicBezTo>
                    <a:pt x="250209" y="380752"/>
                    <a:pt x="244770" y="375313"/>
                    <a:pt x="236610" y="367154"/>
                  </a:cubicBezTo>
                  <a:cubicBezTo>
                    <a:pt x="231171" y="361714"/>
                    <a:pt x="223012" y="361714"/>
                    <a:pt x="217573" y="361714"/>
                  </a:cubicBezTo>
                  <a:cubicBezTo>
                    <a:pt x="212134" y="361714"/>
                    <a:pt x="206694" y="361714"/>
                    <a:pt x="201255" y="361714"/>
                  </a:cubicBezTo>
                  <a:cubicBezTo>
                    <a:pt x="198535" y="361714"/>
                    <a:pt x="198535" y="364434"/>
                    <a:pt x="198535" y="367154"/>
                  </a:cubicBezTo>
                  <a:cubicBezTo>
                    <a:pt x="198535" y="375313"/>
                    <a:pt x="201255" y="386191"/>
                    <a:pt x="201255" y="388911"/>
                  </a:cubicBezTo>
                  <a:cubicBezTo>
                    <a:pt x="201255" y="402509"/>
                    <a:pt x="198535" y="413388"/>
                    <a:pt x="198535" y="426986"/>
                  </a:cubicBezTo>
                  <a:cubicBezTo>
                    <a:pt x="198535" y="446024"/>
                    <a:pt x="203975" y="456902"/>
                    <a:pt x="203975" y="478660"/>
                  </a:cubicBezTo>
                  <a:cubicBezTo>
                    <a:pt x="203975" y="503136"/>
                    <a:pt x="201255" y="527613"/>
                    <a:pt x="198535" y="552090"/>
                  </a:cubicBezTo>
                  <a:cubicBezTo>
                    <a:pt x="198535" y="560249"/>
                    <a:pt x="195816" y="568408"/>
                    <a:pt x="195816" y="576567"/>
                  </a:cubicBezTo>
                  <a:cubicBezTo>
                    <a:pt x="195816" y="582006"/>
                    <a:pt x="195816" y="587446"/>
                    <a:pt x="198535" y="592885"/>
                  </a:cubicBezTo>
                  <a:cubicBezTo>
                    <a:pt x="212134" y="592885"/>
                    <a:pt x="225732" y="592885"/>
                    <a:pt x="233891" y="592885"/>
                  </a:cubicBezTo>
                  <a:cubicBezTo>
                    <a:pt x="247489" y="592885"/>
                    <a:pt x="271966" y="592885"/>
                    <a:pt x="271966" y="611923"/>
                  </a:cubicBezTo>
                  <a:cubicBezTo>
                    <a:pt x="271966" y="620082"/>
                    <a:pt x="269246" y="622801"/>
                    <a:pt x="266527" y="628241"/>
                  </a:cubicBezTo>
                  <a:cubicBezTo>
                    <a:pt x="261087" y="633680"/>
                    <a:pt x="255648" y="636400"/>
                    <a:pt x="250209" y="636400"/>
                  </a:cubicBezTo>
                  <a:cubicBezTo>
                    <a:pt x="239330" y="639119"/>
                    <a:pt x="233891" y="639119"/>
                    <a:pt x="228451" y="639119"/>
                  </a:cubicBezTo>
                  <a:cubicBezTo>
                    <a:pt x="223012" y="639119"/>
                    <a:pt x="206694" y="639119"/>
                    <a:pt x="187657" y="639119"/>
                  </a:cubicBezTo>
                  <a:cubicBezTo>
                    <a:pt x="176778" y="647278"/>
                    <a:pt x="163180" y="649998"/>
                    <a:pt x="152301" y="652717"/>
                  </a:cubicBezTo>
                  <a:cubicBezTo>
                    <a:pt x="146862" y="652717"/>
                    <a:pt x="138703" y="655437"/>
                    <a:pt x="133263" y="655437"/>
                  </a:cubicBezTo>
                  <a:cubicBezTo>
                    <a:pt x="130544" y="655437"/>
                    <a:pt x="125104" y="655437"/>
                    <a:pt x="122385" y="652717"/>
                  </a:cubicBezTo>
                  <a:cubicBezTo>
                    <a:pt x="114226" y="649998"/>
                    <a:pt x="103347" y="644559"/>
                    <a:pt x="97908" y="639119"/>
                  </a:cubicBezTo>
                  <a:cubicBezTo>
                    <a:pt x="87029" y="639119"/>
                    <a:pt x="78870" y="639119"/>
                    <a:pt x="70711" y="639119"/>
                  </a:cubicBezTo>
                  <a:cubicBezTo>
                    <a:pt x="62552" y="639119"/>
                    <a:pt x="54393" y="639119"/>
                    <a:pt x="46234" y="639119"/>
                  </a:cubicBezTo>
                  <a:cubicBezTo>
                    <a:pt x="38075" y="639119"/>
                    <a:pt x="27197" y="633680"/>
                    <a:pt x="19038" y="630960"/>
                  </a:cubicBezTo>
                  <a:cubicBezTo>
                    <a:pt x="10879" y="628241"/>
                    <a:pt x="2720" y="620082"/>
                    <a:pt x="2720" y="614642"/>
                  </a:cubicBezTo>
                  <a:cubicBezTo>
                    <a:pt x="2720" y="611923"/>
                    <a:pt x="2720" y="609203"/>
                    <a:pt x="8159" y="606483"/>
                  </a:cubicBezTo>
                  <a:cubicBezTo>
                    <a:pt x="13599" y="603764"/>
                    <a:pt x="24477" y="601044"/>
                    <a:pt x="29916" y="598324"/>
                  </a:cubicBezTo>
                  <a:cubicBezTo>
                    <a:pt x="43515" y="595605"/>
                    <a:pt x="62552" y="595605"/>
                    <a:pt x="76151" y="592885"/>
                  </a:cubicBezTo>
                  <a:cubicBezTo>
                    <a:pt x="76151" y="587446"/>
                    <a:pt x="73431" y="582006"/>
                    <a:pt x="73431" y="573848"/>
                  </a:cubicBezTo>
                  <a:cubicBezTo>
                    <a:pt x="73431" y="565689"/>
                    <a:pt x="70711" y="516735"/>
                    <a:pt x="70711" y="500417"/>
                  </a:cubicBezTo>
                  <a:cubicBezTo>
                    <a:pt x="70711" y="481379"/>
                    <a:pt x="73431" y="456902"/>
                    <a:pt x="73431" y="437865"/>
                  </a:cubicBezTo>
                  <a:cubicBezTo>
                    <a:pt x="73431" y="416108"/>
                    <a:pt x="70711" y="391631"/>
                    <a:pt x="70711" y="369873"/>
                  </a:cubicBezTo>
                  <a:cubicBezTo>
                    <a:pt x="70711" y="345397"/>
                    <a:pt x="70711" y="318200"/>
                    <a:pt x="70711" y="293723"/>
                  </a:cubicBezTo>
                  <a:cubicBezTo>
                    <a:pt x="70711" y="266526"/>
                    <a:pt x="73431" y="239330"/>
                    <a:pt x="73431" y="212133"/>
                  </a:cubicBezTo>
                  <a:cubicBezTo>
                    <a:pt x="73431" y="187656"/>
                    <a:pt x="76151" y="179498"/>
                    <a:pt x="76151" y="155021"/>
                  </a:cubicBezTo>
                  <a:cubicBezTo>
                    <a:pt x="76151" y="144142"/>
                    <a:pt x="76151" y="130544"/>
                    <a:pt x="76151" y="119665"/>
                  </a:cubicBezTo>
                  <a:cubicBezTo>
                    <a:pt x="76151" y="106067"/>
                    <a:pt x="78870" y="95188"/>
                    <a:pt x="78870" y="84310"/>
                  </a:cubicBezTo>
                  <a:cubicBezTo>
                    <a:pt x="78870" y="78870"/>
                    <a:pt x="78870" y="70711"/>
                    <a:pt x="76151" y="62552"/>
                  </a:cubicBezTo>
                  <a:cubicBezTo>
                    <a:pt x="76151" y="62552"/>
                    <a:pt x="73431" y="62552"/>
                    <a:pt x="67992" y="62552"/>
                  </a:cubicBezTo>
                  <a:cubicBezTo>
                    <a:pt x="59833" y="62552"/>
                    <a:pt x="51674" y="62552"/>
                    <a:pt x="43515" y="62552"/>
                  </a:cubicBezTo>
                  <a:cubicBezTo>
                    <a:pt x="35356" y="62552"/>
                    <a:pt x="24477" y="59833"/>
                    <a:pt x="16318" y="57113"/>
                  </a:cubicBezTo>
                  <a:cubicBezTo>
                    <a:pt x="8159" y="54393"/>
                    <a:pt x="0" y="43515"/>
                    <a:pt x="0" y="40795"/>
                  </a:cubicBezTo>
                  <a:cubicBezTo>
                    <a:pt x="0" y="38075"/>
                    <a:pt x="0" y="35356"/>
                    <a:pt x="5439" y="32636"/>
                  </a:cubicBezTo>
                  <a:cubicBezTo>
                    <a:pt x="10879" y="29917"/>
                    <a:pt x="21758" y="27197"/>
                    <a:pt x="27197" y="24477"/>
                  </a:cubicBezTo>
                  <a:cubicBezTo>
                    <a:pt x="46234" y="21758"/>
                    <a:pt x="62552" y="19038"/>
                    <a:pt x="76151" y="19038"/>
                  </a:cubicBezTo>
                  <a:cubicBezTo>
                    <a:pt x="76151" y="16318"/>
                    <a:pt x="78870" y="16318"/>
                    <a:pt x="78870" y="13598"/>
                  </a:cubicBezTo>
                  <a:cubicBezTo>
                    <a:pt x="84309" y="10879"/>
                    <a:pt x="89749" y="8159"/>
                    <a:pt x="95188" y="5440"/>
                  </a:cubicBezTo>
                  <a:cubicBezTo>
                    <a:pt x="100628" y="2720"/>
                    <a:pt x="106067" y="0"/>
                    <a:pt x="111506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9" name="Freeform: Shape 48">
              <a:extLst>
                <a:ext uri="{FF2B5EF4-FFF2-40B4-BE49-F238E27FC236}">
                  <a16:creationId xmlns:a16="http://schemas.microsoft.com/office/drawing/2014/main" id="{C06216BF-A380-4FA9-9B4A-C9DC258CCF12}"/>
                </a:ext>
              </a:extLst>
            </p:cNvPr>
            <p:cNvSpPr/>
            <p:nvPr/>
          </p:nvSpPr>
          <p:spPr bwMode="black">
            <a:xfrm>
              <a:off x="8346812" y="4186718"/>
              <a:ext cx="353556" cy="761503"/>
            </a:xfrm>
            <a:custGeom>
              <a:avLst/>
              <a:gdLst>
                <a:gd name="connsiteX0" fmla="*/ 283910 w 353555"/>
                <a:gd name="connsiteY0" fmla="*/ 672820 h 761503"/>
                <a:gd name="connsiteX1" fmla="*/ 321985 w 353555"/>
                <a:gd name="connsiteY1" fmla="*/ 689138 h 761503"/>
                <a:gd name="connsiteX2" fmla="*/ 316546 w 353555"/>
                <a:gd name="connsiteY2" fmla="*/ 705456 h 761503"/>
                <a:gd name="connsiteX3" fmla="*/ 300228 w 353555"/>
                <a:gd name="connsiteY3" fmla="*/ 713615 h 761503"/>
                <a:gd name="connsiteX4" fmla="*/ 278471 w 353555"/>
                <a:gd name="connsiteY4" fmla="*/ 716335 h 761503"/>
                <a:gd name="connsiteX5" fmla="*/ 237676 w 353555"/>
                <a:gd name="connsiteY5" fmla="*/ 716335 h 761503"/>
                <a:gd name="connsiteX6" fmla="*/ 180563 w 353555"/>
                <a:gd name="connsiteY6" fmla="*/ 719054 h 761503"/>
                <a:gd name="connsiteX7" fmla="*/ 126170 w 353555"/>
                <a:gd name="connsiteY7" fmla="*/ 719054 h 761503"/>
                <a:gd name="connsiteX8" fmla="*/ 101693 w 353555"/>
                <a:gd name="connsiteY8" fmla="*/ 719054 h 761503"/>
                <a:gd name="connsiteX9" fmla="*/ 74496 w 353555"/>
                <a:gd name="connsiteY9" fmla="*/ 713615 h 761503"/>
                <a:gd name="connsiteX10" fmla="*/ 58178 w 353555"/>
                <a:gd name="connsiteY10" fmla="*/ 697297 h 761503"/>
                <a:gd name="connsiteX11" fmla="*/ 63618 w 353555"/>
                <a:gd name="connsiteY11" fmla="*/ 689138 h 761503"/>
                <a:gd name="connsiteX12" fmla="*/ 85375 w 353555"/>
                <a:gd name="connsiteY12" fmla="*/ 680979 h 761503"/>
                <a:gd name="connsiteX13" fmla="*/ 131609 w 353555"/>
                <a:gd name="connsiteY13" fmla="*/ 675540 h 761503"/>
                <a:gd name="connsiteX14" fmla="*/ 142488 w 353555"/>
                <a:gd name="connsiteY14" fmla="*/ 675540 h 761503"/>
                <a:gd name="connsiteX15" fmla="*/ 131609 w 353555"/>
                <a:gd name="connsiteY15" fmla="*/ 653783 h 761503"/>
                <a:gd name="connsiteX16" fmla="*/ 128890 w 353555"/>
                <a:gd name="connsiteY16" fmla="*/ 640184 h 761503"/>
                <a:gd name="connsiteX17" fmla="*/ 128890 w 353555"/>
                <a:gd name="connsiteY17" fmla="*/ 629306 h 761503"/>
                <a:gd name="connsiteX18" fmla="*/ 128890 w 353555"/>
                <a:gd name="connsiteY18" fmla="*/ 621147 h 761503"/>
                <a:gd name="connsiteX19" fmla="*/ 128890 w 353555"/>
                <a:gd name="connsiteY19" fmla="*/ 593950 h 761503"/>
                <a:gd name="connsiteX20" fmla="*/ 128890 w 353555"/>
                <a:gd name="connsiteY20" fmla="*/ 583072 h 761503"/>
                <a:gd name="connsiteX21" fmla="*/ 128890 w 353555"/>
                <a:gd name="connsiteY21" fmla="*/ 436210 h 761503"/>
                <a:gd name="connsiteX22" fmla="*/ 128890 w 353555"/>
                <a:gd name="connsiteY22" fmla="*/ 357340 h 761503"/>
                <a:gd name="connsiteX23" fmla="*/ 131609 w 353555"/>
                <a:gd name="connsiteY23" fmla="*/ 289349 h 761503"/>
                <a:gd name="connsiteX24" fmla="*/ 131609 w 353555"/>
                <a:gd name="connsiteY24" fmla="*/ 251274 h 761503"/>
                <a:gd name="connsiteX25" fmla="*/ 131609 w 353555"/>
                <a:gd name="connsiteY25" fmla="*/ 205040 h 761503"/>
                <a:gd name="connsiteX26" fmla="*/ 131609 w 353555"/>
                <a:gd name="connsiteY26" fmla="*/ 139768 h 761503"/>
                <a:gd name="connsiteX27" fmla="*/ 131609 w 353555"/>
                <a:gd name="connsiteY27" fmla="*/ 128889 h 761503"/>
                <a:gd name="connsiteX28" fmla="*/ 126170 w 353555"/>
                <a:gd name="connsiteY28" fmla="*/ 128889 h 761503"/>
                <a:gd name="connsiteX29" fmla="*/ 101693 w 353555"/>
                <a:gd name="connsiteY29" fmla="*/ 128889 h 761503"/>
                <a:gd name="connsiteX30" fmla="*/ 74496 w 353555"/>
                <a:gd name="connsiteY30" fmla="*/ 123450 h 761503"/>
                <a:gd name="connsiteX31" fmla="*/ 58178 w 353555"/>
                <a:gd name="connsiteY31" fmla="*/ 107132 h 761503"/>
                <a:gd name="connsiteX32" fmla="*/ 60898 w 353555"/>
                <a:gd name="connsiteY32" fmla="*/ 98973 h 761503"/>
                <a:gd name="connsiteX33" fmla="*/ 82655 w 353555"/>
                <a:gd name="connsiteY33" fmla="*/ 93534 h 761503"/>
                <a:gd name="connsiteX34" fmla="*/ 131609 w 353555"/>
                <a:gd name="connsiteY34" fmla="*/ 88094 h 761503"/>
                <a:gd name="connsiteX35" fmla="*/ 131609 w 353555"/>
                <a:gd name="connsiteY35" fmla="*/ 82655 h 761503"/>
                <a:gd name="connsiteX36" fmla="*/ 134329 w 353555"/>
                <a:gd name="connsiteY36" fmla="*/ 71776 h 761503"/>
                <a:gd name="connsiteX37" fmla="*/ 147927 w 353555"/>
                <a:gd name="connsiteY37" fmla="*/ 63617 h 761503"/>
                <a:gd name="connsiteX38" fmla="*/ 164245 w 353555"/>
                <a:gd name="connsiteY38" fmla="*/ 58178 h 761503"/>
                <a:gd name="connsiteX39" fmla="*/ 177843 w 353555"/>
                <a:gd name="connsiteY39" fmla="*/ 58178 h 761503"/>
                <a:gd name="connsiteX40" fmla="*/ 196881 w 353555"/>
                <a:gd name="connsiteY40" fmla="*/ 60898 h 761503"/>
                <a:gd name="connsiteX41" fmla="*/ 232237 w 353555"/>
                <a:gd name="connsiteY41" fmla="*/ 88094 h 761503"/>
                <a:gd name="connsiteX42" fmla="*/ 278471 w 353555"/>
                <a:gd name="connsiteY42" fmla="*/ 88094 h 761503"/>
                <a:gd name="connsiteX43" fmla="*/ 316546 w 353555"/>
                <a:gd name="connsiteY43" fmla="*/ 104412 h 761503"/>
                <a:gd name="connsiteX44" fmla="*/ 311107 w 353555"/>
                <a:gd name="connsiteY44" fmla="*/ 120730 h 761503"/>
                <a:gd name="connsiteX45" fmla="*/ 294789 w 353555"/>
                <a:gd name="connsiteY45" fmla="*/ 128889 h 761503"/>
                <a:gd name="connsiteX46" fmla="*/ 273032 w 353555"/>
                <a:gd name="connsiteY46" fmla="*/ 131609 h 761503"/>
                <a:gd name="connsiteX47" fmla="*/ 243115 w 353555"/>
                <a:gd name="connsiteY47" fmla="*/ 131609 h 761503"/>
                <a:gd name="connsiteX48" fmla="*/ 243115 w 353555"/>
                <a:gd name="connsiteY48" fmla="*/ 134329 h 761503"/>
                <a:gd name="connsiteX49" fmla="*/ 248554 w 353555"/>
                <a:gd name="connsiteY49" fmla="*/ 169684 h 761503"/>
                <a:gd name="connsiteX50" fmla="*/ 251274 w 353555"/>
                <a:gd name="connsiteY50" fmla="*/ 205040 h 761503"/>
                <a:gd name="connsiteX51" fmla="*/ 251274 w 353555"/>
                <a:gd name="connsiteY51" fmla="*/ 240395 h 761503"/>
                <a:gd name="connsiteX52" fmla="*/ 251274 w 353555"/>
                <a:gd name="connsiteY52" fmla="*/ 256713 h 761503"/>
                <a:gd name="connsiteX53" fmla="*/ 253994 w 353555"/>
                <a:gd name="connsiteY53" fmla="*/ 270311 h 761503"/>
                <a:gd name="connsiteX54" fmla="*/ 259433 w 353555"/>
                <a:gd name="connsiteY54" fmla="*/ 343742 h 761503"/>
                <a:gd name="connsiteX55" fmla="*/ 262153 w 353555"/>
                <a:gd name="connsiteY55" fmla="*/ 425332 h 761503"/>
                <a:gd name="connsiteX56" fmla="*/ 264872 w 353555"/>
                <a:gd name="connsiteY56" fmla="*/ 490603 h 761503"/>
                <a:gd name="connsiteX57" fmla="*/ 270312 w 353555"/>
                <a:gd name="connsiteY57" fmla="*/ 564034 h 761503"/>
                <a:gd name="connsiteX58" fmla="*/ 270312 w 353555"/>
                <a:gd name="connsiteY58" fmla="*/ 599390 h 761503"/>
                <a:gd name="connsiteX59" fmla="*/ 270312 w 353555"/>
                <a:gd name="connsiteY59" fmla="*/ 637465 h 761503"/>
                <a:gd name="connsiteX60" fmla="*/ 264872 w 353555"/>
                <a:gd name="connsiteY60" fmla="*/ 670101 h 761503"/>
                <a:gd name="connsiteX61" fmla="*/ 283910 w 353555"/>
                <a:gd name="connsiteY61" fmla="*/ 672820 h 761503"/>
                <a:gd name="connsiteX62" fmla="*/ 283910 w 353555"/>
                <a:gd name="connsiteY62" fmla="*/ 672820 h 761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</a:cxnLst>
              <a:rect l="l" t="t" r="r" b="b"/>
              <a:pathLst>
                <a:path w="353555" h="761503">
                  <a:moveTo>
                    <a:pt x="283910" y="672820"/>
                  </a:moveTo>
                  <a:cubicBezTo>
                    <a:pt x="297508" y="672820"/>
                    <a:pt x="321985" y="672820"/>
                    <a:pt x="321985" y="689138"/>
                  </a:cubicBezTo>
                  <a:cubicBezTo>
                    <a:pt x="321985" y="697297"/>
                    <a:pt x="319266" y="697297"/>
                    <a:pt x="316546" y="705456"/>
                  </a:cubicBezTo>
                  <a:cubicBezTo>
                    <a:pt x="311107" y="710895"/>
                    <a:pt x="305667" y="713615"/>
                    <a:pt x="300228" y="713615"/>
                  </a:cubicBezTo>
                  <a:cubicBezTo>
                    <a:pt x="292069" y="716335"/>
                    <a:pt x="283910" y="716335"/>
                    <a:pt x="278471" y="716335"/>
                  </a:cubicBezTo>
                  <a:cubicBezTo>
                    <a:pt x="275751" y="716335"/>
                    <a:pt x="256713" y="716335"/>
                    <a:pt x="237676" y="716335"/>
                  </a:cubicBezTo>
                  <a:cubicBezTo>
                    <a:pt x="213199" y="716335"/>
                    <a:pt x="186003" y="719054"/>
                    <a:pt x="180563" y="719054"/>
                  </a:cubicBezTo>
                  <a:cubicBezTo>
                    <a:pt x="166965" y="719054"/>
                    <a:pt x="142488" y="719054"/>
                    <a:pt x="126170" y="719054"/>
                  </a:cubicBezTo>
                  <a:cubicBezTo>
                    <a:pt x="118011" y="719054"/>
                    <a:pt x="109852" y="719054"/>
                    <a:pt x="101693" y="719054"/>
                  </a:cubicBezTo>
                  <a:cubicBezTo>
                    <a:pt x="93534" y="719054"/>
                    <a:pt x="82655" y="719054"/>
                    <a:pt x="74496" y="713615"/>
                  </a:cubicBezTo>
                  <a:cubicBezTo>
                    <a:pt x="66337" y="710895"/>
                    <a:pt x="58178" y="702736"/>
                    <a:pt x="58178" y="697297"/>
                  </a:cubicBezTo>
                  <a:cubicBezTo>
                    <a:pt x="58178" y="694578"/>
                    <a:pt x="58178" y="691858"/>
                    <a:pt x="63618" y="689138"/>
                  </a:cubicBezTo>
                  <a:cubicBezTo>
                    <a:pt x="69057" y="686418"/>
                    <a:pt x="79936" y="683699"/>
                    <a:pt x="85375" y="680979"/>
                  </a:cubicBezTo>
                  <a:cubicBezTo>
                    <a:pt x="104413" y="678260"/>
                    <a:pt x="123450" y="675540"/>
                    <a:pt x="131609" y="675540"/>
                  </a:cubicBezTo>
                  <a:cubicBezTo>
                    <a:pt x="134329" y="675540"/>
                    <a:pt x="137049" y="675540"/>
                    <a:pt x="142488" y="675540"/>
                  </a:cubicBezTo>
                  <a:cubicBezTo>
                    <a:pt x="134329" y="670101"/>
                    <a:pt x="131609" y="661942"/>
                    <a:pt x="131609" y="653783"/>
                  </a:cubicBezTo>
                  <a:cubicBezTo>
                    <a:pt x="131609" y="648343"/>
                    <a:pt x="131609" y="642904"/>
                    <a:pt x="128890" y="640184"/>
                  </a:cubicBezTo>
                  <a:cubicBezTo>
                    <a:pt x="128890" y="637465"/>
                    <a:pt x="128890" y="634745"/>
                    <a:pt x="128890" y="629306"/>
                  </a:cubicBezTo>
                  <a:cubicBezTo>
                    <a:pt x="128890" y="626586"/>
                    <a:pt x="128890" y="623867"/>
                    <a:pt x="128890" y="621147"/>
                  </a:cubicBezTo>
                  <a:cubicBezTo>
                    <a:pt x="128890" y="612988"/>
                    <a:pt x="128890" y="604829"/>
                    <a:pt x="128890" y="593950"/>
                  </a:cubicBezTo>
                  <a:cubicBezTo>
                    <a:pt x="128890" y="591231"/>
                    <a:pt x="128890" y="585791"/>
                    <a:pt x="128890" y="583072"/>
                  </a:cubicBezTo>
                  <a:cubicBezTo>
                    <a:pt x="128890" y="534118"/>
                    <a:pt x="131609" y="485164"/>
                    <a:pt x="128890" y="436210"/>
                  </a:cubicBezTo>
                  <a:cubicBezTo>
                    <a:pt x="128890" y="409014"/>
                    <a:pt x="128890" y="384537"/>
                    <a:pt x="128890" y="357340"/>
                  </a:cubicBezTo>
                  <a:cubicBezTo>
                    <a:pt x="128890" y="335583"/>
                    <a:pt x="131609" y="313826"/>
                    <a:pt x="131609" y="289349"/>
                  </a:cubicBezTo>
                  <a:cubicBezTo>
                    <a:pt x="131609" y="275751"/>
                    <a:pt x="131609" y="264872"/>
                    <a:pt x="131609" y="251274"/>
                  </a:cubicBezTo>
                  <a:cubicBezTo>
                    <a:pt x="131609" y="234956"/>
                    <a:pt x="131609" y="221357"/>
                    <a:pt x="131609" y="205040"/>
                  </a:cubicBezTo>
                  <a:cubicBezTo>
                    <a:pt x="131609" y="183282"/>
                    <a:pt x="131609" y="161525"/>
                    <a:pt x="131609" y="139768"/>
                  </a:cubicBezTo>
                  <a:cubicBezTo>
                    <a:pt x="131609" y="137048"/>
                    <a:pt x="131609" y="134329"/>
                    <a:pt x="131609" y="128889"/>
                  </a:cubicBezTo>
                  <a:cubicBezTo>
                    <a:pt x="128890" y="128889"/>
                    <a:pt x="126170" y="128889"/>
                    <a:pt x="126170" y="128889"/>
                  </a:cubicBezTo>
                  <a:cubicBezTo>
                    <a:pt x="118011" y="128889"/>
                    <a:pt x="109852" y="128889"/>
                    <a:pt x="101693" y="128889"/>
                  </a:cubicBezTo>
                  <a:cubicBezTo>
                    <a:pt x="93534" y="128889"/>
                    <a:pt x="82655" y="128889"/>
                    <a:pt x="74496" y="123450"/>
                  </a:cubicBezTo>
                  <a:cubicBezTo>
                    <a:pt x="66337" y="120730"/>
                    <a:pt x="58178" y="112571"/>
                    <a:pt x="58178" y="107132"/>
                  </a:cubicBezTo>
                  <a:cubicBezTo>
                    <a:pt x="58178" y="104412"/>
                    <a:pt x="58178" y="101693"/>
                    <a:pt x="60898" y="98973"/>
                  </a:cubicBezTo>
                  <a:cubicBezTo>
                    <a:pt x="63618" y="96253"/>
                    <a:pt x="77216" y="93534"/>
                    <a:pt x="82655" y="93534"/>
                  </a:cubicBezTo>
                  <a:cubicBezTo>
                    <a:pt x="98973" y="90814"/>
                    <a:pt x="123450" y="88094"/>
                    <a:pt x="131609" y="88094"/>
                  </a:cubicBezTo>
                  <a:cubicBezTo>
                    <a:pt x="131609" y="85375"/>
                    <a:pt x="131609" y="85375"/>
                    <a:pt x="131609" y="82655"/>
                  </a:cubicBezTo>
                  <a:cubicBezTo>
                    <a:pt x="131609" y="77216"/>
                    <a:pt x="131609" y="74496"/>
                    <a:pt x="134329" y="71776"/>
                  </a:cubicBezTo>
                  <a:cubicBezTo>
                    <a:pt x="137049" y="69057"/>
                    <a:pt x="145208" y="66337"/>
                    <a:pt x="147927" y="63617"/>
                  </a:cubicBezTo>
                  <a:cubicBezTo>
                    <a:pt x="153366" y="60898"/>
                    <a:pt x="158806" y="58178"/>
                    <a:pt x="164245" y="58178"/>
                  </a:cubicBezTo>
                  <a:cubicBezTo>
                    <a:pt x="169684" y="58178"/>
                    <a:pt x="175124" y="58178"/>
                    <a:pt x="177843" y="58178"/>
                  </a:cubicBezTo>
                  <a:cubicBezTo>
                    <a:pt x="183283" y="58178"/>
                    <a:pt x="191442" y="58178"/>
                    <a:pt x="196881" y="60898"/>
                  </a:cubicBezTo>
                  <a:cubicBezTo>
                    <a:pt x="213199" y="63617"/>
                    <a:pt x="224078" y="74496"/>
                    <a:pt x="232237" y="88094"/>
                  </a:cubicBezTo>
                  <a:cubicBezTo>
                    <a:pt x="253994" y="88094"/>
                    <a:pt x="270312" y="88094"/>
                    <a:pt x="278471" y="88094"/>
                  </a:cubicBezTo>
                  <a:cubicBezTo>
                    <a:pt x="292069" y="88094"/>
                    <a:pt x="316546" y="88094"/>
                    <a:pt x="316546" y="104412"/>
                  </a:cubicBezTo>
                  <a:cubicBezTo>
                    <a:pt x="316546" y="112571"/>
                    <a:pt x="313826" y="112571"/>
                    <a:pt x="311107" y="120730"/>
                  </a:cubicBezTo>
                  <a:cubicBezTo>
                    <a:pt x="305667" y="126170"/>
                    <a:pt x="300228" y="128889"/>
                    <a:pt x="294789" y="128889"/>
                  </a:cubicBezTo>
                  <a:cubicBezTo>
                    <a:pt x="286630" y="131609"/>
                    <a:pt x="278471" y="131609"/>
                    <a:pt x="273032" y="131609"/>
                  </a:cubicBezTo>
                  <a:cubicBezTo>
                    <a:pt x="270312" y="131609"/>
                    <a:pt x="259433" y="131609"/>
                    <a:pt x="243115" y="131609"/>
                  </a:cubicBezTo>
                  <a:lnTo>
                    <a:pt x="243115" y="134329"/>
                  </a:lnTo>
                  <a:cubicBezTo>
                    <a:pt x="245835" y="145207"/>
                    <a:pt x="245835" y="158805"/>
                    <a:pt x="248554" y="169684"/>
                  </a:cubicBezTo>
                  <a:cubicBezTo>
                    <a:pt x="251274" y="180563"/>
                    <a:pt x="251274" y="194161"/>
                    <a:pt x="251274" y="205040"/>
                  </a:cubicBezTo>
                  <a:cubicBezTo>
                    <a:pt x="251274" y="215918"/>
                    <a:pt x="251274" y="226797"/>
                    <a:pt x="251274" y="240395"/>
                  </a:cubicBezTo>
                  <a:cubicBezTo>
                    <a:pt x="251274" y="245834"/>
                    <a:pt x="251274" y="251274"/>
                    <a:pt x="251274" y="256713"/>
                  </a:cubicBezTo>
                  <a:cubicBezTo>
                    <a:pt x="251274" y="262152"/>
                    <a:pt x="251274" y="267592"/>
                    <a:pt x="253994" y="270311"/>
                  </a:cubicBezTo>
                  <a:cubicBezTo>
                    <a:pt x="256713" y="294788"/>
                    <a:pt x="256713" y="319265"/>
                    <a:pt x="259433" y="343742"/>
                  </a:cubicBezTo>
                  <a:cubicBezTo>
                    <a:pt x="259433" y="370939"/>
                    <a:pt x="262153" y="398135"/>
                    <a:pt x="262153" y="425332"/>
                  </a:cubicBezTo>
                  <a:cubicBezTo>
                    <a:pt x="262153" y="447089"/>
                    <a:pt x="262153" y="468846"/>
                    <a:pt x="264872" y="490603"/>
                  </a:cubicBezTo>
                  <a:cubicBezTo>
                    <a:pt x="264872" y="515080"/>
                    <a:pt x="270312" y="539557"/>
                    <a:pt x="270312" y="564034"/>
                  </a:cubicBezTo>
                  <a:cubicBezTo>
                    <a:pt x="270312" y="574913"/>
                    <a:pt x="270312" y="588511"/>
                    <a:pt x="270312" y="599390"/>
                  </a:cubicBezTo>
                  <a:cubicBezTo>
                    <a:pt x="270312" y="612988"/>
                    <a:pt x="270312" y="623867"/>
                    <a:pt x="270312" y="637465"/>
                  </a:cubicBezTo>
                  <a:cubicBezTo>
                    <a:pt x="270312" y="648343"/>
                    <a:pt x="270312" y="661942"/>
                    <a:pt x="264872" y="670101"/>
                  </a:cubicBezTo>
                  <a:cubicBezTo>
                    <a:pt x="273032" y="672820"/>
                    <a:pt x="278471" y="672820"/>
                    <a:pt x="283910" y="672820"/>
                  </a:cubicBezTo>
                  <a:lnTo>
                    <a:pt x="283910" y="672820"/>
                  </a:ln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0" name="Freeform: Shape 49">
              <a:extLst>
                <a:ext uri="{FF2B5EF4-FFF2-40B4-BE49-F238E27FC236}">
                  <a16:creationId xmlns:a16="http://schemas.microsoft.com/office/drawing/2014/main" id="{D3FA18A3-B765-448E-A96D-70ECA09B74C4}"/>
                </a:ext>
              </a:extLst>
            </p:cNvPr>
            <p:cNvSpPr/>
            <p:nvPr/>
          </p:nvSpPr>
          <p:spPr bwMode="black">
            <a:xfrm>
              <a:off x="8652924" y="4192158"/>
              <a:ext cx="516735" cy="788700"/>
            </a:xfrm>
            <a:custGeom>
              <a:avLst/>
              <a:gdLst>
                <a:gd name="connsiteX0" fmla="*/ 464616 w 516735"/>
                <a:gd name="connsiteY0" fmla="*/ 436210 h 788699"/>
                <a:gd name="connsiteX1" fmla="*/ 445578 w 516735"/>
                <a:gd name="connsiteY1" fmla="*/ 455248 h 788699"/>
                <a:gd name="connsiteX2" fmla="*/ 404783 w 516735"/>
                <a:gd name="connsiteY2" fmla="*/ 466126 h 788699"/>
                <a:gd name="connsiteX3" fmla="*/ 385746 w 516735"/>
                <a:gd name="connsiteY3" fmla="*/ 479725 h 788699"/>
                <a:gd name="connsiteX4" fmla="*/ 388466 w 516735"/>
                <a:gd name="connsiteY4" fmla="*/ 512361 h 788699"/>
                <a:gd name="connsiteX5" fmla="*/ 388466 w 516735"/>
                <a:gd name="connsiteY5" fmla="*/ 544997 h 788699"/>
                <a:gd name="connsiteX6" fmla="*/ 388466 w 516735"/>
                <a:gd name="connsiteY6" fmla="*/ 566754 h 788699"/>
                <a:gd name="connsiteX7" fmla="*/ 391185 w 516735"/>
                <a:gd name="connsiteY7" fmla="*/ 632026 h 788699"/>
                <a:gd name="connsiteX8" fmla="*/ 393905 w 516735"/>
                <a:gd name="connsiteY8" fmla="*/ 683699 h 788699"/>
                <a:gd name="connsiteX9" fmla="*/ 377587 w 516735"/>
                <a:gd name="connsiteY9" fmla="*/ 724494 h 788699"/>
                <a:gd name="connsiteX10" fmla="*/ 361269 w 516735"/>
                <a:gd name="connsiteY10" fmla="*/ 719054 h 788699"/>
                <a:gd name="connsiteX11" fmla="*/ 353110 w 516735"/>
                <a:gd name="connsiteY11" fmla="*/ 702737 h 788699"/>
                <a:gd name="connsiteX12" fmla="*/ 350390 w 516735"/>
                <a:gd name="connsiteY12" fmla="*/ 686419 h 788699"/>
                <a:gd name="connsiteX13" fmla="*/ 353110 w 516735"/>
                <a:gd name="connsiteY13" fmla="*/ 659222 h 788699"/>
                <a:gd name="connsiteX14" fmla="*/ 353110 w 516735"/>
                <a:gd name="connsiteY14" fmla="*/ 656502 h 788699"/>
                <a:gd name="connsiteX15" fmla="*/ 317754 w 516735"/>
                <a:gd name="connsiteY15" fmla="*/ 708176 h 788699"/>
                <a:gd name="connsiteX16" fmla="*/ 241604 w 516735"/>
                <a:gd name="connsiteY16" fmla="*/ 735372 h 788699"/>
                <a:gd name="connsiteX17" fmla="*/ 187211 w 516735"/>
                <a:gd name="connsiteY17" fmla="*/ 727214 h 788699"/>
                <a:gd name="connsiteX18" fmla="*/ 135537 w 516735"/>
                <a:gd name="connsiteY18" fmla="*/ 694578 h 788699"/>
                <a:gd name="connsiteX19" fmla="*/ 86583 w 516735"/>
                <a:gd name="connsiteY19" fmla="*/ 621147 h 788699"/>
                <a:gd name="connsiteX20" fmla="*/ 67546 w 516735"/>
                <a:gd name="connsiteY20" fmla="*/ 555875 h 788699"/>
                <a:gd name="connsiteX21" fmla="*/ 59387 w 516735"/>
                <a:gd name="connsiteY21" fmla="*/ 509641 h 788699"/>
                <a:gd name="connsiteX22" fmla="*/ 59387 w 516735"/>
                <a:gd name="connsiteY22" fmla="*/ 468846 h 788699"/>
                <a:gd name="connsiteX23" fmla="*/ 86583 w 516735"/>
                <a:gd name="connsiteY23" fmla="*/ 302947 h 788699"/>
                <a:gd name="connsiteX24" fmla="*/ 108341 w 516735"/>
                <a:gd name="connsiteY24" fmla="*/ 224077 h 788699"/>
                <a:gd name="connsiteX25" fmla="*/ 146416 w 516735"/>
                <a:gd name="connsiteY25" fmla="*/ 145207 h 788699"/>
                <a:gd name="connsiteX26" fmla="*/ 198090 w 516735"/>
                <a:gd name="connsiteY26" fmla="*/ 85375 h 788699"/>
                <a:gd name="connsiteX27" fmla="*/ 228006 w 516735"/>
                <a:gd name="connsiteY27" fmla="*/ 69057 h 788699"/>
                <a:gd name="connsiteX28" fmla="*/ 268801 w 516735"/>
                <a:gd name="connsiteY28" fmla="*/ 58178 h 788699"/>
                <a:gd name="connsiteX29" fmla="*/ 274240 w 516735"/>
                <a:gd name="connsiteY29" fmla="*/ 58178 h 788699"/>
                <a:gd name="connsiteX30" fmla="*/ 295997 w 516735"/>
                <a:gd name="connsiteY30" fmla="*/ 60898 h 788699"/>
                <a:gd name="connsiteX31" fmla="*/ 331353 w 516735"/>
                <a:gd name="connsiteY31" fmla="*/ 71776 h 788699"/>
                <a:gd name="connsiteX32" fmla="*/ 350390 w 516735"/>
                <a:gd name="connsiteY32" fmla="*/ 93534 h 788699"/>
                <a:gd name="connsiteX33" fmla="*/ 353110 w 516735"/>
                <a:gd name="connsiteY33" fmla="*/ 74496 h 788699"/>
                <a:gd name="connsiteX34" fmla="*/ 358549 w 516735"/>
                <a:gd name="connsiteY34" fmla="*/ 63618 h 788699"/>
                <a:gd name="connsiteX35" fmla="*/ 366708 w 516735"/>
                <a:gd name="connsiteY35" fmla="*/ 58178 h 788699"/>
                <a:gd name="connsiteX36" fmla="*/ 374867 w 516735"/>
                <a:gd name="connsiteY36" fmla="*/ 63618 h 788699"/>
                <a:gd name="connsiteX37" fmla="*/ 383027 w 516735"/>
                <a:gd name="connsiteY37" fmla="*/ 82655 h 788699"/>
                <a:gd name="connsiteX38" fmla="*/ 385746 w 516735"/>
                <a:gd name="connsiteY38" fmla="*/ 126170 h 788699"/>
                <a:gd name="connsiteX39" fmla="*/ 388466 w 516735"/>
                <a:gd name="connsiteY39" fmla="*/ 186002 h 788699"/>
                <a:gd name="connsiteX40" fmla="*/ 391185 w 516735"/>
                <a:gd name="connsiteY40" fmla="*/ 237676 h 788699"/>
                <a:gd name="connsiteX41" fmla="*/ 374867 w 516735"/>
                <a:gd name="connsiteY41" fmla="*/ 278470 h 788699"/>
                <a:gd name="connsiteX42" fmla="*/ 358549 w 516735"/>
                <a:gd name="connsiteY42" fmla="*/ 273031 h 788699"/>
                <a:gd name="connsiteX43" fmla="*/ 350390 w 516735"/>
                <a:gd name="connsiteY43" fmla="*/ 256713 h 788699"/>
                <a:gd name="connsiteX44" fmla="*/ 347671 w 516735"/>
                <a:gd name="connsiteY44" fmla="*/ 240395 h 788699"/>
                <a:gd name="connsiteX45" fmla="*/ 347671 w 516735"/>
                <a:gd name="connsiteY45" fmla="*/ 213199 h 788699"/>
                <a:gd name="connsiteX46" fmla="*/ 344951 w 516735"/>
                <a:gd name="connsiteY46" fmla="*/ 194161 h 788699"/>
                <a:gd name="connsiteX47" fmla="*/ 339512 w 516735"/>
                <a:gd name="connsiteY47" fmla="*/ 150647 h 788699"/>
                <a:gd name="connsiteX48" fmla="*/ 323194 w 516735"/>
                <a:gd name="connsiteY48" fmla="*/ 112571 h 788699"/>
                <a:gd name="connsiteX49" fmla="*/ 293278 w 516735"/>
                <a:gd name="connsiteY49" fmla="*/ 101693 h 788699"/>
                <a:gd name="connsiteX50" fmla="*/ 263361 w 516735"/>
                <a:gd name="connsiteY50" fmla="*/ 120730 h 788699"/>
                <a:gd name="connsiteX51" fmla="*/ 241604 w 516735"/>
                <a:gd name="connsiteY51" fmla="*/ 153366 h 788699"/>
                <a:gd name="connsiteX52" fmla="*/ 233445 w 516735"/>
                <a:gd name="connsiteY52" fmla="*/ 194161 h 788699"/>
                <a:gd name="connsiteX53" fmla="*/ 225286 w 516735"/>
                <a:gd name="connsiteY53" fmla="*/ 232236 h 788699"/>
                <a:gd name="connsiteX54" fmla="*/ 217127 w 516735"/>
                <a:gd name="connsiteY54" fmla="*/ 275751 h 788699"/>
                <a:gd name="connsiteX55" fmla="*/ 211688 w 516735"/>
                <a:gd name="connsiteY55" fmla="*/ 316545 h 788699"/>
                <a:gd name="connsiteX56" fmla="*/ 206249 w 516735"/>
                <a:gd name="connsiteY56" fmla="*/ 354621 h 788699"/>
                <a:gd name="connsiteX57" fmla="*/ 200809 w 516735"/>
                <a:gd name="connsiteY57" fmla="*/ 398135 h 788699"/>
                <a:gd name="connsiteX58" fmla="*/ 195370 w 516735"/>
                <a:gd name="connsiteY58" fmla="*/ 438930 h 788699"/>
                <a:gd name="connsiteX59" fmla="*/ 192650 w 516735"/>
                <a:gd name="connsiteY59" fmla="*/ 474286 h 788699"/>
                <a:gd name="connsiteX60" fmla="*/ 195370 w 516735"/>
                <a:gd name="connsiteY60" fmla="*/ 525959 h 788699"/>
                <a:gd name="connsiteX61" fmla="*/ 208968 w 516735"/>
                <a:gd name="connsiteY61" fmla="*/ 596670 h 788699"/>
                <a:gd name="connsiteX62" fmla="*/ 214407 w 516735"/>
                <a:gd name="connsiteY62" fmla="*/ 623867 h 788699"/>
                <a:gd name="connsiteX63" fmla="*/ 228006 w 516735"/>
                <a:gd name="connsiteY63" fmla="*/ 656502 h 788699"/>
                <a:gd name="connsiteX64" fmla="*/ 271520 w 516735"/>
                <a:gd name="connsiteY64" fmla="*/ 689138 h 788699"/>
                <a:gd name="connsiteX65" fmla="*/ 306876 w 516735"/>
                <a:gd name="connsiteY65" fmla="*/ 664661 h 788699"/>
                <a:gd name="connsiteX66" fmla="*/ 331353 w 516735"/>
                <a:gd name="connsiteY66" fmla="*/ 602109 h 788699"/>
                <a:gd name="connsiteX67" fmla="*/ 336792 w 516735"/>
                <a:gd name="connsiteY67" fmla="*/ 544997 h 788699"/>
                <a:gd name="connsiteX68" fmla="*/ 336792 w 516735"/>
                <a:gd name="connsiteY68" fmla="*/ 498762 h 788699"/>
                <a:gd name="connsiteX69" fmla="*/ 336792 w 516735"/>
                <a:gd name="connsiteY69" fmla="*/ 490603 h 788699"/>
                <a:gd name="connsiteX70" fmla="*/ 320474 w 516735"/>
                <a:gd name="connsiteY70" fmla="*/ 477005 h 788699"/>
                <a:gd name="connsiteX71" fmla="*/ 282399 w 516735"/>
                <a:gd name="connsiteY71" fmla="*/ 479725 h 788699"/>
                <a:gd name="connsiteX72" fmla="*/ 252483 w 516735"/>
                <a:gd name="connsiteY72" fmla="*/ 474286 h 788699"/>
                <a:gd name="connsiteX73" fmla="*/ 247044 w 516735"/>
                <a:gd name="connsiteY73" fmla="*/ 466126 h 788699"/>
                <a:gd name="connsiteX74" fmla="*/ 249763 w 516735"/>
                <a:gd name="connsiteY74" fmla="*/ 457968 h 788699"/>
                <a:gd name="connsiteX75" fmla="*/ 268801 w 516735"/>
                <a:gd name="connsiteY75" fmla="*/ 447089 h 788699"/>
                <a:gd name="connsiteX76" fmla="*/ 312315 w 516735"/>
                <a:gd name="connsiteY76" fmla="*/ 436210 h 788699"/>
                <a:gd name="connsiteX77" fmla="*/ 353110 w 516735"/>
                <a:gd name="connsiteY77" fmla="*/ 430771 h 788699"/>
                <a:gd name="connsiteX78" fmla="*/ 385746 w 516735"/>
                <a:gd name="connsiteY78" fmla="*/ 430771 h 788699"/>
                <a:gd name="connsiteX79" fmla="*/ 437420 w 516735"/>
                <a:gd name="connsiteY79" fmla="*/ 428051 h 788699"/>
                <a:gd name="connsiteX80" fmla="*/ 464616 w 516735"/>
                <a:gd name="connsiteY80" fmla="*/ 436210 h 7886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</a:cxnLst>
              <a:rect l="l" t="t" r="r" b="b"/>
              <a:pathLst>
                <a:path w="516735" h="788699">
                  <a:moveTo>
                    <a:pt x="464616" y="436210"/>
                  </a:moveTo>
                  <a:cubicBezTo>
                    <a:pt x="464616" y="447089"/>
                    <a:pt x="453738" y="452528"/>
                    <a:pt x="445578" y="455248"/>
                  </a:cubicBezTo>
                  <a:cubicBezTo>
                    <a:pt x="434700" y="460687"/>
                    <a:pt x="415662" y="463407"/>
                    <a:pt x="404783" y="466126"/>
                  </a:cubicBezTo>
                  <a:cubicBezTo>
                    <a:pt x="393905" y="466126"/>
                    <a:pt x="385746" y="468846"/>
                    <a:pt x="385746" y="479725"/>
                  </a:cubicBezTo>
                  <a:cubicBezTo>
                    <a:pt x="385746" y="487884"/>
                    <a:pt x="388466" y="506921"/>
                    <a:pt x="388466" y="512361"/>
                  </a:cubicBezTo>
                  <a:cubicBezTo>
                    <a:pt x="388466" y="515080"/>
                    <a:pt x="388466" y="539557"/>
                    <a:pt x="388466" y="544997"/>
                  </a:cubicBezTo>
                  <a:cubicBezTo>
                    <a:pt x="388466" y="550436"/>
                    <a:pt x="388466" y="558595"/>
                    <a:pt x="388466" y="566754"/>
                  </a:cubicBezTo>
                  <a:cubicBezTo>
                    <a:pt x="388466" y="591231"/>
                    <a:pt x="388466" y="621147"/>
                    <a:pt x="391185" y="632026"/>
                  </a:cubicBezTo>
                  <a:cubicBezTo>
                    <a:pt x="393905" y="653783"/>
                    <a:pt x="393905" y="661942"/>
                    <a:pt x="393905" y="683699"/>
                  </a:cubicBezTo>
                  <a:cubicBezTo>
                    <a:pt x="393905" y="694578"/>
                    <a:pt x="393905" y="724494"/>
                    <a:pt x="377587" y="724494"/>
                  </a:cubicBezTo>
                  <a:cubicBezTo>
                    <a:pt x="369428" y="724494"/>
                    <a:pt x="366708" y="721774"/>
                    <a:pt x="361269" y="719054"/>
                  </a:cubicBezTo>
                  <a:cubicBezTo>
                    <a:pt x="355830" y="716335"/>
                    <a:pt x="353110" y="708176"/>
                    <a:pt x="353110" y="702737"/>
                  </a:cubicBezTo>
                  <a:cubicBezTo>
                    <a:pt x="350390" y="694578"/>
                    <a:pt x="350390" y="689138"/>
                    <a:pt x="350390" y="686419"/>
                  </a:cubicBezTo>
                  <a:cubicBezTo>
                    <a:pt x="350390" y="678260"/>
                    <a:pt x="353110" y="672820"/>
                    <a:pt x="353110" y="659222"/>
                  </a:cubicBezTo>
                  <a:lnTo>
                    <a:pt x="353110" y="656502"/>
                  </a:lnTo>
                  <a:cubicBezTo>
                    <a:pt x="347671" y="675540"/>
                    <a:pt x="334073" y="694578"/>
                    <a:pt x="317754" y="708176"/>
                  </a:cubicBezTo>
                  <a:cubicBezTo>
                    <a:pt x="293278" y="727214"/>
                    <a:pt x="274240" y="735372"/>
                    <a:pt x="241604" y="735372"/>
                  </a:cubicBezTo>
                  <a:cubicBezTo>
                    <a:pt x="222566" y="735372"/>
                    <a:pt x="203529" y="732653"/>
                    <a:pt x="187211" y="727214"/>
                  </a:cubicBezTo>
                  <a:cubicBezTo>
                    <a:pt x="165454" y="719054"/>
                    <a:pt x="149136" y="708176"/>
                    <a:pt x="135537" y="694578"/>
                  </a:cubicBezTo>
                  <a:cubicBezTo>
                    <a:pt x="113780" y="672820"/>
                    <a:pt x="100182" y="648343"/>
                    <a:pt x="86583" y="621147"/>
                  </a:cubicBezTo>
                  <a:cubicBezTo>
                    <a:pt x="75705" y="599390"/>
                    <a:pt x="70266" y="580352"/>
                    <a:pt x="67546" y="555875"/>
                  </a:cubicBezTo>
                  <a:cubicBezTo>
                    <a:pt x="64826" y="539557"/>
                    <a:pt x="62107" y="525959"/>
                    <a:pt x="59387" y="509641"/>
                  </a:cubicBezTo>
                  <a:cubicBezTo>
                    <a:pt x="56667" y="493323"/>
                    <a:pt x="59387" y="485164"/>
                    <a:pt x="59387" y="468846"/>
                  </a:cubicBezTo>
                  <a:cubicBezTo>
                    <a:pt x="59387" y="414453"/>
                    <a:pt x="72985" y="362780"/>
                    <a:pt x="86583" y="302947"/>
                  </a:cubicBezTo>
                  <a:cubicBezTo>
                    <a:pt x="92023" y="275751"/>
                    <a:pt x="100182" y="248554"/>
                    <a:pt x="108341" y="224077"/>
                  </a:cubicBezTo>
                  <a:cubicBezTo>
                    <a:pt x="116500" y="196881"/>
                    <a:pt x="130098" y="169684"/>
                    <a:pt x="146416" y="145207"/>
                  </a:cubicBezTo>
                  <a:cubicBezTo>
                    <a:pt x="160014" y="123450"/>
                    <a:pt x="176332" y="101693"/>
                    <a:pt x="198090" y="85375"/>
                  </a:cubicBezTo>
                  <a:cubicBezTo>
                    <a:pt x="206249" y="77216"/>
                    <a:pt x="217127" y="71776"/>
                    <a:pt x="228006" y="69057"/>
                  </a:cubicBezTo>
                  <a:cubicBezTo>
                    <a:pt x="241604" y="63618"/>
                    <a:pt x="255202" y="58178"/>
                    <a:pt x="268801" y="58178"/>
                  </a:cubicBezTo>
                  <a:cubicBezTo>
                    <a:pt x="271520" y="58178"/>
                    <a:pt x="274240" y="58178"/>
                    <a:pt x="274240" y="58178"/>
                  </a:cubicBezTo>
                  <a:cubicBezTo>
                    <a:pt x="279679" y="58178"/>
                    <a:pt x="285119" y="58178"/>
                    <a:pt x="295997" y="60898"/>
                  </a:cubicBezTo>
                  <a:cubicBezTo>
                    <a:pt x="309595" y="63618"/>
                    <a:pt x="320474" y="66337"/>
                    <a:pt x="331353" y="71776"/>
                  </a:cubicBezTo>
                  <a:cubicBezTo>
                    <a:pt x="339512" y="77216"/>
                    <a:pt x="347671" y="85375"/>
                    <a:pt x="350390" y="93534"/>
                  </a:cubicBezTo>
                  <a:cubicBezTo>
                    <a:pt x="350390" y="88095"/>
                    <a:pt x="353110" y="79936"/>
                    <a:pt x="353110" y="74496"/>
                  </a:cubicBezTo>
                  <a:cubicBezTo>
                    <a:pt x="355830" y="71776"/>
                    <a:pt x="355830" y="69057"/>
                    <a:pt x="358549" y="63618"/>
                  </a:cubicBezTo>
                  <a:cubicBezTo>
                    <a:pt x="361269" y="60898"/>
                    <a:pt x="363989" y="58178"/>
                    <a:pt x="366708" y="58178"/>
                  </a:cubicBezTo>
                  <a:cubicBezTo>
                    <a:pt x="369428" y="58178"/>
                    <a:pt x="372148" y="60898"/>
                    <a:pt x="374867" y="63618"/>
                  </a:cubicBezTo>
                  <a:cubicBezTo>
                    <a:pt x="377587" y="69057"/>
                    <a:pt x="380307" y="77216"/>
                    <a:pt x="383027" y="82655"/>
                  </a:cubicBezTo>
                  <a:cubicBezTo>
                    <a:pt x="383027" y="90814"/>
                    <a:pt x="385746" y="107132"/>
                    <a:pt x="385746" y="126170"/>
                  </a:cubicBezTo>
                  <a:cubicBezTo>
                    <a:pt x="385746" y="150647"/>
                    <a:pt x="385746" y="177843"/>
                    <a:pt x="388466" y="186002"/>
                  </a:cubicBezTo>
                  <a:cubicBezTo>
                    <a:pt x="391185" y="207759"/>
                    <a:pt x="391185" y="215918"/>
                    <a:pt x="391185" y="237676"/>
                  </a:cubicBezTo>
                  <a:cubicBezTo>
                    <a:pt x="391185" y="248554"/>
                    <a:pt x="391185" y="278470"/>
                    <a:pt x="374867" y="278470"/>
                  </a:cubicBezTo>
                  <a:cubicBezTo>
                    <a:pt x="366708" y="278470"/>
                    <a:pt x="363989" y="275751"/>
                    <a:pt x="358549" y="273031"/>
                  </a:cubicBezTo>
                  <a:cubicBezTo>
                    <a:pt x="353110" y="270311"/>
                    <a:pt x="350390" y="262152"/>
                    <a:pt x="350390" y="256713"/>
                  </a:cubicBezTo>
                  <a:cubicBezTo>
                    <a:pt x="350390" y="251274"/>
                    <a:pt x="347671" y="245834"/>
                    <a:pt x="347671" y="240395"/>
                  </a:cubicBezTo>
                  <a:cubicBezTo>
                    <a:pt x="347671" y="232236"/>
                    <a:pt x="347671" y="224077"/>
                    <a:pt x="347671" y="213199"/>
                  </a:cubicBezTo>
                  <a:cubicBezTo>
                    <a:pt x="347671" y="207759"/>
                    <a:pt x="347671" y="199600"/>
                    <a:pt x="344951" y="194161"/>
                  </a:cubicBezTo>
                  <a:cubicBezTo>
                    <a:pt x="342232" y="180563"/>
                    <a:pt x="342232" y="164245"/>
                    <a:pt x="339512" y="150647"/>
                  </a:cubicBezTo>
                  <a:cubicBezTo>
                    <a:pt x="336792" y="137048"/>
                    <a:pt x="331353" y="123450"/>
                    <a:pt x="323194" y="112571"/>
                  </a:cubicBezTo>
                  <a:cubicBezTo>
                    <a:pt x="317754" y="104412"/>
                    <a:pt x="304156" y="101693"/>
                    <a:pt x="293278" y="101693"/>
                  </a:cubicBezTo>
                  <a:cubicBezTo>
                    <a:pt x="279679" y="101693"/>
                    <a:pt x="271520" y="109852"/>
                    <a:pt x="263361" y="120730"/>
                  </a:cubicBezTo>
                  <a:cubicBezTo>
                    <a:pt x="257922" y="131609"/>
                    <a:pt x="247044" y="139768"/>
                    <a:pt x="241604" y="153366"/>
                  </a:cubicBezTo>
                  <a:cubicBezTo>
                    <a:pt x="236165" y="166964"/>
                    <a:pt x="233445" y="180563"/>
                    <a:pt x="233445" y="194161"/>
                  </a:cubicBezTo>
                  <a:cubicBezTo>
                    <a:pt x="233445" y="207759"/>
                    <a:pt x="230725" y="218638"/>
                    <a:pt x="225286" y="232236"/>
                  </a:cubicBezTo>
                  <a:cubicBezTo>
                    <a:pt x="219847" y="245834"/>
                    <a:pt x="219847" y="262152"/>
                    <a:pt x="217127" y="275751"/>
                  </a:cubicBezTo>
                  <a:cubicBezTo>
                    <a:pt x="214407" y="289349"/>
                    <a:pt x="214407" y="302947"/>
                    <a:pt x="211688" y="316545"/>
                  </a:cubicBezTo>
                  <a:cubicBezTo>
                    <a:pt x="211688" y="330144"/>
                    <a:pt x="206249" y="341022"/>
                    <a:pt x="206249" y="354621"/>
                  </a:cubicBezTo>
                  <a:cubicBezTo>
                    <a:pt x="203529" y="368219"/>
                    <a:pt x="203529" y="381817"/>
                    <a:pt x="200809" y="398135"/>
                  </a:cubicBezTo>
                  <a:cubicBezTo>
                    <a:pt x="198090" y="411733"/>
                    <a:pt x="198090" y="425332"/>
                    <a:pt x="195370" y="438930"/>
                  </a:cubicBezTo>
                  <a:cubicBezTo>
                    <a:pt x="195370" y="449809"/>
                    <a:pt x="192650" y="463407"/>
                    <a:pt x="192650" y="474286"/>
                  </a:cubicBezTo>
                  <a:cubicBezTo>
                    <a:pt x="192650" y="490603"/>
                    <a:pt x="195370" y="509641"/>
                    <a:pt x="195370" y="525959"/>
                  </a:cubicBezTo>
                  <a:cubicBezTo>
                    <a:pt x="195370" y="550436"/>
                    <a:pt x="203529" y="572193"/>
                    <a:pt x="208968" y="596670"/>
                  </a:cubicBezTo>
                  <a:cubicBezTo>
                    <a:pt x="211688" y="604829"/>
                    <a:pt x="211688" y="615708"/>
                    <a:pt x="214407" y="623867"/>
                  </a:cubicBezTo>
                  <a:cubicBezTo>
                    <a:pt x="217127" y="634745"/>
                    <a:pt x="222566" y="645624"/>
                    <a:pt x="228006" y="656502"/>
                  </a:cubicBezTo>
                  <a:cubicBezTo>
                    <a:pt x="236165" y="670101"/>
                    <a:pt x="252483" y="689138"/>
                    <a:pt x="271520" y="689138"/>
                  </a:cubicBezTo>
                  <a:cubicBezTo>
                    <a:pt x="287838" y="689138"/>
                    <a:pt x="298717" y="675540"/>
                    <a:pt x="306876" y="664661"/>
                  </a:cubicBezTo>
                  <a:cubicBezTo>
                    <a:pt x="320474" y="645624"/>
                    <a:pt x="325914" y="623867"/>
                    <a:pt x="331353" y="602109"/>
                  </a:cubicBezTo>
                  <a:cubicBezTo>
                    <a:pt x="334073" y="583072"/>
                    <a:pt x="336792" y="564034"/>
                    <a:pt x="336792" y="544997"/>
                  </a:cubicBezTo>
                  <a:cubicBezTo>
                    <a:pt x="336792" y="531398"/>
                    <a:pt x="336792" y="512361"/>
                    <a:pt x="336792" y="498762"/>
                  </a:cubicBezTo>
                  <a:cubicBezTo>
                    <a:pt x="336792" y="496043"/>
                    <a:pt x="336792" y="493323"/>
                    <a:pt x="336792" y="490603"/>
                  </a:cubicBezTo>
                  <a:cubicBezTo>
                    <a:pt x="336792" y="479725"/>
                    <a:pt x="336792" y="477005"/>
                    <a:pt x="320474" y="477005"/>
                  </a:cubicBezTo>
                  <a:cubicBezTo>
                    <a:pt x="309595" y="477005"/>
                    <a:pt x="295997" y="479725"/>
                    <a:pt x="282399" y="479725"/>
                  </a:cubicBezTo>
                  <a:cubicBezTo>
                    <a:pt x="271520" y="479725"/>
                    <a:pt x="260642" y="479725"/>
                    <a:pt x="252483" y="474286"/>
                  </a:cubicBezTo>
                  <a:cubicBezTo>
                    <a:pt x="249763" y="471566"/>
                    <a:pt x="247044" y="468846"/>
                    <a:pt x="247044" y="466126"/>
                  </a:cubicBezTo>
                  <a:cubicBezTo>
                    <a:pt x="247044" y="463407"/>
                    <a:pt x="247044" y="460687"/>
                    <a:pt x="249763" y="457968"/>
                  </a:cubicBezTo>
                  <a:cubicBezTo>
                    <a:pt x="255202" y="452528"/>
                    <a:pt x="260642" y="449809"/>
                    <a:pt x="268801" y="447089"/>
                  </a:cubicBezTo>
                  <a:cubicBezTo>
                    <a:pt x="282399" y="441650"/>
                    <a:pt x="295997" y="438930"/>
                    <a:pt x="312315" y="436210"/>
                  </a:cubicBezTo>
                  <a:cubicBezTo>
                    <a:pt x="325914" y="433491"/>
                    <a:pt x="339512" y="433491"/>
                    <a:pt x="353110" y="430771"/>
                  </a:cubicBezTo>
                  <a:cubicBezTo>
                    <a:pt x="363989" y="430771"/>
                    <a:pt x="374867" y="430771"/>
                    <a:pt x="385746" y="430771"/>
                  </a:cubicBezTo>
                  <a:cubicBezTo>
                    <a:pt x="402064" y="430771"/>
                    <a:pt x="426541" y="428051"/>
                    <a:pt x="437420" y="428051"/>
                  </a:cubicBezTo>
                  <a:cubicBezTo>
                    <a:pt x="451018" y="422612"/>
                    <a:pt x="464616" y="425332"/>
                    <a:pt x="464616" y="436210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1" name="Freeform: Shape 50">
              <a:extLst>
                <a:ext uri="{FF2B5EF4-FFF2-40B4-BE49-F238E27FC236}">
                  <a16:creationId xmlns:a16="http://schemas.microsoft.com/office/drawing/2014/main" id="{C909F6E8-DEAA-40C5-A466-3C2C305FF26A}"/>
                </a:ext>
              </a:extLst>
            </p:cNvPr>
            <p:cNvSpPr/>
            <p:nvPr/>
          </p:nvSpPr>
          <p:spPr bwMode="black">
            <a:xfrm>
              <a:off x="9053923" y="4178559"/>
              <a:ext cx="625521" cy="788700"/>
            </a:xfrm>
            <a:custGeom>
              <a:avLst/>
              <a:gdLst>
                <a:gd name="connsiteX0" fmla="*/ 536838 w 625521"/>
                <a:gd name="connsiteY0" fmla="*/ 680979 h 788699"/>
                <a:gd name="connsiteX1" fmla="*/ 574913 w 625521"/>
                <a:gd name="connsiteY1" fmla="*/ 697297 h 788699"/>
                <a:gd name="connsiteX2" fmla="*/ 566755 w 625521"/>
                <a:gd name="connsiteY2" fmla="*/ 713615 h 788699"/>
                <a:gd name="connsiteX3" fmla="*/ 550437 w 625521"/>
                <a:gd name="connsiteY3" fmla="*/ 721774 h 788699"/>
                <a:gd name="connsiteX4" fmla="*/ 528680 w 625521"/>
                <a:gd name="connsiteY4" fmla="*/ 724494 h 788699"/>
                <a:gd name="connsiteX5" fmla="*/ 417174 w 625521"/>
                <a:gd name="connsiteY5" fmla="*/ 724494 h 788699"/>
                <a:gd name="connsiteX6" fmla="*/ 398136 w 625521"/>
                <a:gd name="connsiteY6" fmla="*/ 724494 h 788699"/>
                <a:gd name="connsiteX7" fmla="*/ 373659 w 625521"/>
                <a:gd name="connsiteY7" fmla="*/ 724494 h 788699"/>
                <a:gd name="connsiteX8" fmla="*/ 346462 w 625521"/>
                <a:gd name="connsiteY8" fmla="*/ 719054 h 788699"/>
                <a:gd name="connsiteX9" fmla="*/ 330144 w 625521"/>
                <a:gd name="connsiteY9" fmla="*/ 702737 h 788699"/>
                <a:gd name="connsiteX10" fmla="*/ 335584 w 625521"/>
                <a:gd name="connsiteY10" fmla="*/ 694578 h 788699"/>
                <a:gd name="connsiteX11" fmla="*/ 357341 w 625521"/>
                <a:gd name="connsiteY11" fmla="*/ 686419 h 788699"/>
                <a:gd name="connsiteX12" fmla="*/ 395416 w 625521"/>
                <a:gd name="connsiteY12" fmla="*/ 680979 h 788699"/>
                <a:gd name="connsiteX13" fmla="*/ 381817 w 625521"/>
                <a:gd name="connsiteY13" fmla="*/ 656502 h 788699"/>
                <a:gd name="connsiteX14" fmla="*/ 379098 w 625521"/>
                <a:gd name="connsiteY14" fmla="*/ 585791 h 788699"/>
                <a:gd name="connsiteX15" fmla="*/ 379098 w 625521"/>
                <a:gd name="connsiteY15" fmla="*/ 517800 h 788699"/>
                <a:gd name="connsiteX16" fmla="*/ 379098 w 625521"/>
                <a:gd name="connsiteY16" fmla="*/ 474286 h 788699"/>
                <a:gd name="connsiteX17" fmla="*/ 379098 w 625521"/>
                <a:gd name="connsiteY17" fmla="*/ 430771 h 788699"/>
                <a:gd name="connsiteX18" fmla="*/ 381817 w 625521"/>
                <a:gd name="connsiteY18" fmla="*/ 411733 h 788699"/>
                <a:gd name="connsiteX19" fmla="*/ 379098 w 625521"/>
                <a:gd name="connsiteY19" fmla="*/ 400855 h 788699"/>
                <a:gd name="connsiteX20" fmla="*/ 370939 w 625521"/>
                <a:gd name="connsiteY20" fmla="*/ 398135 h 788699"/>
                <a:gd name="connsiteX21" fmla="*/ 338304 w 625521"/>
                <a:gd name="connsiteY21" fmla="*/ 400855 h 788699"/>
                <a:gd name="connsiteX22" fmla="*/ 289349 w 625521"/>
                <a:gd name="connsiteY22" fmla="*/ 403575 h 788699"/>
                <a:gd name="connsiteX23" fmla="*/ 264872 w 625521"/>
                <a:gd name="connsiteY23" fmla="*/ 400855 h 788699"/>
                <a:gd name="connsiteX24" fmla="*/ 259433 w 625521"/>
                <a:gd name="connsiteY24" fmla="*/ 406294 h 788699"/>
                <a:gd name="connsiteX25" fmla="*/ 259433 w 625521"/>
                <a:gd name="connsiteY25" fmla="*/ 425332 h 788699"/>
                <a:gd name="connsiteX26" fmla="*/ 259433 w 625521"/>
                <a:gd name="connsiteY26" fmla="*/ 449809 h 788699"/>
                <a:gd name="connsiteX27" fmla="*/ 259433 w 625521"/>
                <a:gd name="connsiteY27" fmla="*/ 471566 h 788699"/>
                <a:gd name="connsiteX28" fmla="*/ 259433 w 625521"/>
                <a:gd name="connsiteY28" fmla="*/ 504202 h 788699"/>
                <a:gd name="connsiteX29" fmla="*/ 259433 w 625521"/>
                <a:gd name="connsiteY29" fmla="*/ 509641 h 788699"/>
                <a:gd name="connsiteX30" fmla="*/ 256714 w 625521"/>
                <a:gd name="connsiteY30" fmla="*/ 542277 h 788699"/>
                <a:gd name="connsiteX31" fmla="*/ 256714 w 625521"/>
                <a:gd name="connsiteY31" fmla="*/ 577632 h 788699"/>
                <a:gd name="connsiteX32" fmla="*/ 256714 w 625521"/>
                <a:gd name="connsiteY32" fmla="*/ 612988 h 788699"/>
                <a:gd name="connsiteX33" fmla="*/ 253994 w 625521"/>
                <a:gd name="connsiteY33" fmla="*/ 656502 h 788699"/>
                <a:gd name="connsiteX34" fmla="*/ 256714 w 625521"/>
                <a:gd name="connsiteY34" fmla="*/ 678260 h 788699"/>
                <a:gd name="connsiteX35" fmla="*/ 286629 w 625521"/>
                <a:gd name="connsiteY35" fmla="*/ 694578 h 788699"/>
                <a:gd name="connsiteX36" fmla="*/ 281191 w 625521"/>
                <a:gd name="connsiteY36" fmla="*/ 710895 h 788699"/>
                <a:gd name="connsiteX37" fmla="*/ 264872 w 625521"/>
                <a:gd name="connsiteY37" fmla="*/ 719054 h 788699"/>
                <a:gd name="connsiteX38" fmla="*/ 243116 w 625521"/>
                <a:gd name="connsiteY38" fmla="*/ 721774 h 788699"/>
                <a:gd name="connsiteX39" fmla="*/ 243116 w 625521"/>
                <a:gd name="connsiteY39" fmla="*/ 721774 h 788699"/>
                <a:gd name="connsiteX40" fmla="*/ 232236 w 625521"/>
                <a:gd name="connsiteY40" fmla="*/ 727214 h 788699"/>
                <a:gd name="connsiteX41" fmla="*/ 224078 w 625521"/>
                <a:gd name="connsiteY41" fmla="*/ 735372 h 788699"/>
                <a:gd name="connsiteX42" fmla="*/ 213199 w 625521"/>
                <a:gd name="connsiteY42" fmla="*/ 738092 h 788699"/>
                <a:gd name="connsiteX43" fmla="*/ 183283 w 625521"/>
                <a:gd name="connsiteY43" fmla="*/ 727214 h 788699"/>
                <a:gd name="connsiteX44" fmla="*/ 175124 w 625521"/>
                <a:gd name="connsiteY44" fmla="*/ 719054 h 788699"/>
                <a:gd name="connsiteX45" fmla="*/ 145208 w 625521"/>
                <a:gd name="connsiteY45" fmla="*/ 719054 h 788699"/>
                <a:gd name="connsiteX46" fmla="*/ 126170 w 625521"/>
                <a:gd name="connsiteY46" fmla="*/ 719054 h 788699"/>
                <a:gd name="connsiteX47" fmla="*/ 101693 w 625521"/>
                <a:gd name="connsiteY47" fmla="*/ 719054 h 788699"/>
                <a:gd name="connsiteX48" fmla="*/ 74496 w 625521"/>
                <a:gd name="connsiteY48" fmla="*/ 713615 h 788699"/>
                <a:gd name="connsiteX49" fmla="*/ 58178 w 625521"/>
                <a:gd name="connsiteY49" fmla="*/ 697297 h 788699"/>
                <a:gd name="connsiteX50" fmla="*/ 63618 w 625521"/>
                <a:gd name="connsiteY50" fmla="*/ 689138 h 788699"/>
                <a:gd name="connsiteX51" fmla="*/ 85375 w 625521"/>
                <a:gd name="connsiteY51" fmla="*/ 680979 h 788699"/>
                <a:gd name="connsiteX52" fmla="*/ 131609 w 625521"/>
                <a:gd name="connsiteY52" fmla="*/ 675540 h 788699"/>
                <a:gd name="connsiteX53" fmla="*/ 131609 w 625521"/>
                <a:gd name="connsiteY53" fmla="*/ 667381 h 788699"/>
                <a:gd name="connsiteX54" fmla="*/ 131609 w 625521"/>
                <a:gd name="connsiteY54" fmla="*/ 651063 h 788699"/>
                <a:gd name="connsiteX55" fmla="*/ 131609 w 625521"/>
                <a:gd name="connsiteY55" fmla="*/ 618427 h 788699"/>
                <a:gd name="connsiteX56" fmla="*/ 131609 w 625521"/>
                <a:gd name="connsiteY56" fmla="*/ 580352 h 788699"/>
                <a:gd name="connsiteX57" fmla="*/ 131609 w 625521"/>
                <a:gd name="connsiteY57" fmla="*/ 531398 h 788699"/>
                <a:gd name="connsiteX58" fmla="*/ 131609 w 625521"/>
                <a:gd name="connsiteY58" fmla="*/ 466126 h 788699"/>
                <a:gd name="connsiteX59" fmla="*/ 131609 w 625521"/>
                <a:gd name="connsiteY59" fmla="*/ 422612 h 788699"/>
                <a:gd name="connsiteX60" fmla="*/ 131609 w 625521"/>
                <a:gd name="connsiteY60" fmla="*/ 411733 h 788699"/>
                <a:gd name="connsiteX61" fmla="*/ 131609 w 625521"/>
                <a:gd name="connsiteY61" fmla="*/ 398135 h 788699"/>
                <a:gd name="connsiteX62" fmla="*/ 126170 w 625521"/>
                <a:gd name="connsiteY62" fmla="*/ 389976 h 788699"/>
                <a:gd name="connsiteX63" fmla="*/ 101693 w 625521"/>
                <a:gd name="connsiteY63" fmla="*/ 387257 h 788699"/>
                <a:gd name="connsiteX64" fmla="*/ 77216 w 625521"/>
                <a:gd name="connsiteY64" fmla="*/ 376378 h 788699"/>
                <a:gd name="connsiteX65" fmla="*/ 82655 w 625521"/>
                <a:gd name="connsiteY65" fmla="*/ 368219 h 788699"/>
                <a:gd name="connsiteX66" fmla="*/ 98973 w 625521"/>
                <a:gd name="connsiteY66" fmla="*/ 360060 h 788699"/>
                <a:gd name="connsiteX67" fmla="*/ 118011 w 625521"/>
                <a:gd name="connsiteY67" fmla="*/ 357340 h 788699"/>
                <a:gd name="connsiteX68" fmla="*/ 131609 w 625521"/>
                <a:gd name="connsiteY68" fmla="*/ 351901 h 788699"/>
                <a:gd name="connsiteX69" fmla="*/ 131609 w 625521"/>
                <a:gd name="connsiteY69" fmla="*/ 343742 h 788699"/>
                <a:gd name="connsiteX70" fmla="*/ 131609 w 625521"/>
                <a:gd name="connsiteY70" fmla="*/ 270311 h 788699"/>
                <a:gd name="connsiteX71" fmla="*/ 137048 w 625521"/>
                <a:gd name="connsiteY71" fmla="*/ 145207 h 788699"/>
                <a:gd name="connsiteX72" fmla="*/ 139768 w 625521"/>
                <a:gd name="connsiteY72" fmla="*/ 123450 h 788699"/>
                <a:gd name="connsiteX73" fmla="*/ 123450 w 625521"/>
                <a:gd name="connsiteY73" fmla="*/ 123450 h 788699"/>
                <a:gd name="connsiteX74" fmla="*/ 118011 w 625521"/>
                <a:gd name="connsiteY74" fmla="*/ 123450 h 788699"/>
                <a:gd name="connsiteX75" fmla="*/ 101693 w 625521"/>
                <a:gd name="connsiteY75" fmla="*/ 123450 h 788699"/>
                <a:gd name="connsiteX76" fmla="*/ 74496 w 625521"/>
                <a:gd name="connsiteY76" fmla="*/ 118011 h 788699"/>
                <a:gd name="connsiteX77" fmla="*/ 58178 w 625521"/>
                <a:gd name="connsiteY77" fmla="*/ 101693 h 788699"/>
                <a:gd name="connsiteX78" fmla="*/ 63618 w 625521"/>
                <a:gd name="connsiteY78" fmla="*/ 93534 h 788699"/>
                <a:gd name="connsiteX79" fmla="*/ 85375 w 625521"/>
                <a:gd name="connsiteY79" fmla="*/ 85375 h 788699"/>
                <a:gd name="connsiteX80" fmla="*/ 137048 w 625521"/>
                <a:gd name="connsiteY80" fmla="*/ 82655 h 788699"/>
                <a:gd name="connsiteX81" fmla="*/ 147927 w 625521"/>
                <a:gd name="connsiteY81" fmla="*/ 82655 h 788699"/>
                <a:gd name="connsiteX82" fmla="*/ 186003 w 625521"/>
                <a:gd name="connsiteY82" fmla="*/ 58178 h 788699"/>
                <a:gd name="connsiteX83" fmla="*/ 226797 w 625521"/>
                <a:gd name="connsiteY83" fmla="*/ 79936 h 788699"/>
                <a:gd name="connsiteX84" fmla="*/ 253994 w 625521"/>
                <a:gd name="connsiteY84" fmla="*/ 79936 h 788699"/>
                <a:gd name="connsiteX85" fmla="*/ 294789 w 625521"/>
                <a:gd name="connsiteY85" fmla="*/ 96253 h 788699"/>
                <a:gd name="connsiteX86" fmla="*/ 283910 w 625521"/>
                <a:gd name="connsiteY86" fmla="*/ 112571 h 788699"/>
                <a:gd name="connsiteX87" fmla="*/ 267592 w 625521"/>
                <a:gd name="connsiteY87" fmla="*/ 120730 h 788699"/>
                <a:gd name="connsiteX88" fmla="*/ 245835 w 625521"/>
                <a:gd name="connsiteY88" fmla="*/ 123450 h 788699"/>
                <a:gd name="connsiteX89" fmla="*/ 237676 w 625521"/>
                <a:gd name="connsiteY89" fmla="*/ 123450 h 788699"/>
                <a:gd name="connsiteX90" fmla="*/ 240396 w 625521"/>
                <a:gd name="connsiteY90" fmla="*/ 128889 h 788699"/>
                <a:gd name="connsiteX91" fmla="*/ 251274 w 625521"/>
                <a:gd name="connsiteY91" fmla="*/ 177843 h 788699"/>
                <a:gd name="connsiteX92" fmla="*/ 256714 w 625521"/>
                <a:gd name="connsiteY92" fmla="*/ 226797 h 788699"/>
                <a:gd name="connsiteX93" fmla="*/ 262153 w 625521"/>
                <a:gd name="connsiteY93" fmla="*/ 273031 h 788699"/>
                <a:gd name="connsiteX94" fmla="*/ 262153 w 625521"/>
                <a:gd name="connsiteY94" fmla="*/ 289349 h 788699"/>
                <a:gd name="connsiteX95" fmla="*/ 262153 w 625521"/>
                <a:gd name="connsiteY95" fmla="*/ 297508 h 788699"/>
                <a:gd name="connsiteX96" fmla="*/ 264872 w 625521"/>
                <a:gd name="connsiteY96" fmla="*/ 321985 h 788699"/>
                <a:gd name="connsiteX97" fmla="*/ 270312 w 625521"/>
                <a:gd name="connsiteY97" fmla="*/ 335583 h 788699"/>
                <a:gd name="connsiteX98" fmla="*/ 270312 w 625521"/>
                <a:gd name="connsiteY98" fmla="*/ 338303 h 788699"/>
                <a:gd name="connsiteX99" fmla="*/ 270312 w 625521"/>
                <a:gd name="connsiteY99" fmla="*/ 346462 h 788699"/>
                <a:gd name="connsiteX100" fmla="*/ 278471 w 625521"/>
                <a:gd name="connsiteY100" fmla="*/ 354621 h 788699"/>
                <a:gd name="connsiteX101" fmla="*/ 338304 w 625521"/>
                <a:gd name="connsiteY101" fmla="*/ 349181 h 788699"/>
                <a:gd name="connsiteX102" fmla="*/ 365500 w 625521"/>
                <a:gd name="connsiteY102" fmla="*/ 349181 h 788699"/>
                <a:gd name="connsiteX103" fmla="*/ 381817 w 625521"/>
                <a:gd name="connsiteY103" fmla="*/ 349181 h 788699"/>
                <a:gd name="connsiteX104" fmla="*/ 392697 w 625521"/>
                <a:gd name="connsiteY104" fmla="*/ 338303 h 788699"/>
                <a:gd name="connsiteX105" fmla="*/ 389977 w 625521"/>
                <a:gd name="connsiteY105" fmla="*/ 313826 h 788699"/>
                <a:gd name="connsiteX106" fmla="*/ 392697 w 625521"/>
                <a:gd name="connsiteY106" fmla="*/ 262152 h 788699"/>
                <a:gd name="connsiteX107" fmla="*/ 395416 w 625521"/>
                <a:gd name="connsiteY107" fmla="*/ 224077 h 788699"/>
                <a:gd name="connsiteX108" fmla="*/ 398136 w 625521"/>
                <a:gd name="connsiteY108" fmla="*/ 177843 h 788699"/>
                <a:gd name="connsiteX109" fmla="*/ 395416 w 625521"/>
                <a:gd name="connsiteY109" fmla="*/ 153366 h 788699"/>
                <a:gd name="connsiteX110" fmla="*/ 395416 w 625521"/>
                <a:gd name="connsiteY110" fmla="*/ 137048 h 788699"/>
                <a:gd name="connsiteX111" fmla="*/ 379098 w 625521"/>
                <a:gd name="connsiteY111" fmla="*/ 137048 h 788699"/>
                <a:gd name="connsiteX112" fmla="*/ 351902 w 625521"/>
                <a:gd name="connsiteY112" fmla="*/ 131609 h 788699"/>
                <a:gd name="connsiteX113" fmla="*/ 338304 w 625521"/>
                <a:gd name="connsiteY113" fmla="*/ 115291 h 788699"/>
                <a:gd name="connsiteX114" fmla="*/ 343742 w 625521"/>
                <a:gd name="connsiteY114" fmla="*/ 107132 h 788699"/>
                <a:gd name="connsiteX115" fmla="*/ 362780 w 625521"/>
                <a:gd name="connsiteY115" fmla="*/ 98973 h 788699"/>
                <a:gd name="connsiteX116" fmla="*/ 395416 w 625521"/>
                <a:gd name="connsiteY116" fmla="*/ 96253 h 788699"/>
                <a:gd name="connsiteX117" fmla="*/ 403575 w 625521"/>
                <a:gd name="connsiteY117" fmla="*/ 90814 h 788699"/>
                <a:gd name="connsiteX118" fmla="*/ 422612 w 625521"/>
                <a:gd name="connsiteY118" fmla="*/ 88095 h 788699"/>
                <a:gd name="connsiteX119" fmla="*/ 428052 w 625521"/>
                <a:gd name="connsiteY119" fmla="*/ 88095 h 788699"/>
                <a:gd name="connsiteX120" fmla="*/ 447090 w 625521"/>
                <a:gd name="connsiteY120" fmla="*/ 90814 h 788699"/>
                <a:gd name="connsiteX121" fmla="*/ 455249 w 625521"/>
                <a:gd name="connsiteY121" fmla="*/ 96253 h 788699"/>
                <a:gd name="connsiteX122" fmla="*/ 525960 w 625521"/>
                <a:gd name="connsiteY122" fmla="*/ 93534 h 788699"/>
                <a:gd name="connsiteX123" fmla="*/ 561315 w 625521"/>
                <a:gd name="connsiteY123" fmla="*/ 109852 h 788699"/>
                <a:gd name="connsiteX124" fmla="*/ 555876 w 625521"/>
                <a:gd name="connsiteY124" fmla="*/ 126170 h 788699"/>
                <a:gd name="connsiteX125" fmla="*/ 539558 w 625521"/>
                <a:gd name="connsiteY125" fmla="*/ 134329 h 788699"/>
                <a:gd name="connsiteX126" fmla="*/ 517800 w 625521"/>
                <a:gd name="connsiteY126" fmla="*/ 137048 h 788699"/>
                <a:gd name="connsiteX127" fmla="*/ 477006 w 625521"/>
                <a:gd name="connsiteY127" fmla="*/ 137048 h 788699"/>
                <a:gd name="connsiteX128" fmla="*/ 485165 w 625521"/>
                <a:gd name="connsiteY128" fmla="*/ 161525 h 788699"/>
                <a:gd name="connsiteX129" fmla="*/ 496043 w 625521"/>
                <a:gd name="connsiteY129" fmla="*/ 210479 h 788699"/>
                <a:gd name="connsiteX130" fmla="*/ 501483 w 625521"/>
                <a:gd name="connsiteY130" fmla="*/ 251274 h 788699"/>
                <a:gd name="connsiteX131" fmla="*/ 506922 w 625521"/>
                <a:gd name="connsiteY131" fmla="*/ 292069 h 788699"/>
                <a:gd name="connsiteX132" fmla="*/ 506922 w 625521"/>
                <a:gd name="connsiteY132" fmla="*/ 321985 h 788699"/>
                <a:gd name="connsiteX133" fmla="*/ 509642 w 625521"/>
                <a:gd name="connsiteY133" fmla="*/ 341022 h 788699"/>
                <a:gd name="connsiteX134" fmla="*/ 509642 w 625521"/>
                <a:gd name="connsiteY134" fmla="*/ 343742 h 788699"/>
                <a:gd name="connsiteX135" fmla="*/ 517800 w 625521"/>
                <a:gd name="connsiteY135" fmla="*/ 349181 h 788699"/>
                <a:gd name="connsiteX136" fmla="*/ 528680 w 625521"/>
                <a:gd name="connsiteY136" fmla="*/ 349181 h 788699"/>
                <a:gd name="connsiteX137" fmla="*/ 550437 w 625521"/>
                <a:gd name="connsiteY137" fmla="*/ 357340 h 788699"/>
                <a:gd name="connsiteX138" fmla="*/ 550437 w 625521"/>
                <a:gd name="connsiteY138" fmla="*/ 362780 h 788699"/>
                <a:gd name="connsiteX139" fmla="*/ 534119 w 625521"/>
                <a:gd name="connsiteY139" fmla="*/ 384537 h 788699"/>
                <a:gd name="connsiteX140" fmla="*/ 520520 w 625521"/>
                <a:gd name="connsiteY140" fmla="*/ 389976 h 788699"/>
                <a:gd name="connsiteX141" fmla="*/ 512362 w 625521"/>
                <a:gd name="connsiteY141" fmla="*/ 395415 h 788699"/>
                <a:gd name="connsiteX142" fmla="*/ 512362 w 625521"/>
                <a:gd name="connsiteY142" fmla="*/ 398135 h 788699"/>
                <a:gd name="connsiteX143" fmla="*/ 512362 w 625521"/>
                <a:gd name="connsiteY143" fmla="*/ 409014 h 788699"/>
                <a:gd name="connsiteX144" fmla="*/ 512362 w 625521"/>
                <a:gd name="connsiteY144" fmla="*/ 414453 h 788699"/>
                <a:gd name="connsiteX145" fmla="*/ 512362 w 625521"/>
                <a:gd name="connsiteY145" fmla="*/ 438930 h 788699"/>
                <a:gd name="connsiteX146" fmla="*/ 515081 w 625521"/>
                <a:gd name="connsiteY146" fmla="*/ 504202 h 788699"/>
                <a:gd name="connsiteX147" fmla="*/ 520520 w 625521"/>
                <a:gd name="connsiteY147" fmla="*/ 572193 h 788699"/>
                <a:gd name="connsiteX148" fmla="*/ 517800 w 625521"/>
                <a:gd name="connsiteY148" fmla="*/ 604829 h 788699"/>
                <a:gd name="connsiteX149" fmla="*/ 512362 w 625521"/>
                <a:gd name="connsiteY149" fmla="*/ 661942 h 788699"/>
                <a:gd name="connsiteX150" fmla="*/ 509642 w 625521"/>
                <a:gd name="connsiteY150" fmla="*/ 670101 h 788699"/>
                <a:gd name="connsiteX151" fmla="*/ 512362 w 625521"/>
                <a:gd name="connsiteY151" fmla="*/ 680979 h 788699"/>
                <a:gd name="connsiteX152" fmla="*/ 512362 w 625521"/>
                <a:gd name="connsiteY152" fmla="*/ 686419 h 788699"/>
                <a:gd name="connsiteX153" fmla="*/ 536838 w 625521"/>
                <a:gd name="connsiteY153" fmla="*/ 680979 h 788699"/>
                <a:gd name="connsiteX154" fmla="*/ 536838 w 625521"/>
                <a:gd name="connsiteY154" fmla="*/ 680979 h 7886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</a:cxnLst>
              <a:rect l="l" t="t" r="r" b="b"/>
              <a:pathLst>
                <a:path w="625521" h="788699">
                  <a:moveTo>
                    <a:pt x="536838" y="680979"/>
                  </a:moveTo>
                  <a:cubicBezTo>
                    <a:pt x="550437" y="680979"/>
                    <a:pt x="574913" y="680979"/>
                    <a:pt x="574913" y="697297"/>
                  </a:cubicBezTo>
                  <a:cubicBezTo>
                    <a:pt x="574913" y="705456"/>
                    <a:pt x="572194" y="708176"/>
                    <a:pt x="566755" y="713615"/>
                  </a:cubicBezTo>
                  <a:cubicBezTo>
                    <a:pt x="561315" y="719054"/>
                    <a:pt x="555876" y="721774"/>
                    <a:pt x="550437" y="721774"/>
                  </a:cubicBezTo>
                  <a:cubicBezTo>
                    <a:pt x="539558" y="724494"/>
                    <a:pt x="534119" y="724494"/>
                    <a:pt x="528680" y="724494"/>
                  </a:cubicBezTo>
                  <a:cubicBezTo>
                    <a:pt x="517800" y="724494"/>
                    <a:pt x="428052" y="724494"/>
                    <a:pt x="417174" y="724494"/>
                  </a:cubicBezTo>
                  <a:cubicBezTo>
                    <a:pt x="403575" y="724494"/>
                    <a:pt x="414454" y="724494"/>
                    <a:pt x="398136" y="724494"/>
                  </a:cubicBezTo>
                  <a:cubicBezTo>
                    <a:pt x="389977" y="724494"/>
                    <a:pt x="381817" y="724494"/>
                    <a:pt x="373659" y="724494"/>
                  </a:cubicBezTo>
                  <a:cubicBezTo>
                    <a:pt x="365500" y="724494"/>
                    <a:pt x="354621" y="721774"/>
                    <a:pt x="346462" y="719054"/>
                  </a:cubicBezTo>
                  <a:cubicBezTo>
                    <a:pt x="338304" y="716335"/>
                    <a:pt x="330144" y="708176"/>
                    <a:pt x="330144" y="702737"/>
                  </a:cubicBezTo>
                  <a:cubicBezTo>
                    <a:pt x="330144" y="700017"/>
                    <a:pt x="330144" y="697297"/>
                    <a:pt x="335584" y="694578"/>
                  </a:cubicBezTo>
                  <a:cubicBezTo>
                    <a:pt x="341023" y="691858"/>
                    <a:pt x="351902" y="689138"/>
                    <a:pt x="357341" y="686419"/>
                  </a:cubicBezTo>
                  <a:cubicBezTo>
                    <a:pt x="373659" y="683699"/>
                    <a:pt x="387257" y="680979"/>
                    <a:pt x="395416" y="680979"/>
                  </a:cubicBezTo>
                  <a:cubicBezTo>
                    <a:pt x="387257" y="675540"/>
                    <a:pt x="384537" y="670101"/>
                    <a:pt x="381817" y="656502"/>
                  </a:cubicBezTo>
                  <a:cubicBezTo>
                    <a:pt x="379098" y="632026"/>
                    <a:pt x="379098" y="610268"/>
                    <a:pt x="379098" y="585791"/>
                  </a:cubicBezTo>
                  <a:cubicBezTo>
                    <a:pt x="379098" y="564034"/>
                    <a:pt x="379098" y="542277"/>
                    <a:pt x="379098" y="517800"/>
                  </a:cubicBezTo>
                  <a:cubicBezTo>
                    <a:pt x="379098" y="504202"/>
                    <a:pt x="379098" y="487884"/>
                    <a:pt x="379098" y="474286"/>
                  </a:cubicBezTo>
                  <a:cubicBezTo>
                    <a:pt x="379098" y="457968"/>
                    <a:pt x="376379" y="444369"/>
                    <a:pt x="379098" y="430771"/>
                  </a:cubicBezTo>
                  <a:cubicBezTo>
                    <a:pt x="379098" y="425332"/>
                    <a:pt x="381817" y="417173"/>
                    <a:pt x="381817" y="411733"/>
                  </a:cubicBezTo>
                  <a:cubicBezTo>
                    <a:pt x="381817" y="406294"/>
                    <a:pt x="381817" y="403575"/>
                    <a:pt x="379098" y="400855"/>
                  </a:cubicBezTo>
                  <a:cubicBezTo>
                    <a:pt x="376379" y="400855"/>
                    <a:pt x="373659" y="398135"/>
                    <a:pt x="370939" y="398135"/>
                  </a:cubicBezTo>
                  <a:cubicBezTo>
                    <a:pt x="360061" y="398135"/>
                    <a:pt x="343742" y="400855"/>
                    <a:pt x="338304" y="400855"/>
                  </a:cubicBezTo>
                  <a:cubicBezTo>
                    <a:pt x="330144" y="400855"/>
                    <a:pt x="319266" y="403575"/>
                    <a:pt x="289349" y="403575"/>
                  </a:cubicBezTo>
                  <a:cubicBezTo>
                    <a:pt x="275751" y="403575"/>
                    <a:pt x="267592" y="400855"/>
                    <a:pt x="264872" y="400855"/>
                  </a:cubicBezTo>
                  <a:cubicBezTo>
                    <a:pt x="262153" y="400855"/>
                    <a:pt x="259433" y="400855"/>
                    <a:pt x="259433" y="406294"/>
                  </a:cubicBezTo>
                  <a:cubicBezTo>
                    <a:pt x="259433" y="414453"/>
                    <a:pt x="259433" y="419892"/>
                    <a:pt x="259433" y="425332"/>
                  </a:cubicBezTo>
                  <a:cubicBezTo>
                    <a:pt x="259433" y="433491"/>
                    <a:pt x="259433" y="441650"/>
                    <a:pt x="259433" y="449809"/>
                  </a:cubicBezTo>
                  <a:cubicBezTo>
                    <a:pt x="259433" y="457968"/>
                    <a:pt x="259433" y="463407"/>
                    <a:pt x="259433" y="471566"/>
                  </a:cubicBezTo>
                  <a:cubicBezTo>
                    <a:pt x="259433" y="482445"/>
                    <a:pt x="259433" y="493323"/>
                    <a:pt x="259433" y="504202"/>
                  </a:cubicBezTo>
                  <a:cubicBezTo>
                    <a:pt x="259433" y="506921"/>
                    <a:pt x="259433" y="506921"/>
                    <a:pt x="259433" y="509641"/>
                  </a:cubicBezTo>
                  <a:cubicBezTo>
                    <a:pt x="259433" y="520520"/>
                    <a:pt x="256714" y="531398"/>
                    <a:pt x="256714" y="542277"/>
                  </a:cubicBezTo>
                  <a:cubicBezTo>
                    <a:pt x="256714" y="553156"/>
                    <a:pt x="256714" y="566754"/>
                    <a:pt x="256714" y="577632"/>
                  </a:cubicBezTo>
                  <a:cubicBezTo>
                    <a:pt x="256714" y="588511"/>
                    <a:pt x="256714" y="599390"/>
                    <a:pt x="256714" y="612988"/>
                  </a:cubicBezTo>
                  <a:cubicBezTo>
                    <a:pt x="256714" y="629306"/>
                    <a:pt x="253994" y="642904"/>
                    <a:pt x="253994" y="656502"/>
                  </a:cubicBezTo>
                  <a:cubicBezTo>
                    <a:pt x="253994" y="664661"/>
                    <a:pt x="256714" y="672820"/>
                    <a:pt x="256714" y="678260"/>
                  </a:cubicBezTo>
                  <a:cubicBezTo>
                    <a:pt x="270312" y="678260"/>
                    <a:pt x="286629" y="680979"/>
                    <a:pt x="286629" y="694578"/>
                  </a:cubicBezTo>
                  <a:cubicBezTo>
                    <a:pt x="286629" y="702737"/>
                    <a:pt x="283910" y="705456"/>
                    <a:pt x="281191" y="710895"/>
                  </a:cubicBezTo>
                  <a:cubicBezTo>
                    <a:pt x="275751" y="716335"/>
                    <a:pt x="270312" y="719054"/>
                    <a:pt x="264872" y="719054"/>
                  </a:cubicBezTo>
                  <a:cubicBezTo>
                    <a:pt x="256714" y="721774"/>
                    <a:pt x="248554" y="721774"/>
                    <a:pt x="243116" y="721774"/>
                  </a:cubicBezTo>
                  <a:cubicBezTo>
                    <a:pt x="243116" y="721774"/>
                    <a:pt x="243116" y="721774"/>
                    <a:pt x="243116" y="721774"/>
                  </a:cubicBezTo>
                  <a:cubicBezTo>
                    <a:pt x="237676" y="724494"/>
                    <a:pt x="237676" y="724494"/>
                    <a:pt x="232236" y="727214"/>
                  </a:cubicBezTo>
                  <a:cubicBezTo>
                    <a:pt x="229517" y="729933"/>
                    <a:pt x="229517" y="732653"/>
                    <a:pt x="224078" y="735372"/>
                  </a:cubicBezTo>
                  <a:cubicBezTo>
                    <a:pt x="221358" y="738092"/>
                    <a:pt x="215919" y="738092"/>
                    <a:pt x="213199" y="738092"/>
                  </a:cubicBezTo>
                  <a:cubicBezTo>
                    <a:pt x="199601" y="738092"/>
                    <a:pt x="188722" y="735372"/>
                    <a:pt x="183283" y="727214"/>
                  </a:cubicBezTo>
                  <a:cubicBezTo>
                    <a:pt x="180563" y="724494"/>
                    <a:pt x="177843" y="721774"/>
                    <a:pt x="175124" y="719054"/>
                  </a:cubicBezTo>
                  <a:cubicBezTo>
                    <a:pt x="161526" y="719054"/>
                    <a:pt x="150646" y="719054"/>
                    <a:pt x="145208" y="719054"/>
                  </a:cubicBezTo>
                  <a:cubicBezTo>
                    <a:pt x="131609" y="719054"/>
                    <a:pt x="142488" y="719054"/>
                    <a:pt x="126170" y="719054"/>
                  </a:cubicBezTo>
                  <a:cubicBezTo>
                    <a:pt x="118011" y="719054"/>
                    <a:pt x="109852" y="719054"/>
                    <a:pt x="101693" y="719054"/>
                  </a:cubicBezTo>
                  <a:cubicBezTo>
                    <a:pt x="93534" y="719054"/>
                    <a:pt x="82655" y="719054"/>
                    <a:pt x="74496" y="713615"/>
                  </a:cubicBezTo>
                  <a:cubicBezTo>
                    <a:pt x="66338" y="710895"/>
                    <a:pt x="58178" y="702737"/>
                    <a:pt x="58178" y="697297"/>
                  </a:cubicBezTo>
                  <a:cubicBezTo>
                    <a:pt x="58178" y="694578"/>
                    <a:pt x="58178" y="691858"/>
                    <a:pt x="63618" y="689138"/>
                  </a:cubicBezTo>
                  <a:cubicBezTo>
                    <a:pt x="69057" y="686419"/>
                    <a:pt x="79936" y="683699"/>
                    <a:pt x="85375" y="680979"/>
                  </a:cubicBezTo>
                  <a:cubicBezTo>
                    <a:pt x="98973" y="678260"/>
                    <a:pt x="118011" y="678260"/>
                    <a:pt x="131609" y="675540"/>
                  </a:cubicBezTo>
                  <a:cubicBezTo>
                    <a:pt x="131609" y="672820"/>
                    <a:pt x="131609" y="670101"/>
                    <a:pt x="131609" y="667381"/>
                  </a:cubicBezTo>
                  <a:cubicBezTo>
                    <a:pt x="131609" y="661942"/>
                    <a:pt x="131609" y="656502"/>
                    <a:pt x="131609" y="651063"/>
                  </a:cubicBezTo>
                  <a:cubicBezTo>
                    <a:pt x="131609" y="640184"/>
                    <a:pt x="131609" y="629306"/>
                    <a:pt x="131609" y="618427"/>
                  </a:cubicBezTo>
                  <a:cubicBezTo>
                    <a:pt x="131609" y="604829"/>
                    <a:pt x="131609" y="593950"/>
                    <a:pt x="131609" y="580352"/>
                  </a:cubicBezTo>
                  <a:cubicBezTo>
                    <a:pt x="131609" y="564034"/>
                    <a:pt x="131609" y="547716"/>
                    <a:pt x="131609" y="531398"/>
                  </a:cubicBezTo>
                  <a:cubicBezTo>
                    <a:pt x="131609" y="509641"/>
                    <a:pt x="131609" y="487884"/>
                    <a:pt x="131609" y="466126"/>
                  </a:cubicBezTo>
                  <a:cubicBezTo>
                    <a:pt x="131609" y="452528"/>
                    <a:pt x="131609" y="436210"/>
                    <a:pt x="131609" y="422612"/>
                  </a:cubicBezTo>
                  <a:cubicBezTo>
                    <a:pt x="131609" y="419892"/>
                    <a:pt x="131609" y="414453"/>
                    <a:pt x="131609" y="411733"/>
                  </a:cubicBezTo>
                  <a:cubicBezTo>
                    <a:pt x="131609" y="409014"/>
                    <a:pt x="131609" y="400855"/>
                    <a:pt x="131609" y="398135"/>
                  </a:cubicBezTo>
                  <a:cubicBezTo>
                    <a:pt x="131609" y="392696"/>
                    <a:pt x="131609" y="392696"/>
                    <a:pt x="126170" y="389976"/>
                  </a:cubicBezTo>
                  <a:cubicBezTo>
                    <a:pt x="123450" y="389976"/>
                    <a:pt x="109852" y="387257"/>
                    <a:pt x="101693" y="387257"/>
                  </a:cubicBezTo>
                  <a:cubicBezTo>
                    <a:pt x="90814" y="384537"/>
                    <a:pt x="77216" y="381817"/>
                    <a:pt x="77216" y="376378"/>
                  </a:cubicBezTo>
                  <a:cubicBezTo>
                    <a:pt x="77216" y="373658"/>
                    <a:pt x="79936" y="370939"/>
                    <a:pt x="82655" y="368219"/>
                  </a:cubicBezTo>
                  <a:cubicBezTo>
                    <a:pt x="88095" y="365499"/>
                    <a:pt x="93534" y="362780"/>
                    <a:pt x="98973" y="360060"/>
                  </a:cubicBezTo>
                  <a:cubicBezTo>
                    <a:pt x="104413" y="360060"/>
                    <a:pt x="112571" y="357340"/>
                    <a:pt x="118011" y="357340"/>
                  </a:cubicBezTo>
                  <a:cubicBezTo>
                    <a:pt x="126170" y="354621"/>
                    <a:pt x="128890" y="357340"/>
                    <a:pt x="131609" y="351901"/>
                  </a:cubicBezTo>
                  <a:cubicBezTo>
                    <a:pt x="131609" y="349181"/>
                    <a:pt x="131609" y="346462"/>
                    <a:pt x="131609" y="343742"/>
                  </a:cubicBezTo>
                  <a:cubicBezTo>
                    <a:pt x="131609" y="319265"/>
                    <a:pt x="131609" y="294788"/>
                    <a:pt x="131609" y="270311"/>
                  </a:cubicBezTo>
                  <a:cubicBezTo>
                    <a:pt x="131609" y="226797"/>
                    <a:pt x="131609" y="186002"/>
                    <a:pt x="137048" y="145207"/>
                  </a:cubicBezTo>
                  <a:cubicBezTo>
                    <a:pt x="137048" y="139768"/>
                    <a:pt x="137048" y="131609"/>
                    <a:pt x="139768" y="123450"/>
                  </a:cubicBezTo>
                  <a:cubicBezTo>
                    <a:pt x="134329" y="123450"/>
                    <a:pt x="137048" y="123450"/>
                    <a:pt x="123450" y="123450"/>
                  </a:cubicBezTo>
                  <a:cubicBezTo>
                    <a:pt x="120731" y="123450"/>
                    <a:pt x="120731" y="123450"/>
                    <a:pt x="118011" y="123450"/>
                  </a:cubicBezTo>
                  <a:cubicBezTo>
                    <a:pt x="112571" y="123450"/>
                    <a:pt x="107133" y="123450"/>
                    <a:pt x="101693" y="123450"/>
                  </a:cubicBezTo>
                  <a:cubicBezTo>
                    <a:pt x="93534" y="123450"/>
                    <a:pt x="82655" y="120730"/>
                    <a:pt x="74496" y="118011"/>
                  </a:cubicBezTo>
                  <a:cubicBezTo>
                    <a:pt x="66338" y="115291"/>
                    <a:pt x="58178" y="107132"/>
                    <a:pt x="58178" y="101693"/>
                  </a:cubicBezTo>
                  <a:cubicBezTo>
                    <a:pt x="58178" y="98973"/>
                    <a:pt x="58178" y="96253"/>
                    <a:pt x="63618" y="93534"/>
                  </a:cubicBezTo>
                  <a:cubicBezTo>
                    <a:pt x="66338" y="90814"/>
                    <a:pt x="77216" y="88095"/>
                    <a:pt x="85375" y="85375"/>
                  </a:cubicBezTo>
                  <a:cubicBezTo>
                    <a:pt x="104413" y="82655"/>
                    <a:pt x="128890" y="82655"/>
                    <a:pt x="137048" y="82655"/>
                  </a:cubicBezTo>
                  <a:cubicBezTo>
                    <a:pt x="139768" y="82655"/>
                    <a:pt x="142488" y="82655"/>
                    <a:pt x="147927" y="82655"/>
                  </a:cubicBezTo>
                  <a:cubicBezTo>
                    <a:pt x="153366" y="69057"/>
                    <a:pt x="164245" y="58178"/>
                    <a:pt x="186003" y="58178"/>
                  </a:cubicBezTo>
                  <a:cubicBezTo>
                    <a:pt x="202321" y="58178"/>
                    <a:pt x="215919" y="66337"/>
                    <a:pt x="226797" y="79936"/>
                  </a:cubicBezTo>
                  <a:cubicBezTo>
                    <a:pt x="237676" y="79936"/>
                    <a:pt x="248554" y="79936"/>
                    <a:pt x="253994" y="79936"/>
                  </a:cubicBezTo>
                  <a:cubicBezTo>
                    <a:pt x="267592" y="79936"/>
                    <a:pt x="294789" y="79936"/>
                    <a:pt x="294789" y="96253"/>
                  </a:cubicBezTo>
                  <a:cubicBezTo>
                    <a:pt x="294789" y="104412"/>
                    <a:pt x="289349" y="107132"/>
                    <a:pt x="283910" y="112571"/>
                  </a:cubicBezTo>
                  <a:cubicBezTo>
                    <a:pt x="278471" y="118011"/>
                    <a:pt x="273031" y="120730"/>
                    <a:pt x="267592" y="120730"/>
                  </a:cubicBezTo>
                  <a:cubicBezTo>
                    <a:pt x="259433" y="123450"/>
                    <a:pt x="251274" y="123450"/>
                    <a:pt x="245835" y="123450"/>
                  </a:cubicBezTo>
                  <a:cubicBezTo>
                    <a:pt x="245835" y="123450"/>
                    <a:pt x="243116" y="123450"/>
                    <a:pt x="237676" y="123450"/>
                  </a:cubicBezTo>
                  <a:cubicBezTo>
                    <a:pt x="237676" y="126170"/>
                    <a:pt x="237676" y="126170"/>
                    <a:pt x="240396" y="128889"/>
                  </a:cubicBezTo>
                  <a:cubicBezTo>
                    <a:pt x="245835" y="145207"/>
                    <a:pt x="248554" y="161525"/>
                    <a:pt x="251274" y="177843"/>
                  </a:cubicBezTo>
                  <a:cubicBezTo>
                    <a:pt x="253994" y="194161"/>
                    <a:pt x="253994" y="210479"/>
                    <a:pt x="256714" y="226797"/>
                  </a:cubicBezTo>
                  <a:cubicBezTo>
                    <a:pt x="259433" y="243115"/>
                    <a:pt x="262153" y="256713"/>
                    <a:pt x="262153" y="273031"/>
                  </a:cubicBezTo>
                  <a:cubicBezTo>
                    <a:pt x="262153" y="278470"/>
                    <a:pt x="262153" y="283910"/>
                    <a:pt x="262153" y="289349"/>
                  </a:cubicBezTo>
                  <a:lnTo>
                    <a:pt x="262153" y="297508"/>
                  </a:lnTo>
                  <a:cubicBezTo>
                    <a:pt x="262153" y="305667"/>
                    <a:pt x="262153" y="313826"/>
                    <a:pt x="264872" y="321985"/>
                  </a:cubicBezTo>
                  <a:cubicBezTo>
                    <a:pt x="264872" y="327424"/>
                    <a:pt x="270312" y="330144"/>
                    <a:pt x="270312" y="335583"/>
                  </a:cubicBezTo>
                  <a:cubicBezTo>
                    <a:pt x="270312" y="335583"/>
                    <a:pt x="270312" y="338303"/>
                    <a:pt x="270312" y="338303"/>
                  </a:cubicBezTo>
                  <a:cubicBezTo>
                    <a:pt x="270312" y="341022"/>
                    <a:pt x="270312" y="343742"/>
                    <a:pt x="270312" y="346462"/>
                  </a:cubicBezTo>
                  <a:cubicBezTo>
                    <a:pt x="270312" y="351901"/>
                    <a:pt x="273031" y="354621"/>
                    <a:pt x="278471" y="354621"/>
                  </a:cubicBezTo>
                  <a:cubicBezTo>
                    <a:pt x="289349" y="354621"/>
                    <a:pt x="335584" y="351901"/>
                    <a:pt x="338304" y="349181"/>
                  </a:cubicBezTo>
                  <a:cubicBezTo>
                    <a:pt x="346462" y="349181"/>
                    <a:pt x="357341" y="349181"/>
                    <a:pt x="365500" y="349181"/>
                  </a:cubicBezTo>
                  <a:cubicBezTo>
                    <a:pt x="370939" y="349181"/>
                    <a:pt x="376379" y="349181"/>
                    <a:pt x="381817" y="349181"/>
                  </a:cubicBezTo>
                  <a:cubicBezTo>
                    <a:pt x="387257" y="349181"/>
                    <a:pt x="392697" y="346462"/>
                    <a:pt x="392697" y="338303"/>
                  </a:cubicBezTo>
                  <a:cubicBezTo>
                    <a:pt x="392697" y="330144"/>
                    <a:pt x="389977" y="316545"/>
                    <a:pt x="389977" y="313826"/>
                  </a:cubicBezTo>
                  <a:cubicBezTo>
                    <a:pt x="389977" y="294788"/>
                    <a:pt x="389977" y="278470"/>
                    <a:pt x="392697" y="262152"/>
                  </a:cubicBezTo>
                  <a:cubicBezTo>
                    <a:pt x="392697" y="259433"/>
                    <a:pt x="395416" y="243115"/>
                    <a:pt x="395416" y="224077"/>
                  </a:cubicBezTo>
                  <a:cubicBezTo>
                    <a:pt x="395416" y="207759"/>
                    <a:pt x="398136" y="188722"/>
                    <a:pt x="398136" y="177843"/>
                  </a:cubicBezTo>
                  <a:cubicBezTo>
                    <a:pt x="398136" y="169684"/>
                    <a:pt x="395416" y="158806"/>
                    <a:pt x="395416" y="153366"/>
                  </a:cubicBezTo>
                  <a:cubicBezTo>
                    <a:pt x="395416" y="145207"/>
                    <a:pt x="395416" y="142488"/>
                    <a:pt x="395416" y="137048"/>
                  </a:cubicBezTo>
                  <a:cubicBezTo>
                    <a:pt x="389977" y="137048"/>
                    <a:pt x="384537" y="137048"/>
                    <a:pt x="379098" y="137048"/>
                  </a:cubicBezTo>
                  <a:cubicBezTo>
                    <a:pt x="370939" y="137048"/>
                    <a:pt x="360061" y="134329"/>
                    <a:pt x="351902" y="131609"/>
                  </a:cubicBezTo>
                  <a:cubicBezTo>
                    <a:pt x="343742" y="128889"/>
                    <a:pt x="338304" y="120730"/>
                    <a:pt x="338304" y="115291"/>
                  </a:cubicBezTo>
                  <a:cubicBezTo>
                    <a:pt x="338304" y="112571"/>
                    <a:pt x="338304" y="109852"/>
                    <a:pt x="343742" y="107132"/>
                  </a:cubicBezTo>
                  <a:cubicBezTo>
                    <a:pt x="349182" y="104412"/>
                    <a:pt x="357341" y="101693"/>
                    <a:pt x="362780" y="98973"/>
                  </a:cubicBezTo>
                  <a:cubicBezTo>
                    <a:pt x="373659" y="96253"/>
                    <a:pt x="387257" y="96253"/>
                    <a:pt x="395416" y="96253"/>
                  </a:cubicBezTo>
                  <a:cubicBezTo>
                    <a:pt x="398136" y="93534"/>
                    <a:pt x="400855" y="90814"/>
                    <a:pt x="403575" y="90814"/>
                  </a:cubicBezTo>
                  <a:cubicBezTo>
                    <a:pt x="411734" y="90814"/>
                    <a:pt x="419893" y="88095"/>
                    <a:pt x="422612" y="88095"/>
                  </a:cubicBezTo>
                  <a:cubicBezTo>
                    <a:pt x="425332" y="88095"/>
                    <a:pt x="425332" y="88095"/>
                    <a:pt x="428052" y="88095"/>
                  </a:cubicBezTo>
                  <a:cubicBezTo>
                    <a:pt x="433492" y="88095"/>
                    <a:pt x="441650" y="88095"/>
                    <a:pt x="447090" y="90814"/>
                  </a:cubicBezTo>
                  <a:cubicBezTo>
                    <a:pt x="449809" y="90814"/>
                    <a:pt x="452529" y="93534"/>
                    <a:pt x="455249" y="96253"/>
                  </a:cubicBezTo>
                  <a:cubicBezTo>
                    <a:pt x="482445" y="96253"/>
                    <a:pt x="509642" y="93534"/>
                    <a:pt x="525960" y="93534"/>
                  </a:cubicBezTo>
                  <a:cubicBezTo>
                    <a:pt x="539558" y="93534"/>
                    <a:pt x="561315" y="93534"/>
                    <a:pt x="561315" y="109852"/>
                  </a:cubicBezTo>
                  <a:cubicBezTo>
                    <a:pt x="561315" y="118011"/>
                    <a:pt x="561315" y="120730"/>
                    <a:pt x="555876" y="126170"/>
                  </a:cubicBezTo>
                  <a:cubicBezTo>
                    <a:pt x="550437" y="131609"/>
                    <a:pt x="544997" y="134329"/>
                    <a:pt x="539558" y="134329"/>
                  </a:cubicBezTo>
                  <a:cubicBezTo>
                    <a:pt x="531399" y="137048"/>
                    <a:pt x="523240" y="137048"/>
                    <a:pt x="517800" y="137048"/>
                  </a:cubicBezTo>
                  <a:cubicBezTo>
                    <a:pt x="515081" y="137048"/>
                    <a:pt x="498763" y="137048"/>
                    <a:pt x="477006" y="137048"/>
                  </a:cubicBezTo>
                  <a:cubicBezTo>
                    <a:pt x="479725" y="145207"/>
                    <a:pt x="485165" y="153366"/>
                    <a:pt x="485165" y="161525"/>
                  </a:cubicBezTo>
                  <a:cubicBezTo>
                    <a:pt x="487885" y="177843"/>
                    <a:pt x="493324" y="194161"/>
                    <a:pt x="496043" y="210479"/>
                  </a:cubicBezTo>
                  <a:cubicBezTo>
                    <a:pt x="498763" y="224077"/>
                    <a:pt x="498763" y="237676"/>
                    <a:pt x="501483" y="251274"/>
                  </a:cubicBezTo>
                  <a:cubicBezTo>
                    <a:pt x="504202" y="264872"/>
                    <a:pt x="506922" y="275751"/>
                    <a:pt x="506922" y="292069"/>
                  </a:cubicBezTo>
                  <a:cubicBezTo>
                    <a:pt x="506922" y="302947"/>
                    <a:pt x="506922" y="311106"/>
                    <a:pt x="506922" y="321985"/>
                  </a:cubicBezTo>
                  <a:cubicBezTo>
                    <a:pt x="506922" y="327424"/>
                    <a:pt x="509642" y="335583"/>
                    <a:pt x="509642" y="341022"/>
                  </a:cubicBezTo>
                  <a:cubicBezTo>
                    <a:pt x="509642" y="343742"/>
                    <a:pt x="509642" y="343742"/>
                    <a:pt x="509642" y="343742"/>
                  </a:cubicBezTo>
                  <a:cubicBezTo>
                    <a:pt x="509642" y="349181"/>
                    <a:pt x="515081" y="349181"/>
                    <a:pt x="517800" y="349181"/>
                  </a:cubicBezTo>
                  <a:cubicBezTo>
                    <a:pt x="520520" y="349181"/>
                    <a:pt x="523240" y="349181"/>
                    <a:pt x="528680" y="349181"/>
                  </a:cubicBezTo>
                  <a:cubicBezTo>
                    <a:pt x="536838" y="349181"/>
                    <a:pt x="547717" y="349181"/>
                    <a:pt x="550437" y="357340"/>
                  </a:cubicBezTo>
                  <a:cubicBezTo>
                    <a:pt x="550437" y="360060"/>
                    <a:pt x="550437" y="360060"/>
                    <a:pt x="550437" y="362780"/>
                  </a:cubicBezTo>
                  <a:cubicBezTo>
                    <a:pt x="550437" y="370939"/>
                    <a:pt x="539558" y="381817"/>
                    <a:pt x="534119" y="384537"/>
                  </a:cubicBezTo>
                  <a:cubicBezTo>
                    <a:pt x="531399" y="387257"/>
                    <a:pt x="523240" y="387257"/>
                    <a:pt x="520520" y="389976"/>
                  </a:cubicBezTo>
                  <a:cubicBezTo>
                    <a:pt x="515081" y="389976"/>
                    <a:pt x="512362" y="392696"/>
                    <a:pt x="512362" y="395415"/>
                  </a:cubicBezTo>
                  <a:cubicBezTo>
                    <a:pt x="512362" y="395415"/>
                    <a:pt x="512362" y="398135"/>
                    <a:pt x="512362" y="398135"/>
                  </a:cubicBezTo>
                  <a:cubicBezTo>
                    <a:pt x="512362" y="400855"/>
                    <a:pt x="512362" y="406294"/>
                    <a:pt x="512362" y="409014"/>
                  </a:cubicBezTo>
                  <a:cubicBezTo>
                    <a:pt x="512362" y="411733"/>
                    <a:pt x="512362" y="411733"/>
                    <a:pt x="512362" y="414453"/>
                  </a:cubicBezTo>
                  <a:cubicBezTo>
                    <a:pt x="512362" y="422612"/>
                    <a:pt x="512362" y="430771"/>
                    <a:pt x="512362" y="438930"/>
                  </a:cubicBezTo>
                  <a:cubicBezTo>
                    <a:pt x="512362" y="460687"/>
                    <a:pt x="512362" y="482445"/>
                    <a:pt x="515081" y="504202"/>
                  </a:cubicBezTo>
                  <a:cubicBezTo>
                    <a:pt x="517800" y="525959"/>
                    <a:pt x="520520" y="550436"/>
                    <a:pt x="520520" y="572193"/>
                  </a:cubicBezTo>
                  <a:cubicBezTo>
                    <a:pt x="520520" y="583072"/>
                    <a:pt x="520520" y="593950"/>
                    <a:pt x="517800" y="604829"/>
                  </a:cubicBezTo>
                  <a:cubicBezTo>
                    <a:pt x="515081" y="623867"/>
                    <a:pt x="515081" y="642904"/>
                    <a:pt x="512362" y="661942"/>
                  </a:cubicBezTo>
                  <a:cubicBezTo>
                    <a:pt x="512362" y="664661"/>
                    <a:pt x="509642" y="667381"/>
                    <a:pt x="509642" y="670101"/>
                  </a:cubicBezTo>
                  <a:cubicBezTo>
                    <a:pt x="509642" y="672820"/>
                    <a:pt x="512362" y="678260"/>
                    <a:pt x="512362" y="680979"/>
                  </a:cubicBezTo>
                  <a:cubicBezTo>
                    <a:pt x="512362" y="683699"/>
                    <a:pt x="512362" y="686419"/>
                    <a:pt x="512362" y="686419"/>
                  </a:cubicBezTo>
                  <a:cubicBezTo>
                    <a:pt x="517800" y="680979"/>
                    <a:pt x="528680" y="680979"/>
                    <a:pt x="536838" y="680979"/>
                  </a:cubicBezTo>
                  <a:lnTo>
                    <a:pt x="536838" y="680979"/>
                  </a:ln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2" name="Freeform: Shape 51">
              <a:extLst>
                <a:ext uri="{FF2B5EF4-FFF2-40B4-BE49-F238E27FC236}">
                  <a16:creationId xmlns:a16="http://schemas.microsoft.com/office/drawing/2014/main" id="{EC730DF2-B7B8-470D-B166-19B7C7F51A75}"/>
                </a:ext>
              </a:extLst>
            </p:cNvPr>
            <p:cNvSpPr/>
            <p:nvPr/>
          </p:nvSpPr>
          <p:spPr bwMode="black">
            <a:xfrm>
              <a:off x="9592416" y="4192158"/>
              <a:ext cx="516735" cy="761503"/>
            </a:xfrm>
            <a:custGeom>
              <a:avLst/>
              <a:gdLst>
                <a:gd name="connsiteX0" fmla="*/ 463407 w 516735"/>
                <a:gd name="connsiteY0" fmla="*/ 194161 h 761503"/>
                <a:gd name="connsiteX1" fmla="*/ 447089 w 516735"/>
                <a:gd name="connsiteY1" fmla="*/ 226797 h 761503"/>
                <a:gd name="connsiteX2" fmla="*/ 430771 w 516735"/>
                <a:gd name="connsiteY2" fmla="*/ 221357 h 761503"/>
                <a:gd name="connsiteX3" fmla="*/ 422612 w 516735"/>
                <a:gd name="connsiteY3" fmla="*/ 207759 h 761503"/>
                <a:gd name="connsiteX4" fmla="*/ 419893 w 516735"/>
                <a:gd name="connsiteY4" fmla="*/ 188722 h 761503"/>
                <a:gd name="connsiteX5" fmla="*/ 419893 w 516735"/>
                <a:gd name="connsiteY5" fmla="*/ 139768 h 761503"/>
                <a:gd name="connsiteX6" fmla="*/ 419893 w 516735"/>
                <a:gd name="connsiteY6" fmla="*/ 120730 h 761503"/>
                <a:gd name="connsiteX7" fmla="*/ 395416 w 516735"/>
                <a:gd name="connsiteY7" fmla="*/ 120730 h 761503"/>
                <a:gd name="connsiteX8" fmla="*/ 370939 w 516735"/>
                <a:gd name="connsiteY8" fmla="*/ 120730 h 761503"/>
                <a:gd name="connsiteX9" fmla="*/ 346461 w 516735"/>
                <a:gd name="connsiteY9" fmla="*/ 123450 h 761503"/>
                <a:gd name="connsiteX10" fmla="*/ 335583 w 516735"/>
                <a:gd name="connsiteY10" fmla="*/ 123450 h 761503"/>
                <a:gd name="connsiteX11" fmla="*/ 335583 w 516735"/>
                <a:gd name="connsiteY11" fmla="*/ 123450 h 761503"/>
                <a:gd name="connsiteX12" fmla="*/ 324704 w 516735"/>
                <a:gd name="connsiteY12" fmla="*/ 128889 h 761503"/>
                <a:gd name="connsiteX13" fmla="*/ 327424 w 516735"/>
                <a:gd name="connsiteY13" fmla="*/ 139768 h 761503"/>
                <a:gd name="connsiteX14" fmla="*/ 330144 w 516735"/>
                <a:gd name="connsiteY14" fmla="*/ 175123 h 761503"/>
                <a:gd name="connsiteX15" fmla="*/ 330144 w 516735"/>
                <a:gd name="connsiteY15" fmla="*/ 199600 h 761503"/>
                <a:gd name="connsiteX16" fmla="*/ 327424 w 516735"/>
                <a:gd name="connsiteY16" fmla="*/ 224077 h 761503"/>
                <a:gd name="connsiteX17" fmla="*/ 330144 w 516735"/>
                <a:gd name="connsiteY17" fmla="*/ 251274 h 761503"/>
                <a:gd name="connsiteX18" fmla="*/ 327424 w 516735"/>
                <a:gd name="connsiteY18" fmla="*/ 278470 h 761503"/>
                <a:gd name="connsiteX19" fmla="*/ 327424 w 516735"/>
                <a:gd name="connsiteY19" fmla="*/ 332864 h 761503"/>
                <a:gd name="connsiteX20" fmla="*/ 330144 w 516735"/>
                <a:gd name="connsiteY20" fmla="*/ 357340 h 761503"/>
                <a:gd name="connsiteX21" fmla="*/ 330144 w 516735"/>
                <a:gd name="connsiteY21" fmla="*/ 368219 h 761503"/>
                <a:gd name="connsiteX22" fmla="*/ 332863 w 516735"/>
                <a:gd name="connsiteY22" fmla="*/ 387257 h 761503"/>
                <a:gd name="connsiteX23" fmla="*/ 332863 w 516735"/>
                <a:gd name="connsiteY23" fmla="*/ 433491 h 761503"/>
                <a:gd name="connsiteX24" fmla="*/ 332863 w 516735"/>
                <a:gd name="connsiteY24" fmla="*/ 487884 h 761503"/>
                <a:gd name="connsiteX25" fmla="*/ 330144 w 516735"/>
                <a:gd name="connsiteY25" fmla="*/ 512361 h 761503"/>
                <a:gd name="connsiteX26" fmla="*/ 330144 w 516735"/>
                <a:gd name="connsiteY26" fmla="*/ 539557 h 761503"/>
                <a:gd name="connsiteX27" fmla="*/ 332863 w 516735"/>
                <a:gd name="connsiteY27" fmla="*/ 593950 h 761503"/>
                <a:gd name="connsiteX28" fmla="*/ 332863 w 516735"/>
                <a:gd name="connsiteY28" fmla="*/ 648343 h 761503"/>
                <a:gd name="connsiteX29" fmla="*/ 332863 w 516735"/>
                <a:gd name="connsiteY29" fmla="*/ 656502 h 761503"/>
                <a:gd name="connsiteX30" fmla="*/ 357341 w 516735"/>
                <a:gd name="connsiteY30" fmla="*/ 656502 h 761503"/>
                <a:gd name="connsiteX31" fmla="*/ 395416 w 516735"/>
                <a:gd name="connsiteY31" fmla="*/ 675540 h 761503"/>
                <a:gd name="connsiteX32" fmla="*/ 389976 w 516735"/>
                <a:gd name="connsiteY32" fmla="*/ 691858 h 761503"/>
                <a:gd name="connsiteX33" fmla="*/ 373658 w 516735"/>
                <a:gd name="connsiteY33" fmla="*/ 700017 h 761503"/>
                <a:gd name="connsiteX34" fmla="*/ 351901 w 516735"/>
                <a:gd name="connsiteY34" fmla="*/ 702737 h 761503"/>
                <a:gd name="connsiteX35" fmla="*/ 319265 w 516735"/>
                <a:gd name="connsiteY35" fmla="*/ 702737 h 761503"/>
                <a:gd name="connsiteX36" fmla="*/ 311106 w 516735"/>
                <a:gd name="connsiteY36" fmla="*/ 708176 h 761503"/>
                <a:gd name="connsiteX37" fmla="*/ 289349 w 516735"/>
                <a:gd name="connsiteY37" fmla="*/ 713615 h 761503"/>
                <a:gd name="connsiteX38" fmla="*/ 270311 w 516735"/>
                <a:gd name="connsiteY38" fmla="*/ 713615 h 761503"/>
                <a:gd name="connsiteX39" fmla="*/ 243115 w 516735"/>
                <a:gd name="connsiteY39" fmla="*/ 705456 h 761503"/>
                <a:gd name="connsiteX40" fmla="*/ 237675 w 516735"/>
                <a:gd name="connsiteY40" fmla="*/ 702737 h 761503"/>
                <a:gd name="connsiteX41" fmla="*/ 199600 w 516735"/>
                <a:gd name="connsiteY41" fmla="*/ 702737 h 761503"/>
                <a:gd name="connsiteX42" fmla="*/ 175123 w 516735"/>
                <a:gd name="connsiteY42" fmla="*/ 702737 h 761503"/>
                <a:gd name="connsiteX43" fmla="*/ 147927 w 516735"/>
                <a:gd name="connsiteY43" fmla="*/ 697297 h 761503"/>
                <a:gd name="connsiteX44" fmla="*/ 131609 w 516735"/>
                <a:gd name="connsiteY44" fmla="*/ 678260 h 761503"/>
                <a:gd name="connsiteX45" fmla="*/ 137048 w 516735"/>
                <a:gd name="connsiteY45" fmla="*/ 670101 h 761503"/>
                <a:gd name="connsiteX46" fmla="*/ 158805 w 516735"/>
                <a:gd name="connsiteY46" fmla="*/ 661942 h 761503"/>
                <a:gd name="connsiteX47" fmla="*/ 199600 w 516735"/>
                <a:gd name="connsiteY47" fmla="*/ 659222 h 761503"/>
                <a:gd name="connsiteX48" fmla="*/ 199600 w 516735"/>
                <a:gd name="connsiteY48" fmla="*/ 659222 h 761503"/>
                <a:gd name="connsiteX49" fmla="*/ 196880 w 516735"/>
                <a:gd name="connsiteY49" fmla="*/ 629306 h 761503"/>
                <a:gd name="connsiteX50" fmla="*/ 199600 w 516735"/>
                <a:gd name="connsiteY50" fmla="*/ 574913 h 761503"/>
                <a:gd name="connsiteX51" fmla="*/ 202320 w 516735"/>
                <a:gd name="connsiteY51" fmla="*/ 523239 h 761503"/>
                <a:gd name="connsiteX52" fmla="*/ 205040 w 516735"/>
                <a:gd name="connsiteY52" fmla="*/ 460687 h 761503"/>
                <a:gd name="connsiteX53" fmla="*/ 205040 w 516735"/>
                <a:gd name="connsiteY53" fmla="*/ 417173 h 761503"/>
                <a:gd name="connsiteX54" fmla="*/ 207759 w 516735"/>
                <a:gd name="connsiteY54" fmla="*/ 392696 h 761503"/>
                <a:gd name="connsiteX55" fmla="*/ 210478 w 516735"/>
                <a:gd name="connsiteY55" fmla="*/ 368219 h 761503"/>
                <a:gd name="connsiteX56" fmla="*/ 210478 w 516735"/>
                <a:gd name="connsiteY56" fmla="*/ 313826 h 761503"/>
                <a:gd name="connsiteX57" fmla="*/ 210478 w 516735"/>
                <a:gd name="connsiteY57" fmla="*/ 259433 h 761503"/>
                <a:gd name="connsiteX58" fmla="*/ 210478 w 516735"/>
                <a:gd name="connsiteY58" fmla="*/ 213199 h 761503"/>
                <a:gd name="connsiteX59" fmla="*/ 210478 w 516735"/>
                <a:gd name="connsiteY59" fmla="*/ 145207 h 761503"/>
                <a:gd name="connsiteX60" fmla="*/ 213198 w 516735"/>
                <a:gd name="connsiteY60" fmla="*/ 131609 h 761503"/>
                <a:gd name="connsiteX61" fmla="*/ 205040 w 516735"/>
                <a:gd name="connsiteY61" fmla="*/ 123450 h 761503"/>
                <a:gd name="connsiteX62" fmla="*/ 161525 w 516735"/>
                <a:gd name="connsiteY62" fmla="*/ 123450 h 761503"/>
                <a:gd name="connsiteX63" fmla="*/ 112571 w 516735"/>
                <a:gd name="connsiteY63" fmla="*/ 120730 h 761503"/>
                <a:gd name="connsiteX64" fmla="*/ 104412 w 516735"/>
                <a:gd name="connsiteY64" fmla="*/ 118011 h 761503"/>
                <a:gd name="connsiteX65" fmla="*/ 107132 w 516735"/>
                <a:gd name="connsiteY65" fmla="*/ 191441 h 761503"/>
                <a:gd name="connsiteX66" fmla="*/ 90814 w 516735"/>
                <a:gd name="connsiteY66" fmla="*/ 224077 h 761503"/>
                <a:gd name="connsiteX67" fmla="*/ 74496 w 516735"/>
                <a:gd name="connsiteY67" fmla="*/ 218638 h 761503"/>
                <a:gd name="connsiteX68" fmla="*/ 66337 w 516735"/>
                <a:gd name="connsiteY68" fmla="*/ 205040 h 761503"/>
                <a:gd name="connsiteX69" fmla="*/ 63617 w 516735"/>
                <a:gd name="connsiteY69" fmla="*/ 186002 h 761503"/>
                <a:gd name="connsiteX70" fmla="*/ 63617 w 516735"/>
                <a:gd name="connsiteY70" fmla="*/ 145207 h 761503"/>
                <a:gd name="connsiteX71" fmla="*/ 63617 w 516735"/>
                <a:gd name="connsiteY71" fmla="*/ 109852 h 761503"/>
                <a:gd name="connsiteX72" fmla="*/ 58178 w 516735"/>
                <a:gd name="connsiteY72" fmla="*/ 96253 h 761503"/>
                <a:gd name="connsiteX73" fmla="*/ 66337 w 516735"/>
                <a:gd name="connsiteY73" fmla="*/ 85375 h 761503"/>
                <a:gd name="connsiteX74" fmla="*/ 93533 w 516735"/>
                <a:gd name="connsiteY74" fmla="*/ 77216 h 761503"/>
                <a:gd name="connsiteX75" fmla="*/ 115290 w 516735"/>
                <a:gd name="connsiteY75" fmla="*/ 77216 h 761503"/>
                <a:gd name="connsiteX76" fmla="*/ 169684 w 516735"/>
                <a:gd name="connsiteY76" fmla="*/ 74496 h 761503"/>
                <a:gd name="connsiteX77" fmla="*/ 194161 w 516735"/>
                <a:gd name="connsiteY77" fmla="*/ 71776 h 761503"/>
                <a:gd name="connsiteX78" fmla="*/ 196880 w 516735"/>
                <a:gd name="connsiteY78" fmla="*/ 71776 h 761503"/>
                <a:gd name="connsiteX79" fmla="*/ 210478 w 516735"/>
                <a:gd name="connsiteY79" fmla="*/ 71776 h 761503"/>
                <a:gd name="connsiteX80" fmla="*/ 218638 w 516735"/>
                <a:gd name="connsiteY80" fmla="*/ 71776 h 761503"/>
                <a:gd name="connsiteX81" fmla="*/ 237675 w 516735"/>
                <a:gd name="connsiteY81" fmla="*/ 60898 h 761503"/>
                <a:gd name="connsiteX82" fmla="*/ 253993 w 516735"/>
                <a:gd name="connsiteY82" fmla="*/ 58178 h 761503"/>
                <a:gd name="connsiteX83" fmla="*/ 283910 w 516735"/>
                <a:gd name="connsiteY83" fmla="*/ 60898 h 761503"/>
                <a:gd name="connsiteX84" fmla="*/ 294788 w 516735"/>
                <a:gd name="connsiteY84" fmla="*/ 66337 h 761503"/>
                <a:gd name="connsiteX85" fmla="*/ 305667 w 516735"/>
                <a:gd name="connsiteY85" fmla="*/ 74496 h 761503"/>
                <a:gd name="connsiteX86" fmla="*/ 313826 w 516735"/>
                <a:gd name="connsiteY86" fmla="*/ 74496 h 761503"/>
                <a:gd name="connsiteX87" fmla="*/ 327424 w 516735"/>
                <a:gd name="connsiteY87" fmla="*/ 74496 h 761503"/>
                <a:gd name="connsiteX88" fmla="*/ 354621 w 516735"/>
                <a:gd name="connsiteY88" fmla="*/ 74496 h 761503"/>
                <a:gd name="connsiteX89" fmla="*/ 422612 w 516735"/>
                <a:gd name="connsiteY89" fmla="*/ 74496 h 761503"/>
                <a:gd name="connsiteX90" fmla="*/ 455248 w 516735"/>
                <a:gd name="connsiteY90" fmla="*/ 79936 h 761503"/>
                <a:gd name="connsiteX91" fmla="*/ 466127 w 516735"/>
                <a:gd name="connsiteY91" fmla="*/ 98973 h 761503"/>
                <a:gd name="connsiteX92" fmla="*/ 463407 w 516735"/>
                <a:gd name="connsiteY92" fmla="*/ 109852 h 761503"/>
                <a:gd name="connsiteX93" fmla="*/ 463407 w 516735"/>
                <a:gd name="connsiteY93" fmla="*/ 120730 h 761503"/>
                <a:gd name="connsiteX94" fmla="*/ 463407 w 516735"/>
                <a:gd name="connsiteY94" fmla="*/ 194161 h 761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</a:cxnLst>
              <a:rect l="l" t="t" r="r" b="b"/>
              <a:pathLst>
                <a:path w="516735" h="761503">
                  <a:moveTo>
                    <a:pt x="463407" y="194161"/>
                  </a:moveTo>
                  <a:cubicBezTo>
                    <a:pt x="463407" y="205040"/>
                    <a:pt x="463407" y="226797"/>
                    <a:pt x="447089" y="226797"/>
                  </a:cubicBezTo>
                  <a:cubicBezTo>
                    <a:pt x="438930" y="226797"/>
                    <a:pt x="436211" y="226797"/>
                    <a:pt x="430771" y="221357"/>
                  </a:cubicBezTo>
                  <a:cubicBezTo>
                    <a:pt x="425332" y="218638"/>
                    <a:pt x="422612" y="210479"/>
                    <a:pt x="422612" y="207759"/>
                  </a:cubicBezTo>
                  <a:cubicBezTo>
                    <a:pt x="419893" y="199600"/>
                    <a:pt x="419893" y="194161"/>
                    <a:pt x="419893" y="188722"/>
                  </a:cubicBezTo>
                  <a:cubicBezTo>
                    <a:pt x="419893" y="183282"/>
                    <a:pt x="419893" y="147927"/>
                    <a:pt x="419893" y="139768"/>
                  </a:cubicBezTo>
                  <a:cubicBezTo>
                    <a:pt x="419893" y="134329"/>
                    <a:pt x="419893" y="128889"/>
                    <a:pt x="419893" y="120730"/>
                  </a:cubicBezTo>
                  <a:cubicBezTo>
                    <a:pt x="411734" y="120730"/>
                    <a:pt x="403574" y="120730"/>
                    <a:pt x="395416" y="120730"/>
                  </a:cubicBezTo>
                  <a:cubicBezTo>
                    <a:pt x="387256" y="120730"/>
                    <a:pt x="379098" y="120730"/>
                    <a:pt x="370939" y="120730"/>
                  </a:cubicBezTo>
                  <a:cubicBezTo>
                    <a:pt x="362780" y="120730"/>
                    <a:pt x="354621" y="123450"/>
                    <a:pt x="346461" y="123450"/>
                  </a:cubicBezTo>
                  <a:cubicBezTo>
                    <a:pt x="343742" y="123450"/>
                    <a:pt x="341023" y="123450"/>
                    <a:pt x="335583" y="123450"/>
                  </a:cubicBezTo>
                  <a:cubicBezTo>
                    <a:pt x="335583" y="123450"/>
                    <a:pt x="335583" y="123450"/>
                    <a:pt x="335583" y="123450"/>
                  </a:cubicBezTo>
                  <a:cubicBezTo>
                    <a:pt x="327424" y="123450"/>
                    <a:pt x="324704" y="126170"/>
                    <a:pt x="324704" y="128889"/>
                  </a:cubicBezTo>
                  <a:cubicBezTo>
                    <a:pt x="324704" y="131609"/>
                    <a:pt x="324704" y="137048"/>
                    <a:pt x="327424" y="139768"/>
                  </a:cubicBezTo>
                  <a:cubicBezTo>
                    <a:pt x="330144" y="147927"/>
                    <a:pt x="330144" y="166964"/>
                    <a:pt x="330144" y="175123"/>
                  </a:cubicBezTo>
                  <a:cubicBezTo>
                    <a:pt x="330144" y="183282"/>
                    <a:pt x="330144" y="191441"/>
                    <a:pt x="330144" y="199600"/>
                  </a:cubicBezTo>
                  <a:cubicBezTo>
                    <a:pt x="330144" y="207759"/>
                    <a:pt x="327424" y="215918"/>
                    <a:pt x="327424" y="224077"/>
                  </a:cubicBezTo>
                  <a:cubicBezTo>
                    <a:pt x="327424" y="232236"/>
                    <a:pt x="330144" y="243115"/>
                    <a:pt x="330144" y="251274"/>
                  </a:cubicBezTo>
                  <a:cubicBezTo>
                    <a:pt x="330144" y="259433"/>
                    <a:pt x="330144" y="267592"/>
                    <a:pt x="327424" y="278470"/>
                  </a:cubicBezTo>
                  <a:cubicBezTo>
                    <a:pt x="327424" y="294788"/>
                    <a:pt x="327424" y="313826"/>
                    <a:pt x="327424" y="332864"/>
                  </a:cubicBezTo>
                  <a:cubicBezTo>
                    <a:pt x="327424" y="341022"/>
                    <a:pt x="327424" y="349181"/>
                    <a:pt x="330144" y="357340"/>
                  </a:cubicBezTo>
                  <a:cubicBezTo>
                    <a:pt x="330144" y="360060"/>
                    <a:pt x="330144" y="365499"/>
                    <a:pt x="330144" y="368219"/>
                  </a:cubicBezTo>
                  <a:cubicBezTo>
                    <a:pt x="330144" y="373658"/>
                    <a:pt x="332863" y="384537"/>
                    <a:pt x="332863" y="387257"/>
                  </a:cubicBezTo>
                  <a:cubicBezTo>
                    <a:pt x="332863" y="406294"/>
                    <a:pt x="332863" y="414453"/>
                    <a:pt x="332863" y="433491"/>
                  </a:cubicBezTo>
                  <a:cubicBezTo>
                    <a:pt x="332863" y="452528"/>
                    <a:pt x="335583" y="468846"/>
                    <a:pt x="332863" y="487884"/>
                  </a:cubicBezTo>
                  <a:cubicBezTo>
                    <a:pt x="332863" y="496043"/>
                    <a:pt x="330144" y="504202"/>
                    <a:pt x="330144" y="512361"/>
                  </a:cubicBezTo>
                  <a:cubicBezTo>
                    <a:pt x="330144" y="520520"/>
                    <a:pt x="330144" y="531398"/>
                    <a:pt x="330144" y="539557"/>
                  </a:cubicBezTo>
                  <a:cubicBezTo>
                    <a:pt x="330144" y="558595"/>
                    <a:pt x="330144" y="574913"/>
                    <a:pt x="332863" y="593950"/>
                  </a:cubicBezTo>
                  <a:cubicBezTo>
                    <a:pt x="332863" y="610268"/>
                    <a:pt x="332863" y="632026"/>
                    <a:pt x="332863" y="648343"/>
                  </a:cubicBezTo>
                  <a:cubicBezTo>
                    <a:pt x="332863" y="651063"/>
                    <a:pt x="332863" y="653783"/>
                    <a:pt x="332863" y="656502"/>
                  </a:cubicBezTo>
                  <a:cubicBezTo>
                    <a:pt x="343742" y="656502"/>
                    <a:pt x="351901" y="656502"/>
                    <a:pt x="357341" y="656502"/>
                  </a:cubicBezTo>
                  <a:cubicBezTo>
                    <a:pt x="370939" y="656502"/>
                    <a:pt x="395416" y="659222"/>
                    <a:pt x="395416" y="675540"/>
                  </a:cubicBezTo>
                  <a:cubicBezTo>
                    <a:pt x="395416" y="683699"/>
                    <a:pt x="392696" y="686419"/>
                    <a:pt x="389976" y="691858"/>
                  </a:cubicBezTo>
                  <a:cubicBezTo>
                    <a:pt x="384537" y="697297"/>
                    <a:pt x="379098" y="700017"/>
                    <a:pt x="373658" y="700017"/>
                  </a:cubicBezTo>
                  <a:cubicBezTo>
                    <a:pt x="365499" y="702737"/>
                    <a:pt x="357341" y="702737"/>
                    <a:pt x="351901" y="702737"/>
                  </a:cubicBezTo>
                  <a:cubicBezTo>
                    <a:pt x="349181" y="702737"/>
                    <a:pt x="335583" y="702737"/>
                    <a:pt x="319265" y="702737"/>
                  </a:cubicBezTo>
                  <a:cubicBezTo>
                    <a:pt x="316546" y="705456"/>
                    <a:pt x="313826" y="705456"/>
                    <a:pt x="311106" y="708176"/>
                  </a:cubicBezTo>
                  <a:cubicBezTo>
                    <a:pt x="302948" y="713615"/>
                    <a:pt x="297508" y="713615"/>
                    <a:pt x="289349" y="713615"/>
                  </a:cubicBezTo>
                  <a:cubicBezTo>
                    <a:pt x="283910" y="713615"/>
                    <a:pt x="278470" y="713615"/>
                    <a:pt x="270311" y="713615"/>
                  </a:cubicBezTo>
                  <a:cubicBezTo>
                    <a:pt x="259433" y="713615"/>
                    <a:pt x="251273" y="710895"/>
                    <a:pt x="243115" y="705456"/>
                  </a:cubicBezTo>
                  <a:cubicBezTo>
                    <a:pt x="240395" y="705456"/>
                    <a:pt x="237675" y="702737"/>
                    <a:pt x="237675" y="702737"/>
                  </a:cubicBezTo>
                  <a:cubicBezTo>
                    <a:pt x="224077" y="702737"/>
                    <a:pt x="213198" y="702737"/>
                    <a:pt x="199600" y="702737"/>
                  </a:cubicBezTo>
                  <a:cubicBezTo>
                    <a:pt x="191441" y="702737"/>
                    <a:pt x="183282" y="702737"/>
                    <a:pt x="175123" y="702737"/>
                  </a:cubicBezTo>
                  <a:cubicBezTo>
                    <a:pt x="166965" y="702737"/>
                    <a:pt x="156085" y="702737"/>
                    <a:pt x="147927" y="697297"/>
                  </a:cubicBezTo>
                  <a:cubicBezTo>
                    <a:pt x="139768" y="694578"/>
                    <a:pt x="131609" y="680979"/>
                    <a:pt x="131609" y="678260"/>
                  </a:cubicBezTo>
                  <a:cubicBezTo>
                    <a:pt x="131609" y="675540"/>
                    <a:pt x="131609" y="672820"/>
                    <a:pt x="137048" y="670101"/>
                  </a:cubicBezTo>
                  <a:cubicBezTo>
                    <a:pt x="142487" y="667381"/>
                    <a:pt x="153366" y="664661"/>
                    <a:pt x="158805" y="661942"/>
                  </a:cubicBezTo>
                  <a:cubicBezTo>
                    <a:pt x="175123" y="659222"/>
                    <a:pt x="191441" y="659222"/>
                    <a:pt x="199600" y="659222"/>
                  </a:cubicBezTo>
                  <a:lnTo>
                    <a:pt x="199600" y="659222"/>
                  </a:lnTo>
                  <a:cubicBezTo>
                    <a:pt x="199600" y="648343"/>
                    <a:pt x="196880" y="640184"/>
                    <a:pt x="196880" y="629306"/>
                  </a:cubicBezTo>
                  <a:cubicBezTo>
                    <a:pt x="196880" y="612988"/>
                    <a:pt x="196880" y="591231"/>
                    <a:pt x="199600" y="574913"/>
                  </a:cubicBezTo>
                  <a:cubicBezTo>
                    <a:pt x="199600" y="558595"/>
                    <a:pt x="199600" y="539557"/>
                    <a:pt x="202320" y="523239"/>
                  </a:cubicBezTo>
                  <a:cubicBezTo>
                    <a:pt x="202320" y="501482"/>
                    <a:pt x="205040" y="482445"/>
                    <a:pt x="205040" y="460687"/>
                  </a:cubicBezTo>
                  <a:cubicBezTo>
                    <a:pt x="205040" y="447089"/>
                    <a:pt x="205040" y="430771"/>
                    <a:pt x="205040" y="417173"/>
                  </a:cubicBezTo>
                  <a:cubicBezTo>
                    <a:pt x="205040" y="409014"/>
                    <a:pt x="207759" y="400855"/>
                    <a:pt x="207759" y="392696"/>
                  </a:cubicBezTo>
                  <a:cubicBezTo>
                    <a:pt x="207759" y="384537"/>
                    <a:pt x="210478" y="376378"/>
                    <a:pt x="210478" y="368219"/>
                  </a:cubicBezTo>
                  <a:cubicBezTo>
                    <a:pt x="210478" y="351901"/>
                    <a:pt x="210478" y="332864"/>
                    <a:pt x="210478" y="313826"/>
                  </a:cubicBezTo>
                  <a:cubicBezTo>
                    <a:pt x="210478" y="294788"/>
                    <a:pt x="210478" y="275751"/>
                    <a:pt x="210478" y="259433"/>
                  </a:cubicBezTo>
                  <a:cubicBezTo>
                    <a:pt x="210478" y="243115"/>
                    <a:pt x="210478" y="226797"/>
                    <a:pt x="210478" y="213199"/>
                  </a:cubicBezTo>
                  <a:cubicBezTo>
                    <a:pt x="210478" y="194161"/>
                    <a:pt x="210478" y="164245"/>
                    <a:pt x="210478" y="145207"/>
                  </a:cubicBezTo>
                  <a:cubicBezTo>
                    <a:pt x="210478" y="139768"/>
                    <a:pt x="213198" y="134329"/>
                    <a:pt x="213198" y="131609"/>
                  </a:cubicBezTo>
                  <a:cubicBezTo>
                    <a:pt x="213198" y="126170"/>
                    <a:pt x="207759" y="123450"/>
                    <a:pt x="205040" y="123450"/>
                  </a:cubicBezTo>
                  <a:cubicBezTo>
                    <a:pt x="199600" y="123450"/>
                    <a:pt x="166965" y="123450"/>
                    <a:pt x="161525" y="123450"/>
                  </a:cubicBezTo>
                  <a:cubicBezTo>
                    <a:pt x="145207" y="123450"/>
                    <a:pt x="128889" y="123450"/>
                    <a:pt x="112571" y="120730"/>
                  </a:cubicBezTo>
                  <a:cubicBezTo>
                    <a:pt x="109852" y="120730"/>
                    <a:pt x="107132" y="120730"/>
                    <a:pt x="104412" y="118011"/>
                  </a:cubicBezTo>
                  <a:cubicBezTo>
                    <a:pt x="107132" y="137048"/>
                    <a:pt x="107132" y="172404"/>
                    <a:pt x="107132" y="191441"/>
                  </a:cubicBezTo>
                  <a:cubicBezTo>
                    <a:pt x="107132" y="202320"/>
                    <a:pt x="107132" y="224077"/>
                    <a:pt x="90814" y="224077"/>
                  </a:cubicBezTo>
                  <a:cubicBezTo>
                    <a:pt x="82655" y="224077"/>
                    <a:pt x="79935" y="221357"/>
                    <a:pt x="74496" y="218638"/>
                  </a:cubicBezTo>
                  <a:cubicBezTo>
                    <a:pt x="69057" y="215918"/>
                    <a:pt x="66337" y="210479"/>
                    <a:pt x="66337" y="205040"/>
                  </a:cubicBezTo>
                  <a:cubicBezTo>
                    <a:pt x="63617" y="196881"/>
                    <a:pt x="63617" y="191441"/>
                    <a:pt x="63617" y="186002"/>
                  </a:cubicBezTo>
                  <a:cubicBezTo>
                    <a:pt x="63617" y="180563"/>
                    <a:pt x="63617" y="153366"/>
                    <a:pt x="63617" y="145207"/>
                  </a:cubicBezTo>
                  <a:cubicBezTo>
                    <a:pt x="63617" y="134329"/>
                    <a:pt x="63617" y="120730"/>
                    <a:pt x="63617" y="109852"/>
                  </a:cubicBezTo>
                  <a:cubicBezTo>
                    <a:pt x="60897" y="104412"/>
                    <a:pt x="58178" y="101693"/>
                    <a:pt x="58178" y="96253"/>
                  </a:cubicBezTo>
                  <a:cubicBezTo>
                    <a:pt x="58178" y="93534"/>
                    <a:pt x="60897" y="88095"/>
                    <a:pt x="66337" y="85375"/>
                  </a:cubicBezTo>
                  <a:cubicBezTo>
                    <a:pt x="74496" y="79936"/>
                    <a:pt x="77215" y="77216"/>
                    <a:pt x="93533" y="77216"/>
                  </a:cubicBezTo>
                  <a:cubicBezTo>
                    <a:pt x="101692" y="77216"/>
                    <a:pt x="109852" y="77216"/>
                    <a:pt x="115290" y="77216"/>
                  </a:cubicBezTo>
                  <a:cubicBezTo>
                    <a:pt x="134328" y="77216"/>
                    <a:pt x="150646" y="77216"/>
                    <a:pt x="169684" y="74496"/>
                  </a:cubicBezTo>
                  <a:cubicBezTo>
                    <a:pt x="177843" y="74496"/>
                    <a:pt x="186002" y="71776"/>
                    <a:pt x="194161" y="71776"/>
                  </a:cubicBezTo>
                  <a:cubicBezTo>
                    <a:pt x="194161" y="71776"/>
                    <a:pt x="196880" y="71776"/>
                    <a:pt x="196880" y="71776"/>
                  </a:cubicBezTo>
                  <a:cubicBezTo>
                    <a:pt x="199600" y="71776"/>
                    <a:pt x="205040" y="71776"/>
                    <a:pt x="210478" y="71776"/>
                  </a:cubicBezTo>
                  <a:cubicBezTo>
                    <a:pt x="213198" y="71776"/>
                    <a:pt x="215918" y="71776"/>
                    <a:pt x="218638" y="71776"/>
                  </a:cubicBezTo>
                  <a:cubicBezTo>
                    <a:pt x="224077" y="69057"/>
                    <a:pt x="229516" y="63618"/>
                    <a:pt x="237675" y="60898"/>
                  </a:cubicBezTo>
                  <a:cubicBezTo>
                    <a:pt x="243115" y="58178"/>
                    <a:pt x="248554" y="58178"/>
                    <a:pt x="253993" y="58178"/>
                  </a:cubicBezTo>
                  <a:cubicBezTo>
                    <a:pt x="264872" y="58178"/>
                    <a:pt x="273031" y="58178"/>
                    <a:pt x="283910" y="60898"/>
                  </a:cubicBezTo>
                  <a:cubicBezTo>
                    <a:pt x="286629" y="60898"/>
                    <a:pt x="292068" y="63618"/>
                    <a:pt x="294788" y="66337"/>
                  </a:cubicBezTo>
                  <a:cubicBezTo>
                    <a:pt x="297508" y="69057"/>
                    <a:pt x="302948" y="71776"/>
                    <a:pt x="305667" y="74496"/>
                  </a:cubicBezTo>
                  <a:cubicBezTo>
                    <a:pt x="308386" y="74496"/>
                    <a:pt x="311106" y="74496"/>
                    <a:pt x="313826" y="74496"/>
                  </a:cubicBezTo>
                  <a:cubicBezTo>
                    <a:pt x="319265" y="74496"/>
                    <a:pt x="321985" y="74496"/>
                    <a:pt x="327424" y="74496"/>
                  </a:cubicBezTo>
                  <a:cubicBezTo>
                    <a:pt x="335583" y="74496"/>
                    <a:pt x="346461" y="74496"/>
                    <a:pt x="354621" y="74496"/>
                  </a:cubicBezTo>
                  <a:cubicBezTo>
                    <a:pt x="376378" y="74496"/>
                    <a:pt x="400855" y="74496"/>
                    <a:pt x="422612" y="74496"/>
                  </a:cubicBezTo>
                  <a:cubicBezTo>
                    <a:pt x="433491" y="74496"/>
                    <a:pt x="447089" y="74496"/>
                    <a:pt x="455248" y="79936"/>
                  </a:cubicBezTo>
                  <a:cubicBezTo>
                    <a:pt x="460687" y="82655"/>
                    <a:pt x="466127" y="90814"/>
                    <a:pt x="466127" y="98973"/>
                  </a:cubicBezTo>
                  <a:cubicBezTo>
                    <a:pt x="466127" y="101693"/>
                    <a:pt x="466127" y="107132"/>
                    <a:pt x="463407" y="109852"/>
                  </a:cubicBezTo>
                  <a:cubicBezTo>
                    <a:pt x="463407" y="112571"/>
                    <a:pt x="463407" y="112571"/>
                    <a:pt x="463407" y="120730"/>
                  </a:cubicBezTo>
                  <a:cubicBezTo>
                    <a:pt x="463407" y="142488"/>
                    <a:pt x="463407" y="172404"/>
                    <a:pt x="463407" y="194161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55" name="Text Placeholder 53">
            <a:extLst>
              <a:ext uri="{FF2B5EF4-FFF2-40B4-BE49-F238E27FC236}">
                <a16:creationId xmlns:a16="http://schemas.microsoft.com/office/drawing/2014/main" id="{6C6F15D6-83AC-4099-9946-CE8B5A1B72B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21333" y="4370504"/>
            <a:ext cx="4389120" cy="731520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20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buNone/>
              <a:defRPr sz="200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None/>
              <a:defRPr sz="200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buNone/>
              <a:defRPr sz="200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None/>
              <a:defRPr sz="20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None/>
              <a:defRPr sz="200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buNone/>
              <a:defRPr sz="200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buNone/>
              <a:defRPr sz="200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buNone/>
              <a:defRPr sz="20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/>
              <a:t>Subtitle or Presenter Name</a:t>
            </a:r>
          </a:p>
          <a:p>
            <a:pPr lvl="1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9448535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Circle Picture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10">
            <a:extLst>
              <a:ext uri="{FF2B5EF4-FFF2-40B4-BE49-F238E27FC236}">
                <a16:creationId xmlns:a16="http://schemas.microsoft.com/office/drawing/2014/main" id="{655B1FCA-4D49-4122-B6E9-D550AA0C5E76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2"/>
            <a:ext cx="5266036" cy="6857999"/>
          </a:xfrm>
          <a:custGeom>
            <a:avLst/>
            <a:gdLst>
              <a:gd name="connsiteX0" fmla="*/ 0 w 5266036"/>
              <a:gd name="connsiteY0" fmla="*/ 0 h 6857999"/>
              <a:gd name="connsiteX1" fmla="*/ 3014696 w 5266036"/>
              <a:gd name="connsiteY1" fmla="*/ 0 h 6857999"/>
              <a:gd name="connsiteX2" fmla="*/ 3040982 w 5266036"/>
              <a:gd name="connsiteY2" fmla="*/ 11408 h 6857999"/>
              <a:gd name="connsiteX3" fmla="*/ 5250901 w 5266036"/>
              <a:gd name="connsiteY3" fmla="*/ 4085922 h 6857999"/>
              <a:gd name="connsiteX4" fmla="*/ 3435696 w 5266036"/>
              <a:gd name="connsiteY4" fmla="*/ 6839477 h 6857999"/>
              <a:gd name="connsiteX5" fmla="*/ 3398838 w 5266036"/>
              <a:gd name="connsiteY5" fmla="*/ 6857999 h 6857999"/>
              <a:gd name="connsiteX6" fmla="*/ 0 w 5266036"/>
              <a:gd name="connsiteY6" fmla="*/ 6857999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266036" h="6857999">
                <a:moveTo>
                  <a:pt x="0" y="0"/>
                </a:moveTo>
                <a:lnTo>
                  <a:pt x="3014696" y="0"/>
                </a:lnTo>
                <a:lnTo>
                  <a:pt x="3040982" y="11408"/>
                </a:lnTo>
                <a:cubicBezTo>
                  <a:pt x="4562919" y="717837"/>
                  <a:pt x="5390071" y="2397951"/>
                  <a:pt x="5250901" y="4085922"/>
                </a:cubicBezTo>
                <a:cubicBezTo>
                  <a:pt x="5138669" y="5484335"/>
                  <a:pt x="4361602" y="6343612"/>
                  <a:pt x="3435696" y="6839477"/>
                </a:cubicBezTo>
                <a:lnTo>
                  <a:pt x="3398838" y="6857999"/>
                </a:lnTo>
                <a:lnTo>
                  <a:pt x="0" y="6857999"/>
                </a:lnTo>
                <a:close/>
              </a:path>
            </a:pathLst>
          </a:custGeom>
          <a:solidFill>
            <a:srgbClr val="D9D9D9"/>
          </a:solidFill>
        </p:spPr>
        <p:txBody>
          <a:bodyPr wrap="square" tIns="3657600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Arial" panose="020B0604020202020204" pitchFamily="34" charset="0"/>
              <a:buNone/>
              <a:tabLst/>
              <a:defRPr sz="16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insert picture</a:t>
            </a:r>
            <a:br>
              <a:rPr lang="en-US"/>
            </a:br>
            <a:r>
              <a:rPr lang="en-US"/>
              <a:t>(minimum recommended size for </a:t>
            </a:r>
            <a:br>
              <a:rPr lang="en-US"/>
            </a:br>
            <a:r>
              <a:rPr lang="en-US"/>
              <a:t>half slide image is 640 x 720 pixels)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76608E2E-E744-4878-A234-60F6B6711C8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096000" y="3306349"/>
            <a:ext cx="5715000" cy="731520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2000"/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Subtitle or Presenter Name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3534CB02-81D9-4803-9899-8E6A2EABA97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0" y="457200"/>
            <a:ext cx="5715000" cy="2565401"/>
          </a:xfrm>
          <a:prstGeom prst="rect">
            <a:avLst/>
          </a:prstGeom>
        </p:spPr>
        <p:txBody>
          <a:bodyPr/>
          <a:lstStyle>
            <a:lvl1pPr>
              <a:lnSpc>
                <a:spcPct val="82000"/>
              </a:lnSpc>
              <a:defRPr sz="6600" b="0"/>
            </a:lvl1pPr>
          </a:lstStyle>
          <a:p>
            <a:r>
              <a:rPr lang="en-US"/>
              <a:t>Click to edit Master title style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0A6D84BC-9F4C-46D1-BCFD-02C11A706D43}"/>
              </a:ext>
            </a:extLst>
          </p:cNvPr>
          <p:cNvGrpSpPr>
            <a:grpSpLocks noChangeAspect="1"/>
          </p:cNvGrpSpPr>
          <p:nvPr/>
        </p:nvGrpSpPr>
        <p:grpSpPr>
          <a:xfrm>
            <a:off x="9544152" y="5543531"/>
            <a:ext cx="2286000" cy="880288"/>
            <a:chOff x="2078951" y="1888610"/>
            <a:chExt cx="8030200" cy="3092248"/>
          </a:xfrm>
          <a:solidFill>
            <a:srgbClr val="4F2170"/>
          </a:solidFill>
        </p:grpSpPr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5272DA5A-B0A1-4433-AF19-58D29499701D}"/>
                </a:ext>
              </a:extLst>
            </p:cNvPr>
            <p:cNvSpPr/>
            <p:nvPr/>
          </p:nvSpPr>
          <p:spPr>
            <a:xfrm>
              <a:off x="2078951" y="2872694"/>
              <a:ext cx="951880" cy="652717"/>
            </a:xfrm>
            <a:custGeom>
              <a:avLst/>
              <a:gdLst>
                <a:gd name="connsiteX0" fmla="*/ 903041 w 951880"/>
                <a:gd name="connsiteY0" fmla="*/ 330574 h 652717"/>
                <a:gd name="connsiteX1" fmla="*/ 780656 w 951880"/>
                <a:gd name="connsiteY1" fmla="*/ 379528 h 652717"/>
                <a:gd name="connsiteX2" fmla="*/ 598439 w 951880"/>
                <a:gd name="connsiteY2" fmla="*/ 311537 h 652717"/>
                <a:gd name="connsiteX3" fmla="*/ 505970 w 951880"/>
                <a:gd name="connsiteY3" fmla="*/ 164675 h 652717"/>
                <a:gd name="connsiteX4" fmla="*/ 266640 w 951880"/>
                <a:gd name="connsiteY4" fmla="*/ 61329 h 652717"/>
                <a:gd name="connsiteX5" fmla="*/ 103461 w 951880"/>
                <a:gd name="connsiteY5" fmla="*/ 458398 h 652717"/>
                <a:gd name="connsiteX6" fmla="*/ 756179 w 951880"/>
                <a:gd name="connsiteY6" fmla="*/ 485595 h 652717"/>
                <a:gd name="connsiteX7" fmla="*/ 903041 w 951880"/>
                <a:gd name="connsiteY7" fmla="*/ 330574 h 6527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51880" h="652717">
                  <a:moveTo>
                    <a:pt x="903041" y="330574"/>
                  </a:moveTo>
                  <a:cubicBezTo>
                    <a:pt x="867685" y="363210"/>
                    <a:pt x="813292" y="374089"/>
                    <a:pt x="780656" y="379528"/>
                  </a:cubicBezTo>
                  <a:cubicBezTo>
                    <a:pt x="712664" y="387687"/>
                    <a:pt x="641953" y="365930"/>
                    <a:pt x="598439" y="311537"/>
                  </a:cubicBezTo>
                  <a:cubicBezTo>
                    <a:pt x="563083" y="268022"/>
                    <a:pt x="544046" y="210910"/>
                    <a:pt x="505970" y="164675"/>
                  </a:cubicBezTo>
                  <a:cubicBezTo>
                    <a:pt x="448858" y="93964"/>
                    <a:pt x="359109" y="45011"/>
                    <a:pt x="266640" y="61329"/>
                  </a:cubicBezTo>
                  <a:cubicBezTo>
                    <a:pt x="81704" y="93964"/>
                    <a:pt x="114" y="308817"/>
                    <a:pt x="103461" y="458398"/>
                  </a:cubicBezTo>
                  <a:cubicBezTo>
                    <a:pt x="253042" y="670531"/>
                    <a:pt x="584840" y="635176"/>
                    <a:pt x="756179" y="485595"/>
                  </a:cubicBezTo>
                  <a:cubicBezTo>
                    <a:pt x="813292" y="442080"/>
                    <a:pt x="862246" y="390407"/>
                    <a:pt x="903041" y="330574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010AB75D-54FA-4127-838D-A2CDC911B648}"/>
                </a:ext>
              </a:extLst>
            </p:cNvPr>
            <p:cNvSpPr/>
            <p:nvPr/>
          </p:nvSpPr>
          <p:spPr>
            <a:xfrm>
              <a:off x="9151831" y="2872694"/>
              <a:ext cx="951880" cy="652717"/>
            </a:xfrm>
            <a:custGeom>
              <a:avLst/>
              <a:gdLst>
                <a:gd name="connsiteX0" fmla="*/ 58178 w 951880"/>
                <a:gd name="connsiteY0" fmla="*/ 330574 h 652717"/>
                <a:gd name="connsiteX1" fmla="*/ 180563 w 951880"/>
                <a:gd name="connsiteY1" fmla="*/ 379528 h 652717"/>
                <a:gd name="connsiteX2" fmla="*/ 362780 w 951880"/>
                <a:gd name="connsiteY2" fmla="*/ 311537 h 652717"/>
                <a:gd name="connsiteX3" fmla="*/ 455249 w 951880"/>
                <a:gd name="connsiteY3" fmla="*/ 164675 h 652717"/>
                <a:gd name="connsiteX4" fmla="*/ 694578 w 951880"/>
                <a:gd name="connsiteY4" fmla="*/ 61329 h 652717"/>
                <a:gd name="connsiteX5" fmla="*/ 857758 w 951880"/>
                <a:gd name="connsiteY5" fmla="*/ 458398 h 652717"/>
                <a:gd name="connsiteX6" fmla="*/ 205040 w 951880"/>
                <a:gd name="connsiteY6" fmla="*/ 485595 h 652717"/>
                <a:gd name="connsiteX7" fmla="*/ 58178 w 951880"/>
                <a:gd name="connsiteY7" fmla="*/ 330574 h 6527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51880" h="652717">
                  <a:moveTo>
                    <a:pt x="58178" y="330574"/>
                  </a:moveTo>
                  <a:cubicBezTo>
                    <a:pt x="96253" y="363210"/>
                    <a:pt x="147927" y="374089"/>
                    <a:pt x="180563" y="379528"/>
                  </a:cubicBezTo>
                  <a:cubicBezTo>
                    <a:pt x="248554" y="387687"/>
                    <a:pt x="319266" y="365930"/>
                    <a:pt x="362780" y="311537"/>
                  </a:cubicBezTo>
                  <a:cubicBezTo>
                    <a:pt x="398136" y="268022"/>
                    <a:pt x="417174" y="210910"/>
                    <a:pt x="455249" y="164675"/>
                  </a:cubicBezTo>
                  <a:cubicBezTo>
                    <a:pt x="512362" y="93964"/>
                    <a:pt x="602110" y="45011"/>
                    <a:pt x="694578" y="61329"/>
                  </a:cubicBezTo>
                  <a:cubicBezTo>
                    <a:pt x="879515" y="93964"/>
                    <a:pt x="961105" y="308817"/>
                    <a:pt x="857758" y="458398"/>
                  </a:cubicBezTo>
                  <a:cubicBezTo>
                    <a:pt x="708176" y="670531"/>
                    <a:pt x="376379" y="635176"/>
                    <a:pt x="205040" y="485595"/>
                  </a:cubicBezTo>
                  <a:cubicBezTo>
                    <a:pt x="150646" y="442080"/>
                    <a:pt x="101693" y="390407"/>
                    <a:pt x="58178" y="330574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C73C4E44-0B9D-4D7D-A72A-E10AA3E25788}"/>
                </a:ext>
              </a:extLst>
            </p:cNvPr>
            <p:cNvSpPr/>
            <p:nvPr/>
          </p:nvSpPr>
          <p:spPr>
            <a:xfrm>
              <a:off x="8001294" y="2010994"/>
              <a:ext cx="734308" cy="299162"/>
            </a:xfrm>
            <a:custGeom>
              <a:avLst/>
              <a:gdLst>
                <a:gd name="connsiteX0" fmla="*/ 596792 w 734307"/>
                <a:gd name="connsiteY0" fmla="*/ 58178 h 299162"/>
                <a:gd name="connsiteX1" fmla="*/ 148048 w 734307"/>
                <a:gd name="connsiteY1" fmla="*/ 58178 h 299162"/>
                <a:gd name="connsiteX2" fmla="*/ 58299 w 734307"/>
                <a:gd name="connsiteY2" fmla="*/ 150646 h 299162"/>
                <a:gd name="connsiteX3" fmla="*/ 148048 w 734307"/>
                <a:gd name="connsiteY3" fmla="*/ 251274 h 299162"/>
                <a:gd name="connsiteX4" fmla="*/ 596792 w 734307"/>
                <a:gd name="connsiteY4" fmla="*/ 251274 h 299162"/>
                <a:gd name="connsiteX5" fmla="*/ 686541 w 734307"/>
                <a:gd name="connsiteY5" fmla="*/ 158805 h 299162"/>
                <a:gd name="connsiteX6" fmla="*/ 596792 w 734307"/>
                <a:gd name="connsiteY6" fmla="*/ 58178 h 2991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34307" h="299162">
                  <a:moveTo>
                    <a:pt x="596792" y="58178"/>
                  </a:moveTo>
                  <a:cubicBezTo>
                    <a:pt x="591353" y="58178"/>
                    <a:pt x="153487" y="58178"/>
                    <a:pt x="148048" y="58178"/>
                  </a:cubicBezTo>
                  <a:cubicBezTo>
                    <a:pt x="99094" y="60898"/>
                    <a:pt x="61019" y="104412"/>
                    <a:pt x="58299" y="150646"/>
                  </a:cubicBezTo>
                  <a:cubicBezTo>
                    <a:pt x="55580" y="199600"/>
                    <a:pt x="99094" y="248554"/>
                    <a:pt x="148048" y="251274"/>
                  </a:cubicBezTo>
                  <a:cubicBezTo>
                    <a:pt x="153487" y="251274"/>
                    <a:pt x="591353" y="251274"/>
                    <a:pt x="596792" y="251274"/>
                  </a:cubicBezTo>
                  <a:cubicBezTo>
                    <a:pt x="645746" y="248554"/>
                    <a:pt x="683821" y="205040"/>
                    <a:pt x="686541" y="158805"/>
                  </a:cubicBezTo>
                  <a:cubicBezTo>
                    <a:pt x="689260" y="109852"/>
                    <a:pt x="648465" y="60898"/>
                    <a:pt x="596792" y="58178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5F17AEE1-933D-430A-938B-044F9EEF7E0F}"/>
                </a:ext>
              </a:extLst>
            </p:cNvPr>
            <p:cNvSpPr/>
            <p:nvPr/>
          </p:nvSpPr>
          <p:spPr>
            <a:xfrm>
              <a:off x="4920042" y="2277520"/>
              <a:ext cx="1006274" cy="951879"/>
            </a:xfrm>
            <a:custGeom>
              <a:avLst/>
              <a:gdLst>
                <a:gd name="connsiteX0" fmla="*/ 884954 w 1006273"/>
                <a:gd name="connsiteY0" fmla="*/ 746251 h 951879"/>
                <a:gd name="connsiteX1" fmla="*/ 874076 w 1006273"/>
                <a:gd name="connsiteY1" fmla="*/ 670101 h 951879"/>
                <a:gd name="connsiteX2" fmla="*/ 874076 w 1006273"/>
                <a:gd name="connsiteY2" fmla="*/ 536837 h 951879"/>
                <a:gd name="connsiteX3" fmla="*/ 689139 w 1006273"/>
                <a:gd name="connsiteY3" fmla="*/ 88094 h 951879"/>
                <a:gd name="connsiteX4" fmla="*/ 428052 w 1006273"/>
                <a:gd name="connsiteY4" fmla="*/ 253993 h 951879"/>
                <a:gd name="connsiteX5" fmla="*/ 196881 w 1006273"/>
                <a:gd name="connsiteY5" fmla="*/ 58178 h 951879"/>
                <a:gd name="connsiteX6" fmla="*/ 58178 w 1006273"/>
                <a:gd name="connsiteY6" fmla="*/ 128889 h 951879"/>
                <a:gd name="connsiteX7" fmla="*/ 142488 w 1006273"/>
                <a:gd name="connsiteY7" fmla="*/ 273031 h 951879"/>
                <a:gd name="connsiteX8" fmla="*/ 142488 w 1006273"/>
                <a:gd name="connsiteY8" fmla="*/ 757130 h 951879"/>
                <a:gd name="connsiteX9" fmla="*/ 283910 w 1006273"/>
                <a:gd name="connsiteY9" fmla="*/ 895832 h 951879"/>
                <a:gd name="connsiteX10" fmla="*/ 428052 w 1006273"/>
                <a:gd name="connsiteY10" fmla="*/ 757130 h 951879"/>
                <a:gd name="connsiteX11" fmla="*/ 428052 w 1006273"/>
                <a:gd name="connsiteY11" fmla="*/ 400855 h 951879"/>
                <a:gd name="connsiteX12" fmla="*/ 523240 w 1006273"/>
                <a:gd name="connsiteY12" fmla="*/ 283910 h 951879"/>
                <a:gd name="connsiteX13" fmla="*/ 591231 w 1006273"/>
                <a:gd name="connsiteY13" fmla="*/ 354621 h 951879"/>
                <a:gd name="connsiteX14" fmla="*/ 591231 w 1006273"/>
                <a:gd name="connsiteY14" fmla="*/ 697297 h 951879"/>
                <a:gd name="connsiteX15" fmla="*/ 593951 w 1006273"/>
                <a:gd name="connsiteY15" fmla="*/ 729933 h 951879"/>
                <a:gd name="connsiteX16" fmla="*/ 610269 w 1006273"/>
                <a:gd name="connsiteY16" fmla="*/ 778887 h 951879"/>
                <a:gd name="connsiteX17" fmla="*/ 822402 w 1006273"/>
                <a:gd name="connsiteY17" fmla="*/ 893112 h 951879"/>
                <a:gd name="connsiteX18" fmla="*/ 961105 w 1006273"/>
                <a:gd name="connsiteY18" fmla="*/ 822401 h 951879"/>
                <a:gd name="connsiteX19" fmla="*/ 884954 w 1006273"/>
                <a:gd name="connsiteY19" fmla="*/ 746251 h 9518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006273" h="951879">
                  <a:moveTo>
                    <a:pt x="884954" y="746251"/>
                  </a:moveTo>
                  <a:cubicBezTo>
                    <a:pt x="879515" y="721774"/>
                    <a:pt x="876795" y="694578"/>
                    <a:pt x="874076" y="670101"/>
                  </a:cubicBezTo>
                  <a:cubicBezTo>
                    <a:pt x="874076" y="634745"/>
                    <a:pt x="874076" y="583072"/>
                    <a:pt x="874076" y="536837"/>
                  </a:cubicBezTo>
                  <a:cubicBezTo>
                    <a:pt x="879515" y="373658"/>
                    <a:pt x="909431" y="88094"/>
                    <a:pt x="689139" y="88094"/>
                  </a:cubicBezTo>
                  <a:cubicBezTo>
                    <a:pt x="539558" y="88094"/>
                    <a:pt x="452529" y="213199"/>
                    <a:pt x="428052" y="253993"/>
                  </a:cubicBezTo>
                  <a:cubicBezTo>
                    <a:pt x="425332" y="139768"/>
                    <a:pt x="335583" y="58178"/>
                    <a:pt x="196881" y="58178"/>
                  </a:cubicBezTo>
                  <a:cubicBezTo>
                    <a:pt x="109852" y="58178"/>
                    <a:pt x="58178" y="128889"/>
                    <a:pt x="58178" y="128889"/>
                  </a:cubicBezTo>
                  <a:cubicBezTo>
                    <a:pt x="58178" y="128889"/>
                    <a:pt x="142488" y="158805"/>
                    <a:pt x="142488" y="273031"/>
                  </a:cubicBezTo>
                  <a:cubicBezTo>
                    <a:pt x="142488" y="354621"/>
                    <a:pt x="142488" y="757130"/>
                    <a:pt x="142488" y="757130"/>
                  </a:cubicBezTo>
                  <a:cubicBezTo>
                    <a:pt x="145207" y="827841"/>
                    <a:pt x="194161" y="895832"/>
                    <a:pt x="283910" y="895832"/>
                  </a:cubicBezTo>
                  <a:cubicBezTo>
                    <a:pt x="373659" y="895832"/>
                    <a:pt x="428052" y="827841"/>
                    <a:pt x="428052" y="757130"/>
                  </a:cubicBezTo>
                  <a:lnTo>
                    <a:pt x="428052" y="400855"/>
                  </a:lnTo>
                  <a:cubicBezTo>
                    <a:pt x="441650" y="343742"/>
                    <a:pt x="474286" y="283910"/>
                    <a:pt x="523240" y="283910"/>
                  </a:cubicBezTo>
                  <a:cubicBezTo>
                    <a:pt x="585792" y="283910"/>
                    <a:pt x="591231" y="354621"/>
                    <a:pt x="591231" y="354621"/>
                  </a:cubicBezTo>
                  <a:lnTo>
                    <a:pt x="591231" y="697297"/>
                  </a:lnTo>
                  <a:cubicBezTo>
                    <a:pt x="591231" y="708176"/>
                    <a:pt x="593951" y="719054"/>
                    <a:pt x="593951" y="729933"/>
                  </a:cubicBezTo>
                  <a:cubicBezTo>
                    <a:pt x="596671" y="748971"/>
                    <a:pt x="602110" y="765289"/>
                    <a:pt x="610269" y="778887"/>
                  </a:cubicBezTo>
                  <a:cubicBezTo>
                    <a:pt x="645624" y="846878"/>
                    <a:pt x="719055" y="893112"/>
                    <a:pt x="822402" y="893112"/>
                  </a:cubicBezTo>
                  <a:cubicBezTo>
                    <a:pt x="909431" y="893112"/>
                    <a:pt x="961105" y="822401"/>
                    <a:pt x="961105" y="822401"/>
                  </a:cubicBezTo>
                  <a:cubicBezTo>
                    <a:pt x="961105" y="822401"/>
                    <a:pt x="909431" y="808803"/>
                    <a:pt x="884954" y="746251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4A198EB9-1147-497F-9629-D20241548224}"/>
                </a:ext>
              </a:extLst>
            </p:cNvPr>
            <p:cNvSpPr/>
            <p:nvPr/>
          </p:nvSpPr>
          <p:spPr>
            <a:xfrm>
              <a:off x="7552331" y="1888610"/>
              <a:ext cx="489539" cy="1332631"/>
            </a:xfrm>
            <a:custGeom>
              <a:avLst/>
              <a:gdLst>
                <a:gd name="connsiteX0" fmla="*/ 368560 w 489538"/>
                <a:gd name="connsiteY0" fmla="*/ 1135162 h 1332630"/>
                <a:gd name="connsiteX1" fmla="*/ 357681 w 489538"/>
                <a:gd name="connsiteY1" fmla="*/ 1059011 h 1332630"/>
                <a:gd name="connsiteX2" fmla="*/ 357681 w 489538"/>
                <a:gd name="connsiteY2" fmla="*/ 207759 h 1332630"/>
                <a:gd name="connsiteX3" fmla="*/ 208099 w 489538"/>
                <a:gd name="connsiteY3" fmla="*/ 58178 h 1332630"/>
                <a:gd name="connsiteX4" fmla="*/ 58518 w 489538"/>
                <a:gd name="connsiteY4" fmla="*/ 207759 h 1332630"/>
                <a:gd name="connsiteX5" fmla="*/ 58518 w 489538"/>
                <a:gd name="connsiteY5" fmla="*/ 961104 h 1332630"/>
                <a:gd name="connsiteX6" fmla="*/ 85715 w 489538"/>
                <a:gd name="connsiteY6" fmla="*/ 1159639 h 1332630"/>
                <a:gd name="connsiteX7" fmla="*/ 306007 w 489538"/>
                <a:gd name="connsiteY7" fmla="*/ 1282023 h 1332630"/>
                <a:gd name="connsiteX8" fmla="*/ 444710 w 489538"/>
                <a:gd name="connsiteY8" fmla="*/ 1211312 h 1332630"/>
                <a:gd name="connsiteX9" fmla="*/ 368560 w 489538"/>
                <a:gd name="connsiteY9" fmla="*/ 1135162 h 13326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89538" h="1332630">
                  <a:moveTo>
                    <a:pt x="368560" y="1135162"/>
                  </a:moveTo>
                  <a:cubicBezTo>
                    <a:pt x="363120" y="1110685"/>
                    <a:pt x="357681" y="1083488"/>
                    <a:pt x="357681" y="1059011"/>
                  </a:cubicBezTo>
                  <a:lnTo>
                    <a:pt x="357681" y="207759"/>
                  </a:lnTo>
                  <a:cubicBezTo>
                    <a:pt x="357681" y="126170"/>
                    <a:pt x="289689" y="58178"/>
                    <a:pt x="208099" y="58178"/>
                  </a:cubicBezTo>
                  <a:cubicBezTo>
                    <a:pt x="126510" y="58178"/>
                    <a:pt x="58518" y="126170"/>
                    <a:pt x="58518" y="207759"/>
                  </a:cubicBezTo>
                  <a:lnTo>
                    <a:pt x="58518" y="961104"/>
                  </a:lnTo>
                  <a:cubicBezTo>
                    <a:pt x="58518" y="1029095"/>
                    <a:pt x="53079" y="1097086"/>
                    <a:pt x="85715" y="1159639"/>
                  </a:cubicBezTo>
                  <a:cubicBezTo>
                    <a:pt x="118351" y="1227630"/>
                    <a:pt x="202660" y="1282023"/>
                    <a:pt x="306007" y="1282023"/>
                  </a:cubicBezTo>
                  <a:cubicBezTo>
                    <a:pt x="393036" y="1282023"/>
                    <a:pt x="444710" y="1211312"/>
                    <a:pt x="444710" y="1211312"/>
                  </a:cubicBezTo>
                  <a:cubicBezTo>
                    <a:pt x="444710" y="1211312"/>
                    <a:pt x="393036" y="1197714"/>
                    <a:pt x="368560" y="1135162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C489DA5D-3FDF-41B6-8FEC-3BAA766E6DD2}"/>
                </a:ext>
              </a:extLst>
            </p:cNvPr>
            <p:cNvSpPr/>
            <p:nvPr/>
          </p:nvSpPr>
          <p:spPr>
            <a:xfrm>
              <a:off x="4162324" y="2357456"/>
              <a:ext cx="815899" cy="815898"/>
            </a:xfrm>
            <a:custGeom>
              <a:avLst/>
              <a:gdLst>
                <a:gd name="connsiteX0" fmla="*/ 407949 w 815899"/>
                <a:gd name="connsiteY0" fmla="*/ 174058 h 815898"/>
                <a:gd name="connsiteX1" fmla="*/ 293723 w 815899"/>
                <a:gd name="connsiteY1" fmla="*/ 407950 h 815898"/>
                <a:gd name="connsiteX2" fmla="*/ 410669 w 815899"/>
                <a:gd name="connsiteY2" fmla="*/ 641840 h 815898"/>
                <a:gd name="connsiteX3" fmla="*/ 522175 w 815899"/>
                <a:gd name="connsiteY3" fmla="*/ 407950 h 815898"/>
                <a:gd name="connsiteX4" fmla="*/ 407949 w 815899"/>
                <a:gd name="connsiteY4" fmla="*/ 174058 h 815898"/>
                <a:gd name="connsiteX5" fmla="*/ 407950 w 815899"/>
                <a:gd name="connsiteY5" fmla="*/ 0 h 815898"/>
                <a:gd name="connsiteX6" fmla="*/ 815899 w 815899"/>
                <a:gd name="connsiteY6" fmla="*/ 407949 h 815898"/>
                <a:gd name="connsiteX7" fmla="*/ 407950 w 815899"/>
                <a:gd name="connsiteY7" fmla="*/ 815898 h 815898"/>
                <a:gd name="connsiteX8" fmla="*/ 0 w 815899"/>
                <a:gd name="connsiteY8" fmla="*/ 407949 h 815898"/>
                <a:gd name="connsiteX9" fmla="*/ 407950 w 815899"/>
                <a:gd name="connsiteY9" fmla="*/ 0 h 815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15899" h="815898">
                  <a:moveTo>
                    <a:pt x="407949" y="174058"/>
                  </a:moveTo>
                  <a:cubicBezTo>
                    <a:pt x="342677" y="174058"/>
                    <a:pt x="293723" y="263807"/>
                    <a:pt x="293723" y="407950"/>
                  </a:cubicBezTo>
                  <a:cubicBezTo>
                    <a:pt x="293723" y="552091"/>
                    <a:pt x="331799" y="639120"/>
                    <a:pt x="410669" y="641840"/>
                  </a:cubicBezTo>
                  <a:cubicBezTo>
                    <a:pt x="489539" y="641840"/>
                    <a:pt x="527614" y="552091"/>
                    <a:pt x="522175" y="407950"/>
                  </a:cubicBezTo>
                  <a:cubicBezTo>
                    <a:pt x="522175" y="263807"/>
                    <a:pt x="473221" y="176778"/>
                    <a:pt x="407949" y="174058"/>
                  </a:cubicBezTo>
                  <a:close/>
                  <a:moveTo>
                    <a:pt x="407950" y="0"/>
                  </a:moveTo>
                  <a:cubicBezTo>
                    <a:pt x="633682" y="0"/>
                    <a:pt x="815899" y="182217"/>
                    <a:pt x="815899" y="407949"/>
                  </a:cubicBezTo>
                  <a:cubicBezTo>
                    <a:pt x="815899" y="633681"/>
                    <a:pt x="633682" y="815898"/>
                    <a:pt x="407950" y="815898"/>
                  </a:cubicBezTo>
                  <a:cubicBezTo>
                    <a:pt x="182218" y="815898"/>
                    <a:pt x="0" y="633681"/>
                    <a:pt x="0" y="407949"/>
                  </a:cubicBezTo>
                  <a:cubicBezTo>
                    <a:pt x="0" y="182217"/>
                    <a:pt x="182218" y="0"/>
                    <a:pt x="407950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97AA4C2C-CCD9-4698-B061-F47DE3A46C84}"/>
                </a:ext>
              </a:extLst>
            </p:cNvPr>
            <p:cNvSpPr/>
            <p:nvPr/>
          </p:nvSpPr>
          <p:spPr>
            <a:xfrm>
              <a:off x="5884871" y="1946788"/>
              <a:ext cx="912802" cy="1223846"/>
            </a:xfrm>
            <a:custGeom>
              <a:avLst/>
              <a:gdLst>
                <a:gd name="connsiteX0" fmla="*/ 387907 w 912802"/>
                <a:gd name="connsiteY0" fmla="*/ 620081 h 1223846"/>
                <a:gd name="connsiteX1" fmla="*/ 273681 w 912802"/>
                <a:gd name="connsiteY1" fmla="*/ 824055 h 1223846"/>
                <a:gd name="connsiteX2" fmla="*/ 390627 w 912802"/>
                <a:gd name="connsiteY2" fmla="*/ 1028029 h 1223846"/>
                <a:gd name="connsiteX3" fmla="*/ 502132 w 912802"/>
                <a:gd name="connsiteY3" fmla="*/ 824055 h 1223846"/>
                <a:gd name="connsiteX4" fmla="*/ 387907 w 912802"/>
                <a:gd name="connsiteY4" fmla="*/ 620081 h 1223846"/>
                <a:gd name="connsiteX5" fmla="*/ 676192 w 912802"/>
                <a:gd name="connsiteY5" fmla="*/ 0 h 1223846"/>
                <a:gd name="connsiteX6" fmla="*/ 825773 w 912802"/>
                <a:gd name="connsiteY6" fmla="*/ 149581 h 1223846"/>
                <a:gd name="connsiteX7" fmla="*/ 825773 w 912802"/>
                <a:gd name="connsiteY7" fmla="*/ 1000834 h 1223846"/>
                <a:gd name="connsiteX8" fmla="*/ 836651 w 912802"/>
                <a:gd name="connsiteY8" fmla="*/ 1076985 h 1223846"/>
                <a:gd name="connsiteX9" fmla="*/ 912802 w 912802"/>
                <a:gd name="connsiteY9" fmla="*/ 1150415 h 1223846"/>
                <a:gd name="connsiteX10" fmla="*/ 774099 w 912802"/>
                <a:gd name="connsiteY10" fmla="*/ 1221126 h 1223846"/>
                <a:gd name="connsiteX11" fmla="*/ 553807 w 912802"/>
                <a:gd name="connsiteY11" fmla="*/ 1098742 h 1223846"/>
                <a:gd name="connsiteX12" fmla="*/ 548367 w 912802"/>
                <a:gd name="connsiteY12" fmla="*/ 1085144 h 1223846"/>
                <a:gd name="connsiteX13" fmla="*/ 398786 w 912802"/>
                <a:gd name="connsiteY13" fmla="*/ 1212967 h 1223846"/>
                <a:gd name="connsiteX14" fmla="*/ 156736 w 912802"/>
                <a:gd name="connsiteY14" fmla="*/ 1180332 h 1223846"/>
                <a:gd name="connsiteX15" fmla="*/ 287280 w 912802"/>
                <a:gd name="connsiteY15" fmla="*/ 416107 h 1223846"/>
                <a:gd name="connsiteX16" fmla="*/ 526611 w 912802"/>
                <a:gd name="connsiteY16" fmla="*/ 552091 h 1223846"/>
                <a:gd name="connsiteX17" fmla="*/ 526611 w 912802"/>
                <a:gd name="connsiteY17" fmla="*/ 149581 h 1223846"/>
                <a:gd name="connsiteX18" fmla="*/ 676192 w 912802"/>
                <a:gd name="connsiteY18" fmla="*/ 0 h 1223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912802" h="1223846">
                  <a:moveTo>
                    <a:pt x="387907" y="620081"/>
                  </a:moveTo>
                  <a:cubicBezTo>
                    <a:pt x="322635" y="620081"/>
                    <a:pt x="273681" y="698951"/>
                    <a:pt x="273681" y="824055"/>
                  </a:cubicBezTo>
                  <a:cubicBezTo>
                    <a:pt x="273681" y="949160"/>
                    <a:pt x="311756" y="1028029"/>
                    <a:pt x="390627" y="1028029"/>
                  </a:cubicBezTo>
                  <a:cubicBezTo>
                    <a:pt x="466777" y="1025310"/>
                    <a:pt x="504852" y="949160"/>
                    <a:pt x="502132" y="824055"/>
                  </a:cubicBezTo>
                  <a:cubicBezTo>
                    <a:pt x="502132" y="698951"/>
                    <a:pt x="455898" y="622801"/>
                    <a:pt x="387907" y="620081"/>
                  </a:cubicBezTo>
                  <a:close/>
                  <a:moveTo>
                    <a:pt x="676192" y="0"/>
                  </a:moveTo>
                  <a:cubicBezTo>
                    <a:pt x="757781" y="0"/>
                    <a:pt x="825773" y="67992"/>
                    <a:pt x="825773" y="149581"/>
                  </a:cubicBezTo>
                  <a:lnTo>
                    <a:pt x="825773" y="1000834"/>
                  </a:lnTo>
                  <a:cubicBezTo>
                    <a:pt x="828492" y="1025311"/>
                    <a:pt x="831212" y="1052508"/>
                    <a:pt x="836651" y="1076985"/>
                  </a:cubicBezTo>
                  <a:cubicBezTo>
                    <a:pt x="861128" y="1139537"/>
                    <a:pt x="912802" y="1150415"/>
                    <a:pt x="912802" y="1150415"/>
                  </a:cubicBezTo>
                  <a:cubicBezTo>
                    <a:pt x="912802" y="1150415"/>
                    <a:pt x="861128" y="1221126"/>
                    <a:pt x="774099" y="1221126"/>
                  </a:cubicBezTo>
                  <a:cubicBezTo>
                    <a:pt x="670752" y="1221126"/>
                    <a:pt x="589162" y="1166733"/>
                    <a:pt x="553807" y="1098742"/>
                  </a:cubicBezTo>
                  <a:cubicBezTo>
                    <a:pt x="551087" y="1093303"/>
                    <a:pt x="551087" y="1090583"/>
                    <a:pt x="548367" y="1085144"/>
                  </a:cubicBezTo>
                  <a:cubicBezTo>
                    <a:pt x="534769" y="1147696"/>
                    <a:pt x="450460" y="1199369"/>
                    <a:pt x="398786" y="1212967"/>
                  </a:cubicBezTo>
                  <a:cubicBezTo>
                    <a:pt x="322636" y="1234725"/>
                    <a:pt x="222008" y="1223846"/>
                    <a:pt x="156736" y="1180332"/>
                  </a:cubicBezTo>
                  <a:cubicBezTo>
                    <a:pt x="-79874" y="1028031"/>
                    <a:pt x="-58117" y="416107"/>
                    <a:pt x="287280" y="416107"/>
                  </a:cubicBezTo>
                  <a:cubicBezTo>
                    <a:pt x="412385" y="416107"/>
                    <a:pt x="491255" y="503137"/>
                    <a:pt x="526611" y="552091"/>
                  </a:cubicBezTo>
                  <a:lnTo>
                    <a:pt x="526611" y="149581"/>
                  </a:lnTo>
                  <a:cubicBezTo>
                    <a:pt x="526611" y="67992"/>
                    <a:pt x="594602" y="0"/>
                    <a:pt x="676192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6899E50A-6EE7-43FA-8BC5-A3FC97DE7DC4}"/>
                </a:ext>
              </a:extLst>
            </p:cNvPr>
            <p:cNvSpPr/>
            <p:nvPr/>
          </p:nvSpPr>
          <p:spPr>
            <a:xfrm>
              <a:off x="6789513" y="2362895"/>
              <a:ext cx="747906" cy="810458"/>
            </a:xfrm>
            <a:custGeom>
              <a:avLst/>
              <a:gdLst>
                <a:gd name="connsiteX0" fmla="*/ 394818 w 747906"/>
                <a:gd name="connsiteY0" fmla="*/ 163222 h 810458"/>
                <a:gd name="connsiteX1" fmla="*/ 356275 w 747906"/>
                <a:gd name="connsiteY1" fmla="*/ 174058 h 810458"/>
                <a:gd name="connsiteX2" fmla="*/ 274685 w 747906"/>
                <a:gd name="connsiteY2" fmla="*/ 356275 h 810458"/>
                <a:gd name="connsiteX3" fmla="*/ 375313 w 747906"/>
                <a:gd name="connsiteY3" fmla="*/ 358994 h 810458"/>
                <a:gd name="connsiteX4" fmla="*/ 473220 w 747906"/>
                <a:gd name="connsiteY4" fmla="*/ 239329 h 810458"/>
                <a:gd name="connsiteX5" fmla="*/ 394818 w 747906"/>
                <a:gd name="connsiteY5" fmla="*/ 163222 h 810458"/>
                <a:gd name="connsiteX6" fmla="*/ 386192 w 747906"/>
                <a:gd name="connsiteY6" fmla="*/ 0 h 810458"/>
                <a:gd name="connsiteX7" fmla="*/ 747906 w 747906"/>
                <a:gd name="connsiteY7" fmla="*/ 266526 h 810458"/>
                <a:gd name="connsiteX8" fmla="*/ 291004 w 747906"/>
                <a:gd name="connsiteY8" fmla="*/ 484100 h 810458"/>
                <a:gd name="connsiteX9" fmla="*/ 497698 w 747906"/>
                <a:gd name="connsiteY9" fmla="*/ 617363 h 810458"/>
                <a:gd name="connsiteX10" fmla="*/ 712551 w 747906"/>
                <a:gd name="connsiteY10" fmla="*/ 557530 h 810458"/>
                <a:gd name="connsiteX11" fmla="*/ 388912 w 747906"/>
                <a:gd name="connsiteY11" fmla="*/ 810458 h 810458"/>
                <a:gd name="connsiteX12" fmla="*/ 0 w 747906"/>
                <a:gd name="connsiteY12" fmla="*/ 413389 h 810458"/>
                <a:gd name="connsiteX13" fmla="*/ 386192 w 747906"/>
                <a:gd name="connsiteY13" fmla="*/ 0 h 8104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747906" h="810458">
                  <a:moveTo>
                    <a:pt x="394818" y="163222"/>
                  </a:moveTo>
                  <a:cubicBezTo>
                    <a:pt x="381772" y="163179"/>
                    <a:pt x="368514" y="166579"/>
                    <a:pt x="356275" y="174058"/>
                  </a:cubicBezTo>
                  <a:cubicBezTo>
                    <a:pt x="299162" y="212133"/>
                    <a:pt x="282844" y="291003"/>
                    <a:pt x="274685" y="356275"/>
                  </a:cubicBezTo>
                  <a:cubicBezTo>
                    <a:pt x="274685" y="364434"/>
                    <a:pt x="369873" y="358994"/>
                    <a:pt x="375313" y="358994"/>
                  </a:cubicBezTo>
                  <a:cubicBezTo>
                    <a:pt x="432425" y="345396"/>
                    <a:pt x="473220" y="301881"/>
                    <a:pt x="473220" y="239329"/>
                  </a:cubicBezTo>
                  <a:cubicBezTo>
                    <a:pt x="471181" y="194455"/>
                    <a:pt x="433956" y="163349"/>
                    <a:pt x="394818" y="163222"/>
                  </a:cubicBezTo>
                  <a:close/>
                  <a:moveTo>
                    <a:pt x="386192" y="0"/>
                  </a:moveTo>
                  <a:cubicBezTo>
                    <a:pt x="519455" y="0"/>
                    <a:pt x="747906" y="65272"/>
                    <a:pt x="747906" y="266526"/>
                  </a:cubicBezTo>
                  <a:cubicBezTo>
                    <a:pt x="747906" y="467782"/>
                    <a:pt x="538493" y="484100"/>
                    <a:pt x="291004" y="484100"/>
                  </a:cubicBezTo>
                  <a:cubicBezTo>
                    <a:pt x="291004" y="484100"/>
                    <a:pt x="326359" y="617363"/>
                    <a:pt x="497698" y="617363"/>
                  </a:cubicBezTo>
                  <a:cubicBezTo>
                    <a:pt x="669036" y="617363"/>
                    <a:pt x="712551" y="557530"/>
                    <a:pt x="712551" y="557530"/>
                  </a:cubicBezTo>
                  <a:cubicBezTo>
                    <a:pt x="712551" y="557530"/>
                    <a:pt x="696233" y="810458"/>
                    <a:pt x="388912" y="810458"/>
                  </a:cubicBezTo>
                  <a:cubicBezTo>
                    <a:pt x="212134" y="810458"/>
                    <a:pt x="0" y="677195"/>
                    <a:pt x="0" y="413389"/>
                  </a:cubicBezTo>
                  <a:cubicBezTo>
                    <a:pt x="0" y="176778"/>
                    <a:pt x="163180" y="0"/>
                    <a:pt x="386192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AAB6D96F-3061-42BC-92D0-1BF63F8246F4}"/>
                </a:ext>
              </a:extLst>
            </p:cNvPr>
            <p:cNvSpPr/>
            <p:nvPr/>
          </p:nvSpPr>
          <p:spPr>
            <a:xfrm>
              <a:off x="7988882" y="2362895"/>
              <a:ext cx="747906" cy="810458"/>
            </a:xfrm>
            <a:custGeom>
              <a:avLst/>
              <a:gdLst>
                <a:gd name="connsiteX0" fmla="*/ 394818 w 747906"/>
                <a:gd name="connsiteY0" fmla="*/ 163222 h 810458"/>
                <a:gd name="connsiteX1" fmla="*/ 356275 w 747906"/>
                <a:gd name="connsiteY1" fmla="*/ 174058 h 810458"/>
                <a:gd name="connsiteX2" fmla="*/ 274685 w 747906"/>
                <a:gd name="connsiteY2" fmla="*/ 356275 h 810458"/>
                <a:gd name="connsiteX3" fmla="*/ 375313 w 747906"/>
                <a:gd name="connsiteY3" fmla="*/ 358994 h 810458"/>
                <a:gd name="connsiteX4" fmla="*/ 473220 w 747906"/>
                <a:gd name="connsiteY4" fmla="*/ 239329 h 810458"/>
                <a:gd name="connsiteX5" fmla="*/ 394818 w 747906"/>
                <a:gd name="connsiteY5" fmla="*/ 163222 h 810458"/>
                <a:gd name="connsiteX6" fmla="*/ 386192 w 747906"/>
                <a:gd name="connsiteY6" fmla="*/ 0 h 810458"/>
                <a:gd name="connsiteX7" fmla="*/ 747906 w 747906"/>
                <a:gd name="connsiteY7" fmla="*/ 266526 h 810458"/>
                <a:gd name="connsiteX8" fmla="*/ 291004 w 747906"/>
                <a:gd name="connsiteY8" fmla="*/ 484100 h 810458"/>
                <a:gd name="connsiteX9" fmla="*/ 497697 w 747906"/>
                <a:gd name="connsiteY9" fmla="*/ 617363 h 810458"/>
                <a:gd name="connsiteX10" fmla="*/ 712551 w 747906"/>
                <a:gd name="connsiteY10" fmla="*/ 557530 h 810458"/>
                <a:gd name="connsiteX11" fmla="*/ 388911 w 747906"/>
                <a:gd name="connsiteY11" fmla="*/ 810458 h 810458"/>
                <a:gd name="connsiteX12" fmla="*/ 0 w 747906"/>
                <a:gd name="connsiteY12" fmla="*/ 413389 h 810458"/>
                <a:gd name="connsiteX13" fmla="*/ 386192 w 747906"/>
                <a:gd name="connsiteY13" fmla="*/ 0 h 8104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747906" h="810458">
                  <a:moveTo>
                    <a:pt x="394818" y="163222"/>
                  </a:moveTo>
                  <a:cubicBezTo>
                    <a:pt x="381772" y="163179"/>
                    <a:pt x="368514" y="166579"/>
                    <a:pt x="356275" y="174058"/>
                  </a:cubicBezTo>
                  <a:cubicBezTo>
                    <a:pt x="299162" y="212133"/>
                    <a:pt x="282844" y="291003"/>
                    <a:pt x="274685" y="356275"/>
                  </a:cubicBezTo>
                  <a:cubicBezTo>
                    <a:pt x="274685" y="364434"/>
                    <a:pt x="369873" y="358994"/>
                    <a:pt x="375313" y="358994"/>
                  </a:cubicBezTo>
                  <a:cubicBezTo>
                    <a:pt x="432426" y="345396"/>
                    <a:pt x="473220" y="301881"/>
                    <a:pt x="473220" y="239329"/>
                  </a:cubicBezTo>
                  <a:cubicBezTo>
                    <a:pt x="471181" y="194455"/>
                    <a:pt x="433955" y="163349"/>
                    <a:pt x="394818" y="163222"/>
                  </a:cubicBezTo>
                  <a:close/>
                  <a:moveTo>
                    <a:pt x="386192" y="0"/>
                  </a:moveTo>
                  <a:cubicBezTo>
                    <a:pt x="519455" y="0"/>
                    <a:pt x="747906" y="65272"/>
                    <a:pt x="747906" y="266526"/>
                  </a:cubicBezTo>
                  <a:cubicBezTo>
                    <a:pt x="747906" y="467782"/>
                    <a:pt x="538492" y="484100"/>
                    <a:pt x="291004" y="484100"/>
                  </a:cubicBezTo>
                  <a:cubicBezTo>
                    <a:pt x="291004" y="484100"/>
                    <a:pt x="326359" y="617363"/>
                    <a:pt x="497697" y="617363"/>
                  </a:cubicBezTo>
                  <a:cubicBezTo>
                    <a:pt x="669036" y="617363"/>
                    <a:pt x="712551" y="557530"/>
                    <a:pt x="712551" y="557530"/>
                  </a:cubicBezTo>
                  <a:cubicBezTo>
                    <a:pt x="712551" y="557530"/>
                    <a:pt x="696233" y="810458"/>
                    <a:pt x="388911" y="810458"/>
                  </a:cubicBezTo>
                  <a:cubicBezTo>
                    <a:pt x="212133" y="810458"/>
                    <a:pt x="0" y="677195"/>
                    <a:pt x="0" y="413389"/>
                  </a:cubicBezTo>
                  <a:cubicBezTo>
                    <a:pt x="0" y="176778"/>
                    <a:pt x="163180" y="0"/>
                    <a:pt x="386192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46E90DD0-D326-4354-B19D-6B25CA8E122A}"/>
                </a:ext>
              </a:extLst>
            </p:cNvPr>
            <p:cNvSpPr/>
            <p:nvPr/>
          </p:nvSpPr>
          <p:spPr>
            <a:xfrm>
              <a:off x="8683414" y="2274801"/>
              <a:ext cx="897487" cy="951879"/>
            </a:xfrm>
            <a:custGeom>
              <a:avLst/>
              <a:gdLst>
                <a:gd name="connsiteX0" fmla="*/ 580988 w 897487"/>
                <a:gd name="connsiteY0" fmla="*/ 667381 h 951879"/>
                <a:gd name="connsiteX1" fmla="*/ 409649 w 897487"/>
                <a:gd name="connsiteY1" fmla="*/ 667381 h 951879"/>
                <a:gd name="connsiteX2" fmla="*/ 591866 w 897487"/>
                <a:gd name="connsiteY2" fmla="*/ 525959 h 951879"/>
                <a:gd name="connsiteX3" fmla="*/ 842075 w 897487"/>
                <a:gd name="connsiteY3" fmla="*/ 123450 h 951879"/>
                <a:gd name="connsiteX4" fmla="*/ 842075 w 897487"/>
                <a:gd name="connsiteY4" fmla="*/ 123450 h 951879"/>
                <a:gd name="connsiteX5" fmla="*/ 798560 w 897487"/>
                <a:gd name="connsiteY5" fmla="*/ 58178 h 951879"/>
                <a:gd name="connsiteX6" fmla="*/ 746887 w 897487"/>
                <a:gd name="connsiteY6" fmla="*/ 107132 h 951879"/>
                <a:gd name="connsiteX7" fmla="*/ 697933 w 897487"/>
                <a:gd name="connsiteY7" fmla="*/ 115291 h 951879"/>
                <a:gd name="connsiteX8" fmla="*/ 219273 w 897487"/>
                <a:gd name="connsiteY8" fmla="*/ 115291 h 951879"/>
                <a:gd name="connsiteX9" fmla="*/ 102328 w 897487"/>
                <a:gd name="connsiteY9" fmla="*/ 224077 h 951879"/>
                <a:gd name="connsiteX10" fmla="*/ 213834 w 897487"/>
                <a:gd name="connsiteY10" fmla="*/ 332863 h 951879"/>
                <a:gd name="connsiteX11" fmla="*/ 485800 w 897487"/>
                <a:gd name="connsiteY11" fmla="*/ 335583 h 951879"/>
                <a:gd name="connsiteX12" fmla="*/ 134964 w 897487"/>
                <a:gd name="connsiteY12" fmla="*/ 615708 h 951879"/>
                <a:gd name="connsiteX13" fmla="*/ 61533 w 897487"/>
                <a:gd name="connsiteY13" fmla="*/ 884953 h 951879"/>
                <a:gd name="connsiteX14" fmla="*/ 398771 w 897487"/>
                <a:gd name="connsiteY14" fmla="*/ 806083 h 951879"/>
                <a:gd name="connsiteX15" fmla="*/ 529314 w 897487"/>
                <a:gd name="connsiteY15" fmla="*/ 863196 h 951879"/>
                <a:gd name="connsiteX16" fmla="*/ 782242 w 897487"/>
                <a:gd name="connsiteY16" fmla="*/ 607549 h 951879"/>
                <a:gd name="connsiteX17" fmla="*/ 580988 w 897487"/>
                <a:gd name="connsiteY17" fmla="*/ 667381 h 9518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897487" h="951879">
                  <a:moveTo>
                    <a:pt x="580988" y="667381"/>
                  </a:moveTo>
                  <a:lnTo>
                    <a:pt x="409649" y="667381"/>
                  </a:lnTo>
                  <a:cubicBezTo>
                    <a:pt x="423248" y="667381"/>
                    <a:pt x="548352" y="561314"/>
                    <a:pt x="591866" y="525959"/>
                  </a:cubicBezTo>
                  <a:cubicBezTo>
                    <a:pt x="700653" y="433491"/>
                    <a:pt x="899188" y="297508"/>
                    <a:pt x="842075" y="123450"/>
                  </a:cubicBezTo>
                  <a:lnTo>
                    <a:pt x="842075" y="123450"/>
                  </a:lnTo>
                  <a:cubicBezTo>
                    <a:pt x="831197" y="82655"/>
                    <a:pt x="798560" y="58178"/>
                    <a:pt x="798560" y="58178"/>
                  </a:cubicBezTo>
                  <a:cubicBezTo>
                    <a:pt x="798560" y="58178"/>
                    <a:pt x="787682" y="90814"/>
                    <a:pt x="746887" y="107132"/>
                  </a:cubicBezTo>
                  <a:cubicBezTo>
                    <a:pt x="730569" y="109852"/>
                    <a:pt x="714251" y="115291"/>
                    <a:pt x="697933" y="115291"/>
                  </a:cubicBezTo>
                  <a:cubicBezTo>
                    <a:pt x="684334" y="115291"/>
                    <a:pt x="219273" y="115291"/>
                    <a:pt x="219273" y="115291"/>
                  </a:cubicBezTo>
                  <a:cubicBezTo>
                    <a:pt x="156721" y="115291"/>
                    <a:pt x="105048" y="166964"/>
                    <a:pt x="102328" y="224077"/>
                  </a:cubicBezTo>
                  <a:cubicBezTo>
                    <a:pt x="102328" y="283910"/>
                    <a:pt x="151282" y="332863"/>
                    <a:pt x="213834" y="332863"/>
                  </a:cubicBezTo>
                  <a:lnTo>
                    <a:pt x="485800" y="335583"/>
                  </a:lnTo>
                  <a:cubicBezTo>
                    <a:pt x="360695" y="406294"/>
                    <a:pt x="211114" y="487884"/>
                    <a:pt x="134964" y="615708"/>
                  </a:cubicBezTo>
                  <a:cubicBezTo>
                    <a:pt x="91449" y="689138"/>
                    <a:pt x="45215" y="800644"/>
                    <a:pt x="61533" y="884953"/>
                  </a:cubicBezTo>
                  <a:cubicBezTo>
                    <a:pt x="121366" y="830560"/>
                    <a:pt x="279106" y="778887"/>
                    <a:pt x="398771" y="806083"/>
                  </a:cubicBezTo>
                  <a:cubicBezTo>
                    <a:pt x="445005" y="814242"/>
                    <a:pt x="491239" y="838719"/>
                    <a:pt x="529314" y="863196"/>
                  </a:cubicBezTo>
                  <a:cubicBezTo>
                    <a:pt x="755046" y="1004618"/>
                    <a:pt x="891029" y="727213"/>
                    <a:pt x="782242" y="607549"/>
                  </a:cubicBezTo>
                  <a:cubicBezTo>
                    <a:pt x="784962" y="607549"/>
                    <a:pt x="722410" y="667381"/>
                    <a:pt x="580988" y="667381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FC8EBEE1-EF8C-4C52-8690-44C2ACEA5D70}"/>
                </a:ext>
              </a:extLst>
            </p:cNvPr>
            <p:cNvSpPr/>
            <p:nvPr/>
          </p:nvSpPr>
          <p:spPr>
            <a:xfrm>
              <a:off x="2624650" y="1948442"/>
              <a:ext cx="1903761" cy="1577400"/>
            </a:xfrm>
            <a:custGeom>
              <a:avLst/>
              <a:gdLst>
                <a:gd name="connsiteX0" fmla="*/ 1559430 w 1903760"/>
                <a:gd name="connsiteY0" fmla="*/ 1165078 h 1577399"/>
                <a:gd name="connsiteX1" fmla="*/ 1369054 w 1903760"/>
                <a:gd name="connsiteY1" fmla="*/ 593950 h 1577399"/>
                <a:gd name="connsiteX2" fmla="*/ 1483279 w 1903760"/>
                <a:gd name="connsiteY2" fmla="*/ 126170 h 1577399"/>
                <a:gd name="connsiteX3" fmla="*/ 1311941 w 1903760"/>
                <a:gd name="connsiteY3" fmla="*/ 58178 h 1577399"/>
                <a:gd name="connsiteX4" fmla="*/ 1078050 w 1903760"/>
                <a:gd name="connsiteY4" fmla="*/ 205040 h 1577399"/>
                <a:gd name="connsiteX5" fmla="*/ 846879 w 1903760"/>
                <a:gd name="connsiteY5" fmla="*/ 523239 h 1577399"/>
                <a:gd name="connsiteX6" fmla="*/ 645624 w 1903760"/>
                <a:gd name="connsiteY6" fmla="*/ 210479 h 1577399"/>
                <a:gd name="connsiteX7" fmla="*/ 455248 w 1903760"/>
                <a:gd name="connsiteY7" fmla="*/ 63617 h 1577399"/>
                <a:gd name="connsiteX8" fmla="*/ 234956 w 1903760"/>
                <a:gd name="connsiteY8" fmla="*/ 137048 h 1577399"/>
                <a:gd name="connsiteX9" fmla="*/ 316546 w 1903760"/>
                <a:gd name="connsiteY9" fmla="*/ 588511 h 1577399"/>
                <a:gd name="connsiteX10" fmla="*/ 58178 w 1903760"/>
                <a:gd name="connsiteY10" fmla="*/ 1072610 h 1577399"/>
                <a:gd name="connsiteX11" fmla="*/ 474286 w 1903760"/>
                <a:gd name="connsiteY11" fmla="*/ 1020936 h 1577399"/>
                <a:gd name="connsiteX12" fmla="*/ 555876 w 1903760"/>
                <a:gd name="connsiteY12" fmla="*/ 572193 h 1577399"/>
                <a:gd name="connsiteX13" fmla="*/ 830561 w 1903760"/>
                <a:gd name="connsiteY13" fmla="*/ 993740 h 1577399"/>
                <a:gd name="connsiteX14" fmla="*/ 1140602 w 1903760"/>
                <a:gd name="connsiteY14" fmla="*/ 574913 h 1577399"/>
                <a:gd name="connsiteX15" fmla="*/ 1567589 w 1903760"/>
                <a:gd name="connsiteY15" fmla="*/ 1526792 h 1577399"/>
                <a:gd name="connsiteX16" fmla="*/ 1866751 w 1903760"/>
                <a:gd name="connsiteY16" fmla="*/ 1322818 h 1577399"/>
                <a:gd name="connsiteX17" fmla="*/ 1559430 w 1903760"/>
                <a:gd name="connsiteY17" fmla="*/ 1165078 h 15773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903760" h="1577399">
                  <a:moveTo>
                    <a:pt x="1559430" y="1165078"/>
                  </a:moveTo>
                  <a:cubicBezTo>
                    <a:pt x="1420727" y="1012777"/>
                    <a:pt x="1377213" y="762569"/>
                    <a:pt x="1369054" y="593950"/>
                  </a:cubicBezTo>
                  <a:cubicBezTo>
                    <a:pt x="1360895" y="449809"/>
                    <a:pt x="1369054" y="199600"/>
                    <a:pt x="1483279" y="126170"/>
                  </a:cubicBezTo>
                  <a:cubicBezTo>
                    <a:pt x="1445204" y="77216"/>
                    <a:pt x="1369054" y="58178"/>
                    <a:pt x="1311941" y="58178"/>
                  </a:cubicBezTo>
                  <a:cubicBezTo>
                    <a:pt x="1184117" y="58178"/>
                    <a:pt x="1121565" y="142488"/>
                    <a:pt x="1078050" y="205040"/>
                  </a:cubicBezTo>
                  <a:cubicBezTo>
                    <a:pt x="1064452" y="224077"/>
                    <a:pt x="846879" y="523239"/>
                    <a:pt x="846879" y="523239"/>
                  </a:cubicBezTo>
                  <a:cubicBezTo>
                    <a:pt x="846879" y="523239"/>
                    <a:pt x="667382" y="243115"/>
                    <a:pt x="645624" y="210479"/>
                  </a:cubicBezTo>
                  <a:cubicBezTo>
                    <a:pt x="615708" y="164245"/>
                    <a:pt x="555876" y="77216"/>
                    <a:pt x="455248" y="63617"/>
                  </a:cubicBezTo>
                  <a:cubicBezTo>
                    <a:pt x="411734" y="58178"/>
                    <a:pt x="297508" y="52739"/>
                    <a:pt x="234956" y="137048"/>
                  </a:cubicBezTo>
                  <a:cubicBezTo>
                    <a:pt x="341023" y="221357"/>
                    <a:pt x="338303" y="438930"/>
                    <a:pt x="316546" y="588511"/>
                  </a:cubicBezTo>
                  <a:cubicBezTo>
                    <a:pt x="248554" y="1031815"/>
                    <a:pt x="58178" y="1072610"/>
                    <a:pt x="58178" y="1072610"/>
                  </a:cubicBezTo>
                  <a:cubicBezTo>
                    <a:pt x="156086" y="1333696"/>
                    <a:pt x="403575" y="1230350"/>
                    <a:pt x="474286" y="1020936"/>
                  </a:cubicBezTo>
                  <a:cubicBezTo>
                    <a:pt x="520520" y="884953"/>
                    <a:pt x="550436" y="713615"/>
                    <a:pt x="555876" y="572193"/>
                  </a:cubicBezTo>
                  <a:lnTo>
                    <a:pt x="830561" y="993740"/>
                  </a:lnTo>
                  <a:cubicBezTo>
                    <a:pt x="830561" y="993740"/>
                    <a:pt x="1140602" y="574913"/>
                    <a:pt x="1140602" y="574913"/>
                  </a:cubicBezTo>
                  <a:cubicBezTo>
                    <a:pt x="1088929" y="1314659"/>
                    <a:pt x="1344577" y="1526792"/>
                    <a:pt x="1567589" y="1526792"/>
                  </a:cubicBezTo>
                  <a:cubicBezTo>
                    <a:pt x="1790601" y="1526792"/>
                    <a:pt x="1866751" y="1322818"/>
                    <a:pt x="1866751" y="1322818"/>
                  </a:cubicBezTo>
                  <a:cubicBezTo>
                    <a:pt x="1744367" y="1314659"/>
                    <a:pt x="1641019" y="1252107"/>
                    <a:pt x="1559430" y="1165078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60406D85-B240-4DDD-A872-237D9A7B6040}"/>
                </a:ext>
              </a:extLst>
            </p:cNvPr>
            <p:cNvSpPr/>
            <p:nvPr/>
          </p:nvSpPr>
          <p:spPr>
            <a:xfrm>
              <a:off x="4792218" y="3234839"/>
              <a:ext cx="271966" cy="652717"/>
            </a:xfrm>
            <a:custGeom>
              <a:avLst/>
              <a:gdLst>
                <a:gd name="connsiteX0" fmla="*/ 88095 w 271965"/>
                <a:gd name="connsiteY0" fmla="*/ 120730 h 652717"/>
                <a:gd name="connsiteX1" fmla="*/ 93534 w 271965"/>
                <a:gd name="connsiteY1" fmla="*/ 153366 h 652717"/>
                <a:gd name="connsiteX2" fmla="*/ 93534 w 271965"/>
                <a:gd name="connsiteY2" fmla="*/ 544997 h 652717"/>
                <a:gd name="connsiteX3" fmla="*/ 156086 w 271965"/>
                <a:gd name="connsiteY3" fmla="*/ 604829 h 652717"/>
                <a:gd name="connsiteX4" fmla="*/ 221358 w 271965"/>
                <a:gd name="connsiteY4" fmla="*/ 544997 h 652717"/>
                <a:gd name="connsiteX5" fmla="*/ 221358 w 271965"/>
                <a:gd name="connsiteY5" fmla="*/ 194161 h 652717"/>
                <a:gd name="connsiteX6" fmla="*/ 210479 w 271965"/>
                <a:gd name="connsiteY6" fmla="*/ 109852 h 652717"/>
                <a:gd name="connsiteX7" fmla="*/ 118011 w 271965"/>
                <a:gd name="connsiteY7" fmla="*/ 58178 h 652717"/>
                <a:gd name="connsiteX8" fmla="*/ 58178 w 271965"/>
                <a:gd name="connsiteY8" fmla="*/ 88094 h 652717"/>
                <a:gd name="connsiteX9" fmla="*/ 88095 w 271965"/>
                <a:gd name="connsiteY9" fmla="*/ 120730 h 6527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71965" h="652717">
                  <a:moveTo>
                    <a:pt x="88095" y="120730"/>
                  </a:moveTo>
                  <a:cubicBezTo>
                    <a:pt x="90814" y="131609"/>
                    <a:pt x="90814" y="142487"/>
                    <a:pt x="93534" y="153366"/>
                  </a:cubicBezTo>
                  <a:cubicBezTo>
                    <a:pt x="93534" y="156086"/>
                    <a:pt x="93534" y="542277"/>
                    <a:pt x="93534" y="544997"/>
                  </a:cubicBezTo>
                  <a:cubicBezTo>
                    <a:pt x="93534" y="577632"/>
                    <a:pt x="123450" y="604829"/>
                    <a:pt x="156086" y="604829"/>
                  </a:cubicBezTo>
                  <a:cubicBezTo>
                    <a:pt x="188722" y="607548"/>
                    <a:pt x="221358" y="577632"/>
                    <a:pt x="221358" y="544997"/>
                  </a:cubicBezTo>
                  <a:cubicBezTo>
                    <a:pt x="221358" y="539557"/>
                    <a:pt x="221358" y="194161"/>
                    <a:pt x="221358" y="194161"/>
                  </a:cubicBezTo>
                  <a:cubicBezTo>
                    <a:pt x="221358" y="164245"/>
                    <a:pt x="224078" y="134329"/>
                    <a:pt x="210479" y="109852"/>
                  </a:cubicBezTo>
                  <a:cubicBezTo>
                    <a:pt x="196881" y="79935"/>
                    <a:pt x="158806" y="58178"/>
                    <a:pt x="118011" y="58178"/>
                  </a:cubicBezTo>
                  <a:cubicBezTo>
                    <a:pt x="79936" y="58178"/>
                    <a:pt x="58178" y="88094"/>
                    <a:pt x="58178" y="88094"/>
                  </a:cubicBezTo>
                  <a:cubicBezTo>
                    <a:pt x="58178" y="88094"/>
                    <a:pt x="77216" y="93534"/>
                    <a:pt x="88095" y="120730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14692158-F77E-4CC1-B129-4C7D59571AEE}"/>
                </a:ext>
              </a:extLst>
            </p:cNvPr>
            <p:cNvSpPr/>
            <p:nvPr/>
          </p:nvSpPr>
          <p:spPr>
            <a:xfrm>
              <a:off x="8751819" y="3234667"/>
              <a:ext cx="271966" cy="652717"/>
            </a:xfrm>
            <a:custGeom>
              <a:avLst/>
              <a:gdLst>
                <a:gd name="connsiteX0" fmla="*/ 191663 w 271965"/>
                <a:gd name="connsiteY0" fmla="*/ 542449 h 652717"/>
                <a:gd name="connsiteX1" fmla="*/ 186224 w 271965"/>
                <a:gd name="connsiteY1" fmla="*/ 509813 h 652717"/>
                <a:gd name="connsiteX2" fmla="*/ 186224 w 271965"/>
                <a:gd name="connsiteY2" fmla="*/ 118183 h 652717"/>
                <a:gd name="connsiteX3" fmla="*/ 123672 w 271965"/>
                <a:gd name="connsiteY3" fmla="*/ 58350 h 652717"/>
                <a:gd name="connsiteX4" fmla="*/ 58400 w 271965"/>
                <a:gd name="connsiteY4" fmla="*/ 118183 h 652717"/>
                <a:gd name="connsiteX5" fmla="*/ 58400 w 271965"/>
                <a:gd name="connsiteY5" fmla="*/ 469018 h 652717"/>
                <a:gd name="connsiteX6" fmla="*/ 69279 w 271965"/>
                <a:gd name="connsiteY6" fmla="*/ 553328 h 652717"/>
                <a:gd name="connsiteX7" fmla="*/ 161747 w 271965"/>
                <a:gd name="connsiteY7" fmla="*/ 605001 h 652717"/>
                <a:gd name="connsiteX8" fmla="*/ 221580 w 271965"/>
                <a:gd name="connsiteY8" fmla="*/ 575085 h 652717"/>
                <a:gd name="connsiteX9" fmla="*/ 191663 w 271965"/>
                <a:gd name="connsiteY9" fmla="*/ 542449 h 6527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71965" h="652717">
                  <a:moveTo>
                    <a:pt x="191663" y="542449"/>
                  </a:moveTo>
                  <a:cubicBezTo>
                    <a:pt x="188944" y="531570"/>
                    <a:pt x="186224" y="520692"/>
                    <a:pt x="186224" y="509813"/>
                  </a:cubicBezTo>
                  <a:cubicBezTo>
                    <a:pt x="186224" y="507093"/>
                    <a:pt x="186224" y="120902"/>
                    <a:pt x="186224" y="118183"/>
                  </a:cubicBezTo>
                  <a:cubicBezTo>
                    <a:pt x="186224" y="85547"/>
                    <a:pt x="156308" y="58350"/>
                    <a:pt x="123672" y="58350"/>
                  </a:cubicBezTo>
                  <a:cubicBezTo>
                    <a:pt x="91036" y="55631"/>
                    <a:pt x="58400" y="85547"/>
                    <a:pt x="58400" y="118183"/>
                  </a:cubicBezTo>
                  <a:cubicBezTo>
                    <a:pt x="58400" y="123622"/>
                    <a:pt x="58400" y="469018"/>
                    <a:pt x="58400" y="469018"/>
                  </a:cubicBezTo>
                  <a:cubicBezTo>
                    <a:pt x="58400" y="498934"/>
                    <a:pt x="55680" y="528851"/>
                    <a:pt x="69279" y="553328"/>
                  </a:cubicBezTo>
                  <a:cubicBezTo>
                    <a:pt x="82877" y="583244"/>
                    <a:pt x="120953" y="605001"/>
                    <a:pt x="161747" y="605001"/>
                  </a:cubicBezTo>
                  <a:cubicBezTo>
                    <a:pt x="199822" y="605001"/>
                    <a:pt x="221580" y="575085"/>
                    <a:pt x="221580" y="575085"/>
                  </a:cubicBezTo>
                  <a:cubicBezTo>
                    <a:pt x="221580" y="575085"/>
                    <a:pt x="202542" y="566926"/>
                    <a:pt x="191663" y="542449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C0135833-3309-460C-8E4A-15D74B05AF6B}"/>
                </a:ext>
              </a:extLst>
            </p:cNvPr>
            <p:cNvSpPr/>
            <p:nvPr/>
          </p:nvSpPr>
          <p:spPr>
            <a:xfrm>
              <a:off x="6320666" y="3416868"/>
              <a:ext cx="435145" cy="462341"/>
            </a:xfrm>
            <a:custGeom>
              <a:avLst/>
              <a:gdLst>
                <a:gd name="connsiteX0" fmla="*/ 302948 w 435145"/>
                <a:gd name="connsiteY0" fmla="*/ 74684 h 462341"/>
                <a:gd name="connsiteX1" fmla="*/ 186003 w 435145"/>
                <a:gd name="connsiteY1" fmla="*/ 148115 h 462341"/>
                <a:gd name="connsiteX2" fmla="*/ 186003 w 435145"/>
                <a:gd name="connsiteY2" fmla="*/ 148115 h 462341"/>
                <a:gd name="connsiteX3" fmla="*/ 186003 w 435145"/>
                <a:gd name="connsiteY3" fmla="*/ 115479 h 462341"/>
                <a:gd name="connsiteX4" fmla="*/ 123450 w 435145"/>
                <a:gd name="connsiteY4" fmla="*/ 58366 h 462341"/>
                <a:gd name="connsiteX5" fmla="*/ 58178 w 435145"/>
                <a:gd name="connsiteY5" fmla="*/ 115479 h 462341"/>
                <a:gd name="connsiteX6" fmla="*/ 58178 w 435145"/>
                <a:gd name="connsiteY6" fmla="*/ 362967 h 462341"/>
                <a:gd name="connsiteX7" fmla="*/ 120730 w 435145"/>
                <a:gd name="connsiteY7" fmla="*/ 422800 h 462341"/>
                <a:gd name="connsiteX8" fmla="*/ 186003 w 435145"/>
                <a:gd name="connsiteY8" fmla="*/ 362967 h 462341"/>
                <a:gd name="connsiteX9" fmla="*/ 186003 w 435145"/>
                <a:gd name="connsiteY9" fmla="*/ 213386 h 462341"/>
                <a:gd name="connsiteX10" fmla="*/ 186003 w 435145"/>
                <a:gd name="connsiteY10" fmla="*/ 213386 h 462341"/>
                <a:gd name="connsiteX11" fmla="*/ 229517 w 435145"/>
                <a:gd name="connsiteY11" fmla="*/ 161713 h 462341"/>
                <a:gd name="connsiteX12" fmla="*/ 259433 w 435145"/>
                <a:gd name="connsiteY12" fmla="*/ 194349 h 462341"/>
                <a:gd name="connsiteX13" fmla="*/ 259433 w 435145"/>
                <a:gd name="connsiteY13" fmla="*/ 362967 h 462341"/>
                <a:gd name="connsiteX14" fmla="*/ 321985 w 435145"/>
                <a:gd name="connsiteY14" fmla="*/ 422800 h 462341"/>
                <a:gd name="connsiteX15" fmla="*/ 387257 w 435145"/>
                <a:gd name="connsiteY15" fmla="*/ 362967 h 462341"/>
                <a:gd name="connsiteX16" fmla="*/ 387257 w 435145"/>
                <a:gd name="connsiteY16" fmla="*/ 273219 h 462341"/>
                <a:gd name="connsiteX17" fmla="*/ 302948 w 435145"/>
                <a:gd name="connsiteY17" fmla="*/ 74684 h 4623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435145" h="462341">
                  <a:moveTo>
                    <a:pt x="302948" y="74684"/>
                  </a:moveTo>
                  <a:cubicBezTo>
                    <a:pt x="234956" y="74684"/>
                    <a:pt x="196881" y="131797"/>
                    <a:pt x="186003" y="148115"/>
                  </a:cubicBezTo>
                  <a:lnTo>
                    <a:pt x="186003" y="148115"/>
                  </a:lnTo>
                  <a:cubicBezTo>
                    <a:pt x="186003" y="129077"/>
                    <a:pt x="186003" y="115479"/>
                    <a:pt x="186003" y="115479"/>
                  </a:cubicBezTo>
                  <a:cubicBezTo>
                    <a:pt x="186003" y="82843"/>
                    <a:pt x="156086" y="58366"/>
                    <a:pt x="123450" y="58366"/>
                  </a:cubicBezTo>
                  <a:cubicBezTo>
                    <a:pt x="90814" y="55646"/>
                    <a:pt x="58178" y="82843"/>
                    <a:pt x="58178" y="115479"/>
                  </a:cubicBezTo>
                  <a:cubicBezTo>
                    <a:pt x="58178" y="120918"/>
                    <a:pt x="58178" y="360248"/>
                    <a:pt x="58178" y="362967"/>
                  </a:cubicBezTo>
                  <a:cubicBezTo>
                    <a:pt x="58178" y="395603"/>
                    <a:pt x="88095" y="422800"/>
                    <a:pt x="120730" y="422800"/>
                  </a:cubicBezTo>
                  <a:cubicBezTo>
                    <a:pt x="153366" y="425519"/>
                    <a:pt x="186003" y="395603"/>
                    <a:pt x="186003" y="362967"/>
                  </a:cubicBezTo>
                  <a:cubicBezTo>
                    <a:pt x="186003" y="360248"/>
                    <a:pt x="186003" y="281378"/>
                    <a:pt x="186003" y="213386"/>
                  </a:cubicBezTo>
                  <a:lnTo>
                    <a:pt x="186003" y="213386"/>
                  </a:lnTo>
                  <a:cubicBezTo>
                    <a:pt x="191442" y="186190"/>
                    <a:pt x="205040" y="161713"/>
                    <a:pt x="229517" y="161713"/>
                  </a:cubicBezTo>
                  <a:cubicBezTo>
                    <a:pt x="259433" y="161713"/>
                    <a:pt x="259433" y="194349"/>
                    <a:pt x="259433" y="194349"/>
                  </a:cubicBezTo>
                  <a:lnTo>
                    <a:pt x="259433" y="362967"/>
                  </a:lnTo>
                  <a:cubicBezTo>
                    <a:pt x="259433" y="395603"/>
                    <a:pt x="289349" y="422800"/>
                    <a:pt x="321985" y="422800"/>
                  </a:cubicBezTo>
                  <a:cubicBezTo>
                    <a:pt x="354621" y="425519"/>
                    <a:pt x="387257" y="395603"/>
                    <a:pt x="387257" y="362967"/>
                  </a:cubicBezTo>
                  <a:lnTo>
                    <a:pt x="387257" y="273219"/>
                  </a:lnTo>
                  <a:cubicBezTo>
                    <a:pt x="387257" y="183470"/>
                    <a:pt x="395416" y="71964"/>
                    <a:pt x="302948" y="74684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25215576-30F2-4AAD-8485-216D0761A724}"/>
                </a:ext>
              </a:extLst>
            </p:cNvPr>
            <p:cNvSpPr/>
            <p:nvPr/>
          </p:nvSpPr>
          <p:spPr>
            <a:xfrm>
              <a:off x="7960620" y="3416868"/>
              <a:ext cx="435145" cy="462341"/>
            </a:xfrm>
            <a:custGeom>
              <a:avLst/>
              <a:gdLst>
                <a:gd name="connsiteX0" fmla="*/ 302948 w 435145"/>
                <a:gd name="connsiteY0" fmla="*/ 74684 h 462341"/>
                <a:gd name="connsiteX1" fmla="*/ 186002 w 435145"/>
                <a:gd name="connsiteY1" fmla="*/ 148115 h 462341"/>
                <a:gd name="connsiteX2" fmla="*/ 186002 w 435145"/>
                <a:gd name="connsiteY2" fmla="*/ 148115 h 462341"/>
                <a:gd name="connsiteX3" fmla="*/ 186002 w 435145"/>
                <a:gd name="connsiteY3" fmla="*/ 115479 h 462341"/>
                <a:gd name="connsiteX4" fmla="*/ 123450 w 435145"/>
                <a:gd name="connsiteY4" fmla="*/ 58366 h 462341"/>
                <a:gd name="connsiteX5" fmla="*/ 58178 w 435145"/>
                <a:gd name="connsiteY5" fmla="*/ 115479 h 462341"/>
                <a:gd name="connsiteX6" fmla="*/ 58178 w 435145"/>
                <a:gd name="connsiteY6" fmla="*/ 362967 h 462341"/>
                <a:gd name="connsiteX7" fmla="*/ 120730 w 435145"/>
                <a:gd name="connsiteY7" fmla="*/ 422800 h 462341"/>
                <a:gd name="connsiteX8" fmla="*/ 186002 w 435145"/>
                <a:gd name="connsiteY8" fmla="*/ 362967 h 462341"/>
                <a:gd name="connsiteX9" fmla="*/ 186002 w 435145"/>
                <a:gd name="connsiteY9" fmla="*/ 213386 h 462341"/>
                <a:gd name="connsiteX10" fmla="*/ 186002 w 435145"/>
                <a:gd name="connsiteY10" fmla="*/ 213386 h 462341"/>
                <a:gd name="connsiteX11" fmla="*/ 229517 w 435145"/>
                <a:gd name="connsiteY11" fmla="*/ 161713 h 462341"/>
                <a:gd name="connsiteX12" fmla="*/ 259433 w 435145"/>
                <a:gd name="connsiteY12" fmla="*/ 194349 h 462341"/>
                <a:gd name="connsiteX13" fmla="*/ 259433 w 435145"/>
                <a:gd name="connsiteY13" fmla="*/ 362967 h 462341"/>
                <a:gd name="connsiteX14" fmla="*/ 321985 w 435145"/>
                <a:gd name="connsiteY14" fmla="*/ 422800 h 462341"/>
                <a:gd name="connsiteX15" fmla="*/ 387257 w 435145"/>
                <a:gd name="connsiteY15" fmla="*/ 362967 h 462341"/>
                <a:gd name="connsiteX16" fmla="*/ 387257 w 435145"/>
                <a:gd name="connsiteY16" fmla="*/ 273219 h 462341"/>
                <a:gd name="connsiteX17" fmla="*/ 302948 w 435145"/>
                <a:gd name="connsiteY17" fmla="*/ 74684 h 4623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435145" h="462341">
                  <a:moveTo>
                    <a:pt x="302948" y="74684"/>
                  </a:moveTo>
                  <a:cubicBezTo>
                    <a:pt x="234956" y="74684"/>
                    <a:pt x="196881" y="131797"/>
                    <a:pt x="186002" y="148115"/>
                  </a:cubicBezTo>
                  <a:lnTo>
                    <a:pt x="186002" y="148115"/>
                  </a:lnTo>
                  <a:cubicBezTo>
                    <a:pt x="186002" y="129077"/>
                    <a:pt x="186002" y="115479"/>
                    <a:pt x="186002" y="115479"/>
                  </a:cubicBezTo>
                  <a:cubicBezTo>
                    <a:pt x="186002" y="82843"/>
                    <a:pt x="156086" y="58366"/>
                    <a:pt x="123450" y="58366"/>
                  </a:cubicBezTo>
                  <a:cubicBezTo>
                    <a:pt x="90814" y="55646"/>
                    <a:pt x="58178" y="82843"/>
                    <a:pt x="58178" y="115479"/>
                  </a:cubicBezTo>
                  <a:cubicBezTo>
                    <a:pt x="58178" y="120918"/>
                    <a:pt x="58178" y="360248"/>
                    <a:pt x="58178" y="362967"/>
                  </a:cubicBezTo>
                  <a:cubicBezTo>
                    <a:pt x="58178" y="395603"/>
                    <a:pt x="88095" y="422800"/>
                    <a:pt x="120730" y="422800"/>
                  </a:cubicBezTo>
                  <a:cubicBezTo>
                    <a:pt x="153366" y="425519"/>
                    <a:pt x="186002" y="395603"/>
                    <a:pt x="186002" y="362967"/>
                  </a:cubicBezTo>
                  <a:cubicBezTo>
                    <a:pt x="186002" y="360248"/>
                    <a:pt x="186002" y="281378"/>
                    <a:pt x="186002" y="213386"/>
                  </a:cubicBezTo>
                  <a:lnTo>
                    <a:pt x="186002" y="213386"/>
                  </a:lnTo>
                  <a:cubicBezTo>
                    <a:pt x="191442" y="186190"/>
                    <a:pt x="205040" y="161713"/>
                    <a:pt x="229517" y="161713"/>
                  </a:cubicBezTo>
                  <a:cubicBezTo>
                    <a:pt x="259433" y="161713"/>
                    <a:pt x="259433" y="194349"/>
                    <a:pt x="259433" y="194349"/>
                  </a:cubicBezTo>
                  <a:lnTo>
                    <a:pt x="259433" y="362967"/>
                  </a:lnTo>
                  <a:cubicBezTo>
                    <a:pt x="259433" y="395603"/>
                    <a:pt x="289349" y="422800"/>
                    <a:pt x="321985" y="422800"/>
                  </a:cubicBezTo>
                  <a:cubicBezTo>
                    <a:pt x="354621" y="425519"/>
                    <a:pt x="387257" y="395603"/>
                    <a:pt x="387257" y="362967"/>
                  </a:cubicBezTo>
                  <a:lnTo>
                    <a:pt x="387257" y="273219"/>
                  </a:lnTo>
                  <a:cubicBezTo>
                    <a:pt x="384537" y="183470"/>
                    <a:pt x="395416" y="71964"/>
                    <a:pt x="302948" y="74684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197F4014-0506-40C3-9D6E-9D29B34F6404}"/>
                </a:ext>
              </a:extLst>
            </p:cNvPr>
            <p:cNvSpPr/>
            <p:nvPr/>
          </p:nvSpPr>
          <p:spPr>
            <a:xfrm>
              <a:off x="5020669" y="3416868"/>
              <a:ext cx="435145" cy="462341"/>
            </a:xfrm>
            <a:custGeom>
              <a:avLst/>
              <a:gdLst>
                <a:gd name="connsiteX0" fmla="*/ 302948 w 435145"/>
                <a:gd name="connsiteY0" fmla="*/ 74684 h 462341"/>
                <a:gd name="connsiteX1" fmla="*/ 186002 w 435145"/>
                <a:gd name="connsiteY1" fmla="*/ 148115 h 462341"/>
                <a:gd name="connsiteX2" fmla="*/ 186002 w 435145"/>
                <a:gd name="connsiteY2" fmla="*/ 148115 h 462341"/>
                <a:gd name="connsiteX3" fmla="*/ 186002 w 435145"/>
                <a:gd name="connsiteY3" fmla="*/ 115479 h 462341"/>
                <a:gd name="connsiteX4" fmla="*/ 123450 w 435145"/>
                <a:gd name="connsiteY4" fmla="*/ 58366 h 462341"/>
                <a:gd name="connsiteX5" fmla="*/ 58178 w 435145"/>
                <a:gd name="connsiteY5" fmla="*/ 115479 h 462341"/>
                <a:gd name="connsiteX6" fmla="*/ 58178 w 435145"/>
                <a:gd name="connsiteY6" fmla="*/ 362967 h 462341"/>
                <a:gd name="connsiteX7" fmla="*/ 120730 w 435145"/>
                <a:gd name="connsiteY7" fmla="*/ 422800 h 462341"/>
                <a:gd name="connsiteX8" fmla="*/ 186002 w 435145"/>
                <a:gd name="connsiteY8" fmla="*/ 362967 h 462341"/>
                <a:gd name="connsiteX9" fmla="*/ 186002 w 435145"/>
                <a:gd name="connsiteY9" fmla="*/ 213386 h 462341"/>
                <a:gd name="connsiteX10" fmla="*/ 186002 w 435145"/>
                <a:gd name="connsiteY10" fmla="*/ 213386 h 462341"/>
                <a:gd name="connsiteX11" fmla="*/ 229517 w 435145"/>
                <a:gd name="connsiteY11" fmla="*/ 161713 h 462341"/>
                <a:gd name="connsiteX12" fmla="*/ 259433 w 435145"/>
                <a:gd name="connsiteY12" fmla="*/ 194349 h 462341"/>
                <a:gd name="connsiteX13" fmla="*/ 259433 w 435145"/>
                <a:gd name="connsiteY13" fmla="*/ 362967 h 462341"/>
                <a:gd name="connsiteX14" fmla="*/ 321985 w 435145"/>
                <a:gd name="connsiteY14" fmla="*/ 422800 h 462341"/>
                <a:gd name="connsiteX15" fmla="*/ 387257 w 435145"/>
                <a:gd name="connsiteY15" fmla="*/ 362967 h 462341"/>
                <a:gd name="connsiteX16" fmla="*/ 387257 w 435145"/>
                <a:gd name="connsiteY16" fmla="*/ 273219 h 462341"/>
                <a:gd name="connsiteX17" fmla="*/ 302948 w 435145"/>
                <a:gd name="connsiteY17" fmla="*/ 74684 h 4623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435145" h="462341">
                  <a:moveTo>
                    <a:pt x="302948" y="74684"/>
                  </a:moveTo>
                  <a:cubicBezTo>
                    <a:pt x="234956" y="74684"/>
                    <a:pt x="196881" y="131797"/>
                    <a:pt x="186002" y="148115"/>
                  </a:cubicBezTo>
                  <a:lnTo>
                    <a:pt x="186002" y="148115"/>
                  </a:lnTo>
                  <a:cubicBezTo>
                    <a:pt x="186002" y="129077"/>
                    <a:pt x="186002" y="115479"/>
                    <a:pt x="186002" y="115479"/>
                  </a:cubicBezTo>
                  <a:cubicBezTo>
                    <a:pt x="186002" y="82843"/>
                    <a:pt x="156086" y="58366"/>
                    <a:pt x="123450" y="58366"/>
                  </a:cubicBezTo>
                  <a:cubicBezTo>
                    <a:pt x="90814" y="55646"/>
                    <a:pt x="58178" y="82843"/>
                    <a:pt x="58178" y="115479"/>
                  </a:cubicBezTo>
                  <a:cubicBezTo>
                    <a:pt x="58178" y="120918"/>
                    <a:pt x="58178" y="360248"/>
                    <a:pt x="58178" y="362967"/>
                  </a:cubicBezTo>
                  <a:cubicBezTo>
                    <a:pt x="58178" y="395603"/>
                    <a:pt x="88094" y="422800"/>
                    <a:pt x="120730" y="422800"/>
                  </a:cubicBezTo>
                  <a:cubicBezTo>
                    <a:pt x="153366" y="425519"/>
                    <a:pt x="186002" y="395603"/>
                    <a:pt x="186002" y="362967"/>
                  </a:cubicBezTo>
                  <a:cubicBezTo>
                    <a:pt x="186002" y="360248"/>
                    <a:pt x="186002" y="281378"/>
                    <a:pt x="186002" y="213386"/>
                  </a:cubicBezTo>
                  <a:lnTo>
                    <a:pt x="186002" y="213386"/>
                  </a:lnTo>
                  <a:cubicBezTo>
                    <a:pt x="191442" y="186190"/>
                    <a:pt x="205040" y="161713"/>
                    <a:pt x="229517" y="161713"/>
                  </a:cubicBezTo>
                  <a:cubicBezTo>
                    <a:pt x="259433" y="161713"/>
                    <a:pt x="259433" y="194349"/>
                    <a:pt x="259433" y="194349"/>
                  </a:cubicBezTo>
                  <a:lnTo>
                    <a:pt x="259433" y="362967"/>
                  </a:lnTo>
                  <a:cubicBezTo>
                    <a:pt x="259433" y="395603"/>
                    <a:pt x="289349" y="422800"/>
                    <a:pt x="321985" y="422800"/>
                  </a:cubicBezTo>
                  <a:cubicBezTo>
                    <a:pt x="354621" y="425519"/>
                    <a:pt x="387257" y="395603"/>
                    <a:pt x="387257" y="362967"/>
                  </a:cubicBezTo>
                  <a:lnTo>
                    <a:pt x="387257" y="273219"/>
                  </a:lnTo>
                  <a:cubicBezTo>
                    <a:pt x="384537" y="183470"/>
                    <a:pt x="395416" y="71964"/>
                    <a:pt x="302948" y="74684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2CECD138-51CC-425A-86A7-D780954B759C}"/>
                </a:ext>
              </a:extLst>
            </p:cNvPr>
            <p:cNvSpPr/>
            <p:nvPr/>
          </p:nvSpPr>
          <p:spPr>
            <a:xfrm>
              <a:off x="7616289" y="3475234"/>
              <a:ext cx="364436" cy="364434"/>
            </a:xfrm>
            <a:custGeom>
              <a:avLst/>
              <a:gdLst>
                <a:gd name="connsiteX0" fmla="*/ 182218 w 364436"/>
                <a:gd name="connsiteY0" fmla="*/ 73431 h 364434"/>
                <a:gd name="connsiteX1" fmla="*/ 130544 w 364436"/>
                <a:gd name="connsiteY1" fmla="*/ 179499 h 364434"/>
                <a:gd name="connsiteX2" fmla="*/ 182218 w 364436"/>
                <a:gd name="connsiteY2" fmla="*/ 285565 h 364434"/>
                <a:gd name="connsiteX3" fmla="*/ 233891 w 364436"/>
                <a:gd name="connsiteY3" fmla="*/ 179499 h 364434"/>
                <a:gd name="connsiteX4" fmla="*/ 182218 w 364436"/>
                <a:gd name="connsiteY4" fmla="*/ 73431 h 364434"/>
                <a:gd name="connsiteX5" fmla="*/ 182219 w 364436"/>
                <a:gd name="connsiteY5" fmla="*/ 0 h 364434"/>
                <a:gd name="connsiteX6" fmla="*/ 364436 w 364436"/>
                <a:gd name="connsiteY6" fmla="*/ 182217 h 364434"/>
                <a:gd name="connsiteX7" fmla="*/ 182219 w 364436"/>
                <a:gd name="connsiteY7" fmla="*/ 364434 h 364434"/>
                <a:gd name="connsiteX8" fmla="*/ 0 w 364436"/>
                <a:gd name="connsiteY8" fmla="*/ 182217 h 364434"/>
                <a:gd name="connsiteX9" fmla="*/ 182219 w 364436"/>
                <a:gd name="connsiteY9" fmla="*/ 0 h 3644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64436" h="364434">
                  <a:moveTo>
                    <a:pt x="182218" y="73431"/>
                  </a:moveTo>
                  <a:cubicBezTo>
                    <a:pt x="152302" y="76151"/>
                    <a:pt x="130544" y="114226"/>
                    <a:pt x="130544" y="179499"/>
                  </a:cubicBezTo>
                  <a:cubicBezTo>
                    <a:pt x="130544" y="244770"/>
                    <a:pt x="146862" y="285565"/>
                    <a:pt x="182218" y="285565"/>
                  </a:cubicBezTo>
                  <a:cubicBezTo>
                    <a:pt x="217573" y="285565"/>
                    <a:pt x="233891" y="247490"/>
                    <a:pt x="233891" y="179499"/>
                  </a:cubicBezTo>
                  <a:cubicBezTo>
                    <a:pt x="233891" y="114226"/>
                    <a:pt x="212134" y="73431"/>
                    <a:pt x="182218" y="73431"/>
                  </a:cubicBezTo>
                  <a:close/>
                  <a:moveTo>
                    <a:pt x="182219" y="0"/>
                  </a:moveTo>
                  <a:cubicBezTo>
                    <a:pt x="282846" y="0"/>
                    <a:pt x="364436" y="81590"/>
                    <a:pt x="364436" y="182217"/>
                  </a:cubicBezTo>
                  <a:cubicBezTo>
                    <a:pt x="364436" y="282844"/>
                    <a:pt x="282846" y="364434"/>
                    <a:pt x="182219" y="364434"/>
                  </a:cubicBezTo>
                  <a:cubicBezTo>
                    <a:pt x="81591" y="364434"/>
                    <a:pt x="0" y="282844"/>
                    <a:pt x="0" y="182217"/>
                  </a:cubicBezTo>
                  <a:cubicBezTo>
                    <a:pt x="0" y="81590"/>
                    <a:pt x="81591" y="0"/>
                    <a:pt x="182219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2672872F-0F50-4B3B-9CEE-35C229AA0CF9}"/>
                </a:ext>
              </a:extLst>
            </p:cNvPr>
            <p:cNvSpPr/>
            <p:nvPr/>
          </p:nvSpPr>
          <p:spPr>
            <a:xfrm>
              <a:off x="6743101" y="3464184"/>
              <a:ext cx="372773" cy="375657"/>
            </a:xfrm>
            <a:custGeom>
              <a:avLst/>
              <a:gdLst>
                <a:gd name="connsiteX0" fmla="*/ 176958 w 372773"/>
                <a:gd name="connsiteY0" fmla="*/ 98080 h 375657"/>
                <a:gd name="connsiteX1" fmla="*/ 125284 w 372773"/>
                <a:gd name="connsiteY1" fmla="*/ 190548 h 375657"/>
                <a:gd name="connsiteX2" fmla="*/ 176958 w 372773"/>
                <a:gd name="connsiteY2" fmla="*/ 283017 h 375657"/>
                <a:gd name="connsiteX3" fmla="*/ 228631 w 372773"/>
                <a:gd name="connsiteY3" fmla="*/ 190548 h 375657"/>
                <a:gd name="connsiteX4" fmla="*/ 176958 w 372773"/>
                <a:gd name="connsiteY4" fmla="*/ 98080 h 375657"/>
                <a:gd name="connsiteX5" fmla="*/ 307501 w 372773"/>
                <a:gd name="connsiteY5" fmla="*/ 172 h 375657"/>
                <a:gd name="connsiteX6" fmla="*/ 372773 w 372773"/>
                <a:gd name="connsiteY6" fmla="*/ 62724 h 375657"/>
                <a:gd name="connsiteX7" fmla="*/ 372773 w 372773"/>
                <a:gd name="connsiteY7" fmla="*/ 312934 h 375657"/>
                <a:gd name="connsiteX8" fmla="*/ 302061 w 372773"/>
                <a:gd name="connsiteY8" fmla="*/ 375486 h 375657"/>
                <a:gd name="connsiteX9" fmla="*/ 239509 w 372773"/>
                <a:gd name="connsiteY9" fmla="*/ 326532 h 375657"/>
                <a:gd name="connsiteX10" fmla="*/ 179677 w 372773"/>
                <a:gd name="connsiteY10" fmla="*/ 370046 h 375657"/>
                <a:gd name="connsiteX11" fmla="*/ 70890 w 372773"/>
                <a:gd name="connsiteY11" fmla="*/ 353728 h 375657"/>
                <a:gd name="connsiteX12" fmla="*/ 128003 w 372773"/>
                <a:gd name="connsiteY12" fmla="*/ 11051 h 375657"/>
                <a:gd name="connsiteX13" fmla="*/ 236790 w 372773"/>
                <a:gd name="connsiteY13" fmla="*/ 70883 h 375657"/>
                <a:gd name="connsiteX14" fmla="*/ 236790 w 372773"/>
                <a:gd name="connsiteY14" fmla="*/ 62724 h 375657"/>
                <a:gd name="connsiteX15" fmla="*/ 307501 w 372773"/>
                <a:gd name="connsiteY15" fmla="*/ 172 h 3756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72773" h="375657">
                  <a:moveTo>
                    <a:pt x="176958" y="98080"/>
                  </a:moveTo>
                  <a:cubicBezTo>
                    <a:pt x="147042" y="100800"/>
                    <a:pt x="125284" y="133436"/>
                    <a:pt x="125284" y="190548"/>
                  </a:cubicBezTo>
                  <a:cubicBezTo>
                    <a:pt x="125284" y="247661"/>
                    <a:pt x="141602" y="283017"/>
                    <a:pt x="176958" y="283017"/>
                  </a:cubicBezTo>
                  <a:cubicBezTo>
                    <a:pt x="212314" y="283017"/>
                    <a:pt x="228631" y="247661"/>
                    <a:pt x="228631" y="190548"/>
                  </a:cubicBezTo>
                  <a:cubicBezTo>
                    <a:pt x="228631" y="133436"/>
                    <a:pt x="206874" y="98080"/>
                    <a:pt x="176958" y="98080"/>
                  </a:cubicBezTo>
                  <a:close/>
                  <a:moveTo>
                    <a:pt x="307501" y="172"/>
                  </a:moveTo>
                  <a:cubicBezTo>
                    <a:pt x="340137" y="172"/>
                    <a:pt x="372773" y="30088"/>
                    <a:pt x="372773" y="62724"/>
                  </a:cubicBezTo>
                  <a:cubicBezTo>
                    <a:pt x="372773" y="65444"/>
                    <a:pt x="372773" y="307494"/>
                    <a:pt x="372773" y="312934"/>
                  </a:cubicBezTo>
                  <a:cubicBezTo>
                    <a:pt x="370053" y="348289"/>
                    <a:pt x="337417" y="378205"/>
                    <a:pt x="302061" y="375486"/>
                  </a:cubicBezTo>
                  <a:cubicBezTo>
                    <a:pt x="274865" y="372766"/>
                    <a:pt x="247668" y="353728"/>
                    <a:pt x="239509" y="326532"/>
                  </a:cubicBezTo>
                  <a:cubicBezTo>
                    <a:pt x="225911" y="348289"/>
                    <a:pt x="198715" y="364607"/>
                    <a:pt x="179677" y="370046"/>
                  </a:cubicBezTo>
                  <a:cubicBezTo>
                    <a:pt x="147041" y="378205"/>
                    <a:pt x="100807" y="372766"/>
                    <a:pt x="70890" y="353728"/>
                  </a:cubicBezTo>
                  <a:cubicBezTo>
                    <a:pt x="-35177" y="285737"/>
                    <a:pt x="-27018" y="11051"/>
                    <a:pt x="128003" y="11051"/>
                  </a:cubicBezTo>
                  <a:cubicBezTo>
                    <a:pt x="185116" y="11051"/>
                    <a:pt x="220471" y="49126"/>
                    <a:pt x="236790" y="70883"/>
                  </a:cubicBezTo>
                  <a:cubicBezTo>
                    <a:pt x="236790" y="70883"/>
                    <a:pt x="236790" y="65444"/>
                    <a:pt x="236790" y="62724"/>
                  </a:cubicBezTo>
                  <a:cubicBezTo>
                    <a:pt x="239509" y="27369"/>
                    <a:pt x="272145" y="-2547"/>
                    <a:pt x="307501" y="172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04A581DD-06BD-44EA-9E2D-8FB253851F92}"/>
                </a:ext>
              </a:extLst>
            </p:cNvPr>
            <p:cNvSpPr/>
            <p:nvPr/>
          </p:nvSpPr>
          <p:spPr>
            <a:xfrm>
              <a:off x="8380335" y="3464184"/>
              <a:ext cx="372772" cy="375657"/>
            </a:xfrm>
            <a:custGeom>
              <a:avLst/>
              <a:gdLst>
                <a:gd name="connsiteX0" fmla="*/ 176957 w 372772"/>
                <a:gd name="connsiteY0" fmla="*/ 98080 h 375657"/>
                <a:gd name="connsiteX1" fmla="*/ 125282 w 372772"/>
                <a:gd name="connsiteY1" fmla="*/ 190548 h 375657"/>
                <a:gd name="connsiteX2" fmla="*/ 176957 w 372772"/>
                <a:gd name="connsiteY2" fmla="*/ 283017 h 375657"/>
                <a:gd name="connsiteX3" fmla="*/ 228630 w 372772"/>
                <a:gd name="connsiteY3" fmla="*/ 190548 h 375657"/>
                <a:gd name="connsiteX4" fmla="*/ 176957 w 372772"/>
                <a:gd name="connsiteY4" fmla="*/ 98080 h 375657"/>
                <a:gd name="connsiteX5" fmla="*/ 307501 w 372772"/>
                <a:gd name="connsiteY5" fmla="*/ 172 h 375657"/>
                <a:gd name="connsiteX6" fmla="*/ 372772 w 372772"/>
                <a:gd name="connsiteY6" fmla="*/ 62724 h 375657"/>
                <a:gd name="connsiteX7" fmla="*/ 372772 w 372772"/>
                <a:gd name="connsiteY7" fmla="*/ 312934 h 375657"/>
                <a:gd name="connsiteX8" fmla="*/ 302062 w 372772"/>
                <a:gd name="connsiteY8" fmla="*/ 375486 h 375657"/>
                <a:gd name="connsiteX9" fmla="*/ 239509 w 372772"/>
                <a:gd name="connsiteY9" fmla="*/ 326532 h 375657"/>
                <a:gd name="connsiteX10" fmla="*/ 179677 w 372772"/>
                <a:gd name="connsiteY10" fmla="*/ 370046 h 375657"/>
                <a:gd name="connsiteX11" fmla="*/ 70890 w 372772"/>
                <a:gd name="connsiteY11" fmla="*/ 353728 h 375657"/>
                <a:gd name="connsiteX12" fmla="*/ 128002 w 372772"/>
                <a:gd name="connsiteY12" fmla="*/ 11051 h 375657"/>
                <a:gd name="connsiteX13" fmla="*/ 236790 w 372772"/>
                <a:gd name="connsiteY13" fmla="*/ 70883 h 375657"/>
                <a:gd name="connsiteX14" fmla="*/ 236790 w 372772"/>
                <a:gd name="connsiteY14" fmla="*/ 62724 h 375657"/>
                <a:gd name="connsiteX15" fmla="*/ 307501 w 372772"/>
                <a:gd name="connsiteY15" fmla="*/ 172 h 3756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72772" h="375657">
                  <a:moveTo>
                    <a:pt x="176957" y="98080"/>
                  </a:moveTo>
                  <a:cubicBezTo>
                    <a:pt x="147039" y="100800"/>
                    <a:pt x="125282" y="133436"/>
                    <a:pt x="125282" y="190548"/>
                  </a:cubicBezTo>
                  <a:cubicBezTo>
                    <a:pt x="125282" y="247661"/>
                    <a:pt x="141600" y="283017"/>
                    <a:pt x="176957" y="283017"/>
                  </a:cubicBezTo>
                  <a:cubicBezTo>
                    <a:pt x="212312" y="283017"/>
                    <a:pt x="228630" y="247661"/>
                    <a:pt x="228630" y="190548"/>
                  </a:cubicBezTo>
                  <a:cubicBezTo>
                    <a:pt x="228630" y="133436"/>
                    <a:pt x="206873" y="98080"/>
                    <a:pt x="176957" y="98080"/>
                  </a:cubicBezTo>
                  <a:close/>
                  <a:moveTo>
                    <a:pt x="307501" y="172"/>
                  </a:moveTo>
                  <a:cubicBezTo>
                    <a:pt x="340137" y="172"/>
                    <a:pt x="372772" y="30088"/>
                    <a:pt x="372772" y="62724"/>
                  </a:cubicBezTo>
                  <a:cubicBezTo>
                    <a:pt x="372772" y="65444"/>
                    <a:pt x="372772" y="307494"/>
                    <a:pt x="372772" y="312934"/>
                  </a:cubicBezTo>
                  <a:cubicBezTo>
                    <a:pt x="370053" y="348289"/>
                    <a:pt x="337417" y="378205"/>
                    <a:pt x="302062" y="375486"/>
                  </a:cubicBezTo>
                  <a:cubicBezTo>
                    <a:pt x="274865" y="372766"/>
                    <a:pt x="247668" y="353728"/>
                    <a:pt x="239509" y="326532"/>
                  </a:cubicBezTo>
                  <a:cubicBezTo>
                    <a:pt x="228630" y="348289"/>
                    <a:pt x="198714" y="364607"/>
                    <a:pt x="179677" y="370046"/>
                  </a:cubicBezTo>
                  <a:cubicBezTo>
                    <a:pt x="147040" y="378205"/>
                    <a:pt x="100806" y="372766"/>
                    <a:pt x="70890" y="353728"/>
                  </a:cubicBezTo>
                  <a:cubicBezTo>
                    <a:pt x="-35177" y="285737"/>
                    <a:pt x="-27018" y="11051"/>
                    <a:pt x="128002" y="11051"/>
                  </a:cubicBezTo>
                  <a:cubicBezTo>
                    <a:pt x="185116" y="11051"/>
                    <a:pt x="220472" y="49126"/>
                    <a:pt x="236790" y="70883"/>
                  </a:cubicBezTo>
                  <a:cubicBezTo>
                    <a:pt x="236790" y="70883"/>
                    <a:pt x="236790" y="65444"/>
                    <a:pt x="236790" y="62724"/>
                  </a:cubicBezTo>
                  <a:cubicBezTo>
                    <a:pt x="239509" y="27369"/>
                    <a:pt x="272145" y="-2547"/>
                    <a:pt x="307501" y="172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78E29341-2391-4754-93F4-DE7EF2D3370D}"/>
                </a:ext>
              </a:extLst>
            </p:cNvPr>
            <p:cNvSpPr/>
            <p:nvPr/>
          </p:nvSpPr>
          <p:spPr>
            <a:xfrm>
              <a:off x="7389492" y="3444253"/>
              <a:ext cx="217573" cy="435145"/>
            </a:xfrm>
            <a:custGeom>
              <a:avLst/>
              <a:gdLst>
                <a:gd name="connsiteX0" fmla="*/ 186002 w 217572"/>
                <a:gd name="connsiteY0" fmla="*/ 118011 h 435144"/>
                <a:gd name="connsiteX1" fmla="*/ 128890 w 217572"/>
                <a:gd name="connsiteY1" fmla="*/ 58178 h 435144"/>
                <a:gd name="connsiteX2" fmla="*/ 123450 w 217572"/>
                <a:gd name="connsiteY2" fmla="*/ 58178 h 435144"/>
                <a:gd name="connsiteX3" fmla="*/ 58178 w 217572"/>
                <a:gd name="connsiteY3" fmla="*/ 115291 h 435144"/>
                <a:gd name="connsiteX4" fmla="*/ 58178 w 217572"/>
                <a:gd name="connsiteY4" fmla="*/ 232236 h 435144"/>
                <a:gd name="connsiteX5" fmla="*/ 58178 w 217572"/>
                <a:gd name="connsiteY5" fmla="*/ 232236 h 435144"/>
                <a:gd name="connsiteX6" fmla="*/ 58178 w 217572"/>
                <a:gd name="connsiteY6" fmla="*/ 335583 h 435144"/>
                <a:gd name="connsiteX7" fmla="*/ 115291 w 217572"/>
                <a:gd name="connsiteY7" fmla="*/ 395415 h 435144"/>
                <a:gd name="connsiteX8" fmla="*/ 120730 w 217572"/>
                <a:gd name="connsiteY8" fmla="*/ 395415 h 435144"/>
                <a:gd name="connsiteX9" fmla="*/ 186002 w 217572"/>
                <a:gd name="connsiteY9" fmla="*/ 338303 h 435144"/>
                <a:gd name="connsiteX10" fmla="*/ 186002 w 217572"/>
                <a:gd name="connsiteY10" fmla="*/ 240395 h 435144"/>
                <a:gd name="connsiteX11" fmla="*/ 186002 w 217572"/>
                <a:gd name="connsiteY11" fmla="*/ 240395 h 435144"/>
                <a:gd name="connsiteX12" fmla="*/ 186002 w 217572"/>
                <a:gd name="connsiteY12" fmla="*/ 118011 h 4351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17572" h="435144">
                  <a:moveTo>
                    <a:pt x="186002" y="118011"/>
                  </a:moveTo>
                  <a:cubicBezTo>
                    <a:pt x="183283" y="85375"/>
                    <a:pt x="158806" y="60898"/>
                    <a:pt x="128890" y="58178"/>
                  </a:cubicBezTo>
                  <a:cubicBezTo>
                    <a:pt x="126170" y="58178"/>
                    <a:pt x="126170" y="58178"/>
                    <a:pt x="123450" y="58178"/>
                  </a:cubicBezTo>
                  <a:cubicBezTo>
                    <a:pt x="96254" y="58178"/>
                    <a:pt x="58178" y="82655"/>
                    <a:pt x="58178" y="115291"/>
                  </a:cubicBezTo>
                  <a:lnTo>
                    <a:pt x="58178" y="232236"/>
                  </a:lnTo>
                  <a:lnTo>
                    <a:pt x="58178" y="232236"/>
                  </a:lnTo>
                  <a:cubicBezTo>
                    <a:pt x="58178" y="270311"/>
                    <a:pt x="58178" y="335583"/>
                    <a:pt x="58178" y="335583"/>
                  </a:cubicBezTo>
                  <a:cubicBezTo>
                    <a:pt x="60898" y="368219"/>
                    <a:pt x="85375" y="392696"/>
                    <a:pt x="115291" y="395415"/>
                  </a:cubicBezTo>
                  <a:cubicBezTo>
                    <a:pt x="118011" y="395415"/>
                    <a:pt x="118011" y="395415"/>
                    <a:pt x="120730" y="395415"/>
                  </a:cubicBezTo>
                  <a:cubicBezTo>
                    <a:pt x="147927" y="395415"/>
                    <a:pt x="186002" y="370938"/>
                    <a:pt x="186002" y="338303"/>
                  </a:cubicBezTo>
                  <a:lnTo>
                    <a:pt x="186002" y="240395"/>
                  </a:lnTo>
                  <a:lnTo>
                    <a:pt x="186002" y="240395"/>
                  </a:lnTo>
                  <a:cubicBezTo>
                    <a:pt x="186002" y="202320"/>
                    <a:pt x="186002" y="118011"/>
                    <a:pt x="186002" y="118011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95B7127F-7A53-40C2-B41D-3D96503E3CC7}"/>
                </a:ext>
              </a:extLst>
            </p:cNvPr>
            <p:cNvSpPr/>
            <p:nvPr/>
          </p:nvSpPr>
          <p:spPr>
            <a:xfrm>
              <a:off x="7392212" y="3280901"/>
              <a:ext cx="217573" cy="217572"/>
            </a:xfrm>
            <a:custGeom>
              <a:avLst/>
              <a:gdLst>
                <a:gd name="connsiteX0" fmla="*/ 183282 w 217572"/>
                <a:gd name="connsiteY0" fmla="*/ 120902 h 217572"/>
                <a:gd name="connsiteX1" fmla="*/ 120730 w 217572"/>
                <a:gd name="connsiteY1" fmla="*/ 183454 h 217572"/>
                <a:gd name="connsiteX2" fmla="*/ 58178 w 217572"/>
                <a:gd name="connsiteY2" fmla="*/ 120902 h 217572"/>
                <a:gd name="connsiteX3" fmla="*/ 120730 w 217572"/>
                <a:gd name="connsiteY3" fmla="*/ 58350 h 217572"/>
                <a:gd name="connsiteX4" fmla="*/ 183282 w 217572"/>
                <a:gd name="connsiteY4" fmla="*/ 120902 h 2175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17572" h="217572">
                  <a:moveTo>
                    <a:pt x="183282" y="120902"/>
                  </a:moveTo>
                  <a:cubicBezTo>
                    <a:pt x="183282" y="156258"/>
                    <a:pt x="156086" y="183454"/>
                    <a:pt x="120730" y="183454"/>
                  </a:cubicBezTo>
                  <a:cubicBezTo>
                    <a:pt x="85375" y="183454"/>
                    <a:pt x="58178" y="156258"/>
                    <a:pt x="58178" y="120902"/>
                  </a:cubicBezTo>
                  <a:cubicBezTo>
                    <a:pt x="58178" y="85547"/>
                    <a:pt x="85375" y="58350"/>
                    <a:pt x="120730" y="58350"/>
                  </a:cubicBezTo>
                  <a:cubicBezTo>
                    <a:pt x="153366" y="55630"/>
                    <a:pt x="183282" y="85547"/>
                    <a:pt x="183282" y="120902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214B5140-BD02-4841-AF70-6D377E4DF2E9}"/>
                </a:ext>
              </a:extLst>
            </p:cNvPr>
            <p:cNvSpPr/>
            <p:nvPr/>
          </p:nvSpPr>
          <p:spPr>
            <a:xfrm>
              <a:off x="6005186" y="3416884"/>
              <a:ext cx="380752" cy="462341"/>
            </a:xfrm>
            <a:custGeom>
              <a:avLst/>
              <a:gdLst>
                <a:gd name="connsiteX0" fmla="*/ 270312 w 380752"/>
                <a:gd name="connsiteY0" fmla="*/ 69229 h 462341"/>
                <a:gd name="connsiteX1" fmla="*/ 188722 w 380752"/>
                <a:gd name="connsiteY1" fmla="*/ 134501 h 462341"/>
                <a:gd name="connsiteX2" fmla="*/ 188722 w 380752"/>
                <a:gd name="connsiteY2" fmla="*/ 118183 h 462341"/>
                <a:gd name="connsiteX3" fmla="*/ 126170 w 380752"/>
                <a:gd name="connsiteY3" fmla="*/ 58350 h 462341"/>
                <a:gd name="connsiteX4" fmla="*/ 58178 w 380752"/>
                <a:gd name="connsiteY4" fmla="*/ 118183 h 462341"/>
                <a:gd name="connsiteX5" fmla="*/ 58178 w 380752"/>
                <a:gd name="connsiteY5" fmla="*/ 210651 h 462341"/>
                <a:gd name="connsiteX6" fmla="*/ 58178 w 380752"/>
                <a:gd name="connsiteY6" fmla="*/ 365671 h 462341"/>
                <a:gd name="connsiteX7" fmla="*/ 58178 w 380752"/>
                <a:gd name="connsiteY7" fmla="*/ 365671 h 462341"/>
                <a:gd name="connsiteX8" fmla="*/ 120730 w 380752"/>
                <a:gd name="connsiteY8" fmla="*/ 425504 h 462341"/>
                <a:gd name="connsiteX9" fmla="*/ 186002 w 380752"/>
                <a:gd name="connsiteY9" fmla="*/ 365671 h 462341"/>
                <a:gd name="connsiteX10" fmla="*/ 186002 w 380752"/>
                <a:gd name="connsiteY10" fmla="*/ 365671 h 462341"/>
                <a:gd name="connsiteX11" fmla="*/ 186002 w 380752"/>
                <a:gd name="connsiteY11" fmla="*/ 210651 h 462341"/>
                <a:gd name="connsiteX12" fmla="*/ 215919 w 380752"/>
                <a:gd name="connsiteY12" fmla="*/ 158978 h 462341"/>
                <a:gd name="connsiteX13" fmla="*/ 275751 w 380752"/>
                <a:gd name="connsiteY13" fmla="*/ 221530 h 462341"/>
                <a:gd name="connsiteX14" fmla="*/ 270312 w 380752"/>
                <a:gd name="connsiteY14" fmla="*/ 69229 h 4623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80752" h="462341">
                  <a:moveTo>
                    <a:pt x="270312" y="69229"/>
                  </a:moveTo>
                  <a:cubicBezTo>
                    <a:pt x="232236" y="71949"/>
                    <a:pt x="213199" y="99145"/>
                    <a:pt x="188722" y="134501"/>
                  </a:cubicBezTo>
                  <a:cubicBezTo>
                    <a:pt x="188722" y="134501"/>
                    <a:pt x="188722" y="118183"/>
                    <a:pt x="188722" y="118183"/>
                  </a:cubicBezTo>
                  <a:cubicBezTo>
                    <a:pt x="188722" y="85547"/>
                    <a:pt x="158806" y="58350"/>
                    <a:pt x="126170" y="58350"/>
                  </a:cubicBezTo>
                  <a:cubicBezTo>
                    <a:pt x="93534" y="55631"/>
                    <a:pt x="60898" y="85547"/>
                    <a:pt x="58178" y="118183"/>
                  </a:cubicBezTo>
                  <a:lnTo>
                    <a:pt x="58178" y="210651"/>
                  </a:lnTo>
                  <a:lnTo>
                    <a:pt x="58178" y="365671"/>
                  </a:lnTo>
                  <a:lnTo>
                    <a:pt x="58178" y="365671"/>
                  </a:lnTo>
                  <a:cubicBezTo>
                    <a:pt x="58178" y="398307"/>
                    <a:pt x="88094" y="425504"/>
                    <a:pt x="120730" y="425504"/>
                  </a:cubicBezTo>
                  <a:cubicBezTo>
                    <a:pt x="153366" y="428224"/>
                    <a:pt x="186002" y="398307"/>
                    <a:pt x="186002" y="365671"/>
                  </a:cubicBezTo>
                  <a:lnTo>
                    <a:pt x="186002" y="365671"/>
                  </a:lnTo>
                  <a:lnTo>
                    <a:pt x="186002" y="210651"/>
                  </a:lnTo>
                  <a:cubicBezTo>
                    <a:pt x="188722" y="188894"/>
                    <a:pt x="196881" y="158978"/>
                    <a:pt x="215919" y="158978"/>
                  </a:cubicBezTo>
                  <a:cubicBezTo>
                    <a:pt x="243115" y="158978"/>
                    <a:pt x="215919" y="221530"/>
                    <a:pt x="275751" y="221530"/>
                  </a:cubicBezTo>
                  <a:cubicBezTo>
                    <a:pt x="362780" y="221530"/>
                    <a:pt x="373658" y="63790"/>
                    <a:pt x="270312" y="69229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id="{16C21D7B-C520-4401-BFFD-43EA75B9B3F0}"/>
                </a:ext>
              </a:extLst>
            </p:cNvPr>
            <p:cNvSpPr/>
            <p:nvPr/>
          </p:nvSpPr>
          <p:spPr>
            <a:xfrm>
              <a:off x="5693490" y="3475234"/>
              <a:ext cx="337238" cy="364434"/>
            </a:xfrm>
            <a:custGeom>
              <a:avLst/>
              <a:gdLst>
                <a:gd name="connsiteX0" fmla="*/ 180433 w 337238"/>
                <a:gd name="connsiteY0" fmla="*/ 73984 h 364434"/>
                <a:gd name="connsiteX1" fmla="*/ 163180 w 337238"/>
                <a:gd name="connsiteY1" fmla="*/ 78870 h 364434"/>
                <a:gd name="connsiteX2" fmla="*/ 125105 w 337238"/>
                <a:gd name="connsiteY2" fmla="*/ 160461 h 364434"/>
                <a:gd name="connsiteX3" fmla="*/ 171339 w 337238"/>
                <a:gd name="connsiteY3" fmla="*/ 163180 h 364434"/>
                <a:gd name="connsiteX4" fmla="*/ 214854 w 337238"/>
                <a:gd name="connsiteY4" fmla="*/ 108787 h 364434"/>
                <a:gd name="connsiteX5" fmla="*/ 180433 w 337238"/>
                <a:gd name="connsiteY5" fmla="*/ 73984 h 364434"/>
                <a:gd name="connsiteX6" fmla="*/ 174059 w 337238"/>
                <a:gd name="connsiteY6" fmla="*/ 0 h 364434"/>
                <a:gd name="connsiteX7" fmla="*/ 337238 w 337238"/>
                <a:gd name="connsiteY7" fmla="*/ 119665 h 364434"/>
                <a:gd name="connsiteX8" fmla="*/ 133264 w 337238"/>
                <a:gd name="connsiteY8" fmla="*/ 217573 h 364434"/>
                <a:gd name="connsiteX9" fmla="*/ 225732 w 337238"/>
                <a:gd name="connsiteY9" fmla="*/ 277405 h 364434"/>
                <a:gd name="connsiteX10" fmla="*/ 320920 w 337238"/>
                <a:gd name="connsiteY10" fmla="*/ 250208 h 364434"/>
                <a:gd name="connsiteX11" fmla="*/ 174059 w 337238"/>
                <a:gd name="connsiteY11" fmla="*/ 364434 h 364434"/>
                <a:gd name="connsiteX12" fmla="*/ 0 w 337238"/>
                <a:gd name="connsiteY12" fmla="*/ 184937 h 364434"/>
                <a:gd name="connsiteX13" fmla="*/ 174059 w 337238"/>
                <a:gd name="connsiteY13" fmla="*/ 0 h 3644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37238" h="364434">
                  <a:moveTo>
                    <a:pt x="180433" y="73984"/>
                  </a:moveTo>
                  <a:cubicBezTo>
                    <a:pt x="174569" y="73941"/>
                    <a:pt x="168620" y="75471"/>
                    <a:pt x="163180" y="78870"/>
                  </a:cubicBezTo>
                  <a:cubicBezTo>
                    <a:pt x="135984" y="95189"/>
                    <a:pt x="127825" y="130544"/>
                    <a:pt x="125105" y="160461"/>
                  </a:cubicBezTo>
                  <a:cubicBezTo>
                    <a:pt x="125105" y="163180"/>
                    <a:pt x="168620" y="160461"/>
                    <a:pt x="171339" y="163180"/>
                  </a:cubicBezTo>
                  <a:cubicBezTo>
                    <a:pt x="195816" y="157741"/>
                    <a:pt x="214854" y="135984"/>
                    <a:pt x="214854" y="108787"/>
                  </a:cubicBezTo>
                  <a:cubicBezTo>
                    <a:pt x="214854" y="88389"/>
                    <a:pt x="198026" y="74111"/>
                    <a:pt x="180433" y="73984"/>
                  </a:cubicBezTo>
                  <a:close/>
                  <a:moveTo>
                    <a:pt x="174059" y="0"/>
                  </a:moveTo>
                  <a:cubicBezTo>
                    <a:pt x="233891" y="0"/>
                    <a:pt x="337238" y="29916"/>
                    <a:pt x="337238" y="119665"/>
                  </a:cubicBezTo>
                  <a:cubicBezTo>
                    <a:pt x="337238" y="209414"/>
                    <a:pt x="244770" y="217573"/>
                    <a:pt x="133264" y="217573"/>
                  </a:cubicBezTo>
                  <a:cubicBezTo>
                    <a:pt x="133264" y="217573"/>
                    <a:pt x="149581" y="277405"/>
                    <a:pt x="225732" y="277405"/>
                  </a:cubicBezTo>
                  <a:cubicBezTo>
                    <a:pt x="301883" y="277405"/>
                    <a:pt x="320920" y="250208"/>
                    <a:pt x="320920" y="250208"/>
                  </a:cubicBezTo>
                  <a:cubicBezTo>
                    <a:pt x="320920" y="250208"/>
                    <a:pt x="315481" y="364434"/>
                    <a:pt x="174059" y="364434"/>
                  </a:cubicBezTo>
                  <a:cubicBezTo>
                    <a:pt x="95188" y="364434"/>
                    <a:pt x="0" y="304602"/>
                    <a:pt x="0" y="184937"/>
                  </a:cubicBezTo>
                  <a:cubicBezTo>
                    <a:pt x="0" y="78870"/>
                    <a:pt x="73431" y="0"/>
                    <a:pt x="174059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5" name="Freeform: Shape 34">
              <a:extLst>
                <a:ext uri="{FF2B5EF4-FFF2-40B4-BE49-F238E27FC236}">
                  <a16:creationId xmlns:a16="http://schemas.microsoft.com/office/drawing/2014/main" id="{DB9B60B4-35FC-49B0-906A-7C704B6B94BA}"/>
                </a:ext>
              </a:extLst>
            </p:cNvPr>
            <p:cNvSpPr/>
            <p:nvPr/>
          </p:nvSpPr>
          <p:spPr>
            <a:xfrm>
              <a:off x="5376945" y="3338014"/>
              <a:ext cx="353556" cy="543931"/>
            </a:xfrm>
            <a:custGeom>
              <a:avLst/>
              <a:gdLst>
                <a:gd name="connsiteX0" fmla="*/ 311107 w 353555"/>
                <a:gd name="connsiteY0" fmla="*/ 433663 h 543931"/>
                <a:gd name="connsiteX1" fmla="*/ 215919 w 353555"/>
                <a:gd name="connsiteY1" fmla="*/ 501654 h 543931"/>
                <a:gd name="connsiteX2" fmla="*/ 98973 w 353555"/>
                <a:gd name="connsiteY2" fmla="*/ 392868 h 543931"/>
                <a:gd name="connsiteX3" fmla="*/ 98973 w 353555"/>
                <a:gd name="connsiteY3" fmla="*/ 221530 h 543931"/>
                <a:gd name="connsiteX4" fmla="*/ 82655 w 353555"/>
                <a:gd name="connsiteY4" fmla="*/ 221530 h 543931"/>
                <a:gd name="connsiteX5" fmla="*/ 58178 w 353555"/>
                <a:gd name="connsiteY5" fmla="*/ 191614 h 543931"/>
                <a:gd name="connsiteX6" fmla="*/ 85375 w 353555"/>
                <a:gd name="connsiteY6" fmla="*/ 164417 h 543931"/>
                <a:gd name="connsiteX7" fmla="*/ 101693 w 353555"/>
                <a:gd name="connsiteY7" fmla="*/ 164417 h 543931"/>
                <a:gd name="connsiteX8" fmla="*/ 101693 w 353555"/>
                <a:gd name="connsiteY8" fmla="*/ 118183 h 543931"/>
                <a:gd name="connsiteX9" fmla="*/ 166965 w 353555"/>
                <a:gd name="connsiteY9" fmla="*/ 58350 h 543931"/>
                <a:gd name="connsiteX10" fmla="*/ 229517 w 353555"/>
                <a:gd name="connsiteY10" fmla="*/ 118183 h 543931"/>
                <a:gd name="connsiteX11" fmla="*/ 229517 w 353555"/>
                <a:gd name="connsiteY11" fmla="*/ 118183 h 543931"/>
                <a:gd name="connsiteX12" fmla="*/ 229517 w 353555"/>
                <a:gd name="connsiteY12" fmla="*/ 164417 h 543931"/>
                <a:gd name="connsiteX13" fmla="*/ 283910 w 353555"/>
                <a:gd name="connsiteY13" fmla="*/ 164417 h 543931"/>
                <a:gd name="connsiteX14" fmla="*/ 308387 w 353555"/>
                <a:gd name="connsiteY14" fmla="*/ 194333 h 543931"/>
                <a:gd name="connsiteX15" fmla="*/ 281190 w 353555"/>
                <a:gd name="connsiteY15" fmla="*/ 221530 h 543931"/>
                <a:gd name="connsiteX16" fmla="*/ 229517 w 353555"/>
                <a:gd name="connsiteY16" fmla="*/ 221530 h 543931"/>
                <a:gd name="connsiteX17" fmla="*/ 229517 w 353555"/>
                <a:gd name="connsiteY17" fmla="*/ 365671 h 543931"/>
                <a:gd name="connsiteX18" fmla="*/ 311107 w 353555"/>
                <a:gd name="connsiteY18" fmla="*/ 433663 h 5439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353555" h="543931">
                  <a:moveTo>
                    <a:pt x="311107" y="433663"/>
                  </a:moveTo>
                  <a:cubicBezTo>
                    <a:pt x="311107" y="433663"/>
                    <a:pt x="278471" y="501654"/>
                    <a:pt x="215919" y="501654"/>
                  </a:cubicBezTo>
                  <a:cubicBezTo>
                    <a:pt x="164245" y="501654"/>
                    <a:pt x="101693" y="458140"/>
                    <a:pt x="98973" y="392868"/>
                  </a:cubicBezTo>
                  <a:cubicBezTo>
                    <a:pt x="98973" y="392868"/>
                    <a:pt x="98973" y="297680"/>
                    <a:pt x="98973" y="221530"/>
                  </a:cubicBezTo>
                  <a:lnTo>
                    <a:pt x="82655" y="221530"/>
                  </a:lnTo>
                  <a:cubicBezTo>
                    <a:pt x="74496" y="221530"/>
                    <a:pt x="58178" y="216090"/>
                    <a:pt x="58178" y="191614"/>
                  </a:cubicBezTo>
                  <a:cubicBezTo>
                    <a:pt x="58178" y="167137"/>
                    <a:pt x="77216" y="164417"/>
                    <a:pt x="85375" y="164417"/>
                  </a:cubicBezTo>
                  <a:lnTo>
                    <a:pt x="101693" y="164417"/>
                  </a:lnTo>
                  <a:cubicBezTo>
                    <a:pt x="101693" y="137220"/>
                    <a:pt x="101693" y="118183"/>
                    <a:pt x="101693" y="118183"/>
                  </a:cubicBezTo>
                  <a:cubicBezTo>
                    <a:pt x="104413" y="85547"/>
                    <a:pt x="134329" y="55631"/>
                    <a:pt x="166965" y="58350"/>
                  </a:cubicBezTo>
                  <a:cubicBezTo>
                    <a:pt x="196881" y="61070"/>
                    <a:pt x="229517" y="85547"/>
                    <a:pt x="229517" y="118183"/>
                  </a:cubicBezTo>
                  <a:lnTo>
                    <a:pt x="229517" y="118183"/>
                  </a:lnTo>
                  <a:lnTo>
                    <a:pt x="229517" y="164417"/>
                  </a:lnTo>
                  <a:lnTo>
                    <a:pt x="283910" y="164417"/>
                  </a:lnTo>
                  <a:cubicBezTo>
                    <a:pt x="292069" y="164417"/>
                    <a:pt x="308387" y="169856"/>
                    <a:pt x="308387" y="194333"/>
                  </a:cubicBezTo>
                  <a:cubicBezTo>
                    <a:pt x="308387" y="218810"/>
                    <a:pt x="292069" y="221530"/>
                    <a:pt x="281190" y="221530"/>
                  </a:cubicBezTo>
                  <a:lnTo>
                    <a:pt x="229517" y="221530"/>
                  </a:lnTo>
                  <a:lnTo>
                    <a:pt x="229517" y="365671"/>
                  </a:lnTo>
                  <a:cubicBezTo>
                    <a:pt x="226797" y="409186"/>
                    <a:pt x="267592" y="433663"/>
                    <a:pt x="311107" y="433663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6" name="Freeform: Shape 35">
              <a:extLst>
                <a:ext uri="{FF2B5EF4-FFF2-40B4-BE49-F238E27FC236}">
                  <a16:creationId xmlns:a16="http://schemas.microsoft.com/office/drawing/2014/main" id="{B550272F-F181-4670-9AB4-62C5CF01BC3A}"/>
                </a:ext>
              </a:extLst>
            </p:cNvPr>
            <p:cNvSpPr/>
            <p:nvPr/>
          </p:nvSpPr>
          <p:spPr>
            <a:xfrm>
              <a:off x="7090329" y="3338014"/>
              <a:ext cx="353556" cy="543931"/>
            </a:xfrm>
            <a:custGeom>
              <a:avLst/>
              <a:gdLst>
                <a:gd name="connsiteX0" fmla="*/ 311107 w 353555"/>
                <a:gd name="connsiteY0" fmla="*/ 433663 h 543931"/>
                <a:gd name="connsiteX1" fmla="*/ 215919 w 353555"/>
                <a:gd name="connsiteY1" fmla="*/ 501654 h 543931"/>
                <a:gd name="connsiteX2" fmla="*/ 98973 w 353555"/>
                <a:gd name="connsiteY2" fmla="*/ 392868 h 543931"/>
                <a:gd name="connsiteX3" fmla="*/ 98973 w 353555"/>
                <a:gd name="connsiteY3" fmla="*/ 221530 h 543931"/>
                <a:gd name="connsiteX4" fmla="*/ 82655 w 353555"/>
                <a:gd name="connsiteY4" fmla="*/ 221530 h 543931"/>
                <a:gd name="connsiteX5" fmla="*/ 58178 w 353555"/>
                <a:gd name="connsiteY5" fmla="*/ 191614 h 543931"/>
                <a:gd name="connsiteX6" fmla="*/ 85375 w 353555"/>
                <a:gd name="connsiteY6" fmla="*/ 164417 h 543931"/>
                <a:gd name="connsiteX7" fmla="*/ 101693 w 353555"/>
                <a:gd name="connsiteY7" fmla="*/ 164417 h 543931"/>
                <a:gd name="connsiteX8" fmla="*/ 101693 w 353555"/>
                <a:gd name="connsiteY8" fmla="*/ 118183 h 543931"/>
                <a:gd name="connsiteX9" fmla="*/ 166965 w 353555"/>
                <a:gd name="connsiteY9" fmla="*/ 58350 h 543931"/>
                <a:gd name="connsiteX10" fmla="*/ 229517 w 353555"/>
                <a:gd name="connsiteY10" fmla="*/ 118183 h 543931"/>
                <a:gd name="connsiteX11" fmla="*/ 229517 w 353555"/>
                <a:gd name="connsiteY11" fmla="*/ 118183 h 543931"/>
                <a:gd name="connsiteX12" fmla="*/ 229517 w 353555"/>
                <a:gd name="connsiteY12" fmla="*/ 164417 h 543931"/>
                <a:gd name="connsiteX13" fmla="*/ 283910 w 353555"/>
                <a:gd name="connsiteY13" fmla="*/ 164417 h 543931"/>
                <a:gd name="connsiteX14" fmla="*/ 308387 w 353555"/>
                <a:gd name="connsiteY14" fmla="*/ 194333 h 543931"/>
                <a:gd name="connsiteX15" fmla="*/ 281190 w 353555"/>
                <a:gd name="connsiteY15" fmla="*/ 221530 h 543931"/>
                <a:gd name="connsiteX16" fmla="*/ 229517 w 353555"/>
                <a:gd name="connsiteY16" fmla="*/ 221530 h 543931"/>
                <a:gd name="connsiteX17" fmla="*/ 229517 w 353555"/>
                <a:gd name="connsiteY17" fmla="*/ 365671 h 543931"/>
                <a:gd name="connsiteX18" fmla="*/ 311107 w 353555"/>
                <a:gd name="connsiteY18" fmla="*/ 433663 h 5439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353555" h="543931">
                  <a:moveTo>
                    <a:pt x="311107" y="433663"/>
                  </a:moveTo>
                  <a:cubicBezTo>
                    <a:pt x="311107" y="433663"/>
                    <a:pt x="278471" y="501654"/>
                    <a:pt x="215919" y="501654"/>
                  </a:cubicBezTo>
                  <a:cubicBezTo>
                    <a:pt x="164245" y="501654"/>
                    <a:pt x="101693" y="458140"/>
                    <a:pt x="98973" y="392868"/>
                  </a:cubicBezTo>
                  <a:cubicBezTo>
                    <a:pt x="98973" y="392868"/>
                    <a:pt x="98973" y="297680"/>
                    <a:pt x="98973" y="221530"/>
                  </a:cubicBezTo>
                  <a:lnTo>
                    <a:pt x="82655" y="221530"/>
                  </a:lnTo>
                  <a:cubicBezTo>
                    <a:pt x="74496" y="221530"/>
                    <a:pt x="58178" y="216090"/>
                    <a:pt x="58178" y="191614"/>
                  </a:cubicBezTo>
                  <a:cubicBezTo>
                    <a:pt x="58178" y="167137"/>
                    <a:pt x="77216" y="164417"/>
                    <a:pt x="85375" y="164417"/>
                  </a:cubicBezTo>
                  <a:lnTo>
                    <a:pt x="101693" y="164417"/>
                  </a:lnTo>
                  <a:cubicBezTo>
                    <a:pt x="101693" y="137220"/>
                    <a:pt x="101693" y="118183"/>
                    <a:pt x="101693" y="118183"/>
                  </a:cubicBezTo>
                  <a:cubicBezTo>
                    <a:pt x="104412" y="85547"/>
                    <a:pt x="134329" y="55631"/>
                    <a:pt x="166965" y="58350"/>
                  </a:cubicBezTo>
                  <a:cubicBezTo>
                    <a:pt x="196881" y="61070"/>
                    <a:pt x="229517" y="85547"/>
                    <a:pt x="229517" y="118183"/>
                  </a:cubicBezTo>
                  <a:lnTo>
                    <a:pt x="229517" y="118183"/>
                  </a:lnTo>
                  <a:lnTo>
                    <a:pt x="229517" y="164417"/>
                  </a:lnTo>
                  <a:lnTo>
                    <a:pt x="283910" y="164417"/>
                  </a:lnTo>
                  <a:cubicBezTo>
                    <a:pt x="292069" y="164417"/>
                    <a:pt x="308387" y="169856"/>
                    <a:pt x="308387" y="194333"/>
                  </a:cubicBezTo>
                  <a:cubicBezTo>
                    <a:pt x="308387" y="218810"/>
                    <a:pt x="292069" y="221530"/>
                    <a:pt x="281190" y="221530"/>
                  </a:cubicBezTo>
                  <a:lnTo>
                    <a:pt x="229517" y="221530"/>
                  </a:lnTo>
                  <a:lnTo>
                    <a:pt x="229517" y="365671"/>
                  </a:lnTo>
                  <a:cubicBezTo>
                    <a:pt x="229517" y="409186"/>
                    <a:pt x="270312" y="433663"/>
                    <a:pt x="311107" y="433663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7" name="Freeform: Shape 36">
              <a:extLst>
                <a:ext uri="{FF2B5EF4-FFF2-40B4-BE49-F238E27FC236}">
                  <a16:creationId xmlns:a16="http://schemas.microsoft.com/office/drawing/2014/main" id="{BF128CAF-7E33-41B3-941E-1DA081A62D07}"/>
                </a:ext>
              </a:extLst>
            </p:cNvPr>
            <p:cNvSpPr/>
            <p:nvPr/>
          </p:nvSpPr>
          <p:spPr>
            <a:xfrm>
              <a:off x="2080719" y="4178559"/>
              <a:ext cx="462342" cy="788700"/>
            </a:xfrm>
            <a:custGeom>
              <a:avLst/>
              <a:gdLst>
                <a:gd name="connsiteX0" fmla="*/ 403575 w 462341"/>
                <a:gd name="connsiteY0" fmla="*/ 583072 h 788699"/>
                <a:gd name="connsiteX1" fmla="*/ 406295 w 462341"/>
                <a:gd name="connsiteY1" fmla="*/ 596670 h 788699"/>
                <a:gd name="connsiteX2" fmla="*/ 400855 w 462341"/>
                <a:gd name="connsiteY2" fmla="*/ 610268 h 788699"/>
                <a:gd name="connsiteX3" fmla="*/ 389977 w 462341"/>
                <a:gd name="connsiteY3" fmla="*/ 626586 h 788699"/>
                <a:gd name="connsiteX4" fmla="*/ 354621 w 462341"/>
                <a:gd name="connsiteY4" fmla="*/ 675540 h 788699"/>
                <a:gd name="connsiteX5" fmla="*/ 327424 w 462341"/>
                <a:gd name="connsiteY5" fmla="*/ 691858 h 788699"/>
                <a:gd name="connsiteX6" fmla="*/ 292069 w 462341"/>
                <a:gd name="connsiteY6" fmla="*/ 713615 h 788699"/>
                <a:gd name="connsiteX7" fmla="*/ 251274 w 462341"/>
                <a:gd name="connsiteY7" fmla="*/ 724494 h 788699"/>
                <a:gd name="connsiteX8" fmla="*/ 221358 w 462341"/>
                <a:gd name="connsiteY8" fmla="*/ 721774 h 788699"/>
                <a:gd name="connsiteX9" fmla="*/ 191442 w 462341"/>
                <a:gd name="connsiteY9" fmla="*/ 721774 h 788699"/>
                <a:gd name="connsiteX10" fmla="*/ 153366 w 462341"/>
                <a:gd name="connsiteY10" fmla="*/ 713615 h 788699"/>
                <a:gd name="connsiteX11" fmla="*/ 104412 w 462341"/>
                <a:gd name="connsiteY11" fmla="*/ 675540 h 788699"/>
                <a:gd name="connsiteX12" fmla="*/ 104412 w 462341"/>
                <a:gd name="connsiteY12" fmla="*/ 689138 h 788699"/>
                <a:gd name="connsiteX13" fmla="*/ 101693 w 462341"/>
                <a:gd name="connsiteY13" fmla="*/ 710895 h 788699"/>
                <a:gd name="connsiteX14" fmla="*/ 85375 w 462341"/>
                <a:gd name="connsiteY14" fmla="*/ 732653 h 788699"/>
                <a:gd name="connsiteX15" fmla="*/ 69057 w 462341"/>
                <a:gd name="connsiteY15" fmla="*/ 727214 h 788699"/>
                <a:gd name="connsiteX16" fmla="*/ 60898 w 462341"/>
                <a:gd name="connsiteY16" fmla="*/ 710895 h 788699"/>
                <a:gd name="connsiteX17" fmla="*/ 58178 w 462341"/>
                <a:gd name="connsiteY17" fmla="*/ 691858 h 788699"/>
                <a:gd name="connsiteX18" fmla="*/ 60898 w 462341"/>
                <a:gd name="connsiteY18" fmla="*/ 664661 h 788699"/>
                <a:gd name="connsiteX19" fmla="*/ 60898 w 462341"/>
                <a:gd name="connsiteY19" fmla="*/ 607549 h 788699"/>
                <a:gd name="connsiteX20" fmla="*/ 63618 w 462341"/>
                <a:gd name="connsiteY20" fmla="*/ 528679 h 788699"/>
                <a:gd name="connsiteX21" fmla="*/ 69057 w 462341"/>
                <a:gd name="connsiteY21" fmla="*/ 504202 h 788699"/>
                <a:gd name="connsiteX22" fmla="*/ 74496 w 462341"/>
                <a:gd name="connsiteY22" fmla="*/ 493323 h 788699"/>
                <a:gd name="connsiteX23" fmla="*/ 82655 w 462341"/>
                <a:gd name="connsiteY23" fmla="*/ 487884 h 788699"/>
                <a:gd name="connsiteX24" fmla="*/ 90814 w 462341"/>
                <a:gd name="connsiteY24" fmla="*/ 493323 h 788699"/>
                <a:gd name="connsiteX25" fmla="*/ 98973 w 462341"/>
                <a:gd name="connsiteY25" fmla="*/ 512361 h 788699"/>
                <a:gd name="connsiteX26" fmla="*/ 101693 w 462341"/>
                <a:gd name="connsiteY26" fmla="*/ 555875 h 788699"/>
                <a:gd name="connsiteX27" fmla="*/ 101693 w 462341"/>
                <a:gd name="connsiteY27" fmla="*/ 596670 h 788699"/>
                <a:gd name="connsiteX28" fmla="*/ 109852 w 462341"/>
                <a:gd name="connsiteY28" fmla="*/ 626586 h 788699"/>
                <a:gd name="connsiteX29" fmla="*/ 128889 w 462341"/>
                <a:gd name="connsiteY29" fmla="*/ 651063 h 788699"/>
                <a:gd name="connsiteX30" fmla="*/ 153366 w 462341"/>
                <a:gd name="connsiteY30" fmla="*/ 670101 h 788699"/>
                <a:gd name="connsiteX31" fmla="*/ 196881 w 462341"/>
                <a:gd name="connsiteY31" fmla="*/ 678260 h 788699"/>
                <a:gd name="connsiteX32" fmla="*/ 221358 w 462341"/>
                <a:gd name="connsiteY32" fmla="*/ 667381 h 788699"/>
                <a:gd name="connsiteX33" fmla="*/ 253994 w 462341"/>
                <a:gd name="connsiteY33" fmla="*/ 659222 h 788699"/>
                <a:gd name="connsiteX34" fmla="*/ 275751 w 462341"/>
                <a:gd name="connsiteY34" fmla="*/ 637465 h 788699"/>
                <a:gd name="connsiteX35" fmla="*/ 281190 w 462341"/>
                <a:gd name="connsiteY35" fmla="*/ 615708 h 788699"/>
                <a:gd name="connsiteX36" fmla="*/ 278471 w 462341"/>
                <a:gd name="connsiteY36" fmla="*/ 602109 h 788699"/>
                <a:gd name="connsiteX37" fmla="*/ 262153 w 462341"/>
                <a:gd name="connsiteY37" fmla="*/ 572193 h 788699"/>
                <a:gd name="connsiteX38" fmla="*/ 245835 w 462341"/>
                <a:gd name="connsiteY38" fmla="*/ 536838 h 788699"/>
                <a:gd name="connsiteX39" fmla="*/ 196881 w 462341"/>
                <a:gd name="connsiteY39" fmla="*/ 477005 h 788699"/>
                <a:gd name="connsiteX40" fmla="*/ 145207 w 462341"/>
                <a:gd name="connsiteY40" fmla="*/ 419892 h 788699"/>
                <a:gd name="connsiteX41" fmla="*/ 93534 w 462341"/>
                <a:gd name="connsiteY41" fmla="*/ 357340 h 788699"/>
                <a:gd name="connsiteX42" fmla="*/ 66337 w 462341"/>
                <a:gd name="connsiteY42" fmla="*/ 283910 h 788699"/>
                <a:gd name="connsiteX43" fmla="*/ 58178 w 462341"/>
                <a:gd name="connsiteY43" fmla="*/ 224077 h 788699"/>
                <a:gd name="connsiteX44" fmla="*/ 82655 w 462341"/>
                <a:gd name="connsiteY44" fmla="*/ 150647 h 788699"/>
                <a:gd name="connsiteX45" fmla="*/ 137048 w 462341"/>
                <a:gd name="connsiteY45" fmla="*/ 96253 h 788699"/>
                <a:gd name="connsiteX46" fmla="*/ 196881 w 462341"/>
                <a:gd name="connsiteY46" fmla="*/ 77216 h 788699"/>
                <a:gd name="connsiteX47" fmla="*/ 232236 w 462341"/>
                <a:gd name="connsiteY47" fmla="*/ 69057 h 788699"/>
                <a:gd name="connsiteX48" fmla="*/ 262153 w 462341"/>
                <a:gd name="connsiteY48" fmla="*/ 74496 h 788699"/>
                <a:gd name="connsiteX49" fmla="*/ 294789 w 462341"/>
                <a:gd name="connsiteY49" fmla="*/ 85375 h 788699"/>
                <a:gd name="connsiteX50" fmla="*/ 327424 w 462341"/>
                <a:gd name="connsiteY50" fmla="*/ 104412 h 788699"/>
                <a:gd name="connsiteX51" fmla="*/ 332864 w 462341"/>
                <a:gd name="connsiteY51" fmla="*/ 74496 h 788699"/>
                <a:gd name="connsiteX52" fmla="*/ 338303 w 462341"/>
                <a:gd name="connsiteY52" fmla="*/ 63618 h 788699"/>
                <a:gd name="connsiteX53" fmla="*/ 349182 w 462341"/>
                <a:gd name="connsiteY53" fmla="*/ 58178 h 788699"/>
                <a:gd name="connsiteX54" fmla="*/ 357341 w 462341"/>
                <a:gd name="connsiteY54" fmla="*/ 63618 h 788699"/>
                <a:gd name="connsiteX55" fmla="*/ 365500 w 462341"/>
                <a:gd name="connsiteY55" fmla="*/ 82655 h 788699"/>
                <a:gd name="connsiteX56" fmla="*/ 368219 w 462341"/>
                <a:gd name="connsiteY56" fmla="*/ 142488 h 788699"/>
                <a:gd name="connsiteX57" fmla="*/ 368219 w 462341"/>
                <a:gd name="connsiteY57" fmla="*/ 188722 h 788699"/>
                <a:gd name="connsiteX58" fmla="*/ 370939 w 462341"/>
                <a:gd name="connsiteY58" fmla="*/ 245834 h 788699"/>
                <a:gd name="connsiteX59" fmla="*/ 354621 w 462341"/>
                <a:gd name="connsiteY59" fmla="*/ 286629 h 788699"/>
                <a:gd name="connsiteX60" fmla="*/ 338303 w 462341"/>
                <a:gd name="connsiteY60" fmla="*/ 281190 h 788699"/>
                <a:gd name="connsiteX61" fmla="*/ 330144 w 462341"/>
                <a:gd name="connsiteY61" fmla="*/ 264872 h 788699"/>
                <a:gd name="connsiteX62" fmla="*/ 327424 w 462341"/>
                <a:gd name="connsiteY62" fmla="*/ 248554 h 788699"/>
                <a:gd name="connsiteX63" fmla="*/ 330144 w 462341"/>
                <a:gd name="connsiteY63" fmla="*/ 221357 h 788699"/>
                <a:gd name="connsiteX64" fmla="*/ 330144 w 462341"/>
                <a:gd name="connsiteY64" fmla="*/ 188722 h 788699"/>
                <a:gd name="connsiteX65" fmla="*/ 327424 w 462341"/>
                <a:gd name="connsiteY65" fmla="*/ 164245 h 788699"/>
                <a:gd name="connsiteX66" fmla="*/ 311107 w 462341"/>
                <a:gd name="connsiteY66" fmla="*/ 134329 h 788699"/>
                <a:gd name="connsiteX67" fmla="*/ 283910 w 462341"/>
                <a:gd name="connsiteY67" fmla="*/ 118011 h 788699"/>
                <a:gd name="connsiteX68" fmla="*/ 251274 w 462341"/>
                <a:gd name="connsiteY68" fmla="*/ 112571 h 788699"/>
                <a:gd name="connsiteX69" fmla="*/ 215918 w 462341"/>
                <a:gd name="connsiteY69" fmla="*/ 123450 h 788699"/>
                <a:gd name="connsiteX70" fmla="*/ 202320 w 462341"/>
                <a:gd name="connsiteY70" fmla="*/ 147927 h 788699"/>
                <a:gd name="connsiteX71" fmla="*/ 188722 w 462341"/>
                <a:gd name="connsiteY71" fmla="*/ 180563 h 788699"/>
                <a:gd name="connsiteX72" fmla="*/ 183283 w 462341"/>
                <a:gd name="connsiteY72" fmla="*/ 210479 h 788699"/>
                <a:gd name="connsiteX73" fmla="*/ 188722 w 462341"/>
                <a:gd name="connsiteY73" fmla="*/ 226797 h 788699"/>
                <a:gd name="connsiteX74" fmla="*/ 188722 w 462341"/>
                <a:gd name="connsiteY74" fmla="*/ 248554 h 788699"/>
                <a:gd name="connsiteX75" fmla="*/ 210479 w 462341"/>
                <a:gd name="connsiteY75" fmla="*/ 273031 h 788699"/>
                <a:gd name="connsiteX76" fmla="*/ 226797 w 462341"/>
                <a:gd name="connsiteY76" fmla="*/ 300228 h 788699"/>
                <a:gd name="connsiteX77" fmla="*/ 256713 w 462341"/>
                <a:gd name="connsiteY77" fmla="*/ 332864 h 788699"/>
                <a:gd name="connsiteX78" fmla="*/ 275751 w 462341"/>
                <a:gd name="connsiteY78" fmla="*/ 351901 h 788699"/>
                <a:gd name="connsiteX79" fmla="*/ 324705 w 462341"/>
                <a:gd name="connsiteY79" fmla="*/ 400855 h 788699"/>
                <a:gd name="connsiteX80" fmla="*/ 343742 w 462341"/>
                <a:gd name="connsiteY80" fmla="*/ 428051 h 788699"/>
                <a:gd name="connsiteX81" fmla="*/ 351901 w 462341"/>
                <a:gd name="connsiteY81" fmla="*/ 433491 h 788699"/>
                <a:gd name="connsiteX82" fmla="*/ 360060 w 462341"/>
                <a:gd name="connsiteY82" fmla="*/ 447089 h 788699"/>
                <a:gd name="connsiteX83" fmla="*/ 384537 w 462341"/>
                <a:gd name="connsiteY83" fmla="*/ 474286 h 788699"/>
                <a:gd name="connsiteX84" fmla="*/ 395416 w 462341"/>
                <a:gd name="connsiteY84" fmla="*/ 506921 h 788699"/>
                <a:gd name="connsiteX85" fmla="*/ 406295 w 462341"/>
                <a:gd name="connsiteY85" fmla="*/ 536838 h 788699"/>
                <a:gd name="connsiteX86" fmla="*/ 409014 w 462341"/>
                <a:gd name="connsiteY86" fmla="*/ 547716 h 788699"/>
                <a:gd name="connsiteX87" fmla="*/ 406295 w 462341"/>
                <a:gd name="connsiteY87" fmla="*/ 569473 h 788699"/>
                <a:gd name="connsiteX88" fmla="*/ 403575 w 462341"/>
                <a:gd name="connsiteY88" fmla="*/ 583072 h 788699"/>
                <a:gd name="connsiteX89" fmla="*/ 403575 w 462341"/>
                <a:gd name="connsiteY89" fmla="*/ 583072 h 7886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</a:cxnLst>
              <a:rect l="l" t="t" r="r" b="b"/>
              <a:pathLst>
                <a:path w="462341" h="788699">
                  <a:moveTo>
                    <a:pt x="403575" y="583072"/>
                  </a:moveTo>
                  <a:cubicBezTo>
                    <a:pt x="403575" y="588511"/>
                    <a:pt x="406295" y="591231"/>
                    <a:pt x="406295" y="596670"/>
                  </a:cubicBezTo>
                  <a:cubicBezTo>
                    <a:pt x="406295" y="602109"/>
                    <a:pt x="403575" y="604829"/>
                    <a:pt x="400855" y="610268"/>
                  </a:cubicBezTo>
                  <a:cubicBezTo>
                    <a:pt x="398136" y="615708"/>
                    <a:pt x="392696" y="621147"/>
                    <a:pt x="389977" y="626586"/>
                  </a:cubicBezTo>
                  <a:cubicBezTo>
                    <a:pt x="381818" y="645624"/>
                    <a:pt x="368219" y="661942"/>
                    <a:pt x="354621" y="675540"/>
                  </a:cubicBezTo>
                  <a:cubicBezTo>
                    <a:pt x="346462" y="683699"/>
                    <a:pt x="338303" y="686419"/>
                    <a:pt x="327424" y="691858"/>
                  </a:cubicBezTo>
                  <a:cubicBezTo>
                    <a:pt x="316546" y="700017"/>
                    <a:pt x="302948" y="708176"/>
                    <a:pt x="292069" y="713615"/>
                  </a:cubicBezTo>
                  <a:cubicBezTo>
                    <a:pt x="281190" y="719054"/>
                    <a:pt x="264872" y="724494"/>
                    <a:pt x="251274" y="724494"/>
                  </a:cubicBezTo>
                  <a:cubicBezTo>
                    <a:pt x="240395" y="724494"/>
                    <a:pt x="229517" y="721774"/>
                    <a:pt x="221358" y="721774"/>
                  </a:cubicBezTo>
                  <a:cubicBezTo>
                    <a:pt x="213199" y="721774"/>
                    <a:pt x="202320" y="721774"/>
                    <a:pt x="191442" y="721774"/>
                  </a:cubicBezTo>
                  <a:cubicBezTo>
                    <a:pt x="172404" y="721774"/>
                    <a:pt x="172404" y="721774"/>
                    <a:pt x="153366" y="713615"/>
                  </a:cubicBezTo>
                  <a:cubicBezTo>
                    <a:pt x="134329" y="708176"/>
                    <a:pt x="118011" y="691858"/>
                    <a:pt x="104412" y="675540"/>
                  </a:cubicBezTo>
                  <a:cubicBezTo>
                    <a:pt x="104412" y="678260"/>
                    <a:pt x="104412" y="680979"/>
                    <a:pt x="104412" y="689138"/>
                  </a:cubicBezTo>
                  <a:cubicBezTo>
                    <a:pt x="104412" y="694578"/>
                    <a:pt x="104412" y="702737"/>
                    <a:pt x="101693" y="710895"/>
                  </a:cubicBezTo>
                  <a:cubicBezTo>
                    <a:pt x="101693" y="721774"/>
                    <a:pt x="96253" y="732653"/>
                    <a:pt x="85375" y="732653"/>
                  </a:cubicBezTo>
                  <a:cubicBezTo>
                    <a:pt x="77216" y="732653"/>
                    <a:pt x="74496" y="729933"/>
                    <a:pt x="69057" y="727214"/>
                  </a:cubicBezTo>
                  <a:cubicBezTo>
                    <a:pt x="63618" y="724494"/>
                    <a:pt x="60898" y="716335"/>
                    <a:pt x="60898" y="710895"/>
                  </a:cubicBezTo>
                  <a:cubicBezTo>
                    <a:pt x="58178" y="702737"/>
                    <a:pt x="58178" y="697297"/>
                    <a:pt x="58178" y="691858"/>
                  </a:cubicBezTo>
                  <a:cubicBezTo>
                    <a:pt x="58178" y="683699"/>
                    <a:pt x="60898" y="678260"/>
                    <a:pt x="60898" y="664661"/>
                  </a:cubicBezTo>
                  <a:cubicBezTo>
                    <a:pt x="60898" y="656502"/>
                    <a:pt x="60898" y="632026"/>
                    <a:pt x="60898" y="607549"/>
                  </a:cubicBezTo>
                  <a:cubicBezTo>
                    <a:pt x="60898" y="574913"/>
                    <a:pt x="60898" y="542277"/>
                    <a:pt x="63618" y="528679"/>
                  </a:cubicBezTo>
                  <a:cubicBezTo>
                    <a:pt x="63618" y="520520"/>
                    <a:pt x="63618" y="509641"/>
                    <a:pt x="69057" y="504202"/>
                  </a:cubicBezTo>
                  <a:cubicBezTo>
                    <a:pt x="71777" y="501482"/>
                    <a:pt x="71777" y="498762"/>
                    <a:pt x="74496" y="493323"/>
                  </a:cubicBezTo>
                  <a:cubicBezTo>
                    <a:pt x="77216" y="490603"/>
                    <a:pt x="79936" y="487884"/>
                    <a:pt x="82655" y="487884"/>
                  </a:cubicBezTo>
                  <a:cubicBezTo>
                    <a:pt x="85375" y="487884"/>
                    <a:pt x="90814" y="490603"/>
                    <a:pt x="90814" y="493323"/>
                  </a:cubicBezTo>
                  <a:cubicBezTo>
                    <a:pt x="93534" y="498762"/>
                    <a:pt x="98973" y="506921"/>
                    <a:pt x="98973" y="512361"/>
                  </a:cubicBezTo>
                  <a:cubicBezTo>
                    <a:pt x="98973" y="520520"/>
                    <a:pt x="101693" y="536838"/>
                    <a:pt x="101693" y="555875"/>
                  </a:cubicBezTo>
                  <a:cubicBezTo>
                    <a:pt x="101693" y="569473"/>
                    <a:pt x="101693" y="583072"/>
                    <a:pt x="101693" y="596670"/>
                  </a:cubicBezTo>
                  <a:cubicBezTo>
                    <a:pt x="101693" y="607549"/>
                    <a:pt x="104412" y="618427"/>
                    <a:pt x="109852" y="626586"/>
                  </a:cubicBezTo>
                  <a:cubicBezTo>
                    <a:pt x="115291" y="637465"/>
                    <a:pt x="123450" y="642904"/>
                    <a:pt x="128889" y="651063"/>
                  </a:cubicBezTo>
                  <a:cubicBezTo>
                    <a:pt x="137048" y="661942"/>
                    <a:pt x="139768" y="667381"/>
                    <a:pt x="153366" y="670101"/>
                  </a:cubicBezTo>
                  <a:cubicBezTo>
                    <a:pt x="161525" y="670101"/>
                    <a:pt x="183283" y="678260"/>
                    <a:pt x="196881" y="678260"/>
                  </a:cubicBezTo>
                  <a:cubicBezTo>
                    <a:pt x="207759" y="678260"/>
                    <a:pt x="210479" y="672820"/>
                    <a:pt x="221358" y="667381"/>
                  </a:cubicBezTo>
                  <a:cubicBezTo>
                    <a:pt x="232236" y="661942"/>
                    <a:pt x="245835" y="664661"/>
                    <a:pt x="253994" y="659222"/>
                  </a:cubicBezTo>
                  <a:cubicBezTo>
                    <a:pt x="262153" y="653783"/>
                    <a:pt x="273031" y="645624"/>
                    <a:pt x="275751" y="637465"/>
                  </a:cubicBezTo>
                  <a:cubicBezTo>
                    <a:pt x="281190" y="629306"/>
                    <a:pt x="281190" y="621147"/>
                    <a:pt x="281190" y="615708"/>
                  </a:cubicBezTo>
                  <a:cubicBezTo>
                    <a:pt x="281190" y="610268"/>
                    <a:pt x="281190" y="607549"/>
                    <a:pt x="278471" y="602109"/>
                  </a:cubicBezTo>
                  <a:cubicBezTo>
                    <a:pt x="275751" y="591231"/>
                    <a:pt x="267592" y="583072"/>
                    <a:pt x="262153" y="572193"/>
                  </a:cubicBezTo>
                  <a:cubicBezTo>
                    <a:pt x="256713" y="561314"/>
                    <a:pt x="253994" y="547716"/>
                    <a:pt x="245835" y="536838"/>
                  </a:cubicBezTo>
                  <a:cubicBezTo>
                    <a:pt x="232236" y="515080"/>
                    <a:pt x="213199" y="498762"/>
                    <a:pt x="196881" y="477005"/>
                  </a:cubicBezTo>
                  <a:cubicBezTo>
                    <a:pt x="180563" y="457968"/>
                    <a:pt x="164245" y="438930"/>
                    <a:pt x="145207" y="419892"/>
                  </a:cubicBezTo>
                  <a:cubicBezTo>
                    <a:pt x="126170" y="400855"/>
                    <a:pt x="109852" y="379098"/>
                    <a:pt x="93534" y="357340"/>
                  </a:cubicBezTo>
                  <a:cubicBezTo>
                    <a:pt x="77216" y="335583"/>
                    <a:pt x="71777" y="308387"/>
                    <a:pt x="66337" y="283910"/>
                  </a:cubicBezTo>
                  <a:cubicBezTo>
                    <a:pt x="63618" y="267592"/>
                    <a:pt x="58178" y="245834"/>
                    <a:pt x="58178" y="224077"/>
                  </a:cubicBezTo>
                  <a:cubicBezTo>
                    <a:pt x="58178" y="194161"/>
                    <a:pt x="69057" y="175123"/>
                    <a:pt x="82655" y="150647"/>
                  </a:cubicBezTo>
                  <a:cubicBezTo>
                    <a:pt x="96253" y="128889"/>
                    <a:pt x="115291" y="109852"/>
                    <a:pt x="137048" y="96253"/>
                  </a:cubicBezTo>
                  <a:cubicBezTo>
                    <a:pt x="158806" y="82655"/>
                    <a:pt x="172404" y="79936"/>
                    <a:pt x="196881" y="77216"/>
                  </a:cubicBezTo>
                  <a:cubicBezTo>
                    <a:pt x="210479" y="77216"/>
                    <a:pt x="215918" y="69057"/>
                    <a:pt x="232236" y="69057"/>
                  </a:cubicBezTo>
                  <a:cubicBezTo>
                    <a:pt x="243115" y="69057"/>
                    <a:pt x="251274" y="71776"/>
                    <a:pt x="262153" y="74496"/>
                  </a:cubicBezTo>
                  <a:cubicBezTo>
                    <a:pt x="273031" y="77216"/>
                    <a:pt x="283910" y="82655"/>
                    <a:pt x="294789" y="85375"/>
                  </a:cubicBezTo>
                  <a:cubicBezTo>
                    <a:pt x="308387" y="90814"/>
                    <a:pt x="319265" y="96253"/>
                    <a:pt x="327424" y="104412"/>
                  </a:cubicBezTo>
                  <a:cubicBezTo>
                    <a:pt x="327424" y="90814"/>
                    <a:pt x="327424" y="79936"/>
                    <a:pt x="332864" y="74496"/>
                  </a:cubicBezTo>
                  <a:cubicBezTo>
                    <a:pt x="335583" y="71776"/>
                    <a:pt x="335583" y="69057"/>
                    <a:pt x="338303" y="63618"/>
                  </a:cubicBezTo>
                  <a:cubicBezTo>
                    <a:pt x="341023" y="60898"/>
                    <a:pt x="346462" y="58178"/>
                    <a:pt x="349182" y="58178"/>
                  </a:cubicBezTo>
                  <a:cubicBezTo>
                    <a:pt x="351901" y="58178"/>
                    <a:pt x="357341" y="60898"/>
                    <a:pt x="357341" y="63618"/>
                  </a:cubicBezTo>
                  <a:cubicBezTo>
                    <a:pt x="360060" y="69057"/>
                    <a:pt x="365500" y="77216"/>
                    <a:pt x="365500" y="82655"/>
                  </a:cubicBezTo>
                  <a:cubicBezTo>
                    <a:pt x="365500" y="90814"/>
                    <a:pt x="368219" y="123450"/>
                    <a:pt x="368219" y="142488"/>
                  </a:cubicBezTo>
                  <a:cubicBezTo>
                    <a:pt x="368219" y="158806"/>
                    <a:pt x="368219" y="177843"/>
                    <a:pt x="368219" y="188722"/>
                  </a:cubicBezTo>
                  <a:cubicBezTo>
                    <a:pt x="368219" y="213199"/>
                    <a:pt x="370939" y="224077"/>
                    <a:pt x="370939" y="245834"/>
                  </a:cubicBezTo>
                  <a:cubicBezTo>
                    <a:pt x="370939" y="256713"/>
                    <a:pt x="370939" y="286629"/>
                    <a:pt x="354621" y="286629"/>
                  </a:cubicBezTo>
                  <a:cubicBezTo>
                    <a:pt x="346462" y="286629"/>
                    <a:pt x="343742" y="283910"/>
                    <a:pt x="338303" y="281190"/>
                  </a:cubicBezTo>
                  <a:cubicBezTo>
                    <a:pt x="332864" y="278470"/>
                    <a:pt x="330144" y="270311"/>
                    <a:pt x="330144" y="264872"/>
                  </a:cubicBezTo>
                  <a:cubicBezTo>
                    <a:pt x="327424" y="256713"/>
                    <a:pt x="327424" y="251274"/>
                    <a:pt x="327424" y="248554"/>
                  </a:cubicBezTo>
                  <a:cubicBezTo>
                    <a:pt x="327424" y="240395"/>
                    <a:pt x="330144" y="234956"/>
                    <a:pt x="330144" y="221357"/>
                  </a:cubicBezTo>
                  <a:cubicBezTo>
                    <a:pt x="330144" y="213199"/>
                    <a:pt x="330144" y="202320"/>
                    <a:pt x="330144" y="188722"/>
                  </a:cubicBezTo>
                  <a:cubicBezTo>
                    <a:pt x="330144" y="180563"/>
                    <a:pt x="327424" y="172404"/>
                    <a:pt x="327424" y="164245"/>
                  </a:cubicBezTo>
                  <a:cubicBezTo>
                    <a:pt x="324705" y="153366"/>
                    <a:pt x="319265" y="142488"/>
                    <a:pt x="311107" y="134329"/>
                  </a:cubicBezTo>
                  <a:cubicBezTo>
                    <a:pt x="302948" y="126170"/>
                    <a:pt x="294789" y="120730"/>
                    <a:pt x="283910" y="118011"/>
                  </a:cubicBezTo>
                  <a:cubicBezTo>
                    <a:pt x="275751" y="115291"/>
                    <a:pt x="262153" y="112571"/>
                    <a:pt x="251274" y="112571"/>
                  </a:cubicBezTo>
                  <a:cubicBezTo>
                    <a:pt x="237676" y="112571"/>
                    <a:pt x="224077" y="115291"/>
                    <a:pt x="215918" y="123450"/>
                  </a:cubicBezTo>
                  <a:cubicBezTo>
                    <a:pt x="207759" y="128889"/>
                    <a:pt x="205040" y="139768"/>
                    <a:pt x="202320" y="147927"/>
                  </a:cubicBezTo>
                  <a:cubicBezTo>
                    <a:pt x="196881" y="158806"/>
                    <a:pt x="191442" y="166964"/>
                    <a:pt x="188722" y="180563"/>
                  </a:cubicBezTo>
                  <a:cubicBezTo>
                    <a:pt x="186002" y="191441"/>
                    <a:pt x="183283" y="199600"/>
                    <a:pt x="183283" y="210479"/>
                  </a:cubicBezTo>
                  <a:cubicBezTo>
                    <a:pt x="183283" y="215918"/>
                    <a:pt x="186002" y="221357"/>
                    <a:pt x="188722" y="226797"/>
                  </a:cubicBezTo>
                  <a:cubicBezTo>
                    <a:pt x="191442" y="234956"/>
                    <a:pt x="188722" y="243115"/>
                    <a:pt x="188722" y="248554"/>
                  </a:cubicBezTo>
                  <a:cubicBezTo>
                    <a:pt x="191442" y="259433"/>
                    <a:pt x="202320" y="264872"/>
                    <a:pt x="210479" y="273031"/>
                  </a:cubicBezTo>
                  <a:cubicBezTo>
                    <a:pt x="218638" y="281190"/>
                    <a:pt x="221358" y="292069"/>
                    <a:pt x="226797" y="300228"/>
                  </a:cubicBezTo>
                  <a:cubicBezTo>
                    <a:pt x="234956" y="311106"/>
                    <a:pt x="245835" y="321985"/>
                    <a:pt x="256713" y="332864"/>
                  </a:cubicBezTo>
                  <a:cubicBezTo>
                    <a:pt x="259433" y="338303"/>
                    <a:pt x="267592" y="343742"/>
                    <a:pt x="275751" y="351901"/>
                  </a:cubicBezTo>
                  <a:cubicBezTo>
                    <a:pt x="292069" y="368219"/>
                    <a:pt x="311107" y="384537"/>
                    <a:pt x="324705" y="400855"/>
                  </a:cubicBezTo>
                  <a:cubicBezTo>
                    <a:pt x="332864" y="409014"/>
                    <a:pt x="335583" y="419892"/>
                    <a:pt x="343742" y="428051"/>
                  </a:cubicBezTo>
                  <a:cubicBezTo>
                    <a:pt x="346462" y="430771"/>
                    <a:pt x="349182" y="430771"/>
                    <a:pt x="351901" y="433491"/>
                  </a:cubicBezTo>
                  <a:cubicBezTo>
                    <a:pt x="354621" y="436210"/>
                    <a:pt x="357341" y="441650"/>
                    <a:pt x="360060" y="447089"/>
                  </a:cubicBezTo>
                  <a:cubicBezTo>
                    <a:pt x="368219" y="455248"/>
                    <a:pt x="376378" y="463407"/>
                    <a:pt x="384537" y="474286"/>
                  </a:cubicBezTo>
                  <a:cubicBezTo>
                    <a:pt x="389977" y="482445"/>
                    <a:pt x="392696" y="496043"/>
                    <a:pt x="395416" y="506921"/>
                  </a:cubicBezTo>
                  <a:cubicBezTo>
                    <a:pt x="400855" y="517800"/>
                    <a:pt x="400855" y="528679"/>
                    <a:pt x="406295" y="536838"/>
                  </a:cubicBezTo>
                  <a:cubicBezTo>
                    <a:pt x="409014" y="539557"/>
                    <a:pt x="409014" y="544997"/>
                    <a:pt x="409014" y="547716"/>
                  </a:cubicBezTo>
                  <a:cubicBezTo>
                    <a:pt x="409014" y="555875"/>
                    <a:pt x="406295" y="561314"/>
                    <a:pt x="406295" y="569473"/>
                  </a:cubicBezTo>
                  <a:cubicBezTo>
                    <a:pt x="406295" y="574913"/>
                    <a:pt x="403575" y="577632"/>
                    <a:pt x="403575" y="583072"/>
                  </a:cubicBezTo>
                  <a:lnTo>
                    <a:pt x="403575" y="583072"/>
                  </a:ln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8" name="Freeform: Shape 37">
              <a:extLst>
                <a:ext uri="{FF2B5EF4-FFF2-40B4-BE49-F238E27FC236}">
                  <a16:creationId xmlns:a16="http://schemas.microsoft.com/office/drawing/2014/main" id="{FC35D844-DD99-4858-9C8F-7E64319ECEC1}"/>
                </a:ext>
              </a:extLst>
            </p:cNvPr>
            <p:cNvSpPr/>
            <p:nvPr/>
          </p:nvSpPr>
          <p:spPr>
            <a:xfrm>
              <a:off x="2456032" y="4192158"/>
              <a:ext cx="571128" cy="761503"/>
            </a:xfrm>
            <a:custGeom>
              <a:avLst/>
              <a:gdLst>
                <a:gd name="connsiteX0" fmla="*/ 512361 w 571128"/>
                <a:gd name="connsiteY0" fmla="*/ 79936 h 761503"/>
                <a:gd name="connsiteX1" fmla="*/ 539558 w 571128"/>
                <a:gd name="connsiteY1" fmla="*/ 96253 h 761503"/>
                <a:gd name="connsiteX2" fmla="*/ 534118 w 571128"/>
                <a:gd name="connsiteY2" fmla="*/ 112571 h 761503"/>
                <a:gd name="connsiteX3" fmla="*/ 523240 w 571128"/>
                <a:gd name="connsiteY3" fmla="*/ 120730 h 761503"/>
                <a:gd name="connsiteX4" fmla="*/ 506922 w 571128"/>
                <a:gd name="connsiteY4" fmla="*/ 123450 h 761503"/>
                <a:gd name="connsiteX5" fmla="*/ 477006 w 571128"/>
                <a:gd name="connsiteY5" fmla="*/ 123450 h 761503"/>
                <a:gd name="connsiteX6" fmla="*/ 479725 w 571128"/>
                <a:gd name="connsiteY6" fmla="*/ 145207 h 761503"/>
                <a:gd name="connsiteX7" fmla="*/ 477006 w 571128"/>
                <a:gd name="connsiteY7" fmla="*/ 180563 h 761503"/>
                <a:gd name="connsiteX8" fmla="*/ 482445 w 571128"/>
                <a:gd name="connsiteY8" fmla="*/ 232236 h 761503"/>
                <a:gd name="connsiteX9" fmla="*/ 485165 w 571128"/>
                <a:gd name="connsiteY9" fmla="*/ 283910 h 761503"/>
                <a:gd name="connsiteX10" fmla="*/ 485165 w 571128"/>
                <a:gd name="connsiteY10" fmla="*/ 327424 h 761503"/>
                <a:gd name="connsiteX11" fmla="*/ 487884 w 571128"/>
                <a:gd name="connsiteY11" fmla="*/ 373658 h 761503"/>
                <a:gd name="connsiteX12" fmla="*/ 485165 w 571128"/>
                <a:gd name="connsiteY12" fmla="*/ 419892 h 761503"/>
                <a:gd name="connsiteX13" fmla="*/ 485165 w 571128"/>
                <a:gd name="connsiteY13" fmla="*/ 463407 h 761503"/>
                <a:gd name="connsiteX14" fmla="*/ 482445 w 571128"/>
                <a:gd name="connsiteY14" fmla="*/ 515080 h 761503"/>
                <a:gd name="connsiteX15" fmla="*/ 482445 w 571128"/>
                <a:gd name="connsiteY15" fmla="*/ 558595 h 761503"/>
                <a:gd name="connsiteX16" fmla="*/ 479725 w 571128"/>
                <a:gd name="connsiteY16" fmla="*/ 602109 h 761503"/>
                <a:gd name="connsiteX17" fmla="*/ 485165 w 571128"/>
                <a:gd name="connsiteY17" fmla="*/ 648343 h 761503"/>
                <a:gd name="connsiteX18" fmla="*/ 474286 w 571128"/>
                <a:gd name="connsiteY18" fmla="*/ 675540 h 761503"/>
                <a:gd name="connsiteX19" fmla="*/ 428052 w 571128"/>
                <a:gd name="connsiteY19" fmla="*/ 691858 h 761503"/>
                <a:gd name="connsiteX20" fmla="*/ 387257 w 571128"/>
                <a:gd name="connsiteY20" fmla="*/ 683699 h 761503"/>
                <a:gd name="connsiteX21" fmla="*/ 351901 w 571128"/>
                <a:gd name="connsiteY21" fmla="*/ 664661 h 761503"/>
                <a:gd name="connsiteX22" fmla="*/ 305667 w 571128"/>
                <a:gd name="connsiteY22" fmla="*/ 596670 h 761503"/>
                <a:gd name="connsiteX23" fmla="*/ 270312 w 571128"/>
                <a:gd name="connsiteY23" fmla="*/ 509641 h 761503"/>
                <a:gd name="connsiteX24" fmla="*/ 251274 w 571128"/>
                <a:gd name="connsiteY24" fmla="*/ 460687 h 761503"/>
                <a:gd name="connsiteX25" fmla="*/ 224077 w 571128"/>
                <a:gd name="connsiteY25" fmla="*/ 381817 h 761503"/>
                <a:gd name="connsiteX26" fmla="*/ 207759 w 571128"/>
                <a:gd name="connsiteY26" fmla="*/ 330144 h 761503"/>
                <a:gd name="connsiteX27" fmla="*/ 191442 w 571128"/>
                <a:gd name="connsiteY27" fmla="*/ 286629 h 761503"/>
                <a:gd name="connsiteX28" fmla="*/ 183283 w 571128"/>
                <a:gd name="connsiteY28" fmla="*/ 278470 h 761503"/>
                <a:gd name="connsiteX29" fmla="*/ 180563 w 571128"/>
                <a:gd name="connsiteY29" fmla="*/ 292069 h 761503"/>
                <a:gd name="connsiteX30" fmla="*/ 180563 w 571128"/>
                <a:gd name="connsiteY30" fmla="*/ 305667 h 761503"/>
                <a:gd name="connsiteX31" fmla="*/ 183283 w 571128"/>
                <a:gd name="connsiteY31" fmla="*/ 354621 h 761503"/>
                <a:gd name="connsiteX32" fmla="*/ 188722 w 571128"/>
                <a:gd name="connsiteY32" fmla="*/ 449809 h 761503"/>
                <a:gd name="connsiteX33" fmla="*/ 188722 w 571128"/>
                <a:gd name="connsiteY33" fmla="*/ 479725 h 761503"/>
                <a:gd name="connsiteX34" fmla="*/ 188722 w 571128"/>
                <a:gd name="connsiteY34" fmla="*/ 542277 h 761503"/>
                <a:gd name="connsiteX35" fmla="*/ 186002 w 571128"/>
                <a:gd name="connsiteY35" fmla="*/ 615708 h 761503"/>
                <a:gd name="connsiteX36" fmla="*/ 186002 w 571128"/>
                <a:gd name="connsiteY36" fmla="*/ 637465 h 761503"/>
                <a:gd name="connsiteX37" fmla="*/ 183283 w 571128"/>
                <a:gd name="connsiteY37" fmla="*/ 664661 h 761503"/>
                <a:gd name="connsiteX38" fmla="*/ 226797 w 571128"/>
                <a:gd name="connsiteY38" fmla="*/ 664661 h 761503"/>
                <a:gd name="connsiteX39" fmla="*/ 253994 w 571128"/>
                <a:gd name="connsiteY39" fmla="*/ 680979 h 761503"/>
                <a:gd name="connsiteX40" fmla="*/ 248554 w 571128"/>
                <a:gd name="connsiteY40" fmla="*/ 697297 h 761503"/>
                <a:gd name="connsiteX41" fmla="*/ 234956 w 571128"/>
                <a:gd name="connsiteY41" fmla="*/ 705456 h 761503"/>
                <a:gd name="connsiteX42" fmla="*/ 218638 w 571128"/>
                <a:gd name="connsiteY42" fmla="*/ 708176 h 761503"/>
                <a:gd name="connsiteX43" fmla="*/ 183283 w 571128"/>
                <a:gd name="connsiteY43" fmla="*/ 708176 h 761503"/>
                <a:gd name="connsiteX44" fmla="*/ 150647 w 571128"/>
                <a:gd name="connsiteY44" fmla="*/ 708176 h 761503"/>
                <a:gd name="connsiteX45" fmla="*/ 107132 w 571128"/>
                <a:gd name="connsiteY45" fmla="*/ 708176 h 761503"/>
                <a:gd name="connsiteX46" fmla="*/ 88094 w 571128"/>
                <a:gd name="connsiteY46" fmla="*/ 708176 h 761503"/>
                <a:gd name="connsiteX47" fmla="*/ 69057 w 571128"/>
                <a:gd name="connsiteY47" fmla="*/ 702737 h 761503"/>
                <a:gd name="connsiteX48" fmla="*/ 58178 w 571128"/>
                <a:gd name="connsiteY48" fmla="*/ 686419 h 761503"/>
                <a:gd name="connsiteX49" fmla="*/ 60898 w 571128"/>
                <a:gd name="connsiteY49" fmla="*/ 678260 h 761503"/>
                <a:gd name="connsiteX50" fmla="*/ 77216 w 571128"/>
                <a:gd name="connsiteY50" fmla="*/ 670101 h 761503"/>
                <a:gd name="connsiteX51" fmla="*/ 120730 w 571128"/>
                <a:gd name="connsiteY51" fmla="*/ 664661 h 761503"/>
                <a:gd name="connsiteX52" fmla="*/ 131609 w 571128"/>
                <a:gd name="connsiteY52" fmla="*/ 664661 h 761503"/>
                <a:gd name="connsiteX53" fmla="*/ 134329 w 571128"/>
                <a:gd name="connsiteY53" fmla="*/ 539557 h 761503"/>
                <a:gd name="connsiteX54" fmla="*/ 134329 w 571128"/>
                <a:gd name="connsiteY54" fmla="*/ 504202 h 761503"/>
                <a:gd name="connsiteX55" fmla="*/ 131609 w 571128"/>
                <a:gd name="connsiteY55" fmla="*/ 376378 h 761503"/>
                <a:gd name="connsiteX56" fmla="*/ 131609 w 571128"/>
                <a:gd name="connsiteY56" fmla="*/ 302947 h 761503"/>
                <a:gd name="connsiteX57" fmla="*/ 134329 w 571128"/>
                <a:gd name="connsiteY57" fmla="*/ 221357 h 761503"/>
                <a:gd name="connsiteX58" fmla="*/ 137048 w 571128"/>
                <a:gd name="connsiteY58" fmla="*/ 123450 h 761503"/>
                <a:gd name="connsiteX59" fmla="*/ 107132 w 571128"/>
                <a:gd name="connsiteY59" fmla="*/ 123450 h 761503"/>
                <a:gd name="connsiteX60" fmla="*/ 88094 w 571128"/>
                <a:gd name="connsiteY60" fmla="*/ 123450 h 761503"/>
                <a:gd name="connsiteX61" fmla="*/ 69057 w 571128"/>
                <a:gd name="connsiteY61" fmla="*/ 118011 h 761503"/>
                <a:gd name="connsiteX62" fmla="*/ 58178 w 571128"/>
                <a:gd name="connsiteY62" fmla="*/ 101693 h 761503"/>
                <a:gd name="connsiteX63" fmla="*/ 60898 w 571128"/>
                <a:gd name="connsiteY63" fmla="*/ 93534 h 761503"/>
                <a:gd name="connsiteX64" fmla="*/ 77216 w 571128"/>
                <a:gd name="connsiteY64" fmla="*/ 85375 h 761503"/>
                <a:gd name="connsiteX65" fmla="*/ 131609 w 571128"/>
                <a:gd name="connsiteY65" fmla="*/ 79936 h 761503"/>
                <a:gd name="connsiteX66" fmla="*/ 161525 w 571128"/>
                <a:gd name="connsiteY66" fmla="*/ 79936 h 761503"/>
                <a:gd name="connsiteX67" fmla="*/ 177843 w 571128"/>
                <a:gd name="connsiteY67" fmla="*/ 66337 h 761503"/>
                <a:gd name="connsiteX68" fmla="*/ 202320 w 571128"/>
                <a:gd name="connsiteY68" fmla="*/ 58178 h 761503"/>
                <a:gd name="connsiteX69" fmla="*/ 234956 w 571128"/>
                <a:gd name="connsiteY69" fmla="*/ 77216 h 761503"/>
                <a:gd name="connsiteX70" fmla="*/ 251274 w 571128"/>
                <a:gd name="connsiteY70" fmla="*/ 107132 h 761503"/>
                <a:gd name="connsiteX71" fmla="*/ 267592 w 571128"/>
                <a:gd name="connsiteY71" fmla="*/ 147927 h 761503"/>
                <a:gd name="connsiteX72" fmla="*/ 281190 w 571128"/>
                <a:gd name="connsiteY72" fmla="*/ 183282 h 761503"/>
                <a:gd name="connsiteX73" fmla="*/ 297508 w 571128"/>
                <a:gd name="connsiteY73" fmla="*/ 224077 h 761503"/>
                <a:gd name="connsiteX74" fmla="*/ 308387 w 571128"/>
                <a:gd name="connsiteY74" fmla="*/ 264872 h 761503"/>
                <a:gd name="connsiteX75" fmla="*/ 319265 w 571128"/>
                <a:gd name="connsiteY75" fmla="*/ 300228 h 761503"/>
                <a:gd name="connsiteX76" fmla="*/ 351901 w 571128"/>
                <a:gd name="connsiteY76" fmla="*/ 379098 h 761503"/>
                <a:gd name="connsiteX77" fmla="*/ 365500 w 571128"/>
                <a:gd name="connsiteY77" fmla="*/ 417173 h 761503"/>
                <a:gd name="connsiteX78" fmla="*/ 379098 w 571128"/>
                <a:gd name="connsiteY78" fmla="*/ 457968 h 761503"/>
                <a:gd name="connsiteX79" fmla="*/ 395416 w 571128"/>
                <a:gd name="connsiteY79" fmla="*/ 496043 h 761503"/>
                <a:gd name="connsiteX80" fmla="*/ 406295 w 571128"/>
                <a:gd name="connsiteY80" fmla="*/ 512361 h 761503"/>
                <a:gd name="connsiteX81" fmla="*/ 411734 w 571128"/>
                <a:gd name="connsiteY81" fmla="*/ 531398 h 761503"/>
                <a:gd name="connsiteX82" fmla="*/ 419893 w 571128"/>
                <a:gd name="connsiteY82" fmla="*/ 558595 h 761503"/>
                <a:gd name="connsiteX83" fmla="*/ 425332 w 571128"/>
                <a:gd name="connsiteY83" fmla="*/ 564034 h 761503"/>
                <a:gd name="connsiteX84" fmla="*/ 430771 w 571128"/>
                <a:gd name="connsiteY84" fmla="*/ 558595 h 761503"/>
                <a:gd name="connsiteX85" fmla="*/ 430771 w 571128"/>
                <a:gd name="connsiteY85" fmla="*/ 550436 h 761503"/>
                <a:gd name="connsiteX86" fmla="*/ 430771 w 571128"/>
                <a:gd name="connsiteY86" fmla="*/ 501482 h 761503"/>
                <a:gd name="connsiteX87" fmla="*/ 430771 w 571128"/>
                <a:gd name="connsiteY87" fmla="*/ 403575 h 761503"/>
                <a:gd name="connsiteX88" fmla="*/ 425332 w 571128"/>
                <a:gd name="connsiteY88" fmla="*/ 313826 h 761503"/>
                <a:gd name="connsiteX89" fmla="*/ 425332 w 571128"/>
                <a:gd name="connsiteY89" fmla="*/ 248554 h 761503"/>
                <a:gd name="connsiteX90" fmla="*/ 425332 w 571128"/>
                <a:gd name="connsiteY90" fmla="*/ 210479 h 761503"/>
                <a:gd name="connsiteX91" fmla="*/ 422613 w 571128"/>
                <a:gd name="connsiteY91" fmla="*/ 153366 h 761503"/>
                <a:gd name="connsiteX92" fmla="*/ 425332 w 571128"/>
                <a:gd name="connsiteY92" fmla="*/ 123450 h 761503"/>
                <a:gd name="connsiteX93" fmla="*/ 398136 w 571128"/>
                <a:gd name="connsiteY93" fmla="*/ 123450 h 761503"/>
                <a:gd name="connsiteX94" fmla="*/ 379098 w 571128"/>
                <a:gd name="connsiteY94" fmla="*/ 123450 h 761503"/>
                <a:gd name="connsiteX95" fmla="*/ 360060 w 571128"/>
                <a:gd name="connsiteY95" fmla="*/ 118011 h 761503"/>
                <a:gd name="connsiteX96" fmla="*/ 349182 w 571128"/>
                <a:gd name="connsiteY96" fmla="*/ 101693 h 761503"/>
                <a:gd name="connsiteX97" fmla="*/ 351901 w 571128"/>
                <a:gd name="connsiteY97" fmla="*/ 93534 h 761503"/>
                <a:gd name="connsiteX98" fmla="*/ 368219 w 571128"/>
                <a:gd name="connsiteY98" fmla="*/ 85375 h 761503"/>
                <a:gd name="connsiteX99" fmla="*/ 422613 w 571128"/>
                <a:gd name="connsiteY99" fmla="*/ 79936 h 761503"/>
                <a:gd name="connsiteX100" fmla="*/ 444370 w 571128"/>
                <a:gd name="connsiteY100" fmla="*/ 79936 h 761503"/>
                <a:gd name="connsiteX101" fmla="*/ 463407 w 571128"/>
                <a:gd name="connsiteY101" fmla="*/ 71776 h 761503"/>
                <a:gd name="connsiteX102" fmla="*/ 477006 w 571128"/>
                <a:gd name="connsiteY102" fmla="*/ 79936 h 761503"/>
                <a:gd name="connsiteX103" fmla="*/ 512361 w 571128"/>
                <a:gd name="connsiteY103" fmla="*/ 79936 h 761503"/>
                <a:gd name="connsiteX104" fmla="*/ 512361 w 571128"/>
                <a:gd name="connsiteY104" fmla="*/ 79936 h 761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</a:cxnLst>
              <a:rect l="l" t="t" r="r" b="b"/>
              <a:pathLst>
                <a:path w="571128" h="761503">
                  <a:moveTo>
                    <a:pt x="512361" y="79936"/>
                  </a:moveTo>
                  <a:cubicBezTo>
                    <a:pt x="520520" y="79936"/>
                    <a:pt x="539558" y="79936"/>
                    <a:pt x="539558" y="96253"/>
                  </a:cubicBezTo>
                  <a:cubicBezTo>
                    <a:pt x="539558" y="104412"/>
                    <a:pt x="539558" y="107132"/>
                    <a:pt x="534118" y="112571"/>
                  </a:cubicBezTo>
                  <a:cubicBezTo>
                    <a:pt x="531399" y="118011"/>
                    <a:pt x="525960" y="120730"/>
                    <a:pt x="523240" y="120730"/>
                  </a:cubicBezTo>
                  <a:cubicBezTo>
                    <a:pt x="515081" y="123450"/>
                    <a:pt x="512361" y="123450"/>
                    <a:pt x="506922" y="123450"/>
                  </a:cubicBezTo>
                  <a:cubicBezTo>
                    <a:pt x="504202" y="123450"/>
                    <a:pt x="490604" y="123450"/>
                    <a:pt x="477006" y="123450"/>
                  </a:cubicBezTo>
                  <a:cubicBezTo>
                    <a:pt x="477006" y="131609"/>
                    <a:pt x="479725" y="137048"/>
                    <a:pt x="479725" y="145207"/>
                  </a:cubicBezTo>
                  <a:cubicBezTo>
                    <a:pt x="479725" y="156086"/>
                    <a:pt x="477006" y="166964"/>
                    <a:pt x="477006" y="180563"/>
                  </a:cubicBezTo>
                  <a:cubicBezTo>
                    <a:pt x="477006" y="196881"/>
                    <a:pt x="479725" y="215918"/>
                    <a:pt x="482445" y="232236"/>
                  </a:cubicBezTo>
                  <a:cubicBezTo>
                    <a:pt x="485165" y="248554"/>
                    <a:pt x="485165" y="267592"/>
                    <a:pt x="485165" y="283910"/>
                  </a:cubicBezTo>
                  <a:cubicBezTo>
                    <a:pt x="485165" y="297508"/>
                    <a:pt x="485165" y="313826"/>
                    <a:pt x="485165" y="327424"/>
                  </a:cubicBezTo>
                  <a:cubicBezTo>
                    <a:pt x="485165" y="343742"/>
                    <a:pt x="487884" y="357340"/>
                    <a:pt x="487884" y="373658"/>
                  </a:cubicBezTo>
                  <a:cubicBezTo>
                    <a:pt x="487884" y="389976"/>
                    <a:pt x="485165" y="403575"/>
                    <a:pt x="485165" y="419892"/>
                  </a:cubicBezTo>
                  <a:cubicBezTo>
                    <a:pt x="485165" y="436210"/>
                    <a:pt x="485165" y="449809"/>
                    <a:pt x="485165" y="463407"/>
                  </a:cubicBezTo>
                  <a:cubicBezTo>
                    <a:pt x="485165" y="479725"/>
                    <a:pt x="485165" y="498762"/>
                    <a:pt x="482445" y="515080"/>
                  </a:cubicBezTo>
                  <a:cubicBezTo>
                    <a:pt x="482445" y="528679"/>
                    <a:pt x="482445" y="542277"/>
                    <a:pt x="482445" y="558595"/>
                  </a:cubicBezTo>
                  <a:cubicBezTo>
                    <a:pt x="482445" y="572193"/>
                    <a:pt x="479725" y="588511"/>
                    <a:pt x="479725" y="602109"/>
                  </a:cubicBezTo>
                  <a:cubicBezTo>
                    <a:pt x="479725" y="615708"/>
                    <a:pt x="485165" y="632026"/>
                    <a:pt x="485165" y="648343"/>
                  </a:cubicBezTo>
                  <a:cubicBezTo>
                    <a:pt x="485165" y="659222"/>
                    <a:pt x="482445" y="670101"/>
                    <a:pt x="474286" y="675540"/>
                  </a:cubicBezTo>
                  <a:cubicBezTo>
                    <a:pt x="460688" y="686419"/>
                    <a:pt x="444370" y="691858"/>
                    <a:pt x="428052" y="691858"/>
                  </a:cubicBezTo>
                  <a:cubicBezTo>
                    <a:pt x="414454" y="691858"/>
                    <a:pt x="400855" y="689138"/>
                    <a:pt x="387257" y="683699"/>
                  </a:cubicBezTo>
                  <a:cubicBezTo>
                    <a:pt x="373659" y="678260"/>
                    <a:pt x="360060" y="672820"/>
                    <a:pt x="351901" y="664661"/>
                  </a:cubicBezTo>
                  <a:cubicBezTo>
                    <a:pt x="330144" y="645624"/>
                    <a:pt x="316546" y="621147"/>
                    <a:pt x="305667" y="596670"/>
                  </a:cubicBezTo>
                  <a:cubicBezTo>
                    <a:pt x="292069" y="569473"/>
                    <a:pt x="281190" y="539557"/>
                    <a:pt x="270312" y="509641"/>
                  </a:cubicBezTo>
                  <a:cubicBezTo>
                    <a:pt x="264872" y="493323"/>
                    <a:pt x="256713" y="477005"/>
                    <a:pt x="251274" y="460687"/>
                  </a:cubicBezTo>
                  <a:cubicBezTo>
                    <a:pt x="240395" y="433491"/>
                    <a:pt x="232236" y="409014"/>
                    <a:pt x="224077" y="381817"/>
                  </a:cubicBezTo>
                  <a:cubicBezTo>
                    <a:pt x="218638" y="365499"/>
                    <a:pt x="213199" y="346462"/>
                    <a:pt x="207759" y="330144"/>
                  </a:cubicBezTo>
                  <a:cubicBezTo>
                    <a:pt x="202320" y="316545"/>
                    <a:pt x="196881" y="300228"/>
                    <a:pt x="191442" y="286629"/>
                  </a:cubicBezTo>
                  <a:cubicBezTo>
                    <a:pt x="188722" y="281190"/>
                    <a:pt x="186002" y="278470"/>
                    <a:pt x="183283" y="278470"/>
                  </a:cubicBezTo>
                  <a:cubicBezTo>
                    <a:pt x="180563" y="278470"/>
                    <a:pt x="180563" y="286629"/>
                    <a:pt x="180563" y="292069"/>
                  </a:cubicBezTo>
                  <a:cubicBezTo>
                    <a:pt x="180563" y="297508"/>
                    <a:pt x="180563" y="302947"/>
                    <a:pt x="180563" y="305667"/>
                  </a:cubicBezTo>
                  <a:cubicBezTo>
                    <a:pt x="180563" y="321985"/>
                    <a:pt x="183283" y="338303"/>
                    <a:pt x="183283" y="354621"/>
                  </a:cubicBezTo>
                  <a:cubicBezTo>
                    <a:pt x="183283" y="387257"/>
                    <a:pt x="186002" y="417173"/>
                    <a:pt x="188722" y="449809"/>
                  </a:cubicBezTo>
                  <a:cubicBezTo>
                    <a:pt x="188722" y="460687"/>
                    <a:pt x="188722" y="468846"/>
                    <a:pt x="188722" y="479725"/>
                  </a:cubicBezTo>
                  <a:cubicBezTo>
                    <a:pt x="188722" y="501482"/>
                    <a:pt x="188722" y="523239"/>
                    <a:pt x="188722" y="542277"/>
                  </a:cubicBezTo>
                  <a:cubicBezTo>
                    <a:pt x="188722" y="566754"/>
                    <a:pt x="186002" y="591231"/>
                    <a:pt x="186002" y="615708"/>
                  </a:cubicBezTo>
                  <a:cubicBezTo>
                    <a:pt x="186002" y="623867"/>
                    <a:pt x="186002" y="632026"/>
                    <a:pt x="186002" y="637465"/>
                  </a:cubicBezTo>
                  <a:cubicBezTo>
                    <a:pt x="186002" y="645624"/>
                    <a:pt x="183283" y="656502"/>
                    <a:pt x="183283" y="664661"/>
                  </a:cubicBezTo>
                  <a:cubicBezTo>
                    <a:pt x="202320" y="664661"/>
                    <a:pt x="218638" y="664661"/>
                    <a:pt x="226797" y="664661"/>
                  </a:cubicBezTo>
                  <a:cubicBezTo>
                    <a:pt x="234956" y="664661"/>
                    <a:pt x="253994" y="664661"/>
                    <a:pt x="253994" y="680979"/>
                  </a:cubicBezTo>
                  <a:cubicBezTo>
                    <a:pt x="253994" y="689138"/>
                    <a:pt x="253994" y="691858"/>
                    <a:pt x="248554" y="697297"/>
                  </a:cubicBezTo>
                  <a:cubicBezTo>
                    <a:pt x="245835" y="702737"/>
                    <a:pt x="240395" y="705456"/>
                    <a:pt x="234956" y="705456"/>
                  </a:cubicBezTo>
                  <a:cubicBezTo>
                    <a:pt x="226797" y="708176"/>
                    <a:pt x="224077" y="708176"/>
                    <a:pt x="218638" y="708176"/>
                  </a:cubicBezTo>
                  <a:cubicBezTo>
                    <a:pt x="215918" y="708176"/>
                    <a:pt x="199600" y="708176"/>
                    <a:pt x="183283" y="708176"/>
                  </a:cubicBezTo>
                  <a:cubicBezTo>
                    <a:pt x="166965" y="708176"/>
                    <a:pt x="153366" y="708176"/>
                    <a:pt x="150647" y="708176"/>
                  </a:cubicBezTo>
                  <a:cubicBezTo>
                    <a:pt x="139768" y="708176"/>
                    <a:pt x="120730" y="708176"/>
                    <a:pt x="107132" y="708176"/>
                  </a:cubicBezTo>
                  <a:cubicBezTo>
                    <a:pt x="101693" y="708176"/>
                    <a:pt x="96253" y="708176"/>
                    <a:pt x="88094" y="708176"/>
                  </a:cubicBezTo>
                  <a:cubicBezTo>
                    <a:pt x="82655" y="708176"/>
                    <a:pt x="74496" y="708176"/>
                    <a:pt x="69057" y="702737"/>
                  </a:cubicBezTo>
                  <a:cubicBezTo>
                    <a:pt x="63618" y="700017"/>
                    <a:pt x="58178" y="691858"/>
                    <a:pt x="58178" y="686419"/>
                  </a:cubicBezTo>
                  <a:cubicBezTo>
                    <a:pt x="58178" y="683699"/>
                    <a:pt x="58178" y="680979"/>
                    <a:pt x="60898" y="678260"/>
                  </a:cubicBezTo>
                  <a:cubicBezTo>
                    <a:pt x="63618" y="675540"/>
                    <a:pt x="71777" y="672820"/>
                    <a:pt x="77216" y="670101"/>
                  </a:cubicBezTo>
                  <a:cubicBezTo>
                    <a:pt x="90814" y="667381"/>
                    <a:pt x="115291" y="664661"/>
                    <a:pt x="120730" y="664661"/>
                  </a:cubicBezTo>
                  <a:cubicBezTo>
                    <a:pt x="123450" y="664661"/>
                    <a:pt x="126170" y="664661"/>
                    <a:pt x="131609" y="664661"/>
                  </a:cubicBezTo>
                  <a:cubicBezTo>
                    <a:pt x="131609" y="623867"/>
                    <a:pt x="134329" y="583072"/>
                    <a:pt x="134329" y="539557"/>
                  </a:cubicBezTo>
                  <a:cubicBezTo>
                    <a:pt x="134329" y="528679"/>
                    <a:pt x="134329" y="515080"/>
                    <a:pt x="134329" y="504202"/>
                  </a:cubicBezTo>
                  <a:cubicBezTo>
                    <a:pt x="131609" y="460687"/>
                    <a:pt x="131609" y="417173"/>
                    <a:pt x="131609" y="376378"/>
                  </a:cubicBezTo>
                  <a:cubicBezTo>
                    <a:pt x="131609" y="351901"/>
                    <a:pt x="131609" y="327424"/>
                    <a:pt x="131609" y="302947"/>
                  </a:cubicBezTo>
                  <a:cubicBezTo>
                    <a:pt x="131609" y="275751"/>
                    <a:pt x="131609" y="248554"/>
                    <a:pt x="134329" y="221357"/>
                  </a:cubicBezTo>
                  <a:cubicBezTo>
                    <a:pt x="134329" y="188722"/>
                    <a:pt x="137048" y="156086"/>
                    <a:pt x="137048" y="123450"/>
                  </a:cubicBezTo>
                  <a:cubicBezTo>
                    <a:pt x="126170" y="123450"/>
                    <a:pt x="115291" y="123450"/>
                    <a:pt x="107132" y="123450"/>
                  </a:cubicBezTo>
                  <a:cubicBezTo>
                    <a:pt x="101693" y="123450"/>
                    <a:pt x="96253" y="123450"/>
                    <a:pt x="88094" y="123450"/>
                  </a:cubicBezTo>
                  <a:cubicBezTo>
                    <a:pt x="82655" y="123450"/>
                    <a:pt x="74496" y="120730"/>
                    <a:pt x="69057" y="118011"/>
                  </a:cubicBezTo>
                  <a:cubicBezTo>
                    <a:pt x="63618" y="115291"/>
                    <a:pt x="58178" y="107132"/>
                    <a:pt x="58178" y="101693"/>
                  </a:cubicBezTo>
                  <a:cubicBezTo>
                    <a:pt x="58178" y="98973"/>
                    <a:pt x="58178" y="96253"/>
                    <a:pt x="60898" y="93534"/>
                  </a:cubicBezTo>
                  <a:cubicBezTo>
                    <a:pt x="63618" y="90814"/>
                    <a:pt x="71777" y="88095"/>
                    <a:pt x="77216" y="85375"/>
                  </a:cubicBezTo>
                  <a:cubicBezTo>
                    <a:pt x="90814" y="82655"/>
                    <a:pt x="126170" y="79936"/>
                    <a:pt x="131609" y="79936"/>
                  </a:cubicBezTo>
                  <a:cubicBezTo>
                    <a:pt x="137048" y="79936"/>
                    <a:pt x="147927" y="79936"/>
                    <a:pt x="161525" y="79936"/>
                  </a:cubicBezTo>
                  <a:cubicBezTo>
                    <a:pt x="166965" y="74496"/>
                    <a:pt x="172404" y="71776"/>
                    <a:pt x="177843" y="66337"/>
                  </a:cubicBezTo>
                  <a:cubicBezTo>
                    <a:pt x="186002" y="60898"/>
                    <a:pt x="194161" y="58178"/>
                    <a:pt x="202320" y="58178"/>
                  </a:cubicBezTo>
                  <a:cubicBezTo>
                    <a:pt x="215918" y="58178"/>
                    <a:pt x="226797" y="63618"/>
                    <a:pt x="234956" y="77216"/>
                  </a:cubicBezTo>
                  <a:cubicBezTo>
                    <a:pt x="240395" y="88095"/>
                    <a:pt x="248554" y="96253"/>
                    <a:pt x="251274" y="107132"/>
                  </a:cubicBezTo>
                  <a:cubicBezTo>
                    <a:pt x="256713" y="120730"/>
                    <a:pt x="259433" y="134329"/>
                    <a:pt x="267592" y="147927"/>
                  </a:cubicBezTo>
                  <a:cubicBezTo>
                    <a:pt x="273031" y="158806"/>
                    <a:pt x="275751" y="172404"/>
                    <a:pt x="281190" y="183282"/>
                  </a:cubicBezTo>
                  <a:cubicBezTo>
                    <a:pt x="286630" y="196881"/>
                    <a:pt x="292069" y="210479"/>
                    <a:pt x="297508" y="224077"/>
                  </a:cubicBezTo>
                  <a:cubicBezTo>
                    <a:pt x="300228" y="237676"/>
                    <a:pt x="305667" y="251274"/>
                    <a:pt x="308387" y="264872"/>
                  </a:cubicBezTo>
                  <a:cubicBezTo>
                    <a:pt x="311107" y="278470"/>
                    <a:pt x="311107" y="289349"/>
                    <a:pt x="319265" y="300228"/>
                  </a:cubicBezTo>
                  <a:cubicBezTo>
                    <a:pt x="332864" y="324704"/>
                    <a:pt x="346462" y="351901"/>
                    <a:pt x="351901" y="379098"/>
                  </a:cubicBezTo>
                  <a:cubicBezTo>
                    <a:pt x="354621" y="392696"/>
                    <a:pt x="360060" y="403575"/>
                    <a:pt x="365500" y="417173"/>
                  </a:cubicBezTo>
                  <a:cubicBezTo>
                    <a:pt x="373659" y="430771"/>
                    <a:pt x="373659" y="444369"/>
                    <a:pt x="379098" y="457968"/>
                  </a:cubicBezTo>
                  <a:cubicBezTo>
                    <a:pt x="381818" y="471566"/>
                    <a:pt x="387257" y="482445"/>
                    <a:pt x="395416" y="496043"/>
                  </a:cubicBezTo>
                  <a:cubicBezTo>
                    <a:pt x="398136" y="501482"/>
                    <a:pt x="403575" y="506921"/>
                    <a:pt x="406295" y="512361"/>
                  </a:cubicBezTo>
                  <a:cubicBezTo>
                    <a:pt x="409014" y="517800"/>
                    <a:pt x="409014" y="525959"/>
                    <a:pt x="411734" y="531398"/>
                  </a:cubicBezTo>
                  <a:cubicBezTo>
                    <a:pt x="414454" y="539557"/>
                    <a:pt x="417173" y="550436"/>
                    <a:pt x="419893" y="558595"/>
                  </a:cubicBezTo>
                  <a:cubicBezTo>
                    <a:pt x="422613" y="561314"/>
                    <a:pt x="422613" y="564034"/>
                    <a:pt x="425332" y="564034"/>
                  </a:cubicBezTo>
                  <a:cubicBezTo>
                    <a:pt x="428052" y="564034"/>
                    <a:pt x="428052" y="561314"/>
                    <a:pt x="430771" y="558595"/>
                  </a:cubicBezTo>
                  <a:cubicBezTo>
                    <a:pt x="430771" y="555875"/>
                    <a:pt x="430771" y="553156"/>
                    <a:pt x="430771" y="550436"/>
                  </a:cubicBezTo>
                  <a:cubicBezTo>
                    <a:pt x="430771" y="534118"/>
                    <a:pt x="430771" y="517800"/>
                    <a:pt x="430771" y="501482"/>
                  </a:cubicBezTo>
                  <a:cubicBezTo>
                    <a:pt x="430771" y="468846"/>
                    <a:pt x="433491" y="436210"/>
                    <a:pt x="430771" y="403575"/>
                  </a:cubicBezTo>
                  <a:cubicBezTo>
                    <a:pt x="430771" y="373658"/>
                    <a:pt x="425332" y="343742"/>
                    <a:pt x="425332" y="313826"/>
                  </a:cubicBezTo>
                  <a:cubicBezTo>
                    <a:pt x="425332" y="292069"/>
                    <a:pt x="425332" y="270311"/>
                    <a:pt x="425332" y="248554"/>
                  </a:cubicBezTo>
                  <a:cubicBezTo>
                    <a:pt x="425332" y="234956"/>
                    <a:pt x="425332" y="224077"/>
                    <a:pt x="425332" y="210479"/>
                  </a:cubicBezTo>
                  <a:cubicBezTo>
                    <a:pt x="425332" y="191441"/>
                    <a:pt x="422613" y="172404"/>
                    <a:pt x="422613" y="153366"/>
                  </a:cubicBezTo>
                  <a:cubicBezTo>
                    <a:pt x="422613" y="142488"/>
                    <a:pt x="422613" y="134329"/>
                    <a:pt x="425332" y="123450"/>
                  </a:cubicBezTo>
                  <a:cubicBezTo>
                    <a:pt x="417173" y="123450"/>
                    <a:pt x="406295" y="123450"/>
                    <a:pt x="398136" y="123450"/>
                  </a:cubicBezTo>
                  <a:cubicBezTo>
                    <a:pt x="392696" y="123450"/>
                    <a:pt x="387257" y="123450"/>
                    <a:pt x="379098" y="123450"/>
                  </a:cubicBezTo>
                  <a:cubicBezTo>
                    <a:pt x="373659" y="123450"/>
                    <a:pt x="365500" y="120730"/>
                    <a:pt x="360060" y="118011"/>
                  </a:cubicBezTo>
                  <a:cubicBezTo>
                    <a:pt x="354621" y="115291"/>
                    <a:pt x="349182" y="107132"/>
                    <a:pt x="349182" y="101693"/>
                  </a:cubicBezTo>
                  <a:cubicBezTo>
                    <a:pt x="349182" y="98973"/>
                    <a:pt x="349182" y="96253"/>
                    <a:pt x="351901" y="93534"/>
                  </a:cubicBezTo>
                  <a:cubicBezTo>
                    <a:pt x="354621" y="90814"/>
                    <a:pt x="362780" y="88095"/>
                    <a:pt x="368219" y="85375"/>
                  </a:cubicBezTo>
                  <a:cubicBezTo>
                    <a:pt x="381818" y="82655"/>
                    <a:pt x="417173" y="79936"/>
                    <a:pt x="422613" y="79936"/>
                  </a:cubicBezTo>
                  <a:cubicBezTo>
                    <a:pt x="428052" y="79936"/>
                    <a:pt x="433491" y="79936"/>
                    <a:pt x="444370" y="79936"/>
                  </a:cubicBezTo>
                  <a:cubicBezTo>
                    <a:pt x="449809" y="74496"/>
                    <a:pt x="455248" y="71776"/>
                    <a:pt x="463407" y="71776"/>
                  </a:cubicBezTo>
                  <a:cubicBezTo>
                    <a:pt x="471566" y="71776"/>
                    <a:pt x="477006" y="74496"/>
                    <a:pt x="477006" y="79936"/>
                  </a:cubicBezTo>
                  <a:cubicBezTo>
                    <a:pt x="490604" y="82655"/>
                    <a:pt x="504202" y="79936"/>
                    <a:pt x="512361" y="79936"/>
                  </a:cubicBezTo>
                  <a:lnTo>
                    <a:pt x="512361" y="79936"/>
                  </a:ln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: Shape 38">
              <a:extLst>
                <a:ext uri="{FF2B5EF4-FFF2-40B4-BE49-F238E27FC236}">
                  <a16:creationId xmlns:a16="http://schemas.microsoft.com/office/drawing/2014/main" id="{B5B50CFE-2A9A-43B6-BAED-D4D319AF496E}"/>
                </a:ext>
              </a:extLst>
            </p:cNvPr>
            <p:cNvSpPr/>
            <p:nvPr/>
          </p:nvSpPr>
          <p:spPr>
            <a:xfrm>
              <a:off x="2987430" y="4242177"/>
              <a:ext cx="494979" cy="674476"/>
            </a:xfrm>
            <a:custGeom>
              <a:avLst/>
              <a:gdLst>
                <a:gd name="connsiteX0" fmla="*/ 228453 w 494979"/>
                <a:gd name="connsiteY0" fmla="*/ 97907 h 674476"/>
                <a:gd name="connsiteX1" fmla="*/ 212135 w 494979"/>
                <a:gd name="connsiteY1" fmla="*/ 119665 h 674476"/>
                <a:gd name="connsiteX2" fmla="*/ 203976 w 494979"/>
                <a:gd name="connsiteY2" fmla="*/ 152300 h 674476"/>
                <a:gd name="connsiteX3" fmla="*/ 201256 w 494979"/>
                <a:gd name="connsiteY3" fmla="*/ 168618 h 674476"/>
                <a:gd name="connsiteX4" fmla="*/ 198537 w 494979"/>
                <a:gd name="connsiteY4" fmla="*/ 184936 h 674476"/>
                <a:gd name="connsiteX5" fmla="*/ 190378 w 494979"/>
                <a:gd name="connsiteY5" fmla="*/ 220292 h 674476"/>
                <a:gd name="connsiteX6" fmla="*/ 171340 w 494979"/>
                <a:gd name="connsiteY6" fmla="*/ 291003 h 674476"/>
                <a:gd name="connsiteX7" fmla="*/ 163180 w 494979"/>
                <a:gd name="connsiteY7" fmla="*/ 323639 h 674476"/>
                <a:gd name="connsiteX8" fmla="*/ 152302 w 494979"/>
                <a:gd name="connsiteY8" fmla="*/ 361714 h 674476"/>
                <a:gd name="connsiteX9" fmla="*/ 146862 w 494979"/>
                <a:gd name="connsiteY9" fmla="*/ 388910 h 674476"/>
                <a:gd name="connsiteX10" fmla="*/ 152302 w 494979"/>
                <a:gd name="connsiteY10" fmla="*/ 391630 h 674476"/>
                <a:gd name="connsiteX11" fmla="*/ 174060 w 494979"/>
                <a:gd name="connsiteY11" fmla="*/ 391630 h 674476"/>
                <a:gd name="connsiteX12" fmla="*/ 195817 w 494979"/>
                <a:gd name="connsiteY12" fmla="*/ 388910 h 674476"/>
                <a:gd name="connsiteX13" fmla="*/ 214855 w 494979"/>
                <a:gd name="connsiteY13" fmla="*/ 388910 h 674476"/>
                <a:gd name="connsiteX14" fmla="*/ 239332 w 494979"/>
                <a:gd name="connsiteY14" fmla="*/ 388910 h 674476"/>
                <a:gd name="connsiteX15" fmla="*/ 252930 w 494979"/>
                <a:gd name="connsiteY15" fmla="*/ 386191 h 674476"/>
                <a:gd name="connsiteX16" fmla="*/ 261089 w 494979"/>
                <a:gd name="connsiteY16" fmla="*/ 386191 h 674476"/>
                <a:gd name="connsiteX17" fmla="*/ 258369 w 494979"/>
                <a:gd name="connsiteY17" fmla="*/ 367153 h 674476"/>
                <a:gd name="connsiteX18" fmla="*/ 252930 w 494979"/>
                <a:gd name="connsiteY18" fmla="*/ 331797 h 674476"/>
                <a:gd name="connsiteX19" fmla="*/ 250210 w 494979"/>
                <a:gd name="connsiteY19" fmla="*/ 244769 h 674476"/>
                <a:gd name="connsiteX20" fmla="*/ 244771 w 494979"/>
                <a:gd name="connsiteY20" fmla="*/ 203974 h 674476"/>
                <a:gd name="connsiteX21" fmla="*/ 239332 w 494979"/>
                <a:gd name="connsiteY21" fmla="*/ 157740 h 674476"/>
                <a:gd name="connsiteX22" fmla="*/ 236612 w 494979"/>
                <a:gd name="connsiteY22" fmla="*/ 119665 h 674476"/>
                <a:gd name="connsiteX23" fmla="*/ 228453 w 494979"/>
                <a:gd name="connsiteY23" fmla="*/ 97907 h 674476"/>
                <a:gd name="connsiteX24" fmla="*/ 274687 w 494979"/>
                <a:gd name="connsiteY24" fmla="*/ 0 h 674476"/>
                <a:gd name="connsiteX25" fmla="*/ 304603 w 494979"/>
                <a:gd name="connsiteY25" fmla="*/ 5439 h 674476"/>
                <a:gd name="connsiteX26" fmla="*/ 320921 w 494979"/>
                <a:gd name="connsiteY26" fmla="*/ 24477 h 674476"/>
                <a:gd name="connsiteX27" fmla="*/ 334519 w 494979"/>
                <a:gd name="connsiteY27" fmla="*/ 43515 h 674476"/>
                <a:gd name="connsiteX28" fmla="*/ 339959 w 494979"/>
                <a:gd name="connsiteY28" fmla="*/ 65272 h 674476"/>
                <a:gd name="connsiteX29" fmla="*/ 348118 w 494979"/>
                <a:gd name="connsiteY29" fmla="*/ 114226 h 674476"/>
                <a:gd name="connsiteX30" fmla="*/ 361716 w 494979"/>
                <a:gd name="connsiteY30" fmla="*/ 163180 h 674476"/>
                <a:gd name="connsiteX31" fmla="*/ 369875 w 494979"/>
                <a:gd name="connsiteY31" fmla="*/ 220293 h 674476"/>
                <a:gd name="connsiteX32" fmla="*/ 378034 w 494979"/>
                <a:gd name="connsiteY32" fmla="*/ 274686 h 674476"/>
                <a:gd name="connsiteX33" fmla="*/ 383473 w 494979"/>
                <a:gd name="connsiteY33" fmla="*/ 301883 h 674476"/>
                <a:gd name="connsiteX34" fmla="*/ 391632 w 494979"/>
                <a:gd name="connsiteY34" fmla="*/ 337238 h 674476"/>
                <a:gd name="connsiteX35" fmla="*/ 397071 w 494979"/>
                <a:gd name="connsiteY35" fmla="*/ 364435 h 674476"/>
                <a:gd name="connsiteX36" fmla="*/ 405230 w 494979"/>
                <a:gd name="connsiteY36" fmla="*/ 383473 h 674476"/>
                <a:gd name="connsiteX37" fmla="*/ 416109 w 494979"/>
                <a:gd name="connsiteY37" fmla="*/ 386192 h 674476"/>
                <a:gd name="connsiteX38" fmla="*/ 426988 w 494979"/>
                <a:gd name="connsiteY38" fmla="*/ 386192 h 674476"/>
                <a:gd name="connsiteX39" fmla="*/ 454184 w 494979"/>
                <a:gd name="connsiteY39" fmla="*/ 397071 h 674476"/>
                <a:gd name="connsiteX40" fmla="*/ 456904 w 494979"/>
                <a:gd name="connsiteY40" fmla="*/ 405230 h 674476"/>
                <a:gd name="connsiteX41" fmla="*/ 451465 w 494979"/>
                <a:gd name="connsiteY41" fmla="*/ 416108 h 674476"/>
                <a:gd name="connsiteX42" fmla="*/ 432427 w 494979"/>
                <a:gd name="connsiteY42" fmla="*/ 429707 h 674476"/>
                <a:gd name="connsiteX43" fmla="*/ 421548 w 494979"/>
                <a:gd name="connsiteY43" fmla="*/ 432426 h 674476"/>
                <a:gd name="connsiteX44" fmla="*/ 413389 w 494979"/>
                <a:gd name="connsiteY44" fmla="*/ 435146 h 674476"/>
                <a:gd name="connsiteX45" fmla="*/ 413389 w 494979"/>
                <a:gd name="connsiteY45" fmla="*/ 440585 h 674476"/>
                <a:gd name="connsiteX46" fmla="*/ 416109 w 494979"/>
                <a:gd name="connsiteY46" fmla="*/ 451464 h 674476"/>
                <a:gd name="connsiteX47" fmla="*/ 418829 w 494979"/>
                <a:gd name="connsiteY47" fmla="*/ 465062 h 674476"/>
                <a:gd name="connsiteX48" fmla="*/ 418829 w 494979"/>
                <a:gd name="connsiteY48" fmla="*/ 475941 h 674476"/>
                <a:gd name="connsiteX49" fmla="*/ 418829 w 494979"/>
                <a:gd name="connsiteY49" fmla="*/ 486820 h 674476"/>
                <a:gd name="connsiteX50" fmla="*/ 426988 w 494979"/>
                <a:gd name="connsiteY50" fmla="*/ 516736 h 674476"/>
                <a:gd name="connsiteX51" fmla="*/ 432427 w 494979"/>
                <a:gd name="connsiteY51" fmla="*/ 543932 h 674476"/>
                <a:gd name="connsiteX52" fmla="*/ 437866 w 494979"/>
                <a:gd name="connsiteY52" fmla="*/ 573848 h 674476"/>
                <a:gd name="connsiteX53" fmla="*/ 443306 w 494979"/>
                <a:gd name="connsiteY53" fmla="*/ 606484 h 674476"/>
                <a:gd name="connsiteX54" fmla="*/ 446025 w 494979"/>
                <a:gd name="connsiteY54" fmla="*/ 617363 h 674476"/>
                <a:gd name="connsiteX55" fmla="*/ 470502 w 494979"/>
                <a:gd name="connsiteY55" fmla="*/ 617363 h 674476"/>
                <a:gd name="connsiteX56" fmla="*/ 494979 w 494979"/>
                <a:gd name="connsiteY56" fmla="*/ 641840 h 674476"/>
                <a:gd name="connsiteX57" fmla="*/ 486820 w 494979"/>
                <a:gd name="connsiteY57" fmla="*/ 655438 h 674476"/>
                <a:gd name="connsiteX58" fmla="*/ 470502 w 494979"/>
                <a:gd name="connsiteY58" fmla="*/ 663597 h 674476"/>
                <a:gd name="connsiteX59" fmla="*/ 446025 w 494979"/>
                <a:gd name="connsiteY59" fmla="*/ 666317 h 674476"/>
                <a:gd name="connsiteX60" fmla="*/ 424268 w 494979"/>
                <a:gd name="connsiteY60" fmla="*/ 666317 h 674476"/>
                <a:gd name="connsiteX61" fmla="*/ 416109 w 494979"/>
                <a:gd name="connsiteY61" fmla="*/ 666317 h 674476"/>
                <a:gd name="connsiteX62" fmla="*/ 402511 w 494979"/>
                <a:gd name="connsiteY62" fmla="*/ 671756 h 674476"/>
                <a:gd name="connsiteX63" fmla="*/ 386193 w 494979"/>
                <a:gd name="connsiteY63" fmla="*/ 674476 h 674476"/>
                <a:gd name="connsiteX64" fmla="*/ 350837 w 494979"/>
                <a:gd name="connsiteY64" fmla="*/ 669036 h 674476"/>
                <a:gd name="connsiteX65" fmla="*/ 329080 w 494979"/>
                <a:gd name="connsiteY65" fmla="*/ 669036 h 674476"/>
                <a:gd name="connsiteX66" fmla="*/ 280126 w 494979"/>
                <a:gd name="connsiteY66" fmla="*/ 669036 h 674476"/>
                <a:gd name="connsiteX67" fmla="*/ 255649 w 494979"/>
                <a:gd name="connsiteY67" fmla="*/ 663597 h 674476"/>
                <a:gd name="connsiteX68" fmla="*/ 239331 w 494979"/>
                <a:gd name="connsiteY68" fmla="*/ 647279 h 674476"/>
                <a:gd name="connsiteX69" fmla="*/ 263808 w 494979"/>
                <a:gd name="connsiteY69" fmla="*/ 630961 h 674476"/>
                <a:gd name="connsiteX70" fmla="*/ 291005 w 494979"/>
                <a:gd name="connsiteY70" fmla="*/ 628241 h 674476"/>
                <a:gd name="connsiteX71" fmla="*/ 288285 w 494979"/>
                <a:gd name="connsiteY71" fmla="*/ 609204 h 674476"/>
                <a:gd name="connsiteX72" fmla="*/ 285565 w 494979"/>
                <a:gd name="connsiteY72" fmla="*/ 582007 h 674476"/>
                <a:gd name="connsiteX73" fmla="*/ 282846 w 494979"/>
                <a:gd name="connsiteY73" fmla="*/ 568409 h 674476"/>
                <a:gd name="connsiteX74" fmla="*/ 285565 w 494979"/>
                <a:gd name="connsiteY74" fmla="*/ 554811 h 674476"/>
                <a:gd name="connsiteX75" fmla="*/ 280126 w 494979"/>
                <a:gd name="connsiteY75" fmla="*/ 538493 h 674476"/>
                <a:gd name="connsiteX76" fmla="*/ 274687 w 494979"/>
                <a:gd name="connsiteY76" fmla="*/ 505857 h 674476"/>
                <a:gd name="connsiteX77" fmla="*/ 271967 w 494979"/>
                <a:gd name="connsiteY77" fmla="*/ 478660 h 674476"/>
                <a:gd name="connsiteX78" fmla="*/ 269247 w 494979"/>
                <a:gd name="connsiteY78" fmla="*/ 446025 h 674476"/>
                <a:gd name="connsiteX79" fmla="*/ 263808 w 494979"/>
                <a:gd name="connsiteY79" fmla="*/ 437866 h 674476"/>
                <a:gd name="connsiteX80" fmla="*/ 252929 w 494979"/>
                <a:gd name="connsiteY80" fmla="*/ 437866 h 674476"/>
                <a:gd name="connsiteX81" fmla="*/ 223013 w 494979"/>
                <a:gd name="connsiteY81" fmla="*/ 440585 h 674476"/>
                <a:gd name="connsiteX82" fmla="*/ 193097 w 494979"/>
                <a:gd name="connsiteY82" fmla="*/ 443305 h 674476"/>
                <a:gd name="connsiteX83" fmla="*/ 168620 w 494979"/>
                <a:gd name="connsiteY83" fmla="*/ 443305 h 674476"/>
                <a:gd name="connsiteX84" fmla="*/ 146862 w 494979"/>
                <a:gd name="connsiteY84" fmla="*/ 440585 h 674476"/>
                <a:gd name="connsiteX85" fmla="*/ 138703 w 494979"/>
                <a:gd name="connsiteY85" fmla="*/ 454184 h 674476"/>
                <a:gd name="connsiteX86" fmla="*/ 133263 w 494979"/>
                <a:gd name="connsiteY86" fmla="*/ 486820 h 674476"/>
                <a:gd name="connsiteX87" fmla="*/ 122385 w 494979"/>
                <a:gd name="connsiteY87" fmla="*/ 541213 h 674476"/>
                <a:gd name="connsiteX88" fmla="*/ 106067 w 494979"/>
                <a:gd name="connsiteY88" fmla="*/ 614643 h 674476"/>
                <a:gd name="connsiteX89" fmla="*/ 135983 w 494979"/>
                <a:gd name="connsiteY89" fmla="*/ 614643 h 674476"/>
                <a:gd name="connsiteX90" fmla="*/ 171340 w 494979"/>
                <a:gd name="connsiteY90" fmla="*/ 630961 h 674476"/>
                <a:gd name="connsiteX91" fmla="*/ 165900 w 494979"/>
                <a:gd name="connsiteY91" fmla="*/ 647279 h 674476"/>
                <a:gd name="connsiteX92" fmla="*/ 149581 w 494979"/>
                <a:gd name="connsiteY92" fmla="*/ 655438 h 674476"/>
                <a:gd name="connsiteX93" fmla="*/ 127824 w 494979"/>
                <a:gd name="connsiteY93" fmla="*/ 658158 h 674476"/>
                <a:gd name="connsiteX94" fmla="*/ 106067 w 494979"/>
                <a:gd name="connsiteY94" fmla="*/ 658158 h 674476"/>
                <a:gd name="connsiteX95" fmla="*/ 62552 w 494979"/>
                <a:gd name="connsiteY95" fmla="*/ 658158 h 674476"/>
                <a:gd name="connsiteX96" fmla="*/ 40795 w 494979"/>
                <a:gd name="connsiteY96" fmla="*/ 658158 h 674476"/>
                <a:gd name="connsiteX97" fmla="*/ 16318 w 494979"/>
                <a:gd name="connsiteY97" fmla="*/ 652718 h 674476"/>
                <a:gd name="connsiteX98" fmla="*/ 0 w 494979"/>
                <a:gd name="connsiteY98" fmla="*/ 636401 h 674476"/>
                <a:gd name="connsiteX99" fmla="*/ 2720 w 494979"/>
                <a:gd name="connsiteY99" fmla="*/ 628241 h 674476"/>
                <a:gd name="connsiteX100" fmla="*/ 24477 w 494979"/>
                <a:gd name="connsiteY100" fmla="*/ 620082 h 674476"/>
                <a:gd name="connsiteX101" fmla="*/ 62552 w 494979"/>
                <a:gd name="connsiteY101" fmla="*/ 617363 h 674476"/>
                <a:gd name="connsiteX102" fmla="*/ 62552 w 494979"/>
                <a:gd name="connsiteY102" fmla="*/ 614643 h 674476"/>
                <a:gd name="connsiteX103" fmla="*/ 65272 w 494979"/>
                <a:gd name="connsiteY103" fmla="*/ 587447 h 674476"/>
                <a:gd name="connsiteX104" fmla="*/ 76151 w 494979"/>
                <a:gd name="connsiteY104" fmla="*/ 522175 h 674476"/>
                <a:gd name="connsiteX105" fmla="*/ 87029 w 494979"/>
                <a:gd name="connsiteY105" fmla="*/ 470501 h 674476"/>
                <a:gd name="connsiteX106" fmla="*/ 92469 w 494979"/>
                <a:gd name="connsiteY106" fmla="*/ 446025 h 674476"/>
                <a:gd name="connsiteX107" fmla="*/ 65272 w 494979"/>
                <a:gd name="connsiteY107" fmla="*/ 432426 h 674476"/>
                <a:gd name="connsiteX108" fmla="*/ 54393 w 494979"/>
                <a:gd name="connsiteY108" fmla="*/ 421548 h 674476"/>
                <a:gd name="connsiteX109" fmla="*/ 73431 w 494979"/>
                <a:gd name="connsiteY109" fmla="*/ 407949 h 674476"/>
                <a:gd name="connsiteX110" fmla="*/ 100628 w 494979"/>
                <a:gd name="connsiteY110" fmla="*/ 399790 h 674476"/>
                <a:gd name="connsiteX111" fmla="*/ 108787 w 494979"/>
                <a:gd name="connsiteY111" fmla="*/ 369874 h 674476"/>
                <a:gd name="connsiteX112" fmla="*/ 125105 w 494979"/>
                <a:gd name="connsiteY112" fmla="*/ 307322 h 674476"/>
                <a:gd name="connsiteX113" fmla="*/ 141423 w 494979"/>
                <a:gd name="connsiteY113" fmla="*/ 242051 h 674476"/>
                <a:gd name="connsiteX114" fmla="*/ 155021 w 494979"/>
                <a:gd name="connsiteY114" fmla="*/ 179498 h 674476"/>
                <a:gd name="connsiteX115" fmla="*/ 168620 w 494979"/>
                <a:gd name="connsiteY115" fmla="*/ 119665 h 674476"/>
                <a:gd name="connsiteX116" fmla="*/ 193097 w 494979"/>
                <a:gd name="connsiteY116" fmla="*/ 57113 h 674476"/>
                <a:gd name="connsiteX117" fmla="*/ 201256 w 494979"/>
                <a:gd name="connsiteY117" fmla="*/ 38075 h 674476"/>
                <a:gd name="connsiteX118" fmla="*/ 217574 w 494979"/>
                <a:gd name="connsiteY118" fmla="*/ 13598 h 674476"/>
                <a:gd name="connsiteX119" fmla="*/ 274687 w 494979"/>
                <a:gd name="connsiteY119" fmla="*/ 0 h 6744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</a:cxnLst>
              <a:rect l="l" t="t" r="r" b="b"/>
              <a:pathLst>
                <a:path w="494979" h="674476">
                  <a:moveTo>
                    <a:pt x="228453" y="97907"/>
                  </a:moveTo>
                  <a:cubicBezTo>
                    <a:pt x="220294" y="97907"/>
                    <a:pt x="212135" y="114225"/>
                    <a:pt x="212135" y="119665"/>
                  </a:cubicBezTo>
                  <a:cubicBezTo>
                    <a:pt x="209415" y="130543"/>
                    <a:pt x="206696" y="144141"/>
                    <a:pt x="203976" y="152300"/>
                  </a:cubicBezTo>
                  <a:cubicBezTo>
                    <a:pt x="201256" y="157740"/>
                    <a:pt x="201256" y="163179"/>
                    <a:pt x="201256" y="168618"/>
                  </a:cubicBezTo>
                  <a:cubicBezTo>
                    <a:pt x="201256" y="174058"/>
                    <a:pt x="198537" y="179497"/>
                    <a:pt x="198537" y="184936"/>
                  </a:cubicBezTo>
                  <a:cubicBezTo>
                    <a:pt x="195817" y="195815"/>
                    <a:pt x="193097" y="209413"/>
                    <a:pt x="190378" y="220292"/>
                  </a:cubicBezTo>
                  <a:cubicBezTo>
                    <a:pt x="187658" y="244769"/>
                    <a:pt x="179499" y="269246"/>
                    <a:pt x="171340" y="291003"/>
                  </a:cubicBezTo>
                  <a:cubicBezTo>
                    <a:pt x="168620" y="301881"/>
                    <a:pt x="165900" y="312760"/>
                    <a:pt x="163180" y="323639"/>
                  </a:cubicBezTo>
                  <a:cubicBezTo>
                    <a:pt x="160461" y="337237"/>
                    <a:pt x="157741" y="348115"/>
                    <a:pt x="152302" y="361714"/>
                  </a:cubicBezTo>
                  <a:cubicBezTo>
                    <a:pt x="149582" y="367153"/>
                    <a:pt x="146862" y="383471"/>
                    <a:pt x="146862" y="388910"/>
                  </a:cubicBezTo>
                  <a:cubicBezTo>
                    <a:pt x="146862" y="391630"/>
                    <a:pt x="149582" y="391630"/>
                    <a:pt x="152302" y="391630"/>
                  </a:cubicBezTo>
                  <a:cubicBezTo>
                    <a:pt x="157741" y="391630"/>
                    <a:pt x="171340" y="391630"/>
                    <a:pt x="174060" y="391630"/>
                  </a:cubicBezTo>
                  <a:cubicBezTo>
                    <a:pt x="182219" y="391630"/>
                    <a:pt x="190378" y="391630"/>
                    <a:pt x="195817" y="388910"/>
                  </a:cubicBezTo>
                  <a:cubicBezTo>
                    <a:pt x="201256" y="388910"/>
                    <a:pt x="206696" y="388910"/>
                    <a:pt x="214855" y="388910"/>
                  </a:cubicBezTo>
                  <a:cubicBezTo>
                    <a:pt x="220294" y="388910"/>
                    <a:pt x="228453" y="388910"/>
                    <a:pt x="239332" y="388910"/>
                  </a:cubicBezTo>
                  <a:cubicBezTo>
                    <a:pt x="244771" y="388910"/>
                    <a:pt x="250210" y="388910"/>
                    <a:pt x="252930" y="386191"/>
                  </a:cubicBezTo>
                  <a:cubicBezTo>
                    <a:pt x="258369" y="391630"/>
                    <a:pt x="261089" y="388910"/>
                    <a:pt x="261089" y="386191"/>
                  </a:cubicBezTo>
                  <a:cubicBezTo>
                    <a:pt x="261089" y="380751"/>
                    <a:pt x="258369" y="372592"/>
                    <a:pt x="258369" y="367153"/>
                  </a:cubicBezTo>
                  <a:cubicBezTo>
                    <a:pt x="255650" y="353555"/>
                    <a:pt x="252930" y="342676"/>
                    <a:pt x="252930" y="331797"/>
                  </a:cubicBezTo>
                  <a:cubicBezTo>
                    <a:pt x="252930" y="301881"/>
                    <a:pt x="252930" y="274685"/>
                    <a:pt x="250210" y="244769"/>
                  </a:cubicBezTo>
                  <a:cubicBezTo>
                    <a:pt x="250210" y="231170"/>
                    <a:pt x="247491" y="217572"/>
                    <a:pt x="244771" y="203974"/>
                  </a:cubicBezTo>
                  <a:cubicBezTo>
                    <a:pt x="242051" y="187656"/>
                    <a:pt x="239332" y="174058"/>
                    <a:pt x="239332" y="157740"/>
                  </a:cubicBezTo>
                  <a:cubicBezTo>
                    <a:pt x="239332" y="152300"/>
                    <a:pt x="239332" y="133263"/>
                    <a:pt x="236612" y="119665"/>
                  </a:cubicBezTo>
                  <a:cubicBezTo>
                    <a:pt x="236612" y="106066"/>
                    <a:pt x="233892" y="97907"/>
                    <a:pt x="228453" y="97907"/>
                  </a:cubicBezTo>
                  <a:close/>
                  <a:moveTo>
                    <a:pt x="274687" y="0"/>
                  </a:moveTo>
                  <a:cubicBezTo>
                    <a:pt x="288285" y="0"/>
                    <a:pt x="293724" y="2720"/>
                    <a:pt x="304603" y="5439"/>
                  </a:cubicBezTo>
                  <a:cubicBezTo>
                    <a:pt x="315482" y="10879"/>
                    <a:pt x="315482" y="16318"/>
                    <a:pt x="320921" y="24477"/>
                  </a:cubicBezTo>
                  <a:cubicBezTo>
                    <a:pt x="326360" y="29916"/>
                    <a:pt x="331800" y="35356"/>
                    <a:pt x="334519" y="43515"/>
                  </a:cubicBezTo>
                  <a:cubicBezTo>
                    <a:pt x="337239" y="51674"/>
                    <a:pt x="337239" y="57113"/>
                    <a:pt x="339959" y="65272"/>
                  </a:cubicBezTo>
                  <a:cubicBezTo>
                    <a:pt x="345398" y="78870"/>
                    <a:pt x="342678" y="97908"/>
                    <a:pt x="348118" y="114226"/>
                  </a:cubicBezTo>
                  <a:cubicBezTo>
                    <a:pt x="350837" y="130544"/>
                    <a:pt x="358996" y="146863"/>
                    <a:pt x="361716" y="163180"/>
                  </a:cubicBezTo>
                  <a:cubicBezTo>
                    <a:pt x="364435" y="182218"/>
                    <a:pt x="364435" y="201256"/>
                    <a:pt x="369875" y="220293"/>
                  </a:cubicBezTo>
                  <a:cubicBezTo>
                    <a:pt x="375314" y="239331"/>
                    <a:pt x="378034" y="255649"/>
                    <a:pt x="378034" y="274686"/>
                  </a:cubicBezTo>
                  <a:cubicBezTo>
                    <a:pt x="378034" y="282845"/>
                    <a:pt x="380753" y="293724"/>
                    <a:pt x="383473" y="301883"/>
                  </a:cubicBezTo>
                  <a:cubicBezTo>
                    <a:pt x="386193" y="312762"/>
                    <a:pt x="388912" y="326360"/>
                    <a:pt x="391632" y="337238"/>
                  </a:cubicBezTo>
                  <a:cubicBezTo>
                    <a:pt x="391632" y="342678"/>
                    <a:pt x="394352" y="353556"/>
                    <a:pt x="397071" y="364435"/>
                  </a:cubicBezTo>
                  <a:cubicBezTo>
                    <a:pt x="399791" y="372594"/>
                    <a:pt x="402511" y="380753"/>
                    <a:pt x="405230" y="383473"/>
                  </a:cubicBezTo>
                  <a:cubicBezTo>
                    <a:pt x="407950" y="386192"/>
                    <a:pt x="413389" y="386192"/>
                    <a:pt x="416109" y="386192"/>
                  </a:cubicBezTo>
                  <a:cubicBezTo>
                    <a:pt x="418829" y="386192"/>
                    <a:pt x="424268" y="386192"/>
                    <a:pt x="426988" y="386192"/>
                  </a:cubicBezTo>
                  <a:cubicBezTo>
                    <a:pt x="437866" y="386192"/>
                    <a:pt x="448745" y="388912"/>
                    <a:pt x="454184" y="397071"/>
                  </a:cubicBezTo>
                  <a:cubicBezTo>
                    <a:pt x="456904" y="399790"/>
                    <a:pt x="456904" y="402510"/>
                    <a:pt x="456904" y="405230"/>
                  </a:cubicBezTo>
                  <a:cubicBezTo>
                    <a:pt x="456904" y="407949"/>
                    <a:pt x="454184" y="410669"/>
                    <a:pt x="451465" y="416108"/>
                  </a:cubicBezTo>
                  <a:cubicBezTo>
                    <a:pt x="446025" y="421548"/>
                    <a:pt x="440586" y="426987"/>
                    <a:pt x="432427" y="429707"/>
                  </a:cubicBezTo>
                  <a:cubicBezTo>
                    <a:pt x="429707" y="429707"/>
                    <a:pt x="426988" y="432426"/>
                    <a:pt x="421548" y="432426"/>
                  </a:cubicBezTo>
                  <a:cubicBezTo>
                    <a:pt x="418829" y="432426"/>
                    <a:pt x="416109" y="432426"/>
                    <a:pt x="413389" y="435146"/>
                  </a:cubicBezTo>
                  <a:cubicBezTo>
                    <a:pt x="413389" y="435146"/>
                    <a:pt x="413389" y="437866"/>
                    <a:pt x="413389" y="440585"/>
                  </a:cubicBezTo>
                  <a:cubicBezTo>
                    <a:pt x="413389" y="443305"/>
                    <a:pt x="413389" y="448744"/>
                    <a:pt x="416109" y="451464"/>
                  </a:cubicBezTo>
                  <a:cubicBezTo>
                    <a:pt x="416109" y="456903"/>
                    <a:pt x="418829" y="462343"/>
                    <a:pt x="418829" y="465062"/>
                  </a:cubicBezTo>
                  <a:lnTo>
                    <a:pt x="418829" y="475941"/>
                  </a:lnTo>
                  <a:cubicBezTo>
                    <a:pt x="418829" y="481380"/>
                    <a:pt x="418829" y="484100"/>
                    <a:pt x="418829" y="486820"/>
                  </a:cubicBezTo>
                  <a:cubicBezTo>
                    <a:pt x="421548" y="497698"/>
                    <a:pt x="424268" y="505857"/>
                    <a:pt x="426988" y="516736"/>
                  </a:cubicBezTo>
                  <a:cubicBezTo>
                    <a:pt x="426988" y="524895"/>
                    <a:pt x="429707" y="535773"/>
                    <a:pt x="432427" y="543932"/>
                  </a:cubicBezTo>
                  <a:cubicBezTo>
                    <a:pt x="435147" y="554811"/>
                    <a:pt x="437866" y="562970"/>
                    <a:pt x="437866" y="573848"/>
                  </a:cubicBezTo>
                  <a:cubicBezTo>
                    <a:pt x="437866" y="587447"/>
                    <a:pt x="440586" y="595606"/>
                    <a:pt x="443306" y="606484"/>
                  </a:cubicBezTo>
                  <a:cubicBezTo>
                    <a:pt x="443306" y="609204"/>
                    <a:pt x="446025" y="614643"/>
                    <a:pt x="446025" y="617363"/>
                  </a:cubicBezTo>
                  <a:cubicBezTo>
                    <a:pt x="454184" y="617363"/>
                    <a:pt x="462343" y="617363"/>
                    <a:pt x="470502" y="617363"/>
                  </a:cubicBezTo>
                  <a:cubicBezTo>
                    <a:pt x="478661" y="625522"/>
                    <a:pt x="492259" y="630961"/>
                    <a:pt x="494979" y="641840"/>
                  </a:cubicBezTo>
                  <a:cubicBezTo>
                    <a:pt x="494979" y="647279"/>
                    <a:pt x="489540" y="649999"/>
                    <a:pt x="486820" y="655438"/>
                  </a:cubicBezTo>
                  <a:cubicBezTo>
                    <a:pt x="484100" y="660877"/>
                    <a:pt x="475942" y="663597"/>
                    <a:pt x="470502" y="663597"/>
                  </a:cubicBezTo>
                  <a:cubicBezTo>
                    <a:pt x="459623" y="666317"/>
                    <a:pt x="454184" y="666317"/>
                    <a:pt x="446025" y="666317"/>
                  </a:cubicBezTo>
                  <a:cubicBezTo>
                    <a:pt x="440586" y="666317"/>
                    <a:pt x="432427" y="666317"/>
                    <a:pt x="424268" y="666317"/>
                  </a:cubicBezTo>
                  <a:cubicBezTo>
                    <a:pt x="421548" y="666317"/>
                    <a:pt x="418829" y="666317"/>
                    <a:pt x="416109" y="666317"/>
                  </a:cubicBezTo>
                  <a:cubicBezTo>
                    <a:pt x="410670" y="669036"/>
                    <a:pt x="407950" y="669036"/>
                    <a:pt x="402511" y="671756"/>
                  </a:cubicBezTo>
                  <a:cubicBezTo>
                    <a:pt x="397071" y="671756"/>
                    <a:pt x="391632" y="674476"/>
                    <a:pt x="386193" y="674476"/>
                  </a:cubicBezTo>
                  <a:cubicBezTo>
                    <a:pt x="375314" y="674476"/>
                    <a:pt x="361716" y="671756"/>
                    <a:pt x="350837" y="669036"/>
                  </a:cubicBezTo>
                  <a:cubicBezTo>
                    <a:pt x="342678" y="669036"/>
                    <a:pt x="334519" y="669036"/>
                    <a:pt x="329080" y="669036"/>
                  </a:cubicBezTo>
                  <a:cubicBezTo>
                    <a:pt x="307323" y="669036"/>
                    <a:pt x="288285" y="669036"/>
                    <a:pt x="280126" y="669036"/>
                  </a:cubicBezTo>
                  <a:cubicBezTo>
                    <a:pt x="271967" y="669036"/>
                    <a:pt x="261088" y="669036"/>
                    <a:pt x="255649" y="663597"/>
                  </a:cubicBezTo>
                  <a:cubicBezTo>
                    <a:pt x="250210" y="660877"/>
                    <a:pt x="239331" y="655438"/>
                    <a:pt x="239331" y="647279"/>
                  </a:cubicBezTo>
                  <a:cubicBezTo>
                    <a:pt x="239331" y="636401"/>
                    <a:pt x="255649" y="633681"/>
                    <a:pt x="263808" y="630961"/>
                  </a:cubicBezTo>
                  <a:cubicBezTo>
                    <a:pt x="269247" y="630961"/>
                    <a:pt x="277406" y="630961"/>
                    <a:pt x="291005" y="628241"/>
                  </a:cubicBezTo>
                  <a:cubicBezTo>
                    <a:pt x="291005" y="620082"/>
                    <a:pt x="291005" y="614643"/>
                    <a:pt x="288285" y="609204"/>
                  </a:cubicBezTo>
                  <a:cubicBezTo>
                    <a:pt x="288285" y="601045"/>
                    <a:pt x="285565" y="590166"/>
                    <a:pt x="285565" y="582007"/>
                  </a:cubicBezTo>
                  <a:cubicBezTo>
                    <a:pt x="285565" y="576568"/>
                    <a:pt x="282846" y="573848"/>
                    <a:pt x="282846" y="568409"/>
                  </a:cubicBezTo>
                  <a:cubicBezTo>
                    <a:pt x="282846" y="562970"/>
                    <a:pt x="285565" y="557531"/>
                    <a:pt x="285565" y="554811"/>
                  </a:cubicBezTo>
                  <a:cubicBezTo>
                    <a:pt x="285565" y="549371"/>
                    <a:pt x="282846" y="546652"/>
                    <a:pt x="280126" y="538493"/>
                  </a:cubicBezTo>
                  <a:cubicBezTo>
                    <a:pt x="280126" y="527614"/>
                    <a:pt x="274687" y="516736"/>
                    <a:pt x="274687" y="505857"/>
                  </a:cubicBezTo>
                  <a:cubicBezTo>
                    <a:pt x="274687" y="494978"/>
                    <a:pt x="274687" y="486820"/>
                    <a:pt x="271967" y="478660"/>
                  </a:cubicBezTo>
                  <a:cubicBezTo>
                    <a:pt x="269247" y="467782"/>
                    <a:pt x="269247" y="456903"/>
                    <a:pt x="269247" y="446025"/>
                  </a:cubicBezTo>
                  <a:cubicBezTo>
                    <a:pt x="269247" y="440585"/>
                    <a:pt x="266528" y="437866"/>
                    <a:pt x="263808" y="437866"/>
                  </a:cubicBezTo>
                  <a:cubicBezTo>
                    <a:pt x="261088" y="437866"/>
                    <a:pt x="258369" y="437866"/>
                    <a:pt x="252929" y="437866"/>
                  </a:cubicBezTo>
                  <a:cubicBezTo>
                    <a:pt x="242051" y="437866"/>
                    <a:pt x="231172" y="437866"/>
                    <a:pt x="223013" y="440585"/>
                  </a:cubicBezTo>
                  <a:cubicBezTo>
                    <a:pt x="212135" y="440585"/>
                    <a:pt x="203976" y="443305"/>
                    <a:pt x="193097" y="443305"/>
                  </a:cubicBezTo>
                  <a:cubicBezTo>
                    <a:pt x="184938" y="443305"/>
                    <a:pt x="176779" y="443305"/>
                    <a:pt x="168620" y="443305"/>
                  </a:cubicBezTo>
                  <a:cubicBezTo>
                    <a:pt x="165900" y="443305"/>
                    <a:pt x="155021" y="440585"/>
                    <a:pt x="146862" y="440585"/>
                  </a:cubicBezTo>
                  <a:cubicBezTo>
                    <a:pt x="138703" y="440585"/>
                    <a:pt x="138703" y="448744"/>
                    <a:pt x="138703" y="454184"/>
                  </a:cubicBezTo>
                  <a:cubicBezTo>
                    <a:pt x="138703" y="465062"/>
                    <a:pt x="135983" y="475941"/>
                    <a:pt x="133263" y="486820"/>
                  </a:cubicBezTo>
                  <a:cubicBezTo>
                    <a:pt x="130544" y="505857"/>
                    <a:pt x="125105" y="522175"/>
                    <a:pt x="122385" y="541213"/>
                  </a:cubicBezTo>
                  <a:cubicBezTo>
                    <a:pt x="119665" y="560250"/>
                    <a:pt x="111506" y="595606"/>
                    <a:pt x="106067" y="614643"/>
                  </a:cubicBezTo>
                  <a:cubicBezTo>
                    <a:pt x="114226" y="614643"/>
                    <a:pt x="125105" y="614643"/>
                    <a:pt x="135983" y="614643"/>
                  </a:cubicBezTo>
                  <a:cubicBezTo>
                    <a:pt x="149581" y="614643"/>
                    <a:pt x="171340" y="614643"/>
                    <a:pt x="171340" y="630961"/>
                  </a:cubicBezTo>
                  <a:cubicBezTo>
                    <a:pt x="171340" y="639120"/>
                    <a:pt x="168620" y="639120"/>
                    <a:pt x="165900" y="647279"/>
                  </a:cubicBezTo>
                  <a:cubicBezTo>
                    <a:pt x="163181" y="652718"/>
                    <a:pt x="155021" y="655438"/>
                    <a:pt x="149581" y="655438"/>
                  </a:cubicBezTo>
                  <a:cubicBezTo>
                    <a:pt x="141423" y="658158"/>
                    <a:pt x="135983" y="658158"/>
                    <a:pt x="127824" y="658158"/>
                  </a:cubicBezTo>
                  <a:cubicBezTo>
                    <a:pt x="122385" y="658158"/>
                    <a:pt x="116946" y="658158"/>
                    <a:pt x="106067" y="658158"/>
                  </a:cubicBezTo>
                  <a:cubicBezTo>
                    <a:pt x="92469" y="658158"/>
                    <a:pt x="78870" y="658158"/>
                    <a:pt x="62552" y="658158"/>
                  </a:cubicBezTo>
                  <a:cubicBezTo>
                    <a:pt x="54393" y="658158"/>
                    <a:pt x="46234" y="658158"/>
                    <a:pt x="40795" y="658158"/>
                  </a:cubicBezTo>
                  <a:cubicBezTo>
                    <a:pt x="32636" y="658158"/>
                    <a:pt x="21758" y="658158"/>
                    <a:pt x="16318" y="652718"/>
                  </a:cubicBezTo>
                  <a:cubicBezTo>
                    <a:pt x="8159" y="649999"/>
                    <a:pt x="0" y="641840"/>
                    <a:pt x="0" y="636401"/>
                  </a:cubicBezTo>
                  <a:cubicBezTo>
                    <a:pt x="0" y="633681"/>
                    <a:pt x="0" y="630961"/>
                    <a:pt x="2720" y="628241"/>
                  </a:cubicBezTo>
                  <a:cubicBezTo>
                    <a:pt x="8159" y="625522"/>
                    <a:pt x="16318" y="622802"/>
                    <a:pt x="24477" y="620082"/>
                  </a:cubicBezTo>
                  <a:cubicBezTo>
                    <a:pt x="38075" y="617363"/>
                    <a:pt x="48954" y="617363"/>
                    <a:pt x="62552" y="617363"/>
                  </a:cubicBezTo>
                  <a:cubicBezTo>
                    <a:pt x="62552" y="617363"/>
                    <a:pt x="62552" y="614643"/>
                    <a:pt x="62552" y="614643"/>
                  </a:cubicBezTo>
                  <a:cubicBezTo>
                    <a:pt x="62552" y="603765"/>
                    <a:pt x="65272" y="590166"/>
                    <a:pt x="65272" y="587447"/>
                  </a:cubicBezTo>
                  <a:cubicBezTo>
                    <a:pt x="67992" y="565689"/>
                    <a:pt x="73431" y="543932"/>
                    <a:pt x="76151" y="522175"/>
                  </a:cubicBezTo>
                  <a:cubicBezTo>
                    <a:pt x="78870" y="505857"/>
                    <a:pt x="81590" y="486820"/>
                    <a:pt x="87029" y="470501"/>
                  </a:cubicBezTo>
                  <a:cubicBezTo>
                    <a:pt x="87029" y="465062"/>
                    <a:pt x="92469" y="451464"/>
                    <a:pt x="92469" y="446025"/>
                  </a:cubicBezTo>
                  <a:cubicBezTo>
                    <a:pt x="92469" y="437866"/>
                    <a:pt x="73431" y="437866"/>
                    <a:pt x="65272" y="432426"/>
                  </a:cubicBezTo>
                  <a:cubicBezTo>
                    <a:pt x="59833" y="429707"/>
                    <a:pt x="54393" y="426987"/>
                    <a:pt x="54393" y="421548"/>
                  </a:cubicBezTo>
                  <a:cubicBezTo>
                    <a:pt x="54393" y="413389"/>
                    <a:pt x="62552" y="410669"/>
                    <a:pt x="73431" y="407949"/>
                  </a:cubicBezTo>
                  <a:cubicBezTo>
                    <a:pt x="78870" y="407949"/>
                    <a:pt x="92469" y="405230"/>
                    <a:pt x="100628" y="399790"/>
                  </a:cubicBezTo>
                  <a:cubicBezTo>
                    <a:pt x="106067" y="394351"/>
                    <a:pt x="106067" y="378033"/>
                    <a:pt x="108787" y="369874"/>
                  </a:cubicBezTo>
                  <a:cubicBezTo>
                    <a:pt x="114226" y="348117"/>
                    <a:pt x="119665" y="326360"/>
                    <a:pt x="125105" y="307322"/>
                  </a:cubicBezTo>
                  <a:cubicBezTo>
                    <a:pt x="130544" y="285565"/>
                    <a:pt x="135983" y="263808"/>
                    <a:pt x="141423" y="242051"/>
                  </a:cubicBezTo>
                  <a:cubicBezTo>
                    <a:pt x="146862" y="220293"/>
                    <a:pt x="152301" y="198536"/>
                    <a:pt x="155021" y="179498"/>
                  </a:cubicBezTo>
                  <a:cubicBezTo>
                    <a:pt x="157740" y="160461"/>
                    <a:pt x="163181" y="138703"/>
                    <a:pt x="168620" y="119665"/>
                  </a:cubicBezTo>
                  <a:cubicBezTo>
                    <a:pt x="176779" y="100627"/>
                    <a:pt x="182218" y="76150"/>
                    <a:pt x="193097" y="57113"/>
                  </a:cubicBezTo>
                  <a:lnTo>
                    <a:pt x="201256" y="38075"/>
                  </a:lnTo>
                  <a:cubicBezTo>
                    <a:pt x="206695" y="29916"/>
                    <a:pt x="209415" y="19038"/>
                    <a:pt x="217574" y="13598"/>
                  </a:cubicBezTo>
                  <a:cubicBezTo>
                    <a:pt x="231172" y="2720"/>
                    <a:pt x="255649" y="0"/>
                    <a:pt x="274687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0" name="Freeform: Shape 39">
              <a:extLst>
                <a:ext uri="{FF2B5EF4-FFF2-40B4-BE49-F238E27FC236}">
                  <a16:creationId xmlns:a16="http://schemas.microsoft.com/office/drawing/2014/main" id="{3A3220ED-525E-42D0-945D-DABC984A9613}"/>
                </a:ext>
              </a:extLst>
            </p:cNvPr>
            <p:cNvSpPr/>
            <p:nvPr/>
          </p:nvSpPr>
          <p:spPr>
            <a:xfrm>
              <a:off x="3443268" y="4186718"/>
              <a:ext cx="435145" cy="761503"/>
            </a:xfrm>
            <a:custGeom>
              <a:avLst/>
              <a:gdLst>
                <a:gd name="connsiteX0" fmla="*/ 400855 w 435145"/>
                <a:gd name="connsiteY0" fmla="*/ 678260 h 761503"/>
                <a:gd name="connsiteX1" fmla="*/ 384537 w 435145"/>
                <a:gd name="connsiteY1" fmla="*/ 719054 h 761503"/>
                <a:gd name="connsiteX2" fmla="*/ 368219 w 435145"/>
                <a:gd name="connsiteY2" fmla="*/ 713615 h 761503"/>
                <a:gd name="connsiteX3" fmla="*/ 360060 w 435145"/>
                <a:gd name="connsiteY3" fmla="*/ 697297 h 761503"/>
                <a:gd name="connsiteX4" fmla="*/ 360060 w 435145"/>
                <a:gd name="connsiteY4" fmla="*/ 651063 h 761503"/>
                <a:gd name="connsiteX5" fmla="*/ 332864 w 435145"/>
                <a:gd name="connsiteY5" fmla="*/ 686418 h 761503"/>
                <a:gd name="connsiteX6" fmla="*/ 251274 w 435145"/>
                <a:gd name="connsiteY6" fmla="*/ 721774 h 761503"/>
                <a:gd name="connsiteX7" fmla="*/ 229517 w 435145"/>
                <a:gd name="connsiteY7" fmla="*/ 719054 h 761503"/>
                <a:gd name="connsiteX8" fmla="*/ 158806 w 435145"/>
                <a:gd name="connsiteY8" fmla="*/ 694578 h 761503"/>
                <a:gd name="connsiteX9" fmla="*/ 112571 w 435145"/>
                <a:gd name="connsiteY9" fmla="*/ 659222 h 761503"/>
                <a:gd name="connsiteX10" fmla="*/ 79936 w 435145"/>
                <a:gd name="connsiteY10" fmla="*/ 607548 h 761503"/>
                <a:gd name="connsiteX11" fmla="*/ 63618 w 435145"/>
                <a:gd name="connsiteY11" fmla="*/ 542277 h 761503"/>
                <a:gd name="connsiteX12" fmla="*/ 58178 w 435145"/>
                <a:gd name="connsiteY12" fmla="*/ 471566 h 761503"/>
                <a:gd name="connsiteX13" fmla="*/ 60898 w 435145"/>
                <a:gd name="connsiteY13" fmla="*/ 400855 h 761503"/>
                <a:gd name="connsiteX14" fmla="*/ 66337 w 435145"/>
                <a:gd name="connsiteY14" fmla="*/ 335583 h 761503"/>
                <a:gd name="connsiteX15" fmla="*/ 85375 w 435145"/>
                <a:gd name="connsiteY15" fmla="*/ 267592 h 761503"/>
                <a:gd name="connsiteX16" fmla="*/ 109852 w 435145"/>
                <a:gd name="connsiteY16" fmla="*/ 199600 h 761503"/>
                <a:gd name="connsiteX17" fmla="*/ 145207 w 435145"/>
                <a:gd name="connsiteY17" fmla="*/ 145207 h 761503"/>
                <a:gd name="connsiteX18" fmla="*/ 188722 w 435145"/>
                <a:gd name="connsiteY18" fmla="*/ 96253 h 761503"/>
                <a:gd name="connsiteX19" fmla="*/ 243115 w 435145"/>
                <a:gd name="connsiteY19" fmla="*/ 71776 h 761503"/>
                <a:gd name="connsiteX20" fmla="*/ 286630 w 435145"/>
                <a:gd name="connsiteY20" fmla="*/ 63617 h 761503"/>
                <a:gd name="connsiteX21" fmla="*/ 305667 w 435145"/>
                <a:gd name="connsiteY21" fmla="*/ 66337 h 761503"/>
                <a:gd name="connsiteX22" fmla="*/ 324705 w 435145"/>
                <a:gd name="connsiteY22" fmla="*/ 79936 h 761503"/>
                <a:gd name="connsiteX23" fmla="*/ 341023 w 435145"/>
                <a:gd name="connsiteY23" fmla="*/ 101693 h 761503"/>
                <a:gd name="connsiteX24" fmla="*/ 354621 w 435145"/>
                <a:gd name="connsiteY24" fmla="*/ 123450 h 761503"/>
                <a:gd name="connsiteX25" fmla="*/ 354621 w 435145"/>
                <a:gd name="connsiteY25" fmla="*/ 98973 h 761503"/>
                <a:gd name="connsiteX26" fmla="*/ 360060 w 435145"/>
                <a:gd name="connsiteY26" fmla="*/ 74496 h 761503"/>
                <a:gd name="connsiteX27" fmla="*/ 365500 w 435145"/>
                <a:gd name="connsiteY27" fmla="*/ 63617 h 761503"/>
                <a:gd name="connsiteX28" fmla="*/ 373659 w 435145"/>
                <a:gd name="connsiteY28" fmla="*/ 58178 h 761503"/>
                <a:gd name="connsiteX29" fmla="*/ 381818 w 435145"/>
                <a:gd name="connsiteY29" fmla="*/ 63617 h 761503"/>
                <a:gd name="connsiteX30" fmla="*/ 389977 w 435145"/>
                <a:gd name="connsiteY30" fmla="*/ 82655 h 761503"/>
                <a:gd name="connsiteX31" fmla="*/ 392696 w 435145"/>
                <a:gd name="connsiteY31" fmla="*/ 126170 h 761503"/>
                <a:gd name="connsiteX32" fmla="*/ 395416 w 435145"/>
                <a:gd name="connsiteY32" fmla="*/ 186002 h 761503"/>
                <a:gd name="connsiteX33" fmla="*/ 398136 w 435145"/>
                <a:gd name="connsiteY33" fmla="*/ 237675 h 761503"/>
                <a:gd name="connsiteX34" fmla="*/ 398136 w 435145"/>
                <a:gd name="connsiteY34" fmla="*/ 243115 h 761503"/>
                <a:gd name="connsiteX35" fmla="*/ 395416 w 435145"/>
                <a:gd name="connsiteY35" fmla="*/ 256713 h 761503"/>
                <a:gd name="connsiteX36" fmla="*/ 379098 w 435145"/>
                <a:gd name="connsiteY36" fmla="*/ 278470 h 761503"/>
                <a:gd name="connsiteX37" fmla="*/ 362780 w 435145"/>
                <a:gd name="connsiteY37" fmla="*/ 273031 h 761503"/>
                <a:gd name="connsiteX38" fmla="*/ 354621 w 435145"/>
                <a:gd name="connsiteY38" fmla="*/ 256713 h 761503"/>
                <a:gd name="connsiteX39" fmla="*/ 354621 w 435145"/>
                <a:gd name="connsiteY39" fmla="*/ 213198 h 761503"/>
                <a:gd name="connsiteX40" fmla="*/ 354621 w 435145"/>
                <a:gd name="connsiteY40" fmla="*/ 205040 h 761503"/>
                <a:gd name="connsiteX41" fmla="*/ 338303 w 435145"/>
                <a:gd name="connsiteY41" fmla="*/ 147927 h 761503"/>
                <a:gd name="connsiteX42" fmla="*/ 292069 w 435145"/>
                <a:gd name="connsiteY42" fmla="*/ 107132 h 761503"/>
                <a:gd name="connsiteX43" fmla="*/ 262153 w 435145"/>
                <a:gd name="connsiteY43" fmla="*/ 120730 h 761503"/>
                <a:gd name="connsiteX44" fmla="*/ 251274 w 435145"/>
                <a:gd name="connsiteY44" fmla="*/ 131609 h 761503"/>
                <a:gd name="connsiteX45" fmla="*/ 240395 w 435145"/>
                <a:gd name="connsiteY45" fmla="*/ 139768 h 761503"/>
                <a:gd name="connsiteX46" fmla="*/ 237676 w 435145"/>
                <a:gd name="connsiteY46" fmla="*/ 164245 h 761503"/>
                <a:gd name="connsiteX47" fmla="*/ 226797 w 435145"/>
                <a:gd name="connsiteY47" fmla="*/ 196881 h 761503"/>
                <a:gd name="connsiteX48" fmla="*/ 213199 w 435145"/>
                <a:gd name="connsiteY48" fmla="*/ 259433 h 761503"/>
                <a:gd name="connsiteX49" fmla="*/ 207759 w 435145"/>
                <a:gd name="connsiteY49" fmla="*/ 324704 h 761503"/>
                <a:gd name="connsiteX50" fmla="*/ 207759 w 435145"/>
                <a:gd name="connsiteY50" fmla="*/ 335583 h 761503"/>
                <a:gd name="connsiteX51" fmla="*/ 205040 w 435145"/>
                <a:gd name="connsiteY51" fmla="*/ 349181 h 761503"/>
                <a:gd name="connsiteX52" fmla="*/ 207759 w 435145"/>
                <a:gd name="connsiteY52" fmla="*/ 368219 h 761503"/>
                <a:gd name="connsiteX53" fmla="*/ 207759 w 435145"/>
                <a:gd name="connsiteY53" fmla="*/ 376378 h 761503"/>
                <a:gd name="connsiteX54" fmla="*/ 205040 w 435145"/>
                <a:gd name="connsiteY54" fmla="*/ 387256 h 761503"/>
                <a:gd name="connsiteX55" fmla="*/ 205040 w 435145"/>
                <a:gd name="connsiteY55" fmla="*/ 395415 h 761503"/>
                <a:gd name="connsiteX56" fmla="*/ 205040 w 435145"/>
                <a:gd name="connsiteY56" fmla="*/ 406294 h 761503"/>
                <a:gd name="connsiteX57" fmla="*/ 205040 w 435145"/>
                <a:gd name="connsiteY57" fmla="*/ 425332 h 761503"/>
                <a:gd name="connsiteX58" fmla="*/ 213199 w 435145"/>
                <a:gd name="connsiteY58" fmla="*/ 493323 h 761503"/>
                <a:gd name="connsiteX59" fmla="*/ 221358 w 435145"/>
                <a:gd name="connsiteY59" fmla="*/ 561314 h 761503"/>
                <a:gd name="connsiteX60" fmla="*/ 226797 w 435145"/>
                <a:gd name="connsiteY60" fmla="*/ 591231 h 761503"/>
                <a:gd name="connsiteX61" fmla="*/ 240395 w 435145"/>
                <a:gd name="connsiteY61" fmla="*/ 618427 h 761503"/>
                <a:gd name="connsiteX62" fmla="*/ 283910 w 435145"/>
                <a:gd name="connsiteY62" fmla="*/ 651063 h 761503"/>
                <a:gd name="connsiteX63" fmla="*/ 338303 w 435145"/>
                <a:gd name="connsiteY63" fmla="*/ 612988 h 761503"/>
                <a:gd name="connsiteX64" fmla="*/ 354621 w 435145"/>
                <a:gd name="connsiteY64" fmla="*/ 577632 h 761503"/>
                <a:gd name="connsiteX65" fmla="*/ 357341 w 435145"/>
                <a:gd name="connsiteY65" fmla="*/ 509641 h 761503"/>
                <a:gd name="connsiteX66" fmla="*/ 362780 w 435145"/>
                <a:gd name="connsiteY66" fmla="*/ 485164 h 761503"/>
                <a:gd name="connsiteX67" fmla="*/ 368219 w 435145"/>
                <a:gd name="connsiteY67" fmla="*/ 474286 h 761503"/>
                <a:gd name="connsiteX68" fmla="*/ 376378 w 435145"/>
                <a:gd name="connsiteY68" fmla="*/ 468846 h 761503"/>
                <a:gd name="connsiteX69" fmla="*/ 384537 w 435145"/>
                <a:gd name="connsiteY69" fmla="*/ 474286 h 761503"/>
                <a:gd name="connsiteX70" fmla="*/ 392696 w 435145"/>
                <a:gd name="connsiteY70" fmla="*/ 493323 h 761503"/>
                <a:gd name="connsiteX71" fmla="*/ 395416 w 435145"/>
                <a:gd name="connsiteY71" fmla="*/ 558595 h 761503"/>
                <a:gd name="connsiteX72" fmla="*/ 398136 w 435145"/>
                <a:gd name="connsiteY72" fmla="*/ 618427 h 761503"/>
                <a:gd name="connsiteX73" fmla="*/ 400855 w 435145"/>
                <a:gd name="connsiteY73" fmla="*/ 678260 h 761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</a:cxnLst>
              <a:rect l="l" t="t" r="r" b="b"/>
              <a:pathLst>
                <a:path w="435145" h="761503">
                  <a:moveTo>
                    <a:pt x="400855" y="678260"/>
                  </a:moveTo>
                  <a:cubicBezTo>
                    <a:pt x="400855" y="689138"/>
                    <a:pt x="400855" y="719054"/>
                    <a:pt x="384537" y="719054"/>
                  </a:cubicBezTo>
                  <a:cubicBezTo>
                    <a:pt x="376378" y="719054"/>
                    <a:pt x="373659" y="716335"/>
                    <a:pt x="368219" y="713615"/>
                  </a:cubicBezTo>
                  <a:cubicBezTo>
                    <a:pt x="362780" y="710895"/>
                    <a:pt x="360060" y="702736"/>
                    <a:pt x="360060" y="697297"/>
                  </a:cubicBezTo>
                  <a:cubicBezTo>
                    <a:pt x="357341" y="680979"/>
                    <a:pt x="357341" y="664661"/>
                    <a:pt x="360060" y="651063"/>
                  </a:cubicBezTo>
                  <a:cubicBezTo>
                    <a:pt x="354621" y="659222"/>
                    <a:pt x="341023" y="678260"/>
                    <a:pt x="332864" y="686418"/>
                  </a:cubicBezTo>
                  <a:cubicBezTo>
                    <a:pt x="311107" y="708176"/>
                    <a:pt x="283910" y="721774"/>
                    <a:pt x="251274" y="721774"/>
                  </a:cubicBezTo>
                  <a:cubicBezTo>
                    <a:pt x="243115" y="721774"/>
                    <a:pt x="237676" y="721774"/>
                    <a:pt x="229517" y="719054"/>
                  </a:cubicBezTo>
                  <a:cubicBezTo>
                    <a:pt x="207759" y="716335"/>
                    <a:pt x="183283" y="708176"/>
                    <a:pt x="158806" y="694578"/>
                  </a:cubicBezTo>
                  <a:cubicBezTo>
                    <a:pt x="142488" y="686418"/>
                    <a:pt x="126170" y="672820"/>
                    <a:pt x="112571" y="659222"/>
                  </a:cubicBezTo>
                  <a:cubicBezTo>
                    <a:pt x="98973" y="642904"/>
                    <a:pt x="88095" y="626586"/>
                    <a:pt x="79936" y="607548"/>
                  </a:cubicBezTo>
                  <a:cubicBezTo>
                    <a:pt x="71777" y="585791"/>
                    <a:pt x="66337" y="566754"/>
                    <a:pt x="63618" y="542277"/>
                  </a:cubicBezTo>
                  <a:cubicBezTo>
                    <a:pt x="60898" y="517800"/>
                    <a:pt x="58178" y="493323"/>
                    <a:pt x="58178" y="471566"/>
                  </a:cubicBezTo>
                  <a:cubicBezTo>
                    <a:pt x="58178" y="447089"/>
                    <a:pt x="58178" y="425332"/>
                    <a:pt x="60898" y="400855"/>
                  </a:cubicBezTo>
                  <a:cubicBezTo>
                    <a:pt x="63618" y="379098"/>
                    <a:pt x="60898" y="357340"/>
                    <a:pt x="66337" y="335583"/>
                  </a:cubicBezTo>
                  <a:cubicBezTo>
                    <a:pt x="69057" y="313826"/>
                    <a:pt x="77216" y="289349"/>
                    <a:pt x="85375" y="267592"/>
                  </a:cubicBezTo>
                  <a:cubicBezTo>
                    <a:pt x="93534" y="243115"/>
                    <a:pt x="98973" y="221357"/>
                    <a:pt x="109852" y="199600"/>
                  </a:cubicBezTo>
                  <a:cubicBezTo>
                    <a:pt x="118011" y="177843"/>
                    <a:pt x="131609" y="161525"/>
                    <a:pt x="145207" y="145207"/>
                  </a:cubicBezTo>
                  <a:cubicBezTo>
                    <a:pt x="158806" y="128889"/>
                    <a:pt x="172404" y="109852"/>
                    <a:pt x="188722" y="96253"/>
                  </a:cubicBezTo>
                  <a:cubicBezTo>
                    <a:pt x="205040" y="82655"/>
                    <a:pt x="224077" y="77216"/>
                    <a:pt x="243115" y="71776"/>
                  </a:cubicBezTo>
                  <a:cubicBezTo>
                    <a:pt x="256713" y="69057"/>
                    <a:pt x="273031" y="63617"/>
                    <a:pt x="286630" y="63617"/>
                  </a:cubicBezTo>
                  <a:cubicBezTo>
                    <a:pt x="292069" y="63617"/>
                    <a:pt x="297508" y="63617"/>
                    <a:pt x="305667" y="66337"/>
                  </a:cubicBezTo>
                  <a:cubicBezTo>
                    <a:pt x="313826" y="69057"/>
                    <a:pt x="319266" y="74496"/>
                    <a:pt x="324705" y="79936"/>
                  </a:cubicBezTo>
                  <a:cubicBezTo>
                    <a:pt x="332864" y="85375"/>
                    <a:pt x="332864" y="93534"/>
                    <a:pt x="341023" y="101693"/>
                  </a:cubicBezTo>
                  <a:cubicBezTo>
                    <a:pt x="346462" y="107132"/>
                    <a:pt x="349182" y="118011"/>
                    <a:pt x="354621" y="123450"/>
                  </a:cubicBezTo>
                  <a:cubicBezTo>
                    <a:pt x="354621" y="115291"/>
                    <a:pt x="354621" y="101693"/>
                    <a:pt x="354621" y="98973"/>
                  </a:cubicBezTo>
                  <a:cubicBezTo>
                    <a:pt x="354621" y="90814"/>
                    <a:pt x="354621" y="79936"/>
                    <a:pt x="360060" y="74496"/>
                  </a:cubicBezTo>
                  <a:cubicBezTo>
                    <a:pt x="362780" y="71776"/>
                    <a:pt x="362780" y="69057"/>
                    <a:pt x="365500" y="63617"/>
                  </a:cubicBezTo>
                  <a:cubicBezTo>
                    <a:pt x="368219" y="60898"/>
                    <a:pt x="370939" y="58178"/>
                    <a:pt x="373659" y="58178"/>
                  </a:cubicBezTo>
                  <a:cubicBezTo>
                    <a:pt x="376378" y="58178"/>
                    <a:pt x="379098" y="60898"/>
                    <a:pt x="381818" y="63617"/>
                  </a:cubicBezTo>
                  <a:cubicBezTo>
                    <a:pt x="384537" y="69057"/>
                    <a:pt x="387257" y="77216"/>
                    <a:pt x="389977" y="82655"/>
                  </a:cubicBezTo>
                  <a:cubicBezTo>
                    <a:pt x="389977" y="90814"/>
                    <a:pt x="392696" y="107132"/>
                    <a:pt x="392696" y="126170"/>
                  </a:cubicBezTo>
                  <a:cubicBezTo>
                    <a:pt x="392696" y="150647"/>
                    <a:pt x="392696" y="177843"/>
                    <a:pt x="395416" y="186002"/>
                  </a:cubicBezTo>
                  <a:cubicBezTo>
                    <a:pt x="398136" y="205040"/>
                    <a:pt x="398136" y="215918"/>
                    <a:pt x="398136" y="237675"/>
                  </a:cubicBezTo>
                  <a:cubicBezTo>
                    <a:pt x="398136" y="240395"/>
                    <a:pt x="398136" y="243115"/>
                    <a:pt x="398136" y="243115"/>
                  </a:cubicBezTo>
                  <a:cubicBezTo>
                    <a:pt x="398136" y="248554"/>
                    <a:pt x="398136" y="251274"/>
                    <a:pt x="395416" y="256713"/>
                  </a:cubicBezTo>
                  <a:cubicBezTo>
                    <a:pt x="392696" y="267592"/>
                    <a:pt x="389977" y="278470"/>
                    <a:pt x="379098" y="278470"/>
                  </a:cubicBezTo>
                  <a:cubicBezTo>
                    <a:pt x="370939" y="278470"/>
                    <a:pt x="368219" y="275751"/>
                    <a:pt x="362780" y="273031"/>
                  </a:cubicBezTo>
                  <a:cubicBezTo>
                    <a:pt x="357341" y="270311"/>
                    <a:pt x="354621" y="262152"/>
                    <a:pt x="354621" y="256713"/>
                  </a:cubicBezTo>
                  <a:cubicBezTo>
                    <a:pt x="349182" y="237675"/>
                    <a:pt x="354621" y="232236"/>
                    <a:pt x="354621" y="213198"/>
                  </a:cubicBezTo>
                  <a:cubicBezTo>
                    <a:pt x="354621" y="210479"/>
                    <a:pt x="354621" y="207759"/>
                    <a:pt x="354621" y="205040"/>
                  </a:cubicBezTo>
                  <a:cubicBezTo>
                    <a:pt x="349182" y="186002"/>
                    <a:pt x="343742" y="169684"/>
                    <a:pt x="338303" y="147927"/>
                  </a:cubicBezTo>
                  <a:cubicBezTo>
                    <a:pt x="332864" y="131609"/>
                    <a:pt x="311107" y="107132"/>
                    <a:pt x="292069" y="107132"/>
                  </a:cubicBezTo>
                  <a:cubicBezTo>
                    <a:pt x="281190" y="107132"/>
                    <a:pt x="270312" y="115291"/>
                    <a:pt x="262153" y="120730"/>
                  </a:cubicBezTo>
                  <a:cubicBezTo>
                    <a:pt x="259433" y="123450"/>
                    <a:pt x="256713" y="126170"/>
                    <a:pt x="251274" y="131609"/>
                  </a:cubicBezTo>
                  <a:cubicBezTo>
                    <a:pt x="248554" y="134329"/>
                    <a:pt x="243115" y="137048"/>
                    <a:pt x="240395" y="139768"/>
                  </a:cubicBezTo>
                  <a:cubicBezTo>
                    <a:pt x="237676" y="145207"/>
                    <a:pt x="240395" y="156086"/>
                    <a:pt x="237676" y="164245"/>
                  </a:cubicBezTo>
                  <a:cubicBezTo>
                    <a:pt x="232236" y="175123"/>
                    <a:pt x="229517" y="186002"/>
                    <a:pt x="226797" y="196881"/>
                  </a:cubicBezTo>
                  <a:cubicBezTo>
                    <a:pt x="221358" y="218638"/>
                    <a:pt x="218638" y="237675"/>
                    <a:pt x="213199" y="259433"/>
                  </a:cubicBezTo>
                  <a:cubicBezTo>
                    <a:pt x="210479" y="281190"/>
                    <a:pt x="207759" y="302947"/>
                    <a:pt x="207759" y="324704"/>
                  </a:cubicBezTo>
                  <a:cubicBezTo>
                    <a:pt x="207759" y="327424"/>
                    <a:pt x="207759" y="332863"/>
                    <a:pt x="207759" y="335583"/>
                  </a:cubicBezTo>
                  <a:cubicBezTo>
                    <a:pt x="207759" y="341022"/>
                    <a:pt x="205040" y="343742"/>
                    <a:pt x="205040" y="349181"/>
                  </a:cubicBezTo>
                  <a:cubicBezTo>
                    <a:pt x="205040" y="354621"/>
                    <a:pt x="207759" y="362779"/>
                    <a:pt x="207759" y="368219"/>
                  </a:cubicBezTo>
                  <a:cubicBezTo>
                    <a:pt x="207759" y="370939"/>
                    <a:pt x="207759" y="373658"/>
                    <a:pt x="207759" y="376378"/>
                  </a:cubicBezTo>
                  <a:cubicBezTo>
                    <a:pt x="205040" y="381817"/>
                    <a:pt x="205040" y="384537"/>
                    <a:pt x="205040" y="387256"/>
                  </a:cubicBezTo>
                  <a:cubicBezTo>
                    <a:pt x="205040" y="389976"/>
                    <a:pt x="205040" y="392696"/>
                    <a:pt x="205040" y="395415"/>
                  </a:cubicBezTo>
                  <a:cubicBezTo>
                    <a:pt x="205040" y="398135"/>
                    <a:pt x="205040" y="403574"/>
                    <a:pt x="205040" y="406294"/>
                  </a:cubicBezTo>
                  <a:cubicBezTo>
                    <a:pt x="205040" y="411733"/>
                    <a:pt x="205040" y="417173"/>
                    <a:pt x="205040" y="425332"/>
                  </a:cubicBezTo>
                  <a:cubicBezTo>
                    <a:pt x="205040" y="449809"/>
                    <a:pt x="213199" y="471566"/>
                    <a:pt x="213199" y="493323"/>
                  </a:cubicBezTo>
                  <a:cubicBezTo>
                    <a:pt x="213199" y="517800"/>
                    <a:pt x="215919" y="539557"/>
                    <a:pt x="221358" y="561314"/>
                  </a:cubicBezTo>
                  <a:cubicBezTo>
                    <a:pt x="224077" y="572193"/>
                    <a:pt x="224077" y="580352"/>
                    <a:pt x="226797" y="591231"/>
                  </a:cubicBezTo>
                  <a:cubicBezTo>
                    <a:pt x="229517" y="599390"/>
                    <a:pt x="237676" y="607548"/>
                    <a:pt x="240395" y="618427"/>
                  </a:cubicBezTo>
                  <a:cubicBezTo>
                    <a:pt x="248554" y="637465"/>
                    <a:pt x="262153" y="651063"/>
                    <a:pt x="283910" y="651063"/>
                  </a:cubicBezTo>
                  <a:cubicBezTo>
                    <a:pt x="302948" y="651063"/>
                    <a:pt x="330144" y="629306"/>
                    <a:pt x="338303" y="612988"/>
                  </a:cubicBezTo>
                  <a:cubicBezTo>
                    <a:pt x="346462" y="599390"/>
                    <a:pt x="351901" y="591231"/>
                    <a:pt x="354621" y="577632"/>
                  </a:cubicBezTo>
                  <a:cubicBezTo>
                    <a:pt x="354621" y="550436"/>
                    <a:pt x="354621" y="517800"/>
                    <a:pt x="357341" y="509641"/>
                  </a:cubicBezTo>
                  <a:cubicBezTo>
                    <a:pt x="357341" y="501482"/>
                    <a:pt x="357341" y="490603"/>
                    <a:pt x="362780" y="485164"/>
                  </a:cubicBezTo>
                  <a:cubicBezTo>
                    <a:pt x="365500" y="482444"/>
                    <a:pt x="365500" y="479725"/>
                    <a:pt x="368219" y="474286"/>
                  </a:cubicBezTo>
                  <a:cubicBezTo>
                    <a:pt x="370939" y="471566"/>
                    <a:pt x="373659" y="468846"/>
                    <a:pt x="376378" y="468846"/>
                  </a:cubicBezTo>
                  <a:cubicBezTo>
                    <a:pt x="379098" y="468846"/>
                    <a:pt x="381818" y="471566"/>
                    <a:pt x="384537" y="474286"/>
                  </a:cubicBezTo>
                  <a:cubicBezTo>
                    <a:pt x="387257" y="479725"/>
                    <a:pt x="389977" y="487884"/>
                    <a:pt x="392696" y="493323"/>
                  </a:cubicBezTo>
                  <a:cubicBezTo>
                    <a:pt x="392696" y="501482"/>
                    <a:pt x="395416" y="539557"/>
                    <a:pt x="395416" y="558595"/>
                  </a:cubicBezTo>
                  <a:cubicBezTo>
                    <a:pt x="395416" y="583072"/>
                    <a:pt x="395416" y="610268"/>
                    <a:pt x="398136" y="618427"/>
                  </a:cubicBezTo>
                  <a:cubicBezTo>
                    <a:pt x="398136" y="648343"/>
                    <a:pt x="400855" y="659222"/>
                    <a:pt x="400855" y="678260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1" name="Freeform: Shape 40">
              <a:extLst>
                <a:ext uri="{FF2B5EF4-FFF2-40B4-BE49-F238E27FC236}">
                  <a16:creationId xmlns:a16="http://schemas.microsoft.com/office/drawing/2014/main" id="{FF9C0273-E1F4-49D7-992B-B560253BF396}"/>
                </a:ext>
              </a:extLst>
            </p:cNvPr>
            <p:cNvSpPr/>
            <p:nvPr/>
          </p:nvSpPr>
          <p:spPr>
            <a:xfrm>
              <a:off x="3829459" y="4200317"/>
              <a:ext cx="598325" cy="761503"/>
            </a:xfrm>
            <a:custGeom>
              <a:avLst/>
              <a:gdLst>
                <a:gd name="connsiteX0" fmla="*/ 360060 w 598324"/>
                <a:gd name="connsiteY0" fmla="*/ 332863 h 761503"/>
                <a:gd name="connsiteX1" fmla="*/ 341023 w 598324"/>
                <a:gd name="connsiteY1" fmla="*/ 370939 h 761503"/>
                <a:gd name="connsiteX2" fmla="*/ 376378 w 598324"/>
                <a:gd name="connsiteY2" fmla="*/ 389976 h 761503"/>
                <a:gd name="connsiteX3" fmla="*/ 425332 w 598324"/>
                <a:gd name="connsiteY3" fmla="*/ 433491 h 761503"/>
                <a:gd name="connsiteX4" fmla="*/ 438930 w 598324"/>
                <a:gd name="connsiteY4" fmla="*/ 463407 h 761503"/>
                <a:gd name="connsiteX5" fmla="*/ 449809 w 598324"/>
                <a:gd name="connsiteY5" fmla="*/ 498762 h 761503"/>
                <a:gd name="connsiteX6" fmla="*/ 457968 w 598324"/>
                <a:gd name="connsiteY6" fmla="*/ 528679 h 761503"/>
                <a:gd name="connsiteX7" fmla="*/ 466127 w 598324"/>
                <a:gd name="connsiteY7" fmla="*/ 564034 h 761503"/>
                <a:gd name="connsiteX8" fmla="*/ 471566 w 598324"/>
                <a:gd name="connsiteY8" fmla="*/ 593950 h 761503"/>
                <a:gd name="connsiteX9" fmla="*/ 479725 w 598324"/>
                <a:gd name="connsiteY9" fmla="*/ 607548 h 761503"/>
                <a:gd name="connsiteX10" fmla="*/ 487884 w 598324"/>
                <a:gd name="connsiteY10" fmla="*/ 623867 h 761503"/>
                <a:gd name="connsiteX11" fmla="*/ 501482 w 598324"/>
                <a:gd name="connsiteY11" fmla="*/ 651063 h 761503"/>
                <a:gd name="connsiteX12" fmla="*/ 523240 w 598324"/>
                <a:gd name="connsiteY12" fmla="*/ 670101 h 761503"/>
                <a:gd name="connsiteX13" fmla="*/ 534119 w 598324"/>
                <a:gd name="connsiteY13" fmla="*/ 686418 h 761503"/>
                <a:gd name="connsiteX14" fmla="*/ 531399 w 598324"/>
                <a:gd name="connsiteY14" fmla="*/ 694578 h 761503"/>
                <a:gd name="connsiteX15" fmla="*/ 498763 w 598324"/>
                <a:gd name="connsiteY15" fmla="*/ 708176 h 761503"/>
                <a:gd name="connsiteX16" fmla="*/ 449809 w 598324"/>
                <a:gd name="connsiteY16" fmla="*/ 700017 h 761503"/>
                <a:gd name="connsiteX17" fmla="*/ 400855 w 598324"/>
                <a:gd name="connsiteY17" fmla="*/ 667381 h 761503"/>
                <a:gd name="connsiteX18" fmla="*/ 381817 w 598324"/>
                <a:gd name="connsiteY18" fmla="*/ 642904 h 761503"/>
                <a:gd name="connsiteX19" fmla="*/ 368219 w 598324"/>
                <a:gd name="connsiteY19" fmla="*/ 610268 h 761503"/>
                <a:gd name="connsiteX20" fmla="*/ 349182 w 598324"/>
                <a:gd name="connsiteY20" fmla="*/ 550436 h 761503"/>
                <a:gd name="connsiteX21" fmla="*/ 338303 w 598324"/>
                <a:gd name="connsiteY21" fmla="*/ 504202 h 761503"/>
                <a:gd name="connsiteX22" fmla="*/ 330144 w 598324"/>
                <a:gd name="connsiteY22" fmla="*/ 477005 h 761503"/>
                <a:gd name="connsiteX23" fmla="*/ 321985 w 598324"/>
                <a:gd name="connsiteY23" fmla="*/ 455248 h 761503"/>
                <a:gd name="connsiteX24" fmla="*/ 305667 w 598324"/>
                <a:gd name="connsiteY24" fmla="*/ 436210 h 761503"/>
                <a:gd name="connsiteX25" fmla="*/ 294788 w 598324"/>
                <a:gd name="connsiteY25" fmla="*/ 441650 h 761503"/>
                <a:gd name="connsiteX26" fmla="*/ 278471 w 598324"/>
                <a:gd name="connsiteY26" fmla="*/ 463407 h 761503"/>
                <a:gd name="connsiteX27" fmla="*/ 264872 w 598324"/>
                <a:gd name="connsiteY27" fmla="*/ 496043 h 761503"/>
                <a:gd name="connsiteX28" fmla="*/ 262153 w 598324"/>
                <a:gd name="connsiteY28" fmla="*/ 517800 h 761503"/>
                <a:gd name="connsiteX29" fmla="*/ 262153 w 598324"/>
                <a:gd name="connsiteY29" fmla="*/ 523239 h 761503"/>
                <a:gd name="connsiteX30" fmla="*/ 262153 w 598324"/>
                <a:gd name="connsiteY30" fmla="*/ 553155 h 761503"/>
                <a:gd name="connsiteX31" fmla="*/ 262153 w 598324"/>
                <a:gd name="connsiteY31" fmla="*/ 629306 h 761503"/>
                <a:gd name="connsiteX32" fmla="*/ 259433 w 598324"/>
                <a:gd name="connsiteY32" fmla="*/ 659222 h 761503"/>
                <a:gd name="connsiteX33" fmla="*/ 283910 w 598324"/>
                <a:gd name="connsiteY33" fmla="*/ 659222 h 761503"/>
                <a:gd name="connsiteX34" fmla="*/ 321985 w 598324"/>
                <a:gd name="connsiteY34" fmla="*/ 675540 h 761503"/>
                <a:gd name="connsiteX35" fmla="*/ 316546 w 598324"/>
                <a:gd name="connsiteY35" fmla="*/ 691858 h 761503"/>
                <a:gd name="connsiteX36" fmla="*/ 300228 w 598324"/>
                <a:gd name="connsiteY36" fmla="*/ 700017 h 761503"/>
                <a:gd name="connsiteX37" fmla="*/ 278471 w 598324"/>
                <a:gd name="connsiteY37" fmla="*/ 702736 h 761503"/>
                <a:gd name="connsiteX38" fmla="*/ 243115 w 598324"/>
                <a:gd name="connsiteY38" fmla="*/ 702736 h 761503"/>
                <a:gd name="connsiteX39" fmla="*/ 221358 w 598324"/>
                <a:gd name="connsiteY39" fmla="*/ 710895 h 761503"/>
                <a:gd name="connsiteX40" fmla="*/ 194161 w 598324"/>
                <a:gd name="connsiteY40" fmla="*/ 702736 h 761503"/>
                <a:gd name="connsiteX41" fmla="*/ 177843 w 598324"/>
                <a:gd name="connsiteY41" fmla="*/ 702736 h 761503"/>
                <a:gd name="connsiteX42" fmla="*/ 126170 w 598324"/>
                <a:gd name="connsiteY42" fmla="*/ 702736 h 761503"/>
                <a:gd name="connsiteX43" fmla="*/ 101693 w 598324"/>
                <a:gd name="connsiteY43" fmla="*/ 702736 h 761503"/>
                <a:gd name="connsiteX44" fmla="*/ 74496 w 598324"/>
                <a:gd name="connsiteY44" fmla="*/ 697297 h 761503"/>
                <a:gd name="connsiteX45" fmla="*/ 58178 w 598324"/>
                <a:gd name="connsiteY45" fmla="*/ 680979 h 761503"/>
                <a:gd name="connsiteX46" fmla="*/ 63617 w 598324"/>
                <a:gd name="connsiteY46" fmla="*/ 672820 h 761503"/>
                <a:gd name="connsiteX47" fmla="*/ 85375 w 598324"/>
                <a:gd name="connsiteY47" fmla="*/ 664661 h 761503"/>
                <a:gd name="connsiteX48" fmla="*/ 128889 w 598324"/>
                <a:gd name="connsiteY48" fmla="*/ 659222 h 761503"/>
                <a:gd name="connsiteX49" fmla="*/ 147927 w 598324"/>
                <a:gd name="connsiteY49" fmla="*/ 659222 h 761503"/>
                <a:gd name="connsiteX50" fmla="*/ 145207 w 598324"/>
                <a:gd name="connsiteY50" fmla="*/ 653783 h 761503"/>
                <a:gd name="connsiteX51" fmla="*/ 131609 w 598324"/>
                <a:gd name="connsiteY51" fmla="*/ 585791 h 761503"/>
                <a:gd name="connsiteX52" fmla="*/ 134329 w 598324"/>
                <a:gd name="connsiteY52" fmla="*/ 498762 h 761503"/>
                <a:gd name="connsiteX53" fmla="*/ 137048 w 598324"/>
                <a:gd name="connsiteY53" fmla="*/ 406294 h 761503"/>
                <a:gd name="connsiteX54" fmla="*/ 134329 w 598324"/>
                <a:gd name="connsiteY54" fmla="*/ 327424 h 761503"/>
                <a:gd name="connsiteX55" fmla="*/ 137048 w 598324"/>
                <a:gd name="connsiteY55" fmla="*/ 253993 h 761503"/>
                <a:gd name="connsiteX56" fmla="*/ 139768 w 598324"/>
                <a:gd name="connsiteY56" fmla="*/ 207759 h 761503"/>
                <a:gd name="connsiteX57" fmla="*/ 137048 w 598324"/>
                <a:gd name="connsiteY57" fmla="*/ 172404 h 761503"/>
                <a:gd name="connsiteX58" fmla="*/ 137048 w 598324"/>
                <a:gd name="connsiteY58" fmla="*/ 112571 h 761503"/>
                <a:gd name="connsiteX59" fmla="*/ 126170 w 598324"/>
                <a:gd name="connsiteY59" fmla="*/ 112571 h 761503"/>
                <a:gd name="connsiteX60" fmla="*/ 101693 w 598324"/>
                <a:gd name="connsiteY60" fmla="*/ 112571 h 761503"/>
                <a:gd name="connsiteX61" fmla="*/ 74496 w 598324"/>
                <a:gd name="connsiteY61" fmla="*/ 107132 h 761503"/>
                <a:gd name="connsiteX62" fmla="*/ 58178 w 598324"/>
                <a:gd name="connsiteY62" fmla="*/ 90814 h 761503"/>
                <a:gd name="connsiteX63" fmla="*/ 63617 w 598324"/>
                <a:gd name="connsiteY63" fmla="*/ 82655 h 761503"/>
                <a:gd name="connsiteX64" fmla="*/ 85375 w 598324"/>
                <a:gd name="connsiteY64" fmla="*/ 74496 h 761503"/>
                <a:gd name="connsiteX65" fmla="*/ 137048 w 598324"/>
                <a:gd name="connsiteY65" fmla="*/ 69057 h 761503"/>
                <a:gd name="connsiteX66" fmla="*/ 145207 w 598324"/>
                <a:gd name="connsiteY66" fmla="*/ 69057 h 761503"/>
                <a:gd name="connsiteX67" fmla="*/ 169684 w 598324"/>
                <a:gd name="connsiteY67" fmla="*/ 58178 h 761503"/>
                <a:gd name="connsiteX68" fmla="*/ 177843 w 598324"/>
                <a:gd name="connsiteY68" fmla="*/ 58178 h 761503"/>
                <a:gd name="connsiteX69" fmla="*/ 205040 w 598324"/>
                <a:gd name="connsiteY69" fmla="*/ 66337 h 761503"/>
                <a:gd name="connsiteX70" fmla="*/ 286629 w 598324"/>
                <a:gd name="connsiteY70" fmla="*/ 63617 h 761503"/>
                <a:gd name="connsiteX71" fmla="*/ 324705 w 598324"/>
                <a:gd name="connsiteY71" fmla="*/ 79936 h 761503"/>
                <a:gd name="connsiteX72" fmla="*/ 319265 w 598324"/>
                <a:gd name="connsiteY72" fmla="*/ 96253 h 761503"/>
                <a:gd name="connsiteX73" fmla="*/ 302948 w 598324"/>
                <a:gd name="connsiteY73" fmla="*/ 104412 h 761503"/>
                <a:gd name="connsiteX74" fmla="*/ 278471 w 598324"/>
                <a:gd name="connsiteY74" fmla="*/ 112571 h 761503"/>
                <a:gd name="connsiteX75" fmla="*/ 232236 w 598324"/>
                <a:gd name="connsiteY75" fmla="*/ 112571 h 761503"/>
                <a:gd name="connsiteX76" fmla="*/ 240395 w 598324"/>
                <a:gd name="connsiteY76" fmla="*/ 137048 h 761503"/>
                <a:gd name="connsiteX77" fmla="*/ 240395 w 598324"/>
                <a:gd name="connsiteY77" fmla="*/ 150647 h 761503"/>
                <a:gd name="connsiteX78" fmla="*/ 243115 w 598324"/>
                <a:gd name="connsiteY78" fmla="*/ 158805 h 761503"/>
                <a:gd name="connsiteX79" fmla="*/ 248554 w 598324"/>
                <a:gd name="connsiteY79" fmla="*/ 188722 h 761503"/>
                <a:gd name="connsiteX80" fmla="*/ 248554 w 598324"/>
                <a:gd name="connsiteY80" fmla="*/ 199600 h 761503"/>
                <a:gd name="connsiteX81" fmla="*/ 248554 w 598324"/>
                <a:gd name="connsiteY81" fmla="*/ 221357 h 761503"/>
                <a:gd name="connsiteX82" fmla="*/ 253994 w 598324"/>
                <a:gd name="connsiteY82" fmla="*/ 264872 h 761503"/>
                <a:gd name="connsiteX83" fmla="*/ 262153 w 598324"/>
                <a:gd name="connsiteY83" fmla="*/ 297508 h 761503"/>
                <a:gd name="connsiteX84" fmla="*/ 264872 w 598324"/>
                <a:gd name="connsiteY84" fmla="*/ 324704 h 761503"/>
                <a:gd name="connsiteX85" fmla="*/ 264872 w 598324"/>
                <a:gd name="connsiteY85" fmla="*/ 332863 h 761503"/>
                <a:gd name="connsiteX86" fmla="*/ 264872 w 598324"/>
                <a:gd name="connsiteY86" fmla="*/ 351901 h 761503"/>
                <a:gd name="connsiteX87" fmla="*/ 262153 w 598324"/>
                <a:gd name="connsiteY87" fmla="*/ 370939 h 761503"/>
                <a:gd name="connsiteX88" fmla="*/ 267592 w 598324"/>
                <a:gd name="connsiteY88" fmla="*/ 384537 h 761503"/>
                <a:gd name="connsiteX89" fmla="*/ 278471 w 598324"/>
                <a:gd name="connsiteY89" fmla="*/ 370939 h 761503"/>
                <a:gd name="connsiteX90" fmla="*/ 297508 w 598324"/>
                <a:gd name="connsiteY90" fmla="*/ 332863 h 761503"/>
                <a:gd name="connsiteX91" fmla="*/ 311106 w 598324"/>
                <a:gd name="connsiteY91" fmla="*/ 305667 h 761503"/>
                <a:gd name="connsiteX92" fmla="*/ 335583 w 598324"/>
                <a:gd name="connsiteY92" fmla="*/ 259433 h 761503"/>
                <a:gd name="connsiteX93" fmla="*/ 354621 w 598324"/>
                <a:gd name="connsiteY93" fmla="*/ 224077 h 761503"/>
                <a:gd name="connsiteX94" fmla="*/ 381817 w 598324"/>
                <a:gd name="connsiteY94" fmla="*/ 172404 h 761503"/>
                <a:gd name="connsiteX95" fmla="*/ 409014 w 598324"/>
                <a:gd name="connsiteY95" fmla="*/ 118011 h 761503"/>
                <a:gd name="connsiteX96" fmla="*/ 411734 w 598324"/>
                <a:gd name="connsiteY96" fmla="*/ 115291 h 761503"/>
                <a:gd name="connsiteX97" fmla="*/ 398136 w 598324"/>
                <a:gd name="connsiteY97" fmla="*/ 115291 h 761503"/>
                <a:gd name="connsiteX98" fmla="*/ 379098 w 598324"/>
                <a:gd name="connsiteY98" fmla="*/ 109852 h 761503"/>
                <a:gd name="connsiteX99" fmla="*/ 368219 w 598324"/>
                <a:gd name="connsiteY99" fmla="*/ 93534 h 761503"/>
                <a:gd name="connsiteX100" fmla="*/ 370939 w 598324"/>
                <a:gd name="connsiteY100" fmla="*/ 85375 h 761503"/>
                <a:gd name="connsiteX101" fmla="*/ 387257 w 598324"/>
                <a:gd name="connsiteY101" fmla="*/ 77216 h 761503"/>
                <a:gd name="connsiteX102" fmla="*/ 422612 w 598324"/>
                <a:gd name="connsiteY102" fmla="*/ 71776 h 761503"/>
                <a:gd name="connsiteX103" fmla="*/ 436211 w 598324"/>
                <a:gd name="connsiteY103" fmla="*/ 71776 h 761503"/>
                <a:gd name="connsiteX104" fmla="*/ 438930 w 598324"/>
                <a:gd name="connsiteY104" fmla="*/ 69057 h 761503"/>
                <a:gd name="connsiteX105" fmla="*/ 452529 w 598324"/>
                <a:gd name="connsiteY105" fmla="*/ 66337 h 761503"/>
                <a:gd name="connsiteX106" fmla="*/ 466127 w 598324"/>
                <a:gd name="connsiteY106" fmla="*/ 69057 h 761503"/>
                <a:gd name="connsiteX107" fmla="*/ 471566 w 598324"/>
                <a:gd name="connsiteY107" fmla="*/ 71776 h 761503"/>
                <a:gd name="connsiteX108" fmla="*/ 515081 w 598324"/>
                <a:gd name="connsiteY108" fmla="*/ 71776 h 761503"/>
                <a:gd name="connsiteX109" fmla="*/ 542277 w 598324"/>
                <a:gd name="connsiteY109" fmla="*/ 88094 h 761503"/>
                <a:gd name="connsiteX110" fmla="*/ 536838 w 598324"/>
                <a:gd name="connsiteY110" fmla="*/ 104412 h 761503"/>
                <a:gd name="connsiteX111" fmla="*/ 525959 w 598324"/>
                <a:gd name="connsiteY111" fmla="*/ 112571 h 761503"/>
                <a:gd name="connsiteX112" fmla="*/ 509642 w 598324"/>
                <a:gd name="connsiteY112" fmla="*/ 115291 h 761503"/>
                <a:gd name="connsiteX113" fmla="*/ 468847 w 598324"/>
                <a:gd name="connsiteY113" fmla="*/ 115291 h 761503"/>
                <a:gd name="connsiteX114" fmla="*/ 457968 w 598324"/>
                <a:gd name="connsiteY114" fmla="*/ 137048 h 761503"/>
                <a:gd name="connsiteX115" fmla="*/ 430771 w 598324"/>
                <a:gd name="connsiteY115" fmla="*/ 194161 h 761503"/>
                <a:gd name="connsiteX116" fmla="*/ 400855 w 598324"/>
                <a:gd name="connsiteY116" fmla="*/ 262152 h 761503"/>
                <a:gd name="connsiteX117" fmla="*/ 360060 w 598324"/>
                <a:gd name="connsiteY117" fmla="*/ 332863 h 761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</a:cxnLst>
              <a:rect l="l" t="t" r="r" b="b"/>
              <a:pathLst>
                <a:path w="598324" h="761503">
                  <a:moveTo>
                    <a:pt x="360060" y="332863"/>
                  </a:moveTo>
                  <a:cubicBezTo>
                    <a:pt x="351901" y="343742"/>
                    <a:pt x="341023" y="357340"/>
                    <a:pt x="341023" y="370939"/>
                  </a:cubicBezTo>
                  <a:cubicBezTo>
                    <a:pt x="341023" y="379098"/>
                    <a:pt x="357341" y="381817"/>
                    <a:pt x="376378" y="389976"/>
                  </a:cubicBezTo>
                  <a:cubicBezTo>
                    <a:pt x="395416" y="398135"/>
                    <a:pt x="417173" y="417173"/>
                    <a:pt x="425332" y="433491"/>
                  </a:cubicBezTo>
                  <a:cubicBezTo>
                    <a:pt x="430771" y="444369"/>
                    <a:pt x="436211" y="452528"/>
                    <a:pt x="438930" y="463407"/>
                  </a:cubicBezTo>
                  <a:cubicBezTo>
                    <a:pt x="444370" y="474286"/>
                    <a:pt x="447089" y="487884"/>
                    <a:pt x="449809" y="498762"/>
                  </a:cubicBezTo>
                  <a:cubicBezTo>
                    <a:pt x="452529" y="512361"/>
                    <a:pt x="452529" y="517800"/>
                    <a:pt x="457968" y="528679"/>
                  </a:cubicBezTo>
                  <a:cubicBezTo>
                    <a:pt x="463407" y="539557"/>
                    <a:pt x="463407" y="553155"/>
                    <a:pt x="466127" y="564034"/>
                  </a:cubicBezTo>
                  <a:cubicBezTo>
                    <a:pt x="468847" y="572193"/>
                    <a:pt x="468847" y="585791"/>
                    <a:pt x="471566" y="593950"/>
                  </a:cubicBezTo>
                  <a:cubicBezTo>
                    <a:pt x="474286" y="599390"/>
                    <a:pt x="477006" y="602109"/>
                    <a:pt x="479725" y="607548"/>
                  </a:cubicBezTo>
                  <a:cubicBezTo>
                    <a:pt x="482445" y="612988"/>
                    <a:pt x="487884" y="618427"/>
                    <a:pt x="487884" y="623867"/>
                  </a:cubicBezTo>
                  <a:cubicBezTo>
                    <a:pt x="490604" y="634745"/>
                    <a:pt x="496043" y="642904"/>
                    <a:pt x="501482" y="651063"/>
                  </a:cubicBezTo>
                  <a:cubicBezTo>
                    <a:pt x="506922" y="661942"/>
                    <a:pt x="512361" y="664661"/>
                    <a:pt x="523240" y="670101"/>
                  </a:cubicBezTo>
                  <a:cubicBezTo>
                    <a:pt x="528679" y="672820"/>
                    <a:pt x="534119" y="680979"/>
                    <a:pt x="534119" y="686418"/>
                  </a:cubicBezTo>
                  <a:cubicBezTo>
                    <a:pt x="534119" y="689138"/>
                    <a:pt x="534119" y="691858"/>
                    <a:pt x="531399" y="694578"/>
                  </a:cubicBezTo>
                  <a:cubicBezTo>
                    <a:pt x="525959" y="702736"/>
                    <a:pt x="512361" y="708176"/>
                    <a:pt x="498763" y="708176"/>
                  </a:cubicBezTo>
                  <a:cubicBezTo>
                    <a:pt x="485165" y="708176"/>
                    <a:pt x="466127" y="705456"/>
                    <a:pt x="449809" y="700017"/>
                  </a:cubicBezTo>
                  <a:cubicBezTo>
                    <a:pt x="430771" y="694578"/>
                    <a:pt x="409014" y="675540"/>
                    <a:pt x="400855" y="667381"/>
                  </a:cubicBezTo>
                  <a:cubicBezTo>
                    <a:pt x="392696" y="659222"/>
                    <a:pt x="387257" y="651063"/>
                    <a:pt x="381817" y="642904"/>
                  </a:cubicBezTo>
                  <a:cubicBezTo>
                    <a:pt x="376378" y="632025"/>
                    <a:pt x="370939" y="623867"/>
                    <a:pt x="368219" y="610268"/>
                  </a:cubicBezTo>
                  <a:cubicBezTo>
                    <a:pt x="360060" y="588511"/>
                    <a:pt x="357341" y="574913"/>
                    <a:pt x="349182" y="550436"/>
                  </a:cubicBezTo>
                  <a:cubicBezTo>
                    <a:pt x="343742" y="534118"/>
                    <a:pt x="341023" y="520520"/>
                    <a:pt x="338303" y="504202"/>
                  </a:cubicBezTo>
                  <a:cubicBezTo>
                    <a:pt x="335583" y="493323"/>
                    <a:pt x="332864" y="485164"/>
                    <a:pt x="330144" y="477005"/>
                  </a:cubicBezTo>
                  <a:cubicBezTo>
                    <a:pt x="327424" y="471566"/>
                    <a:pt x="324705" y="463407"/>
                    <a:pt x="321985" y="455248"/>
                  </a:cubicBezTo>
                  <a:cubicBezTo>
                    <a:pt x="316546" y="444369"/>
                    <a:pt x="311106" y="436210"/>
                    <a:pt x="305667" y="436210"/>
                  </a:cubicBezTo>
                  <a:cubicBezTo>
                    <a:pt x="302948" y="436210"/>
                    <a:pt x="300228" y="438930"/>
                    <a:pt x="294788" y="441650"/>
                  </a:cubicBezTo>
                  <a:cubicBezTo>
                    <a:pt x="289349" y="447089"/>
                    <a:pt x="283910" y="455248"/>
                    <a:pt x="278471" y="463407"/>
                  </a:cubicBezTo>
                  <a:cubicBezTo>
                    <a:pt x="270312" y="474286"/>
                    <a:pt x="267592" y="485164"/>
                    <a:pt x="264872" y="496043"/>
                  </a:cubicBezTo>
                  <a:cubicBezTo>
                    <a:pt x="264872" y="504202"/>
                    <a:pt x="262153" y="512361"/>
                    <a:pt x="262153" y="517800"/>
                  </a:cubicBezTo>
                  <a:cubicBezTo>
                    <a:pt x="262153" y="520520"/>
                    <a:pt x="262153" y="520520"/>
                    <a:pt x="262153" y="523239"/>
                  </a:cubicBezTo>
                  <a:cubicBezTo>
                    <a:pt x="262153" y="528679"/>
                    <a:pt x="262153" y="544997"/>
                    <a:pt x="262153" y="553155"/>
                  </a:cubicBezTo>
                  <a:cubicBezTo>
                    <a:pt x="262153" y="583072"/>
                    <a:pt x="264872" y="599390"/>
                    <a:pt x="262153" y="629306"/>
                  </a:cubicBezTo>
                  <a:cubicBezTo>
                    <a:pt x="262153" y="640184"/>
                    <a:pt x="262153" y="648343"/>
                    <a:pt x="259433" y="659222"/>
                  </a:cubicBezTo>
                  <a:cubicBezTo>
                    <a:pt x="270312" y="659222"/>
                    <a:pt x="278471" y="659222"/>
                    <a:pt x="283910" y="659222"/>
                  </a:cubicBezTo>
                  <a:cubicBezTo>
                    <a:pt x="297508" y="659222"/>
                    <a:pt x="321985" y="659222"/>
                    <a:pt x="321985" y="675540"/>
                  </a:cubicBezTo>
                  <a:cubicBezTo>
                    <a:pt x="321985" y="683699"/>
                    <a:pt x="319265" y="686418"/>
                    <a:pt x="316546" y="691858"/>
                  </a:cubicBezTo>
                  <a:cubicBezTo>
                    <a:pt x="311106" y="697297"/>
                    <a:pt x="305667" y="700017"/>
                    <a:pt x="300228" y="700017"/>
                  </a:cubicBezTo>
                  <a:cubicBezTo>
                    <a:pt x="292069" y="702736"/>
                    <a:pt x="283910" y="702736"/>
                    <a:pt x="278471" y="702736"/>
                  </a:cubicBezTo>
                  <a:cubicBezTo>
                    <a:pt x="275751" y="702736"/>
                    <a:pt x="259433" y="702736"/>
                    <a:pt x="243115" y="702736"/>
                  </a:cubicBezTo>
                  <a:cubicBezTo>
                    <a:pt x="237676" y="708176"/>
                    <a:pt x="229517" y="710895"/>
                    <a:pt x="221358" y="710895"/>
                  </a:cubicBezTo>
                  <a:cubicBezTo>
                    <a:pt x="213199" y="710895"/>
                    <a:pt x="202320" y="708176"/>
                    <a:pt x="194161" y="702736"/>
                  </a:cubicBezTo>
                  <a:cubicBezTo>
                    <a:pt x="186002" y="702736"/>
                    <a:pt x="180563" y="702736"/>
                    <a:pt x="177843" y="702736"/>
                  </a:cubicBezTo>
                  <a:cubicBezTo>
                    <a:pt x="164245" y="702736"/>
                    <a:pt x="139768" y="702736"/>
                    <a:pt x="126170" y="702736"/>
                  </a:cubicBezTo>
                  <a:cubicBezTo>
                    <a:pt x="118011" y="702736"/>
                    <a:pt x="109852" y="702736"/>
                    <a:pt x="101693" y="702736"/>
                  </a:cubicBezTo>
                  <a:cubicBezTo>
                    <a:pt x="93534" y="702736"/>
                    <a:pt x="82655" y="702736"/>
                    <a:pt x="74496" y="697297"/>
                  </a:cubicBezTo>
                  <a:cubicBezTo>
                    <a:pt x="66337" y="694578"/>
                    <a:pt x="58178" y="686418"/>
                    <a:pt x="58178" y="680979"/>
                  </a:cubicBezTo>
                  <a:cubicBezTo>
                    <a:pt x="58178" y="678260"/>
                    <a:pt x="58178" y="675540"/>
                    <a:pt x="63617" y="672820"/>
                  </a:cubicBezTo>
                  <a:cubicBezTo>
                    <a:pt x="69057" y="670101"/>
                    <a:pt x="79935" y="667381"/>
                    <a:pt x="85375" y="664661"/>
                  </a:cubicBezTo>
                  <a:cubicBezTo>
                    <a:pt x="104412" y="661942"/>
                    <a:pt x="123450" y="659222"/>
                    <a:pt x="128889" y="659222"/>
                  </a:cubicBezTo>
                  <a:cubicBezTo>
                    <a:pt x="134329" y="659222"/>
                    <a:pt x="139768" y="659222"/>
                    <a:pt x="147927" y="659222"/>
                  </a:cubicBezTo>
                  <a:cubicBezTo>
                    <a:pt x="147927" y="656502"/>
                    <a:pt x="145207" y="653783"/>
                    <a:pt x="145207" y="653783"/>
                  </a:cubicBezTo>
                  <a:cubicBezTo>
                    <a:pt x="131609" y="632025"/>
                    <a:pt x="131609" y="610268"/>
                    <a:pt x="131609" y="585791"/>
                  </a:cubicBezTo>
                  <a:cubicBezTo>
                    <a:pt x="131609" y="555875"/>
                    <a:pt x="131609" y="528679"/>
                    <a:pt x="134329" y="498762"/>
                  </a:cubicBezTo>
                  <a:cubicBezTo>
                    <a:pt x="134329" y="468846"/>
                    <a:pt x="137048" y="436210"/>
                    <a:pt x="137048" y="406294"/>
                  </a:cubicBezTo>
                  <a:cubicBezTo>
                    <a:pt x="137048" y="379098"/>
                    <a:pt x="134329" y="354621"/>
                    <a:pt x="134329" y="327424"/>
                  </a:cubicBezTo>
                  <a:cubicBezTo>
                    <a:pt x="134329" y="302947"/>
                    <a:pt x="137048" y="278470"/>
                    <a:pt x="137048" y="253993"/>
                  </a:cubicBezTo>
                  <a:cubicBezTo>
                    <a:pt x="137048" y="237675"/>
                    <a:pt x="139768" y="224077"/>
                    <a:pt x="139768" y="207759"/>
                  </a:cubicBezTo>
                  <a:cubicBezTo>
                    <a:pt x="139768" y="196881"/>
                    <a:pt x="137048" y="183282"/>
                    <a:pt x="137048" y="172404"/>
                  </a:cubicBezTo>
                  <a:cubicBezTo>
                    <a:pt x="137048" y="150647"/>
                    <a:pt x="137048" y="131609"/>
                    <a:pt x="137048" y="112571"/>
                  </a:cubicBezTo>
                  <a:cubicBezTo>
                    <a:pt x="134329" y="112571"/>
                    <a:pt x="137048" y="112571"/>
                    <a:pt x="126170" y="112571"/>
                  </a:cubicBezTo>
                  <a:cubicBezTo>
                    <a:pt x="118011" y="112571"/>
                    <a:pt x="109852" y="112571"/>
                    <a:pt x="101693" y="112571"/>
                  </a:cubicBezTo>
                  <a:cubicBezTo>
                    <a:pt x="93534" y="112571"/>
                    <a:pt x="82655" y="109852"/>
                    <a:pt x="74496" y="107132"/>
                  </a:cubicBezTo>
                  <a:cubicBezTo>
                    <a:pt x="66337" y="104412"/>
                    <a:pt x="58178" y="96253"/>
                    <a:pt x="58178" y="90814"/>
                  </a:cubicBezTo>
                  <a:cubicBezTo>
                    <a:pt x="58178" y="88094"/>
                    <a:pt x="58178" y="85375"/>
                    <a:pt x="63617" y="82655"/>
                  </a:cubicBezTo>
                  <a:cubicBezTo>
                    <a:pt x="69057" y="79936"/>
                    <a:pt x="79935" y="77216"/>
                    <a:pt x="85375" y="74496"/>
                  </a:cubicBezTo>
                  <a:cubicBezTo>
                    <a:pt x="104412" y="71776"/>
                    <a:pt x="128889" y="69057"/>
                    <a:pt x="137048" y="69057"/>
                  </a:cubicBezTo>
                  <a:cubicBezTo>
                    <a:pt x="137048" y="69057"/>
                    <a:pt x="139768" y="69057"/>
                    <a:pt x="145207" y="69057"/>
                  </a:cubicBezTo>
                  <a:cubicBezTo>
                    <a:pt x="150646" y="60898"/>
                    <a:pt x="158806" y="58178"/>
                    <a:pt x="169684" y="58178"/>
                  </a:cubicBezTo>
                  <a:cubicBezTo>
                    <a:pt x="172404" y="58178"/>
                    <a:pt x="175123" y="58178"/>
                    <a:pt x="177843" y="58178"/>
                  </a:cubicBezTo>
                  <a:cubicBezTo>
                    <a:pt x="186002" y="58178"/>
                    <a:pt x="196881" y="63617"/>
                    <a:pt x="205040" y="66337"/>
                  </a:cubicBezTo>
                  <a:cubicBezTo>
                    <a:pt x="237676" y="66337"/>
                    <a:pt x="273031" y="63617"/>
                    <a:pt x="286629" y="63617"/>
                  </a:cubicBezTo>
                  <a:cubicBezTo>
                    <a:pt x="300228" y="63617"/>
                    <a:pt x="324705" y="63617"/>
                    <a:pt x="324705" y="79936"/>
                  </a:cubicBezTo>
                  <a:cubicBezTo>
                    <a:pt x="324705" y="88094"/>
                    <a:pt x="321985" y="90814"/>
                    <a:pt x="319265" y="96253"/>
                  </a:cubicBezTo>
                  <a:cubicBezTo>
                    <a:pt x="313826" y="101693"/>
                    <a:pt x="308387" y="104412"/>
                    <a:pt x="302948" y="104412"/>
                  </a:cubicBezTo>
                  <a:cubicBezTo>
                    <a:pt x="289349" y="112571"/>
                    <a:pt x="283910" y="112571"/>
                    <a:pt x="278471" y="112571"/>
                  </a:cubicBezTo>
                  <a:cubicBezTo>
                    <a:pt x="273031" y="112571"/>
                    <a:pt x="253994" y="112571"/>
                    <a:pt x="232236" y="112571"/>
                  </a:cubicBezTo>
                  <a:cubicBezTo>
                    <a:pt x="237676" y="120730"/>
                    <a:pt x="240395" y="128889"/>
                    <a:pt x="240395" y="137048"/>
                  </a:cubicBezTo>
                  <a:cubicBezTo>
                    <a:pt x="240395" y="142487"/>
                    <a:pt x="240395" y="145207"/>
                    <a:pt x="240395" y="150647"/>
                  </a:cubicBezTo>
                  <a:cubicBezTo>
                    <a:pt x="240395" y="153366"/>
                    <a:pt x="240395" y="156086"/>
                    <a:pt x="243115" y="158805"/>
                  </a:cubicBezTo>
                  <a:cubicBezTo>
                    <a:pt x="245835" y="169684"/>
                    <a:pt x="245835" y="180563"/>
                    <a:pt x="248554" y="188722"/>
                  </a:cubicBezTo>
                  <a:cubicBezTo>
                    <a:pt x="248554" y="191441"/>
                    <a:pt x="248554" y="194161"/>
                    <a:pt x="248554" y="199600"/>
                  </a:cubicBezTo>
                  <a:cubicBezTo>
                    <a:pt x="248554" y="207759"/>
                    <a:pt x="248554" y="213198"/>
                    <a:pt x="248554" y="221357"/>
                  </a:cubicBezTo>
                  <a:cubicBezTo>
                    <a:pt x="248554" y="234956"/>
                    <a:pt x="251274" y="248554"/>
                    <a:pt x="253994" y="264872"/>
                  </a:cubicBezTo>
                  <a:cubicBezTo>
                    <a:pt x="256713" y="275751"/>
                    <a:pt x="259433" y="286629"/>
                    <a:pt x="262153" y="297508"/>
                  </a:cubicBezTo>
                  <a:cubicBezTo>
                    <a:pt x="264872" y="305667"/>
                    <a:pt x="264872" y="313826"/>
                    <a:pt x="264872" y="324704"/>
                  </a:cubicBezTo>
                  <a:cubicBezTo>
                    <a:pt x="264872" y="327424"/>
                    <a:pt x="264872" y="330144"/>
                    <a:pt x="264872" y="332863"/>
                  </a:cubicBezTo>
                  <a:cubicBezTo>
                    <a:pt x="264872" y="338303"/>
                    <a:pt x="264872" y="346462"/>
                    <a:pt x="264872" y="351901"/>
                  </a:cubicBezTo>
                  <a:cubicBezTo>
                    <a:pt x="264872" y="357340"/>
                    <a:pt x="262153" y="365499"/>
                    <a:pt x="262153" y="370939"/>
                  </a:cubicBezTo>
                  <a:cubicBezTo>
                    <a:pt x="262153" y="376378"/>
                    <a:pt x="264872" y="384537"/>
                    <a:pt x="267592" y="384537"/>
                  </a:cubicBezTo>
                  <a:cubicBezTo>
                    <a:pt x="273031" y="384537"/>
                    <a:pt x="275751" y="376378"/>
                    <a:pt x="278471" y="370939"/>
                  </a:cubicBezTo>
                  <a:cubicBezTo>
                    <a:pt x="283910" y="360060"/>
                    <a:pt x="289349" y="346462"/>
                    <a:pt x="297508" y="332863"/>
                  </a:cubicBezTo>
                  <a:cubicBezTo>
                    <a:pt x="302948" y="324704"/>
                    <a:pt x="305667" y="313826"/>
                    <a:pt x="311106" y="305667"/>
                  </a:cubicBezTo>
                  <a:cubicBezTo>
                    <a:pt x="319265" y="289349"/>
                    <a:pt x="327424" y="275751"/>
                    <a:pt x="335583" y="259433"/>
                  </a:cubicBezTo>
                  <a:cubicBezTo>
                    <a:pt x="341023" y="248554"/>
                    <a:pt x="349182" y="234956"/>
                    <a:pt x="354621" y="224077"/>
                  </a:cubicBezTo>
                  <a:cubicBezTo>
                    <a:pt x="362780" y="207759"/>
                    <a:pt x="370939" y="191441"/>
                    <a:pt x="381817" y="172404"/>
                  </a:cubicBezTo>
                  <a:cubicBezTo>
                    <a:pt x="389977" y="153366"/>
                    <a:pt x="400855" y="134329"/>
                    <a:pt x="409014" y="118011"/>
                  </a:cubicBezTo>
                  <a:cubicBezTo>
                    <a:pt x="409014" y="115291"/>
                    <a:pt x="409014" y="115291"/>
                    <a:pt x="411734" y="115291"/>
                  </a:cubicBezTo>
                  <a:cubicBezTo>
                    <a:pt x="406294" y="115291"/>
                    <a:pt x="400855" y="115291"/>
                    <a:pt x="398136" y="115291"/>
                  </a:cubicBezTo>
                  <a:cubicBezTo>
                    <a:pt x="392696" y="115291"/>
                    <a:pt x="384537" y="115291"/>
                    <a:pt x="379098" y="109852"/>
                  </a:cubicBezTo>
                  <a:cubicBezTo>
                    <a:pt x="373659" y="107132"/>
                    <a:pt x="368219" y="98973"/>
                    <a:pt x="368219" y="93534"/>
                  </a:cubicBezTo>
                  <a:cubicBezTo>
                    <a:pt x="368219" y="90814"/>
                    <a:pt x="368219" y="88094"/>
                    <a:pt x="370939" y="85375"/>
                  </a:cubicBezTo>
                  <a:cubicBezTo>
                    <a:pt x="373659" y="82655"/>
                    <a:pt x="381817" y="79936"/>
                    <a:pt x="387257" y="77216"/>
                  </a:cubicBezTo>
                  <a:cubicBezTo>
                    <a:pt x="400855" y="74496"/>
                    <a:pt x="414453" y="71776"/>
                    <a:pt x="422612" y="71776"/>
                  </a:cubicBezTo>
                  <a:cubicBezTo>
                    <a:pt x="425332" y="71776"/>
                    <a:pt x="430771" y="71776"/>
                    <a:pt x="436211" y="71776"/>
                  </a:cubicBezTo>
                  <a:cubicBezTo>
                    <a:pt x="436211" y="71776"/>
                    <a:pt x="438930" y="69057"/>
                    <a:pt x="438930" y="69057"/>
                  </a:cubicBezTo>
                  <a:cubicBezTo>
                    <a:pt x="444370" y="66337"/>
                    <a:pt x="447089" y="66337"/>
                    <a:pt x="452529" y="66337"/>
                  </a:cubicBezTo>
                  <a:cubicBezTo>
                    <a:pt x="457968" y="66337"/>
                    <a:pt x="460688" y="66337"/>
                    <a:pt x="466127" y="69057"/>
                  </a:cubicBezTo>
                  <a:cubicBezTo>
                    <a:pt x="468847" y="69057"/>
                    <a:pt x="471566" y="71776"/>
                    <a:pt x="471566" y="71776"/>
                  </a:cubicBezTo>
                  <a:cubicBezTo>
                    <a:pt x="490604" y="71776"/>
                    <a:pt x="506922" y="71776"/>
                    <a:pt x="515081" y="71776"/>
                  </a:cubicBezTo>
                  <a:cubicBezTo>
                    <a:pt x="523240" y="71776"/>
                    <a:pt x="542277" y="71776"/>
                    <a:pt x="542277" y="88094"/>
                  </a:cubicBezTo>
                  <a:cubicBezTo>
                    <a:pt x="542277" y="96253"/>
                    <a:pt x="542277" y="98973"/>
                    <a:pt x="536838" y="104412"/>
                  </a:cubicBezTo>
                  <a:cubicBezTo>
                    <a:pt x="534119" y="109852"/>
                    <a:pt x="528679" y="112571"/>
                    <a:pt x="525959" y="112571"/>
                  </a:cubicBezTo>
                  <a:cubicBezTo>
                    <a:pt x="520520" y="115291"/>
                    <a:pt x="515081" y="115291"/>
                    <a:pt x="509642" y="115291"/>
                  </a:cubicBezTo>
                  <a:cubicBezTo>
                    <a:pt x="506922" y="115291"/>
                    <a:pt x="487884" y="115291"/>
                    <a:pt x="468847" y="115291"/>
                  </a:cubicBezTo>
                  <a:cubicBezTo>
                    <a:pt x="466127" y="123450"/>
                    <a:pt x="460688" y="128889"/>
                    <a:pt x="457968" y="137048"/>
                  </a:cubicBezTo>
                  <a:cubicBezTo>
                    <a:pt x="447089" y="156086"/>
                    <a:pt x="438930" y="175123"/>
                    <a:pt x="430771" y="194161"/>
                  </a:cubicBezTo>
                  <a:cubicBezTo>
                    <a:pt x="419893" y="215918"/>
                    <a:pt x="411734" y="240395"/>
                    <a:pt x="400855" y="262152"/>
                  </a:cubicBezTo>
                  <a:cubicBezTo>
                    <a:pt x="387257" y="289349"/>
                    <a:pt x="373659" y="311106"/>
                    <a:pt x="360060" y="332863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2" name="Freeform: Shape 41">
              <a:extLst>
                <a:ext uri="{FF2B5EF4-FFF2-40B4-BE49-F238E27FC236}">
                  <a16:creationId xmlns:a16="http://schemas.microsoft.com/office/drawing/2014/main" id="{C93ECA97-B97C-4583-903C-CA4913633E3F}"/>
                </a:ext>
              </a:extLst>
            </p:cNvPr>
            <p:cNvSpPr/>
            <p:nvPr/>
          </p:nvSpPr>
          <p:spPr>
            <a:xfrm>
              <a:off x="4335316" y="4186718"/>
              <a:ext cx="353556" cy="761503"/>
            </a:xfrm>
            <a:custGeom>
              <a:avLst/>
              <a:gdLst>
                <a:gd name="connsiteX0" fmla="*/ 283910 w 353555"/>
                <a:gd name="connsiteY0" fmla="*/ 672820 h 761503"/>
                <a:gd name="connsiteX1" fmla="*/ 321985 w 353555"/>
                <a:gd name="connsiteY1" fmla="*/ 689138 h 761503"/>
                <a:gd name="connsiteX2" fmla="*/ 316546 w 353555"/>
                <a:gd name="connsiteY2" fmla="*/ 705456 h 761503"/>
                <a:gd name="connsiteX3" fmla="*/ 300228 w 353555"/>
                <a:gd name="connsiteY3" fmla="*/ 713615 h 761503"/>
                <a:gd name="connsiteX4" fmla="*/ 278471 w 353555"/>
                <a:gd name="connsiteY4" fmla="*/ 716335 h 761503"/>
                <a:gd name="connsiteX5" fmla="*/ 237676 w 353555"/>
                <a:gd name="connsiteY5" fmla="*/ 716335 h 761503"/>
                <a:gd name="connsiteX6" fmla="*/ 180563 w 353555"/>
                <a:gd name="connsiteY6" fmla="*/ 719054 h 761503"/>
                <a:gd name="connsiteX7" fmla="*/ 126170 w 353555"/>
                <a:gd name="connsiteY7" fmla="*/ 719054 h 761503"/>
                <a:gd name="connsiteX8" fmla="*/ 101693 w 353555"/>
                <a:gd name="connsiteY8" fmla="*/ 719054 h 761503"/>
                <a:gd name="connsiteX9" fmla="*/ 74496 w 353555"/>
                <a:gd name="connsiteY9" fmla="*/ 713615 h 761503"/>
                <a:gd name="connsiteX10" fmla="*/ 58178 w 353555"/>
                <a:gd name="connsiteY10" fmla="*/ 697297 h 761503"/>
                <a:gd name="connsiteX11" fmla="*/ 63617 w 353555"/>
                <a:gd name="connsiteY11" fmla="*/ 689138 h 761503"/>
                <a:gd name="connsiteX12" fmla="*/ 85375 w 353555"/>
                <a:gd name="connsiteY12" fmla="*/ 680979 h 761503"/>
                <a:gd name="connsiteX13" fmla="*/ 131609 w 353555"/>
                <a:gd name="connsiteY13" fmla="*/ 675540 h 761503"/>
                <a:gd name="connsiteX14" fmla="*/ 142488 w 353555"/>
                <a:gd name="connsiteY14" fmla="*/ 675540 h 761503"/>
                <a:gd name="connsiteX15" fmla="*/ 131609 w 353555"/>
                <a:gd name="connsiteY15" fmla="*/ 653783 h 761503"/>
                <a:gd name="connsiteX16" fmla="*/ 128889 w 353555"/>
                <a:gd name="connsiteY16" fmla="*/ 640184 h 761503"/>
                <a:gd name="connsiteX17" fmla="*/ 128889 w 353555"/>
                <a:gd name="connsiteY17" fmla="*/ 629306 h 761503"/>
                <a:gd name="connsiteX18" fmla="*/ 128889 w 353555"/>
                <a:gd name="connsiteY18" fmla="*/ 621147 h 761503"/>
                <a:gd name="connsiteX19" fmla="*/ 128889 w 353555"/>
                <a:gd name="connsiteY19" fmla="*/ 593950 h 761503"/>
                <a:gd name="connsiteX20" fmla="*/ 128889 w 353555"/>
                <a:gd name="connsiteY20" fmla="*/ 583072 h 761503"/>
                <a:gd name="connsiteX21" fmla="*/ 128889 w 353555"/>
                <a:gd name="connsiteY21" fmla="*/ 436210 h 761503"/>
                <a:gd name="connsiteX22" fmla="*/ 128889 w 353555"/>
                <a:gd name="connsiteY22" fmla="*/ 357340 h 761503"/>
                <a:gd name="connsiteX23" fmla="*/ 131609 w 353555"/>
                <a:gd name="connsiteY23" fmla="*/ 289349 h 761503"/>
                <a:gd name="connsiteX24" fmla="*/ 131609 w 353555"/>
                <a:gd name="connsiteY24" fmla="*/ 251274 h 761503"/>
                <a:gd name="connsiteX25" fmla="*/ 131609 w 353555"/>
                <a:gd name="connsiteY25" fmla="*/ 205040 h 761503"/>
                <a:gd name="connsiteX26" fmla="*/ 131609 w 353555"/>
                <a:gd name="connsiteY26" fmla="*/ 139768 h 761503"/>
                <a:gd name="connsiteX27" fmla="*/ 131609 w 353555"/>
                <a:gd name="connsiteY27" fmla="*/ 128889 h 761503"/>
                <a:gd name="connsiteX28" fmla="*/ 126170 w 353555"/>
                <a:gd name="connsiteY28" fmla="*/ 128889 h 761503"/>
                <a:gd name="connsiteX29" fmla="*/ 101693 w 353555"/>
                <a:gd name="connsiteY29" fmla="*/ 128889 h 761503"/>
                <a:gd name="connsiteX30" fmla="*/ 74496 w 353555"/>
                <a:gd name="connsiteY30" fmla="*/ 123450 h 761503"/>
                <a:gd name="connsiteX31" fmla="*/ 58178 w 353555"/>
                <a:gd name="connsiteY31" fmla="*/ 107132 h 761503"/>
                <a:gd name="connsiteX32" fmla="*/ 60898 w 353555"/>
                <a:gd name="connsiteY32" fmla="*/ 98973 h 761503"/>
                <a:gd name="connsiteX33" fmla="*/ 82655 w 353555"/>
                <a:gd name="connsiteY33" fmla="*/ 93534 h 761503"/>
                <a:gd name="connsiteX34" fmla="*/ 131609 w 353555"/>
                <a:gd name="connsiteY34" fmla="*/ 88094 h 761503"/>
                <a:gd name="connsiteX35" fmla="*/ 131609 w 353555"/>
                <a:gd name="connsiteY35" fmla="*/ 82655 h 761503"/>
                <a:gd name="connsiteX36" fmla="*/ 134329 w 353555"/>
                <a:gd name="connsiteY36" fmla="*/ 71776 h 761503"/>
                <a:gd name="connsiteX37" fmla="*/ 147927 w 353555"/>
                <a:gd name="connsiteY37" fmla="*/ 63617 h 761503"/>
                <a:gd name="connsiteX38" fmla="*/ 164245 w 353555"/>
                <a:gd name="connsiteY38" fmla="*/ 58178 h 761503"/>
                <a:gd name="connsiteX39" fmla="*/ 177843 w 353555"/>
                <a:gd name="connsiteY39" fmla="*/ 58178 h 761503"/>
                <a:gd name="connsiteX40" fmla="*/ 196881 w 353555"/>
                <a:gd name="connsiteY40" fmla="*/ 60898 h 761503"/>
                <a:gd name="connsiteX41" fmla="*/ 232236 w 353555"/>
                <a:gd name="connsiteY41" fmla="*/ 88094 h 761503"/>
                <a:gd name="connsiteX42" fmla="*/ 278471 w 353555"/>
                <a:gd name="connsiteY42" fmla="*/ 88094 h 761503"/>
                <a:gd name="connsiteX43" fmla="*/ 316546 w 353555"/>
                <a:gd name="connsiteY43" fmla="*/ 104412 h 761503"/>
                <a:gd name="connsiteX44" fmla="*/ 311106 w 353555"/>
                <a:gd name="connsiteY44" fmla="*/ 120730 h 761503"/>
                <a:gd name="connsiteX45" fmla="*/ 294788 w 353555"/>
                <a:gd name="connsiteY45" fmla="*/ 128889 h 761503"/>
                <a:gd name="connsiteX46" fmla="*/ 273031 w 353555"/>
                <a:gd name="connsiteY46" fmla="*/ 131609 h 761503"/>
                <a:gd name="connsiteX47" fmla="*/ 243115 w 353555"/>
                <a:gd name="connsiteY47" fmla="*/ 131609 h 761503"/>
                <a:gd name="connsiteX48" fmla="*/ 243115 w 353555"/>
                <a:gd name="connsiteY48" fmla="*/ 134329 h 761503"/>
                <a:gd name="connsiteX49" fmla="*/ 248554 w 353555"/>
                <a:gd name="connsiteY49" fmla="*/ 169684 h 761503"/>
                <a:gd name="connsiteX50" fmla="*/ 251274 w 353555"/>
                <a:gd name="connsiteY50" fmla="*/ 205040 h 761503"/>
                <a:gd name="connsiteX51" fmla="*/ 251274 w 353555"/>
                <a:gd name="connsiteY51" fmla="*/ 240395 h 761503"/>
                <a:gd name="connsiteX52" fmla="*/ 251274 w 353555"/>
                <a:gd name="connsiteY52" fmla="*/ 256713 h 761503"/>
                <a:gd name="connsiteX53" fmla="*/ 253994 w 353555"/>
                <a:gd name="connsiteY53" fmla="*/ 270311 h 761503"/>
                <a:gd name="connsiteX54" fmla="*/ 259433 w 353555"/>
                <a:gd name="connsiteY54" fmla="*/ 343742 h 761503"/>
                <a:gd name="connsiteX55" fmla="*/ 262153 w 353555"/>
                <a:gd name="connsiteY55" fmla="*/ 425332 h 761503"/>
                <a:gd name="connsiteX56" fmla="*/ 264872 w 353555"/>
                <a:gd name="connsiteY56" fmla="*/ 490603 h 761503"/>
                <a:gd name="connsiteX57" fmla="*/ 270312 w 353555"/>
                <a:gd name="connsiteY57" fmla="*/ 564034 h 761503"/>
                <a:gd name="connsiteX58" fmla="*/ 270312 w 353555"/>
                <a:gd name="connsiteY58" fmla="*/ 599390 h 761503"/>
                <a:gd name="connsiteX59" fmla="*/ 270312 w 353555"/>
                <a:gd name="connsiteY59" fmla="*/ 637465 h 761503"/>
                <a:gd name="connsiteX60" fmla="*/ 264872 w 353555"/>
                <a:gd name="connsiteY60" fmla="*/ 670101 h 761503"/>
                <a:gd name="connsiteX61" fmla="*/ 283910 w 353555"/>
                <a:gd name="connsiteY61" fmla="*/ 672820 h 761503"/>
                <a:gd name="connsiteX62" fmla="*/ 283910 w 353555"/>
                <a:gd name="connsiteY62" fmla="*/ 672820 h 761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</a:cxnLst>
              <a:rect l="l" t="t" r="r" b="b"/>
              <a:pathLst>
                <a:path w="353555" h="761503">
                  <a:moveTo>
                    <a:pt x="283910" y="672820"/>
                  </a:moveTo>
                  <a:cubicBezTo>
                    <a:pt x="297508" y="672820"/>
                    <a:pt x="321985" y="672820"/>
                    <a:pt x="321985" y="689138"/>
                  </a:cubicBezTo>
                  <a:cubicBezTo>
                    <a:pt x="321985" y="697297"/>
                    <a:pt x="319265" y="697297"/>
                    <a:pt x="316546" y="705456"/>
                  </a:cubicBezTo>
                  <a:cubicBezTo>
                    <a:pt x="311106" y="710895"/>
                    <a:pt x="305667" y="713615"/>
                    <a:pt x="300228" y="713615"/>
                  </a:cubicBezTo>
                  <a:cubicBezTo>
                    <a:pt x="292069" y="716335"/>
                    <a:pt x="283910" y="716335"/>
                    <a:pt x="278471" y="716335"/>
                  </a:cubicBezTo>
                  <a:cubicBezTo>
                    <a:pt x="275751" y="716335"/>
                    <a:pt x="256713" y="716335"/>
                    <a:pt x="237676" y="716335"/>
                  </a:cubicBezTo>
                  <a:cubicBezTo>
                    <a:pt x="213199" y="716335"/>
                    <a:pt x="186002" y="719054"/>
                    <a:pt x="180563" y="719054"/>
                  </a:cubicBezTo>
                  <a:cubicBezTo>
                    <a:pt x="166965" y="719054"/>
                    <a:pt x="142488" y="719054"/>
                    <a:pt x="126170" y="719054"/>
                  </a:cubicBezTo>
                  <a:cubicBezTo>
                    <a:pt x="118011" y="719054"/>
                    <a:pt x="109852" y="719054"/>
                    <a:pt x="101693" y="719054"/>
                  </a:cubicBezTo>
                  <a:cubicBezTo>
                    <a:pt x="93534" y="719054"/>
                    <a:pt x="82655" y="719054"/>
                    <a:pt x="74496" y="713615"/>
                  </a:cubicBezTo>
                  <a:cubicBezTo>
                    <a:pt x="66337" y="710895"/>
                    <a:pt x="58178" y="702736"/>
                    <a:pt x="58178" y="697297"/>
                  </a:cubicBezTo>
                  <a:cubicBezTo>
                    <a:pt x="58178" y="694578"/>
                    <a:pt x="58178" y="691858"/>
                    <a:pt x="63617" y="689138"/>
                  </a:cubicBezTo>
                  <a:cubicBezTo>
                    <a:pt x="69057" y="686418"/>
                    <a:pt x="79935" y="683699"/>
                    <a:pt x="85375" y="680979"/>
                  </a:cubicBezTo>
                  <a:cubicBezTo>
                    <a:pt x="104412" y="678260"/>
                    <a:pt x="123450" y="675540"/>
                    <a:pt x="131609" y="675540"/>
                  </a:cubicBezTo>
                  <a:cubicBezTo>
                    <a:pt x="134329" y="675540"/>
                    <a:pt x="137048" y="675540"/>
                    <a:pt x="142488" y="675540"/>
                  </a:cubicBezTo>
                  <a:cubicBezTo>
                    <a:pt x="134329" y="670101"/>
                    <a:pt x="131609" y="661942"/>
                    <a:pt x="131609" y="653783"/>
                  </a:cubicBezTo>
                  <a:cubicBezTo>
                    <a:pt x="131609" y="648343"/>
                    <a:pt x="131609" y="642904"/>
                    <a:pt x="128889" y="640184"/>
                  </a:cubicBezTo>
                  <a:cubicBezTo>
                    <a:pt x="128889" y="637465"/>
                    <a:pt x="128889" y="634745"/>
                    <a:pt x="128889" y="629306"/>
                  </a:cubicBezTo>
                  <a:cubicBezTo>
                    <a:pt x="128889" y="626586"/>
                    <a:pt x="128889" y="623867"/>
                    <a:pt x="128889" y="621147"/>
                  </a:cubicBezTo>
                  <a:cubicBezTo>
                    <a:pt x="128889" y="612988"/>
                    <a:pt x="128889" y="604829"/>
                    <a:pt x="128889" y="593950"/>
                  </a:cubicBezTo>
                  <a:cubicBezTo>
                    <a:pt x="128889" y="591231"/>
                    <a:pt x="128889" y="585791"/>
                    <a:pt x="128889" y="583072"/>
                  </a:cubicBezTo>
                  <a:cubicBezTo>
                    <a:pt x="128889" y="534118"/>
                    <a:pt x="131609" y="485164"/>
                    <a:pt x="128889" y="436210"/>
                  </a:cubicBezTo>
                  <a:cubicBezTo>
                    <a:pt x="128889" y="409014"/>
                    <a:pt x="128889" y="384537"/>
                    <a:pt x="128889" y="357340"/>
                  </a:cubicBezTo>
                  <a:cubicBezTo>
                    <a:pt x="128889" y="335583"/>
                    <a:pt x="131609" y="313826"/>
                    <a:pt x="131609" y="289349"/>
                  </a:cubicBezTo>
                  <a:cubicBezTo>
                    <a:pt x="131609" y="275751"/>
                    <a:pt x="131609" y="264872"/>
                    <a:pt x="131609" y="251274"/>
                  </a:cubicBezTo>
                  <a:cubicBezTo>
                    <a:pt x="131609" y="234956"/>
                    <a:pt x="131609" y="221357"/>
                    <a:pt x="131609" y="205040"/>
                  </a:cubicBezTo>
                  <a:cubicBezTo>
                    <a:pt x="131609" y="183282"/>
                    <a:pt x="131609" y="161525"/>
                    <a:pt x="131609" y="139768"/>
                  </a:cubicBezTo>
                  <a:cubicBezTo>
                    <a:pt x="131609" y="137048"/>
                    <a:pt x="131609" y="134329"/>
                    <a:pt x="131609" y="128889"/>
                  </a:cubicBezTo>
                  <a:cubicBezTo>
                    <a:pt x="128889" y="128889"/>
                    <a:pt x="126170" y="128889"/>
                    <a:pt x="126170" y="128889"/>
                  </a:cubicBezTo>
                  <a:cubicBezTo>
                    <a:pt x="118011" y="128889"/>
                    <a:pt x="109852" y="128889"/>
                    <a:pt x="101693" y="128889"/>
                  </a:cubicBezTo>
                  <a:cubicBezTo>
                    <a:pt x="93534" y="128889"/>
                    <a:pt x="82655" y="128889"/>
                    <a:pt x="74496" y="123450"/>
                  </a:cubicBezTo>
                  <a:cubicBezTo>
                    <a:pt x="66337" y="120730"/>
                    <a:pt x="58178" y="112571"/>
                    <a:pt x="58178" y="107132"/>
                  </a:cubicBezTo>
                  <a:cubicBezTo>
                    <a:pt x="58178" y="104412"/>
                    <a:pt x="58178" y="101693"/>
                    <a:pt x="60898" y="98973"/>
                  </a:cubicBezTo>
                  <a:cubicBezTo>
                    <a:pt x="63617" y="96253"/>
                    <a:pt x="77216" y="93534"/>
                    <a:pt x="82655" y="93534"/>
                  </a:cubicBezTo>
                  <a:cubicBezTo>
                    <a:pt x="98973" y="90814"/>
                    <a:pt x="123450" y="88094"/>
                    <a:pt x="131609" y="88094"/>
                  </a:cubicBezTo>
                  <a:cubicBezTo>
                    <a:pt x="131609" y="85375"/>
                    <a:pt x="131609" y="85375"/>
                    <a:pt x="131609" y="82655"/>
                  </a:cubicBezTo>
                  <a:cubicBezTo>
                    <a:pt x="131609" y="77216"/>
                    <a:pt x="131609" y="74496"/>
                    <a:pt x="134329" y="71776"/>
                  </a:cubicBezTo>
                  <a:cubicBezTo>
                    <a:pt x="137048" y="69057"/>
                    <a:pt x="145207" y="66337"/>
                    <a:pt x="147927" y="63617"/>
                  </a:cubicBezTo>
                  <a:cubicBezTo>
                    <a:pt x="153366" y="60898"/>
                    <a:pt x="158806" y="58178"/>
                    <a:pt x="164245" y="58178"/>
                  </a:cubicBezTo>
                  <a:cubicBezTo>
                    <a:pt x="169684" y="58178"/>
                    <a:pt x="175123" y="58178"/>
                    <a:pt x="177843" y="58178"/>
                  </a:cubicBezTo>
                  <a:cubicBezTo>
                    <a:pt x="183283" y="58178"/>
                    <a:pt x="191442" y="58178"/>
                    <a:pt x="196881" y="60898"/>
                  </a:cubicBezTo>
                  <a:cubicBezTo>
                    <a:pt x="213199" y="63617"/>
                    <a:pt x="224077" y="74496"/>
                    <a:pt x="232236" y="88094"/>
                  </a:cubicBezTo>
                  <a:cubicBezTo>
                    <a:pt x="253994" y="88094"/>
                    <a:pt x="270312" y="88094"/>
                    <a:pt x="278471" y="88094"/>
                  </a:cubicBezTo>
                  <a:cubicBezTo>
                    <a:pt x="292069" y="88094"/>
                    <a:pt x="316546" y="88094"/>
                    <a:pt x="316546" y="104412"/>
                  </a:cubicBezTo>
                  <a:cubicBezTo>
                    <a:pt x="316546" y="112571"/>
                    <a:pt x="313826" y="112571"/>
                    <a:pt x="311106" y="120730"/>
                  </a:cubicBezTo>
                  <a:cubicBezTo>
                    <a:pt x="305667" y="126170"/>
                    <a:pt x="300228" y="128889"/>
                    <a:pt x="294788" y="128889"/>
                  </a:cubicBezTo>
                  <a:cubicBezTo>
                    <a:pt x="286630" y="131609"/>
                    <a:pt x="278471" y="131609"/>
                    <a:pt x="273031" y="131609"/>
                  </a:cubicBezTo>
                  <a:cubicBezTo>
                    <a:pt x="270312" y="131609"/>
                    <a:pt x="259433" y="131609"/>
                    <a:pt x="243115" y="131609"/>
                  </a:cubicBezTo>
                  <a:lnTo>
                    <a:pt x="243115" y="134329"/>
                  </a:lnTo>
                  <a:cubicBezTo>
                    <a:pt x="245835" y="145207"/>
                    <a:pt x="245835" y="158805"/>
                    <a:pt x="248554" y="169684"/>
                  </a:cubicBezTo>
                  <a:cubicBezTo>
                    <a:pt x="251274" y="180563"/>
                    <a:pt x="251274" y="194161"/>
                    <a:pt x="251274" y="205040"/>
                  </a:cubicBezTo>
                  <a:cubicBezTo>
                    <a:pt x="251274" y="215918"/>
                    <a:pt x="251274" y="226797"/>
                    <a:pt x="251274" y="240395"/>
                  </a:cubicBezTo>
                  <a:cubicBezTo>
                    <a:pt x="251274" y="245834"/>
                    <a:pt x="251274" y="251274"/>
                    <a:pt x="251274" y="256713"/>
                  </a:cubicBezTo>
                  <a:cubicBezTo>
                    <a:pt x="251274" y="262152"/>
                    <a:pt x="251274" y="267592"/>
                    <a:pt x="253994" y="270311"/>
                  </a:cubicBezTo>
                  <a:cubicBezTo>
                    <a:pt x="256713" y="294788"/>
                    <a:pt x="256713" y="319265"/>
                    <a:pt x="259433" y="343742"/>
                  </a:cubicBezTo>
                  <a:cubicBezTo>
                    <a:pt x="259433" y="370939"/>
                    <a:pt x="262153" y="398135"/>
                    <a:pt x="262153" y="425332"/>
                  </a:cubicBezTo>
                  <a:cubicBezTo>
                    <a:pt x="262153" y="447089"/>
                    <a:pt x="262153" y="468846"/>
                    <a:pt x="264872" y="490603"/>
                  </a:cubicBezTo>
                  <a:cubicBezTo>
                    <a:pt x="264872" y="515080"/>
                    <a:pt x="270312" y="539557"/>
                    <a:pt x="270312" y="564034"/>
                  </a:cubicBezTo>
                  <a:cubicBezTo>
                    <a:pt x="270312" y="574913"/>
                    <a:pt x="270312" y="588511"/>
                    <a:pt x="270312" y="599390"/>
                  </a:cubicBezTo>
                  <a:cubicBezTo>
                    <a:pt x="270312" y="612988"/>
                    <a:pt x="270312" y="623867"/>
                    <a:pt x="270312" y="637465"/>
                  </a:cubicBezTo>
                  <a:cubicBezTo>
                    <a:pt x="270312" y="648343"/>
                    <a:pt x="270312" y="661942"/>
                    <a:pt x="264872" y="670101"/>
                  </a:cubicBezTo>
                  <a:cubicBezTo>
                    <a:pt x="273031" y="672820"/>
                    <a:pt x="278471" y="672820"/>
                    <a:pt x="283910" y="672820"/>
                  </a:cubicBezTo>
                  <a:lnTo>
                    <a:pt x="283910" y="672820"/>
                  </a:ln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3" name="Freeform: Shape 42">
              <a:extLst>
                <a:ext uri="{FF2B5EF4-FFF2-40B4-BE49-F238E27FC236}">
                  <a16:creationId xmlns:a16="http://schemas.microsoft.com/office/drawing/2014/main" id="{27E45CBE-6678-447C-B516-5E394D02935C}"/>
                </a:ext>
              </a:extLst>
            </p:cNvPr>
            <p:cNvSpPr/>
            <p:nvPr/>
          </p:nvSpPr>
          <p:spPr>
            <a:xfrm>
              <a:off x="4620880" y="4194877"/>
              <a:ext cx="598325" cy="761503"/>
            </a:xfrm>
            <a:custGeom>
              <a:avLst/>
              <a:gdLst>
                <a:gd name="connsiteX0" fmla="*/ 515081 w 598324"/>
                <a:gd name="connsiteY0" fmla="*/ 79935 h 761503"/>
                <a:gd name="connsiteX1" fmla="*/ 542277 w 598324"/>
                <a:gd name="connsiteY1" fmla="*/ 96253 h 761503"/>
                <a:gd name="connsiteX2" fmla="*/ 536838 w 598324"/>
                <a:gd name="connsiteY2" fmla="*/ 112571 h 761503"/>
                <a:gd name="connsiteX3" fmla="*/ 523240 w 598324"/>
                <a:gd name="connsiteY3" fmla="*/ 120730 h 761503"/>
                <a:gd name="connsiteX4" fmla="*/ 506922 w 598324"/>
                <a:gd name="connsiteY4" fmla="*/ 123450 h 761503"/>
                <a:gd name="connsiteX5" fmla="*/ 477006 w 598324"/>
                <a:gd name="connsiteY5" fmla="*/ 123450 h 761503"/>
                <a:gd name="connsiteX6" fmla="*/ 479725 w 598324"/>
                <a:gd name="connsiteY6" fmla="*/ 145207 h 761503"/>
                <a:gd name="connsiteX7" fmla="*/ 477006 w 598324"/>
                <a:gd name="connsiteY7" fmla="*/ 180563 h 761503"/>
                <a:gd name="connsiteX8" fmla="*/ 482445 w 598324"/>
                <a:gd name="connsiteY8" fmla="*/ 232236 h 761503"/>
                <a:gd name="connsiteX9" fmla="*/ 485165 w 598324"/>
                <a:gd name="connsiteY9" fmla="*/ 283909 h 761503"/>
                <a:gd name="connsiteX10" fmla="*/ 485165 w 598324"/>
                <a:gd name="connsiteY10" fmla="*/ 327424 h 761503"/>
                <a:gd name="connsiteX11" fmla="*/ 487884 w 598324"/>
                <a:gd name="connsiteY11" fmla="*/ 373658 h 761503"/>
                <a:gd name="connsiteX12" fmla="*/ 485165 w 598324"/>
                <a:gd name="connsiteY12" fmla="*/ 419892 h 761503"/>
                <a:gd name="connsiteX13" fmla="*/ 485165 w 598324"/>
                <a:gd name="connsiteY13" fmla="*/ 463407 h 761503"/>
                <a:gd name="connsiteX14" fmla="*/ 482445 w 598324"/>
                <a:gd name="connsiteY14" fmla="*/ 515080 h 761503"/>
                <a:gd name="connsiteX15" fmla="*/ 482445 w 598324"/>
                <a:gd name="connsiteY15" fmla="*/ 558595 h 761503"/>
                <a:gd name="connsiteX16" fmla="*/ 479725 w 598324"/>
                <a:gd name="connsiteY16" fmla="*/ 602109 h 761503"/>
                <a:gd name="connsiteX17" fmla="*/ 485165 w 598324"/>
                <a:gd name="connsiteY17" fmla="*/ 648343 h 761503"/>
                <a:gd name="connsiteX18" fmla="*/ 474286 w 598324"/>
                <a:gd name="connsiteY18" fmla="*/ 675540 h 761503"/>
                <a:gd name="connsiteX19" fmla="*/ 428052 w 598324"/>
                <a:gd name="connsiteY19" fmla="*/ 691858 h 761503"/>
                <a:gd name="connsiteX20" fmla="*/ 387257 w 598324"/>
                <a:gd name="connsiteY20" fmla="*/ 683699 h 761503"/>
                <a:gd name="connsiteX21" fmla="*/ 351901 w 598324"/>
                <a:gd name="connsiteY21" fmla="*/ 664661 h 761503"/>
                <a:gd name="connsiteX22" fmla="*/ 305667 w 598324"/>
                <a:gd name="connsiteY22" fmla="*/ 596670 h 761503"/>
                <a:gd name="connsiteX23" fmla="*/ 270312 w 598324"/>
                <a:gd name="connsiteY23" fmla="*/ 509641 h 761503"/>
                <a:gd name="connsiteX24" fmla="*/ 251274 w 598324"/>
                <a:gd name="connsiteY24" fmla="*/ 460687 h 761503"/>
                <a:gd name="connsiteX25" fmla="*/ 224077 w 598324"/>
                <a:gd name="connsiteY25" fmla="*/ 381817 h 761503"/>
                <a:gd name="connsiteX26" fmla="*/ 207759 w 598324"/>
                <a:gd name="connsiteY26" fmla="*/ 330144 h 761503"/>
                <a:gd name="connsiteX27" fmla="*/ 191442 w 598324"/>
                <a:gd name="connsiteY27" fmla="*/ 286629 h 761503"/>
                <a:gd name="connsiteX28" fmla="*/ 183283 w 598324"/>
                <a:gd name="connsiteY28" fmla="*/ 278470 h 761503"/>
                <a:gd name="connsiteX29" fmla="*/ 180563 w 598324"/>
                <a:gd name="connsiteY29" fmla="*/ 292068 h 761503"/>
                <a:gd name="connsiteX30" fmla="*/ 180563 w 598324"/>
                <a:gd name="connsiteY30" fmla="*/ 305667 h 761503"/>
                <a:gd name="connsiteX31" fmla="*/ 183283 w 598324"/>
                <a:gd name="connsiteY31" fmla="*/ 354620 h 761503"/>
                <a:gd name="connsiteX32" fmla="*/ 188722 w 598324"/>
                <a:gd name="connsiteY32" fmla="*/ 449808 h 761503"/>
                <a:gd name="connsiteX33" fmla="*/ 188722 w 598324"/>
                <a:gd name="connsiteY33" fmla="*/ 479725 h 761503"/>
                <a:gd name="connsiteX34" fmla="*/ 188722 w 598324"/>
                <a:gd name="connsiteY34" fmla="*/ 542277 h 761503"/>
                <a:gd name="connsiteX35" fmla="*/ 186002 w 598324"/>
                <a:gd name="connsiteY35" fmla="*/ 615708 h 761503"/>
                <a:gd name="connsiteX36" fmla="*/ 186002 w 598324"/>
                <a:gd name="connsiteY36" fmla="*/ 637465 h 761503"/>
                <a:gd name="connsiteX37" fmla="*/ 183283 w 598324"/>
                <a:gd name="connsiteY37" fmla="*/ 664661 h 761503"/>
                <a:gd name="connsiteX38" fmla="*/ 226797 w 598324"/>
                <a:gd name="connsiteY38" fmla="*/ 664661 h 761503"/>
                <a:gd name="connsiteX39" fmla="*/ 253994 w 598324"/>
                <a:gd name="connsiteY39" fmla="*/ 680979 h 761503"/>
                <a:gd name="connsiteX40" fmla="*/ 248554 w 598324"/>
                <a:gd name="connsiteY40" fmla="*/ 697297 h 761503"/>
                <a:gd name="connsiteX41" fmla="*/ 234956 w 598324"/>
                <a:gd name="connsiteY41" fmla="*/ 705456 h 761503"/>
                <a:gd name="connsiteX42" fmla="*/ 218638 w 598324"/>
                <a:gd name="connsiteY42" fmla="*/ 708176 h 761503"/>
                <a:gd name="connsiteX43" fmla="*/ 183283 w 598324"/>
                <a:gd name="connsiteY43" fmla="*/ 708176 h 761503"/>
                <a:gd name="connsiteX44" fmla="*/ 150647 w 598324"/>
                <a:gd name="connsiteY44" fmla="*/ 708176 h 761503"/>
                <a:gd name="connsiteX45" fmla="*/ 107132 w 598324"/>
                <a:gd name="connsiteY45" fmla="*/ 708176 h 761503"/>
                <a:gd name="connsiteX46" fmla="*/ 88094 w 598324"/>
                <a:gd name="connsiteY46" fmla="*/ 708176 h 761503"/>
                <a:gd name="connsiteX47" fmla="*/ 69057 w 598324"/>
                <a:gd name="connsiteY47" fmla="*/ 702736 h 761503"/>
                <a:gd name="connsiteX48" fmla="*/ 58178 w 598324"/>
                <a:gd name="connsiteY48" fmla="*/ 686418 h 761503"/>
                <a:gd name="connsiteX49" fmla="*/ 60898 w 598324"/>
                <a:gd name="connsiteY49" fmla="*/ 678259 h 761503"/>
                <a:gd name="connsiteX50" fmla="*/ 77216 w 598324"/>
                <a:gd name="connsiteY50" fmla="*/ 670101 h 761503"/>
                <a:gd name="connsiteX51" fmla="*/ 120730 w 598324"/>
                <a:gd name="connsiteY51" fmla="*/ 664661 h 761503"/>
                <a:gd name="connsiteX52" fmla="*/ 131609 w 598324"/>
                <a:gd name="connsiteY52" fmla="*/ 664661 h 761503"/>
                <a:gd name="connsiteX53" fmla="*/ 134329 w 598324"/>
                <a:gd name="connsiteY53" fmla="*/ 539557 h 761503"/>
                <a:gd name="connsiteX54" fmla="*/ 134329 w 598324"/>
                <a:gd name="connsiteY54" fmla="*/ 504201 h 761503"/>
                <a:gd name="connsiteX55" fmla="*/ 131609 w 598324"/>
                <a:gd name="connsiteY55" fmla="*/ 376378 h 761503"/>
                <a:gd name="connsiteX56" fmla="*/ 131609 w 598324"/>
                <a:gd name="connsiteY56" fmla="*/ 302947 h 761503"/>
                <a:gd name="connsiteX57" fmla="*/ 134329 w 598324"/>
                <a:gd name="connsiteY57" fmla="*/ 221357 h 761503"/>
                <a:gd name="connsiteX58" fmla="*/ 137048 w 598324"/>
                <a:gd name="connsiteY58" fmla="*/ 123450 h 761503"/>
                <a:gd name="connsiteX59" fmla="*/ 107132 w 598324"/>
                <a:gd name="connsiteY59" fmla="*/ 123450 h 761503"/>
                <a:gd name="connsiteX60" fmla="*/ 88094 w 598324"/>
                <a:gd name="connsiteY60" fmla="*/ 123450 h 761503"/>
                <a:gd name="connsiteX61" fmla="*/ 69057 w 598324"/>
                <a:gd name="connsiteY61" fmla="*/ 118011 h 761503"/>
                <a:gd name="connsiteX62" fmla="*/ 58178 w 598324"/>
                <a:gd name="connsiteY62" fmla="*/ 101693 h 761503"/>
                <a:gd name="connsiteX63" fmla="*/ 60898 w 598324"/>
                <a:gd name="connsiteY63" fmla="*/ 93534 h 761503"/>
                <a:gd name="connsiteX64" fmla="*/ 77216 w 598324"/>
                <a:gd name="connsiteY64" fmla="*/ 85375 h 761503"/>
                <a:gd name="connsiteX65" fmla="*/ 131609 w 598324"/>
                <a:gd name="connsiteY65" fmla="*/ 79935 h 761503"/>
                <a:gd name="connsiteX66" fmla="*/ 161525 w 598324"/>
                <a:gd name="connsiteY66" fmla="*/ 79935 h 761503"/>
                <a:gd name="connsiteX67" fmla="*/ 177843 w 598324"/>
                <a:gd name="connsiteY67" fmla="*/ 66337 h 761503"/>
                <a:gd name="connsiteX68" fmla="*/ 202320 w 598324"/>
                <a:gd name="connsiteY68" fmla="*/ 58178 h 761503"/>
                <a:gd name="connsiteX69" fmla="*/ 234956 w 598324"/>
                <a:gd name="connsiteY69" fmla="*/ 77216 h 761503"/>
                <a:gd name="connsiteX70" fmla="*/ 251274 w 598324"/>
                <a:gd name="connsiteY70" fmla="*/ 107132 h 761503"/>
                <a:gd name="connsiteX71" fmla="*/ 267592 w 598324"/>
                <a:gd name="connsiteY71" fmla="*/ 147927 h 761503"/>
                <a:gd name="connsiteX72" fmla="*/ 281190 w 598324"/>
                <a:gd name="connsiteY72" fmla="*/ 183282 h 761503"/>
                <a:gd name="connsiteX73" fmla="*/ 297508 w 598324"/>
                <a:gd name="connsiteY73" fmla="*/ 224077 h 761503"/>
                <a:gd name="connsiteX74" fmla="*/ 308387 w 598324"/>
                <a:gd name="connsiteY74" fmla="*/ 264872 h 761503"/>
                <a:gd name="connsiteX75" fmla="*/ 319265 w 598324"/>
                <a:gd name="connsiteY75" fmla="*/ 300227 h 761503"/>
                <a:gd name="connsiteX76" fmla="*/ 351901 w 598324"/>
                <a:gd name="connsiteY76" fmla="*/ 379097 h 761503"/>
                <a:gd name="connsiteX77" fmla="*/ 365500 w 598324"/>
                <a:gd name="connsiteY77" fmla="*/ 417173 h 761503"/>
                <a:gd name="connsiteX78" fmla="*/ 379098 w 598324"/>
                <a:gd name="connsiteY78" fmla="*/ 457967 h 761503"/>
                <a:gd name="connsiteX79" fmla="*/ 395416 w 598324"/>
                <a:gd name="connsiteY79" fmla="*/ 496043 h 761503"/>
                <a:gd name="connsiteX80" fmla="*/ 406294 w 598324"/>
                <a:gd name="connsiteY80" fmla="*/ 512361 h 761503"/>
                <a:gd name="connsiteX81" fmla="*/ 411734 w 598324"/>
                <a:gd name="connsiteY81" fmla="*/ 531398 h 761503"/>
                <a:gd name="connsiteX82" fmla="*/ 419893 w 598324"/>
                <a:gd name="connsiteY82" fmla="*/ 558595 h 761503"/>
                <a:gd name="connsiteX83" fmla="*/ 425332 w 598324"/>
                <a:gd name="connsiteY83" fmla="*/ 564034 h 761503"/>
                <a:gd name="connsiteX84" fmla="*/ 430771 w 598324"/>
                <a:gd name="connsiteY84" fmla="*/ 558595 h 761503"/>
                <a:gd name="connsiteX85" fmla="*/ 430771 w 598324"/>
                <a:gd name="connsiteY85" fmla="*/ 550436 h 761503"/>
                <a:gd name="connsiteX86" fmla="*/ 430771 w 598324"/>
                <a:gd name="connsiteY86" fmla="*/ 501482 h 761503"/>
                <a:gd name="connsiteX87" fmla="*/ 430771 w 598324"/>
                <a:gd name="connsiteY87" fmla="*/ 403574 h 761503"/>
                <a:gd name="connsiteX88" fmla="*/ 425332 w 598324"/>
                <a:gd name="connsiteY88" fmla="*/ 313826 h 761503"/>
                <a:gd name="connsiteX89" fmla="*/ 425332 w 598324"/>
                <a:gd name="connsiteY89" fmla="*/ 248554 h 761503"/>
                <a:gd name="connsiteX90" fmla="*/ 425332 w 598324"/>
                <a:gd name="connsiteY90" fmla="*/ 210479 h 761503"/>
                <a:gd name="connsiteX91" fmla="*/ 422613 w 598324"/>
                <a:gd name="connsiteY91" fmla="*/ 153366 h 761503"/>
                <a:gd name="connsiteX92" fmla="*/ 425332 w 598324"/>
                <a:gd name="connsiteY92" fmla="*/ 123450 h 761503"/>
                <a:gd name="connsiteX93" fmla="*/ 398136 w 598324"/>
                <a:gd name="connsiteY93" fmla="*/ 123450 h 761503"/>
                <a:gd name="connsiteX94" fmla="*/ 379098 w 598324"/>
                <a:gd name="connsiteY94" fmla="*/ 123450 h 761503"/>
                <a:gd name="connsiteX95" fmla="*/ 360060 w 598324"/>
                <a:gd name="connsiteY95" fmla="*/ 118011 h 761503"/>
                <a:gd name="connsiteX96" fmla="*/ 349182 w 598324"/>
                <a:gd name="connsiteY96" fmla="*/ 101693 h 761503"/>
                <a:gd name="connsiteX97" fmla="*/ 351901 w 598324"/>
                <a:gd name="connsiteY97" fmla="*/ 93534 h 761503"/>
                <a:gd name="connsiteX98" fmla="*/ 368219 w 598324"/>
                <a:gd name="connsiteY98" fmla="*/ 85375 h 761503"/>
                <a:gd name="connsiteX99" fmla="*/ 422613 w 598324"/>
                <a:gd name="connsiteY99" fmla="*/ 79935 h 761503"/>
                <a:gd name="connsiteX100" fmla="*/ 444370 w 598324"/>
                <a:gd name="connsiteY100" fmla="*/ 79935 h 761503"/>
                <a:gd name="connsiteX101" fmla="*/ 463407 w 598324"/>
                <a:gd name="connsiteY101" fmla="*/ 71776 h 761503"/>
                <a:gd name="connsiteX102" fmla="*/ 477006 w 598324"/>
                <a:gd name="connsiteY102" fmla="*/ 79935 h 761503"/>
                <a:gd name="connsiteX103" fmla="*/ 515081 w 598324"/>
                <a:gd name="connsiteY103" fmla="*/ 79935 h 761503"/>
                <a:gd name="connsiteX104" fmla="*/ 515081 w 598324"/>
                <a:gd name="connsiteY104" fmla="*/ 79935 h 761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</a:cxnLst>
              <a:rect l="l" t="t" r="r" b="b"/>
              <a:pathLst>
                <a:path w="598324" h="761503">
                  <a:moveTo>
                    <a:pt x="515081" y="79935"/>
                  </a:moveTo>
                  <a:cubicBezTo>
                    <a:pt x="523240" y="79935"/>
                    <a:pt x="542277" y="79935"/>
                    <a:pt x="542277" y="96253"/>
                  </a:cubicBezTo>
                  <a:cubicBezTo>
                    <a:pt x="542277" y="104412"/>
                    <a:pt x="542277" y="107132"/>
                    <a:pt x="536838" y="112571"/>
                  </a:cubicBezTo>
                  <a:cubicBezTo>
                    <a:pt x="534119" y="118011"/>
                    <a:pt x="528679" y="120730"/>
                    <a:pt x="523240" y="120730"/>
                  </a:cubicBezTo>
                  <a:cubicBezTo>
                    <a:pt x="515081" y="123450"/>
                    <a:pt x="512361" y="123450"/>
                    <a:pt x="506922" y="123450"/>
                  </a:cubicBezTo>
                  <a:cubicBezTo>
                    <a:pt x="504202" y="123450"/>
                    <a:pt x="490604" y="123450"/>
                    <a:pt x="477006" y="123450"/>
                  </a:cubicBezTo>
                  <a:cubicBezTo>
                    <a:pt x="477006" y="131609"/>
                    <a:pt x="479725" y="137048"/>
                    <a:pt x="479725" y="145207"/>
                  </a:cubicBezTo>
                  <a:cubicBezTo>
                    <a:pt x="479725" y="156086"/>
                    <a:pt x="477006" y="166964"/>
                    <a:pt x="477006" y="180563"/>
                  </a:cubicBezTo>
                  <a:cubicBezTo>
                    <a:pt x="477006" y="196881"/>
                    <a:pt x="479725" y="215918"/>
                    <a:pt x="482445" y="232236"/>
                  </a:cubicBezTo>
                  <a:cubicBezTo>
                    <a:pt x="485165" y="248554"/>
                    <a:pt x="485165" y="267592"/>
                    <a:pt x="485165" y="283909"/>
                  </a:cubicBezTo>
                  <a:cubicBezTo>
                    <a:pt x="485165" y="297508"/>
                    <a:pt x="485165" y="313826"/>
                    <a:pt x="485165" y="327424"/>
                  </a:cubicBezTo>
                  <a:cubicBezTo>
                    <a:pt x="485165" y="343742"/>
                    <a:pt x="487884" y="357340"/>
                    <a:pt x="487884" y="373658"/>
                  </a:cubicBezTo>
                  <a:cubicBezTo>
                    <a:pt x="487884" y="389976"/>
                    <a:pt x="485165" y="403574"/>
                    <a:pt x="485165" y="419892"/>
                  </a:cubicBezTo>
                  <a:cubicBezTo>
                    <a:pt x="485165" y="436210"/>
                    <a:pt x="485165" y="449808"/>
                    <a:pt x="485165" y="463407"/>
                  </a:cubicBezTo>
                  <a:cubicBezTo>
                    <a:pt x="485165" y="479725"/>
                    <a:pt x="485165" y="498762"/>
                    <a:pt x="482445" y="515080"/>
                  </a:cubicBezTo>
                  <a:cubicBezTo>
                    <a:pt x="482445" y="528678"/>
                    <a:pt x="482445" y="542277"/>
                    <a:pt x="482445" y="558595"/>
                  </a:cubicBezTo>
                  <a:cubicBezTo>
                    <a:pt x="482445" y="572193"/>
                    <a:pt x="479725" y="588511"/>
                    <a:pt x="479725" y="602109"/>
                  </a:cubicBezTo>
                  <a:cubicBezTo>
                    <a:pt x="479725" y="615708"/>
                    <a:pt x="485165" y="632025"/>
                    <a:pt x="485165" y="648343"/>
                  </a:cubicBezTo>
                  <a:cubicBezTo>
                    <a:pt x="485165" y="659222"/>
                    <a:pt x="482445" y="670101"/>
                    <a:pt x="474286" y="675540"/>
                  </a:cubicBezTo>
                  <a:cubicBezTo>
                    <a:pt x="460688" y="686418"/>
                    <a:pt x="444370" y="691858"/>
                    <a:pt x="428052" y="691858"/>
                  </a:cubicBezTo>
                  <a:cubicBezTo>
                    <a:pt x="414453" y="691858"/>
                    <a:pt x="400855" y="689138"/>
                    <a:pt x="387257" y="683699"/>
                  </a:cubicBezTo>
                  <a:cubicBezTo>
                    <a:pt x="373659" y="678259"/>
                    <a:pt x="360060" y="672820"/>
                    <a:pt x="351901" y="664661"/>
                  </a:cubicBezTo>
                  <a:cubicBezTo>
                    <a:pt x="330144" y="645624"/>
                    <a:pt x="316546" y="621147"/>
                    <a:pt x="305667" y="596670"/>
                  </a:cubicBezTo>
                  <a:cubicBezTo>
                    <a:pt x="292069" y="569473"/>
                    <a:pt x="281190" y="539557"/>
                    <a:pt x="270312" y="509641"/>
                  </a:cubicBezTo>
                  <a:cubicBezTo>
                    <a:pt x="264872" y="493323"/>
                    <a:pt x="256713" y="477005"/>
                    <a:pt x="251274" y="460687"/>
                  </a:cubicBezTo>
                  <a:cubicBezTo>
                    <a:pt x="240395" y="433490"/>
                    <a:pt x="232236" y="409014"/>
                    <a:pt x="224077" y="381817"/>
                  </a:cubicBezTo>
                  <a:cubicBezTo>
                    <a:pt x="218638" y="365499"/>
                    <a:pt x="213199" y="346462"/>
                    <a:pt x="207759" y="330144"/>
                  </a:cubicBezTo>
                  <a:cubicBezTo>
                    <a:pt x="202320" y="316545"/>
                    <a:pt x="196881" y="300227"/>
                    <a:pt x="191442" y="286629"/>
                  </a:cubicBezTo>
                  <a:cubicBezTo>
                    <a:pt x="188722" y="281190"/>
                    <a:pt x="186002" y="278470"/>
                    <a:pt x="183283" y="278470"/>
                  </a:cubicBezTo>
                  <a:cubicBezTo>
                    <a:pt x="180563" y="278470"/>
                    <a:pt x="180563" y="286629"/>
                    <a:pt x="180563" y="292068"/>
                  </a:cubicBezTo>
                  <a:cubicBezTo>
                    <a:pt x="180563" y="297508"/>
                    <a:pt x="180563" y="302947"/>
                    <a:pt x="180563" y="305667"/>
                  </a:cubicBezTo>
                  <a:cubicBezTo>
                    <a:pt x="180563" y="321985"/>
                    <a:pt x="183283" y="338303"/>
                    <a:pt x="183283" y="354620"/>
                  </a:cubicBezTo>
                  <a:cubicBezTo>
                    <a:pt x="183283" y="387256"/>
                    <a:pt x="186002" y="417173"/>
                    <a:pt x="188722" y="449808"/>
                  </a:cubicBezTo>
                  <a:cubicBezTo>
                    <a:pt x="188722" y="460687"/>
                    <a:pt x="188722" y="468846"/>
                    <a:pt x="188722" y="479725"/>
                  </a:cubicBezTo>
                  <a:cubicBezTo>
                    <a:pt x="188722" y="501482"/>
                    <a:pt x="188722" y="523239"/>
                    <a:pt x="188722" y="542277"/>
                  </a:cubicBezTo>
                  <a:cubicBezTo>
                    <a:pt x="188722" y="566754"/>
                    <a:pt x="186002" y="591231"/>
                    <a:pt x="186002" y="615708"/>
                  </a:cubicBezTo>
                  <a:cubicBezTo>
                    <a:pt x="186002" y="623866"/>
                    <a:pt x="186002" y="632025"/>
                    <a:pt x="186002" y="637465"/>
                  </a:cubicBezTo>
                  <a:cubicBezTo>
                    <a:pt x="186002" y="645624"/>
                    <a:pt x="183283" y="656502"/>
                    <a:pt x="183283" y="664661"/>
                  </a:cubicBezTo>
                  <a:cubicBezTo>
                    <a:pt x="202320" y="664661"/>
                    <a:pt x="218638" y="664661"/>
                    <a:pt x="226797" y="664661"/>
                  </a:cubicBezTo>
                  <a:cubicBezTo>
                    <a:pt x="234956" y="664661"/>
                    <a:pt x="253994" y="664661"/>
                    <a:pt x="253994" y="680979"/>
                  </a:cubicBezTo>
                  <a:cubicBezTo>
                    <a:pt x="253994" y="689138"/>
                    <a:pt x="253994" y="691858"/>
                    <a:pt x="248554" y="697297"/>
                  </a:cubicBezTo>
                  <a:cubicBezTo>
                    <a:pt x="245835" y="702736"/>
                    <a:pt x="240395" y="705456"/>
                    <a:pt x="234956" y="705456"/>
                  </a:cubicBezTo>
                  <a:cubicBezTo>
                    <a:pt x="226797" y="708176"/>
                    <a:pt x="224077" y="708176"/>
                    <a:pt x="218638" y="708176"/>
                  </a:cubicBezTo>
                  <a:cubicBezTo>
                    <a:pt x="215918" y="708176"/>
                    <a:pt x="199600" y="708176"/>
                    <a:pt x="183283" y="708176"/>
                  </a:cubicBezTo>
                  <a:cubicBezTo>
                    <a:pt x="166965" y="708176"/>
                    <a:pt x="153366" y="708176"/>
                    <a:pt x="150647" y="708176"/>
                  </a:cubicBezTo>
                  <a:cubicBezTo>
                    <a:pt x="139768" y="708176"/>
                    <a:pt x="120730" y="708176"/>
                    <a:pt x="107132" y="708176"/>
                  </a:cubicBezTo>
                  <a:cubicBezTo>
                    <a:pt x="101693" y="708176"/>
                    <a:pt x="96254" y="708176"/>
                    <a:pt x="88094" y="708176"/>
                  </a:cubicBezTo>
                  <a:cubicBezTo>
                    <a:pt x="82655" y="708176"/>
                    <a:pt x="74496" y="708176"/>
                    <a:pt x="69057" y="702736"/>
                  </a:cubicBezTo>
                  <a:cubicBezTo>
                    <a:pt x="63617" y="700017"/>
                    <a:pt x="58178" y="691858"/>
                    <a:pt x="58178" y="686418"/>
                  </a:cubicBezTo>
                  <a:cubicBezTo>
                    <a:pt x="58178" y="683699"/>
                    <a:pt x="58178" y="680979"/>
                    <a:pt x="60898" y="678259"/>
                  </a:cubicBezTo>
                  <a:cubicBezTo>
                    <a:pt x="63617" y="675540"/>
                    <a:pt x="71777" y="672820"/>
                    <a:pt x="77216" y="670101"/>
                  </a:cubicBezTo>
                  <a:cubicBezTo>
                    <a:pt x="90814" y="667381"/>
                    <a:pt x="115291" y="664661"/>
                    <a:pt x="120730" y="664661"/>
                  </a:cubicBezTo>
                  <a:cubicBezTo>
                    <a:pt x="123450" y="664661"/>
                    <a:pt x="126170" y="664661"/>
                    <a:pt x="131609" y="664661"/>
                  </a:cubicBezTo>
                  <a:cubicBezTo>
                    <a:pt x="131609" y="623866"/>
                    <a:pt x="134329" y="583072"/>
                    <a:pt x="134329" y="539557"/>
                  </a:cubicBezTo>
                  <a:cubicBezTo>
                    <a:pt x="134329" y="528678"/>
                    <a:pt x="134329" y="515080"/>
                    <a:pt x="134329" y="504201"/>
                  </a:cubicBezTo>
                  <a:cubicBezTo>
                    <a:pt x="131609" y="460687"/>
                    <a:pt x="131609" y="417173"/>
                    <a:pt x="131609" y="376378"/>
                  </a:cubicBezTo>
                  <a:cubicBezTo>
                    <a:pt x="131609" y="351901"/>
                    <a:pt x="131609" y="327424"/>
                    <a:pt x="131609" y="302947"/>
                  </a:cubicBezTo>
                  <a:cubicBezTo>
                    <a:pt x="131609" y="275751"/>
                    <a:pt x="131609" y="248554"/>
                    <a:pt x="134329" y="221357"/>
                  </a:cubicBezTo>
                  <a:cubicBezTo>
                    <a:pt x="134329" y="188722"/>
                    <a:pt x="137048" y="156086"/>
                    <a:pt x="137048" y="123450"/>
                  </a:cubicBezTo>
                  <a:cubicBezTo>
                    <a:pt x="126170" y="123450"/>
                    <a:pt x="115291" y="123450"/>
                    <a:pt x="107132" y="123450"/>
                  </a:cubicBezTo>
                  <a:cubicBezTo>
                    <a:pt x="101693" y="123450"/>
                    <a:pt x="96254" y="123450"/>
                    <a:pt x="88094" y="123450"/>
                  </a:cubicBezTo>
                  <a:cubicBezTo>
                    <a:pt x="82655" y="123450"/>
                    <a:pt x="74496" y="120730"/>
                    <a:pt x="69057" y="118011"/>
                  </a:cubicBezTo>
                  <a:cubicBezTo>
                    <a:pt x="63617" y="115291"/>
                    <a:pt x="58178" y="107132"/>
                    <a:pt x="58178" y="101693"/>
                  </a:cubicBezTo>
                  <a:cubicBezTo>
                    <a:pt x="58178" y="98973"/>
                    <a:pt x="58178" y="96253"/>
                    <a:pt x="60898" y="93534"/>
                  </a:cubicBezTo>
                  <a:cubicBezTo>
                    <a:pt x="63617" y="90814"/>
                    <a:pt x="71777" y="88094"/>
                    <a:pt x="77216" y="85375"/>
                  </a:cubicBezTo>
                  <a:cubicBezTo>
                    <a:pt x="90814" y="82655"/>
                    <a:pt x="126170" y="79935"/>
                    <a:pt x="131609" y="79935"/>
                  </a:cubicBezTo>
                  <a:cubicBezTo>
                    <a:pt x="137048" y="79935"/>
                    <a:pt x="147927" y="79935"/>
                    <a:pt x="161525" y="79935"/>
                  </a:cubicBezTo>
                  <a:cubicBezTo>
                    <a:pt x="166965" y="74496"/>
                    <a:pt x="172404" y="71776"/>
                    <a:pt x="177843" y="66337"/>
                  </a:cubicBezTo>
                  <a:cubicBezTo>
                    <a:pt x="186002" y="60898"/>
                    <a:pt x="194161" y="58178"/>
                    <a:pt x="202320" y="58178"/>
                  </a:cubicBezTo>
                  <a:cubicBezTo>
                    <a:pt x="215918" y="58178"/>
                    <a:pt x="226797" y="63617"/>
                    <a:pt x="234956" y="77216"/>
                  </a:cubicBezTo>
                  <a:cubicBezTo>
                    <a:pt x="240395" y="88094"/>
                    <a:pt x="248554" y="96253"/>
                    <a:pt x="251274" y="107132"/>
                  </a:cubicBezTo>
                  <a:cubicBezTo>
                    <a:pt x="256713" y="120730"/>
                    <a:pt x="259433" y="134328"/>
                    <a:pt x="267592" y="147927"/>
                  </a:cubicBezTo>
                  <a:cubicBezTo>
                    <a:pt x="273031" y="158805"/>
                    <a:pt x="275751" y="172404"/>
                    <a:pt x="281190" y="183282"/>
                  </a:cubicBezTo>
                  <a:cubicBezTo>
                    <a:pt x="286630" y="196881"/>
                    <a:pt x="292069" y="210479"/>
                    <a:pt x="297508" y="224077"/>
                  </a:cubicBezTo>
                  <a:cubicBezTo>
                    <a:pt x="300228" y="237675"/>
                    <a:pt x="305667" y="251274"/>
                    <a:pt x="308387" y="264872"/>
                  </a:cubicBezTo>
                  <a:cubicBezTo>
                    <a:pt x="311106" y="278470"/>
                    <a:pt x="311106" y="289349"/>
                    <a:pt x="319265" y="300227"/>
                  </a:cubicBezTo>
                  <a:cubicBezTo>
                    <a:pt x="332864" y="324704"/>
                    <a:pt x="346462" y="351901"/>
                    <a:pt x="351901" y="379097"/>
                  </a:cubicBezTo>
                  <a:cubicBezTo>
                    <a:pt x="354621" y="392696"/>
                    <a:pt x="360060" y="403574"/>
                    <a:pt x="365500" y="417173"/>
                  </a:cubicBezTo>
                  <a:cubicBezTo>
                    <a:pt x="373659" y="430771"/>
                    <a:pt x="373659" y="444369"/>
                    <a:pt x="379098" y="457967"/>
                  </a:cubicBezTo>
                  <a:cubicBezTo>
                    <a:pt x="381818" y="471566"/>
                    <a:pt x="387257" y="482444"/>
                    <a:pt x="395416" y="496043"/>
                  </a:cubicBezTo>
                  <a:cubicBezTo>
                    <a:pt x="398136" y="501482"/>
                    <a:pt x="403575" y="506921"/>
                    <a:pt x="406294" y="512361"/>
                  </a:cubicBezTo>
                  <a:cubicBezTo>
                    <a:pt x="409014" y="517800"/>
                    <a:pt x="409014" y="525959"/>
                    <a:pt x="411734" y="531398"/>
                  </a:cubicBezTo>
                  <a:cubicBezTo>
                    <a:pt x="414453" y="539557"/>
                    <a:pt x="417173" y="550436"/>
                    <a:pt x="419893" y="558595"/>
                  </a:cubicBezTo>
                  <a:cubicBezTo>
                    <a:pt x="422613" y="561314"/>
                    <a:pt x="422613" y="564034"/>
                    <a:pt x="425332" y="564034"/>
                  </a:cubicBezTo>
                  <a:cubicBezTo>
                    <a:pt x="428052" y="564034"/>
                    <a:pt x="428052" y="561314"/>
                    <a:pt x="430771" y="558595"/>
                  </a:cubicBezTo>
                  <a:cubicBezTo>
                    <a:pt x="430771" y="555875"/>
                    <a:pt x="430771" y="553155"/>
                    <a:pt x="430771" y="550436"/>
                  </a:cubicBezTo>
                  <a:cubicBezTo>
                    <a:pt x="430771" y="534118"/>
                    <a:pt x="430771" y="517800"/>
                    <a:pt x="430771" y="501482"/>
                  </a:cubicBezTo>
                  <a:cubicBezTo>
                    <a:pt x="430771" y="468846"/>
                    <a:pt x="433491" y="436210"/>
                    <a:pt x="430771" y="403574"/>
                  </a:cubicBezTo>
                  <a:cubicBezTo>
                    <a:pt x="430771" y="373658"/>
                    <a:pt x="425332" y="343742"/>
                    <a:pt x="425332" y="313826"/>
                  </a:cubicBezTo>
                  <a:cubicBezTo>
                    <a:pt x="425332" y="292068"/>
                    <a:pt x="425332" y="270311"/>
                    <a:pt x="425332" y="248554"/>
                  </a:cubicBezTo>
                  <a:cubicBezTo>
                    <a:pt x="425332" y="234956"/>
                    <a:pt x="425332" y="224077"/>
                    <a:pt x="425332" y="210479"/>
                  </a:cubicBezTo>
                  <a:cubicBezTo>
                    <a:pt x="425332" y="191441"/>
                    <a:pt x="422613" y="172404"/>
                    <a:pt x="422613" y="153366"/>
                  </a:cubicBezTo>
                  <a:cubicBezTo>
                    <a:pt x="422613" y="142487"/>
                    <a:pt x="422613" y="134328"/>
                    <a:pt x="425332" y="123450"/>
                  </a:cubicBezTo>
                  <a:cubicBezTo>
                    <a:pt x="417173" y="123450"/>
                    <a:pt x="406294" y="123450"/>
                    <a:pt x="398136" y="123450"/>
                  </a:cubicBezTo>
                  <a:cubicBezTo>
                    <a:pt x="392696" y="123450"/>
                    <a:pt x="387257" y="123450"/>
                    <a:pt x="379098" y="123450"/>
                  </a:cubicBezTo>
                  <a:cubicBezTo>
                    <a:pt x="373659" y="123450"/>
                    <a:pt x="365500" y="120730"/>
                    <a:pt x="360060" y="118011"/>
                  </a:cubicBezTo>
                  <a:cubicBezTo>
                    <a:pt x="354621" y="115291"/>
                    <a:pt x="349182" y="107132"/>
                    <a:pt x="349182" y="101693"/>
                  </a:cubicBezTo>
                  <a:cubicBezTo>
                    <a:pt x="349182" y="98973"/>
                    <a:pt x="349182" y="96253"/>
                    <a:pt x="351901" y="93534"/>
                  </a:cubicBezTo>
                  <a:cubicBezTo>
                    <a:pt x="354621" y="90814"/>
                    <a:pt x="362780" y="88094"/>
                    <a:pt x="368219" y="85375"/>
                  </a:cubicBezTo>
                  <a:cubicBezTo>
                    <a:pt x="381818" y="82655"/>
                    <a:pt x="417173" y="79935"/>
                    <a:pt x="422613" y="79935"/>
                  </a:cubicBezTo>
                  <a:cubicBezTo>
                    <a:pt x="428052" y="79935"/>
                    <a:pt x="433491" y="79935"/>
                    <a:pt x="444370" y="79935"/>
                  </a:cubicBezTo>
                  <a:cubicBezTo>
                    <a:pt x="449809" y="74496"/>
                    <a:pt x="455248" y="71776"/>
                    <a:pt x="463407" y="71776"/>
                  </a:cubicBezTo>
                  <a:cubicBezTo>
                    <a:pt x="471566" y="71776"/>
                    <a:pt x="477006" y="74496"/>
                    <a:pt x="477006" y="79935"/>
                  </a:cubicBezTo>
                  <a:cubicBezTo>
                    <a:pt x="493324" y="79935"/>
                    <a:pt x="506922" y="79935"/>
                    <a:pt x="515081" y="79935"/>
                  </a:cubicBezTo>
                  <a:lnTo>
                    <a:pt x="515081" y="79935"/>
                  </a:ln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4" name="Freeform: Shape 43">
              <a:extLst>
                <a:ext uri="{FF2B5EF4-FFF2-40B4-BE49-F238E27FC236}">
                  <a16:creationId xmlns:a16="http://schemas.microsoft.com/office/drawing/2014/main" id="{891440AF-BE0A-4FCF-8580-12C0D6978EDB}"/>
                </a:ext>
              </a:extLst>
            </p:cNvPr>
            <p:cNvSpPr/>
            <p:nvPr/>
          </p:nvSpPr>
          <p:spPr>
            <a:xfrm>
              <a:off x="5139126" y="4192158"/>
              <a:ext cx="516735" cy="788700"/>
            </a:xfrm>
            <a:custGeom>
              <a:avLst/>
              <a:gdLst>
                <a:gd name="connsiteX0" fmla="*/ 464616 w 516735"/>
                <a:gd name="connsiteY0" fmla="*/ 436210 h 788699"/>
                <a:gd name="connsiteX1" fmla="*/ 445578 w 516735"/>
                <a:gd name="connsiteY1" fmla="*/ 455248 h 788699"/>
                <a:gd name="connsiteX2" fmla="*/ 404784 w 516735"/>
                <a:gd name="connsiteY2" fmla="*/ 466126 h 788699"/>
                <a:gd name="connsiteX3" fmla="*/ 385746 w 516735"/>
                <a:gd name="connsiteY3" fmla="*/ 479725 h 788699"/>
                <a:gd name="connsiteX4" fmla="*/ 388466 w 516735"/>
                <a:gd name="connsiteY4" fmla="*/ 512361 h 788699"/>
                <a:gd name="connsiteX5" fmla="*/ 388466 w 516735"/>
                <a:gd name="connsiteY5" fmla="*/ 544997 h 788699"/>
                <a:gd name="connsiteX6" fmla="*/ 388466 w 516735"/>
                <a:gd name="connsiteY6" fmla="*/ 566754 h 788699"/>
                <a:gd name="connsiteX7" fmla="*/ 391185 w 516735"/>
                <a:gd name="connsiteY7" fmla="*/ 632026 h 788699"/>
                <a:gd name="connsiteX8" fmla="*/ 393905 w 516735"/>
                <a:gd name="connsiteY8" fmla="*/ 683699 h 788699"/>
                <a:gd name="connsiteX9" fmla="*/ 377587 w 516735"/>
                <a:gd name="connsiteY9" fmla="*/ 724494 h 788699"/>
                <a:gd name="connsiteX10" fmla="*/ 361269 w 516735"/>
                <a:gd name="connsiteY10" fmla="*/ 719054 h 788699"/>
                <a:gd name="connsiteX11" fmla="*/ 353110 w 516735"/>
                <a:gd name="connsiteY11" fmla="*/ 702737 h 788699"/>
                <a:gd name="connsiteX12" fmla="*/ 350390 w 516735"/>
                <a:gd name="connsiteY12" fmla="*/ 686419 h 788699"/>
                <a:gd name="connsiteX13" fmla="*/ 353110 w 516735"/>
                <a:gd name="connsiteY13" fmla="*/ 659222 h 788699"/>
                <a:gd name="connsiteX14" fmla="*/ 353110 w 516735"/>
                <a:gd name="connsiteY14" fmla="*/ 656502 h 788699"/>
                <a:gd name="connsiteX15" fmla="*/ 317755 w 516735"/>
                <a:gd name="connsiteY15" fmla="*/ 708176 h 788699"/>
                <a:gd name="connsiteX16" fmla="*/ 241604 w 516735"/>
                <a:gd name="connsiteY16" fmla="*/ 735372 h 788699"/>
                <a:gd name="connsiteX17" fmla="*/ 187211 w 516735"/>
                <a:gd name="connsiteY17" fmla="*/ 727214 h 788699"/>
                <a:gd name="connsiteX18" fmla="*/ 135538 w 516735"/>
                <a:gd name="connsiteY18" fmla="*/ 694578 h 788699"/>
                <a:gd name="connsiteX19" fmla="*/ 86584 w 516735"/>
                <a:gd name="connsiteY19" fmla="*/ 621147 h 788699"/>
                <a:gd name="connsiteX20" fmla="*/ 67546 w 516735"/>
                <a:gd name="connsiteY20" fmla="*/ 555875 h 788699"/>
                <a:gd name="connsiteX21" fmla="*/ 59387 w 516735"/>
                <a:gd name="connsiteY21" fmla="*/ 509641 h 788699"/>
                <a:gd name="connsiteX22" fmla="*/ 59387 w 516735"/>
                <a:gd name="connsiteY22" fmla="*/ 468846 h 788699"/>
                <a:gd name="connsiteX23" fmla="*/ 86584 w 516735"/>
                <a:gd name="connsiteY23" fmla="*/ 302947 h 788699"/>
                <a:gd name="connsiteX24" fmla="*/ 108341 w 516735"/>
                <a:gd name="connsiteY24" fmla="*/ 224077 h 788699"/>
                <a:gd name="connsiteX25" fmla="*/ 146416 w 516735"/>
                <a:gd name="connsiteY25" fmla="*/ 145207 h 788699"/>
                <a:gd name="connsiteX26" fmla="*/ 198090 w 516735"/>
                <a:gd name="connsiteY26" fmla="*/ 85375 h 788699"/>
                <a:gd name="connsiteX27" fmla="*/ 228006 w 516735"/>
                <a:gd name="connsiteY27" fmla="*/ 69057 h 788699"/>
                <a:gd name="connsiteX28" fmla="*/ 268801 w 516735"/>
                <a:gd name="connsiteY28" fmla="*/ 58178 h 788699"/>
                <a:gd name="connsiteX29" fmla="*/ 274240 w 516735"/>
                <a:gd name="connsiteY29" fmla="*/ 58178 h 788699"/>
                <a:gd name="connsiteX30" fmla="*/ 295997 w 516735"/>
                <a:gd name="connsiteY30" fmla="*/ 60898 h 788699"/>
                <a:gd name="connsiteX31" fmla="*/ 331353 w 516735"/>
                <a:gd name="connsiteY31" fmla="*/ 71776 h 788699"/>
                <a:gd name="connsiteX32" fmla="*/ 350390 w 516735"/>
                <a:gd name="connsiteY32" fmla="*/ 93534 h 788699"/>
                <a:gd name="connsiteX33" fmla="*/ 353110 w 516735"/>
                <a:gd name="connsiteY33" fmla="*/ 74496 h 788699"/>
                <a:gd name="connsiteX34" fmla="*/ 358549 w 516735"/>
                <a:gd name="connsiteY34" fmla="*/ 63618 h 788699"/>
                <a:gd name="connsiteX35" fmla="*/ 366708 w 516735"/>
                <a:gd name="connsiteY35" fmla="*/ 58178 h 788699"/>
                <a:gd name="connsiteX36" fmla="*/ 374867 w 516735"/>
                <a:gd name="connsiteY36" fmla="*/ 63618 h 788699"/>
                <a:gd name="connsiteX37" fmla="*/ 383026 w 516735"/>
                <a:gd name="connsiteY37" fmla="*/ 82655 h 788699"/>
                <a:gd name="connsiteX38" fmla="*/ 385746 w 516735"/>
                <a:gd name="connsiteY38" fmla="*/ 126170 h 788699"/>
                <a:gd name="connsiteX39" fmla="*/ 388466 w 516735"/>
                <a:gd name="connsiteY39" fmla="*/ 186002 h 788699"/>
                <a:gd name="connsiteX40" fmla="*/ 391185 w 516735"/>
                <a:gd name="connsiteY40" fmla="*/ 237676 h 788699"/>
                <a:gd name="connsiteX41" fmla="*/ 374867 w 516735"/>
                <a:gd name="connsiteY41" fmla="*/ 278470 h 788699"/>
                <a:gd name="connsiteX42" fmla="*/ 358549 w 516735"/>
                <a:gd name="connsiteY42" fmla="*/ 273031 h 788699"/>
                <a:gd name="connsiteX43" fmla="*/ 350390 w 516735"/>
                <a:gd name="connsiteY43" fmla="*/ 256713 h 788699"/>
                <a:gd name="connsiteX44" fmla="*/ 347671 w 516735"/>
                <a:gd name="connsiteY44" fmla="*/ 240395 h 788699"/>
                <a:gd name="connsiteX45" fmla="*/ 347671 w 516735"/>
                <a:gd name="connsiteY45" fmla="*/ 213199 h 788699"/>
                <a:gd name="connsiteX46" fmla="*/ 344951 w 516735"/>
                <a:gd name="connsiteY46" fmla="*/ 194161 h 788699"/>
                <a:gd name="connsiteX47" fmla="*/ 339512 w 516735"/>
                <a:gd name="connsiteY47" fmla="*/ 150647 h 788699"/>
                <a:gd name="connsiteX48" fmla="*/ 323194 w 516735"/>
                <a:gd name="connsiteY48" fmla="*/ 112571 h 788699"/>
                <a:gd name="connsiteX49" fmla="*/ 293278 w 516735"/>
                <a:gd name="connsiteY49" fmla="*/ 101693 h 788699"/>
                <a:gd name="connsiteX50" fmla="*/ 263361 w 516735"/>
                <a:gd name="connsiteY50" fmla="*/ 120730 h 788699"/>
                <a:gd name="connsiteX51" fmla="*/ 241604 w 516735"/>
                <a:gd name="connsiteY51" fmla="*/ 153366 h 788699"/>
                <a:gd name="connsiteX52" fmla="*/ 233445 w 516735"/>
                <a:gd name="connsiteY52" fmla="*/ 194161 h 788699"/>
                <a:gd name="connsiteX53" fmla="*/ 225286 w 516735"/>
                <a:gd name="connsiteY53" fmla="*/ 232236 h 788699"/>
                <a:gd name="connsiteX54" fmla="*/ 217127 w 516735"/>
                <a:gd name="connsiteY54" fmla="*/ 275751 h 788699"/>
                <a:gd name="connsiteX55" fmla="*/ 211688 w 516735"/>
                <a:gd name="connsiteY55" fmla="*/ 316545 h 788699"/>
                <a:gd name="connsiteX56" fmla="*/ 206249 w 516735"/>
                <a:gd name="connsiteY56" fmla="*/ 354621 h 788699"/>
                <a:gd name="connsiteX57" fmla="*/ 200809 w 516735"/>
                <a:gd name="connsiteY57" fmla="*/ 398135 h 788699"/>
                <a:gd name="connsiteX58" fmla="*/ 195370 w 516735"/>
                <a:gd name="connsiteY58" fmla="*/ 438930 h 788699"/>
                <a:gd name="connsiteX59" fmla="*/ 192650 w 516735"/>
                <a:gd name="connsiteY59" fmla="*/ 474286 h 788699"/>
                <a:gd name="connsiteX60" fmla="*/ 195370 w 516735"/>
                <a:gd name="connsiteY60" fmla="*/ 525959 h 788699"/>
                <a:gd name="connsiteX61" fmla="*/ 208968 w 516735"/>
                <a:gd name="connsiteY61" fmla="*/ 596670 h 788699"/>
                <a:gd name="connsiteX62" fmla="*/ 214407 w 516735"/>
                <a:gd name="connsiteY62" fmla="*/ 623867 h 788699"/>
                <a:gd name="connsiteX63" fmla="*/ 228006 w 516735"/>
                <a:gd name="connsiteY63" fmla="*/ 656502 h 788699"/>
                <a:gd name="connsiteX64" fmla="*/ 271520 w 516735"/>
                <a:gd name="connsiteY64" fmla="*/ 689138 h 788699"/>
                <a:gd name="connsiteX65" fmla="*/ 306876 w 516735"/>
                <a:gd name="connsiteY65" fmla="*/ 664661 h 788699"/>
                <a:gd name="connsiteX66" fmla="*/ 331353 w 516735"/>
                <a:gd name="connsiteY66" fmla="*/ 602109 h 788699"/>
                <a:gd name="connsiteX67" fmla="*/ 336792 w 516735"/>
                <a:gd name="connsiteY67" fmla="*/ 544997 h 788699"/>
                <a:gd name="connsiteX68" fmla="*/ 336792 w 516735"/>
                <a:gd name="connsiteY68" fmla="*/ 498762 h 788699"/>
                <a:gd name="connsiteX69" fmla="*/ 336792 w 516735"/>
                <a:gd name="connsiteY69" fmla="*/ 490603 h 788699"/>
                <a:gd name="connsiteX70" fmla="*/ 320474 w 516735"/>
                <a:gd name="connsiteY70" fmla="*/ 477005 h 788699"/>
                <a:gd name="connsiteX71" fmla="*/ 282399 w 516735"/>
                <a:gd name="connsiteY71" fmla="*/ 479725 h 788699"/>
                <a:gd name="connsiteX72" fmla="*/ 252483 w 516735"/>
                <a:gd name="connsiteY72" fmla="*/ 474286 h 788699"/>
                <a:gd name="connsiteX73" fmla="*/ 247043 w 516735"/>
                <a:gd name="connsiteY73" fmla="*/ 466126 h 788699"/>
                <a:gd name="connsiteX74" fmla="*/ 249763 w 516735"/>
                <a:gd name="connsiteY74" fmla="*/ 457968 h 788699"/>
                <a:gd name="connsiteX75" fmla="*/ 268801 w 516735"/>
                <a:gd name="connsiteY75" fmla="*/ 447089 h 788699"/>
                <a:gd name="connsiteX76" fmla="*/ 312315 w 516735"/>
                <a:gd name="connsiteY76" fmla="*/ 436210 h 788699"/>
                <a:gd name="connsiteX77" fmla="*/ 353110 w 516735"/>
                <a:gd name="connsiteY77" fmla="*/ 430771 h 788699"/>
                <a:gd name="connsiteX78" fmla="*/ 385746 w 516735"/>
                <a:gd name="connsiteY78" fmla="*/ 430771 h 788699"/>
                <a:gd name="connsiteX79" fmla="*/ 437420 w 516735"/>
                <a:gd name="connsiteY79" fmla="*/ 428051 h 788699"/>
                <a:gd name="connsiteX80" fmla="*/ 464616 w 516735"/>
                <a:gd name="connsiteY80" fmla="*/ 436210 h 7886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</a:cxnLst>
              <a:rect l="l" t="t" r="r" b="b"/>
              <a:pathLst>
                <a:path w="516735" h="788699">
                  <a:moveTo>
                    <a:pt x="464616" y="436210"/>
                  </a:moveTo>
                  <a:cubicBezTo>
                    <a:pt x="464616" y="447089"/>
                    <a:pt x="453737" y="452528"/>
                    <a:pt x="445578" y="455248"/>
                  </a:cubicBezTo>
                  <a:cubicBezTo>
                    <a:pt x="434700" y="460687"/>
                    <a:pt x="415662" y="463407"/>
                    <a:pt x="404784" y="466126"/>
                  </a:cubicBezTo>
                  <a:cubicBezTo>
                    <a:pt x="393905" y="466126"/>
                    <a:pt x="385746" y="468846"/>
                    <a:pt x="385746" y="479725"/>
                  </a:cubicBezTo>
                  <a:cubicBezTo>
                    <a:pt x="385746" y="487884"/>
                    <a:pt x="388466" y="506921"/>
                    <a:pt x="388466" y="512361"/>
                  </a:cubicBezTo>
                  <a:cubicBezTo>
                    <a:pt x="388466" y="515080"/>
                    <a:pt x="388466" y="539557"/>
                    <a:pt x="388466" y="544997"/>
                  </a:cubicBezTo>
                  <a:cubicBezTo>
                    <a:pt x="388466" y="550436"/>
                    <a:pt x="388466" y="558595"/>
                    <a:pt x="388466" y="566754"/>
                  </a:cubicBezTo>
                  <a:cubicBezTo>
                    <a:pt x="388466" y="591231"/>
                    <a:pt x="388466" y="621147"/>
                    <a:pt x="391185" y="632026"/>
                  </a:cubicBezTo>
                  <a:cubicBezTo>
                    <a:pt x="393905" y="653783"/>
                    <a:pt x="393905" y="661942"/>
                    <a:pt x="393905" y="683699"/>
                  </a:cubicBezTo>
                  <a:cubicBezTo>
                    <a:pt x="393905" y="694578"/>
                    <a:pt x="393905" y="724494"/>
                    <a:pt x="377587" y="724494"/>
                  </a:cubicBezTo>
                  <a:cubicBezTo>
                    <a:pt x="369428" y="724494"/>
                    <a:pt x="366708" y="721774"/>
                    <a:pt x="361269" y="719054"/>
                  </a:cubicBezTo>
                  <a:cubicBezTo>
                    <a:pt x="355830" y="716335"/>
                    <a:pt x="353110" y="708176"/>
                    <a:pt x="353110" y="702737"/>
                  </a:cubicBezTo>
                  <a:cubicBezTo>
                    <a:pt x="350390" y="694578"/>
                    <a:pt x="350390" y="689138"/>
                    <a:pt x="350390" y="686419"/>
                  </a:cubicBezTo>
                  <a:cubicBezTo>
                    <a:pt x="350390" y="678260"/>
                    <a:pt x="353110" y="672820"/>
                    <a:pt x="353110" y="659222"/>
                  </a:cubicBezTo>
                  <a:lnTo>
                    <a:pt x="353110" y="656502"/>
                  </a:lnTo>
                  <a:cubicBezTo>
                    <a:pt x="347671" y="675540"/>
                    <a:pt x="334072" y="694578"/>
                    <a:pt x="317755" y="708176"/>
                  </a:cubicBezTo>
                  <a:cubicBezTo>
                    <a:pt x="293278" y="727214"/>
                    <a:pt x="274240" y="735372"/>
                    <a:pt x="241604" y="735372"/>
                  </a:cubicBezTo>
                  <a:cubicBezTo>
                    <a:pt x="222566" y="735372"/>
                    <a:pt x="203529" y="732653"/>
                    <a:pt x="187211" y="727214"/>
                  </a:cubicBezTo>
                  <a:cubicBezTo>
                    <a:pt x="165454" y="719054"/>
                    <a:pt x="149136" y="708176"/>
                    <a:pt x="135538" y="694578"/>
                  </a:cubicBezTo>
                  <a:cubicBezTo>
                    <a:pt x="113780" y="672820"/>
                    <a:pt x="100182" y="648343"/>
                    <a:pt x="86584" y="621147"/>
                  </a:cubicBezTo>
                  <a:cubicBezTo>
                    <a:pt x="75705" y="599390"/>
                    <a:pt x="70266" y="580352"/>
                    <a:pt x="67546" y="555875"/>
                  </a:cubicBezTo>
                  <a:cubicBezTo>
                    <a:pt x="64826" y="539557"/>
                    <a:pt x="62107" y="525959"/>
                    <a:pt x="59387" y="509641"/>
                  </a:cubicBezTo>
                  <a:cubicBezTo>
                    <a:pt x="56667" y="493323"/>
                    <a:pt x="59387" y="485164"/>
                    <a:pt x="59387" y="468846"/>
                  </a:cubicBezTo>
                  <a:cubicBezTo>
                    <a:pt x="59387" y="414453"/>
                    <a:pt x="72985" y="362780"/>
                    <a:pt x="86584" y="302947"/>
                  </a:cubicBezTo>
                  <a:cubicBezTo>
                    <a:pt x="92023" y="275751"/>
                    <a:pt x="100182" y="248554"/>
                    <a:pt x="108341" y="224077"/>
                  </a:cubicBezTo>
                  <a:cubicBezTo>
                    <a:pt x="116500" y="196881"/>
                    <a:pt x="130098" y="169684"/>
                    <a:pt x="146416" y="145207"/>
                  </a:cubicBezTo>
                  <a:cubicBezTo>
                    <a:pt x="160014" y="123450"/>
                    <a:pt x="176332" y="101693"/>
                    <a:pt x="198090" y="85375"/>
                  </a:cubicBezTo>
                  <a:cubicBezTo>
                    <a:pt x="206249" y="77216"/>
                    <a:pt x="217127" y="71776"/>
                    <a:pt x="228006" y="69057"/>
                  </a:cubicBezTo>
                  <a:cubicBezTo>
                    <a:pt x="241604" y="63618"/>
                    <a:pt x="255202" y="58178"/>
                    <a:pt x="268801" y="58178"/>
                  </a:cubicBezTo>
                  <a:cubicBezTo>
                    <a:pt x="271520" y="58178"/>
                    <a:pt x="274240" y="58178"/>
                    <a:pt x="274240" y="58178"/>
                  </a:cubicBezTo>
                  <a:cubicBezTo>
                    <a:pt x="279679" y="58178"/>
                    <a:pt x="285119" y="58178"/>
                    <a:pt x="295997" y="60898"/>
                  </a:cubicBezTo>
                  <a:cubicBezTo>
                    <a:pt x="309595" y="63618"/>
                    <a:pt x="320474" y="66337"/>
                    <a:pt x="331353" y="71776"/>
                  </a:cubicBezTo>
                  <a:cubicBezTo>
                    <a:pt x="339512" y="77216"/>
                    <a:pt x="347671" y="85375"/>
                    <a:pt x="350390" y="93534"/>
                  </a:cubicBezTo>
                  <a:cubicBezTo>
                    <a:pt x="350390" y="88095"/>
                    <a:pt x="353110" y="79936"/>
                    <a:pt x="353110" y="74496"/>
                  </a:cubicBezTo>
                  <a:cubicBezTo>
                    <a:pt x="355830" y="71776"/>
                    <a:pt x="355830" y="69057"/>
                    <a:pt x="358549" y="63618"/>
                  </a:cubicBezTo>
                  <a:cubicBezTo>
                    <a:pt x="361269" y="60898"/>
                    <a:pt x="363989" y="58178"/>
                    <a:pt x="366708" y="58178"/>
                  </a:cubicBezTo>
                  <a:cubicBezTo>
                    <a:pt x="369428" y="58178"/>
                    <a:pt x="372148" y="60898"/>
                    <a:pt x="374867" y="63618"/>
                  </a:cubicBezTo>
                  <a:cubicBezTo>
                    <a:pt x="377587" y="69057"/>
                    <a:pt x="380307" y="77216"/>
                    <a:pt x="383026" y="82655"/>
                  </a:cubicBezTo>
                  <a:cubicBezTo>
                    <a:pt x="383026" y="90814"/>
                    <a:pt x="385746" y="107132"/>
                    <a:pt x="385746" y="126170"/>
                  </a:cubicBezTo>
                  <a:cubicBezTo>
                    <a:pt x="385746" y="150647"/>
                    <a:pt x="385746" y="177843"/>
                    <a:pt x="388466" y="186002"/>
                  </a:cubicBezTo>
                  <a:cubicBezTo>
                    <a:pt x="391185" y="207759"/>
                    <a:pt x="391185" y="215918"/>
                    <a:pt x="391185" y="237676"/>
                  </a:cubicBezTo>
                  <a:cubicBezTo>
                    <a:pt x="391185" y="248554"/>
                    <a:pt x="391185" y="278470"/>
                    <a:pt x="374867" y="278470"/>
                  </a:cubicBezTo>
                  <a:cubicBezTo>
                    <a:pt x="366708" y="278470"/>
                    <a:pt x="363989" y="275751"/>
                    <a:pt x="358549" y="273031"/>
                  </a:cubicBezTo>
                  <a:cubicBezTo>
                    <a:pt x="353110" y="270311"/>
                    <a:pt x="350390" y="262152"/>
                    <a:pt x="350390" y="256713"/>
                  </a:cubicBezTo>
                  <a:cubicBezTo>
                    <a:pt x="350390" y="251274"/>
                    <a:pt x="347671" y="245834"/>
                    <a:pt x="347671" y="240395"/>
                  </a:cubicBezTo>
                  <a:cubicBezTo>
                    <a:pt x="347671" y="232236"/>
                    <a:pt x="347671" y="224077"/>
                    <a:pt x="347671" y="213199"/>
                  </a:cubicBezTo>
                  <a:cubicBezTo>
                    <a:pt x="347671" y="207759"/>
                    <a:pt x="347671" y="199600"/>
                    <a:pt x="344951" y="194161"/>
                  </a:cubicBezTo>
                  <a:cubicBezTo>
                    <a:pt x="342232" y="180563"/>
                    <a:pt x="342232" y="164245"/>
                    <a:pt x="339512" y="150647"/>
                  </a:cubicBezTo>
                  <a:cubicBezTo>
                    <a:pt x="336792" y="137048"/>
                    <a:pt x="331353" y="123450"/>
                    <a:pt x="323194" y="112571"/>
                  </a:cubicBezTo>
                  <a:cubicBezTo>
                    <a:pt x="317755" y="104412"/>
                    <a:pt x="304156" y="101693"/>
                    <a:pt x="293278" y="101693"/>
                  </a:cubicBezTo>
                  <a:cubicBezTo>
                    <a:pt x="279679" y="101693"/>
                    <a:pt x="271520" y="109852"/>
                    <a:pt x="263361" y="120730"/>
                  </a:cubicBezTo>
                  <a:cubicBezTo>
                    <a:pt x="257922" y="131609"/>
                    <a:pt x="247043" y="139768"/>
                    <a:pt x="241604" y="153366"/>
                  </a:cubicBezTo>
                  <a:cubicBezTo>
                    <a:pt x="236165" y="166964"/>
                    <a:pt x="233445" y="180563"/>
                    <a:pt x="233445" y="194161"/>
                  </a:cubicBezTo>
                  <a:cubicBezTo>
                    <a:pt x="233445" y="207759"/>
                    <a:pt x="230726" y="218638"/>
                    <a:pt x="225286" y="232236"/>
                  </a:cubicBezTo>
                  <a:cubicBezTo>
                    <a:pt x="219847" y="245834"/>
                    <a:pt x="219847" y="262152"/>
                    <a:pt x="217127" y="275751"/>
                  </a:cubicBezTo>
                  <a:cubicBezTo>
                    <a:pt x="214407" y="289349"/>
                    <a:pt x="214407" y="302947"/>
                    <a:pt x="211688" y="316545"/>
                  </a:cubicBezTo>
                  <a:cubicBezTo>
                    <a:pt x="211688" y="330144"/>
                    <a:pt x="206249" y="341022"/>
                    <a:pt x="206249" y="354621"/>
                  </a:cubicBezTo>
                  <a:cubicBezTo>
                    <a:pt x="203529" y="368219"/>
                    <a:pt x="203529" y="381817"/>
                    <a:pt x="200809" y="398135"/>
                  </a:cubicBezTo>
                  <a:cubicBezTo>
                    <a:pt x="198090" y="411733"/>
                    <a:pt x="198090" y="425332"/>
                    <a:pt x="195370" y="438930"/>
                  </a:cubicBezTo>
                  <a:cubicBezTo>
                    <a:pt x="195370" y="449809"/>
                    <a:pt x="192650" y="463407"/>
                    <a:pt x="192650" y="474286"/>
                  </a:cubicBezTo>
                  <a:cubicBezTo>
                    <a:pt x="192650" y="490603"/>
                    <a:pt x="195370" y="509641"/>
                    <a:pt x="195370" y="525959"/>
                  </a:cubicBezTo>
                  <a:cubicBezTo>
                    <a:pt x="195370" y="550436"/>
                    <a:pt x="203529" y="572193"/>
                    <a:pt x="208968" y="596670"/>
                  </a:cubicBezTo>
                  <a:cubicBezTo>
                    <a:pt x="211688" y="604829"/>
                    <a:pt x="211688" y="615708"/>
                    <a:pt x="214407" y="623867"/>
                  </a:cubicBezTo>
                  <a:cubicBezTo>
                    <a:pt x="217127" y="634745"/>
                    <a:pt x="222566" y="645624"/>
                    <a:pt x="228006" y="656502"/>
                  </a:cubicBezTo>
                  <a:cubicBezTo>
                    <a:pt x="236165" y="670101"/>
                    <a:pt x="252483" y="689138"/>
                    <a:pt x="271520" y="689138"/>
                  </a:cubicBezTo>
                  <a:cubicBezTo>
                    <a:pt x="287838" y="689138"/>
                    <a:pt x="298717" y="675540"/>
                    <a:pt x="306876" y="664661"/>
                  </a:cubicBezTo>
                  <a:cubicBezTo>
                    <a:pt x="320474" y="645624"/>
                    <a:pt x="325914" y="623867"/>
                    <a:pt x="331353" y="602109"/>
                  </a:cubicBezTo>
                  <a:cubicBezTo>
                    <a:pt x="334072" y="583072"/>
                    <a:pt x="336792" y="564034"/>
                    <a:pt x="336792" y="544997"/>
                  </a:cubicBezTo>
                  <a:cubicBezTo>
                    <a:pt x="336792" y="531398"/>
                    <a:pt x="336792" y="512361"/>
                    <a:pt x="336792" y="498762"/>
                  </a:cubicBezTo>
                  <a:cubicBezTo>
                    <a:pt x="336792" y="496043"/>
                    <a:pt x="336792" y="493323"/>
                    <a:pt x="336792" y="490603"/>
                  </a:cubicBezTo>
                  <a:cubicBezTo>
                    <a:pt x="336792" y="479725"/>
                    <a:pt x="336792" y="477005"/>
                    <a:pt x="320474" y="477005"/>
                  </a:cubicBezTo>
                  <a:cubicBezTo>
                    <a:pt x="309595" y="477005"/>
                    <a:pt x="295997" y="479725"/>
                    <a:pt x="282399" y="479725"/>
                  </a:cubicBezTo>
                  <a:cubicBezTo>
                    <a:pt x="271520" y="479725"/>
                    <a:pt x="260642" y="479725"/>
                    <a:pt x="252483" y="474286"/>
                  </a:cubicBezTo>
                  <a:cubicBezTo>
                    <a:pt x="249763" y="471566"/>
                    <a:pt x="247043" y="468846"/>
                    <a:pt x="247043" y="466126"/>
                  </a:cubicBezTo>
                  <a:cubicBezTo>
                    <a:pt x="247043" y="463407"/>
                    <a:pt x="247043" y="460687"/>
                    <a:pt x="249763" y="457968"/>
                  </a:cubicBezTo>
                  <a:cubicBezTo>
                    <a:pt x="255202" y="452528"/>
                    <a:pt x="260642" y="449809"/>
                    <a:pt x="268801" y="447089"/>
                  </a:cubicBezTo>
                  <a:cubicBezTo>
                    <a:pt x="282399" y="441650"/>
                    <a:pt x="295997" y="438930"/>
                    <a:pt x="312315" y="436210"/>
                  </a:cubicBezTo>
                  <a:cubicBezTo>
                    <a:pt x="325914" y="433491"/>
                    <a:pt x="339512" y="433491"/>
                    <a:pt x="353110" y="430771"/>
                  </a:cubicBezTo>
                  <a:cubicBezTo>
                    <a:pt x="363989" y="430771"/>
                    <a:pt x="374867" y="430771"/>
                    <a:pt x="385746" y="430771"/>
                  </a:cubicBezTo>
                  <a:cubicBezTo>
                    <a:pt x="402064" y="430771"/>
                    <a:pt x="426541" y="428051"/>
                    <a:pt x="437420" y="428051"/>
                  </a:cubicBezTo>
                  <a:cubicBezTo>
                    <a:pt x="451018" y="419892"/>
                    <a:pt x="464616" y="425332"/>
                    <a:pt x="464616" y="436210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5" name="Freeform: Shape 44">
              <a:extLst>
                <a:ext uri="{FF2B5EF4-FFF2-40B4-BE49-F238E27FC236}">
                  <a16:creationId xmlns:a16="http://schemas.microsoft.com/office/drawing/2014/main" id="{2824A636-A433-4E44-BCE1-4D747AEE8B2B}"/>
                </a:ext>
              </a:extLst>
            </p:cNvPr>
            <p:cNvSpPr/>
            <p:nvPr/>
          </p:nvSpPr>
          <p:spPr>
            <a:xfrm>
              <a:off x="5651630" y="4181279"/>
              <a:ext cx="734308" cy="788700"/>
            </a:xfrm>
            <a:custGeom>
              <a:avLst/>
              <a:gdLst>
                <a:gd name="connsiteX0" fmla="*/ 653783 w 734307"/>
                <a:gd name="connsiteY0" fmla="*/ 678259 h 788699"/>
                <a:gd name="connsiteX1" fmla="*/ 691859 w 734307"/>
                <a:gd name="connsiteY1" fmla="*/ 694577 h 788699"/>
                <a:gd name="connsiteX2" fmla="*/ 686419 w 734307"/>
                <a:gd name="connsiteY2" fmla="*/ 710895 h 788699"/>
                <a:gd name="connsiteX3" fmla="*/ 670101 w 734307"/>
                <a:gd name="connsiteY3" fmla="*/ 719054 h 788699"/>
                <a:gd name="connsiteX4" fmla="*/ 648344 w 734307"/>
                <a:gd name="connsiteY4" fmla="*/ 721774 h 788699"/>
                <a:gd name="connsiteX5" fmla="*/ 618428 w 734307"/>
                <a:gd name="connsiteY5" fmla="*/ 721774 h 788699"/>
                <a:gd name="connsiteX6" fmla="*/ 572194 w 734307"/>
                <a:gd name="connsiteY6" fmla="*/ 735372 h 788699"/>
                <a:gd name="connsiteX7" fmla="*/ 544997 w 734307"/>
                <a:gd name="connsiteY7" fmla="*/ 729933 h 788699"/>
                <a:gd name="connsiteX8" fmla="*/ 534119 w 734307"/>
                <a:gd name="connsiteY8" fmla="*/ 721774 h 788699"/>
                <a:gd name="connsiteX9" fmla="*/ 496043 w 734307"/>
                <a:gd name="connsiteY9" fmla="*/ 721774 h 788699"/>
                <a:gd name="connsiteX10" fmla="*/ 471566 w 734307"/>
                <a:gd name="connsiteY10" fmla="*/ 721774 h 788699"/>
                <a:gd name="connsiteX11" fmla="*/ 444370 w 734307"/>
                <a:gd name="connsiteY11" fmla="*/ 716335 h 788699"/>
                <a:gd name="connsiteX12" fmla="*/ 428052 w 734307"/>
                <a:gd name="connsiteY12" fmla="*/ 700017 h 788699"/>
                <a:gd name="connsiteX13" fmla="*/ 433491 w 734307"/>
                <a:gd name="connsiteY13" fmla="*/ 691858 h 788699"/>
                <a:gd name="connsiteX14" fmla="*/ 455248 w 734307"/>
                <a:gd name="connsiteY14" fmla="*/ 683699 h 788699"/>
                <a:gd name="connsiteX15" fmla="*/ 506922 w 734307"/>
                <a:gd name="connsiteY15" fmla="*/ 678259 h 788699"/>
                <a:gd name="connsiteX16" fmla="*/ 509641 w 734307"/>
                <a:gd name="connsiteY16" fmla="*/ 678259 h 788699"/>
                <a:gd name="connsiteX17" fmla="*/ 506922 w 734307"/>
                <a:gd name="connsiteY17" fmla="*/ 664661 h 788699"/>
                <a:gd name="connsiteX18" fmla="*/ 498763 w 734307"/>
                <a:gd name="connsiteY18" fmla="*/ 580352 h 788699"/>
                <a:gd name="connsiteX19" fmla="*/ 496043 w 734307"/>
                <a:gd name="connsiteY19" fmla="*/ 479725 h 788699"/>
                <a:gd name="connsiteX20" fmla="*/ 493324 w 734307"/>
                <a:gd name="connsiteY20" fmla="*/ 389976 h 788699"/>
                <a:gd name="connsiteX21" fmla="*/ 490604 w 734307"/>
                <a:gd name="connsiteY21" fmla="*/ 302947 h 788699"/>
                <a:gd name="connsiteX22" fmla="*/ 487884 w 734307"/>
                <a:gd name="connsiteY22" fmla="*/ 229516 h 788699"/>
                <a:gd name="connsiteX23" fmla="*/ 485165 w 734307"/>
                <a:gd name="connsiteY23" fmla="*/ 221357 h 788699"/>
                <a:gd name="connsiteX24" fmla="*/ 482445 w 734307"/>
                <a:gd name="connsiteY24" fmla="*/ 226797 h 788699"/>
                <a:gd name="connsiteX25" fmla="*/ 477006 w 734307"/>
                <a:gd name="connsiteY25" fmla="*/ 262152 h 788699"/>
                <a:gd name="connsiteX26" fmla="*/ 460688 w 734307"/>
                <a:gd name="connsiteY26" fmla="*/ 341022 h 788699"/>
                <a:gd name="connsiteX27" fmla="*/ 444370 w 734307"/>
                <a:gd name="connsiteY27" fmla="*/ 417173 h 788699"/>
                <a:gd name="connsiteX28" fmla="*/ 436211 w 734307"/>
                <a:gd name="connsiteY28" fmla="*/ 455248 h 788699"/>
                <a:gd name="connsiteX29" fmla="*/ 425332 w 734307"/>
                <a:gd name="connsiteY29" fmla="*/ 493323 h 788699"/>
                <a:gd name="connsiteX30" fmla="*/ 411734 w 734307"/>
                <a:gd name="connsiteY30" fmla="*/ 531398 h 788699"/>
                <a:gd name="connsiteX31" fmla="*/ 376378 w 734307"/>
                <a:gd name="connsiteY31" fmla="*/ 547716 h 788699"/>
                <a:gd name="connsiteX32" fmla="*/ 319265 w 734307"/>
                <a:gd name="connsiteY32" fmla="*/ 525959 h 788699"/>
                <a:gd name="connsiteX33" fmla="*/ 289349 w 734307"/>
                <a:gd name="connsiteY33" fmla="*/ 455248 h 788699"/>
                <a:gd name="connsiteX34" fmla="*/ 273031 w 734307"/>
                <a:gd name="connsiteY34" fmla="*/ 373658 h 788699"/>
                <a:gd name="connsiteX35" fmla="*/ 262153 w 734307"/>
                <a:gd name="connsiteY35" fmla="*/ 316545 h 788699"/>
                <a:gd name="connsiteX36" fmla="*/ 245835 w 734307"/>
                <a:gd name="connsiteY36" fmla="*/ 237675 h 788699"/>
                <a:gd name="connsiteX37" fmla="*/ 234956 w 734307"/>
                <a:gd name="connsiteY37" fmla="*/ 196881 h 788699"/>
                <a:gd name="connsiteX38" fmla="*/ 232236 w 734307"/>
                <a:gd name="connsiteY38" fmla="*/ 191441 h 788699"/>
                <a:gd name="connsiteX39" fmla="*/ 226797 w 734307"/>
                <a:gd name="connsiteY39" fmla="*/ 207759 h 788699"/>
                <a:gd name="connsiteX40" fmla="*/ 226797 w 734307"/>
                <a:gd name="connsiteY40" fmla="*/ 232236 h 788699"/>
                <a:gd name="connsiteX41" fmla="*/ 224077 w 734307"/>
                <a:gd name="connsiteY41" fmla="*/ 267592 h 788699"/>
                <a:gd name="connsiteX42" fmla="*/ 221358 w 734307"/>
                <a:gd name="connsiteY42" fmla="*/ 311106 h 788699"/>
                <a:gd name="connsiteX43" fmla="*/ 218638 w 734307"/>
                <a:gd name="connsiteY43" fmla="*/ 360060 h 788699"/>
                <a:gd name="connsiteX44" fmla="*/ 215919 w 734307"/>
                <a:gd name="connsiteY44" fmla="*/ 398135 h 788699"/>
                <a:gd name="connsiteX45" fmla="*/ 213199 w 734307"/>
                <a:gd name="connsiteY45" fmla="*/ 430771 h 788699"/>
                <a:gd name="connsiteX46" fmla="*/ 213199 w 734307"/>
                <a:gd name="connsiteY46" fmla="*/ 455248 h 788699"/>
                <a:gd name="connsiteX47" fmla="*/ 213199 w 734307"/>
                <a:gd name="connsiteY47" fmla="*/ 477005 h 788699"/>
                <a:gd name="connsiteX48" fmla="*/ 207759 w 734307"/>
                <a:gd name="connsiteY48" fmla="*/ 520520 h 788699"/>
                <a:gd name="connsiteX49" fmla="*/ 196881 w 734307"/>
                <a:gd name="connsiteY49" fmla="*/ 610268 h 788699"/>
                <a:gd name="connsiteX50" fmla="*/ 194161 w 734307"/>
                <a:gd name="connsiteY50" fmla="*/ 653783 h 788699"/>
                <a:gd name="connsiteX51" fmla="*/ 191441 w 734307"/>
                <a:gd name="connsiteY51" fmla="*/ 667381 h 788699"/>
                <a:gd name="connsiteX52" fmla="*/ 243115 w 734307"/>
                <a:gd name="connsiteY52" fmla="*/ 667381 h 788699"/>
                <a:gd name="connsiteX53" fmla="*/ 273031 w 734307"/>
                <a:gd name="connsiteY53" fmla="*/ 683699 h 788699"/>
                <a:gd name="connsiteX54" fmla="*/ 262153 w 734307"/>
                <a:gd name="connsiteY54" fmla="*/ 697297 h 788699"/>
                <a:gd name="connsiteX55" fmla="*/ 248554 w 734307"/>
                <a:gd name="connsiteY55" fmla="*/ 705456 h 788699"/>
                <a:gd name="connsiteX56" fmla="*/ 232236 w 734307"/>
                <a:gd name="connsiteY56" fmla="*/ 708176 h 788699"/>
                <a:gd name="connsiteX57" fmla="*/ 166965 w 734307"/>
                <a:gd name="connsiteY57" fmla="*/ 708176 h 788699"/>
                <a:gd name="connsiteX58" fmla="*/ 109852 w 734307"/>
                <a:gd name="connsiteY58" fmla="*/ 708176 h 788699"/>
                <a:gd name="connsiteX59" fmla="*/ 90814 w 734307"/>
                <a:gd name="connsiteY59" fmla="*/ 708176 h 788699"/>
                <a:gd name="connsiteX60" fmla="*/ 69057 w 734307"/>
                <a:gd name="connsiteY60" fmla="*/ 702736 h 788699"/>
                <a:gd name="connsiteX61" fmla="*/ 58178 w 734307"/>
                <a:gd name="connsiteY61" fmla="*/ 686418 h 788699"/>
                <a:gd name="connsiteX62" fmla="*/ 60898 w 734307"/>
                <a:gd name="connsiteY62" fmla="*/ 678259 h 788699"/>
                <a:gd name="connsiteX63" fmla="*/ 77216 w 734307"/>
                <a:gd name="connsiteY63" fmla="*/ 670101 h 788699"/>
                <a:gd name="connsiteX64" fmla="*/ 126170 w 734307"/>
                <a:gd name="connsiteY64" fmla="*/ 664661 h 788699"/>
                <a:gd name="connsiteX65" fmla="*/ 142487 w 734307"/>
                <a:gd name="connsiteY65" fmla="*/ 664661 h 788699"/>
                <a:gd name="connsiteX66" fmla="*/ 147927 w 734307"/>
                <a:gd name="connsiteY66" fmla="*/ 588511 h 788699"/>
                <a:gd name="connsiteX67" fmla="*/ 153366 w 734307"/>
                <a:gd name="connsiteY67" fmla="*/ 493323 h 788699"/>
                <a:gd name="connsiteX68" fmla="*/ 156086 w 734307"/>
                <a:gd name="connsiteY68" fmla="*/ 411733 h 788699"/>
                <a:gd name="connsiteX69" fmla="*/ 161525 w 734307"/>
                <a:gd name="connsiteY69" fmla="*/ 297508 h 788699"/>
                <a:gd name="connsiteX70" fmla="*/ 166965 w 734307"/>
                <a:gd name="connsiteY70" fmla="*/ 240395 h 788699"/>
                <a:gd name="connsiteX71" fmla="*/ 177843 w 734307"/>
                <a:gd name="connsiteY71" fmla="*/ 161525 h 788699"/>
                <a:gd name="connsiteX72" fmla="*/ 183282 w 734307"/>
                <a:gd name="connsiteY72" fmla="*/ 118011 h 788699"/>
                <a:gd name="connsiteX73" fmla="*/ 183282 w 734307"/>
                <a:gd name="connsiteY73" fmla="*/ 115291 h 788699"/>
                <a:gd name="connsiteX74" fmla="*/ 161525 w 734307"/>
                <a:gd name="connsiteY74" fmla="*/ 115291 h 788699"/>
                <a:gd name="connsiteX75" fmla="*/ 137048 w 734307"/>
                <a:gd name="connsiteY75" fmla="*/ 115291 h 788699"/>
                <a:gd name="connsiteX76" fmla="*/ 109852 w 734307"/>
                <a:gd name="connsiteY76" fmla="*/ 109851 h 788699"/>
                <a:gd name="connsiteX77" fmla="*/ 93534 w 734307"/>
                <a:gd name="connsiteY77" fmla="*/ 93534 h 788699"/>
                <a:gd name="connsiteX78" fmla="*/ 98973 w 734307"/>
                <a:gd name="connsiteY78" fmla="*/ 85375 h 788699"/>
                <a:gd name="connsiteX79" fmla="*/ 120730 w 734307"/>
                <a:gd name="connsiteY79" fmla="*/ 77216 h 788699"/>
                <a:gd name="connsiteX80" fmla="*/ 172404 w 734307"/>
                <a:gd name="connsiteY80" fmla="*/ 71776 h 788699"/>
                <a:gd name="connsiteX81" fmla="*/ 234956 w 734307"/>
                <a:gd name="connsiteY81" fmla="*/ 69057 h 788699"/>
                <a:gd name="connsiteX82" fmla="*/ 243115 w 734307"/>
                <a:gd name="connsiteY82" fmla="*/ 69057 h 788699"/>
                <a:gd name="connsiteX83" fmla="*/ 270312 w 734307"/>
                <a:gd name="connsiteY83" fmla="*/ 74496 h 788699"/>
                <a:gd name="connsiteX84" fmla="*/ 308387 w 734307"/>
                <a:gd name="connsiteY84" fmla="*/ 123450 h 788699"/>
                <a:gd name="connsiteX85" fmla="*/ 332864 w 734307"/>
                <a:gd name="connsiteY85" fmla="*/ 202320 h 788699"/>
                <a:gd name="connsiteX86" fmla="*/ 338303 w 734307"/>
                <a:gd name="connsiteY86" fmla="*/ 237675 h 788699"/>
                <a:gd name="connsiteX87" fmla="*/ 349182 w 734307"/>
                <a:gd name="connsiteY87" fmla="*/ 281190 h 788699"/>
                <a:gd name="connsiteX88" fmla="*/ 357341 w 734307"/>
                <a:gd name="connsiteY88" fmla="*/ 316545 h 788699"/>
                <a:gd name="connsiteX89" fmla="*/ 365500 w 734307"/>
                <a:gd name="connsiteY89" fmla="*/ 351901 h 788699"/>
                <a:gd name="connsiteX90" fmla="*/ 376378 w 734307"/>
                <a:gd name="connsiteY90" fmla="*/ 389976 h 788699"/>
                <a:gd name="connsiteX91" fmla="*/ 387257 w 734307"/>
                <a:gd name="connsiteY91" fmla="*/ 414453 h 788699"/>
                <a:gd name="connsiteX92" fmla="*/ 398136 w 734307"/>
                <a:gd name="connsiteY92" fmla="*/ 376378 h 788699"/>
                <a:gd name="connsiteX93" fmla="*/ 406295 w 734307"/>
                <a:gd name="connsiteY93" fmla="*/ 332863 h 788699"/>
                <a:gd name="connsiteX94" fmla="*/ 425332 w 734307"/>
                <a:gd name="connsiteY94" fmla="*/ 243115 h 788699"/>
                <a:gd name="connsiteX95" fmla="*/ 444370 w 734307"/>
                <a:gd name="connsiteY95" fmla="*/ 150646 h 788699"/>
                <a:gd name="connsiteX96" fmla="*/ 477006 w 734307"/>
                <a:gd name="connsiteY96" fmla="*/ 79935 h 788699"/>
                <a:gd name="connsiteX97" fmla="*/ 523240 w 734307"/>
                <a:gd name="connsiteY97" fmla="*/ 58178 h 788699"/>
                <a:gd name="connsiteX98" fmla="*/ 544997 w 734307"/>
                <a:gd name="connsiteY98" fmla="*/ 63617 h 788699"/>
                <a:gd name="connsiteX99" fmla="*/ 612988 w 734307"/>
                <a:gd name="connsiteY99" fmla="*/ 63617 h 788699"/>
                <a:gd name="connsiteX100" fmla="*/ 651064 w 734307"/>
                <a:gd name="connsiteY100" fmla="*/ 79935 h 788699"/>
                <a:gd name="connsiteX101" fmla="*/ 645624 w 734307"/>
                <a:gd name="connsiteY101" fmla="*/ 96253 h 788699"/>
                <a:gd name="connsiteX102" fmla="*/ 629307 w 734307"/>
                <a:gd name="connsiteY102" fmla="*/ 104412 h 788699"/>
                <a:gd name="connsiteX103" fmla="*/ 607549 w 734307"/>
                <a:gd name="connsiteY103" fmla="*/ 107132 h 788699"/>
                <a:gd name="connsiteX104" fmla="*/ 580353 w 734307"/>
                <a:gd name="connsiteY104" fmla="*/ 107132 h 788699"/>
                <a:gd name="connsiteX105" fmla="*/ 583072 w 734307"/>
                <a:gd name="connsiteY105" fmla="*/ 115291 h 788699"/>
                <a:gd name="connsiteX106" fmla="*/ 588512 w 734307"/>
                <a:gd name="connsiteY106" fmla="*/ 156086 h 788699"/>
                <a:gd name="connsiteX107" fmla="*/ 593951 w 734307"/>
                <a:gd name="connsiteY107" fmla="*/ 196881 h 788699"/>
                <a:gd name="connsiteX108" fmla="*/ 599390 w 734307"/>
                <a:gd name="connsiteY108" fmla="*/ 226797 h 788699"/>
                <a:gd name="connsiteX109" fmla="*/ 599390 w 734307"/>
                <a:gd name="connsiteY109" fmla="*/ 232236 h 788699"/>
                <a:gd name="connsiteX110" fmla="*/ 599390 w 734307"/>
                <a:gd name="connsiteY110" fmla="*/ 240395 h 788699"/>
                <a:gd name="connsiteX111" fmla="*/ 602110 w 734307"/>
                <a:gd name="connsiteY111" fmla="*/ 270311 h 788699"/>
                <a:gd name="connsiteX112" fmla="*/ 607549 w 734307"/>
                <a:gd name="connsiteY112" fmla="*/ 308386 h 788699"/>
                <a:gd name="connsiteX113" fmla="*/ 607549 w 734307"/>
                <a:gd name="connsiteY113" fmla="*/ 319265 h 788699"/>
                <a:gd name="connsiteX114" fmla="*/ 612988 w 734307"/>
                <a:gd name="connsiteY114" fmla="*/ 335583 h 788699"/>
                <a:gd name="connsiteX115" fmla="*/ 612988 w 734307"/>
                <a:gd name="connsiteY115" fmla="*/ 346462 h 788699"/>
                <a:gd name="connsiteX116" fmla="*/ 612988 w 734307"/>
                <a:gd name="connsiteY116" fmla="*/ 370939 h 788699"/>
                <a:gd name="connsiteX117" fmla="*/ 612988 w 734307"/>
                <a:gd name="connsiteY117" fmla="*/ 395415 h 788699"/>
                <a:gd name="connsiteX118" fmla="*/ 615708 w 734307"/>
                <a:gd name="connsiteY118" fmla="*/ 422612 h 788699"/>
                <a:gd name="connsiteX119" fmla="*/ 618428 w 734307"/>
                <a:gd name="connsiteY119" fmla="*/ 441650 h 788699"/>
                <a:gd name="connsiteX120" fmla="*/ 618428 w 734307"/>
                <a:gd name="connsiteY120" fmla="*/ 455248 h 788699"/>
                <a:gd name="connsiteX121" fmla="*/ 621147 w 734307"/>
                <a:gd name="connsiteY121" fmla="*/ 463407 h 788699"/>
                <a:gd name="connsiteX122" fmla="*/ 626587 w 734307"/>
                <a:gd name="connsiteY122" fmla="*/ 482444 h 788699"/>
                <a:gd name="connsiteX123" fmla="*/ 629307 w 734307"/>
                <a:gd name="connsiteY123" fmla="*/ 517800 h 788699"/>
                <a:gd name="connsiteX124" fmla="*/ 634746 w 734307"/>
                <a:gd name="connsiteY124" fmla="*/ 561314 h 788699"/>
                <a:gd name="connsiteX125" fmla="*/ 634746 w 734307"/>
                <a:gd name="connsiteY125" fmla="*/ 566754 h 788699"/>
                <a:gd name="connsiteX126" fmla="*/ 634746 w 734307"/>
                <a:gd name="connsiteY126" fmla="*/ 583072 h 788699"/>
                <a:gd name="connsiteX127" fmla="*/ 637466 w 734307"/>
                <a:gd name="connsiteY127" fmla="*/ 607548 h 788699"/>
                <a:gd name="connsiteX128" fmla="*/ 640185 w 734307"/>
                <a:gd name="connsiteY128" fmla="*/ 618427 h 788699"/>
                <a:gd name="connsiteX129" fmla="*/ 640185 w 734307"/>
                <a:gd name="connsiteY129" fmla="*/ 632025 h 788699"/>
                <a:gd name="connsiteX130" fmla="*/ 640185 w 734307"/>
                <a:gd name="connsiteY130" fmla="*/ 640184 h 788699"/>
                <a:gd name="connsiteX131" fmla="*/ 642905 w 734307"/>
                <a:gd name="connsiteY131" fmla="*/ 659222 h 788699"/>
                <a:gd name="connsiteX132" fmla="*/ 642905 w 734307"/>
                <a:gd name="connsiteY132" fmla="*/ 664661 h 788699"/>
                <a:gd name="connsiteX133" fmla="*/ 653783 w 734307"/>
                <a:gd name="connsiteY133" fmla="*/ 678259 h 788699"/>
                <a:gd name="connsiteX134" fmla="*/ 653783 w 734307"/>
                <a:gd name="connsiteY134" fmla="*/ 678259 h 7886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</a:cxnLst>
              <a:rect l="l" t="t" r="r" b="b"/>
              <a:pathLst>
                <a:path w="734307" h="788699">
                  <a:moveTo>
                    <a:pt x="653783" y="678259"/>
                  </a:moveTo>
                  <a:cubicBezTo>
                    <a:pt x="667382" y="678259"/>
                    <a:pt x="691859" y="678259"/>
                    <a:pt x="691859" y="694577"/>
                  </a:cubicBezTo>
                  <a:cubicBezTo>
                    <a:pt x="691859" y="702736"/>
                    <a:pt x="689139" y="705456"/>
                    <a:pt x="686419" y="710895"/>
                  </a:cubicBezTo>
                  <a:cubicBezTo>
                    <a:pt x="683700" y="716335"/>
                    <a:pt x="675541" y="719054"/>
                    <a:pt x="670101" y="719054"/>
                  </a:cubicBezTo>
                  <a:cubicBezTo>
                    <a:pt x="661942" y="721774"/>
                    <a:pt x="653783" y="721774"/>
                    <a:pt x="648344" y="721774"/>
                  </a:cubicBezTo>
                  <a:cubicBezTo>
                    <a:pt x="645624" y="721774"/>
                    <a:pt x="634746" y="721774"/>
                    <a:pt x="618428" y="721774"/>
                  </a:cubicBezTo>
                  <a:cubicBezTo>
                    <a:pt x="604829" y="729933"/>
                    <a:pt x="588512" y="735372"/>
                    <a:pt x="572194" y="735372"/>
                  </a:cubicBezTo>
                  <a:cubicBezTo>
                    <a:pt x="564035" y="735372"/>
                    <a:pt x="553156" y="732653"/>
                    <a:pt x="544997" y="729933"/>
                  </a:cubicBezTo>
                  <a:cubicBezTo>
                    <a:pt x="539558" y="727213"/>
                    <a:pt x="536838" y="724494"/>
                    <a:pt x="534119" y="721774"/>
                  </a:cubicBezTo>
                  <a:cubicBezTo>
                    <a:pt x="520520" y="721774"/>
                    <a:pt x="509641" y="721774"/>
                    <a:pt x="496043" y="721774"/>
                  </a:cubicBezTo>
                  <a:cubicBezTo>
                    <a:pt x="487884" y="721774"/>
                    <a:pt x="479725" y="721774"/>
                    <a:pt x="471566" y="721774"/>
                  </a:cubicBezTo>
                  <a:cubicBezTo>
                    <a:pt x="463407" y="721774"/>
                    <a:pt x="452529" y="721774"/>
                    <a:pt x="444370" y="716335"/>
                  </a:cubicBezTo>
                  <a:cubicBezTo>
                    <a:pt x="436211" y="713615"/>
                    <a:pt x="428052" y="705456"/>
                    <a:pt x="428052" y="700017"/>
                  </a:cubicBezTo>
                  <a:cubicBezTo>
                    <a:pt x="428052" y="697297"/>
                    <a:pt x="428052" y="694577"/>
                    <a:pt x="433491" y="691858"/>
                  </a:cubicBezTo>
                  <a:cubicBezTo>
                    <a:pt x="438930" y="689138"/>
                    <a:pt x="449809" y="686418"/>
                    <a:pt x="455248" y="683699"/>
                  </a:cubicBezTo>
                  <a:cubicBezTo>
                    <a:pt x="474286" y="680979"/>
                    <a:pt x="498763" y="678259"/>
                    <a:pt x="506922" y="678259"/>
                  </a:cubicBezTo>
                  <a:cubicBezTo>
                    <a:pt x="506922" y="678259"/>
                    <a:pt x="509641" y="678259"/>
                    <a:pt x="509641" y="678259"/>
                  </a:cubicBezTo>
                  <a:cubicBezTo>
                    <a:pt x="509641" y="672820"/>
                    <a:pt x="506922" y="670101"/>
                    <a:pt x="506922" y="664661"/>
                  </a:cubicBezTo>
                  <a:cubicBezTo>
                    <a:pt x="501483" y="640184"/>
                    <a:pt x="501483" y="612988"/>
                    <a:pt x="498763" y="580352"/>
                  </a:cubicBezTo>
                  <a:cubicBezTo>
                    <a:pt x="496043" y="547716"/>
                    <a:pt x="498763" y="512361"/>
                    <a:pt x="496043" y="479725"/>
                  </a:cubicBezTo>
                  <a:cubicBezTo>
                    <a:pt x="493324" y="449808"/>
                    <a:pt x="493324" y="419892"/>
                    <a:pt x="493324" y="389976"/>
                  </a:cubicBezTo>
                  <a:cubicBezTo>
                    <a:pt x="493324" y="360060"/>
                    <a:pt x="490604" y="332863"/>
                    <a:pt x="490604" y="302947"/>
                  </a:cubicBezTo>
                  <a:cubicBezTo>
                    <a:pt x="487884" y="275751"/>
                    <a:pt x="487884" y="240395"/>
                    <a:pt x="487884" y="229516"/>
                  </a:cubicBezTo>
                  <a:cubicBezTo>
                    <a:pt x="487884" y="224077"/>
                    <a:pt x="487884" y="221357"/>
                    <a:pt x="485165" y="221357"/>
                  </a:cubicBezTo>
                  <a:cubicBezTo>
                    <a:pt x="485165" y="221357"/>
                    <a:pt x="482445" y="224077"/>
                    <a:pt x="482445" y="226797"/>
                  </a:cubicBezTo>
                  <a:cubicBezTo>
                    <a:pt x="479725" y="237675"/>
                    <a:pt x="479725" y="251274"/>
                    <a:pt x="477006" y="262152"/>
                  </a:cubicBezTo>
                  <a:cubicBezTo>
                    <a:pt x="471566" y="289349"/>
                    <a:pt x="466127" y="316545"/>
                    <a:pt x="460688" y="341022"/>
                  </a:cubicBezTo>
                  <a:cubicBezTo>
                    <a:pt x="455248" y="365499"/>
                    <a:pt x="447090" y="392696"/>
                    <a:pt x="444370" y="417173"/>
                  </a:cubicBezTo>
                  <a:cubicBezTo>
                    <a:pt x="441650" y="430771"/>
                    <a:pt x="438930" y="441650"/>
                    <a:pt x="436211" y="455248"/>
                  </a:cubicBezTo>
                  <a:cubicBezTo>
                    <a:pt x="433491" y="468846"/>
                    <a:pt x="428052" y="479725"/>
                    <a:pt x="425332" y="493323"/>
                  </a:cubicBezTo>
                  <a:cubicBezTo>
                    <a:pt x="422612" y="506921"/>
                    <a:pt x="419893" y="520520"/>
                    <a:pt x="411734" y="531398"/>
                  </a:cubicBezTo>
                  <a:cubicBezTo>
                    <a:pt x="406295" y="539557"/>
                    <a:pt x="395416" y="547716"/>
                    <a:pt x="376378" y="547716"/>
                  </a:cubicBezTo>
                  <a:cubicBezTo>
                    <a:pt x="357341" y="547716"/>
                    <a:pt x="335583" y="539557"/>
                    <a:pt x="319265" y="525959"/>
                  </a:cubicBezTo>
                  <a:cubicBezTo>
                    <a:pt x="300228" y="506921"/>
                    <a:pt x="294788" y="479725"/>
                    <a:pt x="289349" y="455248"/>
                  </a:cubicBezTo>
                  <a:cubicBezTo>
                    <a:pt x="283910" y="428051"/>
                    <a:pt x="278470" y="400855"/>
                    <a:pt x="273031" y="373658"/>
                  </a:cubicBezTo>
                  <a:cubicBezTo>
                    <a:pt x="273031" y="368219"/>
                    <a:pt x="267592" y="346462"/>
                    <a:pt x="262153" y="316545"/>
                  </a:cubicBezTo>
                  <a:cubicBezTo>
                    <a:pt x="256713" y="292068"/>
                    <a:pt x="251274" y="262152"/>
                    <a:pt x="245835" y="237675"/>
                  </a:cubicBezTo>
                  <a:cubicBezTo>
                    <a:pt x="240395" y="218638"/>
                    <a:pt x="237675" y="205039"/>
                    <a:pt x="234956" y="196881"/>
                  </a:cubicBezTo>
                  <a:cubicBezTo>
                    <a:pt x="232236" y="191441"/>
                    <a:pt x="232236" y="191441"/>
                    <a:pt x="232236" y="191441"/>
                  </a:cubicBezTo>
                  <a:cubicBezTo>
                    <a:pt x="229517" y="191441"/>
                    <a:pt x="229517" y="196881"/>
                    <a:pt x="226797" y="207759"/>
                  </a:cubicBezTo>
                  <a:cubicBezTo>
                    <a:pt x="226797" y="215918"/>
                    <a:pt x="226797" y="229516"/>
                    <a:pt x="226797" y="232236"/>
                  </a:cubicBezTo>
                  <a:cubicBezTo>
                    <a:pt x="226797" y="243115"/>
                    <a:pt x="224077" y="256713"/>
                    <a:pt x="224077" y="267592"/>
                  </a:cubicBezTo>
                  <a:cubicBezTo>
                    <a:pt x="224077" y="278470"/>
                    <a:pt x="224077" y="294788"/>
                    <a:pt x="221358" y="311106"/>
                  </a:cubicBezTo>
                  <a:cubicBezTo>
                    <a:pt x="221358" y="327424"/>
                    <a:pt x="218638" y="343742"/>
                    <a:pt x="218638" y="360060"/>
                  </a:cubicBezTo>
                  <a:cubicBezTo>
                    <a:pt x="218638" y="373658"/>
                    <a:pt x="215919" y="384537"/>
                    <a:pt x="215919" y="398135"/>
                  </a:cubicBezTo>
                  <a:cubicBezTo>
                    <a:pt x="215919" y="409014"/>
                    <a:pt x="213199" y="419892"/>
                    <a:pt x="213199" y="430771"/>
                  </a:cubicBezTo>
                  <a:cubicBezTo>
                    <a:pt x="213199" y="438930"/>
                    <a:pt x="213199" y="447089"/>
                    <a:pt x="213199" y="455248"/>
                  </a:cubicBezTo>
                  <a:cubicBezTo>
                    <a:pt x="213199" y="463407"/>
                    <a:pt x="213199" y="471566"/>
                    <a:pt x="213199" y="477005"/>
                  </a:cubicBezTo>
                  <a:cubicBezTo>
                    <a:pt x="210479" y="490603"/>
                    <a:pt x="207759" y="506921"/>
                    <a:pt x="207759" y="520520"/>
                  </a:cubicBezTo>
                  <a:cubicBezTo>
                    <a:pt x="202320" y="550436"/>
                    <a:pt x="199600" y="580352"/>
                    <a:pt x="196881" y="610268"/>
                  </a:cubicBezTo>
                  <a:cubicBezTo>
                    <a:pt x="196881" y="623866"/>
                    <a:pt x="196881" y="640184"/>
                    <a:pt x="194161" y="653783"/>
                  </a:cubicBezTo>
                  <a:cubicBezTo>
                    <a:pt x="194161" y="659222"/>
                    <a:pt x="194161" y="661942"/>
                    <a:pt x="191441" y="667381"/>
                  </a:cubicBezTo>
                  <a:cubicBezTo>
                    <a:pt x="213199" y="667381"/>
                    <a:pt x="232236" y="667381"/>
                    <a:pt x="243115" y="667381"/>
                  </a:cubicBezTo>
                  <a:cubicBezTo>
                    <a:pt x="253994" y="667381"/>
                    <a:pt x="273031" y="670101"/>
                    <a:pt x="273031" y="683699"/>
                  </a:cubicBezTo>
                  <a:cubicBezTo>
                    <a:pt x="273031" y="691858"/>
                    <a:pt x="267592" y="691858"/>
                    <a:pt x="262153" y="697297"/>
                  </a:cubicBezTo>
                  <a:cubicBezTo>
                    <a:pt x="259433" y="702736"/>
                    <a:pt x="253994" y="705456"/>
                    <a:pt x="248554" y="705456"/>
                  </a:cubicBezTo>
                  <a:cubicBezTo>
                    <a:pt x="240395" y="708176"/>
                    <a:pt x="234956" y="708176"/>
                    <a:pt x="232236" y="708176"/>
                  </a:cubicBezTo>
                  <a:cubicBezTo>
                    <a:pt x="226797" y="708176"/>
                    <a:pt x="175124" y="708176"/>
                    <a:pt x="166965" y="708176"/>
                  </a:cubicBezTo>
                  <a:cubicBezTo>
                    <a:pt x="156086" y="708176"/>
                    <a:pt x="120730" y="708176"/>
                    <a:pt x="109852" y="708176"/>
                  </a:cubicBezTo>
                  <a:cubicBezTo>
                    <a:pt x="104412" y="708176"/>
                    <a:pt x="96253" y="708176"/>
                    <a:pt x="90814" y="708176"/>
                  </a:cubicBezTo>
                  <a:cubicBezTo>
                    <a:pt x="85375" y="708176"/>
                    <a:pt x="77216" y="705456"/>
                    <a:pt x="69057" y="702736"/>
                  </a:cubicBezTo>
                  <a:cubicBezTo>
                    <a:pt x="63617" y="700017"/>
                    <a:pt x="58178" y="691858"/>
                    <a:pt x="58178" y="686418"/>
                  </a:cubicBezTo>
                  <a:cubicBezTo>
                    <a:pt x="58178" y="683699"/>
                    <a:pt x="58178" y="680979"/>
                    <a:pt x="60898" y="678259"/>
                  </a:cubicBezTo>
                  <a:cubicBezTo>
                    <a:pt x="63617" y="675540"/>
                    <a:pt x="71777" y="672820"/>
                    <a:pt x="77216" y="670101"/>
                  </a:cubicBezTo>
                  <a:cubicBezTo>
                    <a:pt x="90814" y="667381"/>
                    <a:pt x="120730" y="664661"/>
                    <a:pt x="126170" y="664661"/>
                  </a:cubicBezTo>
                  <a:cubicBezTo>
                    <a:pt x="128889" y="664661"/>
                    <a:pt x="134329" y="664661"/>
                    <a:pt x="142487" y="664661"/>
                  </a:cubicBezTo>
                  <a:cubicBezTo>
                    <a:pt x="142487" y="640184"/>
                    <a:pt x="147927" y="612988"/>
                    <a:pt x="147927" y="588511"/>
                  </a:cubicBezTo>
                  <a:cubicBezTo>
                    <a:pt x="150646" y="555875"/>
                    <a:pt x="153366" y="523239"/>
                    <a:pt x="153366" y="493323"/>
                  </a:cubicBezTo>
                  <a:cubicBezTo>
                    <a:pt x="153366" y="466126"/>
                    <a:pt x="156086" y="438930"/>
                    <a:pt x="156086" y="411733"/>
                  </a:cubicBezTo>
                  <a:cubicBezTo>
                    <a:pt x="158806" y="373658"/>
                    <a:pt x="158806" y="335583"/>
                    <a:pt x="161525" y="297508"/>
                  </a:cubicBezTo>
                  <a:cubicBezTo>
                    <a:pt x="161525" y="278470"/>
                    <a:pt x="164245" y="259433"/>
                    <a:pt x="166965" y="240395"/>
                  </a:cubicBezTo>
                  <a:cubicBezTo>
                    <a:pt x="169684" y="210479"/>
                    <a:pt x="172404" y="191441"/>
                    <a:pt x="177843" y="161525"/>
                  </a:cubicBezTo>
                  <a:cubicBezTo>
                    <a:pt x="180563" y="147927"/>
                    <a:pt x="180563" y="131609"/>
                    <a:pt x="183282" y="118011"/>
                  </a:cubicBezTo>
                  <a:cubicBezTo>
                    <a:pt x="183282" y="118011"/>
                    <a:pt x="183282" y="115291"/>
                    <a:pt x="183282" y="115291"/>
                  </a:cubicBezTo>
                  <a:cubicBezTo>
                    <a:pt x="177843" y="115291"/>
                    <a:pt x="172404" y="115291"/>
                    <a:pt x="161525" y="115291"/>
                  </a:cubicBezTo>
                  <a:cubicBezTo>
                    <a:pt x="153366" y="115291"/>
                    <a:pt x="145207" y="115291"/>
                    <a:pt x="137048" y="115291"/>
                  </a:cubicBezTo>
                  <a:cubicBezTo>
                    <a:pt x="128889" y="115291"/>
                    <a:pt x="118011" y="115291"/>
                    <a:pt x="109852" y="109851"/>
                  </a:cubicBezTo>
                  <a:cubicBezTo>
                    <a:pt x="101693" y="107132"/>
                    <a:pt x="93534" y="98973"/>
                    <a:pt x="93534" y="93534"/>
                  </a:cubicBezTo>
                  <a:cubicBezTo>
                    <a:pt x="93534" y="90814"/>
                    <a:pt x="93534" y="88094"/>
                    <a:pt x="98973" y="85375"/>
                  </a:cubicBezTo>
                  <a:cubicBezTo>
                    <a:pt x="104412" y="82655"/>
                    <a:pt x="115291" y="79935"/>
                    <a:pt x="120730" y="77216"/>
                  </a:cubicBezTo>
                  <a:cubicBezTo>
                    <a:pt x="139768" y="74496"/>
                    <a:pt x="164245" y="71776"/>
                    <a:pt x="172404" y="71776"/>
                  </a:cubicBezTo>
                  <a:cubicBezTo>
                    <a:pt x="194161" y="71776"/>
                    <a:pt x="210479" y="69057"/>
                    <a:pt x="234956" y="69057"/>
                  </a:cubicBezTo>
                  <a:cubicBezTo>
                    <a:pt x="237675" y="69057"/>
                    <a:pt x="240395" y="69057"/>
                    <a:pt x="243115" y="69057"/>
                  </a:cubicBezTo>
                  <a:cubicBezTo>
                    <a:pt x="251274" y="69057"/>
                    <a:pt x="262153" y="69057"/>
                    <a:pt x="270312" y="74496"/>
                  </a:cubicBezTo>
                  <a:cubicBezTo>
                    <a:pt x="283910" y="82655"/>
                    <a:pt x="300228" y="96253"/>
                    <a:pt x="308387" y="123450"/>
                  </a:cubicBezTo>
                  <a:cubicBezTo>
                    <a:pt x="316546" y="147927"/>
                    <a:pt x="327424" y="175123"/>
                    <a:pt x="332864" y="202320"/>
                  </a:cubicBezTo>
                  <a:cubicBezTo>
                    <a:pt x="335583" y="213198"/>
                    <a:pt x="335583" y="226797"/>
                    <a:pt x="338303" y="237675"/>
                  </a:cubicBezTo>
                  <a:cubicBezTo>
                    <a:pt x="343742" y="251274"/>
                    <a:pt x="346462" y="264872"/>
                    <a:pt x="349182" y="281190"/>
                  </a:cubicBezTo>
                  <a:cubicBezTo>
                    <a:pt x="351901" y="292068"/>
                    <a:pt x="351901" y="305667"/>
                    <a:pt x="357341" y="316545"/>
                  </a:cubicBezTo>
                  <a:cubicBezTo>
                    <a:pt x="362780" y="327424"/>
                    <a:pt x="362780" y="338303"/>
                    <a:pt x="365500" y="351901"/>
                  </a:cubicBezTo>
                  <a:cubicBezTo>
                    <a:pt x="365500" y="357340"/>
                    <a:pt x="373658" y="373658"/>
                    <a:pt x="376378" y="389976"/>
                  </a:cubicBezTo>
                  <a:cubicBezTo>
                    <a:pt x="381817" y="403574"/>
                    <a:pt x="384537" y="414453"/>
                    <a:pt x="387257" y="414453"/>
                  </a:cubicBezTo>
                  <a:cubicBezTo>
                    <a:pt x="392696" y="414453"/>
                    <a:pt x="395416" y="381817"/>
                    <a:pt x="398136" y="376378"/>
                  </a:cubicBezTo>
                  <a:cubicBezTo>
                    <a:pt x="400855" y="362779"/>
                    <a:pt x="403575" y="346462"/>
                    <a:pt x="406295" y="332863"/>
                  </a:cubicBezTo>
                  <a:cubicBezTo>
                    <a:pt x="411734" y="302947"/>
                    <a:pt x="417173" y="273031"/>
                    <a:pt x="425332" y="243115"/>
                  </a:cubicBezTo>
                  <a:cubicBezTo>
                    <a:pt x="430771" y="213198"/>
                    <a:pt x="436211" y="180563"/>
                    <a:pt x="444370" y="150646"/>
                  </a:cubicBezTo>
                  <a:cubicBezTo>
                    <a:pt x="449809" y="126170"/>
                    <a:pt x="460688" y="98973"/>
                    <a:pt x="477006" y="79935"/>
                  </a:cubicBezTo>
                  <a:cubicBezTo>
                    <a:pt x="487884" y="66337"/>
                    <a:pt x="506922" y="58178"/>
                    <a:pt x="523240" y="58178"/>
                  </a:cubicBezTo>
                  <a:cubicBezTo>
                    <a:pt x="528679" y="58178"/>
                    <a:pt x="539558" y="58178"/>
                    <a:pt x="544997" y="63617"/>
                  </a:cubicBezTo>
                  <a:lnTo>
                    <a:pt x="612988" y="63617"/>
                  </a:lnTo>
                  <a:cubicBezTo>
                    <a:pt x="626587" y="63617"/>
                    <a:pt x="651064" y="63617"/>
                    <a:pt x="651064" y="79935"/>
                  </a:cubicBezTo>
                  <a:cubicBezTo>
                    <a:pt x="651064" y="88094"/>
                    <a:pt x="648344" y="88094"/>
                    <a:pt x="645624" y="96253"/>
                  </a:cubicBezTo>
                  <a:cubicBezTo>
                    <a:pt x="640185" y="101693"/>
                    <a:pt x="634746" y="104412"/>
                    <a:pt x="629307" y="104412"/>
                  </a:cubicBezTo>
                  <a:cubicBezTo>
                    <a:pt x="621147" y="107132"/>
                    <a:pt x="612988" y="107132"/>
                    <a:pt x="607549" y="107132"/>
                  </a:cubicBezTo>
                  <a:cubicBezTo>
                    <a:pt x="604829" y="107132"/>
                    <a:pt x="591231" y="107132"/>
                    <a:pt x="580353" y="107132"/>
                  </a:cubicBezTo>
                  <a:cubicBezTo>
                    <a:pt x="580353" y="109851"/>
                    <a:pt x="583072" y="112571"/>
                    <a:pt x="583072" y="115291"/>
                  </a:cubicBezTo>
                  <a:cubicBezTo>
                    <a:pt x="585792" y="128889"/>
                    <a:pt x="585792" y="142487"/>
                    <a:pt x="588512" y="156086"/>
                  </a:cubicBezTo>
                  <a:cubicBezTo>
                    <a:pt x="591231" y="169684"/>
                    <a:pt x="591231" y="183282"/>
                    <a:pt x="593951" y="196881"/>
                  </a:cubicBezTo>
                  <a:cubicBezTo>
                    <a:pt x="593951" y="207759"/>
                    <a:pt x="599390" y="215918"/>
                    <a:pt x="599390" y="226797"/>
                  </a:cubicBezTo>
                  <a:cubicBezTo>
                    <a:pt x="599390" y="229516"/>
                    <a:pt x="599390" y="229516"/>
                    <a:pt x="599390" y="232236"/>
                  </a:cubicBezTo>
                  <a:cubicBezTo>
                    <a:pt x="599390" y="234956"/>
                    <a:pt x="599390" y="237675"/>
                    <a:pt x="599390" y="240395"/>
                  </a:cubicBezTo>
                  <a:cubicBezTo>
                    <a:pt x="599390" y="251274"/>
                    <a:pt x="599390" y="259433"/>
                    <a:pt x="602110" y="270311"/>
                  </a:cubicBezTo>
                  <a:cubicBezTo>
                    <a:pt x="604829" y="283909"/>
                    <a:pt x="607549" y="294788"/>
                    <a:pt x="607549" y="308386"/>
                  </a:cubicBezTo>
                  <a:cubicBezTo>
                    <a:pt x="607549" y="311106"/>
                    <a:pt x="607549" y="316545"/>
                    <a:pt x="607549" y="319265"/>
                  </a:cubicBezTo>
                  <a:cubicBezTo>
                    <a:pt x="607549" y="324704"/>
                    <a:pt x="610269" y="330144"/>
                    <a:pt x="612988" y="335583"/>
                  </a:cubicBezTo>
                  <a:cubicBezTo>
                    <a:pt x="612988" y="338303"/>
                    <a:pt x="612988" y="343742"/>
                    <a:pt x="612988" y="346462"/>
                  </a:cubicBezTo>
                  <a:cubicBezTo>
                    <a:pt x="612988" y="354620"/>
                    <a:pt x="612988" y="362779"/>
                    <a:pt x="612988" y="370939"/>
                  </a:cubicBezTo>
                  <a:cubicBezTo>
                    <a:pt x="612988" y="379097"/>
                    <a:pt x="612988" y="387256"/>
                    <a:pt x="612988" y="395415"/>
                  </a:cubicBezTo>
                  <a:cubicBezTo>
                    <a:pt x="612988" y="403574"/>
                    <a:pt x="615708" y="414453"/>
                    <a:pt x="615708" y="422612"/>
                  </a:cubicBezTo>
                  <a:cubicBezTo>
                    <a:pt x="618428" y="430771"/>
                    <a:pt x="618428" y="436210"/>
                    <a:pt x="618428" y="441650"/>
                  </a:cubicBezTo>
                  <a:cubicBezTo>
                    <a:pt x="618428" y="444369"/>
                    <a:pt x="618428" y="449808"/>
                    <a:pt x="618428" y="455248"/>
                  </a:cubicBezTo>
                  <a:cubicBezTo>
                    <a:pt x="618428" y="460687"/>
                    <a:pt x="618428" y="460687"/>
                    <a:pt x="621147" y="463407"/>
                  </a:cubicBezTo>
                  <a:cubicBezTo>
                    <a:pt x="623867" y="471566"/>
                    <a:pt x="623867" y="477005"/>
                    <a:pt x="626587" y="482444"/>
                  </a:cubicBezTo>
                  <a:cubicBezTo>
                    <a:pt x="629307" y="493323"/>
                    <a:pt x="629307" y="506921"/>
                    <a:pt x="629307" y="517800"/>
                  </a:cubicBezTo>
                  <a:cubicBezTo>
                    <a:pt x="632026" y="534118"/>
                    <a:pt x="632026" y="547716"/>
                    <a:pt x="634746" y="561314"/>
                  </a:cubicBezTo>
                  <a:cubicBezTo>
                    <a:pt x="634746" y="564034"/>
                    <a:pt x="634746" y="564034"/>
                    <a:pt x="634746" y="566754"/>
                  </a:cubicBezTo>
                  <a:cubicBezTo>
                    <a:pt x="634746" y="572193"/>
                    <a:pt x="634746" y="577632"/>
                    <a:pt x="634746" y="583072"/>
                  </a:cubicBezTo>
                  <a:cubicBezTo>
                    <a:pt x="634746" y="596670"/>
                    <a:pt x="637466" y="602109"/>
                    <a:pt x="637466" y="607548"/>
                  </a:cubicBezTo>
                  <a:cubicBezTo>
                    <a:pt x="637466" y="610268"/>
                    <a:pt x="640185" y="615708"/>
                    <a:pt x="640185" y="618427"/>
                  </a:cubicBezTo>
                  <a:cubicBezTo>
                    <a:pt x="640185" y="623866"/>
                    <a:pt x="640185" y="629306"/>
                    <a:pt x="640185" y="632025"/>
                  </a:cubicBezTo>
                  <a:cubicBezTo>
                    <a:pt x="640185" y="634745"/>
                    <a:pt x="640185" y="637465"/>
                    <a:pt x="640185" y="640184"/>
                  </a:cubicBezTo>
                  <a:cubicBezTo>
                    <a:pt x="640185" y="645624"/>
                    <a:pt x="642905" y="653783"/>
                    <a:pt x="642905" y="659222"/>
                  </a:cubicBezTo>
                  <a:cubicBezTo>
                    <a:pt x="642905" y="661942"/>
                    <a:pt x="642905" y="661942"/>
                    <a:pt x="642905" y="664661"/>
                  </a:cubicBezTo>
                  <a:cubicBezTo>
                    <a:pt x="645624" y="678259"/>
                    <a:pt x="651064" y="678259"/>
                    <a:pt x="653783" y="678259"/>
                  </a:cubicBezTo>
                  <a:lnTo>
                    <a:pt x="653783" y="678259"/>
                  </a:ln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6" name="Freeform: Shape 45">
              <a:extLst>
                <a:ext uri="{FF2B5EF4-FFF2-40B4-BE49-F238E27FC236}">
                  <a16:creationId xmlns:a16="http://schemas.microsoft.com/office/drawing/2014/main" id="{BC039864-996D-45FB-8953-B06D02EC1B41}"/>
                </a:ext>
              </a:extLst>
            </p:cNvPr>
            <p:cNvSpPr/>
            <p:nvPr/>
          </p:nvSpPr>
          <p:spPr>
            <a:xfrm>
              <a:off x="6362526" y="4242177"/>
              <a:ext cx="492259" cy="674476"/>
            </a:xfrm>
            <a:custGeom>
              <a:avLst/>
              <a:gdLst>
                <a:gd name="connsiteX0" fmla="*/ 225733 w 492259"/>
                <a:gd name="connsiteY0" fmla="*/ 97907 h 674476"/>
                <a:gd name="connsiteX1" fmla="*/ 209415 w 492259"/>
                <a:gd name="connsiteY1" fmla="*/ 119665 h 674476"/>
                <a:gd name="connsiteX2" fmla="*/ 201256 w 492259"/>
                <a:gd name="connsiteY2" fmla="*/ 152300 h 674476"/>
                <a:gd name="connsiteX3" fmla="*/ 198536 w 492259"/>
                <a:gd name="connsiteY3" fmla="*/ 168618 h 674476"/>
                <a:gd name="connsiteX4" fmla="*/ 195817 w 492259"/>
                <a:gd name="connsiteY4" fmla="*/ 184936 h 674476"/>
                <a:gd name="connsiteX5" fmla="*/ 187658 w 492259"/>
                <a:gd name="connsiteY5" fmla="*/ 220292 h 674476"/>
                <a:gd name="connsiteX6" fmla="*/ 168620 w 492259"/>
                <a:gd name="connsiteY6" fmla="*/ 291003 h 674476"/>
                <a:gd name="connsiteX7" fmla="*/ 160461 w 492259"/>
                <a:gd name="connsiteY7" fmla="*/ 323639 h 674476"/>
                <a:gd name="connsiteX8" fmla="*/ 149582 w 492259"/>
                <a:gd name="connsiteY8" fmla="*/ 361714 h 674476"/>
                <a:gd name="connsiteX9" fmla="*/ 144143 w 492259"/>
                <a:gd name="connsiteY9" fmla="*/ 388910 h 674476"/>
                <a:gd name="connsiteX10" fmla="*/ 149582 w 492259"/>
                <a:gd name="connsiteY10" fmla="*/ 391630 h 674476"/>
                <a:gd name="connsiteX11" fmla="*/ 171340 w 492259"/>
                <a:gd name="connsiteY11" fmla="*/ 391630 h 674476"/>
                <a:gd name="connsiteX12" fmla="*/ 193097 w 492259"/>
                <a:gd name="connsiteY12" fmla="*/ 388910 h 674476"/>
                <a:gd name="connsiteX13" fmla="*/ 212135 w 492259"/>
                <a:gd name="connsiteY13" fmla="*/ 388910 h 674476"/>
                <a:gd name="connsiteX14" fmla="*/ 236611 w 492259"/>
                <a:gd name="connsiteY14" fmla="*/ 388910 h 674476"/>
                <a:gd name="connsiteX15" fmla="*/ 250210 w 492259"/>
                <a:gd name="connsiteY15" fmla="*/ 386191 h 674476"/>
                <a:gd name="connsiteX16" fmla="*/ 258369 w 492259"/>
                <a:gd name="connsiteY16" fmla="*/ 386191 h 674476"/>
                <a:gd name="connsiteX17" fmla="*/ 255649 w 492259"/>
                <a:gd name="connsiteY17" fmla="*/ 367153 h 674476"/>
                <a:gd name="connsiteX18" fmla="*/ 250210 w 492259"/>
                <a:gd name="connsiteY18" fmla="*/ 331797 h 674476"/>
                <a:gd name="connsiteX19" fmla="*/ 247490 w 492259"/>
                <a:gd name="connsiteY19" fmla="*/ 244769 h 674476"/>
                <a:gd name="connsiteX20" fmla="*/ 242051 w 492259"/>
                <a:gd name="connsiteY20" fmla="*/ 203974 h 674476"/>
                <a:gd name="connsiteX21" fmla="*/ 236611 w 492259"/>
                <a:gd name="connsiteY21" fmla="*/ 157740 h 674476"/>
                <a:gd name="connsiteX22" fmla="*/ 233892 w 492259"/>
                <a:gd name="connsiteY22" fmla="*/ 119665 h 674476"/>
                <a:gd name="connsiteX23" fmla="*/ 225733 w 492259"/>
                <a:gd name="connsiteY23" fmla="*/ 97907 h 674476"/>
                <a:gd name="connsiteX24" fmla="*/ 274687 w 492259"/>
                <a:gd name="connsiteY24" fmla="*/ 0 h 674476"/>
                <a:gd name="connsiteX25" fmla="*/ 304603 w 492259"/>
                <a:gd name="connsiteY25" fmla="*/ 5439 h 674476"/>
                <a:gd name="connsiteX26" fmla="*/ 320921 w 492259"/>
                <a:gd name="connsiteY26" fmla="*/ 24477 h 674476"/>
                <a:gd name="connsiteX27" fmla="*/ 334519 w 492259"/>
                <a:gd name="connsiteY27" fmla="*/ 43515 h 674476"/>
                <a:gd name="connsiteX28" fmla="*/ 339959 w 492259"/>
                <a:gd name="connsiteY28" fmla="*/ 65272 h 674476"/>
                <a:gd name="connsiteX29" fmla="*/ 348118 w 492259"/>
                <a:gd name="connsiteY29" fmla="*/ 114226 h 674476"/>
                <a:gd name="connsiteX30" fmla="*/ 361716 w 492259"/>
                <a:gd name="connsiteY30" fmla="*/ 163180 h 674476"/>
                <a:gd name="connsiteX31" fmla="*/ 369875 w 492259"/>
                <a:gd name="connsiteY31" fmla="*/ 220293 h 674476"/>
                <a:gd name="connsiteX32" fmla="*/ 378034 w 492259"/>
                <a:gd name="connsiteY32" fmla="*/ 274686 h 674476"/>
                <a:gd name="connsiteX33" fmla="*/ 383473 w 492259"/>
                <a:gd name="connsiteY33" fmla="*/ 301883 h 674476"/>
                <a:gd name="connsiteX34" fmla="*/ 391632 w 492259"/>
                <a:gd name="connsiteY34" fmla="*/ 337238 h 674476"/>
                <a:gd name="connsiteX35" fmla="*/ 397071 w 492259"/>
                <a:gd name="connsiteY35" fmla="*/ 364435 h 674476"/>
                <a:gd name="connsiteX36" fmla="*/ 405230 w 492259"/>
                <a:gd name="connsiteY36" fmla="*/ 383473 h 674476"/>
                <a:gd name="connsiteX37" fmla="*/ 416109 w 492259"/>
                <a:gd name="connsiteY37" fmla="*/ 386192 h 674476"/>
                <a:gd name="connsiteX38" fmla="*/ 426988 w 492259"/>
                <a:gd name="connsiteY38" fmla="*/ 386192 h 674476"/>
                <a:gd name="connsiteX39" fmla="*/ 454184 w 492259"/>
                <a:gd name="connsiteY39" fmla="*/ 397071 h 674476"/>
                <a:gd name="connsiteX40" fmla="*/ 456904 w 492259"/>
                <a:gd name="connsiteY40" fmla="*/ 405230 h 674476"/>
                <a:gd name="connsiteX41" fmla="*/ 451464 w 492259"/>
                <a:gd name="connsiteY41" fmla="*/ 416108 h 674476"/>
                <a:gd name="connsiteX42" fmla="*/ 432427 w 492259"/>
                <a:gd name="connsiteY42" fmla="*/ 429707 h 674476"/>
                <a:gd name="connsiteX43" fmla="*/ 421548 w 492259"/>
                <a:gd name="connsiteY43" fmla="*/ 432426 h 674476"/>
                <a:gd name="connsiteX44" fmla="*/ 413389 w 492259"/>
                <a:gd name="connsiteY44" fmla="*/ 435146 h 674476"/>
                <a:gd name="connsiteX45" fmla="*/ 413389 w 492259"/>
                <a:gd name="connsiteY45" fmla="*/ 440585 h 674476"/>
                <a:gd name="connsiteX46" fmla="*/ 416109 w 492259"/>
                <a:gd name="connsiteY46" fmla="*/ 451464 h 674476"/>
                <a:gd name="connsiteX47" fmla="*/ 418829 w 492259"/>
                <a:gd name="connsiteY47" fmla="*/ 465062 h 674476"/>
                <a:gd name="connsiteX48" fmla="*/ 418829 w 492259"/>
                <a:gd name="connsiteY48" fmla="*/ 475941 h 674476"/>
                <a:gd name="connsiteX49" fmla="*/ 418829 w 492259"/>
                <a:gd name="connsiteY49" fmla="*/ 486820 h 674476"/>
                <a:gd name="connsiteX50" fmla="*/ 426988 w 492259"/>
                <a:gd name="connsiteY50" fmla="*/ 516736 h 674476"/>
                <a:gd name="connsiteX51" fmla="*/ 432427 w 492259"/>
                <a:gd name="connsiteY51" fmla="*/ 543932 h 674476"/>
                <a:gd name="connsiteX52" fmla="*/ 437866 w 492259"/>
                <a:gd name="connsiteY52" fmla="*/ 573848 h 674476"/>
                <a:gd name="connsiteX53" fmla="*/ 443306 w 492259"/>
                <a:gd name="connsiteY53" fmla="*/ 606484 h 674476"/>
                <a:gd name="connsiteX54" fmla="*/ 446025 w 492259"/>
                <a:gd name="connsiteY54" fmla="*/ 617363 h 674476"/>
                <a:gd name="connsiteX55" fmla="*/ 470502 w 492259"/>
                <a:gd name="connsiteY55" fmla="*/ 617363 h 674476"/>
                <a:gd name="connsiteX56" fmla="*/ 492259 w 492259"/>
                <a:gd name="connsiteY56" fmla="*/ 641840 h 674476"/>
                <a:gd name="connsiteX57" fmla="*/ 484101 w 492259"/>
                <a:gd name="connsiteY57" fmla="*/ 655438 h 674476"/>
                <a:gd name="connsiteX58" fmla="*/ 467782 w 492259"/>
                <a:gd name="connsiteY58" fmla="*/ 663597 h 674476"/>
                <a:gd name="connsiteX59" fmla="*/ 443306 w 492259"/>
                <a:gd name="connsiteY59" fmla="*/ 666317 h 674476"/>
                <a:gd name="connsiteX60" fmla="*/ 421548 w 492259"/>
                <a:gd name="connsiteY60" fmla="*/ 666317 h 674476"/>
                <a:gd name="connsiteX61" fmla="*/ 413389 w 492259"/>
                <a:gd name="connsiteY61" fmla="*/ 666317 h 674476"/>
                <a:gd name="connsiteX62" fmla="*/ 399791 w 492259"/>
                <a:gd name="connsiteY62" fmla="*/ 671756 h 674476"/>
                <a:gd name="connsiteX63" fmla="*/ 383473 w 492259"/>
                <a:gd name="connsiteY63" fmla="*/ 674476 h 674476"/>
                <a:gd name="connsiteX64" fmla="*/ 348118 w 492259"/>
                <a:gd name="connsiteY64" fmla="*/ 669036 h 674476"/>
                <a:gd name="connsiteX65" fmla="*/ 326360 w 492259"/>
                <a:gd name="connsiteY65" fmla="*/ 669036 h 674476"/>
                <a:gd name="connsiteX66" fmla="*/ 277406 w 492259"/>
                <a:gd name="connsiteY66" fmla="*/ 669036 h 674476"/>
                <a:gd name="connsiteX67" fmla="*/ 252930 w 492259"/>
                <a:gd name="connsiteY67" fmla="*/ 663597 h 674476"/>
                <a:gd name="connsiteX68" fmla="*/ 236611 w 492259"/>
                <a:gd name="connsiteY68" fmla="*/ 647279 h 674476"/>
                <a:gd name="connsiteX69" fmla="*/ 261088 w 492259"/>
                <a:gd name="connsiteY69" fmla="*/ 630961 h 674476"/>
                <a:gd name="connsiteX70" fmla="*/ 288285 w 492259"/>
                <a:gd name="connsiteY70" fmla="*/ 628241 h 674476"/>
                <a:gd name="connsiteX71" fmla="*/ 285565 w 492259"/>
                <a:gd name="connsiteY71" fmla="*/ 609204 h 674476"/>
                <a:gd name="connsiteX72" fmla="*/ 282846 w 492259"/>
                <a:gd name="connsiteY72" fmla="*/ 582007 h 674476"/>
                <a:gd name="connsiteX73" fmla="*/ 280126 w 492259"/>
                <a:gd name="connsiteY73" fmla="*/ 568409 h 674476"/>
                <a:gd name="connsiteX74" fmla="*/ 282846 w 492259"/>
                <a:gd name="connsiteY74" fmla="*/ 554811 h 674476"/>
                <a:gd name="connsiteX75" fmla="*/ 277406 w 492259"/>
                <a:gd name="connsiteY75" fmla="*/ 538493 h 674476"/>
                <a:gd name="connsiteX76" fmla="*/ 271967 w 492259"/>
                <a:gd name="connsiteY76" fmla="*/ 505857 h 674476"/>
                <a:gd name="connsiteX77" fmla="*/ 269247 w 492259"/>
                <a:gd name="connsiteY77" fmla="*/ 478660 h 674476"/>
                <a:gd name="connsiteX78" fmla="*/ 266528 w 492259"/>
                <a:gd name="connsiteY78" fmla="*/ 446025 h 674476"/>
                <a:gd name="connsiteX79" fmla="*/ 261088 w 492259"/>
                <a:gd name="connsiteY79" fmla="*/ 437866 h 674476"/>
                <a:gd name="connsiteX80" fmla="*/ 250210 w 492259"/>
                <a:gd name="connsiteY80" fmla="*/ 437866 h 674476"/>
                <a:gd name="connsiteX81" fmla="*/ 220293 w 492259"/>
                <a:gd name="connsiteY81" fmla="*/ 440585 h 674476"/>
                <a:gd name="connsiteX82" fmla="*/ 190377 w 492259"/>
                <a:gd name="connsiteY82" fmla="*/ 443305 h 674476"/>
                <a:gd name="connsiteX83" fmla="*/ 165900 w 492259"/>
                <a:gd name="connsiteY83" fmla="*/ 443305 h 674476"/>
                <a:gd name="connsiteX84" fmla="*/ 144143 w 492259"/>
                <a:gd name="connsiteY84" fmla="*/ 440585 h 674476"/>
                <a:gd name="connsiteX85" fmla="*/ 135984 w 492259"/>
                <a:gd name="connsiteY85" fmla="*/ 454184 h 674476"/>
                <a:gd name="connsiteX86" fmla="*/ 130545 w 492259"/>
                <a:gd name="connsiteY86" fmla="*/ 486820 h 674476"/>
                <a:gd name="connsiteX87" fmla="*/ 119666 w 492259"/>
                <a:gd name="connsiteY87" fmla="*/ 541213 h 674476"/>
                <a:gd name="connsiteX88" fmla="*/ 103348 w 492259"/>
                <a:gd name="connsiteY88" fmla="*/ 614643 h 674476"/>
                <a:gd name="connsiteX89" fmla="*/ 133264 w 492259"/>
                <a:gd name="connsiteY89" fmla="*/ 614643 h 674476"/>
                <a:gd name="connsiteX90" fmla="*/ 168620 w 492259"/>
                <a:gd name="connsiteY90" fmla="*/ 630961 h 674476"/>
                <a:gd name="connsiteX91" fmla="*/ 163181 w 492259"/>
                <a:gd name="connsiteY91" fmla="*/ 647279 h 674476"/>
                <a:gd name="connsiteX92" fmla="*/ 146863 w 492259"/>
                <a:gd name="connsiteY92" fmla="*/ 655438 h 674476"/>
                <a:gd name="connsiteX93" fmla="*/ 127825 w 492259"/>
                <a:gd name="connsiteY93" fmla="*/ 658158 h 674476"/>
                <a:gd name="connsiteX94" fmla="*/ 106068 w 492259"/>
                <a:gd name="connsiteY94" fmla="*/ 658158 h 674476"/>
                <a:gd name="connsiteX95" fmla="*/ 62552 w 492259"/>
                <a:gd name="connsiteY95" fmla="*/ 658158 h 674476"/>
                <a:gd name="connsiteX96" fmla="*/ 40795 w 492259"/>
                <a:gd name="connsiteY96" fmla="*/ 658158 h 674476"/>
                <a:gd name="connsiteX97" fmla="*/ 16318 w 492259"/>
                <a:gd name="connsiteY97" fmla="*/ 652718 h 674476"/>
                <a:gd name="connsiteX98" fmla="*/ 0 w 492259"/>
                <a:gd name="connsiteY98" fmla="*/ 636401 h 674476"/>
                <a:gd name="connsiteX99" fmla="*/ 2720 w 492259"/>
                <a:gd name="connsiteY99" fmla="*/ 628241 h 674476"/>
                <a:gd name="connsiteX100" fmla="*/ 24477 w 492259"/>
                <a:gd name="connsiteY100" fmla="*/ 620082 h 674476"/>
                <a:gd name="connsiteX101" fmla="*/ 62552 w 492259"/>
                <a:gd name="connsiteY101" fmla="*/ 617363 h 674476"/>
                <a:gd name="connsiteX102" fmla="*/ 62552 w 492259"/>
                <a:gd name="connsiteY102" fmla="*/ 614643 h 674476"/>
                <a:gd name="connsiteX103" fmla="*/ 65272 w 492259"/>
                <a:gd name="connsiteY103" fmla="*/ 587447 h 674476"/>
                <a:gd name="connsiteX104" fmla="*/ 76151 w 492259"/>
                <a:gd name="connsiteY104" fmla="*/ 522175 h 674476"/>
                <a:gd name="connsiteX105" fmla="*/ 87029 w 492259"/>
                <a:gd name="connsiteY105" fmla="*/ 470501 h 674476"/>
                <a:gd name="connsiteX106" fmla="*/ 92468 w 492259"/>
                <a:gd name="connsiteY106" fmla="*/ 446025 h 674476"/>
                <a:gd name="connsiteX107" fmla="*/ 65272 w 492259"/>
                <a:gd name="connsiteY107" fmla="*/ 432426 h 674476"/>
                <a:gd name="connsiteX108" fmla="*/ 54393 w 492259"/>
                <a:gd name="connsiteY108" fmla="*/ 421548 h 674476"/>
                <a:gd name="connsiteX109" fmla="*/ 73431 w 492259"/>
                <a:gd name="connsiteY109" fmla="*/ 407949 h 674476"/>
                <a:gd name="connsiteX110" fmla="*/ 100629 w 492259"/>
                <a:gd name="connsiteY110" fmla="*/ 399790 h 674476"/>
                <a:gd name="connsiteX111" fmla="*/ 108788 w 492259"/>
                <a:gd name="connsiteY111" fmla="*/ 369874 h 674476"/>
                <a:gd name="connsiteX112" fmla="*/ 125105 w 492259"/>
                <a:gd name="connsiteY112" fmla="*/ 307322 h 674476"/>
                <a:gd name="connsiteX113" fmla="*/ 141423 w 492259"/>
                <a:gd name="connsiteY113" fmla="*/ 242051 h 674476"/>
                <a:gd name="connsiteX114" fmla="*/ 155022 w 492259"/>
                <a:gd name="connsiteY114" fmla="*/ 179498 h 674476"/>
                <a:gd name="connsiteX115" fmla="*/ 168620 w 492259"/>
                <a:gd name="connsiteY115" fmla="*/ 119665 h 674476"/>
                <a:gd name="connsiteX116" fmla="*/ 193097 w 492259"/>
                <a:gd name="connsiteY116" fmla="*/ 57113 h 674476"/>
                <a:gd name="connsiteX117" fmla="*/ 201256 w 492259"/>
                <a:gd name="connsiteY117" fmla="*/ 38075 h 674476"/>
                <a:gd name="connsiteX118" fmla="*/ 217574 w 492259"/>
                <a:gd name="connsiteY118" fmla="*/ 13598 h 674476"/>
                <a:gd name="connsiteX119" fmla="*/ 274687 w 492259"/>
                <a:gd name="connsiteY119" fmla="*/ 0 h 6744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</a:cxnLst>
              <a:rect l="l" t="t" r="r" b="b"/>
              <a:pathLst>
                <a:path w="492259" h="674476">
                  <a:moveTo>
                    <a:pt x="225733" y="97907"/>
                  </a:moveTo>
                  <a:cubicBezTo>
                    <a:pt x="217574" y="97907"/>
                    <a:pt x="209415" y="114225"/>
                    <a:pt x="209415" y="119665"/>
                  </a:cubicBezTo>
                  <a:cubicBezTo>
                    <a:pt x="206695" y="130543"/>
                    <a:pt x="203976" y="144141"/>
                    <a:pt x="201256" y="152300"/>
                  </a:cubicBezTo>
                  <a:cubicBezTo>
                    <a:pt x="198536" y="157740"/>
                    <a:pt x="198536" y="163179"/>
                    <a:pt x="198536" y="168618"/>
                  </a:cubicBezTo>
                  <a:cubicBezTo>
                    <a:pt x="198536" y="174058"/>
                    <a:pt x="195817" y="179497"/>
                    <a:pt x="195817" y="184936"/>
                  </a:cubicBezTo>
                  <a:cubicBezTo>
                    <a:pt x="193097" y="195815"/>
                    <a:pt x="190377" y="209413"/>
                    <a:pt x="187658" y="220292"/>
                  </a:cubicBezTo>
                  <a:cubicBezTo>
                    <a:pt x="184938" y="244769"/>
                    <a:pt x="176779" y="269246"/>
                    <a:pt x="168620" y="291003"/>
                  </a:cubicBezTo>
                  <a:cubicBezTo>
                    <a:pt x="165900" y="301881"/>
                    <a:pt x="163181" y="312760"/>
                    <a:pt x="160461" y="323639"/>
                  </a:cubicBezTo>
                  <a:cubicBezTo>
                    <a:pt x="157742" y="337237"/>
                    <a:pt x="155022" y="348115"/>
                    <a:pt x="149582" y="361714"/>
                  </a:cubicBezTo>
                  <a:cubicBezTo>
                    <a:pt x="146863" y="367153"/>
                    <a:pt x="144143" y="383471"/>
                    <a:pt x="144143" y="388910"/>
                  </a:cubicBezTo>
                  <a:cubicBezTo>
                    <a:pt x="144143" y="391630"/>
                    <a:pt x="146863" y="391630"/>
                    <a:pt x="149582" y="391630"/>
                  </a:cubicBezTo>
                  <a:cubicBezTo>
                    <a:pt x="155022" y="391630"/>
                    <a:pt x="168620" y="391630"/>
                    <a:pt x="171340" y="391630"/>
                  </a:cubicBezTo>
                  <a:cubicBezTo>
                    <a:pt x="179498" y="391630"/>
                    <a:pt x="187658" y="391630"/>
                    <a:pt x="193097" y="388910"/>
                  </a:cubicBezTo>
                  <a:cubicBezTo>
                    <a:pt x="198536" y="388910"/>
                    <a:pt x="203976" y="388910"/>
                    <a:pt x="212135" y="388910"/>
                  </a:cubicBezTo>
                  <a:cubicBezTo>
                    <a:pt x="217574" y="388910"/>
                    <a:pt x="225733" y="388910"/>
                    <a:pt x="236611" y="388910"/>
                  </a:cubicBezTo>
                  <a:cubicBezTo>
                    <a:pt x="242051" y="388910"/>
                    <a:pt x="247490" y="388910"/>
                    <a:pt x="250210" y="386191"/>
                  </a:cubicBezTo>
                  <a:cubicBezTo>
                    <a:pt x="255649" y="391630"/>
                    <a:pt x="258369" y="388910"/>
                    <a:pt x="258369" y="386191"/>
                  </a:cubicBezTo>
                  <a:cubicBezTo>
                    <a:pt x="258369" y="380751"/>
                    <a:pt x="255649" y="372592"/>
                    <a:pt x="255649" y="367153"/>
                  </a:cubicBezTo>
                  <a:cubicBezTo>
                    <a:pt x="252930" y="353555"/>
                    <a:pt x="250210" y="342676"/>
                    <a:pt x="250210" y="331797"/>
                  </a:cubicBezTo>
                  <a:cubicBezTo>
                    <a:pt x="250210" y="301881"/>
                    <a:pt x="250210" y="274685"/>
                    <a:pt x="247490" y="244769"/>
                  </a:cubicBezTo>
                  <a:cubicBezTo>
                    <a:pt x="247490" y="231170"/>
                    <a:pt x="244771" y="217572"/>
                    <a:pt x="242051" y="203974"/>
                  </a:cubicBezTo>
                  <a:cubicBezTo>
                    <a:pt x="239331" y="187656"/>
                    <a:pt x="236611" y="174058"/>
                    <a:pt x="236611" y="157740"/>
                  </a:cubicBezTo>
                  <a:cubicBezTo>
                    <a:pt x="236611" y="152300"/>
                    <a:pt x="236611" y="133263"/>
                    <a:pt x="233892" y="119665"/>
                  </a:cubicBezTo>
                  <a:cubicBezTo>
                    <a:pt x="233892" y="106066"/>
                    <a:pt x="231172" y="97907"/>
                    <a:pt x="225733" y="97907"/>
                  </a:cubicBezTo>
                  <a:close/>
                  <a:moveTo>
                    <a:pt x="274687" y="0"/>
                  </a:moveTo>
                  <a:cubicBezTo>
                    <a:pt x="288285" y="0"/>
                    <a:pt x="293724" y="2720"/>
                    <a:pt x="304603" y="5439"/>
                  </a:cubicBezTo>
                  <a:cubicBezTo>
                    <a:pt x="315481" y="10879"/>
                    <a:pt x="315481" y="16318"/>
                    <a:pt x="320921" y="24477"/>
                  </a:cubicBezTo>
                  <a:cubicBezTo>
                    <a:pt x="326360" y="29916"/>
                    <a:pt x="331800" y="35356"/>
                    <a:pt x="334519" y="43515"/>
                  </a:cubicBezTo>
                  <a:cubicBezTo>
                    <a:pt x="337239" y="51674"/>
                    <a:pt x="337239" y="57113"/>
                    <a:pt x="339959" y="65272"/>
                  </a:cubicBezTo>
                  <a:cubicBezTo>
                    <a:pt x="345398" y="78870"/>
                    <a:pt x="342678" y="97908"/>
                    <a:pt x="348118" y="114226"/>
                  </a:cubicBezTo>
                  <a:cubicBezTo>
                    <a:pt x="350837" y="130544"/>
                    <a:pt x="358996" y="146863"/>
                    <a:pt x="361716" y="163180"/>
                  </a:cubicBezTo>
                  <a:cubicBezTo>
                    <a:pt x="364435" y="182218"/>
                    <a:pt x="364435" y="201256"/>
                    <a:pt x="369875" y="220293"/>
                  </a:cubicBezTo>
                  <a:cubicBezTo>
                    <a:pt x="375314" y="239331"/>
                    <a:pt x="378034" y="255649"/>
                    <a:pt x="378034" y="274686"/>
                  </a:cubicBezTo>
                  <a:cubicBezTo>
                    <a:pt x="378034" y="282845"/>
                    <a:pt x="380753" y="293724"/>
                    <a:pt x="383473" y="301883"/>
                  </a:cubicBezTo>
                  <a:cubicBezTo>
                    <a:pt x="386193" y="312762"/>
                    <a:pt x="388913" y="326360"/>
                    <a:pt x="391632" y="337238"/>
                  </a:cubicBezTo>
                  <a:cubicBezTo>
                    <a:pt x="391632" y="342678"/>
                    <a:pt x="394352" y="353556"/>
                    <a:pt x="397071" y="364435"/>
                  </a:cubicBezTo>
                  <a:cubicBezTo>
                    <a:pt x="399791" y="372594"/>
                    <a:pt x="402511" y="380753"/>
                    <a:pt x="405230" y="383473"/>
                  </a:cubicBezTo>
                  <a:cubicBezTo>
                    <a:pt x="407950" y="386192"/>
                    <a:pt x="413389" y="386192"/>
                    <a:pt x="416109" y="386192"/>
                  </a:cubicBezTo>
                  <a:cubicBezTo>
                    <a:pt x="418829" y="386192"/>
                    <a:pt x="424268" y="386192"/>
                    <a:pt x="426988" y="386192"/>
                  </a:cubicBezTo>
                  <a:cubicBezTo>
                    <a:pt x="437866" y="386192"/>
                    <a:pt x="448745" y="388912"/>
                    <a:pt x="454184" y="397071"/>
                  </a:cubicBezTo>
                  <a:cubicBezTo>
                    <a:pt x="456904" y="399790"/>
                    <a:pt x="456904" y="402510"/>
                    <a:pt x="456904" y="405230"/>
                  </a:cubicBezTo>
                  <a:cubicBezTo>
                    <a:pt x="456904" y="407949"/>
                    <a:pt x="454184" y="410669"/>
                    <a:pt x="451464" y="416108"/>
                  </a:cubicBezTo>
                  <a:cubicBezTo>
                    <a:pt x="446025" y="421548"/>
                    <a:pt x="440586" y="426987"/>
                    <a:pt x="432427" y="429707"/>
                  </a:cubicBezTo>
                  <a:cubicBezTo>
                    <a:pt x="429707" y="429707"/>
                    <a:pt x="426988" y="432426"/>
                    <a:pt x="421548" y="432426"/>
                  </a:cubicBezTo>
                  <a:cubicBezTo>
                    <a:pt x="418829" y="432426"/>
                    <a:pt x="416109" y="432426"/>
                    <a:pt x="413389" y="435146"/>
                  </a:cubicBezTo>
                  <a:cubicBezTo>
                    <a:pt x="413389" y="435146"/>
                    <a:pt x="413389" y="437866"/>
                    <a:pt x="413389" y="440585"/>
                  </a:cubicBezTo>
                  <a:cubicBezTo>
                    <a:pt x="413389" y="443305"/>
                    <a:pt x="413389" y="448744"/>
                    <a:pt x="416109" y="451464"/>
                  </a:cubicBezTo>
                  <a:cubicBezTo>
                    <a:pt x="416109" y="456903"/>
                    <a:pt x="418829" y="462343"/>
                    <a:pt x="418829" y="465062"/>
                  </a:cubicBezTo>
                  <a:lnTo>
                    <a:pt x="418829" y="475941"/>
                  </a:lnTo>
                  <a:cubicBezTo>
                    <a:pt x="418829" y="481380"/>
                    <a:pt x="418829" y="484100"/>
                    <a:pt x="418829" y="486820"/>
                  </a:cubicBezTo>
                  <a:cubicBezTo>
                    <a:pt x="421548" y="497698"/>
                    <a:pt x="424268" y="505857"/>
                    <a:pt x="426988" y="516736"/>
                  </a:cubicBezTo>
                  <a:cubicBezTo>
                    <a:pt x="426988" y="524895"/>
                    <a:pt x="429707" y="535773"/>
                    <a:pt x="432427" y="543932"/>
                  </a:cubicBezTo>
                  <a:cubicBezTo>
                    <a:pt x="435147" y="554811"/>
                    <a:pt x="437866" y="562970"/>
                    <a:pt x="437866" y="573848"/>
                  </a:cubicBezTo>
                  <a:cubicBezTo>
                    <a:pt x="437866" y="587447"/>
                    <a:pt x="440586" y="595606"/>
                    <a:pt x="443306" y="606484"/>
                  </a:cubicBezTo>
                  <a:cubicBezTo>
                    <a:pt x="443306" y="609204"/>
                    <a:pt x="446025" y="614643"/>
                    <a:pt x="446025" y="617363"/>
                  </a:cubicBezTo>
                  <a:cubicBezTo>
                    <a:pt x="454184" y="617363"/>
                    <a:pt x="462343" y="617363"/>
                    <a:pt x="470502" y="617363"/>
                  </a:cubicBezTo>
                  <a:cubicBezTo>
                    <a:pt x="475942" y="625522"/>
                    <a:pt x="492259" y="630961"/>
                    <a:pt x="492259" y="641840"/>
                  </a:cubicBezTo>
                  <a:cubicBezTo>
                    <a:pt x="492259" y="647279"/>
                    <a:pt x="486820" y="649999"/>
                    <a:pt x="484101" y="655438"/>
                  </a:cubicBezTo>
                  <a:cubicBezTo>
                    <a:pt x="481381" y="660877"/>
                    <a:pt x="473222" y="663597"/>
                    <a:pt x="467782" y="663597"/>
                  </a:cubicBezTo>
                  <a:cubicBezTo>
                    <a:pt x="456904" y="666317"/>
                    <a:pt x="451464" y="666317"/>
                    <a:pt x="443306" y="666317"/>
                  </a:cubicBezTo>
                  <a:cubicBezTo>
                    <a:pt x="437866" y="666317"/>
                    <a:pt x="429707" y="666317"/>
                    <a:pt x="421548" y="666317"/>
                  </a:cubicBezTo>
                  <a:cubicBezTo>
                    <a:pt x="418829" y="666317"/>
                    <a:pt x="416109" y="666317"/>
                    <a:pt x="413389" y="666317"/>
                  </a:cubicBezTo>
                  <a:cubicBezTo>
                    <a:pt x="407950" y="669036"/>
                    <a:pt x="405230" y="669036"/>
                    <a:pt x="399791" y="671756"/>
                  </a:cubicBezTo>
                  <a:cubicBezTo>
                    <a:pt x="394352" y="671756"/>
                    <a:pt x="388913" y="674476"/>
                    <a:pt x="383473" y="674476"/>
                  </a:cubicBezTo>
                  <a:cubicBezTo>
                    <a:pt x="372594" y="674476"/>
                    <a:pt x="358996" y="671756"/>
                    <a:pt x="348118" y="669036"/>
                  </a:cubicBezTo>
                  <a:cubicBezTo>
                    <a:pt x="339959" y="669036"/>
                    <a:pt x="331800" y="669036"/>
                    <a:pt x="326360" y="669036"/>
                  </a:cubicBezTo>
                  <a:cubicBezTo>
                    <a:pt x="304603" y="669036"/>
                    <a:pt x="285565" y="669036"/>
                    <a:pt x="277406" y="669036"/>
                  </a:cubicBezTo>
                  <a:cubicBezTo>
                    <a:pt x="269247" y="669036"/>
                    <a:pt x="258369" y="669036"/>
                    <a:pt x="252930" y="663597"/>
                  </a:cubicBezTo>
                  <a:cubicBezTo>
                    <a:pt x="247490" y="660877"/>
                    <a:pt x="236611" y="655438"/>
                    <a:pt x="236611" y="647279"/>
                  </a:cubicBezTo>
                  <a:cubicBezTo>
                    <a:pt x="236611" y="636401"/>
                    <a:pt x="252930" y="633681"/>
                    <a:pt x="261088" y="630961"/>
                  </a:cubicBezTo>
                  <a:cubicBezTo>
                    <a:pt x="266528" y="630961"/>
                    <a:pt x="274687" y="630961"/>
                    <a:pt x="288285" y="628241"/>
                  </a:cubicBezTo>
                  <a:cubicBezTo>
                    <a:pt x="288285" y="620082"/>
                    <a:pt x="288285" y="614643"/>
                    <a:pt x="285565" y="609204"/>
                  </a:cubicBezTo>
                  <a:cubicBezTo>
                    <a:pt x="285565" y="601045"/>
                    <a:pt x="282846" y="590166"/>
                    <a:pt x="282846" y="582007"/>
                  </a:cubicBezTo>
                  <a:cubicBezTo>
                    <a:pt x="282846" y="576568"/>
                    <a:pt x="280126" y="573848"/>
                    <a:pt x="280126" y="568409"/>
                  </a:cubicBezTo>
                  <a:cubicBezTo>
                    <a:pt x="280126" y="562970"/>
                    <a:pt x="282846" y="557531"/>
                    <a:pt x="282846" y="554811"/>
                  </a:cubicBezTo>
                  <a:cubicBezTo>
                    <a:pt x="282846" y="549371"/>
                    <a:pt x="280126" y="546652"/>
                    <a:pt x="277406" y="538493"/>
                  </a:cubicBezTo>
                  <a:cubicBezTo>
                    <a:pt x="277406" y="527614"/>
                    <a:pt x="271967" y="516736"/>
                    <a:pt x="271967" y="505857"/>
                  </a:cubicBezTo>
                  <a:cubicBezTo>
                    <a:pt x="271967" y="494978"/>
                    <a:pt x="271967" y="486820"/>
                    <a:pt x="269247" y="478660"/>
                  </a:cubicBezTo>
                  <a:cubicBezTo>
                    <a:pt x="266528" y="467782"/>
                    <a:pt x="266528" y="456903"/>
                    <a:pt x="266528" y="446025"/>
                  </a:cubicBezTo>
                  <a:cubicBezTo>
                    <a:pt x="266528" y="440585"/>
                    <a:pt x="263808" y="437866"/>
                    <a:pt x="261088" y="437866"/>
                  </a:cubicBezTo>
                  <a:cubicBezTo>
                    <a:pt x="258369" y="437866"/>
                    <a:pt x="255649" y="437866"/>
                    <a:pt x="250210" y="437866"/>
                  </a:cubicBezTo>
                  <a:cubicBezTo>
                    <a:pt x="239331" y="437866"/>
                    <a:pt x="228452" y="437866"/>
                    <a:pt x="220293" y="440585"/>
                  </a:cubicBezTo>
                  <a:cubicBezTo>
                    <a:pt x="209415" y="440585"/>
                    <a:pt x="201256" y="443305"/>
                    <a:pt x="190377" y="443305"/>
                  </a:cubicBezTo>
                  <a:cubicBezTo>
                    <a:pt x="182218" y="443305"/>
                    <a:pt x="174059" y="443305"/>
                    <a:pt x="165900" y="443305"/>
                  </a:cubicBezTo>
                  <a:cubicBezTo>
                    <a:pt x="163181" y="443305"/>
                    <a:pt x="152302" y="440585"/>
                    <a:pt x="144143" y="440585"/>
                  </a:cubicBezTo>
                  <a:cubicBezTo>
                    <a:pt x="135984" y="440585"/>
                    <a:pt x="135984" y="448744"/>
                    <a:pt x="135984" y="454184"/>
                  </a:cubicBezTo>
                  <a:cubicBezTo>
                    <a:pt x="135984" y="465062"/>
                    <a:pt x="133264" y="475941"/>
                    <a:pt x="130545" y="486820"/>
                  </a:cubicBezTo>
                  <a:cubicBezTo>
                    <a:pt x="127825" y="505857"/>
                    <a:pt x="122386" y="522175"/>
                    <a:pt x="119666" y="541213"/>
                  </a:cubicBezTo>
                  <a:cubicBezTo>
                    <a:pt x="116947" y="560250"/>
                    <a:pt x="108788" y="595606"/>
                    <a:pt x="103348" y="614643"/>
                  </a:cubicBezTo>
                  <a:cubicBezTo>
                    <a:pt x="111507" y="614643"/>
                    <a:pt x="122386" y="614643"/>
                    <a:pt x="133264" y="614643"/>
                  </a:cubicBezTo>
                  <a:cubicBezTo>
                    <a:pt x="146863" y="614643"/>
                    <a:pt x="168620" y="614643"/>
                    <a:pt x="168620" y="630961"/>
                  </a:cubicBezTo>
                  <a:cubicBezTo>
                    <a:pt x="168620" y="639120"/>
                    <a:pt x="165900" y="639120"/>
                    <a:pt x="163181" y="647279"/>
                  </a:cubicBezTo>
                  <a:cubicBezTo>
                    <a:pt x="160461" y="652718"/>
                    <a:pt x="152302" y="655438"/>
                    <a:pt x="146863" y="655438"/>
                  </a:cubicBezTo>
                  <a:cubicBezTo>
                    <a:pt x="138704" y="658158"/>
                    <a:pt x="133264" y="658158"/>
                    <a:pt x="127825" y="658158"/>
                  </a:cubicBezTo>
                  <a:cubicBezTo>
                    <a:pt x="122386" y="658158"/>
                    <a:pt x="116947" y="658158"/>
                    <a:pt x="106068" y="658158"/>
                  </a:cubicBezTo>
                  <a:cubicBezTo>
                    <a:pt x="92468" y="658158"/>
                    <a:pt x="78870" y="658158"/>
                    <a:pt x="62552" y="658158"/>
                  </a:cubicBezTo>
                  <a:cubicBezTo>
                    <a:pt x="54393" y="658158"/>
                    <a:pt x="46234" y="658158"/>
                    <a:pt x="40795" y="658158"/>
                  </a:cubicBezTo>
                  <a:cubicBezTo>
                    <a:pt x="32636" y="658158"/>
                    <a:pt x="21758" y="658158"/>
                    <a:pt x="16318" y="652718"/>
                  </a:cubicBezTo>
                  <a:cubicBezTo>
                    <a:pt x="8159" y="649999"/>
                    <a:pt x="0" y="641840"/>
                    <a:pt x="0" y="636401"/>
                  </a:cubicBezTo>
                  <a:cubicBezTo>
                    <a:pt x="0" y="633681"/>
                    <a:pt x="0" y="630961"/>
                    <a:pt x="2720" y="628241"/>
                  </a:cubicBezTo>
                  <a:cubicBezTo>
                    <a:pt x="8159" y="625522"/>
                    <a:pt x="16318" y="622802"/>
                    <a:pt x="24477" y="620082"/>
                  </a:cubicBezTo>
                  <a:cubicBezTo>
                    <a:pt x="38075" y="617363"/>
                    <a:pt x="48954" y="617363"/>
                    <a:pt x="62552" y="617363"/>
                  </a:cubicBezTo>
                  <a:cubicBezTo>
                    <a:pt x="62552" y="617363"/>
                    <a:pt x="62552" y="614643"/>
                    <a:pt x="62552" y="614643"/>
                  </a:cubicBezTo>
                  <a:cubicBezTo>
                    <a:pt x="62552" y="603765"/>
                    <a:pt x="65272" y="590166"/>
                    <a:pt x="65272" y="587447"/>
                  </a:cubicBezTo>
                  <a:cubicBezTo>
                    <a:pt x="67992" y="565689"/>
                    <a:pt x="73431" y="543932"/>
                    <a:pt x="76151" y="522175"/>
                  </a:cubicBezTo>
                  <a:cubicBezTo>
                    <a:pt x="78870" y="505857"/>
                    <a:pt x="81590" y="486820"/>
                    <a:pt x="87029" y="470501"/>
                  </a:cubicBezTo>
                  <a:cubicBezTo>
                    <a:pt x="87029" y="465062"/>
                    <a:pt x="92468" y="451464"/>
                    <a:pt x="92468" y="446025"/>
                  </a:cubicBezTo>
                  <a:cubicBezTo>
                    <a:pt x="92468" y="437866"/>
                    <a:pt x="73431" y="437866"/>
                    <a:pt x="65272" y="432426"/>
                  </a:cubicBezTo>
                  <a:cubicBezTo>
                    <a:pt x="59833" y="429707"/>
                    <a:pt x="54393" y="426987"/>
                    <a:pt x="54393" y="421548"/>
                  </a:cubicBezTo>
                  <a:cubicBezTo>
                    <a:pt x="54393" y="413389"/>
                    <a:pt x="62552" y="410669"/>
                    <a:pt x="73431" y="407949"/>
                  </a:cubicBezTo>
                  <a:cubicBezTo>
                    <a:pt x="78870" y="407949"/>
                    <a:pt x="92468" y="405230"/>
                    <a:pt x="100629" y="399790"/>
                  </a:cubicBezTo>
                  <a:cubicBezTo>
                    <a:pt x="106068" y="394351"/>
                    <a:pt x="106068" y="378033"/>
                    <a:pt x="108788" y="369874"/>
                  </a:cubicBezTo>
                  <a:cubicBezTo>
                    <a:pt x="114227" y="348117"/>
                    <a:pt x="119666" y="326360"/>
                    <a:pt x="125105" y="307322"/>
                  </a:cubicBezTo>
                  <a:cubicBezTo>
                    <a:pt x="130545" y="285565"/>
                    <a:pt x="135984" y="263808"/>
                    <a:pt x="141423" y="242051"/>
                  </a:cubicBezTo>
                  <a:cubicBezTo>
                    <a:pt x="146863" y="220293"/>
                    <a:pt x="152302" y="198536"/>
                    <a:pt x="155022" y="179498"/>
                  </a:cubicBezTo>
                  <a:cubicBezTo>
                    <a:pt x="157742" y="160461"/>
                    <a:pt x="163181" y="138703"/>
                    <a:pt x="168620" y="119665"/>
                  </a:cubicBezTo>
                  <a:cubicBezTo>
                    <a:pt x="176779" y="100627"/>
                    <a:pt x="182218" y="76150"/>
                    <a:pt x="193097" y="57113"/>
                  </a:cubicBezTo>
                  <a:lnTo>
                    <a:pt x="201256" y="38075"/>
                  </a:lnTo>
                  <a:cubicBezTo>
                    <a:pt x="206695" y="29916"/>
                    <a:pt x="209415" y="19038"/>
                    <a:pt x="217574" y="13598"/>
                  </a:cubicBezTo>
                  <a:cubicBezTo>
                    <a:pt x="231172" y="2720"/>
                    <a:pt x="255649" y="0"/>
                    <a:pt x="274687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7" name="Freeform: Shape 46">
              <a:extLst>
                <a:ext uri="{FF2B5EF4-FFF2-40B4-BE49-F238E27FC236}">
                  <a16:creationId xmlns:a16="http://schemas.microsoft.com/office/drawing/2014/main" id="{E252413E-95D4-436B-9CDD-1C43CDFDF645}"/>
                </a:ext>
              </a:extLst>
            </p:cNvPr>
            <p:cNvSpPr/>
            <p:nvPr/>
          </p:nvSpPr>
          <p:spPr>
            <a:xfrm>
              <a:off x="6876542" y="4244897"/>
              <a:ext cx="462342" cy="677195"/>
            </a:xfrm>
            <a:custGeom>
              <a:avLst/>
              <a:gdLst>
                <a:gd name="connsiteX0" fmla="*/ 214853 w 462342"/>
                <a:gd name="connsiteY0" fmla="*/ 65272 h 677195"/>
                <a:gd name="connsiteX1" fmla="*/ 195815 w 462342"/>
                <a:gd name="connsiteY1" fmla="*/ 73431 h 677195"/>
                <a:gd name="connsiteX2" fmla="*/ 193096 w 462342"/>
                <a:gd name="connsiteY2" fmla="*/ 125105 h 677195"/>
                <a:gd name="connsiteX3" fmla="*/ 190376 w 462342"/>
                <a:gd name="connsiteY3" fmla="*/ 280125 h 677195"/>
                <a:gd name="connsiteX4" fmla="*/ 190376 w 462342"/>
                <a:gd name="connsiteY4" fmla="*/ 301882 h 677195"/>
                <a:gd name="connsiteX5" fmla="*/ 193096 w 462342"/>
                <a:gd name="connsiteY5" fmla="*/ 342677 h 677195"/>
                <a:gd name="connsiteX6" fmla="*/ 195815 w 462342"/>
                <a:gd name="connsiteY6" fmla="*/ 397070 h 677195"/>
                <a:gd name="connsiteX7" fmla="*/ 195815 w 462342"/>
                <a:gd name="connsiteY7" fmla="*/ 443304 h 677195"/>
                <a:gd name="connsiteX8" fmla="*/ 195815 w 462342"/>
                <a:gd name="connsiteY8" fmla="*/ 530333 h 677195"/>
                <a:gd name="connsiteX9" fmla="*/ 193096 w 462342"/>
                <a:gd name="connsiteY9" fmla="*/ 554810 h 677195"/>
                <a:gd name="connsiteX10" fmla="*/ 190376 w 462342"/>
                <a:gd name="connsiteY10" fmla="*/ 603764 h 677195"/>
                <a:gd name="connsiteX11" fmla="*/ 198535 w 462342"/>
                <a:gd name="connsiteY11" fmla="*/ 611923 h 677195"/>
                <a:gd name="connsiteX12" fmla="*/ 214853 w 462342"/>
                <a:gd name="connsiteY12" fmla="*/ 611923 h 677195"/>
                <a:gd name="connsiteX13" fmla="*/ 236610 w 462342"/>
                <a:gd name="connsiteY13" fmla="*/ 611923 h 677195"/>
                <a:gd name="connsiteX14" fmla="*/ 263807 w 462342"/>
                <a:gd name="connsiteY14" fmla="*/ 598325 h 677195"/>
                <a:gd name="connsiteX15" fmla="*/ 277405 w 462342"/>
                <a:gd name="connsiteY15" fmla="*/ 592885 h 677195"/>
                <a:gd name="connsiteX16" fmla="*/ 291004 w 462342"/>
                <a:gd name="connsiteY16" fmla="*/ 573848 h 677195"/>
                <a:gd name="connsiteX17" fmla="*/ 307322 w 462342"/>
                <a:gd name="connsiteY17" fmla="*/ 543931 h 677195"/>
                <a:gd name="connsiteX18" fmla="*/ 326359 w 462342"/>
                <a:gd name="connsiteY18" fmla="*/ 481379 h 677195"/>
                <a:gd name="connsiteX19" fmla="*/ 337238 w 462342"/>
                <a:gd name="connsiteY19" fmla="*/ 413388 h 677195"/>
                <a:gd name="connsiteX20" fmla="*/ 337238 w 462342"/>
                <a:gd name="connsiteY20" fmla="*/ 350836 h 677195"/>
                <a:gd name="connsiteX21" fmla="*/ 334518 w 462342"/>
                <a:gd name="connsiteY21" fmla="*/ 296443 h 677195"/>
                <a:gd name="connsiteX22" fmla="*/ 329079 w 462342"/>
                <a:gd name="connsiteY22" fmla="*/ 244769 h 677195"/>
                <a:gd name="connsiteX23" fmla="*/ 307322 w 462342"/>
                <a:gd name="connsiteY23" fmla="*/ 135983 h 677195"/>
                <a:gd name="connsiteX24" fmla="*/ 271966 w 462342"/>
                <a:gd name="connsiteY24" fmla="*/ 78870 h 677195"/>
                <a:gd name="connsiteX25" fmla="*/ 214853 w 462342"/>
                <a:gd name="connsiteY25" fmla="*/ 65272 h 677195"/>
                <a:gd name="connsiteX26" fmla="*/ 114226 w 462342"/>
                <a:gd name="connsiteY26" fmla="*/ 0 h 677195"/>
                <a:gd name="connsiteX27" fmla="*/ 127824 w 462342"/>
                <a:gd name="connsiteY27" fmla="*/ 0 h 677195"/>
                <a:gd name="connsiteX28" fmla="*/ 146862 w 462342"/>
                <a:gd name="connsiteY28" fmla="*/ 2720 h 677195"/>
                <a:gd name="connsiteX29" fmla="*/ 174059 w 462342"/>
                <a:gd name="connsiteY29" fmla="*/ 21758 h 677195"/>
                <a:gd name="connsiteX30" fmla="*/ 193096 w 462342"/>
                <a:gd name="connsiteY30" fmla="*/ 21758 h 677195"/>
                <a:gd name="connsiteX31" fmla="*/ 261088 w 462342"/>
                <a:gd name="connsiteY31" fmla="*/ 27197 h 677195"/>
                <a:gd name="connsiteX32" fmla="*/ 310042 w 462342"/>
                <a:gd name="connsiteY32" fmla="*/ 35356 h 677195"/>
                <a:gd name="connsiteX33" fmla="*/ 334518 w 462342"/>
                <a:gd name="connsiteY33" fmla="*/ 40795 h 677195"/>
                <a:gd name="connsiteX34" fmla="*/ 356276 w 462342"/>
                <a:gd name="connsiteY34" fmla="*/ 59833 h 677195"/>
                <a:gd name="connsiteX35" fmla="*/ 372593 w 462342"/>
                <a:gd name="connsiteY35" fmla="*/ 76151 h 677195"/>
                <a:gd name="connsiteX36" fmla="*/ 380752 w 462342"/>
                <a:gd name="connsiteY36" fmla="*/ 95188 h 677195"/>
                <a:gd name="connsiteX37" fmla="*/ 405230 w 462342"/>
                <a:gd name="connsiteY37" fmla="*/ 114226 h 677195"/>
                <a:gd name="connsiteX38" fmla="*/ 416108 w 462342"/>
                <a:gd name="connsiteY38" fmla="*/ 141422 h 677195"/>
                <a:gd name="connsiteX39" fmla="*/ 451464 w 462342"/>
                <a:gd name="connsiteY39" fmla="*/ 201256 h 677195"/>
                <a:gd name="connsiteX40" fmla="*/ 456903 w 462342"/>
                <a:gd name="connsiteY40" fmla="*/ 252929 h 677195"/>
                <a:gd name="connsiteX41" fmla="*/ 456903 w 462342"/>
                <a:gd name="connsiteY41" fmla="*/ 291004 h 677195"/>
                <a:gd name="connsiteX42" fmla="*/ 459623 w 462342"/>
                <a:gd name="connsiteY42" fmla="*/ 318201 h 677195"/>
                <a:gd name="connsiteX43" fmla="*/ 459623 w 462342"/>
                <a:gd name="connsiteY43" fmla="*/ 326360 h 677195"/>
                <a:gd name="connsiteX44" fmla="*/ 459623 w 462342"/>
                <a:gd name="connsiteY44" fmla="*/ 348117 h 677195"/>
                <a:gd name="connsiteX45" fmla="*/ 462342 w 462342"/>
                <a:gd name="connsiteY45" fmla="*/ 367155 h 677195"/>
                <a:gd name="connsiteX46" fmla="*/ 456903 w 462342"/>
                <a:gd name="connsiteY46" fmla="*/ 391632 h 677195"/>
                <a:gd name="connsiteX47" fmla="*/ 456903 w 462342"/>
                <a:gd name="connsiteY47" fmla="*/ 418828 h 677195"/>
                <a:gd name="connsiteX48" fmla="*/ 451464 w 462342"/>
                <a:gd name="connsiteY48" fmla="*/ 437866 h 677195"/>
                <a:gd name="connsiteX49" fmla="*/ 446025 w 462342"/>
                <a:gd name="connsiteY49" fmla="*/ 454184 h 677195"/>
                <a:gd name="connsiteX50" fmla="*/ 440585 w 462342"/>
                <a:gd name="connsiteY50" fmla="*/ 481380 h 677195"/>
                <a:gd name="connsiteX51" fmla="*/ 432426 w 462342"/>
                <a:gd name="connsiteY51" fmla="*/ 508577 h 677195"/>
                <a:gd name="connsiteX52" fmla="*/ 418828 w 462342"/>
                <a:gd name="connsiteY52" fmla="*/ 530334 h 677195"/>
                <a:gd name="connsiteX53" fmla="*/ 410669 w 462342"/>
                <a:gd name="connsiteY53" fmla="*/ 549371 h 677195"/>
                <a:gd name="connsiteX54" fmla="*/ 391631 w 462342"/>
                <a:gd name="connsiteY54" fmla="*/ 579288 h 677195"/>
                <a:gd name="connsiteX55" fmla="*/ 337238 w 462342"/>
                <a:gd name="connsiteY55" fmla="*/ 630961 h 677195"/>
                <a:gd name="connsiteX56" fmla="*/ 301883 w 462342"/>
                <a:gd name="connsiteY56" fmla="*/ 647279 h 677195"/>
                <a:gd name="connsiteX57" fmla="*/ 263807 w 462342"/>
                <a:gd name="connsiteY57" fmla="*/ 652718 h 677195"/>
                <a:gd name="connsiteX58" fmla="*/ 233891 w 462342"/>
                <a:gd name="connsiteY58" fmla="*/ 649999 h 677195"/>
                <a:gd name="connsiteX59" fmla="*/ 187657 w 462342"/>
                <a:gd name="connsiteY59" fmla="*/ 652718 h 677195"/>
                <a:gd name="connsiteX60" fmla="*/ 171339 w 462342"/>
                <a:gd name="connsiteY60" fmla="*/ 669036 h 677195"/>
                <a:gd name="connsiteX61" fmla="*/ 155021 w 462342"/>
                <a:gd name="connsiteY61" fmla="*/ 671756 h 677195"/>
                <a:gd name="connsiteX62" fmla="*/ 138703 w 462342"/>
                <a:gd name="connsiteY62" fmla="*/ 674476 h 677195"/>
                <a:gd name="connsiteX63" fmla="*/ 125105 w 462342"/>
                <a:gd name="connsiteY63" fmla="*/ 677195 h 677195"/>
                <a:gd name="connsiteX64" fmla="*/ 106067 w 462342"/>
                <a:gd name="connsiteY64" fmla="*/ 671756 h 677195"/>
                <a:gd name="connsiteX65" fmla="*/ 87029 w 462342"/>
                <a:gd name="connsiteY65" fmla="*/ 658158 h 677195"/>
                <a:gd name="connsiteX66" fmla="*/ 81590 w 462342"/>
                <a:gd name="connsiteY66" fmla="*/ 652718 h 677195"/>
                <a:gd name="connsiteX67" fmla="*/ 67992 w 462342"/>
                <a:gd name="connsiteY67" fmla="*/ 652718 h 677195"/>
                <a:gd name="connsiteX68" fmla="*/ 43515 w 462342"/>
                <a:gd name="connsiteY68" fmla="*/ 652718 h 677195"/>
                <a:gd name="connsiteX69" fmla="*/ 16318 w 462342"/>
                <a:gd name="connsiteY69" fmla="*/ 647279 h 677195"/>
                <a:gd name="connsiteX70" fmla="*/ 0 w 462342"/>
                <a:gd name="connsiteY70" fmla="*/ 630961 h 677195"/>
                <a:gd name="connsiteX71" fmla="*/ 5439 w 462342"/>
                <a:gd name="connsiteY71" fmla="*/ 620083 h 677195"/>
                <a:gd name="connsiteX72" fmla="*/ 27197 w 462342"/>
                <a:gd name="connsiteY72" fmla="*/ 611924 h 677195"/>
                <a:gd name="connsiteX73" fmla="*/ 65272 w 462342"/>
                <a:gd name="connsiteY73" fmla="*/ 609204 h 677195"/>
                <a:gd name="connsiteX74" fmla="*/ 65272 w 462342"/>
                <a:gd name="connsiteY74" fmla="*/ 584727 h 677195"/>
                <a:gd name="connsiteX75" fmla="*/ 62552 w 462342"/>
                <a:gd name="connsiteY75" fmla="*/ 456903 h 677195"/>
                <a:gd name="connsiteX76" fmla="*/ 65272 w 462342"/>
                <a:gd name="connsiteY76" fmla="*/ 337238 h 677195"/>
                <a:gd name="connsiteX77" fmla="*/ 67992 w 462342"/>
                <a:gd name="connsiteY77" fmla="*/ 203975 h 677195"/>
                <a:gd name="connsiteX78" fmla="*/ 70712 w 462342"/>
                <a:gd name="connsiteY78" fmla="*/ 119665 h 677195"/>
                <a:gd name="connsiteX79" fmla="*/ 73431 w 462342"/>
                <a:gd name="connsiteY79" fmla="*/ 67992 h 677195"/>
                <a:gd name="connsiteX80" fmla="*/ 67992 w 462342"/>
                <a:gd name="connsiteY80" fmla="*/ 67992 h 677195"/>
                <a:gd name="connsiteX81" fmla="*/ 43515 w 462342"/>
                <a:gd name="connsiteY81" fmla="*/ 67992 h 677195"/>
                <a:gd name="connsiteX82" fmla="*/ 16318 w 462342"/>
                <a:gd name="connsiteY82" fmla="*/ 62552 h 677195"/>
                <a:gd name="connsiteX83" fmla="*/ 0 w 462342"/>
                <a:gd name="connsiteY83" fmla="*/ 46234 h 677195"/>
                <a:gd name="connsiteX84" fmla="*/ 5439 w 462342"/>
                <a:gd name="connsiteY84" fmla="*/ 35356 h 677195"/>
                <a:gd name="connsiteX85" fmla="*/ 27197 w 462342"/>
                <a:gd name="connsiteY85" fmla="*/ 27197 h 677195"/>
                <a:gd name="connsiteX86" fmla="*/ 76151 w 462342"/>
                <a:gd name="connsiteY86" fmla="*/ 21758 h 677195"/>
                <a:gd name="connsiteX87" fmla="*/ 81590 w 462342"/>
                <a:gd name="connsiteY87" fmla="*/ 13598 h 677195"/>
                <a:gd name="connsiteX88" fmla="*/ 97908 w 462342"/>
                <a:gd name="connsiteY88" fmla="*/ 5439 h 677195"/>
                <a:gd name="connsiteX89" fmla="*/ 114226 w 462342"/>
                <a:gd name="connsiteY89" fmla="*/ 0 h 6771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</a:cxnLst>
              <a:rect l="l" t="t" r="r" b="b"/>
              <a:pathLst>
                <a:path w="462342" h="677195">
                  <a:moveTo>
                    <a:pt x="214853" y="65272"/>
                  </a:moveTo>
                  <a:cubicBezTo>
                    <a:pt x="203975" y="65272"/>
                    <a:pt x="195815" y="67992"/>
                    <a:pt x="195815" y="73431"/>
                  </a:cubicBezTo>
                  <a:cubicBezTo>
                    <a:pt x="193096" y="78870"/>
                    <a:pt x="193096" y="100628"/>
                    <a:pt x="193096" y="125105"/>
                  </a:cubicBezTo>
                  <a:cubicBezTo>
                    <a:pt x="193096" y="182217"/>
                    <a:pt x="193096" y="266527"/>
                    <a:pt x="190376" y="280125"/>
                  </a:cubicBezTo>
                  <a:cubicBezTo>
                    <a:pt x="190376" y="288284"/>
                    <a:pt x="190376" y="293723"/>
                    <a:pt x="190376" y="301882"/>
                  </a:cubicBezTo>
                  <a:cubicBezTo>
                    <a:pt x="190376" y="315480"/>
                    <a:pt x="190376" y="329079"/>
                    <a:pt x="193096" y="342677"/>
                  </a:cubicBezTo>
                  <a:cubicBezTo>
                    <a:pt x="193096" y="361715"/>
                    <a:pt x="193096" y="378033"/>
                    <a:pt x="195815" y="397070"/>
                  </a:cubicBezTo>
                  <a:cubicBezTo>
                    <a:pt x="195815" y="413388"/>
                    <a:pt x="195815" y="426986"/>
                    <a:pt x="195815" y="443304"/>
                  </a:cubicBezTo>
                  <a:cubicBezTo>
                    <a:pt x="195815" y="465061"/>
                    <a:pt x="198535" y="508576"/>
                    <a:pt x="195815" y="530333"/>
                  </a:cubicBezTo>
                  <a:cubicBezTo>
                    <a:pt x="195815" y="538492"/>
                    <a:pt x="193096" y="546651"/>
                    <a:pt x="193096" y="554810"/>
                  </a:cubicBezTo>
                  <a:cubicBezTo>
                    <a:pt x="193096" y="560249"/>
                    <a:pt x="190376" y="590166"/>
                    <a:pt x="190376" y="603764"/>
                  </a:cubicBezTo>
                  <a:cubicBezTo>
                    <a:pt x="190376" y="609203"/>
                    <a:pt x="190376" y="611923"/>
                    <a:pt x="198535" y="611923"/>
                  </a:cubicBezTo>
                  <a:cubicBezTo>
                    <a:pt x="206694" y="611923"/>
                    <a:pt x="209414" y="611923"/>
                    <a:pt x="214853" y="611923"/>
                  </a:cubicBezTo>
                  <a:cubicBezTo>
                    <a:pt x="223012" y="611923"/>
                    <a:pt x="220293" y="611923"/>
                    <a:pt x="236610" y="611923"/>
                  </a:cubicBezTo>
                  <a:cubicBezTo>
                    <a:pt x="242050" y="611923"/>
                    <a:pt x="258368" y="601044"/>
                    <a:pt x="263807" y="598325"/>
                  </a:cubicBezTo>
                  <a:cubicBezTo>
                    <a:pt x="266527" y="598325"/>
                    <a:pt x="274686" y="592885"/>
                    <a:pt x="277405" y="592885"/>
                  </a:cubicBezTo>
                  <a:cubicBezTo>
                    <a:pt x="285564" y="587446"/>
                    <a:pt x="288284" y="579287"/>
                    <a:pt x="291004" y="573848"/>
                  </a:cubicBezTo>
                  <a:cubicBezTo>
                    <a:pt x="296443" y="562969"/>
                    <a:pt x="301882" y="554810"/>
                    <a:pt x="307322" y="543931"/>
                  </a:cubicBezTo>
                  <a:cubicBezTo>
                    <a:pt x="315481" y="524894"/>
                    <a:pt x="320920" y="524894"/>
                    <a:pt x="326359" y="481379"/>
                  </a:cubicBezTo>
                  <a:cubicBezTo>
                    <a:pt x="329079" y="456903"/>
                    <a:pt x="334518" y="435145"/>
                    <a:pt x="337238" y="413388"/>
                  </a:cubicBezTo>
                  <a:cubicBezTo>
                    <a:pt x="337238" y="391631"/>
                    <a:pt x="337238" y="369873"/>
                    <a:pt x="337238" y="350836"/>
                  </a:cubicBezTo>
                  <a:cubicBezTo>
                    <a:pt x="337238" y="339957"/>
                    <a:pt x="337238" y="320920"/>
                    <a:pt x="334518" y="296443"/>
                  </a:cubicBezTo>
                  <a:cubicBezTo>
                    <a:pt x="331798" y="269246"/>
                    <a:pt x="329079" y="250209"/>
                    <a:pt x="329079" y="244769"/>
                  </a:cubicBezTo>
                  <a:cubicBezTo>
                    <a:pt x="323640" y="206694"/>
                    <a:pt x="318200" y="174058"/>
                    <a:pt x="307322" y="135983"/>
                  </a:cubicBezTo>
                  <a:cubicBezTo>
                    <a:pt x="304602" y="125105"/>
                    <a:pt x="304602" y="108787"/>
                    <a:pt x="271966" y="78870"/>
                  </a:cubicBezTo>
                  <a:cubicBezTo>
                    <a:pt x="263807" y="73431"/>
                    <a:pt x="233891" y="65272"/>
                    <a:pt x="214853" y="65272"/>
                  </a:cubicBezTo>
                  <a:close/>
                  <a:moveTo>
                    <a:pt x="114226" y="0"/>
                  </a:moveTo>
                  <a:cubicBezTo>
                    <a:pt x="119665" y="0"/>
                    <a:pt x="125105" y="0"/>
                    <a:pt x="127824" y="0"/>
                  </a:cubicBezTo>
                  <a:cubicBezTo>
                    <a:pt x="133264" y="0"/>
                    <a:pt x="141422" y="0"/>
                    <a:pt x="146862" y="2720"/>
                  </a:cubicBezTo>
                  <a:cubicBezTo>
                    <a:pt x="157741" y="5439"/>
                    <a:pt x="165900" y="13598"/>
                    <a:pt x="174059" y="21758"/>
                  </a:cubicBezTo>
                  <a:cubicBezTo>
                    <a:pt x="179498" y="21758"/>
                    <a:pt x="187657" y="21758"/>
                    <a:pt x="193096" y="21758"/>
                  </a:cubicBezTo>
                  <a:cubicBezTo>
                    <a:pt x="212134" y="21758"/>
                    <a:pt x="228452" y="27197"/>
                    <a:pt x="261088" y="27197"/>
                  </a:cubicBezTo>
                  <a:cubicBezTo>
                    <a:pt x="277405" y="27197"/>
                    <a:pt x="293723" y="35356"/>
                    <a:pt x="310042" y="35356"/>
                  </a:cubicBezTo>
                  <a:cubicBezTo>
                    <a:pt x="318200" y="35356"/>
                    <a:pt x="329079" y="35356"/>
                    <a:pt x="334518" y="40795"/>
                  </a:cubicBezTo>
                  <a:cubicBezTo>
                    <a:pt x="342677" y="46234"/>
                    <a:pt x="348117" y="54393"/>
                    <a:pt x="356276" y="59833"/>
                  </a:cubicBezTo>
                  <a:cubicBezTo>
                    <a:pt x="361715" y="65272"/>
                    <a:pt x="369874" y="67992"/>
                    <a:pt x="372593" y="76151"/>
                  </a:cubicBezTo>
                  <a:cubicBezTo>
                    <a:pt x="375313" y="81590"/>
                    <a:pt x="378033" y="89749"/>
                    <a:pt x="380752" y="95188"/>
                  </a:cubicBezTo>
                  <a:cubicBezTo>
                    <a:pt x="386192" y="103347"/>
                    <a:pt x="391631" y="106067"/>
                    <a:pt x="405230" y="114226"/>
                  </a:cubicBezTo>
                  <a:cubicBezTo>
                    <a:pt x="413388" y="119665"/>
                    <a:pt x="410669" y="133263"/>
                    <a:pt x="416108" y="141422"/>
                  </a:cubicBezTo>
                  <a:cubicBezTo>
                    <a:pt x="426987" y="160461"/>
                    <a:pt x="446025" y="182218"/>
                    <a:pt x="451464" y="201256"/>
                  </a:cubicBezTo>
                  <a:cubicBezTo>
                    <a:pt x="456903" y="220293"/>
                    <a:pt x="456903" y="236611"/>
                    <a:pt x="456903" y="252929"/>
                  </a:cubicBezTo>
                  <a:cubicBezTo>
                    <a:pt x="456903" y="266527"/>
                    <a:pt x="456903" y="277406"/>
                    <a:pt x="456903" y="291004"/>
                  </a:cubicBezTo>
                  <a:cubicBezTo>
                    <a:pt x="456903" y="299163"/>
                    <a:pt x="456903" y="307322"/>
                    <a:pt x="459623" y="318201"/>
                  </a:cubicBezTo>
                  <a:cubicBezTo>
                    <a:pt x="459623" y="320921"/>
                    <a:pt x="459623" y="323640"/>
                    <a:pt x="459623" y="326360"/>
                  </a:cubicBezTo>
                  <a:cubicBezTo>
                    <a:pt x="462342" y="331799"/>
                    <a:pt x="459623" y="337238"/>
                    <a:pt x="459623" y="348117"/>
                  </a:cubicBezTo>
                  <a:cubicBezTo>
                    <a:pt x="459623" y="350837"/>
                    <a:pt x="462342" y="361715"/>
                    <a:pt x="462342" y="367155"/>
                  </a:cubicBezTo>
                  <a:cubicBezTo>
                    <a:pt x="462342" y="375314"/>
                    <a:pt x="456903" y="383473"/>
                    <a:pt x="456903" y="391632"/>
                  </a:cubicBezTo>
                  <a:cubicBezTo>
                    <a:pt x="456903" y="399790"/>
                    <a:pt x="456903" y="410669"/>
                    <a:pt x="456903" y="418828"/>
                  </a:cubicBezTo>
                  <a:cubicBezTo>
                    <a:pt x="456903" y="421548"/>
                    <a:pt x="454183" y="429707"/>
                    <a:pt x="451464" y="437866"/>
                  </a:cubicBezTo>
                  <a:cubicBezTo>
                    <a:pt x="448744" y="443305"/>
                    <a:pt x="448744" y="451464"/>
                    <a:pt x="446025" y="454184"/>
                  </a:cubicBezTo>
                  <a:cubicBezTo>
                    <a:pt x="443305" y="462343"/>
                    <a:pt x="440585" y="473221"/>
                    <a:pt x="440585" y="481380"/>
                  </a:cubicBezTo>
                  <a:cubicBezTo>
                    <a:pt x="437865" y="489539"/>
                    <a:pt x="437865" y="500418"/>
                    <a:pt x="432426" y="508577"/>
                  </a:cubicBezTo>
                  <a:cubicBezTo>
                    <a:pt x="429706" y="516736"/>
                    <a:pt x="424267" y="522175"/>
                    <a:pt x="418828" y="530334"/>
                  </a:cubicBezTo>
                  <a:cubicBezTo>
                    <a:pt x="416108" y="535773"/>
                    <a:pt x="413388" y="543932"/>
                    <a:pt x="410669" y="549371"/>
                  </a:cubicBezTo>
                  <a:cubicBezTo>
                    <a:pt x="405230" y="557531"/>
                    <a:pt x="397071" y="573848"/>
                    <a:pt x="391631" y="579288"/>
                  </a:cubicBezTo>
                  <a:cubicBezTo>
                    <a:pt x="369874" y="609204"/>
                    <a:pt x="350836" y="620083"/>
                    <a:pt x="337238" y="630961"/>
                  </a:cubicBezTo>
                  <a:cubicBezTo>
                    <a:pt x="326359" y="639120"/>
                    <a:pt x="315481" y="641840"/>
                    <a:pt x="301883" y="647279"/>
                  </a:cubicBezTo>
                  <a:cubicBezTo>
                    <a:pt x="291004" y="649999"/>
                    <a:pt x="277405" y="652718"/>
                    <a:pt x="263807" y="652718"/>
                  </a:cubicBezTo>
                  <a:cubicBezTo>
                    <a:pt x="252929" y="652718"/>
                    <a:pt x="244770" y="649999"/>
                    <a:pt x="233891" y="649999"/>
                  </a:cubicBezTo>
                  <a:cubicBezTo>
                    <a:pt x="206694" y="649999"/>
                    <a:pt x="217573" y="652718"/>
                    <a:pt x="187657" y="652718"/>
                  </a:cubicBezTo>
                  <a:cubicBezTo>
                    <a:pt x="184937" y="660877"/>
                    <a:pt x="179498" y="666317"/>
                    <a:pt x="171339" y="669036"/>
                  </a:cubicBezTo>
                  <a:cubicBezTo>
                    <a:pt x="165900" y="671756"/>
                    <a:pt x="160460" y="671756"/>
                    <a:pt x="155021" y="671756"/>
                  </a:cubicBezTo>
                  <a:cubicBezTo>
                    <a:pt x="149581" y="671756"/>
                    <a:pt x="144142" y="674476"/>
                    <a:pt x="138703" y="674476"/>
                  </a:cubicBezTo>
                  <a:cubicBezTo>
                    <a:pt x="135983" y="674476"/>
                    <a:pt x="127824" y="677195"/>
                    <a:pt x="125105" y="677195"/>
                  </a:cubicBezTo>
                  <a:cubicBezTo>
                    <a:pt x="116946" y="677195"/>
                    <a:pt x="108787" y="671756"/>
                    <a:pt x="106067" y="671756"/>
                  </a:cubicBezTo>
                  <a:cubicBezTo>
                    <a:pt x="100628" y="669036"/>
                    <a:pt x="95188" y="663597"/>
                    <a:pt x="87029" y="658158"/>
                  </a:cubicBezTo>
                  <a:cubicBezTo>
                    <a:pt x="84310" y="655438"/>
                    <a:pt x="81590" y="655438"/>
                    <a:pt x="81590" y="652718"/>
                  </a:cubicBezTo>
                  <a:cubicBezTo>
                    <a:pt x="73431" y="652718"/>
                    <a:pt x="81590" y="652718"/>
                    <a:pt x="67992" y="652718"/>
                  </a:cubicBezTo>
                  <a:cubicBezTo>
                    <a:pt x="59833" y="652718"/>
                    <a:pt x="51674" y="652718"/>
                    <a:pt x="43515" y="652718"/>
                  </a:cubicBezTo>
                  <a:cubicBezTo>
                    <a:pt x="35356" y="652718"/>
                    <a:pt x="24477" y="652718"/>
                    <a:pt x="16318" y="647279"/>
                  </a:cubicBezTo>
                  <a:cubicBezTo>
                    <a:pt x="8159" y="644559"/>
                    <a:pt x="0" y="636401"/>
                    <a:pt x="0" y="630961"/>
                  </a:cubicBezTo>
                  <a:cubicBezTo>
                    <a:pt x="0" y="625522"/>
                    <a:pt x="0" y="622802"/>
                    <a:pt x="5439" y="620083"/>
                  </a:cubicBezTo>
                  <a:cubicBezTo>
                    <a:pt x="10879" y="617363"/>
                    <a:pt x="21758" y="614643"/>
                    <a:pt x="27197" y="611924"/>
                  </a:cubicBezTo>
                  <a:cubicBezTo>
                    <a:pt x="38076" y="609204"/>
                    <a:pt x="54393" y="609204"/>
                    <a:pt x="65272" y="609204"/>
                  </a:cubicBezTo>
                  <a:cubicBezTo>
                    <a:pt x="65272" y="601045"/>
                    <a:pt x="65272" y="592886"/>
                    <a:pt x="65272" y="584727"/>
                  </a:cubicBezTo>
                  <a:cubicBezTo>
                    <a:pt x="65272" y="541213"/>
                    <a:pt x="62552" y="500418"/>
                    <a:pt x="62552" y="456903"/>
                  </a:cubicBezTo>
                  <a:cubicBezTo>
                    <a:pt x="62552" y="440585"/>
                    <a:pt x="65272" y="397071"/>
                    <a:pt x="65272" y="337238"/>
                  </a:cubicBezTo>
                  <a:cubicBezTo>
                    <a:pt x="65272" y="293724"/>
                    <a:pt x="67992" y="247490"/>
                    <a:pt x="67992" y="203975"/>
                  </a:cubicBezTo>
                  <a:cubicBezTo>
                    <a:pt x="67992" y="179498"/>
                    <a:pt x="67992" y="149582"/>
                    <a:pt x="70712" y="119665"/>
                  </a:cubicBezTo>
                  <a:cubicBezTo>
                    <a:pt x="70712" y="103347"/>
                    <a:pt x="73431" y="84309"/>
                    <a:pt x="73431" y="67992"/>
                  </a:cubicBezTo>
                  <a:cubicBezTo>
                    <a:pt x="73431" y="67992"/>
                    <a:pt x="70712" y="67992"/>
                    <a:pt x="67992" y="67992"/>
                  </a:cubicBezTo>
                  <a:cubicBezTo>
                    <a:pt x="59833" y="67992"/>
                    <a:pt x="51674" y="67992"/>
                    <a:pt x="43515" y="67992"/>
                  </a:cubicBezTo>
                  <a:cubicBezTo>
                    <a:pt x="35356" y="67992"/>
                    <a:pt x="24477" y="67992"/>
                    <a:pt x="16318" y="62552"/>
                  </a:cubicBezTo>
                  <a:cubicBezTo>
                    <a:pt x="8159" y="59833"/>
                    <a:pt x="0" y="51674"/>
                    <a:pt x="0" y="46234"/>
                  </a:cubicBezTo>
                  <a:cubicBezTo>
                    <a:pt x="0" y="43515"/>
                    <a:pt x="0" y="38075"/>
                    <a:pt x="5439" y="35356"/>
                  </a:cubicBezTo>
                  <a:cubicBezTo>
                    <a:pt x="10879" y="32636"/>
                    <a:pt x="21758" y="29916"/>
                    <a:pt x="27197" y="27197"/>
                  </a:cubicBezTo>
                  <a:cubicBezTo>
                    <a:pt x="46234" y="24477"/>
                    <a:pt x="65272" y="21758"/>
                    <a:pt x="76151" y="21758"/>
                  </a:cubicBezTo>
                  <a:cubicBezTo>
                    <a:pt x="76151" y="19038"/>
                    <a:pt x="78871" y="16318"/>
                    <a:pt x="81590" y="13598"/>
                  </a:cubicBezTo>
                  <a:cubicBezTo>
                    <a:pt x="84310" y="10879"/>
                    <a:pt x="92469" y="5439"/>
                    <a:pt x="97908" y="5439"/>
                  </a:cubicBezTo>
                  <a:cubicBezTo>
                    <a:pt x="103347" y="2720"/>
                    <a:pt x="108787" y="0"/>
                    <a:pt x="114226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8" name="Freeform: Shape 47">
              <a:extLst>
                <a:ext uri="{FF2B5EF4-FFF2-40B4-BE49-F238E27FC236}">
                  <a16:creationId xmlns:a16="http://schemas.microsoft.com/office/drawing/2014/main" id="{788C5136-65D1-40F1-A383-12AEB2FDD611}"/>
                </a:ext>
              </a:extLst>
            </p:cNvPr>
            <p:cNvSpPr/>
            <p:nvPr/>
          </p:nvSpPr>
          <p:spPr>
            <a:xfrm>
              <a:off x="7310622" y="4197597"/>
              <a:ext cx="489539" cy="761503"/>
            </a:xfrm>
            <a:custGeom>
              <a:avLst/>
              <a:gdLst>
                <a:gd name="connsiteX0" fmla="*/ 433491 w 489538"/>
                <a:gd name="connsiteY0" fmla="*/ 651063 h 761503"/>
                <a:gd name="connsiteX1" fmla="*/ 438930 w 489538"/>
                <a:gd name="connsiteY1" fmla="*/ 661942 h 761503"/>
                <a:gd name="connsiteX2" fmla="*/ 425332 w 489538"/>
                <a:gd name="connsiteY2" fmla="*/ 683699 h 761503"/>
                <a:gd name="connsiteX3" fmla="*/ 400855 w 489538"/>
                <a:gd name="connsiteY3" fmla="*/ 691858 h 761503"/>
                <a:gd name="connsiteX4" fmla="*/ 343742 w 489538"/>
                <a:gd name="connsiteY4" fmla="*/ 700017 h 761503"/>
                <a:gd name="connsiteX5" fmla="*/ 316546 w 489538"/>
                <a:gd name="connsiteY5" fmla="*/ 705456 h 761503"/>
                <a:gd name="connsiteX6" fmla="*/ 275751 w 489538"/>
                <a:gd name="connsiteY6" fmla="*/ 705456 h 761503"/>
                <a:gd name="connsiteX7" fmla="*/ 264872 w 489538"/>
                <a:gd name="connsiteY7" fmla="*/ 708176 h 761503"/>
                <a:gd name="connsiteX8" fmla="*/ 253994 w 489538"/>
                <a:gd name="connsiteY8" fmla="*/ 708176 h 761503"/>
                <a:gd name="connsiteX9" fmla="*/ 240395 w 489538"/>
                <a:gd name="connsiteY9" fmla="*/ 719054 h 761503"/>
                <a:gd name="connsiteX10" fmla="*/ 224077 w 489538"/>
                <a:gd name="connsiteY10" fmla="*/ 721774 h 761503"/>
                <a:gd name="connsiteX11" fmla="*/ 205040 w 489538"/>
                <a:gd name="connsiteY11" fmla="*/ 724494 h 761503"/>
                <a:gd name="connsiteX12" fmla="*/ 191441 w 489538"/>
                <a:gd name="connsiteY12" fmla="*/ 727213 h 761503"/>
                <a:gd name="connsiteX13" fmla="*/ 169684 w 489538"/>
                <a:gd name="connsiteY13" fmla="*/ 721774 h 761503"/>
                <a:gd name="connsiteX14" fmla="*/ 150646 w 489538"/>
                <a:gd name="connsiteY14" fmla="*/ 708176 h 761503"/>
                <a:gd name="connsiteX15" fmla="*/ 139768 w 489538"/>
                <a:gd name="connsiteY15" fmla="*/ 708176 h 761503"/>
                <a:gd name="connsiteX16" fmla="*/ 120730 w 489538"/>
                <a:gd name="connsiteY16" fmla="*/ 708176 h 761503"/>
                <a:gd name="connsiteX17" fmla="*/ 98973 w 489538"/>
                <a:gd name="connsiteY17" fmla="*/ 708176 h 761503"/>
                <a:gd name="connsiteX18" fmla="*/ 74496 w 489538"/>
                <a:gd name="connsiteY18" fmla="*/ 702736 h 761503"/>
                <a:gd name="connsiteX19" fmla="*/ 58178 w 489538"/>
                <a:gd name="connsiteY19" fmla="*/ 683699 h 761503"/>
                <a:gd name="connsiteX20" fmla="*/ 63617 w 489538"/>
                <a:gd name="connsiteY20" fmla="*/ 675540 h 761503"/>
                <a:gd name="connsiteX21" fmla="*/ 85375 w 489538"/>
                <a:gd name="connsiteY21" fmla="*/ 667381 h 761503"/>
                <a:gd name="connsiteX22" fmla="*/ 128889 w 489538"/>
                <a:gd name="connsiteY22" fmla="*/ 661942 h 761503"/>
                <a:gd name="connsiteX23" fmla="*/ 128889 w 489538"/>
                <a:gd name="connsiteY23" fmla="*/ 602109 h 761503"/>
                <a:gd name="connsiteX24" fmla="*/ 126170 w 489538"/>
                <a:gd name="connsiteY24" fmla="*/ 523239 h 761503"/>
                <a:gd name="connsiteX25" fmla="*/ 126170 w 489538"/>
                <a:gd name="connsiteY25" fmla="*/ 468846 h 761503"/>
                <a:gd name="connsiteX26" fmla="*/ 123450 w 489538"/>
                <a:gd name="connsiteY26" fmla="*/ 409014 h 761503"/>
                <a:gd name="connsiteX27" fmla="*/ 123450 w 489538"/>
                <a:gd name="connsiteY27" fmla="*/ 384537 h 761503"/>
                <a:gd name="connsiteX28" fmla="*/ 126170 w 489538"/>
                <a:gd name="connsiteY28" fmla="*/ 349181 h 761503"/>
                <a:gd name="connsiteX29" fmla="*/ 126170 w 489538"/>
                <a:gd name="connsiteY29" fmla="*/ 324704 h 761503"/>
                <a:gd name="connsiteX30" fmla="*/ 128889 w 489538"/>
                <a:gd name="connsiteY30" fmla="*/ 292068 h 761503"/>
                <a:gd name="connsiteX31" fmla="*/ 134329 w 489538"/>
                <a:gd name="connsiteY31" fmla="*/ 234956 h 761503"/>
                <a:gd name="connsiteX32" fmla="*/ 134329 w 489538"/>
                <a:gd name="connsiteY32" fmla="*/ 172404 h 761503"/>
                <a:gd name="connsiteX33" fmla="*/ 137048 w 489538"/>
                <a:gd name="connsiteY33" fmla="*/ 123450 h 761503"/>
                <a:gd name="connsiteX34" fmla="*/ 123450 w 489538"/>
                <a:gd name="connsiteY34" fmla="*/ 123450 h 761503"/>
                <a:gd name="connsiteX35" fmla="*/ 101693 w 489538"/>
                <a:gd name="connsiteY35" fmla="*/ 123450 h 761503"/>
                <a:gd name="connsiteX36" fmla="*/ 77216 w 489538"/>
                <a:gd name="connsiteY36" fmla="*/ 118011 h 761503"/>
                <a:gd name="connsiteX37" fmla="*/ 60898 w 489538"/>
                <a:gd name="connsiteY37" fmla="*/ 98973 h 761503"/>
                <a:gd name="connsiteX38" fmla="*/ 66337 w 489538"/>
                <a:gd name="connsiteY38" fmla="*/ 90814 h 761503"/>
                <a:gd name="connsiteX39" fmla="*/ 88094 w 489538"/>
                <a:gd name="connsiteY39" fmla="*/ 82655 h 761503"/>
                <a:gd name="connsiteX40" fmla="*/ 145207 w 489538"/>
                <a:gd name="connsiteY40" fmla="*/ 77216 h 761503"/>
                <a:gd name="connsiteX41" fmla="*/ 145207 w 489538"/>
                <a:gd name="connsiteY41" fmla="*/ 77216 h 761503"/>
                <a:gd name="connsiteX42" fmla="*/ 153366 w 489538"/>
                <a:gd name="connsiteY42" fmla="*/ 69057 h 761503"/>
                <a:gd name="connsiteX43" fmla="*/ 177843 w 489538"/>
                <a:gd name="connsiteY43" fmla="*/ 60898 h 761503"/>
                <a:gd name="connsiteX44" fmla="*/ 196881 w 489538"/>
                <a:gd name="connsiteY44" fmla="*/ 58178 h 761503"/>
                <a:gd name="connsiteX45" fmla="*/ 205040 w 489538"/>
                <a:gd name="connsiteY45" fmla="*/ 58178 h 761503"/>
                <a:gd name="connsiteX46" fmla="*/ 215919 w 489538"/>
                <a:gd name="connsiteY46" fmla="*/ 63617 h 761503"/>
                <a:gd name="connsiteX47" fmla="*/ 229517 w 489538"/>
                <a:gd name="connsiteY47" fmla="*/ 69057 h 761503"/>
                <a:gd name="connsiteX48" fmla="*/ 256713 w 489538"/>
                <a:gd name="connsiteY48" fmla="*/ 77216 h 761503"/>
                <a:gd name="connsiteX49" fmla="*/ 264872 w 489538"/>
                <a:gd name="connsiteY49" fmla="*/ 77216 h 761503"/>
                <a:gd name="connsiteX50" fmla="*/ 281190 w 489538"/>
                <a:gd name="connsiteY50" fmla="*/ 77216 h 761503"/>
                <a:gd name="connsiteX51" fmla="*/ 330144 w 489538"/>
                <a:gd name="connsiteY51" fmla="*/ 77216 h 761503"/>
                <a:gd name="connsiteX52" fmla="*/ 357341 w 489538"/>
                <a:gd name="connsiteY52" fmla="*/ 79935 h 761503"/>
                <a:gd name="connsiteX53" fmla="*/ 387257 w 489538"/>
                <a:gd name="connsiteY53" fmla="*/ 82655 h 761503"/>
                <a:gd name="connsiteX54" fmla="*/ 406295 w 489538"/>
                <a:gd name="connsiteY54" fmla="*/ 85375 h 761503"/>
                <a:gd name="connsiteX55" fmla="*/ 417173 w 489538"/>
                <a:gd name="connsiteY55" fmla="*/ 79935 h 761503"/>
                <a:gd name="connsiteX56" fmla="*/ 425332 w 489538"/>
                <a:gd name="connsiteY56" fmla="*/ 85375 h 761503"/>
                <a:gd name="connsiteX57" fmla="*/ 433491 w 489538"/>
                <a:gd name="connsiteY57" fmla="*/ 104412 h 761503"/>
                <a:gd name="connsiteX58" fmla="*/ 436211 w 489538"/>
                <a:gd name="connsiteY58" fmla="*/ 137048 h 761503"/>
                <a:gd name="connsiteX59" fmla="*/ 438930 w 489538"/>
                <a:gd name="connsiteY59" fmla="*/ 183282 h 761503"/>
                <a:gd name="connsiteX60" fmla="*/ 422612 w 489538"/>
                <a:gd name="connsiteY60" fmla="*/ 218638 h 761503"/>
                <a:gd name="connsiteX61" fmla="*/ 406295 w 489538"/>
                <a:gd name="connsiteY61" fmla="*/ 213198 h 761503"/>
                <a:gd name="connsiteX62" fmla="*/ 398136 w 489538"/>
                <a:gd name="connsiteY62" fmla="*/ 196881 h 761503"/>
                <a:gd name="connsiteX63" fmla="*/ 395416 w 489538"/>
                <a:gd name="connsiteY63" fmla="*/ 175123 h 761503"/>
                <a:gd name="connsiteX64" fmla="*/ 395416 w 489538"/>
                <a:gd name="connsiteY64" fmla="*/ 153366 h 761503"/>
                <a:gd name="connsiteX65" fmla="*/ 395416 w 489538"/>
                <a:gd name="connsiteY65" fmla="*/ 126170 h 761503"/>
                <a:gd name="connsiteX66" fmla="*/ 370939 w 489538"/>
                <a:gd name="connsiteY66" fmla="*/ 128889 h 761503"/>
                <a:gd name="connsiteX67" fmla="*/ 338303 w 489538"/>
                <a:gd name="connsiteY67" fmla="*/ 131609 h 761503"/>
                <a:gd name="connsiteX68" fmla="*/ 286629 w 489538"/>
                <a:gd name="connsiteY68" fmla="*/ 134328 h 761503"/>
                <a:gd name="connsiteX69" fmla="*/ 273031 w 489538"/>
                <a:gd name="connsiteY69" fmla="*/ 137048 h 761503"/>
                <a:gd name="connsiteX70" fmla="*/ 262153 w 489538"/>
                <a:gd name="connsiteY70" fmla="*/ 142487 h 761503"/>
                <a:gd name="connsiteX71" fmla="*/ 259433 w 489538"/>
                <a:gd name="connsiteY71" fmla="*/ 153366 h 761503"/>
                <a:gd name="connsiteX72" fmla="*/ 262153 w 489538"/>
                <a:gd name="connsiteY72" fmla="*/ 166964 h 761503"/>
                <a:gd name="connsiteX73" fmla="*/ 262153 w 489538"/>
                <a:gd name="connsiteY73" fmla="*/ 196881 h 761503"/>
                <a:gd name="connsiteX74" fmla="*/ 262153 w 489538"/>
                <a:gd name="connsiteY74" fmla="*/ 215918 h 761503"/>
                <a:gd name="connsiteX75" fmla="*/ 262153 w 489538"/>
                <a:gd name="connsiteY75" fmla="*/ 251274 h 761503"/>
                <a:gd name="connsiteX76" fmla="*/ 259433 w 489538"/>
                <a:gd name="connsiteY76" fmla="*/ 278470 h 761503"/>
                <a:gd name="connsiteX77" fmla="*/ 259433 w 489538"/>
                <a:gd name="connsiteY77" fmla="*/ 308386 h 761503"/>
                <a:gd name="connsiteX78" fmla="*/ 259433 w 489538"/>
                <a:gd name="connsiteY78" fmla="*/ 321985 h 761503"/>
                <a:gd name="connsiteX79" fmla="*/ 259433 w 489538"/>
                <a:gd name="connsiteY79" fmla="*/ 332863 h 761503"/>
                <a:gd name="connsiteX80" fmla="*/ 267592 w 489538"/>
                <a:gd name="connsiteY80" fmla="*/ 335583 h 761503"/>
                <a:gd name="connsiteX81" fmla="*/ 281190 w 489538"/>
                <a:gd name="connsiteY81" fmla="*/ 335583 h 761503"/>
                <a:gd name="connsiteX82" fmla="*/ 327424 w 489538"/>
                <a:gd name="connsiteY82" fmla="*/ 338303 h 761503"/>
                <a:gd name="connsiteX83" fmla="*/ 351901 w 489538"/>
                <a:gd name="connsiteY83" fmla="*/ 341022 h 761503"/>
                <a:gd name="connsiteX84" fmla="*/ 351901 w 489538"/>
                <a:gd name="connsiteY84" fmla="*/ 335583 h 761503"/>
                <a:gd name="connsiteX85" fmla="*/ 351901 w 489538"/>
                <a:gd name="connsiteY85" fmla="*/ 313826 h 761503"/>
                <a:gd name="connsiteX86" fmla="*/ 357341 w 489538"/>
                <a:gd name="connsiteY86" fmla="*/ 289349 h 761503"/>
                <a:gd name="connsiteX87" fmla="*/ 373658 w 489538"/>
                <a:gd name="connsiteY87" fmla="*/ 273031 h 761503"/>
                <a:gd name="connsiteX88" fmla="*/ 381817 w 489538"/>
                <a:gd name="connsiteY88" fmla="*/ 278470 h 761503"/>
                <a:gd name="connsiteX89" fmla="*/ 389977 w 489538"/>
                <a:gd name="connsiteY89" fmla="*/ 300228 h 761503"/>
                <a:gd name="connsiteX90" fmla="*/ 395416 w 489538"/>
                <a:gd name="connsiteY90" fmla="*/ 351901 h 761503"/>
                <a:gd name="connsiteX91" fmla="*/ 398136 w 489538"/>
                <a:gd name="connsiteY91" fmla="*/ 409014 h 761503"/>
                <a:gd name="connsiteX92" fmla="*/ 381817 w 489538"/>
                <a:gd name="connsiteY92" fmla="*/ 444369 h 761503"/>
                <a:gd name="connsiteX93" fmla="*/ 365500 w 489538"/>
                <a:gd name="connsiteY93" fmla="*/ 438930 h 761503"/>
                <a:gd name="connsiteX94" fmla="*/ 357341 w 489538"/>
                <a:gd name="connsiteY94" fmla="*/ 422612 h 761503"/>
                <a:gd name="connsiteX95" fmla="*/ 354621 w 489538"/>
                <a:gd name="connsiteY95" fmla="*/ 400855 h 761503"/>
                <a:gd name="connsiteX96" fmla="*/ 354621 w 489538"/>
                <a:gd name="connsiteY96" fmla="*/ 381817 h 761503"/>
                <a:gd name="connsiteX97" fmla="*/ 270312 w 489538"/>
                <a:gd name="connsiteY97" fmla="*/ 381817 h 761503"/>
                <a:gd name="connsiteX98" fmla="*/ 256713 w 489538"/>
                <a:gd name="connsiteY98" fmla="*/ 395415 h 761503"/>
                <a:gd name="connsiteX99" fmla="*/ 253994 w 489538"/>
                <a:gd name="connsiteY99" fmla="*/ 422612 h 761503"/>
                <a:gd name="connsiteX100" fmla="*/ 253994 w 489538"/>
                <a:gd name="connsiteY100" fmla="*/ 433490 h 761503"/>
                <a:gd name="connsiteX101" fmla="*/ 253994 w 489538"/>
                <a:gd name="connsiteY101" fmla="*/ 449809 h 761503"/>
                <a:gd name="connsiteX102" fmla="*/ 256713 w 489538"/>
                <a:gd name="connsiteY102" fmla="*/ 474285 h 761503"/>
                <a:gd name="connsiteX103" fmla="*/ 256713 w 489538"/>
                <a:gd name="connsiteY103" fmla="*/ 496043 h 761503"/>
                <a:gd name="connsiteX104" fmla="*/ 259433 w 489538"/>
                <a:gd name="connsiteY104" fmla="*/ 534118 h 761503"/>
                <a:gd name="connsiteX105" fmla="*/ 259433 w 489538"/>
                <a:gd name="connsiteY105" fmla="*/ 591231 h 761503"/>
                <a:gd name="connsiteX106" fmla="*/ 262153 w 489538"/>
                <a:gd name="connsiteY106" fmla="*/ 618427 h 761503"/>
                <a:gd name="connsiteX107" fmla="*/ 267592 w 489538"/>
                <a:gd name="connsiteY107" fmla="*/ 648343 h 761503"/>
                <a:gd name="connsiteX108" fmla="*/ 292069 w 489538"/>
                <a:gd name="connsiteY108" fmla="*/ 651063 h 761503"/>
                <a:gd name="connsiteX109" fmla="*/ 327424 w 489538"/>
                <a:gd name="connsiteY109" fmla="*/ 651063 h 761503"/>
                <a:gd name="connsiteX110" fmla="*/ 362780 w 489538"/>
                <a:gd name="connsiteY110" fmla="*/ 653783 h 761503"/>
                <a:gd name="connsiteX111" fmla="*/ 395416 w 489538"/>
                <a:gd name="connsiteY111" fmla="*/ 648343 h 761503"/>
                <a:gd name="connsiteX112" fmla="*/ 395416 w 489538"/>
                <a:gd name="connsiteY112" fmla="*/ 618427 h 761503"/>
                <a:gd name="connsiteX113" fmla="*/ 395416 w 489538"/>
                <a:gd name="connsiteY113" fmla="*/ 596670 h 761503"/>
                <a:gd name="connsiteX114" fmla="*/ 398136 w 489538"/>
                <a:gd name="connsiteY114" fmla="*/ 574913 h 761503"/>
                <a:gd name="connsiteX115" fmla="*/ 406295 w 489538"/>
                <a:gd name="connsiteY115" fmla="*/ 558595 h 761503"/>
                <a:gd name="connsiteX116" fmla="*/ 422612 w 489538"/>
                <a:gd name="connsiteY116" fmla="*/ 553155 h 761503"/>
                <a:gd name="connsiteX117" fmla="*/ 438930 w 489538"/>
                <a:gd name="connsiteY117" fmla="*/ 588511 h 761503"/>
                <a:gd name="connsiteX118" fmla="*/ 436211 w 489538"/>
                <a:gd name="connsiteY118" fmla="*/ 645624 h 761503"/>
                <a:gd name="connsiteX119" fmla="*/ 433491 w 489538"/>
                <a:gd name="connsiteY119" fmla="*/ 651063 h 761503"/>
                <a:gd name="connsiteX120" fmla="*/ 433491 w 489538"/>
                <a:gd name="connsiteY120" fmla="*/ 651063 h 761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</a:cxnLst>
              <a:rect l="l" t="t" r="r" b="b"/>
              <a:pathLst>
                <a:path w="489538" h="761503">
                  <a:moveTo>
                    <a:pt x="433491" y="651063"/>
                  </a:moveTo>
                  <a:cubicBezTo>
                    <a:pt x="436211" y="653783"/>
                    <a:pt x="438930" y="656502"/>
                    <a:pt x="438930" y="661942"/>
                  </a:cubicBezTo>
                  <a:cubicBezTo>
                    <a:pt x="438930" y="670101"/>
                    <a:pt x="433491" y="678259"/>
                    <a:pt x="425332" y="683699"/>
                  </a:cubicBezTo>
                  <a:cubicBezTo>
                    <a:pt x="417173" y="689138"/>
                    <a:pt x="409014" y="689138"/>
                    <a:pt x="400855" y="691858"/>
                  </a:cubicBezTo>
                  <a:cubicBezTo>
                    <a:pt x="381817" y="694578"/>
                    <a:pt x="362780" y="694578"/>
                    <a:pt x="343742" y="700017"/>
                  </a:cubicBezTo>
                  <a:cubicBezTo>
                    <a:pt x="335583" y="702736"/>
                    <a:pt x="324705" y="702736"/>
                    <a:pt x="316546" y="705456"/>
                  </a:cubicBezTo>
                  <a:cubicBezTo>
                    <a:pt x="308387" y="705456"/>
                    <a:pt x="289349" y="705456"/>
                    <a:pt x="275751" y="705456"/>
                  </a:cubicBezTo>
                  <a:cubicBezTo>
                    <a:pt x="270312" y="705456"/>
                    <a:pt x="267592" y="708176"/>
                    <a:pt x="264872" y="708176"/>
                  </a:cubicBezTo>
                  <a:cubicBezTo>
                    <a:pt x="264872" y="708176"/>
                    <a:pt x="259433" y="708176"/>
                    <a:pt x="253994" y="708176"/>
                  </a:cubicBezTo>
                  <a:cubicBezTo>
                    <a:pt x="251274" y="713615"/>
                    <a:pt x="245835" y="716335"/>
                    <a:pt x="240395" y="719054"/>
                  </a:cubicBezTo>
                  <a:cubicBezTo>
                    <a:pt x="234956" y="721774"/>
                    <a:pt x="229517" y="721774"/>
                    <a:pt x="224077" y="721774"/>
                  </a:cubicBezTo>
                  <a:cubicBezTo>
                    <a:pt x="218638" y="721774"/>
                    <a:pt x="213199" y="724494"/>
                    <a:pt x="205040" y="724494"/>
                  </a:cubicBezTo>
                  <a:cubicBezTo>
                    <a:pt x="202320" y="724494"/>
                    <a:pt x="194161" y="727213"/>
                    <a:pt x="191441" y="727213"/>
                  </a:cubicBezTo>
                  <a:cubicBezTo>
                    <a:pt x="183282" y="727213"/>
                    <a:pt x="172404" y="721774"/>
                    <a:pt x="169684" y="721774"/>
                  </a:cubicBezTo>
                  <a:cubicBezTo>
                    <a:pt x="164245" y="719054"/>
                    <a:pt x="156086" y="713615"/>
                    <a:pt x="150646" y="708176"/>
                  </a:cubicBezTo>
                  <a:cubicBezTo>
                    <a:pt x="145207" y="708176"/>
                    <a:pt x="139768" y="708176"/>
                    <a:pt x="139768" y="708176"/>
                  </a:cubicBezTo>
                  <a:cubicBezTo>
                    <a:pt x="126170" y="708176"/>
                    <a:pt x="137048" y="708176"/>
                    <a:pt x="120730" y="708176"/>
                  </a:cubicBezTo>
                  <a:cubicBezTo>
                    <a:pt x="112571" y="708176"/>
                    <a:pt x="104412" y="708176"/>
                    <a:pt x="98973" y="708176"/>
                  </a:cubicBezTo>
                  <a:cubicBezTo>
                    <a:pt x="90814" y="708176"/>
                    <a:pt x="79936" y="708176"/>
                    <a:pt x="74496" y="702736"/>
                  </a:cubicBezTo>
                  <a:cubicBezTo>
                    <a:pt x="66337" y="700017"/>
                    <a:pt x="58178" y="689138"/>
                    <a:pt x="58178" y="683699"/>
                  </a:cubicBezTo>
                  <a:cubicBezTo>
                    <a:pt x="58178" y="680979"/>
                    <a:pt x="58178" y="678259"/>
                    <a:pt x="63617" y="675540"/>
                  </a:cubicBezTo>
                  <a:cubicBezTo>
                    <a:pt x="69057" y="672820"/>
                    <a:pt x="77216" y="670101"/>
                    <a:pt x="85375" y="667381"/>
                  </a:cubicBezTo>
                  <a:cubicBezTo>
                    <a:pt x="98973" y="664661"/>
                    <a:pt x="115291" y="664661"/>
                    <a:pt x="128889" y="661942"/>
                  </a:cubicBezTo>
                  <a:cubicBezTo>
                    <a:pt x="128889" y="645624"/>
                    <a:pt x="128889" y="623866"/>
                    <a:pt x="128889" y="602109"/>
                  </a:cubicBezTo>
                  <a:cubicBezTo>
                    <a:pt x="128889" y="566754"/>
                    <a:pt x="128889" y="531398"/>
                    <a:pt x="126170" y="523239"/>
                  </a:cubicBezTo>
                  <a:cubicBezTo>
                    <a:pt x="126170" y="517800"/>
                    <a:pt x="126170" y="487884"/>
                    <a:pt x="126170" y="468846"/>
                  </a:cubicBezTo>
                  <a:cubicBezTo>
                    <a:pt x="126170" y="449809"/>
                    <a:pt x="123450" y="430771"/>
                    <a:pt x="123450" y="409014"/>
                  </a:cubicBezTo>
                  <a:cubicBezTo>
                    <a:pt x="123450" y="400855"/>
                    <a:pt x="123450" y="392696"/>
                    <a:pt x="123450" y="384537"/>
                  </a:cubicBezTo>
                  <a:cubicBezTo>
                    <a:pt x="123450" y="373658"/>
                    <a:pt x="126170" y="360060"/>
                    <a:pt x="126170" y="349181"/>
                  </a:cubicBezTo>
                  <a:cubicBezTo>
                    <a:pt x="126170" y="341022"/>
                    <a:pt x="126170" y="332863"/>
                    <a:pt x="126170" y="324704"/>
                  </a:cubicBezTo>
                  <a:cubicBezTo>
                    <a:pt x="126170" y="313826"/>
                    <a:pt x="126170" y="302947"/>
                    <a:pt x="128889" y="292068"/>
                  </a:cubicBezTo>
                  <a:cubicBezTo>
                    <a:pt x="131609" y="273031"/>
                    <a:pt x="134329" y="253993"/>
                    <a:pt x="134329" y="234956"/>
                  </a:cubicBezTo>
                  <a:cubicBezTo>
                    <a:pt x="134329" y="213198"/>
                    <a:pt x="134329" y="191441"/>
                    <a:pt x="134329" y="172404"/>
                  </a:cubicBezTo>
                  <a:cubicBezTo>
                    <a:pt x="134329" y="156086"/>
                    <a:pt x="134329" y="139768"/>
                    <a:pt x="137048" y="123450"/>
                  </a:cubicBezTo>
                  <a:cubicBezTo>
                    <a:pt x="131609" y="123450"/>
                    <a:pt x="134329" y="123450"/>
                    <a:pt x="123450" y="123450"/>
                  </a:cubicBezTo>
                  <a:cubicBezTo>
                    <a:pt x="115291" y="123450"/>
                    <a:pt x="107132" y="123450"/>
                    <a:pt x="101693" y="123450"/>
                  </a:cubicBezTo>
                  <a:cubicBezTo>
                    <a:pt x="93534" y="123450"/>
                    <a:pt x="82655" y="123450"/>
                    <a:pt x="77216" y="118011"/>
                  </a:cubicBezTo>
                  <a:cubicBezTo>
                    <a:pt x="69057" y="115291"/>
                    <a:pt x="60898" y="101693"/>
                    <a:pt x="60898" y="98973"/>
                  </a:cubicBezTo>
                  <a:cubicBezTo>
                    <a:pt x="60898" y="96253"/>
                    <a:pt x="60898" y="93534"/>
                    <a:pt x="66337" y="90814"/>
                  </a:cubicBezTo>
                  <a:cubicBezTo>
                    <a:pt x="71777" y="88094"/>
                    <a:pt x="79936" y="85375"/>
                    <a:pt x="88094" y="82655"/>
                  </a:cubicBezTo>
                  <a:cubicBezTo>
                    <a:pt x="104412" y="79935"/>
                    <a:pt x="131609" y="77216"/>
                    <a:pt x="145207" y="77216"/>
                  </a:cubicBezTo>
                  <a:cubicBezTo>
                    <a:pt x="145207" y="77216"/>
                    <a:pt x="145207" y="77216"/>
                    <a:pt x="145207" y="77216"/>
                  </a:cubicBezTo>
                  <a:cubicBezTo>
                    <a:pt x="145207" y="74496"/>
                    <a:pt x="150646" y="71776"/>
                    <a:pt x="153366" y="69057"/>
                  </a:cubicBezTo>
                  <a:cubicBezTo>
                    <a:pt x="161525" y="63617"/>
                    <a:pt x="169684" y="63617"/>
                    <a:pt x="177843" y="60898"/>
                  </a:cubicBezTo>
                  <a:cubicBezTo>
                    <a:pt x="183282" y="58178"/>
                    <a:pt x="191441" y="58178"/>
                    <a:pt x="196881" y="58178"/>
                  </a:cubicBezTo>
                  <a:cubicBezTo>
                    <a:pt x="199600" y="58178"/>
                    <a:pt x="202320" y="58178"/>
                    <a:pt x="205040" y="58178"/>
                  </a:cubicBezTo>
                  <a:cubicBezTo>
                    <a:pt x="207759" y="58178"/>
                    <a:pt x="213199" y="60898"/>
                    <a:pt x="215919" y="63617"/>
                  </a:cubicBezTo>
                  <a:cubicBezTo>
                    <a:pt x="221358" y="66337"/>
                    <a:pt x="224077" y="66337"/>
                    <a:pt x="229517" y="69057"/>
                  </a:cubicBezTo>
                  <a:cubicBezTo>
                    <a:pt x="237675" y="71776"/>
                    <a:pt x="245835" y="77216"/>
                    <a:pt x="256713" y="77216"/>
                  </a:cubicBezTo>
                  <a:cubicBezTo>
                    <a:pt x="259433" y="77216"/>
                    <a:pt x="262153" y="77216"/>
                    <a:pt x="264872" y="77216"/>
                  </a:cubicBezTo>
                  <a:cubicBezTo>
                    <a:pt x="270312" y="77216"/>
                    <a:pt x="275751" y="77216"/>
                    <a:pt x="281190" y="77216"/>
                  </a:cubicBezTo>
                  <a:cubicBezTo>
                    <a:pt x="292069" y="77216"/>
                    <a:pt x="321985" y="77216"/>
                    <a:pt x="330144" y="77216"/>
                  </a:cubicBezTo>
                  <a:cubicBezTo>
                    <a:pt x="338303" y="77216"/>
                    <a:pt x="349182" y="77216"/>
                    <a:pt x="357341" y="79935"/>
                  </a:cubicBezTo>
                  <a:cubicBezTo>
                    <a:pt x="368219" y="79935"/>
                    <a:pt x="379098" y="82655"/>
                    <a:pt x="387257" y="82655"/>
                  </a:cubicBezTo>
                  <a:cubicBezTo>
                    <a:pt x="392696" y="82655"/>
                    <a:pt x="400855" y="85375"/>
                    <a:pt x="406295" y="85375"/>
                  </a:cubicBezTo>
                  <a:cubicBezTo>
                    <a:pt x="409014" y="82655"/>
                    <a:pt x="414453" y="79935"/>
                    <a:pt x="417173" y="79935"/>
                  </a:cubicBezTo>
                  <a:cubicBezTo>
                    <a:pt x="419893" y="79935"/>
                    <a:pt x="422612" y="79935"/>
                    <a:pt x="425332" y="85375"/>
                  </a:cubicBezTo>
                  <a:cubicBezTo>
                    <a:pt x="428052" y="90814"/>
                    <a:pt x="433491" y="98973"/>
                    <a:pt x="433491" y="104412"/>
                  </a:cubicBezTo>
                  <a:cubicBezTo>
                    <a:pt x="436211" y="131609"/>
                    <a:pt x="436211" y="120730"/>
                    <a:pt x="436211" y="137048"/>
                  </a:cubicBezTo>
                  <a:cubicBezTo>
                    <a:pt x="438930" y="158805"/>
                    <a:pt x="438930" y="158805"/>
                    <a:pt x="438930" y="183282"/>
                  </a:cubicBezTo>
                  <a:cubicBezTo>
                    <a:pt x="438930" y="194161"/>
                    <a:pt x="438930" y="218638"/>
                    <a:pt x="422612" y="218638"/>
                  </a:cubicBezTo>
                  <a:cubicBezTo>
                    <a:pt x="414453" y="218638"/>
                    <a:pt x="411734" y="215918"/>
                    <a:pt x="406295" y="213198"/>
                  </a:cubicBezTo>
                  <a:cubicBezTo>
                    <a:pt x="400855" y="210479"/>
                    <a:pt x="398136" y="202320"/>
                    <a:pt x="398136" y="196881"/>
                  </a:cubicBezTo>
                  <a:cubicBezTo>
                    <a:pt x="395416" y="188722"/>
                    <a:pt x="395416" y="183282"/>
                    <a:pt x="395416" y="175123"/>
                  </a:cubicBezTo>
                  <a:cubicBezTo>
                    <a:pt x="395416" y="169684"/>
                    <a:pt x="395416" y="164245"/>
                    <a:pt x="395416" y="153366"/>
                  </a:cubicBezTo>
                  <a:cubicBezTo>
                    <a:pt x="395416" y="145207"/>
                    <a:pt x="395416" y="134328"/>
                    <a:pt x="395416" y="126170"/>
                  </a:cubicBezTo>
                  <a:cubicBezTo>
                    <a:pt x="387257" y="128889"/>
                    <a:pt x="379098" y="128889"/>
                    <a:pt x="370939" y="128889"/>
                  </a:cubicBezTo>
                  <a:cubicBezTo>
                    <a:pt x="360060" y="128889"/>
                    <a:pt x="349182" y="128889"/>
                    <a:pt x="338303" y="131609"/>
                  </a:cubicBezTo>
                  <a:cubicBezTo>
                    <a:pt x="327424" y="131609"/>
                    <a:pt x="319265" y="134328"/>
                    <a:pt x="286629" y="134328"/>
                  </a:cubicBezTo>
                  <a:cubicBezTo>
                    <a:pt x="281190" y="134328"/>
                    <a:pt x="278470" y="134328"/>
                    <a:pt x="273031" y="137048"/>
                  </a:cubicBezTo>
                  <a:cubicBezTo>
                    <a:pt x="270312" y="137048"/>
                    <a:pt x="264872" y="137048"/>
                    <a:pt x="262153" y="142487"/>
                  </a:cubicBezTo>
                  <a:cubicBezTo>
                    <a:pt x="259433" y="145207"/>
                    <a:pt x="259433" y="150647"/>
                    <a:pt x="259433" y="153366"/>
                  </a:cubicBezTo>
                  <a:cubicBezTo>
                    <a:pt x="259433" y="158805"/>
                    <a:pt x="259433" y="164245"/>
                    <a:pt x="262153" y="166964"/>
                  </a:cubicBezTo>
                  <a:cubicBezTo>
                    <a:pt x="262153" y="177843"/>
                    <a:pt x="262153" y="186002"/>
                    <a:pt x="262153" y="196881"/>
                  </a:cubicBezTo>
                  <a:cubicBezTo>
                    <a:pt x="262153" y="202320"/>
                    <a:pt x="262153" y="210479"/>
                    <a:pt x="262153" y="215918"/>
                  </a:cubicBezTo>
                  <a:cubicBezTo>
                    <a:pt x="262153" y="229516"/>
                    <a:pt x="262153" y="240395"/>
                    <a:pt x="262153" y="251274"/>
                  </a:cubicBezTo>
                  <a:cubicBezTo>
                    <a:pt x="262153" y="259433"/>
                    <a:pt x="259433" y="270311"/>
                    <a:pt x="259433" y="278470"/>
                  </a:cubicBezTo>
                  <a:cubicBezTo>
                    <a:pt x="259433" y="289349"/>
                    <a:pt x="259433" y="297508"/>
                    <a:pt x="259433" y="308386"/>
                  </a:cubicBezTo>
                  <a:cubicBezTo>
                    <a:pt x="259433" y="313826"/>
                    <a:pt x="259433" y="319265"/>
                    <a:pt x="259433" y="321985"/>
                  </a:cubicBezTo>
                  <a:cubicBezTo>
                    <a:pt x="259433" y="324704"/>
                    <a:pt x="259433" y="330144"/>
                    <a:pt x="259433" y="332863"/>
                  </a:cubicBezTo>
                  <a:cubicBezTo>
                    <a:pt x="262153" y="335583"/>
                    <a:pt x="264872" y="335583"/>
                    <a:pt x="267592" y="335583"/>
                  </a:cubicBezTo>
                  <a:cubicBezTo>
                    <a:pt x="273031" y="335583"/>
                    <a:pt x="275751" y="335583"/>
                    <a:pt x="281190" y="335583"/>
                  </a:cubicBezTo>
                  <a:cubicBezTo>
                    <a:pt x="311107" y="335583"/>
                    <a:pt x="319265" y="335583"/>
                    <a:pt x="327424" y="338303"/>
                  </a:cubicBezTo>
                  <a:cubicBezTo>
                    <a:pt x="335583" y="341022"/>
                    <a:pt x="343742" y="341022"/>
                    <a:pt x="351901" y="341022"/>
                  </a:cubicBezTo>
                  <a:cubicBezTo>
                    <a:pt x="351901" y="338303"/>
                    <a:pt x="351901" y="338303"/>
                    <a:pt x="351901" y="335583"/>
                  </a:cubicBezTo>
                  <a:cubicBezTo>
                    <a:pt x="351901" y="327424"/>
                    <a:pt x="351901" y="319265"/>
                    <a:pt x="351901" y="313826"/>
                  </a:cubicBezTo>
                  <a:cubicBezTo>
                    <a:pt x="351901" y="305667"/>
                    <a:pt x="351901" y="294788"/>
                    <a:pt x="357341" y="289349"/>
                  </a:cubicBezTo>
                  <a:cubicBezTo>
                    <a:pt x="360060" y="281190"/>
                    <a:pt x="368219" y="273031"/>
                    <a:pt x="373658" y="273031"/>
                  </a:cubicBezTo>
                  <a:cubicBezTo>
                    <a:pt x="376378" y="273031"/>
                    <a:pt x="379098" y="273031"/>
                    <a:pt x="381817" y="278470"/>
                  </a:cubicBezTo>
                  <a:cubicBezTo>
                    <a:pt x="384537" y="283909"/>
                    <a:pt x="387257" y="292068"/>
                    <a:pt x="389977" y="300228"/>
                  </a:cubicBezTo>
                  <a:cubicBezTo>
                    <a:pt x="392696" y="316545"/>
                    <a:pt x="392696" y="335583"/>
                    <a:pt x="395416" y="351901"/>
                  </a:cubicBezTo>
                  <a:cubicBezTo>
                    <a:pt x="398136" y="373658"/>
                    <a:pt x="398136" y="384537"/>
                    <a:pt x="398136" y="409014"/>
                  </a:cubicBezTo>
                  <a:cubicBezTo>
                    <a:pt x="398136" y="422612"/>
                    <a:pt x="398136" y="444369"/>
                    <a:pt x="381817" y="444369"/>
                  </a:cubicBezTo>
                  <a:cubicBezTo>
                    <a:pt x="373658" y="444369"/>
                    <a:pt x="370939" y="441650"/>
                    <a:pt x="365500" y="438930"/>
                  </a:cubicBezTo>
                  <a:cubicBezTo>
                    <a:pt x="360060" y="436210"/>
                    <a:pt x="357341" y="428051"/>
                    <a:pt x="357341" y="422612"/>
                  </a:cubicBezTo>
                  <a:cubicBezTo>
                    <a:pt x="354621" y="414453"/>
                    <a:pt x="354621" y="409014"/>
                    <a:pt x="354621" y="400855"/>
                  </a:cubicBezTo>
                  <a:cubicBezTo>
                    <a:pt x="354621" y="395415"/>
                    <a:pt x="354621" y="389976"/>
                    <a:pt x="354621" y="381817"/>
                  </a:cubicBezTo>
                  <a:cubicBezTo>
                    <a:pt x="335583" y="381817"/>
                    <a:pt x="308387" y="384537"/>
                    <a:pt x="270312" y="381817"/>
                  </a:cubicBezTo>
                  <a:cubicBezTo>
                    <a:pt x="262153" y="381817"/>
                    <a:pt x="256713" y="387256"/>
                    <a:pt x="256713" y="395415"/>
                  </a:cubicBezTo>
                  <a:cubicBezTo>
                    <a:pt x="256713" y="403574"/>
                    <a:pt x="256713" y="414453"/>
                    <a:pt x="253994" y="422612"/>
                  </a:cubicBezTo>
                  <a:cubicBezTo>
                    <a:pt x="253994" y="425332"/>
                    <a:pt x="253994" y="430771"/>
                    <a:pt x="253994" y="433490"/>
                  </a:cubicBezTo>
                  <a:cubicBezTo>
                    <a:pt x="253994" y="438930"/>
                    <a:pt x="253994" y="444369"/>
                    <a:pt x="253994" y="449809"/>
                  </a:cubicBezTo>
                  <a:cubicBezTo>
                    <a:pt x="253994" y="457967"/>
                    <a:pt x="256713" y="466126"/>
                    <a:pt x="256713" y="474285"/>
                  </a:cubicBezTo>
                  <a:cubicBezTo>
                    <a:pt x="256713" y="482444"/>
                    <a:pt x="256713" y="490603"/>
                    <a:pt x="256713" y="496043"/>
                  </a:cubicBezTo>
                  <a:cubicBezTo>
                    <a:pt x="256713" y="509641"/>
                    <a:pt x="259433" y="520520"/>
                    <a:pt x="259433" y="534118"/>
                  </a:cubicBezTo>
                  <a:cubicBezTo>
                    <a:pt x="259433" y="553155"/>
                    <a:pt x="259433" y="572193"/>
                    <a:pt x="259433" y="591231"/>
                  </a:cubicBezTo>
                  <a:cubicBezTo>
                    <a:pt x="259433" y="602109"/>
                    <a:pt x="262153" y="610268"/>
                    <a:pt x="262153" y="618427"/>
                  </a:cubicBezTo>
                  <a:cubicBezTo>
                    <a:pt x="264872" y="626586"/>
                    <a:pt x="262153" y="642904"/>
                    <a:pt x="267592" y="648343"/>
                  </a:cubicBezTo>
                  <a:cubicBezTo>
                    <a:pt x="270312" y="651063"/>
                    <a:pt x="275751" y="651063"/>
                    <a:pt x="292069" y="651063"/>
                  </a:cubicBezTo>
                  <a:cubicBezTo>
                    <a:pt x="305667" y="651063"/>
                    <a:pt x="319265" y="651063"/>
                    <a:pt x="327424" y="651063"/>
                  </a:cubicBezTo>
                  <a:cubicBezTo>
                    <a:pt x="338303" y="651063"/>
                    <a:pt x="351901" y="653783"/>
                    <a:pt x="362780" y="653783"/>
                  </a:cubicBezTo>
                  <a:cubicBezTo>
                    <a:pt x="376378" y="653783"/>
                    <a:pt x="384537" y="651063"/>
                    <a:pt x="395416" y="648343"/>
                  </a:cubicBezTo>
                  <a:cubicBezTo>
                    <a:pt x="395416" y="637465"/>
                    <a:pt x="395416" y="629306"/>
                    <a:pt x="395416" y="618427"/>
                  </a:cubicBezTo>
                  <a:cubicBezTo>
                    <a:pt x="395416" y="610268"/>
                    <a:pt x="395416" y="602109"/>
                    <a:pt x="395416" y="596670"/>
                  </a:cubicBezTo>
                  <a:cubicBezTo>
                    <a:pt x="395416" y="591231"/>
                    <a:pt x="395416" y="585791"/>
                    <a:pt x="398136" y="574913"/>
                  </a:cubicBezTo>
                  <a:cubicBezTo>
                    <a:pt x="400855" y="569473"/>
                    <a:pt x="400855" y="564034"/>
                    <a:pt x="406295" y="558595"/>
                  </a:cubicBezTo>
                  <a:cubicBezTo>
                    <a:pt x="411734" y="553155"/>
                    <a:pt x="414453" y="553155"/>
                    <a:pt x="422612" y="553155"/>
                  </a:cubicBezTo>
                  <a:cubicBezTo>
                    <a:pt x="436211" y="553155"/>
                    <a:pt x="438930" y="577632"/>
                    <a:pt x="438930" y="588511"/>
                  </a:cubicBezTo>
                  <a:cubicBezTo>
                    <a:pt x="438930" y="612988"/>
                    <a:pt x="438930" y="623866"/>
                    <a:pt x="436211" y="645624"/>
                  </a:cubicBezTo>
                  <a:cubicBezTo>
                    <a:pt x="433491" y="648343"/>
                    <a:pt x="433491" y="648343"/>
                    <a:pt x="433491" y="651063"/>
                  </a:cubicBezTo>
                  <a:lnTo>
                    <a:pt x="433491" y="651063"/>
                  </a:ln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9" name="Freeform: Shape 48">
              <a:extLst>
                <a:ext uri="{FF2B5EF4-FFF2-40B4-BE49-F238E27FC236}">
                  <a16:creationId xmlns:a16="http://schemas.microsoft.com/office/drawing/2014/main" id="{9724F851-AB55-47D5-B0E8-62214C52C678}"/>
                </a:ext>
              </a:extLst>
            </p:cNvPr>
            <p:cNvSpPr/>
            <p:nvPr/>
          </p:nvSpPr>
          <p:spPr>
            <a:xfrm>
              <a:off x="7912732" y="4250336"/>
              <a:ext cx="465062" cy="658157"/>
            </a:xfrm>
            <a:custGeom>
              <a:avLst/>
              <a:gdLst>
                <a:gd name="connsiteX0" fmla="*/ 193096 w 465062"/>
                <a:gd name="connsiteY0" fmla="*/ 59832 h 658157"/>
                <a:gd name="connsiteX1" fmla="*/ 193096 w 465062"/>
                <a:gd name="connsiteY1" fmla="*/ 114226 h 658157"/>
                <a:gd name="connsiteX2" fmla="*/ 198536 w 465062"/>
                <a:gd name="connsiteY2" fmla="*/ 209414 h 658157"/>
                <a:gd name="connsiteX3" fmla="*/ 201255 w 465062"/>
                <a:gd name="connsiteY3" fmla="*/ 282845 h 658157"/>
                <a:gd name="connsiteX4" fmla="*/ 203975 w 465062"/>
                <a:gd name="connsiteY4" fmla="*/ 315481 h 658157"/>
                <a:gd name="connsiteX5" fmla="*/ 203975 w 465062"/>
                <a:gd name="connsiteY5" fmla="*/ 320920 h 658157"/>
                <a:gd name="connsiteX6" fmla="*/ 212134 w 465062"/>
                <a:gd name="connsiteY6" fmla="*/ 329079 h 658157"/>
                <a:gd name="connsiteX7" fmla="*/ 223013 w 465062"/>
                <a:gd name="connsiteY7" fmla="*/ 329079 h 658157"/>
                <a:gd name="connsiteX8" fmla="*/ 239331 w 465062"/>
                <a:gd name="connsiteY8" fmla="*/ 329079 h 658157"/>
                <a:gd name="connsiteX9" fmla="*/ 280126 w 465062"/>
                <a:gd name="connsiteY9" fmla="*/ 312761 h 658157"/>
                <a:gd name="connsiteX10" fmla="*/ 296443 w 465062"/>
                <a:gd name="connsiteY10" fmla="*/ 288284 h 658157"/>
                <a:gd name="connsiteX11" fmla="*/ 304602 w 465062"/>
                <a:gd name="connsiteY11" fmla="*/ 258368 h 658157"/>
                <a:gd name="connsiteX12" fmla="*/ 312761 w 465062"/>
                <a:gd name="connsiteY12" fmla="*/ 225732 h 658157"/>
                <a:gd name="connsiteX13" fmla="*/ 315481 w 465062"/>
                <a:gd name="connsiteY13" fmla="*/ 195816 h 658157"/>
                <a:gd name="connsiteX14" fmla="*/ 318201 w 465062"/>
                <a:gd name="connsiteY14" fmla="*/ 168619 h 658157"/>
                <a:gd name="connsiteX15" fmla="*/ 312761 w 465062"/>
                <a:gd name="connsiteY15" fmla="*/ 135983 h 658157"/>
                <a:gd name="connsiteX16" fmla="*/ 312761 w 465062"/>
                <a:gd name="connsiteY16" fmla="*/ 122385 h 658157"/>
                <a:gd name="connsiteX17" fmla="*/ 293724 w 465062"/>
                <a:gd name="connsiteY17" fmla="*/ 84309 h 658157"/>
                <a:gd name="connsiteX18" fmla="*/ 280126 w 465062"/>
                <a:gd name="connsiteY18" fmla="*/ 73430 h 658157"/>
                <a:gd name="connsiteX19" fmla="*/ 258368 w 465062"/>
                <a:gd name="connsiteY19" fmla="*/ 62552 h 658157"/>
                <a:gd name="connsiteX20" fmla="*/ 217573 w 465062"/>
                <a:gd name="connsiteY20" fmla="*/ 59832 h 658157"/>
                <a:gd name="connsiteX21" fmla="*/ 111506 w 465062"/>
                <a:gd name="connsiteY21" fmla="*/ 0 h 658157"/>
                <a:gd name="connsiteX22" fmla="*/ 127824 w 465062"/>
                <a:gd name="connsiteY22" fmla="*/ 0 h 658157"/>
                <a:gd name="connsiteX23" fmla="*/ 157741 w 465062"/>
                <a:gd name="connsiteY23" fmla="*/ 5440 h 658157"/>
                <a:gd name="connsiteX24" fmla="*/ 179497 w 465062"/>
                <a:gd name="connsiteY24" fmla="*/ 16318 h 658157"/>
                <a:gd name="connsiteX25" fmla="*/ 209414 w 465062"/>
                <a:gd name="connsiteY25" fmla="*/ 16318 h 658157"/>
                <a:gd name="connsiteX26" fmla="*/ 247489 w 465062"/>
                <a:gd name="connsiteY26" fmla="*/ 16318 h 658157"/>
                <a:gd name="connsiteX27" fmla="*/ 266527 w 465062"/>
                <a:gd name="connsiteY27" fmla="*/ 16318 h 658157"/>
                <a:gd name="connsiteX28" fmla="*/ 312761 w 465062"/>
                <a:gd name="connsiteY28" fmla="*/ 27197 h 658157"/>
                <a:gd name="connsiteX29" fmla="*/ 337238 w 465062"/>
                <a:gd name="connsiteY29" fmla="*/ 38075 h 658157"/>
                <a:gd name="connsiteX30" fmla="*/ 364434 w 465062"/>
                <a:gd name="connsiteY30" fmla="*/ 54393 h 658157"/>
                <a:gd name="connsiteX31" fmla="*/ 386192 w 465062"/>
                <a:gd name="connsiteY31" fmla="*/ 73431 h 658157"/>
                <a:gd name="connsiteX32" fmla="*/ 407949 w 465062"/>
                <a:gd name="connsiteY32" fmla="*/ 103347 h 658157"/>
                <a:gd name="connsiteX33" fmla="*/ 416108 w 465062"/>
                <a:gd name="connsiteY33" fmla="*/ 141422 h 658157"/>
                <a:gd name="connsiteX34" fmla="*/ 418828 w 465062"/>
                <a:gd name="connsiteY34" fmla="*/ 163179 h 658157"/>
                <a:gd name="connsiteX35" fmla="*/ 418828 w 465062"/>
                <a:gd name="connsiteY35" fmla="*/ 171339 h 658157"/>
                <a:gd name="connsiteX36" fmla="*/ 421547 w 465062"/>
                <a:gd name="connsiteY36" fmla="*/ 187656 h 658157"/>
                <a:gd name="connsiteX37" fmla="*/ 418828 w 465062"/>
                <a:gd name="connsiteY37" fmla="*/ 206694 h 658157"/>
                <a:gd name="connsiteX38" fmla="*/ 416108 w 465062"/>
                <a:gd name="connsiteY38" fmla="*/ 233891 h 658157"/>
                <a:gd name="connsiteX39" fmla="*/ 405229 w 465062"/>
                <a:gd name="connsiteY39" fmla="*/ 263807 h 658157"/>
                <a:gd name="connsiteX40" fmla="*/ 394351 w 465062"/>
                <a:gd name="connsiteY40" fmla="*/ 274686 h 658157"/>
                <a:gd name="connsiteX41" fmla="*/ 388912 w 465062"/>
                <a:gd name="connsiteY41" fmla="*/ 285564 h 658157"/>
                <a:gd name="connsiteX42" fmla="*/ 369874 w 465062"/>
                <a:gd name="connsiteY42" fmla="*/ 304602 h 658157"/>
                <a:gd name="connsiteX43" fmla="*/ 358995 w 465062"/>
                <a:gd name="connsiteY43" fmla="*/ 310041 h 658157"/>
                <a:gd name="connsiteX44" fmla="*/ 348117 w 465062"/>
                <a:gd name="connsiteY44" fmla="*/ 320920 h 658157"/>
                <a:gd name="connsiteX45" fmla="*/ 326359 w 465062"/>
                <a:gd name="connsiteY45" fmla="*/ 339957 h 658157"/>
                <a:gd name="connsiteX46" fmla="*/ 312761 w 465062"/>
                <a:gd name="connsiteY46" fmla="*/ 353555 h 658157"/>
                <a:gd name="connsiteX47" fmla="*/ 337238 w 465062"/>
                <a:gd name="connsiteY47" fmla="*/ 380752 h 658157"/>
                <a:gd name="connsiteX48" fmla="*/ 358995 w 465062"/>
                <a:gd name="connsiteY48" fmla="*/ 421547 h 658157"/>
                <a:gd name="connsiteX49" fmla="*/ 372593 w 465062"/>
                <a:gd name="connsiteY49" fmla="*/ 459622 h 658157"/>
                <a:gd name="connsiteX50" fmla="*/ 386192 w 465062"/>
                <a:gd name="connsiteY50" fmla="*/ 514015 h 658157"/>
                <a:gd name="connsiteX51" fmla="*/ 407949 w 465062"/>
                <a:gd name="connsiteY51" fmla="*/ 568408 h 658157"/>
                <a:gd name="connsiteX52" fmla="*/ 421547 w 465062"/>
                <a:gd name="connsiteY52" fmla="*/ 598324 h 658157"/>
                <a:gd name="connsiteX53" fmla="*/ 451463 w 465062"/>
                <a:gd name="connsiteY53" fmla="*/ 628241 h 658157"/>
                <a:gd name="connsiteX54" fmla="*/ 465062 w 465062"/>
                <a:gd name="connsiteY54" fmla="*/ 644559 h 658157"/>
                <a:gd name="connsiteX55" fmla="*/ 462342 w 465062"/>
                <a:gd name="connsiteY55" fmla="*/ 649998 h 658157"/>
                <a:gd name="connsiteX56" fmla="*/ 437865 w 465062"/>
                <a:gd name="connsiteY56" fmla="*/ 658157 h 658157"/>
                <a:gd name="connsiteX57" fmla="*/ 361715 w 465062"/>
                <a:gd name="connsiteY57" fmla="*/ 622801 h 658157"/>
                <a:gd name="connsiteX58" fmla="*/ 320920 w 465062"/>
                <a:gd name="connsiteY58" fmla="*/ 565689 h 658157"/>
                <a:gd name="connsiteX59" fmla="*/ 304602 w 465062"/>
                <a:gd name="connsiteY59" fmla="*/ 530333 h 658157"/>
                <a:gd name="connsiteX60" fmla="*/ 293723 w 465062"/>
                <a:gd name="connsiteY60" fmla="*/ 497697 h 658157"/>
                <a:gd name="connsiteX61" fmla="*/ 282845 w 465062"/>
                <a:gd name="connsiteY61" fmla="*/ 462342 h 658157"/>
                <a:gd name="connsiteX62" fmla="*/ 269246 w 465062"/>
                <a:gd name="connsiteY62" fmla="*/ 424267 h 658157"/>
                <a:gd name="connsiteX63" fmla="*/ 255648 w 465062"/>
                <a:gd name="connsiteY63" fmla="*/ 391631 h 658157"/>
                <a:gd name="connsiteX64" fmla="*/ 236610 w 465062"/>
                <a:gd name="connsiteY64" fmla="*/ 367154 h 658157"/>
                <a:gd name="connsiteX65" fmla="*/ 217573 w 465062"/>
                <a:gd name="connsiteY65" fmla="*/ 361714 h 658157"/>
                <a:gd name="connsiteX66" fmla="*/ 201255 w 465062"/>
                <a:gd name="connsiteY66" fmla="*/ 361714 h 658157"/>
                <a:gd name="connsiteX67" fmla="*/ 198535 w 465062"/>
                <a:gd name="connsiteY67" fmla="*/ 367154 h 658157"/>
                <a:gd name="connsiteX68" fmla="*/ 201255 w 465062"/>
                <a:gd name="connsiteY68" fmla="*/ 388911 h 658157"/>
                <a:gd name="connsiteX69" fmla="*/ 198535 w 465062"/>
                <a:gd name="connsiteY69" fmla="*/ 426986 h 658157"/>
                <a:gd name="connsiteX70" fmla="*/ 203975 w 465062"/>
                <a:gd name="connsiteY70" fmla="*/ 478660 h 658157"/>
                <a:gd name="connsiteX71" fmla="*/ 198535 w 465062"/>
                <a:gd name="connsiteY71" fmla="*/ 552090 h 658157"/>
                <a:gd name="connsiteX72" fmla="*/ 195816 w 465062"/>
                <a:gd name="connsiteY72" fmla="*/ 576567 h 658157"/>
                <a:gd name="connsiteX73" fmla="*/ 198535 w 465062"/>
                <a:gd name="connsiteY73" fmla="*/ 592885 h 658157"/>
                <a:gd name="connsiteX74" fmla="*/ 233891 w 465062"/>
                <a:gd name="connsiteY74" fmla="*/ 592885 h 658157"/>
                <a:gd name="connsiteX75" fmla="*/ 271966 w 465062"/>
                <a:gd name="connsiteY75" fmla="*/ 611923 h 658157"/>
                <a:gd name="connsiteX76" fmla="*/ 266527 w 465062"/>
                <a:gd name="connsiteY76" fmla="*/ 628241 h 658157"/>
                <a:gd name="connsiteX77" fmla="*/ 250209 w 465062"/>
                <a:gd name="connsiteY77" fmla="*/ 636400 h 658157"/>
                <a:gd name="connsiteX78" fmla="*/ 228451 w 465062"/>
                <a:gd name="connsiteY78" fmla="*/ 639119 h 658157"/>
                <a:gd name="connsiteX79" fmla="*/ 187657 w 465062"/>
                <a:gd name="connsiteY79" fmla="*/ 639119 h 658157"/>
                <a:gd name="connsiteX80" fmla="*/ 152301 w 465062"/>
                <a:gd name="connsiteY80" fmla="*/ 652717 h 658157"/>
                <a:gd name="connsiteX81" fmla="*/ 133263 w 465062"/>
                <a:gd name="connsiteY81" fmla="*/ 655437 h 658157"/>
                <a:gd name="connsiteX82" fmla="*/ 122385 w 465062"/>
                <a:gd name="connsiteY82" fmla="*/ 652717 h 658157"/>
                <a:gd name="connsiteX83" fmla="*/ 97908 w 465062"/>
                <a:gd name="connsiteY83" fmla="*/ 639119 h 658157"/>
                <a:gd name="connsiteX84" fmla="*/ 70711 w 465062"/>
                <a:gd name="connsiteY84" fmla="*/ 639119 h 658157"/>
                <a:gd name="connsiteX85" fmla="*/ 46234 w 465062"/>
                <a:gd name="connsiteY85" fmla="*/ 639119 h 658157"/>
                <a:gd name="connsiteX86" fmla="*/ 19038 w 465062"/>
                <a:gd name="connsiteY86" fmla="*/ 630960 h 658157"/>
                <a:gd name="connsiteX87" fmla="*/ 2720 w 465062"/>
                <a:gd name="connsiteY87" fmla="*/ 614642 h 658157"/>
                <a:gd name="connsiteX88" fmla="*/ 8159 w 465062"/>
                <a:gd name="connsiteY88" fmla="*/ 606483 h 658157"/>
                <a:gd name="connsiteX89" fmla="*/ 29916 w 465062"/>
                <a:gd name="connsiteY89" fmla="*/ 598324 h 658157"/>
                <a:gd name="connsiteX90" fmla="*/ 76151 w 465062"/>
                <a:gd name="connsiteY90" fmla="*/ 592885 h 658157"/>
                <a:gd name="connsiteX91" fmla="*/ 73431 w 465062"/>
                <a:gd name="connsiteY91" fmla="*/ 573848 h 658157"/>
                <a:gd name="connsiteX92" fmla="*/ 70711 w 465062"/>
                <a:gd name="connsiteY92" fmla="*/ 500417 h 658157"/>
                <a:gd name="connsiteX93" fmla="*/ 73431 w 465062"/>
                <a:gd name="connsiteY93" fmla="*/ 437865 h 658157"/>
                <a:gd name="connsiteX94" fmla="*/ 70711 w 465062"/>
                <a:gd name="connsiteY94" fmla="*/ 369873 h 658157"/>
                <a:gd name="connsiteX95" fmla="*/ 70711 w 465062"/>
                <a:gd name="connsiteY95" fmla="*/ 293723 h 658157"/>
                <a:gd name="connsiteX96" fmla="*/ 73431 w 465062"/>
                <a:gd name="connsiteY96" fmla="*/ 212133 h 658157"/>
                <a:gd name="connsiteX97" fmla="*/ 76151 w 465062"/>
                <a:gd name="connsiteY97" fmla="*/ 155021 h 658157"/>
                <a:gd name="connsiteX98" fmla="*/ 76151 w 465062"/>
                <a:gd name="connsiteY98" fmla="*/ 119665 h 658157"/>
                <a:gd name="connsiteX99" fmla="*/ 78870 w 465062"/>
                <a:gd name="connsiteY99" fmla="*/ 84310 h 658157"/>
                <a:gd name="connsiteX100" fmla="*/ 76151 w 465062"/>
                <a:gd name="connsiteY100" fmla="*/ 62552 h 658157"/>
                <a:gd name="connsiteX101" fmla="*/ 67992 w 465062"/>
                <a:gd name="connsiteY101" fmla="*/ 62552 h 658157"/>
                <a:gd name="connsiteX102" fmla="*/ 43515 w 465062"/>
                <a:gd name="connsiteY102" fmla="*/ 62552 h 658157"/>
                <a:gd name="connsiteX103" fmla="*/ 16318 w 465062"/>
                <a:gd name="connsiteY103" fmla="*/ 57113 h 658157"/>
                <a:gd name="connsiteX104" fmla="*/ 0 w 465062"/>
                <a:gd name="connsiteY104" fmla="*/ 40795 h 658157"/>
                <a:gd name="connsiteX105" fmla="*/ 5439 w 465062"/>
                <a:gd name="connsiteY105" fmla="*/ 32636 h 658157"/>
                <a:gd name="connsiteX106" fmla="*/ 27197 w 465062"/>
                <a:gd name="connsiteY106" fmla="*/ 24477 h 658157"/>
                <a:gd name="connsiteX107" fmla="*/ 76151 w 465062"/>
                <a:gd name="connsiteY107" fmla="*/ 19038 h 658157"/>
                <a:gd name="connsiteX108" fmla="*/ 78870 w 465062"/>
                <a:gd name="connsiteY108" fmla="*/ 13598 h 658157"/>
                <a:gd name="connsiteX109" fmla="*/ 95188 w 465062"/>
                <a:gd name="connsiteY109" fmla="*/ 5440 h 658157"/>
                <a:gd name="connsiteX110" fmla="*/ 111506 w 465062"/>
                <a:gd name="connsiteY110" fmla="*/ 0 h 6581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</a:cxnLst>
              <a:rect l="l" t="t" r="r" b="b"/>
              <a:pathLst>
                <a:path w="465062" h="658157">
                  <a:moveTo>
                    <a:pt x="193096" y="59832"/>
                  </a:moveTo>
                  <a:cubicBezTo>
                    <a:pt x="193096" y="73430"/>
                    <a:pt x="193096" y="89748"/>
                    <a:pt x="193096" y="114226"/>
                  </a:cubicBezTo>
                  <a:cubicBezTo>
                    <a:pt x="193096" y="144142"/>
                    <a:pt x="195816" y="176778"/>
                    <a:pt x="198536" y="209414"/>
                  </a:cubicBezTo>
                  <a:cubicBezTo>
                    <a:pt x="198536" y="247489"/>
                    <a:pt x="201255" y="277406"/>
                    <a:pt x="201255" y="282845"/>
                  </a:cubicBezTo>
                  <a:cubicBezTo>
                    <a:pt x="201255" y="293723"/>
                    <a:pt x="203975" y="304602"/>
                    <a:pt x="203975" y="315481"/>
                  </a:cubicBezTo>
                  <a:cubicBezTo>
                    <a:pt x="203975" y="318200"/>
                    <a:pt x="203975" y="318200"/>
                    <a:pt x="203975" y="320920"/>
                  </a:cubicBezTo>
                  <a:cubicBezTo>
                    <a:pt x="203975" y="326359"/>
                    <a:pt x="206695" y="329079"/>
                    <a:pt x="212134" y="329079"/>
                  </a:cubicBezTo>
                  <a:cubicBezTo>
                    <a:pt x="214854" y="329079"/>
                    <a:pt x="220293" y="329079"/>
                    <a:pt x="223013" y="329079"/>
                  </a:cubicBezTo>
                  <a:cubicBezTo>
                    <a:pt x="228452" y="329079"/>
                    <a:pt x="233891" y="329079"/>
                    <a:pt x="239331" y="329079"/>
                  </a:cubicBezTo>
                  <a:cubicBezTo>
                    <a:pt x="252929" y="329079"/>
                    <a:pt x="271967" y="323640"/>
                    <a:pt x="280126" y="312761"/>
                  </a:cubicBezTo>
                  <a:cubicBezTo>
                    <a:pt x="288284" y="304602"/>
                    <a:pt x="291004" y="299163"/>
                    <a:pt x="296443" y="288284"/>
                  </a:cubicBezTo>
                  <a:cubicBezTo>
                    <a:pt x="299163" y="277406"/>
                    <a:pt x="301883" y="269247"/>
                    <a:pt x="304602" y="258368"/>
                  </a:cubicBezTo>
                  <a:cubicBezTo>
                    <a:pt x="307322" y="244770"/>
                    <a:pt x="310042" y="239330"/>
                    <a:pt x="312761" y="225732"/>
                  </a:cubicBezTo>
                  <a:cubicBezTo>
                    <a:pt x="315481" y="212134"/>
                    <a:pt x="315481" y="209414"/>
                    <a:pt x="315481" y="195816"/>
                  </a:cubicBezTo>
                  <a:cubicBezTo>
                    <a:pt x="315481" y="179498"/>
                    <a:pt x="315481" y="184937"/>
                    <a:pt x="318201" y="168619"/>
                  </a:cubicBezTo>
                  <a:cubicBezTo>
                    <a:pt x="312761" y="152302"/>
                    <a:pt x="312761" y="149582"/>
                    <a:pt x="312761" y="135983"/>
                  </a:cubicBezTo>
                  <a:cubicBezTo>
                    <a:pt x="312761" y="133264"/>
                    <a:pt x="312761" y="127825"/>
                    <a:pt x="312761" y="122385"/>
                  </a:cubicBezTo>
                  <a:cubicBezTo>
                    <a:pt x="312761" y="111507"/>
                    <a:pt x="301883" y="95188"/>
                    <a:pt x="293724" y="84309"/>
                  </a:cubicBezTo>
                  <a:cubicBezTo>
                    <a:pt x="288284" y="78870"/>
                    <a:pt x="285565" y="76150"/>
                    <a:pt x="280126" y="73430"/>
                  </a:cubicBezTo>
                  <a:cubicBezTo>
                    <a:pt x="271967" y="67991"/>
                    <a:pt x="266527" y="65271"/>
                    <a:pt x="258368" y="62552"/>
                  </a:cubicBezTo>
                  <a:cubicBezTo>
                    <a:pt x="244770" y="59832"/>
                    <a:pt x="228452" y="59832"/>
                    <a:pt x="217573" y="59832"/>
                  </a:cubicBezTo>
                  <a:close/>
                  <a:moveTo>
                    <a:pt x="111506" y="0"/>
                  </a:moveTo>
                  <a:cubicBezTo>
                    <a:pt x="114226" y="0"/>
                    <a:pt x="122385" y="0"/>
                    <a:pt x="127824" y="0"/>
                  </a:cubicBezTo>
                  <a:cubicBezTo>
                    <a:pt x="135983" y="0"/>
                    <a:pt x="146862" y="2720"/>
                    <a:pt x="157741" y="5440"/>
                  </a:cubicBezTo>
                  <a:cubicBezTo>
                    <a:pt x="168619" y="8159"/>
                    <a:pt x="176778" y="10879"/>
                    <a:pt x="179497" y="16318"/>
                  </a:cubicBezTo>
                  <a:cubicBezTo>
                    <a:pt x="193096" y="16318"/>
                    <a:pt x="201255" y="16318"/>
                    <a:pt x="209414" y="16318"/>
                  </a:cubicBezTo>
                  <a:cubicBezTo>
                    <a:pt x="220292" y="16318"/>
                    <a:pt x="231171" y="16318"/>
                    <a:pt x="247489" y="16318"/>
                  </a:cubicBezTo>
                  <a:cubicBezTo>
                    <a:pt x="250209" y="16318"/>
                    <a:pt x="258368" y="16318"/>
                    <a:pt x="266527" y="16318"/>
                  </a:cubicBezTo>
                  <a:cubicBezTo>
                    <a:pt x="277405" y="16318"/>
                    <a:pt x="291004" y="21758"/>
                    <a:pt x="312761" y="27197"/>
                  </a:cubicBezTo>
                  <a:cubicBezTo>
                    <a:pt x="320920" y="29917"/>
                    <a:pt x="329079" y="35356"/>
                    <a:pt x="337238" y="38075"/>
                  </a:cubicBezTo>
                  <a:cubicBezTo>
                    <a:pt x="342677" y="40795"/>
                    <a:pt x="353556" y="48954"/>
                    <a:pt x="364434" y="54393"/>
                  </a:cubicBezTo>
                  <a:cubicBezTo>
                    <a:pt x="375313" y="62552"/>
                    <a:pt x="386192" y="67992"/>
                    <a:pt x="386192" y="73431"/>
                  </a:cubicBezTo>
                  <a:cubicBezTo>
                    <a:pt x="391631" y="84310"/>
                    <a:pt x="402510" y="92469"/>
                    <a:pt x="407949" y="103347"/>
                  </a:cubicBezTo>
                  <a:cubicBezTo>
                    <a:pt x="413388" y="116945"/>
                    <a:pt x="416108" y="130544"/>
                    <a:pt x="416108" y="141422"/>
                  </a:cubicBezTo>
                  <a:cubicBezTo>
                    <a:pt x="416108" y="152301"/>
                    <a:pt x="418828" y="157740"/>
                    <a:pt x="418828" y="163179"/>
                  </a:cubicBezTo>
                  <a:cubicBezTo>
                    <a:pt x="418828" y="165899"/>
                    <a:pt x="418828" y="168619"/>
                    <a:pt x="418828" y="171339"/>
                  </a:cubicBezTo>
                  <a:cubicBezTo>
                    <a:pt x="418828" y="174058"/>
                    <a:pt x="421547" y="182217"/>
                    <a:pt x="421547" y="187656"/>
                  </a:cubicBezTo>
                  <a:cubicBezTo>
                    <a:pt x="421547" y="193096"/>
                    <a:pt x="418828" y="201255"/>
                    <a:pt x="418828" y="206694"/>
                  </a:cubicBezTo>
                  <a:cubicBezTo>
                    <a:pt x="418828" y="217573"/>
                    <a:pt x="418828" y="223012"/>
                    <a:pt x="416108" y="233891"/>
                  </a:cubicBezTo>
                  <a:cubicBezTo>
                    <a:pt x="413388" y="244769"/>
                    <a:pt x="410668" y="255648"/>
                    <a:pt x="405229" y="263807"/>
                  </a:cubicBezTo>
                  <a:cubicBezTo>
                    <a:pt x="402510" y="269246"/>
                    <a:pt x="397070" y="269246"/>
                    <a:pt x="394351" y="274686"/>
                  </a:cubicBezTo>
                  <a:cubicBezTo>
                    <a:pt x="391631" y="277405"/>
                    <a:pt x="391631" y="282844"/>
                    <a:pt x="388912" y="285564"/>
                  </a:cubicBezTo>
                  <a:cubicBezTo>
                    <a:pt x="383472" y="291003"/>
                    <a:pt x="375313" y="301882"/>
                    <a:pt x="369874" y="304602"/>
                  </a:cubicBezTo>
                  <a:cubicBezTo>
                    <a:pt x="367154" y="307321"/>
                    <a:pt x="361715" y="307321"/>
                    <a:pt x="358995" y="310041"/>
                  </a:cubicBezTo>
                  <a:cubicBezTo>
                    <a:pt x="356275" y="312761"/>
                    <a:pt x="350836" y="318200"/>
                    <a:pt x="348117" y="320920"/>
                  </a:cubicBezTo>
                  <a:cubicBezTo>
                    <a:pt x="339958" y="326359"/>
                    <a:pt x="334518" y="334518"/>
                    <a:pt x="326359" y="339957"/>
                  </a:cubicBezTo>
                  <a:cubicBezTo>
                    <a:pt x="320920" y="342677"/>
                    <a:pt x="312761" y="342677"/>
                    <a:pt x="312761" y="353555"/>
                  </a:cubicBezTo>
                  <a:cubicBezTo>
                    <a:pt x="312761" y="361714"/>
                    <a:pt x="334518" y="372593"/>
                    <a:pt x="337238" y="380752"/>
                  </a:cubicBezTo>
                  <a:cubicBezTo>
                    <a:pt x="345397" y="394350"/>
                    <a:pt x="353556" y="407948"/>
                    <a:pt x="358995" y="421547"/>
                  </a:cubicBezTo>
                  <a:cubicBezTo>
                    <a:pt x="364434" y="435145"/>
                    <a:pt x="367154" y="446024"/>
                    <a:pt x="372593" y="459622"/>
                  </a:cubicBezTo>
                  <a:cubicBezTo>
                    <a:pt x="378033" y="478660"/>
                    <a:pt x="383472" y="494978"/>
                    <a:pt x="386192" y="514015"/>
                  </a:cubicBezTo>
                  <a:cubicBezTo>
                    <a:pt x="391631" y="533053"/>
                    <a:pt x="402510" y="549371"/>
                    <a:pt x="407949" y="568408"/>
                  </a:cubicBezTo>
                  <a:cubicBezTo>
                    <a:pt x="410668" y="579287"/>
                    <a:pt x="416108" y="590165"/>
                    <a:pt x="421547" y="598324"/>
                  </a:cubicBezTo>
                  <a:cubicBezTo>
                    <a:pt x="435146" y="614642"/>
                    <a:pt x="443305" y="622801"/>
                    <a:pt x="451463" y="628241"/>
                  </a:cubicBezTo>
                  <a:cubicBezTo>
                    <a:pt x="456903" y="630960"/>
                    <a:pt x="465062" y="636400"/>
                    <a:pt x="465062" y="644559"/>
                  </a:cubicBezTo>
                  <a:cubicBezTo>
                    <a:pt x="465062" y="647278"/>
                    <a:pt x="465062" y="647278"/>
                    <a:pt x="462342" y="649998"/>
                  </a:cubicBezTo>
                  <a:cubicBezTo>
                    <a:pt x="456903" y="655437"/>
                    <a:pt x="446024" y="658157"/>
                    <a:pt x="437865" y="658157"/>
                  </a:cubicBezTo>
                  <a:cubicBezTo>
                    <a:pt x="413388" y="658157"/>
                    <a:pt x="378033" y="641839"/>
                    <a:pt x="361715" y="622801"/>
                  </a:cubicBezTo>
                  <a:cubicBezTo>
                    <a:pt x="345397" y="606483"/>
                    <a:pt x="334518" y="584726"/>
                    <a:pt x="320920" y="565689"/>
                  </a:cubicBezTo>
                  <a:cubicBezTo>
                    <a:pt x="315480" y="554810"/>
                    <a:pt x="310041" y="543931"/>
                    <a:pt x="304602" y="530333"/>
                  </a:cubicBezTo>
                  <a:cubicBezTo>
                    <a:pt x="299163" y="519454"/>
                    <a:pt x="296443" y="508576"/>
                    <a:pt x="293723" y="497697"/>
                  </a:cubicBezTo>
                  <a:cubicBezTo>
                    <a:pt x="291004" y="486819"/>
                    <a:pt x="288284" y="473220"/>
                    <a:pt x="282845" y="462342"/>
                  </a:cubicBezTo>
                  <a:cubicBezTo>
                    <a:pt x="280125" y="448743"/>
                    <a:pt x="274686" y="437865"/>
                    <a:pt x="269246" y="424267"/>
                  </a:cubicBezTo>
                  <a:cubicBezTo>
                    <a:pt x="266527" y="416108"/>
                    <a:pt x="261087" y="402509"/>
                    <a:pt x="255648" y="391631"/>
                  </a:cubicBezTo>
                  <a:cubicBezTo>
                    <a:pt x="250209" y="380752"/>
                    <a:pt x="244770" y="375313"/>
                    <a:pt x="236610" y="367154"/>
                  </a:cubicBezTo>
                  <a:cubicBezTo>
                    <a:pt x="231171" y="361714"/>
                    <a:pt x="223012" y="361714"/>
                    <a:pt x="217573" y="361714"/>
                  </a:cubicBezTo>
                  <a:cubicBezTo>
                    <a:pt x="212134" y="361714"/>
                    <a:pt x="206694" y="361714"/>
                    <a:pt x="201255" y="361714"/>
                  </a:cubicBezTo>
                  <a:cubicBezTo>
                    <a:pt x="198535" y="361714"/>
                    <a:pt x="198535" y="364434"/>
                    <a:pt x="198535" y="367154"/>
                  </a:cubicBezTo>
                  <a:cubicBezTo>
                    <a:pt x="198535" y="375313"/>
                    <a:pt x="201255" y="386191"/>
                    <a:pt x="201255" y="388911"/>
                  </a:cubicBezTo>
                  <a:cubicBezTo>
                    <a:pt x="201255" y="402509"/>
                    <a:pt x="198535" y="413388"/>
                    <a:pt x="198535" y="426986"/>
                  </a:cubicBezTo>
                  <a:cubicBezTo>
                    <a:pt x="198535" y="446024"/>
                    <a:pt x="203975" y="456902"/>
                    <a:pt x="203975" y="478660"/>
                  </a:cubicBezTo>
                  <a:cubicBezTo>
                    <a:pt x="203975" y="503136"/>
                    <a:pt x="201255" y="527613"/>
                    <a:pt x="198535" y="552090"/>
                  </a:cubicBezTo>
                  <a:cubicBezTo>
                    <a:pt x="198535" y="560249"/>
                    <a:pt x="195816" y="568408"/>
                    <a:pt x="195816" y="576567"/>
                  </a:cubicBezTo>
                  <a:cubicBezTo>
                    <a:pt x="195816" y="582006"/>
                    <a:pt x="195816" y="587446"/>
                    <a:pt x="198535" y="592885"/>
                  </a:cubicBezTo>
                  <a:cubicBezTo>
                    <a:pt x="212134" y="592885"/>
                    <a:pt x="225732" y="592885"/>
                    <a:pt x="233891" y="592885"/>
                  </a:cubicBezTo>
                  <a:cubicBezTo>
                    <a:pt x="247489" y="592885"/>
                    <a:pt x="271966" y="592885"/>
                    <a:pt x="271966" y="611923"/>
                  </a:cubicBezTo>
                  <a:cubicBezTo>
                    <a:pt x="271966" y="620082"/>
                    <a:pt x="269246" y="622801"/>
                    <a:pt x="266527" y="628241"/>
                  </a:cubicBezTo>
                  <a:cubicBezTo>
                    <a:pt x="261087" y="633680"/>
                    <a:pt x="255648" y="636400"/>
                    <a:pt x="250209" y="636400"/>
                  </a:cubicBezTo>
                  <a:cubicBezTo>
                    <a:pt x="239330" y="639119"/>
                    <a:pt x="233891" y="639119"/>
                    <a:pt x="228451" y="639119"/>
                  </a:cubicBezTo>
                  <a:cubicBezTo>
                    <a:pt x="223012" y="639119"/>
                    <a:pt x="206694" y="639119"/>
                    <a:pt x="187657" y="639119"/>
                  </a:cubicBezTo>
                  <a:cubicBezTo>
                    <a:pt x="176778" y="647278"/>
                    <a:pt x="163180" y="649998"/>
                    <a:pt x="152301" y="652717"/>
                  </a:cubicBezTo>
                  <a:cubicBezTo>
                    <a:pt x="146862" y="652717"/>
                    <a:pt x="138703" y="655437"/>
                    <a:pt x="133263" y="655437"/>
                  </a:cubicBezTo>
                  <a:cubicBezTo>
                    <a:pt x="130544" y="655437"/>
                    <a:pt x="125104" y="655437"/>
                    <a:pt x="122385" y="652717"/>
                  </a:cubicBezTo>
                  <a:cubicBezTo>
                    <a:pt x="114226" y="649998"/>
                    <a:pt x="103347" y="644559"/>
                    <a:pt x="97908" y="639119"/>
                  </a:cubicBezTo>
                  <a:cubicBezTo>
                    <a:pt x="87029" y="639119"/>
                    <a:pt x="78870" y="639119"/>
                    <a:pt x="70711" y="639119"/>
                  </a:cubicBezTo>
                  <a:cubicBezTo>
                    <a:pt x="62552" y="639119"/>
                    <a:pt x="54393" y="639119"/>
                    <a:pt x="46234" y="639119"/>
                  </a:cubicBezTo>
                  <a:cubicBezTo>
                    <a:pt x="38075" y="639119"/>
                    <a:pt x="27197" y="633680"/>
                    <a:pt x="19038" y="630960"/>
                  </a:cubicBezTo>
                  <a:cubicBezTo>
                    <a:pt x="10879" y="628241"/>
                    <a:pt x="2720" y="620082"/>
                    <a:pt x="2720" y="614642"/>
                  </a:cubicBezTo>
                  <a:cubicBezTo>
                    <a:pt x="2720" y="611923"/>
                    <a:pt x="2720" y="609203"/>
                    <a:pt x="8159" y="606483"/>
                  </a:cubicBezTo>
                  <a:cubicBezTo>
                    <a:pt x="13599" y="603764"/>
                    <a:pt x="24477" y="601044"/>
                    <a:pt x="29916" y="598324"/>
                  </a:cubicBezTo>
                  <a:cubicBezTo>
                    <a:pt x="43515" y="595605"/>
                    <a:pt x="62552" y="595605"/>
                    <a:pt x="76151" y="592885"/>
                  </a:cubicBezTo>
                  <a:cubicBezTo>
                    <a:pt x="76151" y="587446"/>
                    <a:pt x="73431" y="582006"/>
                    <a:pt x="73431" y="573848"/>
                  </a:cubicBezTo>
                  <a:cubicBezTo>
                    <a:pt x="73431" y="565689"/>
                    <a:pt x="70711" y="516735"/>
                    <a:pt x="70711" y="500417"/>
                  </a:cubicBezTo>
                  <a:cubicBezTo>
                    <a:pt x="70711" y="481379"/>
                    <a:pt x="73431" y="456902"/>
                    <a:pt x="73431" y="437865"/>
                  </a:cubicBezTo>
                  <a:cubicBezTo>
                    <a:pt x="73431" y="416108"/>
                    <a:pt x="70711" y="391631"/>
                    <a:pt x="70711" y="369873"/>
                  </a:cubicBezTo>
                  <a:cubicBezTo>
                    <a:pt x="70711" y="345397"/>
                    <a:pt x="70711" y="318200"/>
                    <a:pt x="70711" y="293723"/>
                  </a:cubicBezTo>
                  <a:cubicBezTo>
                    <a:pt x="70711" y="266526"/>
                    <a:pt x="73431" y="239330"/>
                    <a:pt x="73431" y="212133"/>
                  </a:cubicBezTo>
                  <a:cubicBezTo>
                    <a:pt x="73431" y="187656"/>
                    <a:pt x="76151" y="179498"/>
                    <a:pt x="76151" y="155021"/>
                  </a:cubicBezTo>
                  <a:cubicBezTo>
                    <a:pt x="76151" y="144142"/>
                    <a:pt x="76151" y="130544"/>
                    <a:pt x="76151" y="119665"/>
                  </a:cubicBezTo>
                  <a:cubicBezTo>
                    <a:pt x="76151" y="106067"/>
                    <a:pt x="78870" y="95188"/>
                    <a:pt x="78870" y="84310"/>
                  </a:cubicBezTo>
                  <a:cubicBezTo>
                    <a:pt x="78870" y="78870"/>
                    <a:pt x="78870" y="70711"/>
                    <a:pt x="76151" y="62552"/>
                  </a:cubicBezTo>
                  <a:cubicBezTo>
                    <a:pt x="76151" y="62552"/>
                    <a:pt x="73431" y="62552"/>
                    <a:pt x="67992" y="62552"/>
                  </a:cubicBezTo>
                  <a:cubicBezTo>
                    <a:pt x="59833" y="62552"/>
                    <a:pt x="51674" y="62552"/>
                    <a:pt x="43515" y="62552"/>
                  </a:cubicBezTo>
                  <a:cubicBezTo>
                    <a:pt x="35356" y="62552"/>
                    <a:pt x="24477" y="59833"/>
                    <a:pt x="16318" y="57113"/>
                  </a:cubicBezTo>
                  <a:cubicBezTo>
                    <a:pt x="8159" y="54393"/>
                    <a:pt x="0" y="43515"/>
                    <a:pt x="0" y="40795"/>
                  </a:cubicBezTo>
                  <a:cubicBezTo>
                    <a:pt x="0" y="38075"/>
                    <a:pt x="0" y="35356"/>
                    <a:pt x="5439" y="32636"/>
                  </a:cubicBezTo>
                  <a:cubicBezTo>
                    <a:pt x="10879" y="29917"/>
                    <a:pt x="21758" y="27197"/>
                    <a:pt x="27197" y="24477"/>
                  </a:cubicBezTo>
                  <a:cubicBezTo>
                    <a:pt x="46234" y="21758"/>
                    <a:pt x="62552" y="19038"/>
                    <a:pt x="76151" y="19038"/>
                  </a:cubicBezTo>
                  <a:cubicBezTo>
                    <a:pt x="76151" y="16318"/>
                    <a:pt x="78870" y="16318"/>
                    <a:pt x="78870" y="13598"/>
                  </a:cubicBezTo>
                  <a:cubicBezTo>
                    <a:pt x="84309" y="10879"/>
                    <a:pt x="89749" y="8159"/>
                    <a:pt x="95188" y="5440"/>
                  </a:cubicBezTo>
                  <a:cubicBezTo>
                    <a:pt x="100628" y="2720"/>
                    <a:pt x="106067" y="0"/>
                    <a:pt x="111506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0" name="Freeform: Shape 49">
              <a:extLst>
                <a:ext uri="{FF2B5EF4-FFF2-40B4-BE49-F238E27FC236}">
                  <a16:creationId xmlns:a16="http://schemas.microsoft.com/office/drawing/2014/main" id="{100ABB2F-82B3-4313-9667-9D4CAE736D8E}"/>
                </a:ext>
              </a:extLst>
            </p:cNvPr>
            <p:cNvSpPr/>
            <p:nvPr/>
          </p:nvSpPr>
          <p:spPr>
            <a:xfrm>
              <a:off x="8346812" y="4186718"/>
              <a:ext cx="353556" cy="761503"/>
            </a:xfrm>
            <a:custGeom>
              <a:avLst/>
              <a:gdLst>
                <a:gd name="connsiteX0" fmla="*/ 283910 w 353555"/>
                <a:gd name="connsiteY0" fmla="*/ 672820 h 761503"/>
                <a:gd name="connsiteX1" fmla="*/ 321985 w 353555"/>
                <a:gd name="connsiteY1" fmla="*/ 689138 h 761503"/>
                <a:gd name="connsiteX2" fmla="*/ 316546 w 353555"/>
                <a:gd name="connsiteY2" fmla="*/ 705456 h 761503"/>
                <a:gd name="connsiteX3" fmla="*/ 300228 w 353555"/>
                <a:gd name="connsiteY3" fmla="*/ 713615 h 761503"/>
                <a:gd name="connsiteX4" fmla="*/ 278471 w 353555"/>
                <a:gd name="connsiteY4" fmla="*/ 716335 h 761503"/>
                <a:gd name="connsiteX5" fmla="*/ 237676 w 353555"/>
                <a:gd name="connsiteY5" fmla="*/ 716335 h 761503"/>
                <a:gd name="connsiteX6" fmla="*/ 180563 w 353555"/>
                <a:gd name="connsiteY6" fmla="*/ 719054 h 761503"/>
                <a:gd name="connsiteX7" fmla="*/ 126170 w 353555"/>
                <a:gd name="connsiteY7" fmla="*/ 719054 h 761503"/>
                <a:gd name="connsiteX8" fmla="*/ 101693 w 353555"/>
                <a:gd name="connsiteY8" fmla="*/ 719054 h 761503"/>
                <a:gd name="connsiteX9" fmla="*/ 74496 w 353555"/>
                <a:gd name="connsiteY9" fmla="*/ 713615 h 761503"/>
                <a:gd name="connsiteX10" fmla="*/ 58178 w 353555"/>
                <a:gd name="connsiteY10" fmla="*/ 697297 h 761503"/>
                <a:gd name="connsiteX11" fmla="*/ 63618 w 353555"/>
                <a:gd name="connsiteY11" fmla="*/ 689138 h 761503"/>
                <a:gd name="connsiteX12" fmla="*/ 85375 w 353555"/>
                <a:gd name="connsiteY12" fmla="*/ 680979 h 761503"/>
                <a:gd name="connsiteX13" fmla="*/ 131609 w 353555"/>
                <a:gd name="connsiteY13" fmla="*/ 675540 h 761503"/>
                <a:gd name="connsiteX14" fmla="*/ 142488 w 353555"/>
                <a:gd name="connsiteY14" fmla="*/ 675540 h 761503"/>
                <a:gd name="connsiteX15" fmla="*/ 131609 w 353555"/>
                <a:gd name="connsiteY15" fmla="*/ 653783 h 761503"/>
                <a:gd name="connsiteX16" fmla="*/ 128890 w 353555"/>
                <a:gd name="connsiteY16" fmla="*/ 640184 h 761503"/>
                <a:gd name="connsiteX17" fmla="*/ 128890 w 353555"/>
                <a:gd name="connsiteY17" fmla="*/ 629306 h 761503"/>
                <a:gd name="connsiteX18" fmla="*/ 128890 w 353555"/>
                <a:gd name="connsiteY18" fmla="*/ 621147 h 761503"/>
                <a:gd name="connsiteX19" fmla="*/ 128890 w 353555"/>
                <a:gd name="connsiteY19" fmla="*/ 593950 h 761503"/>
                <a:gd name="connsiteX20" fmla="*/ 128890 w 353555"/>
                <a:gd name="connsiteY20" fmla="*/ 583072 h 761503"/>
                <a:gd name="connsiteX21" fmla="*/ 128890 w 353555"/>
                <a:gd name="connsiteY21" fmla="*/ 436210 h 761503"/>
                <a:gd name="connsiteX22" fmla="*/ 128890 w 353555"/>
                <a:gd name="connsiteY22" fmla="*/ 357340 h 761503"/>
                <a:gd name="connsiteX23" fmla="*/ 131609 w 353555"/>
                <a:gd name="connsiteY23" fmla="*/ 289349 h 761503"/>
                <a:gd name="connsiteX24" fmla="*/ 131609 w 353555"/>
                <a:gd name="connsiteY24" fmla="*/ 251274 h 761503"/>
                <a:gd name="connsiteX25" fmla="*/ 131609 w 353555"/>
                <a:gd name="connsiteY25" fmla="*/ 205040 h 761503"/>
                <a:gd name="connsiteX26" fmla="*/ 131609 w 353555"/>
                <a:gd name="connsiteY26" fmla="*/ 139768 h 761503"/>
                <a:gd name="connsiteX27" fmla="*/ 131609 w 353555"/>
                <a:gd name="connsiteY27" fmla="*/ 128889 h 761503"/>
                <a:gd name="connsiteX28" fmla="*/ 126170 w 353555"/>
                <a:gd name="connsiteY28" fmla="*/ 128889 h 761503"/>
                <a:gd name="connsiteX29" fmla="*/ 101693 w 353555"/>
                <a:gd name="connsiteY29" fmla="*/ 128889 h 761503"/>
                <a:gd name="connsiteX30" fmla="*/ 74496 w 353555"/>
                <a:gd name="connsiteY30" fmla="*/ 123450 h 761503"/>
                <a:gd name="connsiteX31" fmla="*/ 58178 w 353555"/>
                <a:gd name="connsiteY31" fmla="*/ 107132 h 761503"/>
                <a:gd name="connsiteX32" fmla="*/ 60898 w 353555"/>
                <a:gd name="connsiteY32" fmla="*/ 98973 h 761503"/>
                <a:gd name="connsiteX33" fmla="*/ 82655 w 353555"/>
                <a:gd name="connsiteY33" fmla="*/ 93534 h 761503"/>
                <a:gd name="connsiteX34" fmla="*/ 131609 w 353555"/>
                <a:gd name="connsiteY34" fmla="*/ 88094 h 761503"/>
                <a:gd name="connsiteX35" fmla="*/ 131609 w 353555"/>
                <a:gd name="connsiteY35" fmla="*/ 82655 h 761503"/>
                <a:gd name="connsiteX36" fmla="*/ 134329 w 353555"/>
                <a:gd name="connsiteY36" fmla="*/ 71776 h 761503"/>
                <a:gd name="connsiteX37" fmla="*/ 147927 w 353555"/>
                <a:gd name="connsiteY37" fmla="*/ 63617 h 761503"/>
                <a:gd name="connsiteX38" fmla="*/ 164245 w 353555"/>
                <a:gd name="connsiteY38" fmla="*/ 58178 h 761503"/>
                <a:gd name="connsiteX39" fmla="*/ 177843 w 353555"/>
                <a:gd name="connsiteY39" fmla="*/ 58178 h 761503"/>
                <a:gd name="connsiteX40" fmla="*/ 196881 w 353555"/>
                <a:gd name="connsiteY40" fmla="*/ 60898 h 761503"/>
                <a:gd name="connsiteX41" fmla="*/ 232237 w 353555"/>
                <a:gd name="connsiteY41" fmla="*/ 88094 h 761503"/>
                <a:gd name="connsiteX42" fmla="*/ 278471 w 353555"/>
                <a:gd name="connsiteY42" fmla="*/ 88094 h 761503"/>
                <a:gd name="connsiteX43" fmla="*/ 316546 w 353555"/>
                <a:gd name="connsiteY43" fmla="*/ 104412 h 761503"/>
                <a:gd name="connsiteX44" fmla="*/ 311107 w 353555"/>
                <a:gd name="connsiteY44" fmla="*/ 120730 h 761503"/>
                <a:gd name="connsiteX45" fmla="*/ 294789 w 353555"/>
                <a:gd name="connsiteY45" fmla="*/ 128889 h 761503"/>
                <a:gd name="connsiteX46" fmla="*/ 273032 w 353555"/>
                <a:gd name="connsiteY46" fmla="*/ 131609 h 761503"/>
                <a:gd name="connsiteX47" fmla="*/ 243115 w 353555"/>
                <a:gd name="connsiteY47" fmla="*/ 131609 h 761503"/>
                <a:gd name="connsiteX48" fmla="*/ 243115 w 353555"/>
                <a:gd name="connsiteY48" fmla="*/ 134329 h 761503"/>
                <a:gd name="connsiteX49" fmla="*/ 248554 w 353555"/>
                <a:gd name="connsiteY49" fmla="*/ 169684 h 761503"/>
                <a:gd name="connsiteX50" fmla="*/ 251274 w 353555"/>
                <a:gd name="connsiteY50" fmla="*/ 205040 h 761503"/>
                <a:gd name="connsiteX51" fmla="*/ 251274 w 353555"/>
                <a:gd name="connsiteY51" fmla="*/ 240395 h 761503"/>
                <a:gd name="connsiteX52" fmla="*/ 251274 w 353555"/>
                <a:gd name="connsiteY52" fmla="*/ 256713 h 761503"/>
                <a:gd name="connsiteX53" fmla="*/ 253994 w 353555"/>
                <a:gd name="connsiteY53" fmla="*/ 270311 h 761503"/>
                <a:gd name="connsiteX54" fmla="*/ 259433 w 353555"/>
                <a:gd name="connsiteY54" fmla="*/ 343742 h 761503"/>
                <a:gd name="connsiteX55" fmla="*/ 262153 w 353555"/>
                <a:gd name="connsiteY55" fmla="*/ 425332 h 761503"/>
                <a:gd name="connsiteX56" fmla="*/ 264872 w 353555"/>
                <a:gd name="connsiteY56" fmla="*/ 490603 h 761503"/>
                <a:gd name="connsiteX57" fmla="*/ 270312 w 353555"/>
                <a:gd name="connsiteY57" fmla="*/ 564034 h 761503"/>
                <a:gd name="connsiteX58" fmla="*/ 270312 w 353555"/>
                <a:gd name="connsiteY58" fmla="*/ 599390 h 761503"/>
                <a:gd name="connsiteX59" fmla="*/ 270312 w 353555"/>
                <a:gd name="connsiteY59" fmla="*/ 637465 h 761503"/>
                <a:gd name="connsiteX60" fmla="*/ 264872 w 353555"/>
                <a:gd name="connsiteY60" fmla="*/ 670101 h 761503"/>
                <a:gd name="connsiteX61" fmla="*/ 283910 w 353555"/>
                <a:gd name="connsiteY61" fmla="*/ 672820 h 761503"/>
                <a:gd name="connsiteX62" fmla="*/ 283910 w 353555"/>
                <a:gd name="connsiteY62" fmla="*/ 672820 h 761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</a:cxnLst>
              <a:rect l="l" t="t" r="r" b="b"/>
              <a:pathLst>
                <a:path w="353555" h="761503">
                  <a:moveTo>
                    <a:pt x="283910" y="672820"/>
                  </a:moveTo>
                  <a:cubicBezTo>
                    <a:pt x="297508" y="672820"/>
                    <a:pt x="321985" y="672820"/>
                    <a:pt x="321985" y="689138"/>
                  </a:cubicBezTo>
                  <a:cubicBezTo>
                    <a:pt x="321985" y="697297"/>
                    <a:pt x="319266" y="697297"/>
                    <a:pt x="316546" y="705456"/>
                  </a:cubicBezTo>
                  <a:cubicBezTo>
                    <a:pt x="311107" y="710895"/>
                    <a:pt x="305667" y="713615"/>
                    <a:pt x="300228" y="713615"/>
                  </a:cubicBezTo>
                  <a:cubicBezTo>
                    <a:pt x="292069" y="716335"/>
                    <a:pt x="283910" y="716335"/>
                    <a:pt x="278471" y="716335"/>
                  </a:cubicBezTo>
                  <a:cubicBezTo>
                    <a:pt x="275751" y="716335"/>
                    <a:pt x="256713" y="716335"/>
                    <a:pt x="237676" y="716335"/>
                  </a:cubicBezTo>
                  <a:cubicBezTo>
                    <a:pt x="213199" y="716335"/>
                    <a:pt x="186003" y="719054"/>
                    <a:pt x="180563" y="719054"/>
                  </a:cubicBezTo>
                  <a:cubicBezTo>
                    <a:pt x="166965" y="719054"/>
                    <a:pt x="142488" y="719054"/>
                    <a:pt x="126170" y="719054"/>
                  </a:cubicBezTo>
                  <a:cubicBezTo>
                    <a:pt x="118011" y="719054"/>
                    <a:pt x="109852" y="719054"/>
                    <a:pt x="101693" y="719054"/>
                  </a:cubicBezTo>
                  <a:cubicBezTo>
                    <a:pt x="93534" y="719054"/>
                    <a:pt x="82655" y="719054"/>
                    <a:pt x="74496" y="713615"/>
                  </a:cubicBezTo>
                  <a:cubicBezTo>
                    <a:pt x="66337" y="710895"/>
                    <a:pt x="58178" y="702736"/>
                    <a:pt x="58178" y="697297"/>
                  </a:cubicBezTo>
                  <a:cubicBezTo>
                    <a:pt x="58178" y="694578"/>
                    <a:pt x="58178" y="691858"/>
                    <a:pt x="63618" y="689138"/>
                  </a:cubicBezTo>
                  <a:cubicBezTo>
                    <a:pt x="69057" y="686418"/>
                    <a:pt x="79936" y="683699"/>
                    <a:pt x="85375" y="680979"/>
                  </a:cubicBezTo>
                  <a:cubicBezTo>
                    <a:pt x="104413" y="678260"/>
                    <a:pt x="123450" y="675540"/>
                    <a:pt x="131609" y="675540"/>
                  </a:cubicBezTo>
                  <a:cubicBezTo>
                    <a:pt x="134329" y="675540"/>
                    <a:pt x="137049" y="675540"/>
                    <a:pt x="142488" y="675540"/>
                  </a:cubicBezTo>
                  <a:cubicBezTo>
                    <a:pt x="134329" y="670101"/>
                    <a:pt x="131609" y="661942"/>
                    <a:pt x="131609" y="653783"/>
                  </a:cubicBezTo>
                  <a:cubicBezTo>
                    <a:pt x="131609" y="648343"/>
                    <a:pt x="131609" y="642904"/>
                    <a:pt x="128890" y="640184"/>
                  </a:cubicBezTo>
                  <a:cubicBezTo>
                    <a:pt x="128890" y="637465"/>
                    <a:pt x="128890" y="634745"/>
                    <a:pt x="128890" y="629306"/>
                  </a:cubicBezTo>
                  <a:cubicBezTo>
                    <a:pt x="128890" y="626586"/>
                    <a:pt x="128890" y="623867"/>
                    <a:pt x="128890" y="621147"/>
                  </a:cubicBezTo>
                  <a:cubicBezTo>
                    <a:pt x="128890" y="612988"/>
                    <a:pt x="128890" y="604829"/>
                    <a:pt x="128890" y="593950"/>
                  </a:cubicBezTo>
                  <a:cubicBezTo>
                    <a:pt x="128890" y="591231"/>
                    <a:pt x="128890" y="585791"/>
                    <a:pt x="128890" y="583072"/>
                  </a:cubicBezTo>
                  <a:cubicBezTo>
                    <a:pt x="128890" y="534118"/>
                    <a:pt x="131609" y="485164"/>
                    <a:pt x="128890" y="436210"/>
                  </a:cubicBezTo>
                  <a:cubicBezTo>
                    <a:pt x="128890" y="409014"/>
                    <a:pt x="128890" y="384537"/>
                    <a:pt x="128890" y="357340"/>
                  </a:cubicBezTo>
                  <a:cubicBezTo>
                    <a:pt x="128890" y="335583"/>
                    <a:pt x="131609" y="313826"/>
                    <a:pt x="131609" y="289349"/>
                  </a:cubicBezTo>
                  <a:cubicBezTo>
                    <a:pt x="131609" y="275751"/>
                    <a:pt x="131609" y="264872"/>
                    <a:pt x="131609" y="251274"/>
                  </a:cubicBezTo>
                  <a:cubicBezTo>
                    <a:pt x="131609" y="234956"/>
                    <a:pt x="131609" y="221357"/>
                    <a:pt x="131609" y="205040"/>
                  </a:cubicBezTo>
                  <a:cubicBezTo>
                    <a:pt x="131609" y="183282"/>
                    <a:pt x="131609" y="161525"/>
                    <a:pt x="131609" y="139768"/>
                  </a:cubicBezTo>
                  <a:cubicBezTo>
                    <a:pt x="131609" y="137048"/>
                    <a:pt x="131609" y="134329"/>
                    <a:pt x="131609" y="128889"/>
                  </a:cubicBezTo>
                  <a:cubicBezTo>
                    <a:pt x="128890" y="128889"/>
                    <a:pt x="126170" y="128889"/>
                    <a:pt x="126170" y="128889"/>
                  </a:cubicBezTo>
                  <a:cubicBezTo>
                    <a:pt x="118011" y="128889"/>
                    <a:pt x="109852" y="128889"/>
                    <a:pt x="101693" y="128889"/>
                  </a:cubicBezTo>
                  <a:cubicBezTo>
                    <a:pt x="93534" y="128889"/>
                    <a:pt x="82655" y="128889"/>
                    <a:pt x="74496" y="123450"/>
                  </a:cubicBezTo>
                  <a:cubicBezTo>
                    <a:pt x="66337" y="120730"/>
                    <a:pt x="58178" y="112571"/>
                    <a:pt x="58178" y="107132"/>
                  </a:cubicBezTo>
                  <a:cubicBezTo>
                    <a:pt x="58178" y="104412"/>
                    <a:pt x="58178" y="101693"/>
                    <a:pt x="60898" y="98973"/>
                  </a:cubicBezTo>
                  <a:cubicBezTo>
                    <a:pt x="63618" y="96253"/>
                    <a:pt x="77216" y="93534"/>
                    <a:pt x="82655" y="93534"/>
                  </a:cubicBezTo>
                  <a:cubicBezTo>
                    <a:pt x="98973" y="90814"/>
                    <a:pt x="123450" y="88094"/>
                    <a:pt x="131609" y="88094"/>
                  </a:cubicBezTo>
                  <a:cubicBezTo>
                    <a:pt x="131609" y="85375"/>
                    <a:pt x="131609" y="85375"/>
                    <a:pt x="131609" y="82655"/>
                  </a:cubicBezTo>
                  <a:cubicBezTo>
                    <a:pt x="131609" y="77216"/>
                    <a:pt x="131609" y="74496"/>
                    <a:pt x="134329" y="71776"/>
                  </a:cubicBezTo>
                  <a:cubicBezTo>
                    <a:pt x="137049" y="69057"/>
                    <a:pt x="145208" y="66337"/>
                    <a:pt x="147927" y="63617"/>
                  </a:cubicBezTo>
                  <a:cubicBezTo>
                    <a:pt x="153366" y="60898"/>
                    <a:pt x="158806" y="58178"/>
                    <a:pt x="164245" y="58178"/>
                  </a:cubicBezTo>
                  <a:cubicBezTo>
                    <a:pt x="169684" y="58178"/>
                    <a:pt x="175124" y="58178"/>
                    <a:pt x="177843" y="58178"/>
                  </a:cubicBezTo>
                  <a:cubicBezTo>
                    <a:pt x="183283" y="58178"/>
                    <a:pt x="191442" y="58178"/>
                    <a:pt x="196881" y="60898"/>
                  </a:cubicBezTo>
                  <a:cubicBezTo>
                    <a:pt x="213199" y="63617"/>
                    <a:pt x="224078" y="74496"/>
                    <a:pt x="232237" y="88094"/>
                  </a:cubicBezTo>
                  <a:cubicBezTo>
                    <a:pt x="253994" y="88094"/>
                    <a:pt x="270312" y="88094"/>
                    <a:pt x="278471" y="88094"/>
                  </a:cubicBezTo>
                  <a:cubicBezTo>
                    <a:pt x="292069" y="88094"/>
                    <a:pt x="316546" y="88094"/>
                    <a:pt x="316546" y="104412"/>
                  </a:cubicBezTo>
                  <a:cubicBezTo>
                    <a:pt x="316546" y="112571"/>
                    <a:pt x="313826" y="112571"/>
                    <a:pt x="311107" y="120730"/>
                  </a:cubicBezTo>
                  <a:cubicBezTo>
                    <a:pt x="305667" y="126170"/>
                    <a:pt x="300228" y="128889"/>
                    <a:pt x="294789" y="128889"/>
                  </a:cubicBezTo>
                  <a:cubicBezTo>
                    <a:pt x="286630" y="131609"/>
                    <a:pt x="278471" y="131609"/>
                    <a:pt x="273032" y="131609"/>
                  </a:cubicBezTo>
                  <a:cubicBezTo>
                    <a:pt x="270312" y="131609"/>
                    <a:pt x="259433" y="131609"/>
                    <a:pt x="243115" y="131609"/>
                  </a:cubicBezTo>
                  <a:lnTo>
                    <a:pt x="243115" y="134329"/>
                  </a:lnTo>
                  <a:cubicBezTo>
                    <a:pt x="245835" y="145207"/>
                    <a:pt x="245835" y="158805"/>
                    <a:pt x="248554" y="169684"/>
                  </a:cubicBezTo>
                  <a:cubicBezTo>
                    <a:pt x="251274" y="180563"/>
                    <a:pt x="251274" y="194161"/>
                    <a:pt x="251274" y="205040"/>
                  </a:cubicBezTo>
                  <a:cubicBezTo>
                    <a:pt x="251274" y="215918"/>
                    <a:pt x="251274" y="226797"/>
                    <a:pt x="251274" y="240395"/>
                  </a:cubicBezTo>
                  <a:cubicBezTo>
                    <a:pt x="251274" y="245834"/>
                    <a:pt x="251274" y="251274"/>
                    <a:pt x="251274" y="256713"/>
                  </a:cubicBezTo>
                  <a:cubicBezTo>
                    <a:pt x="251274" y="262152"/>
                    <a:pt x="251274" y="267592"/>
                    <a:pt x="253994" y="270311"/>
                  </a:cubicBezTo>
                  <a:cubicBezTo>
                    <a:pt x="256713" y="294788"/>
                    <a:pt x="256713" y="319265"/>
                    <a:pt x="259433" y="343742"/>
                  </a:cubicBezTo>
                  <a:cubicBezTo>
                    <a:pt x="259433" y="370939"/>
                    <a:pt x="262153" y="398135"/>
                    <a:pt x="262153" y="425332"/>
                  </a:cubicBezTo>
                  <a:cubicBezTo>
                    <a:pt x="262153" y="447089"/>
                    <a:pt x="262153" y="468846"/>
                    <a:pt x="264872" y="490603"/>
                  </a:cubicBezTo>
                  <a:cubicBezTo>
                    <a:pt x="264872" y="515080"/>
                    <a:pt x="270312" y="539557"/>
                    <a:pt x="270312" y="564034"/>
                  </a:cubicBezTo>
                  <a:cubicBezTo>
                    <a:pt x="270312" y="574913"/>
                    <a:pt x="270312" y="588511"/>
                    <a:pt x="270312" y="599390"/>
                  </a:cubicBezTo>
                  <a:cubicBezTo>
                    <a:pt x="270312" y="612988"/>
                    <a:pt x="270312" y="623867"/>
                    <a:pt x="270312" y="637465"/>
                  </a:cubicBezTo>
                  <a:cubicBezTo>
                    <a:pt x="270312" y="648343"/>
                    <a:pt x="270312" y="661942"/>
                    <a:pt x="264872" y="670101"/>
                  </a:cubicBezTo>
                  <a:cubicBezTo>
                    <a:pt x="273032" y="672820"/>
                    <a:pt x="278471" y="672820"/>
                    <a:pt x="283910" y="672820"/>
                  </a:cubicBezTo>
                  <a:lnTo>
                    <a:pt x="283910" y="672820"/>
                  </a:ln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1" name="Freeform: Shape 50">
              <a:extLst>
                <a:ext uri="{FF2B5EF4-FFF2-40B4-BE49-F238E27FC236}">
                  <a16:creationId xmlns:a16="http://schemas.microsoft.com/office/drawing/2014/main" id="{BF1535FC-5A93-427B-B4B5-A62EC2FC69C2}"/>
                </a:ext>
              </a:extLst>
            </p:cNvPr>
            <p:cNvSpPr/>
            <p:nvPr/>
          </p:nvSpPr>
          <p:spPr>
            <a:xfrm>
              <a:off x="8652924" y="4192158"/>
              <a:ext cx="516735" cy="788700"/>
            </a:xfrm>
            <a:custGeom>
              <a:avLst/>
              <a:gdLst>
                <a:gd name="connsiteX0" fmla="*/ 464616 w 516735"/>
                <a:gd name="connsiteY0" fmla="*/ 436210 h 788699"/>
                <a:gd name="connsiteX1" fmla="*/ 445578 w 516735"/>
                <a:gd name="connsiteY1" fmla="*/ 455248 h 788699"/>
                <a:gd name="connsiteX2" fmla="*/ 404783 w 516735"/>
                <a:gd name="connsiteY2" fmla="*/ 466126 h 788699"/>
                <a:gd name="connsiteX3" fmla="*/ 385746 w 516735"/>
                <a:gd name="connsiteY3" fmla="*/ 479725 h 788699"/>
                <a:gd name="connsiteX4" fmla="*/ 388466 w 516735"/>
                <a:gd name="connsiteY4" fmla="*/ 512361 h 788699"/>
                <a:gd name="connsiteX5" fmla="*/ 388466 w 516735"/>
                <a:gd name="connsiteY5" fmla="*/ 544997 h 788699"/>
                <a:gd name="connsiteX6" fmla="*/ 388466 w 516735"/>
                <a:gd name="connsiteY6" fmla="*/ 566754 h 788699"/>
                <a:gd name="connsiteX7" fmla="*/ 391185 w 516735"/>
                <a:gd name="connsiteY7" fmla="*/ 632026 h 788699"/>
                <a:gd name="connsiteX8" fmla="*/ 393905 w 516735"/>
                <a:gd name="connsiteY8" fmla="*/ 683699 h 788699"/>
                <a:gd name="connsiteX9" fmla="*/ 377587 w 516735"/>
                <a:gd name="connsiteY9" fmla="*/ 724494 h 788699"/>
                <a:gd name="connsiteX10" fmla="*/ 361269 w 516735"/>
                <a:gd name="connsiteY10" fmla="*/ 719054 h 788699"/>
                <a:gd name="connsiteX11" fmla="*/ 353110 w 516735"/>
                <a:gd name="connsiteY11" fmla="*/ 702737 h 788699"/>
                <a:gd name="connsiteX12" fmla="*/ 350390 w 516735"/>
                <a:gd name="connsiteY12" fmla="*/ 686419 h 788699"/>
                <a:gd name="connsiteX13" fmla="*/ 353110 w 516735"/>
                <a:gd name="connsiteY13" fmla="*/ 659222 h 788699"/>
                <a:gd name="connsiteX14" fmla="*/ 353110 w 516735"/>
                <a:gd name="connsiteY14" fmla="*/ 656502 h 788699"/>
                <a:gd name="connsiteX15" fmla="*/ 317754 w 516735"/>
                <a:gd name="connsiteY15" fmla="*/ 708176 h 788699"/>
                <a:gd name="connsiteX16" fmla="*/ 241604 w 516735"/>
                <a:gd name="connsiteY16" fmla="*/ 735372 h 788699"/>
                <a:gd name="connsiteX17" fmla="*/ 187211 w 516735"/>
                <a:gd name="connsiteY17" fmla="*/ 727214 h 788699"/>
                <a:gd name="connsiteX18" fmla="*/ 135537 w 516735"/>
                <a:gd name="connsiteY18" fmla="*/ 694578 h 788699"/>
                <a:gd name="connsiteX19" fmla="*/ 86583 w 516735"/>
                <a:gd name="connsiteY19" fmla="*/ 621147 h 788699"/>
                <a:gd name="connsiteX20" fmla="*/ 67546 w 516735"/>
                <a:gd name="connsiteY20" fmla="*/ 555875 h 788699"/>
                <a:gd name="connsiteX21" fmla="*/ 59387 w 516735"/>
                <a:gd name="connsiteY21" fmla="*/ 509641 h 788699"/>
                <a:gd name="connsiteX22" fmla="*/ 59387 w 516735"/>
                <a:gd name="connsiteY22" fmla="*/ 468846 h 788699"/>
                <a:gd name="connsiteX23" fmla="*/ 86583 w 516735"/>
                <a:gd name="connsiteY23" fmla="*/ 302947 h 788699"/>
                <a:gd name="connsiteX24" fmla="*/ 108341 w 516735"/>
                <a:gd name="connsiteY24" fmla="*/ 224077 h 788699"/>
                <a:gd name="connsiteX25" fmla="*/ 146416 w 516735"/>
                <a:gd name="connsiteY25" fmla="*/ 145207 h 788699"/>
                <a:gd name="connsiteX26" fmla="*/ 198090 w 516735"/>
                <a:gd name="connsiteY26" fmla="*/ 85375 h 788699"/>
                <a:gd name="connsiteX27" fmla="*/ 228006 w 516735"/>
                <a:gd name="connsiteY27" fmla="*/ 69057 h 788699"/>
                <a:gd name="connsiteX28" fmla="*/ 268801 w 516735"/>
                <a:gd name="connsiteY28" fmla="*/ 58178 h 788699"/>
                <a:gd name="connsiteX29" fmla="*/ 274240 w 516735"/>
                <a:gd name="connsiteY29" fmla="*/ 58178 h 788699"/>
                <a:gd name="connsiteX30" fmla="*/ 295997 w 516735"/>
                <a:gd name="connsiteY30" fmla="*/ 60898 h 788699"/>
                <a:gd name="connsiteX31" fmla="*/ 331353 w 516735"/>
                <a:gd name="connsiteY31" fmla="*/ 71776 h 788699"/>
                <a:gd name="connsiteX32" fmla="*/ 350390 w 516735"/>
                <a:gd name="connsiteY32" fmla="*/ 93534 h 788699"/>
                <a:gd name="connsiteX33" fmla="*/ 353110 w 516735"/>
                <a:gd name="connsiteY33" fmla="*/ 74496 h 788699"/>
                <a:gd name="connsiteX34" fmla="*/ 358549 w 516735"/>
                <a:gd name="connsiteY34" fmla="*/ 63618 h 788699"/>
                <a:gd name="connsiteX35" fmla="*/ 366708 w 516735"/>
                <a:gd name="connsiteY35" fmla="*/ 58178 h 788699"/>
                <a:gd name="connsiteX36" fmla="*/ 374867 w 516735"/>
                <a:gd name="connsiteY36" fmla="*/ 63618 h 788699"/>
                <a:gd name="connsiteX37" fmla="*/ 383027 w 516735"/>
                <a:gd name="connsiteY37" fmla="*/ 82655 h 788699"/>
                <a:gd name="connsiteX38" fmla="*/ 385746 w 516735"/>
                <a:gd name="connsiteY38" fmla="*/ 126170 h 788699"/>
                <a:gd name="connsiteX39" fmla="*/ 388466 w 516735"/>
                <a:gd name="connsiteY39" fmla="*/ 186002 h 788699"/>
                <a:gd name="connsiteX40" fmla="*/ 391185 w 516735"/>
                <a:gd name="connsiteY40" fmla="*/ 237676 h 788699"/>
                <a:gd name="connsiteX41" fmla="*/ 374867 w 516735"/>
                <a:gd name="connsiteY41" fmla="*/ 278470 h 788699"/>
                <a:gd name="connsiteX42" fmla="*/ 358549 w 516735"/>
                <a:gd name="connsiteY42" fmla="*/ 273031 h 788699"/>
                <a:gd name="connsiteX43" fmla="*/ 350390 w 516735"/>
                <a:gd name="connsiteY43" fmla="*/ 256713 h 788699"/>
                <a:gd name="connsiteX44" fmla="*/ 347671 w 516735"/>
                <a:gd name="connsiteY44" fmla="*/ 240395 h 788699"/>
                <a:gd name="connsiteX45" fmla="*/ 347671 w 516735"/>
                <a:gd name="connsiteY45" fmla="*/ 213199 h 788699"/>
                <a:gd name="connsiteX46" fmla="*/ 344951 w 516735"/>
                <a:gd name="connsiteY46" fmla="*/ 194161 h 788699"/>
                <a:gd name="connsiteX47" fmla="*/ 339512 w 516735"/>
                <a:gd name="connsiteY47" fmla="*/ 150647 h 788699"/>
                <a:gd name="connsiteX48" fmla="*/ 323194 w 516735"/>
                <a:gd name="connsiteY48" fmla="*/ 112571 h 788699"/>
                <a:gd name="connsiteX49" fmla="*/ 293278 w 516735"/>
                <a:gd name="connsiteY49" fmla="*/ 101693 h 788699"/>
                <a:gd name="connsiteX50" fmla="*/ 263361 w 516735"/>
                <a:gd name="connsiteY50" fmla="*/ 120730 h 788699"/>
                <a:gd name="connsiteX51" fmla="*/ 241604 w 516735"/>
                <a:gd name="connsiteY51" fmla="*/ 153366 h 788699"/>
                <a:gd name="connsiteX52" fmla="*/ 233445 w 516735"/>
                <a:gd name="connsiteY52" fmla="*/ 194161 h 788699"/>
                <a:gd name="connsiteX53" fmla="*/ 225286 w 516735"/>
                <a:gd name="connsiteY53" fmla="*/ 232236 h 788699"/>
                <a:gd name="connsiteX54" fmla="*/ 217127 w 516735"/>
                <a:gd name="connsiteY54" fmla="*/ 275751 h 788699"/>
                <a:gd name="connsiteX55" fmla="*/ 211688 w 516735"/>
                <a:gd name="connsiteY55" fmla="*/ 316545 h 788699"/>
                <a:gd name="connsiteX56" fmla="*/ 206249 w 516735"/>
                <a:gd name="connsiteY56" fmla="*/ 354621 h 788699"/>
                <a:gd name="connsiteX57" fmla="*/ 200809 w 516735"/>
                <a:gd name="connsiteY57" fmla="*/ 398135 h 788699"/>
                <a:gd name="connsiteX58" fmla="*/ 195370 w 516735"/>
                <a:gd name="connsiteY58" fmla="*/ 438930 h 788699"/>
                <a:gd name="connsiteX59" fmla="*/ 192650 w 516735"/>
                <a:gd name="connsiteY59" fmla="*/ 474286 h 788699"/>
                <a:gd name="connsiteX60" fmla="*/ 195370 w 516735"/>
                <a:gd name="connsiteY60" fmla="*/ 525959 h 788699"/>
                <a:gd name="connsiteX61" fmla="*/ 208968 w 516735"/>
                <a:gd name="connsiteY61" fmla="*/ 596670 h 788699"/>
                <a:gd name="connsiteX62" fmla="*/ 214407 w 516735"/>
                <a:gd name="connsiteY62" fmla="*/ 623867 h 788699"/>
                <a:gd name="connsiteX63" fmla="*/ 228006 w 516735"/>
                <a:gd name="connsiteY63" fmla="*/ 656502 h 788699"/>
                <a:gd name="connsiteX64" fmla="*/ 271520 w 516735"/>
                <a:gd name="connsiteY64" fmla="*/ 689138 h 788699"/>
                <a:gd name="connsiteX65" fmla="*/ 306876 w 516735"/>
                <a:gd name="connsiteY65" fmla="*/ 664661 h 788699"/>
                <a:gd name="connsiteX66" fmla="*/ 331353 w 516735"/>
                <a:gd name="connsiteY66" fmla="*/ 602109 h 788699"/>
                <a:gd name="connsiteX67" fmla="*/ 336792 w 516735"/>
                <a:gd name="connsiteY67" fmla="*/ 544997 h 788699"/>
                <a:gd name="connsiteX68" fmla="*/ 336792 w 516735"/>
                <a:gd name="connsiteY68" fmla="*/ 498762 h 788699"/>
                <a:gd name="connsiteX69" fmla="*/ 336792 w 516735"/>
                <a:gd name="connsiteY69" fmla="*/ 490603 h 788699"/>
                <a:gd name="connsiteX70" fmla="*/ 320474 w 516735"/>
                <a:gd name="connsiteY70" fmla="*/ 477005 h 788699"/>
                <a:gd name="connsiteX71" fmla="*/ 282399 w 516735"/>
                <a:gd name="connsiteY71" fmla="*/ 479725 h 788699"/>
                <a:gd name="connsiteX72" fmla="*/ 252483 w 516735"/>
                <a:gd name="connsiteY72" fmla="*/ 474286 h 788699"/>
                <a:gd name="connsiteX73" fmla="*/ 247044 w 516735"/>
                <a:gd name="connsiteY73" fmla="*/ 466126 h 788699"/>
                <a:gd name="connsiteX74" fmla="*/ 249763 w 516735"/>
                <a:gd name="connsiteY74" fmla="*/ 457968 h 788699"/>
                <a:gd name="connsiteX75" fmla="*/ 268801 w 516735"/>
                <a:gd name="connsiteY75" fmla="*/ 447089 h 788699"/>
                <a:gd name="connsiteX76" fmla="*/ 312315 w 516735"/>
                <a:gd name="connsiteY76" fmla="*/ 436210 h 788699"/>
                <a:gd name="connsiteX77" fmla="*/ 353110 w 516735"/>
                <a:gd name="connsiteY77" fmla="*/ 430771 h 788699"/>
                <a:gd name="connsiteX78" fmla="*/ 385746 w 516735"/>
                <a:gd name="connsiteY78" fmla="*/ 430771 h 788699"/>
                <a:gd name="connsiteX79" fmla="*/ 437420 w 516735"/>
                <a:gd name="connsiteY79" fmla="*/ 428051 h 788699"/>
                <a:gd name="connsiteX80" fmla="*/ 464616 w 516735"/>
                <a:gd name="connsiteY80" fmla="*/ 436210 h 7886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</a:cxnLst>
              <a:rect l="l" t="t" r="r" b="b"/>
              <a:pathLst>
                <a:path w="516735" h="788699">
                  <a:moveTo>
                    <a:pt x="464616" y="436210"/>
                  </a:moveTo>
                  <a:cubicBezTo>
                    <a:pt x="464616" y="447089"/>
                    <a:pt x="453738" y="452528"/>
                    <a:pt x="445578" y="455248"/>
                  </a:cubicBezTo>
                  <a:cubicBezTo>
                    <a:pt x="434700" y="460687"/>
                    <a:pt x="415662" y="463407"/>
                    <a:pt x="404783" y="466126"/>
                  </a:cubicBezTo>
                  <a:cubicBezTo>
                    <a:pt x="393905" y="466126"/>
                    <a:pt x="385746" y="468846"/>
                    <a:pt x="385746" y="479725"/>
                  </a:cubicBezTo>
                  <a:cubicBezTo>
                    <a:pt x="385746" y="487884"/>
                    <a:pt x="388466" y="506921"/>
                    <a:pt x="388466" y="512361"/>
                  </a:cubicBezTo>
                  <a:cubicBezTo>
                    <a:pt x="388466" y="515080"/>
                    <a:pt x="388466" y="539557"/>
                    <a:pt x="388466" y="544997"/>
                  </a:cubicBezTo>
                  <a:cubicBezTo>
                    <a:pt x="388466" y="550436"/>
                    <a:pt x="388466" y="558595"/>
                    <a:pt x="388466" y="566754"/>
                  </a:cubicBezTo>
                  <a:cubicBezTo>
                    <a:pt x="388466" y="591231"/>
                    <a:pt x="388466" y="621147"/>
                    <a:pt x="391185" y="632026"/>
                  </a:cubicBezTo>
                  <a:cubicBezTo>
                    <a:pt x="393905" y="653783"/>
                    <a:pt x="393905" y="661942"/>
                    <a:pt x="393905" y="683699"/>
                  </a:cubicBezTo>
                  <a:cubicBezTo>
                    <a:pt x="393905" y="694578"/>
                    <a:pt x="393905" y="724494"/>
                    <a:pt x="377587" y="724494"/>
                  </a:cubicBezTo>
                  <a:cubicBezTo>
                    <a:pt x="369428" y="724494"/>
                    <a:pt x="366708" y="721774"/>
                    <a:pt x="361269" y="719054"/>
                  </a:cubicBezTo>
                  <a:cubicBezTo>
                    <a:pt x="355830" y="716335"/>
                    <a:pt x="353110" y="708176"/>
                    <a:pt x="353110" y="702737"/>
                  </a:cubicBezTo>
                  <a:cubicBezTo>
                    <a:pt x="350390" y="694578"/>
                    <a:pt x="350390" y="689138"/>
                    <a:pt x="350390" y="686419"/>
                  </a:cubicBezTo>
                  <a:cubicBezTo>
                    <a:pt x="350390" y="678260"/>
                    <a:pt x="353110" y="672820"/>
                    <a:pt x="353110" y="659222"/>
                  </a:cubicBezTo>
                  <a:lnTo>
                    <a:pt x="353110" y="656502"/>
                  </a:lnTo>
                  <a:cubicBezTo>
                    <a:pt x="347671" y="675540"/>
                    <a:pt x="334073" y="694578"/>
                    <a:pt x="317754" y="708176"/>
                  </a:cubicBezTo>
                  <a:cubicBezTo>
                    <a:pt x="293278" y="727214"/>
                    <a:pt x="274240" y="735372"/>
                    <a:pt x="241604" y="735372"/>
                  </a:cubicBezTo>
                  <a:cubicBezTo>
                    <a:pt x="222566" y="735372"/>
                    <a:pt x="203529" y="732653"/>
                    <a:pt x="187211" y="727214"/>
                  </a:cubicBezTo>
                  <a:cubicBezTo>
                    <a:pt x="165454" y="719054"/>
                    <a:pt x="149136" y="708176"/>
                    <a:pt x="135537" y="694578"/>
                  </a:cubicBezTo>
                  <a:cubicBezTo>
                    <a:pt x="113780" y="672820"/>
                    <a:pt x="100182" y="648343"/>
                    <a:pt x="86583" y="621147"/>
                  </a:cubicBezTo>
                  <a:cubicBezTo>
                    <a:pt x="75705" y="599390"/>
                    <a:pt x="70266" y="580352"/>
                    <a:pt x="67546" y="555875"/>
                  </a:cubicBezTo>
                  <a:cubicBezTo>
                    <a:pt x="64826" y="539557"/>
                    <a:pt x="62107" y="525959"/>
                    <a:pt x="59387" y="509641"/>
                  </a:cubicBezTo>
                  <a:cubicBezTo>
                    <a:pt x="56667" y="493323"/>
                    <a:pt x="59387" y="485164"/>
                    <a:pt x="59387" y="468846"/>
                  </a:cubicBezTo>
                  <a:cubicBezTo>
                    <a:pt x="59387" y="414453"/>
                    <a:pt x="72985" y="362780"/>
                    <a:pt x="86583" y="302947"/>
                  </a:cubicBezTo>
                  <a:cubicBezTo>
                    <a:pt x="92023" y="275751"/>
                    <a:pt x="100182" y="248554"/>
                    <a:pt x="108341" y="224077"/>
                  </a:cubicBezTo>
                  <a:cubicBezTo>
                    <a:pt x="116500" y="196881"/>
                    <a:pt x="130098" y="169684"/>
                    <a:pt x="146416" y="145207"/>
                  </a:cubicBezTo>
                  <a:cubicBezTo>
                    <a:pt x="160014" y="123450"/>
                    <a:pt x="176332" y="101693"/>
                    <a:pt x="198090" y="85375"/>
                  </a:cubicBezTo>
                  <a:cubicBezTo>
                    <a:pt x="206249" y="77216"/>
                    <a:pt x="217127" y="71776"/>
                    <a:pt x="228006" y="69057"/>
                  </a:cubicBezTo>
                  <a:cubicBezTo>
                    <a:pt x="241604" y="63618"/>
                    <a:pt x="255202" y="58178"/>
                    <a:pt x="268801" y="58178"/>
                  </a:cubicBezTo>
                  <a:cubicBezTo>
                    <a:pt x="271520" y="58178"/>
                    <a:pt x="274240" y="58178"/>
                    <a:pt x="274240" y="58178"/>
                  </a:cubicBezTo>
                  <a:cubicBezTo>
                    <a:pt x="279679" y="58178"/>
                    <a:pt x="285119" y="58178"/>
                    <a:pt x="295997" y="60898"/>
                  </a:cubicBezTo>
                  <a:cubicBezTo>
                    <a:pt x="309595" y="63618"/>
                    <a:pt x="320474" y="66337"/>
                    <a:pt x="331353" y="71776"/>
                  </a:cubicBezTo>
                  <a:cubicBezTo>
                    <a:pt x="339512" y="77216"/>
                    <a:pt x="347671" y="85375"/>
                    <a:pt x="350390" y="93534"/>
                  </a:cubicBezTo>
                  <a:cubicBezTo>
                    <a:pt x="350390" y="88095"/>
                    <a:pt x="353110" y="79936"/>
                    <a:pt x="353110" y="74496"/>
                  </a:cubicBezTo>
                  <a:cubicBezTo>
                    <a:pt x="355830" y="71776"/>
                    <a:pt x="355830" y="69057"/>
                    <a:pt x="358549" y="63618"/>
                  </a:cubicBezTo>
                  <a:cubicBezTo>
                    <a:pt x="361269" y="60898"/>
                    <a:pt x="363989" y="58178"/>
                    <a:pt x="366708" y="58178"/>
                  </a:cubicBezTo>
                  <a:cubicBezTo>
                    <a:pt x="369428" y="58178"/>
                    <a:pt x="372148" y="60898"/>
                    <a:pt x="374867" y="63618"/>
                  </a:cubicBezTo>
                  <a:cubicBezTo>
                    <a:pt x="377587" y="69057"/>
                    <a:pt x="380307" y="77216"/>
                    <a:pt x="383027" y="82655"/>
                  </a:cubicBezTo>
                  <a:cubicBezTo>
                    <a:pt x="383027" y="90814"/>
                    <a:pt x="385746" y="107132"/>
                    <a:pt x="385746" y="126170"/>
                  </a:cubicBezTo>
                  <a:cubicBezTo>
                    <a:pt x="385746" y="150647"/>
                    <a:pt x="385746" y="177843"/>
                    <a:pt x="388466" y="186002"/>
                  </a:cubicBezTo>
                  <a:cubicBezTo>
                    <a:pt x="391185" y="207759"/>
                    <a:pt x="391185" y="215918"/>
                    <a:pt x="391185" y="237676"/>
                  </a:cubicBezTo>
                  <a:cubicBezTo>
                    <a:pt x="391185" y="248554"/>
                    <a:pt x="391185" y="278470"/>
                    <a:pt x="374867" y="278470"/>
                  </a:cubicBezTo>
                  <a:cubicBezTo>
                    <a:pt x="366708" y="278470"/>
                    <a:pt x="363989" y="275751"/>
                    <a:pt x="358549" y="273031"/>
                  </a:cubicBezTo>
                  <a:cubicBezTo>
                    <a:pt x="353110" y="270311"/>
                    <a:pt x="350390" y="262152"/>
                    <a:pt x="350390" y="256713"/>
                  </a:cubicBezTo>
                  <a:cubicBezTo>
                    <a:pt x="350390" y="251274"/>
                    <a:pt x="347671" y="245834"/>
                    <a:pt x="347671" y="240395"/>
                  </a:cubicBezTo>
                  <a:cubicBezTo>
                    <a:pt x="347671" y="232236"/>
                    <a:pt x="347671" y="224077"/>
                    <a:pt x="347671" y="213199"/>
                  </a:cubicBezTo>
                  <a:cubicBezTo>
                    <a:pt x="347671" y="207759"/>
                    <a:pt x="347671" y="199600"/>
                    <a:pt x="344951" y="194161"/>
                  </a:cubicBezTo>
                  <a:cubicBezTo>
                    <a:pt x="342232" y="180563"/>
                    <a:pt x="342232" y="164245"/>
                    <a:pt x="339512" y="150647"/>
                  </a:cubicBezTo>
                  <a:cubicBezTo>
                    <a:pt x="336792" y="137048"/>
                    <a:pt x="331353" y="123450"/>
                    <a:pt x="323194" y="112571"/>
                  </a:cubicBezTo>
                  <a:cubicBezTo>
                    <a:pt x="317754" y="104412"/>
                    <a:pt x="304156" y="101693"/>
                    <a:pt x="293278" y="101693"/>
                  </a:cubicBezTo>
                  <a:cubicBezTo>
                    <a:pt x="279679" y="101693"/>
                    <a:pt x="271520" y="109852"/>
                    <a:pt x="263361" y="120730"/>
                  </a:cubicBezTo>
                  <a:cubicBezTo>
                    <a:pt x="257922" y="131609"/>
                    <a:pt x="247044" y="139768"/>
                    <a:pt x="241604" y="153366"/>
                  </a:cubicBezTo>
                  <a:cubicBezTo>
                    <a:pt x="236165" y="166964"/>
                    <a:pt x="233445" y="180563"/>
                    <a:pt x="233445" y="194161"/>
                  </a:cubicBezTo>
                  <a:cubicBezTo>
                    <a:pt x="233445" y="207759"/>
                    <a:pt x="230725" y="218638"/>
                    <a:pt x="225286" y="232236"/>
                  </a:cubicBezTo>
                  <a:cubicBezTo>
                    <a:pt x="219847" y="245834"/>
                    <a:pt x="219847" y="262152"/>
                    <a:pt x="217127" y="275751"/>
                  </a:cubicBezTo>
                  <a:cubicBezTo>
                    <a:pt x="214407" y="289349"/>
                    <a:pt x="214407" y="302947"/>
                    <a:pt x="211688" y="316545"/>
                  </a:cubicBezTo>
                  <a:cubicBezTo>
                    <a:pt x="211688" y="330144"/>
                    <a:pt x="206249" y="341022"/>
                    <a:pt x="206249" y="354621"/>
                  </a:cubicBezTo>
                  <a:cubicBezTo>
                    <a:pt x="203529" y="368219"/>
                    <a:pt x="203529" y="381817"/>
                    <a:pt x="200809" y="398135"/>
                  </a:cubicBezTo>
                  <a:cubicBezTo>
                    <a:pt x="198090" y="411733"/>
                    <a:pt x="198090" y="425332"/>
                    <a:pt x="195370" y="438930"/>
                  </a:cubicBezTo>
                  <a:cubicBezTo>
                    <a:pt x="195370" y="449809"/>
                    <a:pt x="192650" y="463407"/>
                    <a:pt x="192650" y="474286"/>
                  </a:cubicBezTo>
                  <a:cubicBezTo>
                    <a:pt x="192650" y="490603"/>
                    <a:pt x="195370" y="509641"/>
                    <a:pt x="195370" y="525959"/>
                  </a:cubicBezTo>
                  <a:cubicBezTo>
                    <a:pt x="195370" y="550436"/>
                    <a:pt x="203529" y="572193"/>
                    <a:pt x="208968" y="596670"/>
                  </a:cubicBezTo>
                  <a:cubicBezTo>
                    <a:pt x="211688" y="604829"/>
                    <a:pt x="211688" y="615708"/>
                    <a:pt x="214407" y="623867"/>
                  </a:cubicBezTo>
                  <a:cubicBezTo>
                    <a:pt x="217127" y="634745"/>
                    <a:pt x="222566" y="645624"/>
                    <a:pt x="228006" y="656502"/>
                  </a:cubicBezTo>
                  <a:cubicBezTo>
                    <a:pt x="236165" y="670101"/>
                    <a:pt x="252483" y="689138"/>
                    <a:pt x="271520" y="689138"/>
                  </a:cubicBezTo>
                  <a:cubicBezTo>
                    <a:pt x="287838" y="689138"/>
                    <a:pt x="298717" y="675540"/>
                    <a:pt x="306876" y="664661"/>
                  </a:cubicBezTo>
                  <a:cubicBezTo>
                    <a:pt x="320474" y="645624"/>
                    <a:pt x="325914" y="623867"/>
                    <a:pt x="331353" y="602109"/>
                  </a:cubicBezTo>
                  <a:cubicBezTo>
                    <a:pt x="334073" y="583072"/>
                    <a:pt x="336792" y="564034"/>
                    <a:pt x="336792" y="544997"/>
                  </a:cubicBezTo>
                  <a:cubicBezTo>
                    <a:pt x="336792" y="531398"/>
                    <a:pt x="336792" y="512361"/>
                    <a:pt x="336792" y="498762"/>
                  </a:cubicBezTo>
                  <a:cubicBezTo>
                    <a:pt x="336792" y="496043"/>
                    <a:pt x="336792" y="493323"/>
                    <a:pt x="336792" y="490603"/>
                  </a:cubicBezTo>
                  <a:cubicBezTo>
                    <a:pt x="336792" y="479725"/>
                    <a:pt x="336792" y="477005"/>
                    <a:pt x="320474" y="477005"/>
                  </a:cubicBezTo>
                  <a:cubicBezTo>
                    <a:pt x="309595" y="477005"/>
                    <a:pt x="295997" y="479725"/>
                    <a:pt x="282399" y="479725"/>
                  </a:cubicBezTo>
                  <a:cubicBezTo>
                    <a:pt x="271520" y="479725"/>
                    <a:pt x="260642" y="479725"/>
                    <a:pt x="252483" y="474286"/>
                  </a:cubicBezTo>
                  <a:cubicBezTo>
                    <a:pt x="249763" y="471566"/>
                    <a:pt x="247044" y="468846"/>
                    <a:pt x="247044" y="466126"/>
                  </a:cubicBezTo>
                  <a:cubicBezTo>
                    <a:pt x="247044" y="463407"/>
                    <a:pt x="247044" y="460687"/>
                    <a:pt x="249763" y="457968"/>
                  </a:cubicBezTo>
                  <a:cubicBezTo>
                    <a:pt x="255202" y="452528"/>
                    <a:pt x="260642" y="449809"/>
                    <a:pt x="268801" y="447089"/>
                  </a:cubicBezTo>
                  <a:cubicBezTo>
                    <a:pt x="282399" y="441650"/>
                    <a:pt x="295997" y="438930"/>
                    <a:pt x="312315" y="436210"/>
                  </a:cubicBezTo>
                  <a:cubicBezTo>
                    <a:pt x="325914" y="433491"/>
                    <a:pt x="339512" y="433491"/>
                    <a:pt x="353110" y="430771"/>
                  </a:cubicBezTo>
                  <a:cubicBezTo>
                    <a:pt x="363989" y="430771"/>
                    <a:pt x="374867" y="430771"/>
                    <a:pt x="385746" y="430771"/>
                  </a:cubicBezTo>
                  <a:cubicBezTo>
                    <a:pt x="402064" y="430771"/>
                    <a:pt x="426541" y="428051"/>
                    <a:pt x="437420" y="428051"/>
                  </a:cubicBezTo>
                  <a:cubicBezTo>
                    <a:pt x="451018" y="422612"/>
                    <a:pt x="464616" y="425332"/>
                    <a:pt x="464616" y="436210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2" name="Freeform: Shape 51">
              <a:extLst>
                <a:ext uri="{FF2B5EF4-FFF2-40B4-BE49-F238E27FC236}">
                  <a16:creationId xmlns:a16="http://schemas.microsoft.com/office/drawing/2014/main" id="{B88832EF-632C-43A0-AFE1-06D043A20CAF}"/>
                </a:ext>
              </a:extLst>
            </p:cNvPr>
            <p:cNvSpPr/>
            <p:nvPr/>
          </p:nvSpPr>
          <p:spPr>
            <a:xfrm>
              <a:off x="9053923" y="4178559"/>
              <a:ext cx="625521" cy="788700"/>
            </a:xfrm>
            <a:custGeom>
              <a:avLst/>
              <a:gdLst>
                <a:gd name="connsiteX0" fmla="*/ 536838 w 625521"/>
                <a:gd name="connsiteY0" fmla="*/ 680979 h 788699"/>
                <a:gd name="connsiteX1" fmla="*/ 574913 w 625521"/>
                <a:gd name="connsiteY1" fmla="*/ 697297 h 788699"/>
                <a:gd name="connsiteX2" fmla="*/ 566755 w 625521"/>
                <a:gd name="connsiteY2" fmla="*/ 713615 h 788699"/>
                <a:gd name="connsiteX3" fmla="*/ 550437 w 625521"/>
                <a:gd name="connsiteY3" fmla="*/ 721774 h 788699"/>
                <a:gd name="connsiteX4" fmla="*/ 528680 w 625521"/>
                <a:gd name="connsiteY4" fmla="*/ 724494 h 788699"/>
                <a:gd name="connsiteX5" fmla="*/ 417174 w 625521"/>
                <a:gd name="connsiteY5" fmla="*/ 724494 h 788699"/>
                <a:gd name="connsiteX6" fmla="*/ 398136 w 625521"/>
                <a:gd name="connsiteY6" fmla="*/ 724494 h 788699"/>
                <a:gd name="connsiteX7" fmla="*/ 373659 w 625521"/>
                <a:gd name="connsiteY7" fmla="*/ 724494 h 788699"/>
                <a:gd name="connsiteX8" fmla="*/ 346462 w 625521"/>
                <a:gd name="connsiteY8" fmla="*/ 719054 h 788699"/>
                <a:gd name="connsiteX9" fmla="*/ 330144 w 625521"/>
                <a:gd name="connsiteY9" fmla="*/ 702737 h 788699"/>
                <a:gd name="connsiteX10" fmla="*/ 335584 w 625521"/>
                <a:gd name="connsiteY10" fmla="*/ 694578 h 788699"/>
                <a:gd name="connsiteX11" fmla="*/ 357341 w 625521"/>
                <a:gd name="connsiteY11" fmla="*/ 686419 h 788699"/>
                <a:gd name="connsiteX12" fmla="*/ 395416 w 625521"/>
                <a:gd name="connsiteY12" fmla="*/ 680979 h 788699"/>
                <a:gd name="connsiteX13" fmla="*/ 381817 w 625521"/>
                <a:gd name="connsiteY13" fmla="*/ 656502 h 788699"/>
                <a:gd name="connsiteX14" fmla="*/ 379098 w 625521"/>
                <a:gd name="connsiteY14" fmla="*/ 585791 h 788699"/>
                <a:gd name="connsiteX15" fmla="*/ 379098 w 625521"/>
                <a:gd name="connsiteY15" fmla="*/ 517800 h 788699"/>
                <a:gd name="connsiteX16" fmla="*/ 379098 w 625521"/>
                <a:gd name="connsiteY16" fmla="*/ 474286 h 788699"/>
                <a:gd name="connsiteX17" fmla="*/ 379098 w 625521"/>
                <a:gd name="connsiteY17" fmla="*/ 430771 h 788699"/>
                <a:gd name="connsiteX18" fmla="*/ 381817 w 625521"/>
                <a:gd name="connsiteY18" fmla="*/ 411733 h 788699"/>
                <a:gd name="connsiteX19" fmla="*/ 379098 w 625521"/>
                <a:gd name="connsiteY19" fmla="*/ 400855 h 788699"/>
                <a:gd name="connsiteX20" fmla="*/ 370939 w 625521"/>
                <a:gd name="connsiteY20" fmla="*/ 398135 h 788699"/>
                <a:gd name="connsiteX21" fmla="*/ 338304 w 625521"/>
                <a:gd name="connsiteY21" fmla="*/ 400855 h 788699"/>
                <a:gd name="connsiteX22" fmla="*/ 289349 w 625521"/>
                <a:gd name="connsiteY22" fmla="*/ 403575 h 788699"/>
                <a:gd name="connsiteX23" fmla="*/ 264872 w 625521"/>
                <a:gd name="connsiteY23" fmla="*/ 400855 h 788699"/>
                <a:gd name="connsiteX24" fmla="*/ 259433 w 625521"/>
                <a:gd name="connsiteY24" fmla="*/ 406294 h 788699"/>
                <a:gd name="connsiteX25" fmla="*/ 259433 w 625521"/>
                <a:gd name="connsiteY25" fmla="*/ 425332 h 788699"/>
                <a:gd name="connsiteX26" fmla="*/ 259433 w 625521"/>
                <a:gd name="connsiteY26" fmla="*/ 449809 h 788699"/>
                <a:gd name="connsiteX27" fmla="*/ 259433 w 625521"/>
                <a:gd name="connsiteY27" fmla="*/ 471566 h 788699"/>
                <a:gd name="connsiteX28" fmla="*/ 259433 w 625521"/>
                <a:gd name="connsiteY28" fmla="*/ 504202 h 788699"/>
                <a:gd name="connsiteX29" fmla="*/ 259433 w 625521"/>
                <a:gd name="connsiteY29" fmla="*/ 509641 h 788699"/>
                <a:gd name="connsiteX30" fmla="*/ 256714 w 625521"/>
                <a:gd name="connsiteY30" fmla="*/ 542277 h 788699"/>
                <a:gd name="connsiteX31" fmla="*/ 256714 w 625521"/>
                <a:gd name="connsiteY31" fmla="*/ 577632 h 788699"/>
                <a:gd name="connsiteX32" fmla="*/ 256714 w 625521"/>
                <a:gd name="connsiteY32" fmla="*/ 612988 h 788699"/>
                <a:gd name="connsiteX33" fmla="*/ 253994 w 625521"/>
                <a:gd name="connsiteY33" fmla="*/ 656502 h 788699"/>
                <a:gd name="connsiteX34" fmla="*/ 256714 w 625521"/>
                <a:gd name="connsiteY34" fmla="*/ 678260 h 788699"/>
                <a:gd name="connsiteX35" fmla="*/ 286629 w 625521"/>
                <a:gd name="connsiteY35" fmla="*/ 694578 h 788699"/>
                <a:gd name="connsiteX36" fmla="*/ 281191 w 625521"/>
                <a:gd name="connsiteY36" fmla="*/ 710895 h 788699"/>
                <a:gd name="connsiteX37" fmla="*/ 264872 w 625521"/>
                <a:gd name="connsiteY37" fmla="*/ 719054 h 788699"/>
                <a:gd name="connsiteX38" fmla="*/ 243116 w 625521"/>
                <a:gd name="connsiteY38" fmla="*/ 721774 h 788699"/>
                <a:gd name="connsiteX39" fmla="*/ 243116 w 625521"/>
                <a:gd name="connsiteY39" fmla="*/ 721774 h 788699"/>
                <a:gd name="connsiteX40" fmla="*/ 232236 w 625521"/>
                <a:gd name="connsiteY40" fmla="*/ 727214 h 788699"/>
                <a:gd name="connsiteX41" fmla="*/ 224078 w 625521"/>
                <a:gd name="connsiteY41" fmla="*/ 735372 h 788699"/>
                <a:gd name="connsiteX42" fmla="*/ 213199 w 625521"/>
                <a:gd name="connsiteY42" fmla="*/ 738092 h 788699"/>
                <a:gd name="connsiteX43" fmla="*/ 183283 w 625521"/>
                <a:gd name="connsiteY43" fmla="*/ 727214 h 788699"/>
                <a:gd name="connsiteX44" fmla="*/ 175124 w 625521"/>
                <a:gd name="connsiteY44" fmla="*/ 719054 h 788699"/>
                <a:gd name="connsiteX45" fmla="*/ 145208 w 625521"/>
                <a:gd name="connsiteY45" fmla="*/ 719054 h 788699"/>
                <a:gd name="connsiteX46" fmla="*/ 126170 w 625521"/>
                <a:gd name="connsiteY46" fmla="*/ 719054 h 788699"/>
                <a:gd name="connsiteX47" fmla="*/ 101693 w 625521"/>
                <a:gd name="connsiteY47" fmla="*/ 719054 h 788699"/>
                <a:gd name="connsiteX48" fmla="*/ 74496 w 625521"/>
                <a:gd name="connsiteY48" fmla="*/ 713615 h 788699"/>
                <a:gd name="connsiteX49" fmla="*/ 58178 w 625521"/>
                <a:gd name="connsiteY49" fmla="*/ 697297 h 788699"/>
                <a:gd name="connsiteX50" fmla="*/ 63618 w 625521"/>
                <a:gd name="connsiteY50" fmla="*/ 689138 h 788699"/>
                <a:gd name="connsiteX51" fmla="*/ 85375 w 625521"/>
                <a:gd name="connsiteY51" fmla="*/ 680979 h 788699"/>
                <a:gd name="connsiteX52" fmla="*/ 131609 w 625521"/>
                <a:gd name="connsiteY52" fmla="*/ 675540 h 788699"/>
                <a:gd name="connsiteX53" fmla="*/ 131609 w 625521"/>
                <a:gd name="connsiteY53" fmla="*/ 667381 h 788699"/>
                <a:gd name="connsiteX54" fmla="*/ 131609 w 625521"/>
                <a:gd name="connsiteY54" fmla="*/ 651063 h 788699"/>
                <a:gd name="connsiteX55" fmla="*/ 131609 w 625521"/>
                <a:gd name="connsiteY55" fmla="*/ 618427 h 788699"/>
                <a:gd name="connsiteX56" fmla="*/ 131609 w 625521"/>
                <a:gd name="connsiteY56" fmla="*/ 580352 h 788699"/>
                <a:gd name="connsiteX57" fmla="*/ 131609 w 625521"/>
                <a:gd name="connsiteY57" fmla="*/ 531398 h 788699"/>
                <a:gd name="connsiteX58" fmla="*/ 131609 w 625521"/>
                <a:gd name="connsiteY58" fmla="*/ 466126 h 788699"/>
                <a:gd name="connsiteX59" fmla="*/ 131609 w 625521"/>
                <a:gd name="connsiteY59" fmla="*/ 422612 h 788699"/>
                <a:gd name="connsiteX60" fmla="*/ 131609 w 625521"/>
                <a:gd name="connsiteY60" fmla="*/ 411733 h 788699"/>
                <a:gd name="connsiteX61" fmla="*/ 131609 w 625521"/>
                <a:gd name="connsiteY61" fmla="*/ 398135 h 788699"/>
                <a:gd name="connsiteX62" fmla="*/ 126170 w 625521"/>
                <a:gd name="connsiteY62" fmla="*/ 389976 h 788699"/>
                <a:gd name="connsiteX63" fmla="*/ 101693 w 625521"/>
                <a:gd name="connsiteY63" fmla="*/ 387257 h 788699"/>
                <a:gd name="connsiteX64" fmla="*/ 77216 w 625521"/>
                <a:gd name="connsiteY64" fmla="*/ 376378 h 788699"/>
                <a:gd name="connsiteX65" fmla="*/ 82655 w 625521"/>
                <a:gd name="connsiteY65" fmla="*/ 368219 h 788699"/>
                <a:gd name="connsiteX66" fmla="*/ 98973 w 625521"/>
                <a:gd name="connsiteY66" fmla="*/ 360060 h 788699"/>
                <a:gd name="connsiteX67" fmla="*/ 118011 w 625521"/>
                <a:gd name="connsiteY67" fmla="*/ 357340 h 788699"/>
                <a:gd name="connsiteX68" fmla="*/ 131609 w 625521"/>
                <a:gd name="connsiteY68" fmla="*/ 351901 h 788699"/>
                <a:gd name="connsiteX69" fmla="*/ 131609 w 625521"/>
                <a:gd name="connsiteY69" fmla="*/ 343742 h 788699"/>
                <a:gd name="connsiteX70" fmla="*/ 131609 w 625521"/>
                <a:gd name="connsiteY70" fmla="*/ 270311 h 788699"/>
                <a:gd name="connsiteX71" fmla="*/ 137048 w 625521"/>
                <a:gd name="connsiteY71" fmla="*/ 145207 h 788699"/>
                <a:gd name="connsiteX72" fmla="*/ 139768 w 625521"/>
                <a:gd name="connsiteY72" fmla="*/ 123450 h 788699"/>
                <a:gd name="connsiteX73" fmla="*/ 123450 w 625521"/>
                <a:gd name="connsiteY73" fmla="*/ 123450 h 788699"/>
                <a:gd name="connsiteX74" fmla="*/ 118011 w 625521"/>
                <a:gd name="connsiteY74" fmla="*/ 123450 h 788699"/>
                <a:gd name="connsiteX75" fmla="*/ 101693 w 625521"/>
                <a:gd name="connsiteY75" fmla="*/ 123450 h 788699"/>
                <a:gd name="connsiteX76" fmla="*/ 74496 w 625521"/>
                <a:gd name="connsiteY76" fmla="*/ 118011 h 788699"/>
                <a:gd name="connsiteX77" fmla="*/ 58178 w 625521"/>
                <a:gd name="connsiteY77" fmla="*/ 101693 h 788699"/>
                <a:gd name="connsiteX78" fmla="*/ 63618 w 625521"/>
                <a:gd name="connsiteY78" fmla="*/ 93534 h 788699"/>
                <a:gd name="connsiteX79" fmla="*/ 85375 w 625521"/>
                <a:gd name="connsiteY79" fmla="*/ 85375 h 788699"/>
                <a:gd name="connsiteX80" fmla="*/ 137048 w 625521"/>
                <a:gd name="connsiteY80" fmla="*/ 82655 h 788699"/>
                <a:gd name="connsiteX81" fmla="*/ 147927 w 625521"/>
                <a:gd name="connsiteY81" fmla="*/ 82655 h 788699"/>
                <a:gd name="connsiteX82" fmla="*/ 186003 w 625521"/>
                <a:gd name="connsiteY82" fmla="*/ 58178 h 788699"/>
                <a:gd name="connsiteX83" fmla="*/ 226797 w 625521"/>
                <a:gd name="connsiteY83" fmla="*/ 79936 h 788699"/>
                <a:gd name="connsiteX84" fmla="*/ 253994 w 625521"/>
                <a:gd name="connsiteY84" fmla="*/ 79936 h 788699"/>
                <a:gd name="connsiteX85" fmla="*/ 294789 w 625521"/>
                <a:gd name="connsiteY85" fmla="*/ 96253 h 788699"/>
                <a:gd name="connsiteX86" fmla="*/ 283910 w 625521"/>
                <a:gd name="connsiteY86" fmla="*/ 112571 h 788699"/>
                <a:gd name="connsiteX87" fmla="*/ 267592 w 625521"/>
                <a:gd name="connsiteY87" fmla="*/ 120730 h 788699"/>
                <a:gd name="connsiteX88" fmla="*/ 245835 w 625521"/>
                <a:gd name="connsiteY88" fmla="*/ 123450 h 788699"/>
                <a:gd name="connsiteX89" fmla="*/ 237676 w 625521"/>
                <a:gd name="connsiteY89" fmla="*/ 123450 h 788699"/>
                <a:gd name="connsiteX90" fmla="*/ 240396 w 625521"/>
                <a:gd name="connsiteY90" fmla="*/ 128889 h 788699"/>
                <a:gd name="connsiteX91" fmla="*/ 251274 w 625521"/>
                <a:gd name="connsiteY91" fmla="*/ 177843 h 788699"/>
                <a:gd name="connsiteX92" fmla="*/ 256714 w 625521"/>
                <a:gd name="connsiteY92" fmla="*/ 226797 h 788699"/>
                <a:gd name="connsiteX93" fmla="*/ 262153 w 625521"/>
                <a:gd name="connsiteY93" fmla="*/ 273031 h 788699"/>
                <a:gd name="connsiteX94" fmla="*/ 262153 w 625521"/>
                <a:gd name="connsiteY94" fmla="*/ 289349 h 788699"/>
                <a:gd name="connsiteX95" fmla="*/ 262153 w 625521"/>
                <a:gd name="connsiteY95" fmla="*/ 297508 h 788699"/>
                <a:gd name="connsiteX96" fmla="*/ 264872 w 625521"/>
                <a:gd name="connsiteY96" fmla="*/ 321985 h 788699"/>
                <a:gd name="connsiteX97" fmla="*/ 270312 w 625521"/>
                <a:gd name="connsiteY97" fmla="*/ 335583 h 788699"/>
                <a:gd name="connsiteX98" fmla="*/ 270312 w 625521"/>
                <a:gd name="connsiteY98" fmla="*/ 338303 h 788699"/>
                <a:gd name="connsiteX99" fmla="*/ 270312 w 625521"/>
                <a:gd name="connsiteY99" fmla="*/ 346462 h 788699"/>
                <a:gd name="connsiteX100" fmla="*/ 278471 w 625521"/>
                <a:gd name="connsiteY100" fmla="*/ 354621 h 788699"/>
                <a:gd name="connsiteX101" fmla="*/ 338304 w 625521"/>
                <a:gd name="connsiteY101" fmla="*/ 349181 h 788699"/>
                <a:gd name="connsiteX102" fmla="*/ 365500 w 625521"/>
                <a:gd name="connsiteY102" fmla="*/ 349181 h 788699"/>
                <a:gd name="connsiteX103" fmla="*/ 381817 w 625521"/>
                <a:gd name="connsiteY103" fmla="*/ 349181 h 788699"/>
                <a:gd name="connsiteX104" fmla="*/ 392697 w 625521"/>
                <a:gd name="connsiteY104" fmla="*/ 338303 h 788699"/>
                <a:gd name="connsiteX105" fmla="*/ 389977 w 625521"/>
                <a:gd name="connsiteY105" fmla="*/ 313826 h 788699"/>
                <a:gd name="connsiteX106" fmla="*/ 392697 w 625521"/>
                <a:gd name="connsiteY106" fmla="*/ 262152 h 788699"/>
                <a:gd name="connsiteX107" fmla="*/ 395416 w 625521"/>
                <a:gd name="connsiteY107" fmla="*/ 224077 h 788699"/>
                <a:gd name="connsiteX108" fmla="*/ 398136 w 625521"/>
                <a:gd name="connsiteY108" fmla="*/ 177843 h 788699"/>
                <a:gd name="connsiteX109" fmla="*/ 395416 w 625521"/>
                <a:gd name="connsiteY109" fmla="*/ 153366 h 788699"/>
                <a:gd name="connsiteX110" fmla="*/ 395416 w 625521"/>
                <a:gd name="connsiteY110" fmla="*/ 137048 h 788699"/>
                <a:gd name="connsiteX111" fmla="*/ 379098 w 625521"/>
                <a:gd name="connsiteY111" fmla="*/ 137048 h 788699"/>
                <a:gd name="connsiteX112" fmla="*/ 351902 w 625521"/>
                <a:gd name="connsiteY112" fmla="*/ 131609 h 788699"/>
                <a:gd name="connsiteX113" fmla="*/ 338304 w 625521"/>
                <a:gd name="connsiteY113" fmla="*/ 115291 h 788699"/>
                <a:gd name="connsiteX114" fmla="*/ 343742 w 625521"/>
                <a:gd name="connsiteY114" fmla="*/ 107132 h 788699"/>
                <a:gd name="connsiteX115" fmla="*/ 362780 w 625521"/>
                <a:gd name="connsiteY115" fmla="*/ 98973 h 788699"/>
                <a:gd name="connsiteX116" fmla="*/ 395416 w 625521"/>
                <a:gd name="connsiteY116" fmla="*/ 96253 h 788699"/>
                <a:gd name="connsiteX117" fmla="*/ 403575 w 625521"/>
                <a:gd name="connsiteY117" fmla="*/ 90814 h 788699"/>
                <a:gd name="connsiteX118" fmla="*/ 422612 w 625521"/>
                <a:gd name="connsiteY118" fmla="*/ 88095 h 788699"/>
                <a:gd name="connsiteX119" fmla="*/ 428052 w 625521"/>
                <a:gd name="connsiteY119" fmla="*/ 88095 h 788699"/>
                <a:gd name="connsiteX120" fmla="*/ 447090 w 625521"/>
                <a:gd name="connsiteY120" fmla="*/ 90814 h 788699"/>
                <a:gd name="connsiteX121" fmla="*/ 455249 w 625521"/>
                <a:gd name="connsiteY121" fmla="*/ 96253 h 788699"/>
                <a:gd name="connsiteX122" fmla="*/ 525960 w 625521"/>
                <a:gd name="connsiteY122" fmla="*/ 93534 h 788699"/>
                <a:gd name="connsiteX123" fmla="*/ 561315 w 625521"/>
                <a:gd name="connsiteY123" fmla="*/ 109852 h 788699"/>
                <a:gd name="connsiteX124" fmla="*/ 555876 w 625521"/>
                <a:gd name="connsiteY124" fmla="*/ 126170 h 788699"/>
                <a:gd name="connsiteX125" fmla="*/ 539558 w 625521"/>
                <a:gd name="connsiteY125" fmla="*/ 134329 h 788699"/>
                <a:gd name="connsiteX126" fmla="*/ 517800 w 625521"/>
                <a:gd name="connsiteY126" fmla="*/ 137048 h 788699"/>
                <a:gd name="connsiteX127" fmla="*/ 477006 w 625521"/>
                <a:gd name="connsiteY127" fmla="*/ 137048 h 788699"/>
                <a:gd name="connsiteX128" fmla="*/ 485165 w 625521"/>
                <a:gd name="connsiteY128" fmla="*/ 161525 h 788699"/>
                <a:gd name="connsiteX129" fmla="*/ 496043 w 625521"/>
                <a:gd name="connsiteY129" fmla="*/ 210479 h 788699"/>
                <a:gd name="connsiteX130" fmla="*/ 501483 w 625521"/>
                <a:gd name="connsiteY130" fmla="*/ 251274 h 788699"/>
                <a:gd name="connsiteX131" fmla="*/ 506922 w 625521"/>
                <a:gd name="connsiteY131" fmla="*/ 292069 h 788699"/>
                <a:gd name="connsiteX132" fmla="*/ 506922 w 625521"/>
                <a:gd name="connsiteY132" fmla="*/ 321985 h 788699"/>
                <a:gd name="connsiteX133" fmla="*/ 509642 w 625521"/>
                <a:gd name="connsiteY133" fmla="*/ 341022 h 788699"/>
                <a:gd name="connsiteX134" fmla="*/ 509642 w 625521"/>
                <a:gd name="connsiteY134" fmla="*/ 343742 h 788699"/>
                <a:gd name="connsiteX135" fmla="*/ 517800 w 625521"/>
                <a:gd name="connsiteY135" fmla="*/ 349181 h 788699"/>
                <a:gd name="connsiteX136" fmla="*/ 528680 w 625521"/>
                <a:gd name="connsiteY136" fmla="*/ 349181 h 788699"/>
                <a:gd name="connsiteX137" fmla="*/ 550437 w 625521"/>
                <a:gd name="connsiteY137" fmla="*/ 357340 h 788699"/>
                <a:gd name="connsiteX138" fmla="*/ 550437 w 625521"/>
                <a:gd name="connsiteY138" fmla="*/ 362780 h 788699"/>
                <a:gd name="connsiteX139" fmla="*/ 534119 w 625521"/>
                <a:gd name="connsiteY139" fmla="*/ 384537 h 788699"/>
                <a:gd name="connsiteX140" fmla="*/ 520520 w 625521"/>
                <a:gd name="connsiteY140" fmla="*/ 389976 h 788699"/>
                <a:gd name="connsiteX141" fmla="*/ 512362 w 625521"/>
                <a:gd name="connsiteY141" fmla="*/ 395415 h 788699"/>
                <a:gd name="connsiteX142" fmla="*/ 512362 w 625521"/>
                <a:gd name="connsiteY142" fmla="*/ 398135 h 788699"/>
                <a:gd name="connsiteX143" fmla="*/ 512362 w 625521"/>
                <a:gd name="connsiteY143" fmla="*/ 409014 h 788699"/>
                <a:gd name="connsiteX144" fmla="*/ 512362 w 625521"/>
                <a:gd name="connsiteY144" fmla="*/ 414453 h 788699"/>
                <a:gd name="connsiteX145" fmla="*/ 512362 w 625521"/>
                <a:gd name="connsiteY145" fmla="*/ 438930 h 788699"/>
                <a:gd name="connsiteX146" fmla="*/ 515081 w 625521"/>
                <a:gd name="connsiteY146" fmla="*/ 504202 h 788699"/>
                <a:gd name="connsiteX147" fmla="*/ 520520 w 625521"/>
                <a:gd name="connsiteY147" fmla="*/ 572193 h 788699"/>
                <a:gd name="connsiteX148" fmla="*/ 517800 w 625521"/>
                <a:gd name="connsiteY148" fmla="*/ 604829 h 788699"/>
                <a:gd name="connsiteX149" fmla="*/ 512362 w 625521"/>
                <a:gd name="connsiteY149" fmla="*/ 661942 h 788699"/>
                <a:gd name="connsiteX150" fmla="*/ 509642 w 625521"/>
                <a:gd name="connsiteY150" fmla="*/ 670101 h 788699"/>
                <a:gd name="connsiteX151" fmla="*/ 512362 w 625521"/>
                <a:gd name="connsiteY151" fmla="*/ 680979 h 788699"/>
                <a:gd name="connsiteX152" fmla="*/ 512362 w 625521"/>
                <a:gd name="connsiteY152" fmla="*/ 686419 h 788699"/>
                <a:gd name="connsiteX153" fmla="*/ 536838 w 625521"/>
                <a:gd name="connsiteY153" fmla="*/ 680979 h 788699"/>
                <a:gd name="connsiteX154" fmla="*/ 536838 w 625521"/>
                <a:gd name="connsiteY154" fmla="*/ 680979 h 7886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</a:cxnLst>
              <a:rect l="l" t="t" r="r" b="b"/>
              <a:pathLst>
                <a:path w="625521" h="788699">
                  <a:moveTo>
                    <a:pt x="536838" y="680979"/>
                  </a:moveTo>
                  <a:cubicBezTo>
                    <a:pt x="550437" y="680979"/>
                    <a:pt x="574913" y="680979"/>
                    <a:pt x="574913" y="697297"/>
                  </a:cubicBezTo>
                  <a:cubicBezTo>
                    <a:pt x="574913" y="705456"/>
                    <a:pt x="572194" y="708176"/>
                    <a:pt x="566755" y="713615"/>
                  </a:cubicBezTo>
                  <a:cubicBezTo>
                    <a:pt x="561315" y="719054"/>
                    <a:pt x="555876" y="721774"/>
                    <a:pt x="550437" y="721774"/>
                  </a:cubicBezTo>
                  <a:cubicBezTo>
                    <a:pt x="539558" y="724494"/>
                    <a:pt x="534119" y="724494"/>
                    <a:pt x="528680" y="724494"/>
                  </a:cubicBezTo>
                  <a:cubicBezTo>
                    <a:pt x="517800" y="724494"/>
                    <a:pt x="428052" y="724494"/>
                    <a:pt x="417174" y="724494"/>
                  </a:cubicBezTo>
                  <a:cubicBezTo>
                    <a:pt x="403575" y="724494"/>
                    <a:pt x="414454" y="724494"/>
                    <a:pt x="398136" y="724494"/>
                  </a:cubicBezTo>
                  <a:cubicBezTo>
                    <a:pt x="389977" y="724494"/>
                    <a:pt x="381817" y="724494"/>
                    <a:pt x="373659" y="724494"/>
                  </a:cubicBezTo>
                  <a:cubicBezTo>
                    <a:pt x="365500" y="724494"/>
                    <a:pt x="354621" y="721774"/>
                    <a:pt x="346462" y="719054"/>
                  </a:cubicBezTo>
                  <a:cubicBezTo>
                    <a:pt x="338304" y="716335"/>
                    <a:pt x="330144" y="708176"/>
                    <a:pt x="330144" y="702737"/>
                  </a:cubicBezTo>
                  <a:cubicBezTo>
                    <a:pt x="330144" y="700017"/>
                    <a:pt x="330144" y="697297"/>
                    <a:pt x="335584" y="694578"/>
                  </a:cubicBezTo>
                  <a:cubicBezTo>
                    <a:pt x="341023" y="691858"/>
                    <a:pt x="351902" y="689138"/>
                    <a:pt x="357341" y="686419"/>
                  </a:cubicBezTo>
                  <a:cubicBezTo>
                    <a:pt x="373659" y="683699"/>
                    <a:pt x="387257" y="680979"/>
                    <a:pt x="395416" y="680979"/>
                  </a:cubicBezTo>
                  <a:cubicBezTo>
                    <a:pt x="387257" y="675540"/>
                    <a:pt x="384537" y="670101"/>
                    <a:pt x="381817" y="656502"/>
                  </a:cubicBezTo>
                  <a:cubicBezTo>
                    <a:pt x="379098" y="632026"/>
                    <a:pt x="379098" y="610268"/>
                    <a:pt x="379098" y="585791"/>
                  </a:cubicBezTo>
                  <a:cubicBezTo>
                    <a:pt x="379098" y="564034"/>
                    <a:pt x="379098" y="542277"/>
                    <a:pt x="379098" y="517800"/>
                  </a:cubicBezTo>
                  <a:cubicBezTo>
                    <a:pt x="379098" y="504202"/>
                    <a:pt x="379098" y="487884"/>
                    <a:pt x="379098" y="474286"/>
                  </a:cubicBezTo>
                  <a:cubicBezTo>
                    <a:pt x="379098" y="457968"/>
                    <a:pt x="376379" y="444369"/>
                    <a:pt x="379098" y="430771"/>
                  </a:cubicBezTo>
                  <a:cubicBezTo>
                    <a:pt x="379098" y="425332"/>
                    <a:pt x="381817" y="417173"/>
                    <a:pt x="381817" y="411733"/>
                  </a:cubicBezTo>
                  <a:cubicBezTo>
                    <a:pt x="381817" y="406294"/>
                    <a:pt x="381817" y="403575"/>
                    <a:pt x="379098" y="400855"/>
                  </a:cubicBezTo>
                  <a:cubicBezTo>
                    <a:pt x="376379" y="400855"/>
                    <a:pt x="373659" y="398135"/>
                    <a:pt x="370939" y="398135"/>
                  </a:cubicBezTo>
                  <a:cubicBezTo>
                    <a:pt x="360061" y="398135"/>
                    <a:pt x="343742" y="400855"/>
                    <a:pt x="338304" y="400855"/>
                  </a:cubicBezTo>
                  <a:cubicBezTo>
                    <a:pt x="330144" y="400855"/>
                    <a:pt x="319266" y="403575"/>
                    <a:pt x="289349" y="403575"/>
                  </a:cubicBezTo>
                  <a:cubicBezTo>
                    <a:pt x="275751" y="403575"/>
                    <a:pt x="267592" y="400855"/>
                    <a:pt x="264872" y="400855"/>
                  </a:cubicBezTo>
                  <a:cubicBezTo>
                    <a:pt x="262153" y="400855"/>
                    <a:pt x="259433" y="400855"/>
                    <a:pt x="259433" y="406294"/>
                  </a:cubicBezTo>
                  <a:cubicBezTo>
                    <a:pt x="259433" y="414453"/>
                    <a:pt x="259433" y="419892"/>
                    <a:pt x="259433" y="425332"/>
                  </a:cubicBezTo>
                  <a:cubicBezTo>
                    <a:pt x="259433" y="433491"/>
                    <a:pt x="259433" y="441650"/>
                    <a:pt x="259433" y="449809"/>
                  </a:cubicBezTo>
                  <a:cubicBezTo>
                    <a:pt x="259433" y="457968"/>
                    <a:pt x="259433" y="463407"/>
                    <a:pt x="259433" y="471566"/>
                  </a:cubicBezTo>
                  <a:cubicBezTo>
                    <a:pt x="259433" y="482445"/>
                    <a:pt x="259433" y="493323"/>
                    <a:pt x="259433" y="504202"/>
                  </a:cubicBezTo>
                  <a:cubicBezTo>
                    <a:pt x="259433" y="506921"/>
                    <a:pt x="259433" y="506921"/>
                    <a:pt x="259433" y="509641"/>
                  </a:cubicBezTo>
                  <a:cubicBezTo>
                    <a:pt x="259433" y="520520"/>
                    <a:pt x="256714" y="531398"/>
                    <a:pt x="256714" y="542277"/>
                  </a:cubicBezTo>
                  <a:cubicBezTo>
                    <a:pt x="256714" y="553156"/>
                    <a:pt x="256714" y="566754"/>
                    <a:pt x="256714" y="577632"/>
                  </a:cubicBezTo>
                  <a:cubicBezTo>
                    <a:pt x="256714" y="588511"/>
                    <a:pt x="256714" y="599390"/>
                    <a:pt x="256714" y="612988"/>
                  </a:cubicBezTo>
                  <a:cubicBezTo>
                    <a:pt x="256714" y="629306"/>
                    <a:pt x="253994" y="642904"/>
                    <a:pt x="253994" y="656502"/>
                  </a:cubicBezTo>
                  <a:cubicBezTo>
                    <a:pt x="253994" y="664661"/>
                    <a:pt x="256714" y="672820"/>
                    <a:pt x="256714" y="678260"/>
                  </a:cubicBezTo>
                  <a:cubicBezTo>
                    <a:pt x="270312" y="678260"/>
                    <a:pt x="286629" y="680979"/>
                    <a:pt x="286629" y="694578"/>
                  </a:cubicBezTo>
                  <a:cubicBezTo>
                    <a:pt x="286629" y="702737"/>
                    <a:pt x="283910" y="705456"/>
                    <a:pt x="281191" y="710895"/>
                  </a:cubicBezTo>
                  <a:cubicBezTo>
                    <a:pt x="275751" y="716335"/>
                    <a:pt x="270312" y="719054"/>
                    <a:pt x="264872" y="719054"/>
                  </a:cubicBezTo>
                  <a:cubicBezTo>
                    <a:pt x="256714" y="721774"/>
                    <a:pt x="248554" y="721774"/>
                    <a:pt x="243116" y="721774"/>
                  </a:cubicBezTo>
                  <a:cubicBezTo>
                    <a:pt x="243116" y="721774"/>
                    <a:pt x="243116" y="721774"/>
                    <a:pt x="243116" y="721774"/>
                  </a:cubicBezTo>
                  <a:cubicBezTo>
                    <a:pt x="237676" y="724494"/>
                    <a:pt x="237676" y="724494"/>
                    <a:pt x="232236" y="727214"/>
                  </a:cubicBezTo>
                  <a:cubicBezTo>
                    <a:pt x="229517" y="729933"/>
                    <a:pt x="229517" y="732653"/>
                    <a:pt x="224078" y="735372"/>
                  </a:cubicBezTo>
                  <a:cubicBezTo>
                    <a:pt x="221358" y="738092"/>
                    <a:pt x="215919" y="738092"/>
                    <a:pt x="213199" y="738092"/>
                  </a:cubicBezTo>
                  <a:cubicBezTo>
                    <a:pt x="199601" y="738092"/>
                    <a:pt x="188722" y="735372"/>
                    <a:pt x="183283" y="727214"/>
                  </a:cubicBezTo>
                  <a:cubicBezTo>
                    <a:pt x="180563" y="724494"/>
                    <a:pt x="177843" y="721774"/>
                    <a:pt x="175124" y="719054"/>
                  </a:cubicBezTo>
                  <a:cubicBezTo>
                    <a:pt x="161526" y="719054"/>
                    <a:pt x="150646" y="719054"/>
                    <a:pt x="145208" y="719054"/>
                  </a:cubicBezTo>
                  <a:cubicBezTo>
                    <a:pt x="131609" y="719054"/>
                    <a:pt x="142488" y="719054"/>
                    <a:pt x="126170" y="719054"/>
                  </a:cubicBezTo>
                  <a:cubicBezTo>
                    <a:pt x="118011" y="719054"/>
                    <a:pt x="109852" y="719054"/>
                    <a:pt x="101693" y="719054"/>
                  </a:cubicBezTo>
                  <a:cubicBezTo>
                    <a:pt x="93534" y="719054"/>
                    <a:pt x="82655" y="719054"/>
                    <a:pt x="74496" y="713615"/>
                  </a:cubicBezTo>
                  <a:cubicBezTo>
                    <a:pt x="66338" y="710895"/>
                    <a:pt x="58178" y="702737"/>
                    <a:pt x="58178" y="697297"/>
                  </a:cubicBezTo>
                  <a:cubicBezTo>
                    <a:pt x="58178" y="694578"/>
                    <a:pt x="58178" y="691858"/>
                    <a:pt x="63618" y="689138"/>
                  </a:cubicBezTo>
                  <a:cubicBezTo>
                    <a:pt x="69057" y="686419"/>
                    <a:pt x="79936" y="683699"/>
                    <a:pt x="85375" y="680979"/>
                  </a:cubicBezTo>
                  <a:cubicBezTo>
                    <a:pt x="98973" y="678260"/>
                    <a:pt x="118011" y="678260"/>
                    <a:pt x="131609" y="675540"/>
                  </a:cubicBezTo>
                  <a:cubicBezTo>
                    <a:pt x="131609" y="672820"/>
                    <a:pt x="131609" y="670101"/>
                    <a:pt x="131609" y="667381"/>
                  </a:cubicBezTo>
                  <a:cubicBezTo>
                    <a:pt x="131609" y="661942"/>
                    <a:pt x="131609" y="656502"/>
                    <a:pt x="131609" y="651063"/>
                  </a:cubicBezTo>
                  <a:cubicBezTo>
                    <a:pt x="131609" y="640184"/>
                    <a:pt x="131609" y="629306"/>
                    <a:pt x="131609" y="618427"/>
                  </a:cubicBezTo>
                  <a:cubicBezTo>
                    <a:pt x="131609" y="604829"/>
                    <a:pt x="131609" y="593950"/>
                    <a:pt x="131609" y="580352"/>
                  </a:cubicBezTo>
                  <a:cubicBezTo>
                    <a:pt x="131609" y="564034"/>
                    <a:pt x="131609" y="547716"/>
                    <a:pt x="131609" y="531398"/>
                  </a:cubicBezTo>
                  <a:cubicBezTo>
                    <a:pt x="131609" y="509641"/>
                    <a:pt x="131609" y="487884"/>
                    <a:pt x="131609" y="466126"/>
                  </a:cubicBezTo>
                  <a:cubicBezTo>
                    <a:pt x="131609" y="452528"/>
                    <a:pt x="131609" y="436210"/>
                    <a:pt x="131609" y="422612"/>
                  </a:cubicBezTo>
                  <a:cubicBezTo>
                    <a:pt x="131609" y="419892"/>
                    <a:pt x="131609" y="414453"/>
                    <a:pt x="131609" y="411733"/>
                  </a:cubicBezTo>
                  <a:cubicBezTo>
                    <a:pt x="131609" y="409014"/>
                    <a:pt x="131609" y="400855"/>
                    <a:pt x="131609" y="398135"/>
                  </a:cubicBezTo>
                  <a:cubicBezTo>
                    <a:pt x="131609" y="392696"/>
                    <a:pt x="131609" y="392696"/>
                    <a:pt x="126170" y="389976"/>
                  </a:cubicBezTo>
                  <a:cubicBezTo>
                    <a:pt x="123450" y="389976"/>
                    <a:pt x="109852" y="387257"/>
                    <a:pt x="101693" y="387257"/>
                  </a:cubicBezTo>
                  <a:cubicBezTo>
                    <a:pt x="90814" y="384537"/>
                    <a:pt x="77216" y="381817"/>
                    <a:pt x="77216" y="376378"/>
                  </a:cubicBezTo>
                  <a:cubicBezTo>
                    <a:pt x="77216" y="373658"/>
                    <a:pt x="79936" y="370939"/>
                    <a:pt x="82655" y="368219"/>
                  </a:cubicBezTo>
                  <a:cubicBezTo>
                    <a:pt x="88095" y="365499"/>
                    <a:pt x="93534" y="362780"/>
                    <a:pt x="98973" y="360060"/>
                  </a:cubicBezTo>
                  <a:cubicBezTo>
                    <a:pt x="104413" y="360060"/>
                    <a:pt x="112571" y="357340"/>
                    <a:pt x="118011" y="357340"/>
                  </a:cubicBezTo>
                  <a:cubicBezTo>
                    <a:pt x="126170" y="354621"/>
                    <a:pt x="128890" y="357340"/>
                    <a:pt x="131609" y="351901"/>
                  </a:cubicBezTo>
                  <a:cubicBezTo>
                    <a:pt x="131609" y="349181"/>
                    <a:pt x="131609" y="346462"/>
                    <a:pt x="131609" y="343742"/>
                  </a:cubicBezTo>
                  <a:cubicBezTo>
                    <a:pt x="131609" y="319265"/>
                    <a:pt x="131609" y="294788"/>
                    <a:pt x="131609" y="270311"/>
                  </a:cubicBezTo>
                  <a:cubicBezTo>
                    <a:pt x="131609" y="226797"/>
                    <a:pt x="131609" y="186002"/>
                    <a:pt x="137048" y="145207"/>
                  </a:cubicBezTo>
                  <a:cubicBezTo>
                    <a:pt x="137048" y="139768"/>
                    <a:pt x="137048" y="131609"/>
                    <a:pt x="139768" y="123450"/>
                  </a:cubicBezTo>
                  <a:cubicBezTo>
                    <a:pt x="134329" y="123450"/>
                    <a:pt x="137048" y="123450"/>
                    <a:pt x="123450" y="123450"/>
                  </a:cubicBezTo>
                  <a:cubicBezTo>
                    <a:pt x="120731" y="123450"/>
                    <a:pt x="120731" y="123450"/>
                    <a:pt x="118011" y="123450"/>
                  </a:cubicBezTo>
                  <a:cubicBezTo>
                    <a:pt x="112571" y="123450"/>
                    <a:pt x="107133" y="123450"/>
                    <a:pt x="101693" y="123450"/>
                  </a:cubicBezTo>
                  <a:cubicBezTo>
                    <a:pt x="93534" y="123450"/>
                    <a:pt x="82655" y="120730"/>
                    <a:pt x="74496" y="118011"/>
                  </a:cubicBezTo>
                  <a:cubicBezTo>
                    <a:pt x="66338" y="115291"/>
                    <a:pt x="58178" y="107132"/>
                    <a:pt x="58178" y="101693"/>
                  </a:cubicBezTo>
                  <a:cubicBezTo>
                    <a:pt x="58178" y="98973"/>
                    <a:pt x="58178" y="96253"/>
                    <a:pt x="63618" y="93534"/>
                  </a:cubicBezTo>
                  <a:cubicBezTo>
                    <a:pt x="66338" y="90814"/>
                    <a:pt x="77216" y="88095"/>
                    <a:pt x="85375" y="85375"/>
                  </a:cubicBezTo>
                  <a:cubicBezTo>
                    <a:pt x="104413" y="82655"/>
                    <a:pt x="128890" y="82655"/>
                    <a:pt x="137048" y="82655"/>
                  </a:cubicBezTo>
                  <a:cubicBezTo>
                    <a:pt x="139768" y="82655"/>
                    <a:pt x="142488" y="82655"/>
                    <a:pt x="147927" y="82655"/>
                  </a:cubicBezTo>
                  <a:cubicBezTo>
                    <a:pt x="153366" y="69057"/>
                    <a:pt x="164245" y="58178"/>
                    <a:pt x="186003" y="58178"/>
                  </a:cubicBezTo>
                  <a:cubicBezTo>
                    <a:pt x="202321" y="58178"/>
                    <a:pt x="215919" y="66337"/>
                    <a:pt x="226797" y="79936"/>
                  </a:cubicBezTo>
                  <a:cubicBezTo>
                    <a:pt x="237676" y="79936"/>
                    <a:pt x="248554" y="79936"/>
                    <a:pt x="253994" y="79936"/>
                  </a:cubicBezTo>
                  <a:cubicBezTo>
                    <a:pt x="267592" y="79936"/>
                    <a:pt x="294789" y="79936"/>
                    <a:pt x="294789" y="96253"/>
                  </a:cubicBezTo>
                  <a:cubicBezTo>
                    <a:pt x="294789" y="104412"/>
                    <a:pt x="289349" y="107132"/>
                    <a:pt x="283910" y="112571"/>
                  </a:cubicBezTo>
                  <a:cubicBezTo>
                    <a:pt x="278471" y="118011"/>
                    <a:pt x="273031" y="120730"/>
                    <a:pt x="267592" y="120730"/>
                  </a:cubicBezTo>
                  <a:cubicBezTo>
                    <a:pt x="259433" y="123450"/>
                    <a:pt x="251274" y="123450"/>
                    <a:pt x="245835" y="123450"/>
                  </a:cubicBezTo>
                  <a:cubicBezTo>
                    <a:pt x="245835" y="123450"/>
                    <a:pt x="243116" y="123450"/>
                    <a:pt x="237676" y="123450"/>
                  </a:cubicBezTo>
                  <a:cubicBezTo>
                    <a:pt x="237676" y="126170"/>
                    <a:pt x="237676" y="126170"/>
                    <a:pt x="240396" y="128889"/>
                  </a:cubicBezTo>
                  <a:cubicBezTo>
                    <a:pt x="245835" y="145207"/>
                    <a:pt x="248554" y="161525"/>
                    <a:pt x="251274" y="177843"/>
                  </a:cubicBezTo>
                  <a:cubicBezTo>
                    <a:pt x="253994" y="194161"/>
                    <a:pt x="253994" y="210479"/>
                    <a:pt x="256714" y="226797"/>
                  </a:cubicBezTo>
                  <a:cubicBezTo>
                    <a:pt x="259433" y="243115"/>
                    <a:pt x="262153" y="256713"/>
                    <a:pt x="262153" y="273031"/>
                  </a:cubicBezTo>
                  <a:cubicBezTo>
                    <a:pt x="262153" y="278470"/>
                    <a:pt x="262153" y="283910"/>
                    <a:pt x="262153" y="289349"/>
                  </a:cubicBezTo>
                  <a:lnTo>
                    <a:pt x="262153" y="297508"/>
                  </a:lnTo>
                  <a:cubicBezTo>
                    <a:pt x="262153" y="305667"/>
                    <a:pt x="262153" y="313826"/>
                    <a:pt x="264872" y="321985"/>
                  </a:cubicBezTo>
                  <a:cubicBezTo>
                    <a:pt x="264872" y="327424"/>
                    <a:pt x="270312" y="330144"/>
                    <a:pt x="270312" y="335583"/>
                  </a:cubicBezTo>
                  <a:cubicBezTo>
                    <a:pt x="270312" y="335583"/>
                    <a:pt x="270312" y="338303"/>
                    <a:pt x="270312" y="338303"/>
                  </a:cubicBezTo>
                  <a:cubicBezTo>
                    <a:pt x="270312" y="341022"/>
                    <a:pt x="270312" y="343742"/>
                    <a:pt x="270312" y="346462"/>
                  </a:cubicBezTo>
                  <a:cubicBezTo>
                    <a:pt x="270312" y="351901"/>
                    <a:pt x="273031" y="354621"/>
                    <a:pt x="278471" y="354621"/>
                  </a:cubicBezTo>
                  <a:cubicBezTo>
                    <a:pt x="289349" y="354621"/>
                    <a:pt x="335584" y="351901"/>
                    <a:pt x="338304" y="349181"/>
                  </a:cubicBezTo>
                  <a:cubicBezTo>
                    <a:pt x="346462" y="349181"/>
                    <a:pt x="357341" y="349181"/>
                    <a:pt x="365500" y="349181"/>
                  </a:cubicBezTo>
                  <a:cubicBezTo>
                    <a:pt x="370939" y="349181"/>
                    <a:pt x="376379" y="349181"/>
                    <a:pt x="381817" y="349181"/>
                  </a:cubicBezTo>
                  <a:cubicBezTo>
                    <a:pt x="387257" y="349181"/>
                    <a:pt x="392697" y="346462"/>
                    <a:pt x="392697" y="338303"/>
                  </a:cubicBezTo>
                  <a:cubicBezTo>
                    <a:pt x="392697" y="330144"/>
                    <a:pt x="389977" y="316545"/>
                    <a:pt x="389977" y="313826"/>
                  </a:cubicBezTo>
                  <a:cubicBezTo>
                    <a:pt x="389977" y="294788"/>
                    <a:pt x="389977" y="278470"/>
                    <a:pt x="392697" y="262152"/>
                  </a:cubicBezTo>
                  <a:cubicBezTo>
                    <a:pt x="392697" y="259433"/>
                    <a:pt x="395416" y="243115"/>
                    <a:pt x="395416" y="224077"/>
                  </a:cubicBezTo>
                  <a:cubicBezTo>
                    <a:pt x="395416" y="207759"/>
                    <a:pt x="398136" y="188722"/>
                    <a:pt x="398136" y="177843"/>
                  </a:cubicBezTo>
                  <a:cubicBezTo>
                    <a:pt x="398136" y="169684"/>
                    <a:pt x="395416" y="158806"/>
                    <a:pt x="395416" y="153366"/>
                  </a:cubicBezTo>
                  <a:cubicBezTo>
                    <a:pt x="395416" y="145207"/>
                    <a:pt x="395416" y="142488"/>
                    <a:pt x="395416" y="137048"/>
                  </a:cubicBezTo>
                  <a:cubicBezTo>
                    <a:pt x="389977" y="137048"/>
                    <a:pt x="384537" y="137048"/>
                    <a:pt x="379098" y="137048"/>
                  </a:cubicBezTo>
                  <a:cubicBezTo>
                    <a:pt x="370939" y="137048"/>
                    <a:pt x="360061" y="134329"/>
                    <a:pt x="351902" y="131609"/>
                  </a:cubicBezTo>
                  <a:cubicBezTo>
                    <a:pt x="343742" y="128889"/>
                    <a:pt x="338304" y="120730"/>
                    <a:pt x="338304" y="115291"/>
                  </a:cubicBezTo>
                  <a:cubicBezTo>
                    <a:pt x="338304" y="112571"/>
                    <a:pt x="338304" y="109852"/>
                    <a:pt x="343742" y="107132"/>
                  </a:cubicBezTo>
                  <a:cubicBezTo>
                    <a:pt x="349182" y="104412"/>
                    <a:pt x="357341" y="101693"/>
                    <a:pt x="362780" y="98973"/>
                  </a:cubicBezTo>
                  <a:cubicBezTo>
                    <a:pt x="373659" y="96253"/>
                    <a:pt x="387257" y="96253"/>
                    <a:pt x="395416" y="96253"/>
                  </a:cubicBezTo>
                  <a:cubicBezTo>
                    <a:pt x="398136" y="93534"/>
                    <a:pt x="400855" y="90814"/>
                    <a:pt x="403575" y="90814"/>
                  </a:cubicBezTo>
                  <a:cubicBezTo>
                    <a:pt x="411734" y="90814"/>
                    <a:pt x="419893" y="88095"/>
                    <a:pt x="422612" y="88095"/>
                  </a:cubicBezTo>
                  <a:cubicBezTo>
                    <a:pt x="425332" y="88095"/>
                    <a:pt x="425332" y="88095"/>
                    <a:pt x="428052" y="88095"/>
                  </a:cubicBezTo>
                  <a:cubicBezTo>
                    <a:pt x="433492" y="88095"/>
                    <a:pt x="441650" y="88095"/>
                    <a:pt x="447090" y="90814"/>
                  </a:cubicBezTo>
                  <a:cubicBezTo>
                    <a:pt x="449809" y="90814"/>
                    <a:pt x="452529" y="93534"/>
                    <a:pt x="455249" y="96253"/>
                  </a:cubicBezTo>
                  <a:cubicBezTo>
                    <a:pt x="482445" y="96253"/>
                    <a:pt x="509642" y="93534"/>
                    <a:pt x="525960" y="93534"/>
                  </a:cubicBezTo>
                  <a:cubicBezTo>
                    <a:pt x="539558" y="93534"/>
                    <a:pt x="561315" y="93534"/>
                    <a:pt x="561315" y="109852"/>
                  </a:cubicBezTo>
                  <a:cubicBezTo>
                    <a:pt x="561315" y="118011"/>
                    <a:pt x="561315" y="120730"/>
                    <a:pt x="555876" y="126170"/>
                  </a:cubicBezTo>
                  <a:cubicBezTo>
                    <a:pt x="550437" y="131609"/>
                    <a:pt x="544997" y="134329"/>
                    <a:pt x="539558" y="134329"/>
                  </a:cubicBezTo>
                  <a:cubicBezTo>
                    <a:pt x="531399" y="137048"/>
                    <a:pt x="523240" y="137048"/>
                    <a:pt x="517800" y="137048"/>
                  </a:cubicBezTo>
                  <a:cubicBezTo>
                    <a:pt x="515081" y="137048"/>
                    <a:pt x="498763" y="137048"/>
                    <a:pt x="477006" y="137048"/>
                  </a:cubicBezTo>
                  <a:cubicBezTo>
                    <a:pt x="479725" y="145207"/>
                    <a:pt x="485165" y="153366"/>
                    <a:pt x="485165" y="161525"/>
                  </a:cubicBezTo>
                  <a:cubicBezTo>
                    <a:pt x="487885" y="177843"/>
                    <a:pt x="493324" y="194161"/>
                    <a:pt x="496043" y="210479"/>
                  </a:cubicBezTo>
                  <a:cubicBezTo>
                    <a:pt x="498763" y="224077"/>
                    <a:pt x="498763" y="237676"/>
                    <a:pt x="501483" y="251274"/>
                  </a:cubicBezTo>
                  <a:cubicBezTo>
                    <a:pt x="504202" y="264872"/>
                    <a:pt x="506922" y="275751"/>
                    <a:pt x="506922" y="292069"/>
                  </a:cubicBezTo>
                  <a:cubicBezTo>
                    <a:pt x="506922" y="302947"/>
                    <a:pt x="506922" y="311106"/>
                    <a:pt x="506922" y="321985"/>
                  </a:cubicBezTo>
                  <a:cubicBezTo>
                    <a:pt x="506922" y="327424"/>
                    <a:pt x="509642" y="335583"/>
                    <a:pt x="509642" y="341022"/>
                  </a:cubicBezTo>
                  <a:cubicBezTo>
                    <a:pt x="509642" y="343742"/>
                    <a:pt x="509642" y="343742"/>
                    <a:pt x="509642" y="343742"/>
                  </a:cubicBezTo>
                  <a:cubicBezTo>
                    <a:pt x="509642" y="349181"/>
                    <a:pt x="515081" y="349181"/>
                    <a:pt x="517800" y="349181"/>
                  </a:cubicBezTo>
                  <a:cubicBezTo>
                    <a:pt x="520520" y="349181"/>
                    <a:pt x="523240" y="349181"/>
                    <a:pt x="528680" y="349181"/>
                  </a:cubicBezTo>
                  <a:cubicBezTo>
                    <a:pt x="536838" y="349181"/>
                    <a:pt x="547717" y="349181"/>
                    <a:pt x="550437" y="357340"/>
                  </a:cubicBezTo>
                  <a:cubicBezTo>
                    <a:pt x="550437" y="360060"/>
                    <a:pt x="550437" y="360060"/>
                    <a:pt x="550437" y="362780"/>
                  </a:cubicBezTo>
                  <a:cubicBezTo>
                    <a:pt x="550437" y="370939"/>
                    <a:pt x="539558" y="381817"/>
                    <a:pt x="534119" y="384537"/>
                  </a:cubicBezTo>
                  <a:cubicBezTo>
                    <a:pt x="531399" y="387257"/>
                    <a:pt x="523240" y="387257"/>
                    <a:pt x="520520" y="389976"/>
                  </a:cubicBezTo>
                  <a:cubicBezTo>
                    <a:pt x="515081" y="389976"/>
                    <a:pt x="512362" y="392696"/>
                    <a:pt x="512362" y="395415"/>
                  </a:cubicBezTo>
                  <a:cubicBezTo>
                    <a:pt x="512362" y="395415"/>
                    <a:pt x="512362" y="398135"/>
                    <a:pt x="512362" y="398135"/>
                  </a:cubicBezTo>
                  <a:cubicBezTo>
                    <a:pt x="512362" y="400855"/>
                    <a:pt x="512362" y="406294"/>
                    <a:pt x="512362" y="409014"/>
                  </a:cubicBezTo>
                  <a:cubicBezTo>
                    <a:pt x="512362" y="411733"/>
                    <a:pt x="512362" y="411733"/>
                    <a:pt x="512362" y="414453"/>
                  </a:cubicBezTo>
                  <a:cubicBezTo>
                    <a:pt x="512362" y="422612"/>
                    <a:pt x="512362" y="430771"/>
                    <a:pt x="512362" y="438930"/>
                  </a:cubicBezTo>
                  <a:cubicBezTo>
                    <a:pt x="512362" y="460687"/>
                    <a:pt x="512362" y="482445"/>
                    <a:pt x="515081" y="504202"/>
                  </a:cubicBezTo>
                  <a:cubicBezTo>
                    <a:pt x="517800" y="525959"/>
                    <a:pt x="520520" y="550436"/>
                    <a:pt x="520520" y="572193"/>
                  </a:cubicBezTo>
                  <a:cubicBezTo>
                    <a:pt x="520520" y="583072"/>
                    <a:pt x="520520" y="593950"/>
                    <a:pt x="517800" y="604829"/>
                  </a:cubicBezTo>
                  <a:cubicBezTo>
                    <a:pt x="515081" y="623867"/>
                    <a:pt x="515081" y="642904"/>
                    <a:pt x="512362" y="661942"/>
                  </a:cubicBezTo>
                  <a:cubicBezTo>
                    <a:pt x="512362" y="664661"/>
                    <a:pt x="509642" y="667381"/>
                    <a:pt x="509642" y="670101"/>
                  </a:cubicBezTo>
                  <a:cubicBezTo>
                    <a:pt x="509642" y="672820"/>
                    <a:pt x="512362" y="678260"/>
                    <a:pt x="512362" y="680979"/>
                  </a:cubicBezTo>
                  <a:cubicBezTo>
                    <a:pt x="512362" y="683699"/>
                    <a:pt x="512362" y="686419"/>
                    <a:pt x="512362" y="686419"/>
                  </a:cubicBezTo>
                  <a:cubicBezTo>
                    <a:pt x="517800" y="680979"/>
                    <a:pt x="528680" y="680979"/>
                    <a:pt x="536838" y="680979"/>
                  </a:cubicBezTo>
                  <a:lnTo>
                    <a:pt x="536838" y="680979"/>
                  </a:ln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3" name="Freeform: Shape 52">
              <a:extLst>
                <a:ext uri="{FF2B5EF4-FFF2-40B4-BE49-F238E27FC236}">
                  <a16:creationId xmlns:a16="http://schemas.microsoft.com/office/drawing/2014/main" id="{872BE12F-3FBC-4635-99C7-4788DC937AE2}"/>
                </a:ext>
              </a:extLst>
            </p:cNvPr>
            <p:cNvSpPr/>
            <p:nvPr/>
          </p:nvSpPr>
          <p:spPr>
            <a:xfrm>
              <a:off x="9592416" y="4192158"/>
              <a:ext cx="516735" cy="761503"/>
            </a:xfrm>
            <a:custGeom>
              <a:avLst/>
              <a:gdLst>
                <a:gd name="connsiteX0" fmla="*/ 463407 w 516735"/>
                <a:gd name="connsiteY0" fmla="*/ 194161 h 761503"/>
                <a:gd name="connsiteX1" fmla="*/ 447089 w 516735"/>
                <a:gd name="connsiteY1" fmla="*/ 226797 h 761503"/>
                <a:gd name="connsiteX2" fmla="*/ 430771 w 516735"/>
                <a:gd name="connsiteY2" fmla="*/ 221357 h 761503"/>
                <a:gd name="connsiteX3" fmla="*/ 422612 w 516735"/>
                <a:gd name="connsiteY3" fmla="*/ 207759 h 761503"/>
                <a:gd name="connsiteX4" fmla="*/ 419893 w 516735"/>
                <a:gd name="connsiteY4" fmla="*/ 188722 h 761503"/>
                <a:gd name="connsiteX5" fmla="*/ 419893 w 516735"/>
                <a:gd name="connsiteY5" fmla="*/ 139768 h 761503"/>
                <a:gd name="connsiteX6" fmla="*/ 419893 w 516735"/>
                <a:gd name="connsiteY6" fmla="*/ 120730 h 761503"/>
                <a:gd name="connsiteX7" fmla="*/ 395416 w 516735"/>
                <a:gd name="connsiteY7" fmla="*/ 120730 h 761503"/>
                <a:gd name="connsiteX8" fmla="*/ 370939 w 516735"/>
                <a:gd name="connsiteY8" fmla="*/ 120730 h 761503"/>
                <a:gd name="connsiteX9" fmla="*/ 346461 w 516735"/>
                <a:gd name="connsiteY9" fmla="*/ 123450 h 761503"/>
                <a:gd name="connsiteX10" fmla="*/ 335583 w 516735"/>
                <a:gd name="connsiteY10" fmla="*/ 123450 h 761503"/>
                <a:gd name="connsiteX11" fmla="*/ 335583 w 516735"/>
                <a:gd name="connsiteY11" fmla="*/ 123450 h 761503"/>
                <a:gd name="connsiteX12" fmla="*/ 324704 w 516735"/>
                <a:gd name="connsiteY12" fmla="*/ 128889 h 761503"/>
                <a:gd name="connsiteX13" fmla="*/ 327424 w 516735"/>
                <a:gd name="connsiteY13" fmla="*/ 139768 h 761503"/>
                <a:gd name="connsiteX14" fmla="*/ 330144 w 516735"/>
                <a:gd name="connsiteY14" fmla="*/ 175123 h 761503"/>
                <a:gd name="connsiteX15" fmla="*/ 330144 w 516735"/>
                <a:gd name="connsiteY15" fmla="*/ 199600 h 761503"/>
                <a:gd name="connsiteX16" fmla="*/ 327424 w 516735"/>
                <a:gd name="connsiteY16" fmla="*/ 224077 h 761503"/>
                <a:gd name="connsiteX17" fmla="*/ 330144 w 516735"/>
                <a:gd name="connsiteY17" fmla="*/ 251274 h 761503"/>
                <a:gd name="connsiteX18" fmla="*/ 327424 w 516735"/>
                <a:gd name="connsiteY18" fmla="*/ 278470 h 761503"/>
                <a:gd name="connsiteX19" fmla="*/ 327424 w 516735"/>
                <a:gd name="connsiteY19" fmla="*/ 332864 h 761503"/>
                <a:gd name="connsiteX20" fmla="*/ 330144 w 516735"/>
                <a:gd name="connsiteY20" fmla="*/ 357340 h 761503"/>
                <a:gd name="connsiteX21" fmla="*/ 330144 w 516735"/>
                <a:gd name="connsiteY21" fmla="*/ 368219 h 761503"/>
                <a:gd name="connsiteX22" fmla="*/ 332863 w 516735"/>
                <a:gd name="connsiteY22" fmla="*/ 387257 h 761503"/>
                <a:gd name="connsiteX23" fmla="*/ 332863 w 516735"/>
                <a:gd name="connsiteY23" fmla="*/ 433491 h 761503"/>
                <a:gd name="connsiteX24" fmla="*/ 332863 w 516735"/>
                <a:gd name="connsiteY24" fmla="*/ 487884 h 761503"/>
                <a:gd name="connsiteX25" fmla="*/ 330144 w 516735"/>
                <a:gd name="connsiteY25" fmla="*/ 512361 h 761503"/>
                <a:gd name="connsiteX26" fmla="*/ 330144 w 516735"/>
                <a:gd name="connsiteY26" fmla="*/ 539557 h 761503"/>
                <a:gd name="connsiteX27" fmla="*/ 332863 w 516735"/>
                <a:gd name="connsiteY27" fmla="*/ 593950 h 761503"/>
                <a:gd name="connsiteX28" fmla="*/ 332863 w 516735"/>
                <a:gd name="connsiteY28" fmla="*/ 648343 h 761503"/>
                <a:gd name="connsiteX29" fmla="*/ 332863 w 516735"/>
                <a:gd name="connsiteY29" fmla="*/ 656502 h 761503"/>
                <a:gd name="connsiteX30" fmla="*/ 357341 w 516735"/>
                <a:gd name="connsiteY30" fmla="*/ 656502 h 761503"/>
                <a:gd name="connsiteX31" fmla="*/ 395416 w 516735"/>
                <a:gd name="connsiteY31" fmla="*/ 675540 h 761503"/>
                <a:gd name="connsiteX32" fmla="*/ 389976 w 516735"/>
                <a:gd name="connsiteY32" fmla="*/ 691858 h 761503"/>
                <a:gd name="connsiteX33" fmla="*/ 373658 w 516735"/>
                <a:gd name="connsiteY33" fmla="*/ 700017 h 761503"/>
                <a:gd name="connsiteX34" fmla="*/ 351901 w 516735"/>
                <a:gd name="connsiteY34" fmla="*/ 702737 h 761503"/>
                <a:gd name="connsiteX35" fmla="*/ 319265 w 516735"/>
                <a:gd name="connsiteY35" fmla="*/ 702737 h 761503"/>
                <a:gd name="connsiteX36" fmla="*/ 311106 w 516735"/>
                <a:gd name="connsiteY36" fmla="*/ 708176 h 761503"/>
                <a:gd name="connsiteX37" fmla="*/ 289349 w 516735"/>
                <a:gd name="connsiteY37" fmla="*/ 713615 h 761503"/>
                <a:gd name="connsiteX38" fmla="*/ 270311 w 516735"/>
                <a:gd name="connsiteY38" fmla="*/ 713615 h 761503"/>
                <a:gd name="connsiteX39" fmla="*/ 243115 w 516735"/>
                <a:gd name="connsiteY39" fmla="*/ 705456 h 761503"/>
                <a:gd name="connsiteX40" fmla="*/ 237675 w 516735"/>
                <a:gd name="connsiteY40" fmla="*/ 702737 h 761503"/>
                <a:gd name="connsiteX41" fmla="*/ 199600 w 516735"/>
                <a:gd name="connsiteY41" fmla="*/ 702737 h 761503"/>
                <a:gd name="connsiteX42" fmla="*/ 175123 w 516735"/>
                <a:gd name="connsiteY42" fmla="*/ 702737 h 761503"/>
                <a:gd name="connsiteX43" fmla="*/ 147927 w 516735"/>
                <a:gd name="connsiteY43" fmla="*/ 697297 h 761503"/>
                <a:gd name="connsiteX44" fmla="*/ 131609 w 516735"/>
                <a:gd name="connsiteY44" fmla="*/ 678260 h 761503"/>
                <a:gd name="connsiteX45" fmla="*/ 137048 w 516735"/>
                <a:gd name="connsiteY45" fmla="*/ 670101 h 761503"/>
                <a:gd name="connsiteX46" fmla="*/ 158805 w 516735"/>
                <a:gd name="connsiteY46" fmla="*/ 661942 h 761503"/>
                <a:gd name="connsiteX47" fmla="*/ 199600 w 516735"/>
                <a:gd name="connsiteY47" fmla="*/ 659222 h 761503"/>
                <a:gd name="connsiteX48" fmla="*/ 199600 w 516735"/>
                <a:gd name="connsiteY48" fmla="*/ 659222 h 761503"/>
                <a:gd name="connsiteX49" fmla="*/ 196880 w 516735"/>
                <a:gd name="connsiteY49" fmla="*/ 629306 h 761503"/>
                <a:gd name="connsiteX50" fmla="*/ 199600 w 516735"/>
                <a:gd name="connsiteY50" fmla="*/ 574913 h 761503"/>
                <a:gd name="connsiteX51" fmla="*/ 202320 w 516735"/>
                <a:gd name="connsiteY51" fmla="*/ 523239 h 761503"/>
                <a:gd name="connsiteX52" fmla="*/ 205040 w 516735"/>
                <a:gd name="connsiteY52" fmla="*/ 460687 h 761503"/>
                <a:gd name="connsiteX53" fmla="*/ 205040 w 516735"/>
                <a:gd name="connsiteY53" fmla="*/ 417173 h 761503"/>
                <a:gd name="connsiteX54" fmla="*/ 207759 w 516735"/>
                <a:gd name="connsiteY54" fmla="*/ 392696 h 761503"/>
                <a:gd name="connsiteX55" fmla="*/ 210478 w 516735"/>
                <a:gd name="connsiteY55" fmla="*/ 368219 h 761503"/>
                <a:gd name="connsiteX56" fmla="*/ 210478 w 516735"/>
                <a:gd name="connsiteY56" fmla="*/ 313826 h 761503"/>
                <a:gd name="connsiteX57" fmla="*/ 210478 w 516735"/>
                <a:gd name="connsiteY57" fmla="*/ 259433 h 761503"/>
                <a:gd name="connsiteX58" fmla="*/ 210478 w 516735"/>
                <a:gd name="connsiteY58" fmla="*/ 213199 h 761503"/>
                <a:gd name="connsiteX59" fmla="*/ 210478 w 516735"/>
                <a:gd name="connsiteY59" fmla="*/ 145207 h 761503"/>
                <a:gd name="connsiteX60" fmla="*/ 213198 w 516735"/>
                <a:gd name="connsiteY60" fmla="*/ 131609 h 761503"/>
                <a:gd name="connsiteX61" fmla="*/ 205040 w 516735"/>
                <a:gd name="connsiteY61" fmla="*/ 123450 h 761503"/>
                <a:gd name="connsiteX62" fmla="*/ 161525 w 516735"/>
                <a:gd name="connsiteY62" fmla="*/ 123450 h 761503"/>
                <a:gd name="connsiteX63" fmla="*/ 112571 w 516735"/>
                <a:gd name="connsiteY63" fmla="*/ 120730 h 761503"/>
                <a:gd name="connsiteX64" fmla="*/ 104412 w 516735"/>
                <a:gd name="connsiteY64" fmla="*/ 118011 h 761503"/>
                <a:gd name="connsiteX65" fmla="*/ 107132 w 516735"/>
                <a:gd name="connsiteY65" fmla="*/ 191441 h 761503"/>
                <a:gd name="connsiteX66" fmla="*/ 90814 w 516735"/>
                <a:gd name="connsiteY66" fmla="*/ 224077 h 761503"/>
                <a:gd name="connsiteX67" fmla="*/ 74496 w 516735"/>
                <a:gd name="connsiteY67" fmla="*/ 218638 h 761503"/>
                <a:gd name="connsiteX68" fmla="*/ 66337 w 516735"/>
                <a:gd name="connsiteY68" fmla="*/ 205040 h 761503"/>
                <a:gd name="connsiteX69" fmla="*/ 63617 w 516735"/>
                <a:gd name="connsiteY69" fmla="*/ 186002 h 761503"/>
                <a:gd name="connsiteX70" fmla="*/ 63617 w 516735"/>
                <a:gd name="connsiteY70" fmla="*/ 145207 h 761503"/>
                <a:gd name="connsiteX71" fmla="*/ 63617 w 516735"/>
                <a:gd name="connsiteY71" fmla="*/ 109852 h 761503"/>
                <a:gd name="connsiteX72" fmla="*/ 58178 w 516735"/>
                <a:gd name="connsiteY72" fmla="*/ 96253 h 761503"/>
                <a:gd name="connsiteX73" fmla="*/ 66337 w 516735"/>
                <a:gd name="connsiteY73" fmla="*/ 85375 h 761503"/>
                <a:gd name="connsiteX74" fmla="*/ 93533 w 516735"/>
                <a:gd name="connsiteY74" fmla="*/ 77216 h 761503"/>
                <a:gd name="connsiteX75" fmla="*/ 115290 w 516735"/>
                <a:gd name="connsiteY75" fmla="*/ 77216 h 761503"/>
                <a:gd name="connsiteX76" fmla="*/ 169684 w 516735"/>
                <a:gd name="connsiteY76" fmla="*/ 74496 h 761503"/>
                <a:gd name="connsiteX77" fmla="*/ 194161 w 516735"/>
                <a:gd name="connsiteY77" fmla="*/ 71776 h 761503"/>
                <a:gd name="connsiteX78" fmla="*/ 196880 w 516735"/>
                <a:gd name="connsiteY78" fmla="*/ 71776 h 761503"/>
                <a:gd name="connsiteX79" fmla="*/ 210478 w 516735"/>
                <a:gd name="connsiteY79" fmla="*/ 71776 h 761503"/>
                <a:gd name="connsiteX80" fmla="*/ 218638 w 516735"/>
                <a:gd name="connsiteY80" fmla="*/ 71776 h 761503"/>
                <a:gd name="connsiteX81" fmla="*/ 237675 w 516735"/>
                <a:gd name="connsiteY81" fmla="*/ 60898 h 761503"/>
                <a:gd name="connsiteX82" fmla="*/ 253993 w 516735"/>
                <a:gd name="connsiteY82" fmla="*/ 58178 h 761503"/>
                <a:gd name="connsiteX83" fmla="*/ 283910 w 516735"/>
                <a:gd name="connsiteY83" fmla="*/ 60898 h 761503"/>
                <a:gd name="connsiteX84" fmla="*/ 294788 w 516735"/>
                <a:gd name="connsiteY84" fmla="*/ 66337 h 761503"/>
                <a:gd name="connsiteX85" fmla="*/ 305667 w 516735"/>
                <a:gd name="connsiteY85" fmla="*/ 74496 h 761503"/>
                <a:gd name="connsiteX86" fmla="*/ 313826 w 516735"/>
                <a:gd name="connsiteY86" fmla="*/ 74496 h 761503"/>
                <a:gd name="connsiteX87" fmla="*/ 327424 w 516735"/>
                <a:gd name="connsiteY87" fmla="*/ 74496 h 761503"/>
                <a:gd name="connsiteX88" fmla="*/ 354621 w 516735"/>
                <a:gd name="connsiteY88" fmla="*/ 74496 h 761503"/>
                <a:gd name="connsiteX89" fmla="*/ 422612 w 516735"/>
                <a:gd name="connsiteY89" fmla="*/ 74496 h 761503"/>
                <a:gd name="connsiteX90" fmla="*/ 455248 w 516735"/>
                <a:gd name="connsiteY90" fmla="*/ 79936 h 761503"/>
                <a:gd name="connsiteX91" fmla="*/ 466127 w 516735"/>
                <a:gd name="connsiteY91" fmla="*/ 98973 h 761503"/>
                <a:gd name="connsiteX92" fmla="*/ 463407 w 516735"/>
                <a:gd name="connsiteY92" fmla="*/ 109852 h 761503"/>
                <a:gd name="connsiteX93" fmla="*/ 463407 w 516735"/>
                <a:gd name="connsiteY93" fmla="*/ 120730 h 761503"/>
                <a:gd name="connsiteX94" fmla="*/ 463407 w 516735"/>
                <a:gd name="connsiteY94" fmla="*/ 194161 h 761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</a:cxnLst>
              <a:rect l="l" t="t" r="r" b="b"/>
              <a:pathLst>
                <a:path w="516735" h="761503">
                  <a:moveTo>
                    <a:pt x="463407" y="194161"/>
                  </a:moveTo>
                  <a:cubicBezTo>
                    <a:pt x="463407" y="205040"/>
                    <a:pt x="463407" y="226797"/>
                    <a:pt x="447089" y="226797"/>
                  </a:cubicBezTo>
                  <a:cubicBezTo>
                    <a:pt x="438930" y="226797"/>
                    <a:pt x="436211" y="226797"/>
                    <a:pt x="430771" y="221357"/>
                  </a:cubicBezTo>
                  <a:cubicBezTo>
                    <a:pt x="425332" y="218638"/>
                    <a:pt x="422612" y="210479"/>
                    <a:pt x="422612" y="207759"/>
                  </a:cubicBezTo>
                  <a:cubicBezTo>
                    <a:pt x="419893" y="199600"/>
                    <a:pt x="419893" y="194161"/>
                    <a:pt x="419893" y="188722"/>
                  </a:cubicBezTo>
                  <a:cubicBezTo>
                    <a:pt x="419893" y="183282"/>
                    <a:pt x="419893" y="147927"/>
                    <a:pt x="419893" y="139768"/>
                  </a:cubicBezTo>
                  <a:cubicBezTo>
                    <a:pt x="419893" y="134329"/>
                    <a:pt x="419893" y="128889"/>
                    <a:pt x="419893" y="120730"/>
                  </a:cubicBezTo>
                  <a:cubicBezTo>
                    <a:pt x="411734" y="120730"/>
                    <a:pt x="403574" y="120730"/>
                    <a:pt x="395416" y="120730"/>
                  </a:cubicBezTo>
                  <a:cubicBezTo>
                    <a:pt x="387256" y="120730"/>
                    <a:pt x="379098" y="120730"/>
                    <a:pt x="370939" y="120730"/>
                  </a:cubicBezTo>
                  <a:cubicBezTo>
                    <a:pt x="362780" y="120730"/>
                    <a:pt x="354621" y="123450"/>
                    <a:pt x="346461" y="123450"/>
                  </a:cubicBezTo>
                  <a:cubicBezTo>
                    <a:pt x="343742" y="123450"/>
                    <a:pt x="341023" y="123450"/>
                    <a:pt x="335583" y="123450"/>
                  </a:cubicBezTo>
                  <a:cubicBezTo>
                    <a:pt x="335583" y="123450"/>
                    <a:pt x="335583" y="123450"/>
                    <a:pt x="335583" y="123450"/>
                  </a:cubicBezTo>
                  <a:cubicBezTo>
                    <a:pt x="327424" y="123450"/>
                    <a:pt x="324704" y="126170"/>
                    <a:pt x="324704" y="128889"/>
                  </a:cubicBezTo>
                  <a:cubicBezTo>
                    <a:pt x="324704" y="131609"/>
                    <a:pt x="324704" y="137048"/>
                    <a:pt x="327424" y="139768"/>
                  </a:cubicBezTo>
                  <a:cubicBezTo>
                    <a:pt x="330144" y="147927"/>
                    <a:pt x="330144" y="166964"/>
                    <a:pt x="330144" y="175123"/>
                  </a:cubicBezTo>
                  <a:cubicBezTo>
                    <a:pt x="330144" y="183282"/>
                    <a:pt x="330144" y="191441"/>
                    <a:pt x="330144" y="199600"/>
                  </a:cubicBezTo>
                  <a:cubicBezTo>
                    <a:pt x="330144" y="207759"/>
                    <a:pt x="327424" y="215918"/>
                    <a:pt x="327424" y="224077"/>
                  </a:cubicBezTo>
                  <a:cubicBezTo>
                    <a:pt x="327424" y="232236"/>
                    <a:pt x="330144" y="243115"/>
                    <a:pt x="330144" y="251274"/>
                  </a:cubicBezTo>
                  <a:cubicBezTo>
                    <a:pt x="330144" y="259433"/>
                    <a:pt x="330144" y="267592"/>
                    <a:pt x="327424" y="278470"/>
                  </a:cubicBezTo>
                  <a:cubicBezTo>
                    <a:pt x="327424" y="294788"/>
                    <a:pt x="327424" y="313826"/>
                    <a:pt x="327424" y="332864"/>
                  </a:cubicBezTo>
                  <a:cubicBezTo>
                    <a:pt x="327424" y="341022"/>
                    <a:pt x="327424" y="349181"/>
                    <a:pt x="330144" y="357340"/>
                  </a:cubicBezTo>
                  <a:cubicBezTo>
                    <a:pt x="330144" y="360060"/>
                    <a:pt x="330144" y="365499"/>
                    <a:pt x="330144" y="368219"/>
                  </a:cubicBezTo>
                  <a:cubicBezTo>
                    <a:pt x="330144" y="373658"/>
                    <a:pt x="332863" y="384537"/>
                    <a:pt x="332863" y="387257"/>
                  </a:cubicBezTo>
                  <a:cubicBezTo>
                    <a:pt x="332863" y="406294"/>
                    <a:pt x="332863" y="414453"/>
                    <a:pt x="332863" y="433491"/>
                  </a:cubicBezTo>
                  <a:cubicBezTo>
                    <a:pt x="332863" y="452528"/>
                    <a:pt x="335583" y="468846"/>
                    <a:pt x="332863" y="487884"/>
                  </a:cubicBezTo>
                  <a:cubicBezTo>
                    <a:pt x="332863" y="496043"/>
                    <a:pt x="330144" y="504202"/>
                    <a:pt x="330144" y="512361"/>
                  </a:cubicBezTo>
                  <a:cubicBezTo>
                    <a:pt x="330144" y="520520"/>
                    <a:pt x="330144" y="531398"/>
                    <a:pt x="330144" y="539557"/>
                  </a:cubicBezTo>
                  <a:cubicBezTo>
                    <a:pt x="330144" y="558595"/>
                    <a:pt x="330144" y="574913"/>
                    <a:pt x="332863" y="593950"/>
                  </a:cubicBezTo>
                  <a:cubicBezTo>
                    <a:pt x="332863" y="610268"/>
                    <a:pt x="332863" y="632026"/>
                    <a:pt x="332863" y="648343"/>
                  </a:cubicBezTo>
                  <a:cubicBezTo>
                    <a:pt x="332863" y="651063"/>
                    <a:pt x="332863" y="653783"/>
                    <a:pt x="332863" y="656502"/>
                  </a:cubicBezTo>
                  <a:cubicBezTo>
                    <a:pt x="343742" y="656502"/>
                    <a:pt x="351901" y="656502"/>
                    <a:pt x="357341" y="656502"/>
                  </a:cubicBezTo>
                  <a:cubicBezTo>
                    <a:pt x="370939" y="656502"/>
                    <a:pt x="395416" y="659222"/>
                    <a:pt x="395416" y="675540"/>
                  </a:cubicBezTo>
                  <a:cubicBezTo>
                    <a:pt x="395416" y="683699"/>
                    <a:pt x="392696" y="686419"/>
                    <a:pt x="389976" y="691858"/>
                  </a:cubicBezTo>
                  <a:cubicBezTo>
                    <a:pt x="384537" y="697297"/>
                    <a:pt x="379098" y="700017"/>
                    <a:pt x="373658" y="700017"/>
                  </a:cubicBezTo>
                  <a:cubicBezTo>
                    <a:pt x="365499" y="702737"/>
                    <a:pt x="357341" y="702737"/>
                    <a:pt x="351901" y="702737"/>
                  </a:cubicBezTo>
                  <a:cubicBezTo>
                    <a:pt x="349181" y="702737"/>
                    <a:pt x="335583" y="702737"/>
                    <a:pt x="319265" y="702737"/>
                  </a:cubicBezTo>
                  <a:cubicBezTo>
                    <a:pt x="316546" y="705456"/>
                    <a:pt x="313826" y="705456"/>
                    <a:pt x="311106" y="708176"/>
                  </a:cubicBezTo>
                  <a:cubicBezTo>
                    <a:pt x="302948" y="713615"/>
                    <a:pt x="297508" y="713615"/>
                    <a:pt x="289349" y="713615"/>
                  </a:cubicBezTo>
                  <a:cubicBezTo>
                    <a:pt x="283910" y="713615"/>
                    <a:pt x="278470" y="713615"/>
                    <a:pt x="270311" y="713615"/>
                  </a:cubicBezTo>
                  <a:cubicBezTo>
                    <a:pt x="259433" y="713615"/>
                    <a:pt x="251273" y="710895"/>
                    <a:pt x="243115" y="705456"/>
                  </a:cubicBezTo>
                  <a:cubicBezTo>
                    <a:pt x="240395" y="705456"/>
                    <a:pt x="237675" y="702737"/>
                    <a:pt x="237675" y="702737"/>
                  </a:cubicBezTo>
                  <a:cubicBezTo>
                    <a:pt x="224077" y="702737"/>
                    <a:pt x="213198" y="702737"/>
                    <a:pt x="199600" y="702737"/>
                  </a:cubicBezTo>
                  <a:cubicBezTo>
                    <a:pt x="191441" y="702737"/>
                    <a:pt x="183282" y="702737"/>
                    <a:pt x="175123" y="702737"/>
                  </a:cubicBezTo>
                  <a:cubicBezTo>
                    <a:pt x="166965" y="702737"/>
                    <a:pt x="156085" y="702737"/>
                    <a:pt x="147927" y="697297"/>
                  </a:cubicBezTo>
                  <a:cubicBezTo>
                    <a:pt x="139768" y="694578"/>
                    <a:pt x="131609" y="680979"/>
                    <a:pt x="131609" y="678260"/>
                  </a:cubicBezTo>
                  <a:cubicBezTo>
                    <a:pt x="131609" y="675540"/>
                    <a:pt x="131609" y="672820"/>
                    <a:pt x="137048" y="670101"/>
                  </a:cubicBezTo>
                  <a:cubicBezTo>
                    <a:pt x="142487" y="667381"/>
                    <a:pt x="153366" y="664661"/>
                    <a:pt x="158805" y="661942"/>
                  </a:cubicBezTo>
                  <a:cubicBezTo>
                    <a:pt x="175123" y="659222"/>
                    <a:pt x="191441" y="659222"/>
                    <a:pt x="199600" y="659222"/>
                  </a:cubicBezTo>
                  <a:lnTo>
                    <a:pt x="199600" y="659222"/>
                  </a:lnTo>
                  <a:cubicBezTo>
                    <a:pt x="199600" y="648343"/>
                    <a:pt x="196880" y="640184"/>
                    <a:pt x="196880" y="629306"/>
                  </a:cubicBezTo>
                  <a:cubicBezTo>
                    <a:pt x="196880" y="612988"/>
                    <a:pt x="196880" y="591231"/>
                    <a:pt x="199600" y="574913"/>
                  </a:cubicBezTo>
                  <a:cubicBezTo>
                    <a:pt x="199600" y="558595"/>
                    <a:pt x="199600" y="539557"/>
                    <a:pt x="202320" y="523239"/>
                  </a:cubicBezTo>
                  <a:cubicBezTo>
                    <a:pt x="202320" y="501482"/>
                    <a:pt x="205040" y="482445"/>
                    <a:pt x="205040" y="460687"/>
                  </a:cubicBezTo>
                  <a:cubicBezTo>
                    <a:pt x="205040" y="447089"/>
                    <a:pt x="205040" y="430771"/>
                    <a:pt x="205040" y="417173"/>
                  </a:cubicBezTo>
                  <a:cubicBezTo>
                    <a:pt x="205040" y="409014"/>
                    <a:pt x="207759" y="400855"/>
                    <a:pt x="207759" y="392696"/>
                  </a:cubicBezTo>
                  <a:cubicBezTo>
                    <a:pt x="207759" y="384537"/>
                    <a:pt x="210478" y="376378"/>
                    <a:pt x="210478" y="368219"/>
                  </a:cubicBezTo>
                  <a:cubicBezTo>
                    <a:pt x="210478" y="351901"/>
                    <a:pt x="210478" y="332864"/>
                    <a:pt x="210478" y="313826"/>
                  </a:cubicBezTo>
                  <a:cubicBezTo>
                    <a:pt x="210478" y="294788"/>
                    <a:pt x="210478" y="275751"/>
                    <a:pt x="210478" y="259433"/>
                  </a:cubicBezTo>
                  <a:cubicBezTo>
                    <a:pt x="210478" y="243115"/>
                    <a:pt x="210478" y="226797"/>
                    <a:pt x="210478" y="213199"/>
                  </a:cubicBezTo>
                  <a:cubicBezTo>
                    <a:pt x="210478" y="194161"/>
                    <a:pt x="210478" y="164245"/>
                    <a:pt x="210478" y="145207"/>
                  </a:cubicBezTo>
                  <a:cubicBezTo>
                    <a:pt x="210478" y="139768"/>
                    <a:pt x="213198" y="134329"/>
                    <a:pt x="213198" y="131609"/>
                  </a:cubicBezTo>
                  <a:cubicBezTo>
                    <a:pt x="213198" y="126170"/>
                    <a:pt x="207759" y="123450"/>
                    <a:pt x="205040" y="123450"/>
                  </a:cubicBezTo>
                  <a:cubicBezTo>
                    <a:pt x="199600" y="123450"/>
                    <a:pt x="166965" y="123450"/>
                    <a:pt x="161525" y="123450"/>
                  </a:cubicBezTo>
                  <a:cubicBezTo>
                    <a:pt x="145207" y="123450"/>
                    <a:pt x="128889" y="123450"/>
                    <a:pt x="112571" y="120730"/>
                  </a:cubicBezTo>
                  <a:cubicBezTo>
                    <a:pt x="109852" y="120730"/>
                    <a:pt x="107132" y="120730"/>
                    <a:pt x="104412" y="118011"/>
                  </a:cubicBezTo>
                  <a:cubicBezTo>
                    <a:pt x="107132" y="137048"/>
                    <a:pt x="107132" y="172404"/>
                    <a:pt x="107132" y="191441"/>
                  </a:cubicBezTo>
                  <a:cubicBezTo>
                    <a:pt x="107132" y="202320"/>
                    <a:pt x="107132" y="224077"/>
                    <a:pt x="90814" y="224077"/>
                  </a:cubicBezTo>
                  <a:cubicBezTo>
                    <a:pt x="82655" y="224077"/>
                    <a:pt x="79935" y="221357"/>
                    <a:pt x="74496" y="218638"/>
                  </a:cubicBezTo>
                  <a:cubicBezTo>
                    <a:pt x="69057" y="215918"/>
                    <a:pt x="66337" y="210479"/>
                    <a:pt x="66337" y="205040"/>
                  </a:cubicBezTo>
                  <a:cubicBezTo>
                    <a:pt x="63617" y="196881"/>
                    <a:pt x="63617" y="191441"/>
                    <a:pt x="63617" y="186002"/>
                  </a:cubicBezTo>
                  <a:cubicBezTo>
                    <a:pt x="63617" y="180563"/>
                    <a:pt x="63617" y="153366"/>
                    <a:pt x="63617" y="145207"/>
                  </a:cubicBezTo>
                  <a:cubicBezTo>
                    <a:pt x="63617" y="134329"/>
                    <a:pt x="63617" y="120730"/>
                    <a:pt x="63617" y="109852"/>
                  </a:cubicBezTo>
                  <a:cubicBezTo>
                    <a:pt x="60897" y="104412"/>
                    <a:pt x="58178" y="101693"/>
                    <a:pt x="58178" y="96253"/>
                  </a:cubicBezTo>
                  <a:cubicBezTo>
                    <a:pt x="58178" y="93534"/>
                    <a:pt x="60897" y="88095"/>
                    <a:pt x="66337" y="85375"/>
                  </a:cubicBezTo>
                  <a:cubicBezTo>
                    <a:pt x="74496" y="79936"/>
                    <a:pt x="77215" y="77216"/>
                    <a:pt x="93533" y="77216"/>
                  </a:cubicBezTo>
                  <a:cubicBezTo>
                    <a:pt x="101692" y="77216"/>
                    <a:pt x="109852" y="77216"/>
                    <a:pt x="115290" y="77216"/>
                  </a:cubicBezTo>
                  <a:cubicBezTo>
                    <a:pt x="134328" y="77216"/>
                    <a:pt x="150646" y="77216"/>
                    <a:pt x="169684" y="74496"/>
                  </a:cubicBezTo>
                  <a:cubicBezTo>
                    <a:pt x="177843" y="74496"/>
                    <a:pt x="186002" y="71776"/>
                    <a:pt x="194161" y="71776"/>
                  </a:cubicBezTo>
                  <a:cubicBezTo>
                    <a:pt x="194161" y="71776"/>
                    <a:pt x="196880" y="71776"/>
                    <a:pt x="196880" y="71776"/>
                  </a:cubicBezTo>
                  <a:cubicBezTo>
                    <a:pt x="199600" y="71776"/>
                    <a:pt x="205040" y="71776"/>
                    <a:pt x="210478" y="71776"/>
                  </a:cubicBezTo>
                  <a:cubicBezTo>
                    <a:pt x="213198" y="71776"/>
                    <a:pt x="215918" y="71776"/>
                    <a:pt x="218638" y="71776"/>
                  </a:cubicBezTo>
                  <a:cubicBezTo>
                    <a:pt x="224077" y="69057"/>
                    <a:pt x="229516" y="63618"/>
                    <a:pt x="237675" y="60898"/>
                  </a:cubicBezTo>
                  <a:cubicBezTo>
                    <a:pt x="243115" y="58178"/>
                    <a:pt x="248554" y="58178"/>
                    <a:pt x="253993" y="58178"/>
                  </a:cubicBezTo>
                  <a:cubicBezTo>
                    <a:pt x="264872" y="58178"/>
                    <a:pt x="273031" y="58178"/>
                    <a:pt x="283910" y="60898"/>
                  </a:cubicBezTo>
                  <a:cubicBezTo>
                    <a:pt x="286629" y="60898"/>
                    <a:pt x="292068" y="63618"/>
                    <a:pt x="294788" y="66337"/>
                  </a:cubicBezTo>
                  <a:cubicBezTo>
                    <a:pt x="297508" y="69057"/>
                    <a:pt x="302948" y="71776"/>
                    <a:pt x="305667" y="74496"/>
                  </a:cubicBezTo>
                  <a:cubicBezTo>
                    <a:pt x="308386" y="74496"/>
                    <a:pt x="311106" y="74496"/>
                    <a:pt x="313826" y="74496"/>
                  </a:cubicBezTo>
                  <a:cubicBezTo>
                    <a:pt x="319265" y="74496"/>
                    <a:pt x="321985" y="74496"/>
                    <a:pt x="327424" y="74496"/>
                  </a:cubicBezTo>
                  <a:cubicBezTo>
                    <a:pt x="335583" y="74496"/>
                    <a:pt x="346461" y="74496"/>
                    <a:pt x="354621" y="74496"/>
                  </a:cubicBezTo>
                  <a:cubicBezTo>
                    <a:pt x="376378" y="74496"/>
                    <a:pt x="400855" y="74496"/>
                    <a:pt x="422612" y="74496"/>
                  </a:cubicBezTo>
                  <a:cubicBezTo>
                    <a:pt x="433491" y="74496"/>
                    <a:pt x="447089" y="74496"/>
                    <a:pt x="455248" y="79936"/>
                  </a:cubicBezTo>
                  <a:cubicBezTo>
                    <a:pt x="460687" y="82655"/>
                    <a:pt x="466127" y="90814"/>
                    <a:pt x="466127" y="98973"/>
                  </a:cubicBezTo>
                  <a:cubicBezTo>
                    <a:pt x="466127" y="101693"/>
                    <a:pt x="466127" y="107132"/>
                    <a:pt x="463407" y="109852"/>
                  </a:cubicBezTo>
                  <a:cubicBezTo>
                    <a:pt x="463407" y="112571"/>
                    <a:pt x="463407" y="112571"/>
                    <a:pt x="463407" y="120730"/>
                  </a:cubicBezTo>
                  <a:cubicBezTo>
                    <a:pt x="463407" y="142488"/>
                    <a:pt x="463407" y="172404"/>
                    <a:pt x="463407" y="194161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023130842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Wor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>
            <a:extLst>
              <a:ext uri="{FF2B5EF4-FFF2-40B4-BE49-F238E27FC236}">
                <a16:creationId xmlns:a16="http://schemas.microsoft.com/office/drawing/2014/main" id="{CA58538C-6DCE-48AB-8A34-6553092FE476}"/>
              </a:ext>
            </a:extLst>
          </p:cNvPr>
          <p:cNvGrpSpPr/>
          <p:nvPr/>
        </p:nvGrpSpPr>
        <p:grpSpPr bwMode="ltGray">
          <a:xfrm>
            <a:off x="0" y="1"/>
            <a:ext cx="5266036" cy="6858000"/>
            <a:chOff x="0" y="1"/>
            <a:chExt cx="5266036" cy="6858000"/>
          </a:xfrm>
        </p:grpSpPr>
        <p:sp>
          <p:nvSpPr>
            <p:cNvPr id="8" name="Freeform: Shape 7">
              <a:extLst>
                <a:ext uri="{FF2B5EF4-FFF2-40B4-BE49-F238E27FC236}">
                  <a16:creationId xmlns:a16="http://schemas.microsoft.com/office/drawing/2014/main" id="{284F7992-9D3F-4C17-B64D-6183DCA4456E}"/>
                </a:ext>
              </a:extLst>
            </p:cNvPr>
            <p:cNvSpPr/>
            <p:nvPr/>
          </p:nvSpPr>
          <p:spPr bwMode="ltGray">
            <a:xfrm>
              <a:off x="0" y="1"/>
              <a:ext cx="5266036" cy="6858000"/>
            </a:xfrm>
            <a:custGeom>
              <a:avLst/>
              <a:gdLst>
                <a:gd name="connsiteX0" fmla="*/ 0 w 5266036"/>
                <a:gd name="connsiteY0" fmla="*/ 0 h 6858000"/>
                <a:gd name="connsiteX1" fmla="*/ 3014696 w 5266036"/>
                <a:gd name="connsiteY1" fmla="*/ 0 h 6858000"/>
                <a:gd name="connsiteX2" fmla="*/ 3040982 w 5266036"/>
                <a:gd name="connsiteY2" fmla="*/ 11408 h 6858000"/>
                <a:gd name="connsiteX3" fmla="*/ 5250901 w 5266036"/>
                <a:gd name="connsiteY3" fmla="*/ 4085922 h 6858000"/>
                <a:gd name="connsiteX4" fmla="*/ 3435696 w 5266036"/>
                <a:gd name="connsiteY4" fmla="*/ 6839477 h 6858000"/>
                <a:gd name="connsiteX5" fmla="*/ 3398836 w 5266036"/>
                <a:gd name="connsiteY5" fmla="*/ 6858000 h 6858000"/>
                <a:gd name="connsiteX6" fmla="*/ 0 w 5266036"/>
                <a:gd name="connsiteY6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266036" h="6858000">
                  <a:moveTo>
                    <a:pt x="0" y="0"/>
                  </a:moveTo>
                  <a:lnTo>
                    <a:pt x="3014696" y="0"/>
                  </a:lnTo>
                  <a:lnTo>
                    <a:pt x="3040982" y="11408"/>
                  </a:lnTo>
                  <a:cubicBezTo>
                    <a:pt x="4562919" y="717837"/>
                    <a:pt x="5390071" y="2397951"/>
                    <a:pt x="5250901" y="4085922"/>
                  </a:cubicBezTo>
                  <a:cubicBezTo>
                    <a:pt x="5138669" y="5484335"/>
                    <a:pt x="4361602" y="6343612"/>
                    <a:pt x="3435696" y="6839477"/>
                  </a:cubicBezTo>
                  <a:lnTo>
                    <a:pt x="3398836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4F2170"/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en-US"/>
            </a:p>
          </p:txBody>
        </p:sp>
        <p:sp>
          <p:nvSpPr>
            <p:cNvPr id="9" name="Freeform: Shape 8">
              <a:extLst>
                <a:ext uri="{FF2B5EF4-FFF2-40B4-BE49-F238E27FC236}">
                  <a16:creationId xmlns:a16="http://schemas.microsoft.com/office/drawing/2014/main" id="{768B0534-2EEE-4824-8F44-ACC22A3132AF}"/>
                </a:ext>
              </a:extLst>
            </p:cNvPr>
            <p:cNvSpPr/>
            <p:nvPr/>
          </p:nvSpPr>
          <p:spPr bwMode="ltGray">
            <a:xfrm>
              <a:off x="1" y="99439"/>
              <a:ext cx="287275" cy="1443098"/>
            </a:xfrm>
            <a:custGeom>
              <a:avLst/>
              <a:gdLst>
                <a:gd name="connsiteX0" fmla="*/ 94635 w 287275"/>
                <a:gd name="connsiteY0" fmla="*/ 646457 h 1443098"/>
                <a:gd name="connsiteX1" fmla="*/ 110030 w 287275"/>
                <a:gd name="connsiteY1" fmla="*/ 646457 h 1443098"/>
                <a:gd name="connsiteX2" fmla="*/ 176725 w 287275"/>
                <a:gd name="connsiteY2" fmla="*/ 1205691 h 1443098"/>
                <a:gd name="connsiteX3" fmla="*/ 17148 w 287275"/>
                <a:gd name="connsiteY3" fmla="*/ 1435626 h 1443098"/>
                <a:gd name="connsiteX4" fmla="*/ 0 w 287275"/>
                <a:gd name="connsiteY4" fmla="*/ 1443098 h 1443098"/>
                <a:gd name="connsiteX5" fmla="*/ 0 w 287275"/>
                <a:gd name="connsiteY5" fmla="*/ 675806 h 1443098"/>
                <a:gd name="connsiteX6" fmla="*/ 79246 w 287275"/>
                <a:gd name="connsiteY6" fmla="*/ 0 h 1443098"/>
                <a:gd name="connsiteX7" fmla="*/ 161336 w 287275"/>
                <a:gd name="connsiteY7" fmla="*/ 10261 h 1443098"/>
                <a:gd name="connsiteX8" fmla="*/ 145941 w 287275"/>
                <a:gd name="connsiteY8" fmla="*/ 287314 h 1443098"/>
                <a:gd name="connsiteX9" fmla="*/ 62169 w 287275"/>
                <a:gd name="connsiteY9" fmla="*/ 305030 h 1443098"/>
                <a:gd name="connsiteX10" fmla="*/ 0 w 287275"/>
                <a:gd name="connsiteY10" fmla="*/ 311825 h 1443098"/>
                <a:gd name="connsiteX11" fmla="*/ 0 w 287275"/>
                <a:gd name="connsiteY11" fmla="*/ 20391 h 14430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87275" h="1443098">
                  <a:moveTo>
                    <a:pt x="94635" y="646457"/>
                  </a:moveTo>
                  <a:cubicBezTo>
                    <a:pt x="99769" y="646457"/>
                    <a:pt x="104897" y="646457"/>
                    <a:pt x="110030" y="646457"/>
                  </a:cubicBezTo>
                  <a:cubicBezTo>
                    <a:pt x="438389" y="692630"/>
                    <a:pt x="217770" y="1000466"/>
                    <a:pt x="176725" y="1205691"/>
                  </a:cubicBezTo>
                  <a:cubicBezTo>
                    <a:pt x="145302" y="1376283"/>
                    <a:pt x="141374" y="1381895"/>
                    <a:pt x="17148" y="1435626"/>
                  </a:cubicBezTo>
                  <a:lnTo>
                    <a:pt x="0" y="1443098"/>
                  </a:lnTo>
                  <a:lnTo>
                    <a:pt x="0" y="675806"/>
                  </a:lnTo>
                  <a:close/>
                  <a:moveTo>
                    <a:pt x="79246" y="0"/>
                  </a:moveTo>
                  <a:cubicBezTo>
                    <a:pt x="99769" y="0"/>
                    <a:pt x="120291" y="5128"/>
                    <a:pt x="161336" y="10261"/>
                  </a:cubicBezTo>
                  <a:cubicBezTo>
                    <a:pt x="325515" y="92351"/>
                    <a:pt x="274209" y="246269"/>
                    <a:pt x="145941" y="287314"/>
                  </a:cubicBezTo>
                  <a:cubicBezTo>
                    <a:pt x="116441" y="296292"/>
                    <a:pt x="88864" y="301422"/>
                    <a:pt x="62169" y="305030"/>
                  </a:cubicBezTo>
                  <a:lnTo>
                    <a:pt x="0" y="311825"/>
                  </a:lnTo>
                  <a:lnTo>
                    <a:pt x="0" y="20391"/>
                  </a:lnTo>
                  <a:close/>
                </a:path>
              </a:pathLst>
            </a:custGeom>
            <a:solidFill>
              <a:srgbClr val="724D8D"/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en-US"/>
            </a:p>
          </p:txBody>
        </p:sp>
        <p:sp>
          <p:nvSpPr>
            <p:cNvPr id="10" name="Freeform: Shape 9">
              <a:extLst>
                <a:ext uri="{FF2B5EF4-FFF2-40B4-BE49-F238E27FC236}">
                  <a16:creationId xmlns:a16="http://schemas.microsoft.com/office/drawing/2014/main" id="{89E5AB32-14B9-4441-BD18-CA3B7FA72F4A}"/>
                </a:ext>
              </a:extLst>
            </p:cNvPr>
            <p:cNvSpPr/>
            <p:nvPr/>
          </p:nvSpPr>
          <p:spPr bwMode="ltGray">
            <a:xfrm>
              <a:off x="0" y="3622695"/>
              <a:ext cx="911379" cy="2599608"/>
            </a:xfrm>
            <a:custGeom>
              <a:avLst/>
              <a:gdLst>
                <a:gd name="connsiteX0" fmla="*/ 0 w 911379"/>
                <a:gd name="connsiteY0" fmla="*/ 3000131 h 3315846"/>
                <a:gd name="connsiteX1" fmla="*/ 9176 w 911379"/>
                <a:gd name="connsiteY1" fmla="*/ 3027252 h 3315846"/>
                <a:gd name="connsiteX2" fmla="*/ 27935 w 911379"/>
                <a:gd name="connsiteY2" fmla="*/ 3315846 h 3315846"/>
                <a:gd name="connsiteX3" fmla="*/ 17673 w 911379"/>
                <a:gd name="connsiteY3" fmla="*/ 3315846 h 3315846"/>
                <a:gd name="connsiteX4" fmla="*/ 0 w 911379"/>
                <a:gd name="connsiteY4" fmla="*/ 3309186 h 3315846"/>
                <a:gd name="connsiteX5" fmla="*/ 0 w 911379"/>
                <a:gd name="connsiteY5" fmla="*/ 0 h 3315846"/>
                <a:gd name="connsiteX6" fmla="*/ 63852 w 911379"/>
                <a:gd name="connsiteY6" fmla="*/ 32258 h 3315846"/>
                <a:gd name="connsiteX7" fmla="*/ 253681 w 911379"/>
                <a:gd name="connsiteY7" fmla="*/ 140003 h 3315846"/>
                <a:gd name="connsiteX8" fmla="*/ 376816 w 911379"/>
                <a:gd name="connsiteY8" fmla="*/ 432445 h 3315846"/>
                <a:gd name="connsiteX9" fmla="*/ 587173 w 911379"/>
                <a:gd name="connsiteY9" fmla="*/ 545318 h 3315846"/>
                <a:gd name="connsiteX10" fmla="*/ 900137 w 911379"/>
                <a:gd name="connsiteY10" fmla="*/ 919855 h 3315846"/>
                <a:gd name="connsiteX11" fmla="*/ 664129 w 911379"/>
                <a:gd name="connsiteY11" fmla="*/ 1284126 h 3315846"/>
                <a:gd name="connsiteX12" fmla="*/ 566651 w 911379"/>
                <a:gd name="connsiteY12" fmla="*/ 1684313 h 3315846"/>
                <a:gd name="connsiteX13" fmla="*/ 304987 w 911379"/>
                <a:gd name="connsiteY13" fmla="*/ 2002411 h 3315846"/>
                <a:gd name="connsiteX14" fmla="*/ 63852 w 911379"/>
                <a:gd name="connsiteY14" fmla="*/ 2489821 h 3315846"/>
                <a:gd name="connsiteX15" fmla="*/ 0 w 911379"/>
                <a:gd name="connsiteY15" fmla="*/ 2599608 h 3315846"/>
                <a:gd name="connsiteX0" fmla="*/ 0 w 911379"/>
                <a:gd name="connsiteY0" fmla="*/ 3000131 h 3315846"/>
                <a:gd name="connsiteX1" fmla="*/ 9176 w 911379"/>
                <a:gd name="connsiteY1" fmla="*/ 3027252 h 3315846"/>
                <a:gd name="connsiteX2" fmla="*/ 27935 w 911379"/>
                <a:gd name="connsiteY2" fmla="*/ 3315846 h 3315846"/>
                <a:gd name="connsiteX3" fmla="*/ 17673 w 911379"/>
                <a:gd name="connsiteY3" fmla="*/ 3315846 h 3315846"/>
                <a:gd name="connsiteX4" fmla="*/ 0 w 911379"/>
                <a:gd name="connsiteY4" fmla="*/ 3000131 h 3315846"/>
                <a:gd name="connsiteX5" fmla="*/ 0 w 911379"/>
                <a:gd name="connsiteY5" fmla="*/ 0 h 3315846"/>
                <a:gd name="connsiteX6" fmla="*/ 63852 w 911379"/>
                <a:gd name="connsiteY6" fmla="*/ 32258 h 3315846"/>
                <a:gd name="connsiteX7" fmla="*/ 253681 w 911379"/>
                <a:gd name="connsiteY7" fmla="*/ 140003 h 3315846"/>
                <a:gd name="connsiteX8" fmla="*/ 376816 w 911379"/>
                <a:gd name="connsiteY8" fmla="*/ 432445 h 3315846"/>
                <a:gd name="connsiteX9" fmla="*/ 587173 w 911379"/>
                <a:gd name="connsiteY9" fmla="*/ 545318 h 3315846"/>
                <a:gd name="connsiteX10" fmla="*/ 900137 w 911379"/>
                <a:gd name="connsiteY10" fmla="*/ 919855 h 3315846"/>
                <a:gd name="connsiteX11" fmla="*/ 664129 w 911379"/>
                <a:gd name="connsiteY11" fmla="*/ 1284126 h 3315846"/>
                <a:gd name="connsiteX12" fmla="*/ 566651 w 911379"/>
                <a:gd name="connsiteY12" fmla="*/ 1684313 h 3315846"/>
                <a:gd name="connsiteX13" fmla="*/ 304987 w 911379"/>
                <a:gd name="connsiteY13" fmla="*/ 2002411 h 3315846"/>
                <a:gd name="connsiteX14" fmla="*/ 63852 w 911379"/>
                <a:gd name="connsiteY14" fmla="*/ 2489821 h 3315846"/>
                <a:gd name="connsiteX15" fmla="*/ 0 w 911379"/>
                <a:gd name="connsiteY15" fmla="*/ 2599608 h 3315846"/>
                <a:gd name="connsiteX16" fmla="*/ 0 w 911379"/>
                <a:gd name="connsiteY16" fmla="*/ 0 h 3315846"/>
                <a:gd name="connsiteX0" fmla="*/ 0 w 911379"/>
                <a:gd name="connsiteY0" fmla="*/ 3000131 h 3315846"/>
                <a:gd name="connsiteX1" fmla="*/ 9176 w 911379"/>
                <a:gd name="connsiteY1" fmla="*/ 3027252 h 3315846"/>
                <a:gd name="connsiteX2" fmla="*/ 27935 w 911379"/>
                <a:gd name="connsiteY2" fmla="*/ 3315846 h 3315846"/>
                <a:gd name="connsiteX3" fmla="*/ 0 w 911379"/>
                <a:gd name="connsiteY3" fmla="*/ 3000131 h 3315846"/>
                <a:gd name="connsiteX4" fmla="*/ 0 w 911379"/>
                <a:gd name="connsiteY4" fmla="*/ 0 h 3315846"/>
                <a:gd name="connsiteX5" fmla="*/ 63852 w 911379"/>
                <a:gd name="connsiteY5" fmla="*/ 32258 h 3315846"/>
                <a:gd name="connsiteX6" fmla="*/ 253681 w 911379"/>
                <a:gd name="connsiteY6" fmla="*/ 140003 h 3315846"/>
                <a:gd name="connsiteX7" fmla="*/ 376816 w 911379"/>
                <a:gd name="connsiteY7" fmla="*/ 432445 h 3315846"/>
                <a:gd name="connsiteX8" fmla="*/ 587173 w 911379"/>
                <a:gd name="connsiteY8" fmla="*/ 545318 h 3315846"/>
                <a:gd name="connsiteX9" fmla="*/ 900137 w 911379"/>
                <a:gd name="connsiteY9" fmla="*/ 919855 h 3315846"/>
                <a:gd name="connsiteX10" fmla="*/ 664129 w 911379"/>
                <a:gd name="connsiteY10" fmla="*/ 1284126 h 3315846"/>
                <a:gd name="connsiteX11" fmla="*/ 566651 w 911379"/>
                <a:gd name="connsiteY11" fmla="*/ 1684313 h 3315846"/>
                <a:gd name="connsiteX12" fmla="*/ 304987 w 911379"/>
                <a:gd name="connsiteY12" fmla="*/ 2002411 h 3315846"/>
                <a:gd name="connsiteX13" fmla="*/ 63852 w 911379"/>
                <a:gd name="connsiteY13" fmla="*/ 2489821 h 3315846"/>
                <a:gd name="connsiteX14" fmla="*/ 0 w 911379"/>
                <a:gd name="connsiteY14" fmla="*/ 2599608 h 3315846"/>
                <a:gd name="connsiteX15" fmla="*/ 0 w 911379"/>
                <a:gd name="connsiteY15" fmla="*/ 0 h 3315846"/>
                <a:gd name="connsiteX0" fmla="*/ 0 w 911379"/>
                <a:gd name="connsiteY0" fmla="*/ 3000131 h 3027252"/>
                <a:gd name="connsiteX1" fmla="*/ 9176 w 911379"/>
                <a:gd name="connsiteY1" fmla="*/ 3027252 h 3027252"/>
                <a:gd name="connsiteX2" fmla="*/ 0 w 911379"/>
                <a:gd name="connsiteY2" fmla="*/ 3000131 h 3027252"/>
                <a:gd name="connsiteX3" fmla="*/ 0 w 911379"/>
                <a:gd name="connsiteY3" fmla="*/ 0 h 3027252"/>
                <a:gd name="connsiteX4" fmla="*/ 63852 w 911379"/>
                <a:gd name="connsiteY4" fmla="*/ 32258 h 3027252"/>
                <a:gd name="connsiteX5" fmla="*/ 253681 w 911379"/>
                <a:gd name="connsiteY5" fmla="*/ 140003 h 3027252"/>
                <a:gd name="connsiteX6" fmla="*/ 376816 w 911379"/>
                <a:gd name="connsiteY6" fmla="*/ 432445 h 3027252"/>
                <a:gd name="connsiteX7" fmla="*/ 587173 w 911379"/>
                <a:gd name="connsiteY7" fmla="*/ 545318 h 3027252"/>
                <a:gd name="connsiteX8" fmla="*/ 900137 w 911379"/>
                <a:gd name="connsiteY8" fmla="*/ 919855 h 3027252"/>
                <a:gd name="connsiteX9" fmla="*/ 664129 w 911379"/>
                <a:gd name="connsiteY9" fmla="*/ 1284126 h 3027252"/>
                <a:gd name="connsiteX10" fmla="*/ 566651 w 911379"/>
                <a:gd name="connsiteY10" fmla="*/ 1684313 h 3027252"/>
                <a:gd name="connsiteX11" fmla="*/ 304987 w 911379"/>
                <a:gd name="connsiteY11" fmla="*/ 2002411 h 3027252"/>
                <a:gd name="connsiteX12" fmla="*/ 63852 w 911379"/>
                <a:gd name="connsiteY12" fmla="*/ 2489821 h 3027252"/>
                <a:gd name="connsiteX13" fmla="*/ 0 w 911379"/>
                <a:gd name="connsiteY13" fmla="*/ 2599608 h 3027252"/>
                <a:gd name="connsiteX14" fmla="*/ 0 w 911379"/>
                <a:gd name="connsiteY14" fmla="*/ 0 h 3027252"/>
                <a:gd name="connsiteX0" fmla="*/ 0 w 911379"/>
                <a:gd name="connsiteY0" fmla="*/ 0 h 2599608"/>
                <a:gd name="connsiteX1" fmla="*/ 63852 w 911379"/>
                <a:gd name="connsiteY1" fmla="*/ 32258 h 2599608"/>
                <a:gd name="connsiteX2" fmla="*/ 253681 w 911379"/>
                <a:gd name="connsiteY2" fmla="*/ 140003 h 2599608"/>
                <a:gd name="connsiteX3" fmla="*/ 376816 w 911379"/>
                <a:gd name="connsiteY3" fmla="*/ 432445 h 2599608"/>
                <a:gd name="connsiteX4" fmla="*/ 587173 w 911379"/>
                <a:gd name="connsiteY4" fmla="*/ 545318 h 2599608"/>
                <a:gd name="connsiteX5" fmla="*/ 900137 w 911379"/>
                <a:gd name="connsiteY5" fmla="*/ 919855 h 2599608"/>
                <a:gd name="connsiteX6" fmla="*/ 664129 w 911379"/>
                <a:gd name="connsiteY6" fmla="*/ 1284126 h 2599608"/>
                <a:gd name="connsiteX7" fmla="*/ 566651 w 911379"/>
                <a:gd name="connsiteY7" fmla="*/ 1684313 h 2599608"/>
                <a:gd name="connsiteX8" fmla="*/ 304987 w 911379"/>
                <a:gd name="connsiteY8" fmla="*/ 2002411 h 2599608"/>
                <a:gd name="connsiteX9" fmla="*/ 63852 w 911379"/>
                <a:gd name="connsiteY9" fmla="*/ 2489821 h 2599608"/>
                <a:gd name="connsiteX10" fmla="*/ 0 w 911379"/>
                <a:gd name="connsiteY10" fmla="*/ 2599608 h 2599608"/>
                <a:gd name="connsiteX11" fmla="*/ 0 w 911379"/>
                <a:gd name="connsiteY11" fmla="*/ 0 h 25996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911379" h="2599608">
                  <a:moveTo>
                    <a:pt x="0" y="0"/>
                  </a:moveTo>
                  <a:lnTo>
                    <a:pt x="63852" y="32258"/>
                  </a:lnTo>
                  <a:cubicBezTo>
                    <a:pt x="140808" y="68175"/>
                    <a:pt x="192114" y="57913"/>
                    <a:pt x="253681" y="140003"/>
                  </a:cubicBezTo>
                  <a:cubicBezTo>
                    <a:pt x="320382" y="232354"/>
                    <a:pt x="289598" y="340094"/>
                    <a:pt x="376816" y="432445"/>
                  </a:cubicBezTo>
                  <a:cubicBezTo>
                    <a:pt x="433255" y="494012"/>
                    <a:pt x="520473" y="504273"/>
                    <a:pt x="587173" y="545318"/>
                  </a:cubicBezTo>
                  <a:cubicBezTo>
                    <a:pt x="720569" y="627408"/>
                    <a:pt x="966838" y="724892"/>
                    <a:pt x="900137" y="919855"/>
                  </a:cubicBezTo>
                  <a:cubicBezTo>
                    <a:pt x="843703" y="1089163"/>
                    <a:pt x="623085" y="1058379"/>
                    <a:pt x="664129" y="1284126"/>
                  </a:cubicBezTo>
                  <a:cubicBezTo>
                    <a:pt x="700046" y="1509872"/>
                    <a:pt x="828309" y="1550917"/>
                    <a:pt x="566651" y="1684313"/>
                  </a:cubicBezTo>
                  <a:cubicBezTo>
                    <a:pt x="366555" y="1786925"/>
                    <a:pt x="366555" y="1812581"/>
                    <a:pt x="304987" y="2002411"/>
                  </a:cubicBezTo>
                  <a:cubicBezTo>
                    <a:pt x="253681" y="2166590"/>
                    <a:pt x="156202" y="2341031"/>
                    <a:pt x="63852" y="2489821"/>
                  </a:cubicBezTo>
                  <a:lnTo>
                    <a:pt x="0" y="259960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724D8D"/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en-US"/>
            </a:p>
          </p:txBody>
        </p:sp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DD488622-94FE-4C3B-93ED-066BAA75BF59}"/>
                </a:ext>
              </a:extLst>
            </p:cNvPr>
            <p:cNvSpPr/>
            <p:nvPr/>
          </p:nvSpPr>
          <p:spPr bwMode="ltGray">
            <a:xfrm>
              <a:off x="266515" y="81480"/>
              <a:ext cx="1128733" cy="1128733"/>
            </a:xfrm>
            <a:custGeom>
              <a:avLst/>
              <a:gdLst>
                <a:gd name="connsiteX0" fmla="*/ 92869 w 209550"/>
                <a:gd name="connsiteY0" fmla="*/ 7144 h 209550"/>
                <a:gd name="connsiteX1" fmla="*/ 92869 w 209550"/>
                <a:gd name="connsiteY1" fmla="*/ 7144 h 209550"/>
                <a:gd name="connsiteX2" fmla="*/ 7144 w 209550"/>
                <a:gd name="connsiteY2" fmla="*/ 29051 h 209550"/>
                <a:gd name="connsiteX3" fmla="*/ 7144 w 209550"/>
                <a:gd name="connsiteY3" fmla="*/ 30004 h 209550"/>
                <a:gd name="connsiteX4" fmla="*/ 16669 w 209550"/>
                <a:gd name="connsiteY4" fmla="*/ 42386 h 209550"/>
                <a:gd name="connsiteX5" fmla="*/ 25241 w 209550"/>
                <a:gd name="connsiteY5" fmla="*/ 41434 h 209550"/>
                <a:gd name="connsiteX6" fmla="*/ 63341 w 209550"/>
                <a:gd name="connsiteY6" fmla="*/ 165259 h 209550"/>
                <a:gd name="connsiteX7" fmla="*/ 88106 w 209550"/>
                <a:gd name="connsiteY7" fmla="*/ 202406 h 209550"/>
                <a:gd name="connsiteX8" fmla="*/ 105251 w 209550"/>
                <a:gd name="connsiteY8" fmla="*/ 193834 h 209550"/>
                <a:gd name="connsiteX9" fmla="*/ 128111 w 209550"/>
                <a:gd name="connsiteY9" fmla="*/ 149066 h 209550"/>
                <a:gd name="connsiteX10" fmla="*/ 165259 w 209550"/>
                <a:gd name="connsiteY10" fmla="*/ 120491 h 209550"/>
                <a:gd name="connsiteX11" fmla="*/ 92869 w 209550"/>
                <a:gd name="connsiteY11" fmla="*/ 7144 h 2095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9550" h="209550">
                  <a:moveTo>
                    <a:pt x="92869" y="7144"/>
                  </a:moveTo>
                  <a:cubicBezTo>
                    <a:pt x="91916" y="7144"/>
                    <a:pt x="91916" y="7144"/>
                    <a:pt x="92869" y="7144"/>
                  </a:cubicBezTo>
                  <a:cubicBezTo>
                    <a:pt x="63341" y="12859"/>
                    <a:pt x="34766" y="20479"/>
                    <a:pt x="7144" y="29051"/>
                  </a:cubicBezTo>
                  <a:cubicBezTo>
                    <a:pt x="7144" y="29051"/>
                    <a:pt x="7144" y="30004"/>
                    <a:pt x="7144" y="30004"/>
                  </a:cubicBezTo>
                  <a:lnTo>
                    <a:pt x="16669" y="42386"/>
                  </a:lnTo>
                  <a:cubicBezTo>
                    <a:pt x="19526" y="41434"/>
                    <a:pt x="22384" y="41434"/>
                    <a:pt x="25241" y="41434"/>
                  </a:cubicBezTo>
                  <a:cubicBezTo>
                    <a:pt x="74771" y="41434"/>
                    <a:pt x="57626" y="134779"/>
                    <a:pt x="63341" y="165259"/>
                  </a:cubicBezTo>
                  <a:cubicBezTo>
                    <a:pt x="67151" y="183356"/>
                    <a:pt x="74771" y="202406"/>
                    <a:pt x="88106" y="202406"/>
                  </a:cubicBezTo>
                  <a:cubicBezTo>
                    <a:pt x="92869" y="202406"/>
                    <a:pt x="98584" y="199549"/>
                    <a:pt x="105251" y="193834"/>
                  </a:cubicBezTo>
                  <a:cubicBezTo>
                    <a:pt x="115729" y="183356"/>
                    <a:pt x="116681" y="162401"/>
                    <a:pt x="128111" y="149066"/>
                  </a:cubicBezTo>
                  <a:cubicBezTo>
                    <a:pt x="138589" y="136684"/>
                    <a:pt x="152876" y="130969"/>
                    <a:pt x="165259" y="120491"/>
                  </a:cubicBezTo>
                  <a:cubicBezTo>
                    <a:pt x="265271" y="38576"/>
                    <a:pt x="172879" y="7144"/>
                    <a:pt x="92869" y="7144"/>
                  </a:cubicBezTo>
                </a:path>
              </a:pathLst>
            </a:custGeom>
            <a:solidFill>
              <a:srgbClr val="724D8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0C0FA815-C9EC-4D30-BDA4-05095D08506E}"/>
                </a:ext>
              </a:extLst>
            </p:cNvPr>
            <p:cNvSpPr/>
            <p:nvPr/>
          </p:nvSpPr>
          <p:spPr bwMode="ltGray">
            <a:xfrm>
              <a:off x="1807406" y="19914"/>
              <a:ext cx="3232281" cy="5848895"/>
            </a:xfrm>
            <a:custGeom>
              <a:avLst/>
              <a:gdLst>
                <a:gd name="connsiteX0" fmla="*/ 227806 w 600075"/>
                <a:gd name="connsiteY0" fmla="*/ 7144 h 1085850"/>
                <a:gd name="connsiteX1" fmla="*/ 219234 w 600075"/>
                <a:gd name="connsiteY1" fmla="*/ 18574 h 1085850"/>
                <a:gd name="connsiteX2" fmla="*/ 183039 w 600075"/>
                <a:gd name="connsiteY2" fmla="*/ 66199 h 1085850"/>
                <a:gd name="connsiteX3" fmla="*/ 161131 w 600075"/>
                <a:gd name="connsiteY3" fmla="*/ 73819 h 1085850"/>
                <a:gd name="connsiteX4" fmla="*/ 130651 w 600075"/>
                <a:gd name="connsiteY4" fmla="*/ 63341 h 1085850"/>
                <a:gd name="connsiteX5" fmla="*/ 105886 w 600075"/>
                <a:gd name="connsiteY5" fmla="*/ 57626 h 1085850"/>
                <a:gd name="connsiteX6" fmla="*/ 83979 w 600075"/>
                <a:gd name="connsiteY6" fmla="*/ 113824 h 1085850"/>
                <a:gd name="connsiteX7" fmla="*/ 104934 w 600075"/>
                <a:gd name="connsiteY7" fmla="*/ 173831 h 1085850"/>
                <a:gd name="connsiteX8" fmla="*/ 124936 w 600075"/>
                <a:gd name="connsiteY8" fmla="*/ 167164 h 1085850"/>
                <a:gd name="connsiteX9" fmla="*/ 156369 w 600075"/>
                <a:gd name="connsiteY9" fmla="*/ 135731 h 1085850"/>
                <a:gd name="connsiteX10" fmla="*/ 172561 w 600075"/>
                <a:gd name="connsiteY10" fmla="*/ 151924 h 1085850"/>
                <a:gd name="connsiteX11" fmla="*/ 157321 w 600075"/>
                <a:gd name="connsiteY11" fmla="*/ 202406 h 1085850"/>
                <a:gd name="connsiteX12" fmla="*/ 71596 w 600075"/>
                <a:gd name="connsiteY12" fmla="*/ 252889 h 1085850"/>
                <a:gd name="connsiteX13" fmla="*/ 68739 w 600075"/>
                <a:gd name="connsiteY13" fmla="*/ 294799 h 1085850"/>
                <a:gd name="connsiteX14" fmla="*/ 43021 w 600075"/>
                <a:gd name="connsiteY14" fmla="*/ 356711 h 1085850"/>
                <a:gd name="connsiteX15" fmla="*/ 62071 w 600075"/>
                <a:gd name="connsiteY15" fmla="*/ 370999 h 1085850"/>
                <a:gd name="connsiteX16" fmla="*/ 131604 w 600075"/>
                <a:gd name="connsiteY16" fmla="*/ 313849 h 1085850"/>
                <a:gd name="connsiteX17" fmla="*/ 167799 w 600075"/>
                <a:gd name="connsiteY17" fmla="*/ 295751 h 1085850"/>
                <a:gd name="connsiteX18" fmla="*/ 199231 w 600075"/>
                <a:gd name="connsiteY18" fmla="*/ 308134 h 1085850"/>
                <a:gd name="connsiteX19" fmla="*/ 237331 w 600075"/>
                <a:gd name="connsiteY19" fmla="*/ 320516 h 1085850"/>
                <a:gd name="connsiteX20" fmla="*/ 242094 w 600075"/>
                <a:gd name="connsiteY20" fmla="*/ 320516 h 1085850"/>
                <a:gd name="connsiteX21" fmla="*/ 270669 w 600075"/>
                <a:gd name="connsiteY21" fmla="*/ 291941 h 1085850"/>
                <a:gd name="connsiteX22" fmla="*/ 287814 w 600075"/>
                <a:gd name="connsiteY22" fmla="*/ 270034 h 1085850"/>
                <a:gd name="connsiteX23" fmla="*/ 290671 w 600075"/>
                <a:gd name="connsiteY23" fmla="*/ 270034 h 1085850"/>
                <a:gd name="connsiteX24" fmla="*/ 321151 w 600075"/>
                <a:gd name="connsiteY24" fmla="*/ 304324 h 1085850"/>
                <a:gd name="connsiteX25" fmla="*/ 292576 w 600075"/>
                <a:gd name="connsiteY25" fmla="*/ 355759 h 1085850"/>
                <a:gd name="connsiteX26" fmla="*/ 326866 w 600075"/>
                <a:gd name="connsiteY26" fmla="*/ 416719 h 1085850"/>
                <a:gd name="connsiteX27" fmla="*/ 291624 w 600075"/>
                <a:gd name="connsiteY27" fmla="*/ 428149 h 1085850"/>
                <a:gd name="connsiteX28" fmla="*/ 232569 w 600075"/>
                <a:gd name="connsiteY28" fmla="*/ 418624 h 1085850"/>
                <a:gd name="connsiteX29" fmla="*/ 225901 w 600075"/>
                <a:gd name="connsiteY29" fmla="*/ 418624 h 1085850"/>
                <a:gd name="connsiteX30" fmla="*/ 217329 w 600075"/>
                <a:gd name="connsiteY30" fmla="*/ 418624 h 1085850"/>
                <a:gd name="connsiteX31" fmla="*/ 208756 w 600075"/>
                <a:gd name="connsiteY31" fmla="*/ 418624 h 1085850"/>
                <a:gd name="connsiteX32" fmla="*/ 191611 w 600075"/>
                <a:gd name="connsiteY32" fmla="*/ 415766 h 1085850"/>
                <a:gd name="connsiteX33" fmla="*/ 156369 w 600075"/>
                <a:gd name="connsiteY33" fmla="*/ 390049 h 1085850"/>
                <a:gd name="connsiteX34" fmla="*/ 151606 w 600075"/>
                <a:gd name="connsiteY34" fmla="*/ 390049 h 1085850"/>
                <a:gd name="connsiteX35" fmla="*/ 68739 w 600075"/>
                <a:gd name="connsiteY35" fmla="*/ 433864 h 1085850"/>
                <a:gd name="connsiteX36" fmla="*/ 18256 w 600075"/>
                <a:gd name="connsiteY36" fmla="*/ 501491 h 1085850"/>
                <a:gd name="connsiteX37" fmla="*/ 35401 w 600075"/>
                <a:gd name="connsiteY37" fmla="*/ 668179 h 1085850"/>
                <a:gd name="connsiteX38" fmla="*/ 82074 w 600075"/>
                <a:gd name="connsiteY38" fmla="*/ 683419 h 1085850"/>
                <a:gd name="connsiteX39" fmla="*/ 130651 w 600075"/>
                <a:gd name="connsiteY39" fmla="*/ 678656 h 1085850"/>
                <a:gd name="connsiteX40" fmla="*/ 162084 w 600075"/>
                <a:gd name="connsiteY40" fmla="*/ 676751 h 1085850"/>
                <a:gd name="connsiteX41" fmla="*/ 207804 w 600075"/>
                <a:gd name="connsiteY41" fmla="*/ 731044 h 1085850"/>
                <a:gd name="connsiteX42" fmla="*/ 214471 w 600075"/>
                <a:gd name="connsiteY42" fmla="*/ 812006 h 1085850"/>
                <a:gd name="connsiteX43" fmla="*/ 233521 w 600075"/>
                <a:gd name="connsiteY43" fmla="*/ 892016 h 1085850"/>
                <a:gd name="connsiteX44" fmla="*/ 202089 w 600075"/>
                <a:gd name="connsiteY44" fmla="*/ 1046321 h 1085850"/>
                <a:gd name="connsiteX45" fmla="*/ 223044 w 600075"/>
                <a:gd name="connsiteY45" fmla="*/ 1084421 h 1085850"/>
                <a:gd name="connsiteX46" fmla="*/ 256381 w 600075"/>
                <a:gd name="connsiteY46" fmla="*/ 1060609 h 1085850"/>
                <a:gd name="connsiteX47" fmla="*/ 335439 w 600075"/>
                <a:gd name="connsiteY47" fmla="*/ 977741 h 1085850"/>
                <a:gd name="connsiteX48" fmla="*/ 402114 w 600075"/>
                <a:gd name="connsiteY48" fmla="*/ 823436 h 1085850"/>
                <a:gd name="connsiteX49" fmla="*/ 404971 w 600075"/>
                <a:gd name="connsiteY49" fmla="*/ 746284 h 1085850"/>
                <a:gd name="connsiteX50" fmla="*/ 446881 w 600075"/>
                <a:gd name="connsiteY50" fmla="*/ 645319 h 1085850"/>
                <a:gd name="connsiteX51" fmla="*/ 434499 w 600075"/>
                <a:gd name="connsiteY51" fmla="*/ 600551 h 1085850"/>
                <a:gd name="connsiteX52" fmla="*/ 444024 w 600075"/>
                <a:gd name="connsiteY52" fmla="*/ 549116 h 1085850"/>
                <a:gd name="connsiteX53" fmla="*/ 466884 w 600075"/>
                <a:gd name="connsiteY53" fmla="*/ 499586 h 1085850"/>
                <a:gd name="connsiteX54" fmla="*/ 431641 w 600075"/>
                <a:gd name="connsiteY54" fmla="*/ 443389 h 1085850"/>
                <a:gd name="connsiteX55" fmla="*/ 446881 w 600075"/>
                <a:gd name="connsiteY55" fmla="*/ 440531 h 1085850"/>
                <a:gd name="connsiteX56" fmla="*/ 528796 w 600075"/>
                <a:gd name="connsiteY56" fmla="*/ 591979 h 1085850"/>
                <a:gd name="connsiteX57" fmla="*/ 551656 w 600075"/>
                <a:gd name="connsiteY57" fmla="*/ 634841 h 1085850"/>
                <a:gd name="connsiteX58" fmla="*/ 570706 w 600075"/>
                <a:gd name="connsiteY58" fmla="*/ 602456 h 1085850"/>
                <a:gd name="connsiteX59" fmla="*/ 592614 w 600075"/>
                <a:gd name="connsiteY59" fmla="*/ 519589 h 1085850"/>
                <a:gd name="connsiteX60" fmla="*/ 563086 w 600075"/>
                <a:gd name="connsiteY60" fmla="*/ 356711 h 1085850"/>
                <a:gd name="connsiteX61" fmla="*/ 450691 w 600075"/>
                <a:gd name="connsiteY61" fmla="*/ 161449 h 1085850"/>
                <a:gd name="connsiteX62" fmla="*/ 227806 w 600075"/>
                <a:gd name="connsiteY62" fmla="*/ 7144 h 10858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</a:cxnLst>
              <a:rect l="l" t="t" r="r" b="b"/>
              <a:pathLst>
                <a:path w="600075" h="1085850">
                  <a:moveTo>
                    <a:pt x="227806" y="7144"/>
                  </a:moveTo>
                  <a:lnTo>
                    <a:pt x="219234" y="18574"/>
                  </a:lnTo>
                  <a:cubicBezTo>
                    <a:pt x="223044" y="42386"/>
                    <a:pt x="201136" y="56674"/>
                    <a:pt x="183039" y="66199"/>
                  </a:cubicBezTo>
                  <a:cubicBezTo>
                    <a:pt x="172561" y="70961"/>
                    <a:pt x="165894" y="73819"/>
                    <a:pt x="161131" y="73819"/>
                  </a:cubicBezTo>
                  <a:cubicBezTo>
                    <a:pt x="153511" y="73819"/>
                    <a:pt x="147796" y="69056"/>
                    <a:pt x="130651" y="63341"/>
                  </a:cubicBezTo>
                  <a:cubicBezTo>
                    <a:pt x="120174" y="59531"/>
                    <a:pt x="111601" y="57626"/>
                    <a:pt x="105886" y="57626"/>
                  </a:cubicBezTo>
                  <a:cubicBezTo>
                    <a:pt x="83026" y="57626"/>
                    <a:pt x="83979" y="81439"/>
                    <a:pt x="83979" y="113824"/>
                  </a:cubicBezTo>
                  <a:cubicBezTo>
                    <a:pt x="83979" y="136684"/>
                    <a:pt x="82074" y="173831"/>
                    <a:pt x="104934" y="173831"/>
                  </a:cubicBezTo>
                  <a:cubicBezTo>
                    <a:pt x="109696" y="173831"/>
                    <a:pt x="116364" y="171926"/>
                    <a:pt x="124936" y="167164"/>
                  </a:cubicBezTo>
                  <a:cubicBezTo>
                    <a:pt x="136366" y="160496"/>
                    <a:pt x="144939" y="135731"/>
                    <a:pt x="156369" y="135731"/>
                  </a:cubicBezTo>
                  <a:cubicBezTo>
                    <a:pt x="161131" y="135731"/>
                    <a:pt x="166846" y="140494"/>
                    <a:pt x="172561" y="151924"/>
                  </a:cubicBezTo>
                  <a:cubicBezTo>
                    <a:pt x="182086" y="169069"/>
                    <a:pt x="167799" y="191929"/>
                    <a:pt x="157321" y="202406"/>
                  </a:cubicBezTo>
                  <a:cubicBezTo>
                    <a:pt x="128746" y="229076"/>
                    <a:pt x="83979" y="207169"/>
                    <a:pt x="71596" y="252889"/>
                  </a:cubicBezTo>
                  <a:cubicBezTo>
                    <a:pt x="67786" y="266224"/>
                    <a:pt x="73501" y="281464"/>
                    <a:pt x="68739" y="294799"/>
                  </a:cubicBezTo>
                  <a:cubicBezTo>
                    <a:pt x="63024" y="310991"/>
                    <a:pt x="31591" y="335756"/>
                    <a:pt x="43021" y="356711"/>
                  </a:cubicBezTo>
                  <a:cubicBezTo>
                    <a:pt x="48736" y="367189"/>
                    <a:pt x="55404" y="370999"/>
                    <a:pt x="62071" y="370999"/>
                  </a:cubicBezTo>
                  <a:cubicBezTo>
                    <a:pt x="86836" y="370999"/>
                    <a:pt x="118269" y="325279"/>
                    <a:pt x="131604" y="313849"/>
                  </a:cubicBezTo>
                  <a:cubicBezTo>
                    <a:pt x="146844" y="300514"/>
                    <a:pt x="158274" y="295751"/>
                    <a:pt x="167799" y="295751"/>
                  </a:cubicBezTo>
                  <a:cubicBezTo>
                    <a:pt x="179229" y="295751"/>
                    <a:pt x="187801" y="301466"/>
                    <a:pt x="199231" y="308134"/>
                  </a:cubicBezTo>
                  <a:cubicBezTo>
                    <a:pt x="209709" y="313849"/>
                    <a:pt x="221139" y="320516"/>
                    <a:pt x="237331" y="320516"/>
                  </a:cubicBezTo>
                  <a:cubicBezTo>
                    <a:pt x="239236" y="320516"/>
                    <a:pt x="240189" y="320516"/>
                    <a:pt x="242094" y="320516"/>
                  </a:cubicBezTo>
                  <a:cubicBezTo>
                    <a:pt x="268764" y="318611"/>
                    <a:pt x="259239" y="310039"/>
                    <a:pt x="270669" y="291941"/>
                  </a:cubicBezTo>
                  <a:cubicBezTo>
                    <a:pt x="277336" y="280511"/>
                    <a:pt x="270669" y="270034"/>
                    <a:pt x="287814" y="270034"/>
                  </a:cubicBezTo>
                  <a:cubicBezTo>
                    <a:pt x="288766" y="270034"/>
                    <a:pt x="289719" y="270034"/>
                    <a:pt x="290671" y="270034"/>
                  </a:cubicBezTo>
                  <a:cubicBezTo>
                    <a:pt x="301149" y="270986"/>
                    <a:pt x="318294" y="294799"/>
                    <a:pt x="321151" y="304324"/>
                  </a:cubicBezTo>
                  <a:cubicBezTo>
                    <a:pt x="327819" y="333851"/>
                    <a:pt x="303054" y="334804"/>
                    <a:pt x="292576" y="355759"/>
                  </a:cubicBezTo>
                  <a:cubicBezTo>
                    <a:pt x="276384" y="391954"/>
                    <a:pt x="313531" y="391001"/>
                    <a:pt x="326866" y="416719"/>
                  </a:cubicBezTo>
                  <a:cubicBezTo>
                    <a:pt x="315436" y="425291"/>
                    <a:pt x="304006" y="428149"/>
                    <a:pt x="291624" y="428149"/>
                  </a:cubicBezTo>
                  <a:cubicBezTo>
                    <a:pt x="272574" y="428149"/>
                    <a:pt x="252571" y="420529"/>
                    <a:pt x="232569" y="418624"/>
                  </a:cubicBezTo>
                  <a:cubicBezTo>
                    <a:pt x="230664" y="418624"/>
                    <a:pt x="227806" y="418624"/>
                    <a:pt x="225901" y="418624"/>
                  </a:cubicBezTo>
                  <a:cubicBezTo>
                    <a:pt x="223044" y="418624"/>
                    <a:pt x="220186" y="418624"/>
                    <a:pt x="217329" y="418624"/>
                  </a:cubicBezTo>
                  <a:cubicBezTo>
                    <a:pt x="214471" y="418624"/>
                    <a:pt x="211614" y="418624"/>
                    <a:pt x="208756" y="418624"/>
                  </a:cubicBezTo>
                  <a:cubicBezTo>
                    <a:pt x="203041" y="418624"/>
                    <a:pt x="197326" y="417671"/>
                    <a:pt x="191611" y="415766"/>
                  </a:cubicBezTo>
                  <a:cubicBezTo>
                    <a:pt x="174466" y="408146"/>
                    <a:pt x="183039" y="392906"/>
                    <a:pt x="156369" y="390049"/>
                  </a:cubicBezTo>
                  <a:cubicBezTo>
                    <a:pt x="154464" y="390049"/>
                    <a:pt x="152559" y="390049"/>
                    <a:pt x="151606" y="390049"/>
                  </a:cubicBezTo>
                  <a:cubicBezTo>
                    <a:pt x="120174" y="390049"/>
                    <a:pt x="96361" y="420529"/>
                    <a:pt x="68739" y="433864"/>
                  </a:cubicBezTo>
                  <a:cubicBezTo>
                    <a:pt x="31591" y="451961"/>
                    <a:pt x="23019" y="463391"/>
                    <a:pt x="18256" y="501491"/>
                  </a:cubicBezTo>
                  <a:cubicBezTo>
                    <a:pt x="11589" y="551974"/>
                    <a:pt x="-10319" y="627221"/>
                    <a:pt x="35401" y="668179"/>
                  </a:cubicBezTo>
                  <a:cubicBezTo>
                    <a:pt x="48736" y="680561"/>
                    <a:pt x="64929" y="683419"/>
                    <a:pt x="82074" y="683419"/>
                  </a:cubicBezTo>
                  <a:cubicBezTo>
                    <a:pt x="98266" y="683419"/>
                    <a:pt x="114459" y="680561"/>
                    <a:pt x="130651" y="678656"/>
                  </a:cubicBezTo>
                  <a:cubicBezTo>
                    <a:pt x="142081" y="677704"/>
                    <a:pt x="152559" y="676751"/>
                    <a:pt x="162084" y="676751"/>
                  </a:cubicBezTo>
                  <a:cubicBezTo>
                    <a:pt x="193516" y="676751"/>
                    <a:pt x="208756" y="687229"/>
                    <a:pt x="207804" y="731044"/>
                  </a:cubicBezTo>
                  <a:cubicBezTo>
                    <a:pt x="207804" y="758666"/>
                    <a:pt x="204946" y="786289"/>
                    <a:pt x="214471" y="812006"/>
                  </a:cubicBezTo>
                  <a:cubicBezTo>
                    <a:pt x="223996" y="840581"/>
                    <a:pt x="236379" y="860584"/>
                    <a:pt x="233521" y="892016"/>
                  </a:cubicBezTo>
                  <a:cubicBezTo>
                    <a:pt x="228759" y="947261"/>
                    <a:pt x="196374" y="987266"/>
                    <a:pt x="202089" y="1046321"/>
                  </a:cubicBezTo>
                  <a:cubicBezTo>
                    <a:pt x="204946" y="1072039"/>
                    <a:pt x="211614" y="1084421"/>
                    <a:pt x="223044" y="1084421"/>
                  </a:cubicBezTo>
                  <a:cubicBezTo>
                    <a:pt x="231616" y="1084421"/>
                    <a:pt x="243046" y="1075849"/>
                    <a:pt x="256381" y="1060609"/>
                  </a:cubicBezTo>
                  <a:cubicBezTo>
                    <a:pt x="281146" y="1031081"/>
                    <a:pt x="309721" y="1006316"/>
                    <a:pt x="335439" y="977741"/>
                  </a:cubicBezTo>
                  <a:cubicBezTo>
                    <a:pt x="367824" y="942499"/>
                    <a:pt x="395446" y="870109"/>
                    <a:pt x="402114" y="823436"/>
                  </a:cubicBezTo>
                  <a:cubicBezTo>
                    <a:pt x="404971" y="797719"/>
                    <a:pt x="399256" y="771049"/>
                    <a:pt x="404971" y="746284"/>
                  </a:cubicBezTo>
                  <a:cubicBezTo>
                    <a:pt x="411639" y="709136"/>
                    <a:pt x="441166" y="680561"/>
                    <a:pt x="446881" y="645319"/>
                  </a:cubicBezTo>
                  <a:cubicBezTo>
                    <a:pt x="451644" y="617696"/>
                    <a:pt x="440214" y="623411"/>
                    <a:pt x="434499" y="600551"/>
                  </a:cubicBezTo>
                  <a:cubicBezTo>
                    <a:pt x="429736" y="583406"/>
                    <a:pt x="437356" y="563404"/>
                    <a:pt x="444024" y="549116"/>
                  </a:cubicBezTo>
                  <a:cubicBezTo>
                    <a:pt x="451644" y="532924"/>
                    <a:pt x="469741" y="519589"/>
                    <a:pt x="466884" y="499586"/>
                  </a:cubicBezTo>
                  <a:cubicBezTo>
                    <a:pt x="464026" y="477679"/>
                    <a:pt x="435451" y="464344"/>
                    <a:pt x="431641" y="443389"/>
                  </a:cubicBezTo>
                  <a:cubicBezTo>
                    <a:pt x="436404" y="441484"/>
                    <a:pt x="442119" y="440531"/>
                    <a:pt x="446881" y="440531"/>
                  </a:cubicBezTo>
                  <a:cubicBezTo>
                    <a:pt x="497364" y="440531"/>
                    <a:pt x="524034" y="557689"/>
                    <a:pt x="528796" y="591979"/>
                  </a:cubicBezTo>
                  <a:cubicBezTo>
                    <a:pt x="532606" y="618649"/>
                    <a:pt x="542131" y="634841"/>
                    <a:pt x="551656" y="634841"/>
                  </a:cubicBezTo>
                  <a:cubicBezTo>
                    <a:pt x="559276" y="634841"/>
                    <a:pt x="565944" y="625316"/>
                    <a:pt x="570706" y="602456"/>
                  </a:cubicBezTo>
                  <a:cubicBezTo>
                    <a:pt x="576421" y="572929"/>
                    <a:pt x="584994" y="546259"/>
                    <a:pt x="592614" y="519589"/>
                  </a:cubicBezTo>
                  <a:cubicBezTo>
                    <a:pt x="611664" y="448151"/>
                    <a:pt x="594519" y="416719"/>
                    <a:pt x="563086" y="356711"/>
                  </a:cubicBezTo>
                  <a:cubicBezTo>
                    <a:pt x="529749" y="293846"/>
                    <a:pt x="494506" y="219551"/>
                    <a:pt x="450691" y="161449"/>
                  </a:cubicBezTo>
                  <a:cubicBezTo>
                    <a:pt x="393541" y="91916"/>
                    <a:pt x="300196" y="51911"/>
                    <a:pt x="227806" y="7144"/>
                  </a:cubicBezTo>
                </a:path>
              </a:pathLst>
            </a:custGeom>
            <a:solidFill>
              <a:srgbClr val="724D8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9F4D19D0-5A2E-4607-8554-BC7B192680F6}"/>
                </a:ext>
              </a:extLst>
            </p:cNvPr>
            <p:cNvSpPr/>
            <p:nvPr/>
          </p:nvSpPr>
          <p:spPr bwMode="ltGray">
            <a:xfrm>
              <a:off x="3991507" y="4180841"/>
              <a:ext cx="1128733" cy="2206164"/>
            </a:xfrm>
            <a:custGeom>
              <a:avLst/>
              <a:gdLst>
                <a:gd name="connsiteX0" fmla="*/ 192849 w 209550"/>
                <a:gd name="connsiteY0" fmla="*/ 7144 h 409575"/>
                <a:gd name="connsiteX1" fmla="*/ 161417 w 209550"/>
                <a:gd name="connsiteY1" fmla="*/ 45244 h 409575"/>
                <a:gd name="connsiteX2" fmla="*/ 154749 w 209550"/>
                <a:gd name="connsiteY2" fmla="*/ 99536 h 409575"/>
                <a:gd name="connsiteX3" fmla="*/ 120459 w 209550"/>
                <a:gd name="connsiteY3" fmla="*/ 171926 h 409575"/>
                <a:gd name="connsiteX4" fmla="*/ 74739 w 209550"/>
                <a:gd name="connsiteY4" fmla="*/ 258604 h 409575"/>
                <a:gd name="connsiteX5" fmla="*/ 10921 w 209550"/>
                <a:gd name="connsiteY5" fmla="*/ 329089 h 409575"/>
                <a:gd name="connsiteX6" fmla="*/ 9969 w 209550"/>
                <a:gd name="connsiteY6" fmla="*/ 395764 h 409575"/>
                <a:gd name="connsiteX7" fmla="*/ 22351 w 209550"/>
                <a:gd name="connsiteY7" fmla="*/ 407194 h 409575"/>
                <a:gd name="connsiteX8" fmla="*/ 28066 w 209550"/>
                <a:gd name="connsiteY8" fmla="*/ 405289 h 409575"/>
                <a:gd name="connsiteX9" fmla="*/ 42354 w 209550"/>
                <a:gd name="connsiteY9" fmla="*/ 391954 h 409575"/>
                <a:gd name="connsiteX10" fmla="*/ 69976 w 209550"/>
                <a:gd name="connsiteY10" fmla="*/ 351949 h 409575"/>
                <a:gd name="connsiteX11" fmla="*/ 163321 w 209550"/>
                <a:gd name="connsiteY11" fmla="*/ 190024 h 409575"/>
                <a:gd name="connsiteX12" fmla="*/ 199517 w 209550"/>
                <a:gd name="connsiteY12" fmla="*/ 19526 h 409575"/>
                <a:gd name="connsiteX13" fmla="*/ 192849 w 209550"/>
                <a:gd name="connsiteY13" fmla="*/ 7144 h 4095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09550" h="409575">
                  <a:moveTo>
                    <a:pt x="192849" y="7144"/>
                  </a:moveTo>
                  <a:cubicBezTo>
                    <a:pt x="187134" y="24289"/>
                    <a:pt x="168084" y="30004"/>
                    <a:pt x="161417" y="45244"/>
                  </a:cubicBezTo>
                  <a:cubicBezTo>
                    <a:pt x="156654" y="58579"/>
                    <a:pt x="157606" y="84296"/>
                    <a:pt x="154749" y="99536"/>
                  </a:cubicBezTo>
                  <a:cubicBezTo>
                    <a:pt x="149034" y="131921"/>
                    <a:pt x="137604" y="144304"/>
                    <a:pt x="120459" y="171926"/>
                  </a:cubicBezTo>
                  <a:cubicBezTo>
                    <a:pt x="102361" y="199549"/>
                    <a:pt x="96646" y="233839"/>
                    <a:pt x="74739" y="258604"/>
                  </a:cubicBezTo>
                  <a:cubicBezTo>
                    <a:pt x="53784" y="282416"/>
                    <a:pt x="19494" y="295751"/>
                    <a:pt x="10921" y="329089"/>
                  </a:cubicBezTo>
                  <a:cubicBezTo>
                    <a:pt x="7111" y="341471"/>
                    <a:pt x="5206" y="383381"/>
                    <a:pt x="9969" y="395764"/>
                  </a:cubicBezTo>
                  <a:cubicBezTo>
                    <a:pt x="13779" y="403384"/>
                    <a:pt x="17589" y="407194"/>
                    <a:pt x="22351" y="407194"/>
                  </a:cubicBezTo>
                  <a:cubicBezTo>
                    <a:pt x="24256" y="407194"/>
                    <a:pt x="26161" y="406241"/>
                    <a:pt x="28066" y="405289"/>
                  </a:cubicBezTo>
                  <a:cubicBezTo>
                    <a:pt x="32829" y="401479"/>
                    <a:pt x="37591" y="396716"/>
                    <a:pt x="42354" y="391954"/>
                  </a:cubicBezTo>
                  <a:cubicBezTo>
                    <a:pt x="52831" y="379571"/>
                    <a:pt x="62356" y="362426"/>
                    <a:pt x="69976" y="351949"/>
                  </a:cubicBezTo>
                  <a:cubicBezTo>
                    <a:pt x="106171" y="300514"/>
                    <a:pt x="131889" y="243364"/>
                    <a:pt x="163321" y="190024"/>
                  </a:cubicBezTo>
                  <a:cubicBezTo>
                    <a:pt x="195706" y="135731"/>
                    <a:pt x="218567" y="82391"/>
                    <a:pt x="199517" y="19526"/>
                  </a:cubicBezTo>
                  <a:lnTo>
                    <a:pt x="192849" y="7144"/>
                  </a:lnTo>
                  <a:close/>
                </a:path>
              </a:pathLst>
            </a:custGeom>
            <a:solidFill>
              <a:srgbClr val="724D8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67B06B57-87F2-4999-9051-9130D4219140}"/>
                </a:ext>
              </a:extLst>
            </p:cNvPr>
            <p:cNvSpPr/>
            <p:nvPr/>
          </p:nvSpPr>
          <p:spPr bwMode="ltGray">
            <a:xfrm>
              <a:off x="3811259" y="4868343"/>
              <a:ext cx="359144" cy="718287"/>
            </a:xfrm>
            <a:custGeom>
              <a:avLst/>
              <a:gdLst>
                <a:gd name="connsiteX0" fmla="*/ 68197 w 66675"/>
                <a:gd name="connsiteY0" fmla="*/ 7144 h 133350"/>
                <a:gd name="connsiteX1" fmla="*/ 55814 w 66675"/>
                <a:gd name="connsiteY1" fmla="*/ 26194 h 133350"/>
                <a:gd name="connsiteX2" fmla="*/ 8189 w 66675"/>
                <a:gd name="connsiteY2" fmla="*/ 133826 h 133350"/>
                <a:gd name="connsiteX3" fmla="*/ 68197 w 66675"/>
                <a:gd name="connsiteY3" fmla="*/ 7144 h 1333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6675" h="133350">
                  <a:moveTo>
                    <a:pt x="68197" y="7144"/>
                  </a:moveTo>
                  <a:lnTo>
                    <a:pt x="55814" y="26194"/>
                  </a:lnTo>
                  <a:cubicBezTo>
                    <a:pt x="46289" y="54769"/>
                    <a:pt x="-383" y="106204"/>
                    <a:pt x="8189" y="133826"/>
                  </a:cubicBezTo>
                  <a:cubicBezTo>
                    <a:pt x="66292" y="124301"/>
                    <a:pt x="68197" y="53816"/>
                    <a:pt x="68197" y="7144"/>
                  </a:cubicBezTo>
                </a:path>
              </a:pathLst>
            </a:custGeom>
            <a:solidFill>
              <a:srgbClr val="724D8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15" name="Group 14">
            <a:extLst>
              <a:ext uri="{FF2B5EF4-FFF2-40B4-BE49-F238E27FC236}">
                <a16:creationId xmlns:a16="http://schemas.microsoft.com/office/drawing/2014/main" id="{16E1C2E2-BB89-4D6F-9E26-4819552D2F46}"/>
              </a:ext>
            </a:extLst>
          </p:cNvPr>
          <p:cNvGrpSpPr>
            <a:grpSpLocks noChangeAspect="1"/>
          </p:cNvGrpSpPr>
          <p:nvPr/>
        </p:nvGrpSpPr>
        <p:grpSpPr>
          <a:xfrm>
            <a:off x="1075883" y="5227486"/>
            <a:ext cx="2286000" cy="880288"/>
            <a:chOff x="2078951" y="1888610"/>
            <a:chExt cx="8030200" cy="3092248"/>
          </a:xfrm>
          <a:solidFill>
            <a:srgbClr val="FFFFFF"/>
          </a:solidFill>
        </p:grpSpPr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951AEA87-C235-450A-AFCD-D7D7402D584D}"/>
                </a:ext>
              </a:extLst>
            </p:cNvPr>
            <p:cNvSpPr/>
            <p:nvPr/>
          </p:nvSpPr>
          <p:spPr>
            <a:xfrm>
              <a:off x="2078951" y="2872694"/>
              <a:ext cx="951880" cy="652717"/>
            </a:xfrm>
            <a:custGeom>
              <a:avLst/>
              <a:gdLst>
                <a:gd name="connsiteX0" fmla="*/ 903041 w 951880"/>
                <a:gd name="connsiteY0" fmla="*/ 330574 h 652717"/>
                <a:gd name="connsiteX1" fmla="*/ 780656 w 951880"/>
                <a:gd name="connsiteY1" fmla="*/ 379528 h 652717"/>
                <a:gd name="connsiteX2" fmla="*/ 598439 w 951880"/>
                <a:gd name="connsiteY2" fmla="*/ 311537 h 652717"/>
                <a:gd name="connsiteX3" fmla="*/ 505970 w 951880"/>
                <a:gd name="connsiteY3" fmla="*/ 164675 h 652717"/>
                <a:gd name="connsiteX4" fmla="*/ 266640 w 951880"/>
                <a:gd name="connsiteY4" fmla="*/ 61329 h 652717"/>
                <a:gd name="connsiteX5" fmla="*/ 103461 w 951880"/>
                <a:gd name="connsiteY5" fmla="*/ 458398 h 652717"/>
                <a:gd name="connsiteX6" fmla="*/ 756179 w 951880"/>
                <a:gd name="connsiteY6" fmla="*/ 485595 h 652717"/>
                <a:gd name="connsiteX7" fmla="*/ 903041 w 951880"/>
                <a:gd name="connsiteY7" fmla="*/ 330574 h 6527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51880" h="652717">
                  <a:moveTo>
                    <a:pt x="903041" y="330574"/>
                  </a:moveTo>
                  <a:cubicBezTo>
                    <a:pt x="867685" y="363210"/>
                    <a:pt x="813292" y="374089"/>
                    <a:pt x="780656" y="379528"/>
                  </a:cubicBezTo>
                  <a:cubicBezTo>
                    <a:pt x="712664" y="387687"/>
                    <a:pt x="641953" y="365930"/>
                    <a:pt x="598439" y="311537"/>
                  </a:cubicBezTo>
                  <a:cubicBezTo>
                    <a:pt x="563083" y="268022"/>
                    <a:pt x="544046" y="210910"/>
                    <a:pt x="505970" y="164675"/>
                  </a:cubicBezTo>
                  <a:cubicBezTo>
                    <a:pt x="448858" y="93964"/>
                    <a:pt x="359109" y="45011"/>
                    <a:pt x="266640" y="61329"/>
                  </a:cubicBezTo>
                  <a:cubicBezTo>
                    <a:pt x="81704" y="93964"/>
                    <a:pt x="114" y="308817"/>
                    <a:pt x="103461" y="458398"/>
                  </a:cubicBezTo>
                  <a:cubicBezTo>
                    <a:pt x="253042" y="670531"/>
                    <a:pt x="584840" y="635176"/>
                    <a:pt x="756179" y="485595"/>
                  </a:cubicBezTo>
                  <a:cubicBezTo>
                    <a:pt x="813292" y="442080"/>
                    <a:pt x="862246" y="390407"/>
                    <a:pt x="903041" y="330574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05CE8A05-C7FA-4C3B-8336-544EA5285D5A}"/>
                </a:ext>
              </a:extLst>
            </p:cNvPr>
            <p:cNvSpPr/>
            <p:nvPr/>
          </p:nvSpPr>
          <p:spPr>
            <a:xfrm>
              <a:off x="9151831" y="2872694"/>
              <a:ext cx="951880" cy="652717"/>
            </a:xfrm>
            <a:custGeom>
              <a:avLst/>
              <a:gdLst>
                <a:gd name="connsiteX0" fmla="*/ 58178 w 951880"/>
                <a:gd name="connsiteY0" fmla="*/ 330574 h 652717"/>
                <a:gd name="connsiteX1" fmla="*/ 180563 w 951880"/>
                <a:gd name="connsiteY1" fmla="*/ 379528 h 652717"/>
                <a:gd name="connsiteX2" fmla="*/ 362780 w 951880"/>
                <a:gd name="connsiteY2" fmla="*/ 311537 h 652717"/>
                <a:gd name="connsiteX3" fmla="*/ 455249 w 951880"/>
                <a:gd name="connsiteY3" fmla="*/ 164675 h 652717"/>
                <a:gd name="connsiteX4" fmla="*/ 694578 w 951880"/>
                <a:gd name="connsiteY4" fmla="*/ 61329 h 652717"/>
                <a:gd name="connsiteX5" fmla="*/ 857758 w 951880"/>
                <a:gd name="connsiteY5" fmla="*/ 458398 h 652717"/>
                <a:gd name="connsiteX6" fmla="*/ 205040 w 951880"/>
                <a:gd name="connsiteY6" fmla="*/ 485595 h 652717"/>
                <a:gd name="connsiteX7" fmla="*/ 58178 w 951880"/>
                <a:gd name="connsiteY7" fmla="*/ 330574 h 6527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51880" h="652717">
                  <a:moveTo>
                    <a:pt x="58178" y="330574"/>
                  </a:moveTo>
                  <a:cubicBezTo>
                    <a:pt x="96253" y="363210"/>
                    <a:pt x="147927" y="374089"/>
                    <a:pt x="180563" y="379528"/>
                  </a:cubicBezTo>
                  <a:cubicBezTo>
                    <a:pt x="248554" y="387687"/>
                    <a:pt x="319266" y="365930"/>
                    <a:pt x="362780" y="311537"/>
                  </a:cubicBezTo>
                  <a:cubicBezTo>
                    <a:pt x="398136" y="268022"/>
                    <a:pt x="417174" y="210910"/>
                    <a:pt x="455249" y="164675"/>
                  </a:cubicBezTo>
                  <a:cubicBezTo>
                    <a:pt x="512362" y="93964"/>
                    <a:pt x="602110" y="45011"/>
                    <a:pt x="694578" y="61329"/>
                  </a:cubicBezTo>
                  <a:cubicBezTo>
                    <a:pt x="879515" y="93964"/>
                    <a:pt x="961105" y="308817"/>
                    <a:pt x="857758" y="458398"/>
                  </a:cubicBezTo>
                  <a:cubicBezTo>
                    <a:pt x="708176" y="670531"/>
                    <a:pt x="376379" y="635176"/>
                    <a:pt x="205040" y="485595"/>
                  </a:cubicBezTo>
                  <a:cubicBezTo>
                    <a:pt x="150646" y="442080"/>
                    <a:pt x="101693" y="390407"/>
                    <a:pt x="58178" y="330574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3BA579D5-98DD-4625-9DD5-1FCE1B6ABB39}"/>
                </a:ext>
              </a:extLst>
            </p:cNvPr>
            <p:cNvSpPr/>
            <p:nvPr/>
          </p:nvSpPr>
          <p:spPr>
            <a:xfrm>
              <a:off x="8001294" y="2010994"/>
              <a:ext cx="734308" cy="299162"/>
            </a:xfrm>
            <a:custGeom>
              <a:avLst/>
              <a:gdLst>
                <a:gd name="connsiteX0" fmla="*/ 596792 w 734307"/>
                <a:gd name="connsiteY0" fmla="*/ 58178 h 299162"/>
                <a:gd name="connsiteX1" fmla="*/ 148048 w 734307"/>
                <a:gd name="connsiteY1" fmla="*/ 58178 h 299162"/>
                <a:gd name="connsiteX2" fmla="*/ 58299 w 734307"/>
                <a:gd name="connsiteY2" fmla="*/ 150646 h 299162"/>
                <a:gd name="connsiteX3" fmla="*/ 148048 w 734307"/>
                <a:gd name="connsiteY3" fmla="*/ 251274 h 299162"/>
                <a:gd name="connsiteX4" fmla="*/ 596792 w 734307"/>
                <a:gd name="connsiteY4" fmla="*/ 251274 h 299162"/>
                <a:gd name="connsiteX5" fmla="*/ 686541 w 734307"/>
                <a:gd name="connsiteY5" fmla="*/ 158805 h 299162"/>
                <a:gd name="connsiteX6" fmla="*/ 596792 w 734307"/>
                <a:gd name="connsiteY6" fmla="*/ 58178 h 2991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34307" h="299162">
                  <a:moveTo>
                    <a:pt x="596792" y="58178"/>
                  </a:moveTo>
                  <a:cubicBezTo>
                    <a:pt x="591353" y="58178"/>
                    <a:pt x="153487" y="58178"/>
                    <a:pt x="148048" y="58178"/>
                  </a:cubicBezTo>
                  <a:cubicBezTo>
                    <a:pt x="99094" y="60898"/>
                    <a:pt x="61019" y="104412"/>
                    <a:pt x="58299" y="150646"/>
                  </a:cubicBezTo>
                  <a:cubicBezTo>
                    <a:pt x="55580" y="199600"/>
                    <a:pt x="99094" y="248554"/>
                    <a:pt x="148048" y="251274"/>
                  </a:cubicBezTo>
                  <a:cubicBezTo>
                    <a:pt x="153487" y="251274"/>
                    <a:pt x="591353" y="251274"/>
                    <a:pt x="596792" y="251274"/>
                  </a:cubicBezTo>
                  <a:cubicBezTo>
                    <a:pt x="645746" y="248554"/>
                    <a:pt x="683821" y="205040"/>
                    <a:pt x="686541" y="158805"/>
                  </a:cubicBezTo>
                  <a:cubicBezTo>
                    <a:pt x="689260" y="109852"/>
                    <a:pt x="648465" y="60898"/>
                    <a:pt x="596792" y="58178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AE511275-1C6B-4F4E-8A9B-E40DF8FAEF2B}"/>
                </a:ext>
              </a:extLst>
            </p:cNvPr>
            <p:cNvSpPr/>
            <p:nvPr/>
          </p:nvSpPr>
          <p:spPr>
            <a:xfrm>
              <a:off x="4920042" y="2277520"/>
              <a:ext cx="1006274" cy="951879"/>
            </a:xfrm>
            <a:custGeom>
              <a:avLst/>
              <a:gdLst>
                <a:gd name="connsiteX0" fmla="*/ 884954 w 1006273"/>
                <a:gd name="connsiteY0" fmla="*/ 746251 h 951879"/>
                <a:gd name="connsiteX1" fmla="*/ 874076 w 1006273"/>
                <a:gd name="connsiteY1" fmla="*/ 670101 h 951879"/>
                <a:gd name="connsiteX2" fmla="*/ 874076 w 1006273"/>
                <a:gd name="connsiteY2" fmla="*/ 536837 h 951879"/>
                <a:gd name="connsiteX3" fmla="*/ 689139 w 1006273"/>
                <a:gd name="connsiteY3" fmla="*/ 88094 h 951879"/>
                <a:gd name="connsiteX4" fmla="*/ 428052 w 1006273"/>
                <a:gd name="connsiteY4" fmla="*/ 253993 h 951879"/>
                <a:gd name="connsiteX5" fmla="*/ 196881 w 1006273"/>
                <a:gd name="connsiteY5" fmla="*/ 58178 h 951879"/>
                <a:gd name="connsiteX6" fmla="*/ 58178 w 1006273"/>
                <a:gd name="connsiteY6" fmla="*/ 128889 h 951879"/>
                <a:gd name="connsiteX7" fmla="*/ 142488 w 1006273"/>
                <a:gd name="connsiteY7" fmla="*/ 273031 h 951879"/>
                <a:gd name="connsiteX8" fmla="*/ 142488 w 1006273"/>
                <a:gd name="connsiteY8" fmla="*/ 757130 h 951879"/>
                <a:gd name="connsiteX9" fmla="*/ 283910 w 1006273"/>
                <a:gd name="connsiteY9" fmla="*/ 895832 h 951879"/>
                <a:gd name="connsiteX10" fmla="*/ 428052 w 1006273"/>
                <a:gd name="connsiteY10" fmla="*/ 757130 h 951879"/>
                <a:gd name="connsiteX11" fmla="*/ 428052 w 1006273"/>
                <a:gd name="connsiteY11" fmla="*/ 400855 h 951879"/>
                <a:gd name="connsiteX12" fmla="*/ 523240 w 1006273"/>
                <a:gd name="connsiteY12" fmla="*/ 283910 h 951879"/>
                <a:gd name="connsiteX13" fmla="*/ 591231 w 1006273"/>
                <a:gd name="connsiteY13" fmla="*/ 354621 h 951879"/>
                <a:gd name="connsiteX14" fmla="*/ 591231 w 1006273"/>
                <a:gd name="connsiteY14" fmla="*/ 697297 h 951879"/>
                <a:gd name="connsiteX15" fmla="*/ 593951 w 1006273"/>
                <a:gd name="connsiteY15" fmla="*/ 729933 h 951879"/>
                <a:gd name="connsiteX16" fmla="*/ 610269 w 1006273"/>
                <a:gd name="connsiteY16" fmla="*/ 778887 h 951879"/>
                <a:gd name="connsiteX17" fmla="*/ 822402 w 1006273"/>
                <a:gd name="connsiteY17" fmla="*/ 893112 h 951879"/>
                <a:gd name="connsiteX18" fmla="*/ 961105 w 1006273"/>
                <a:gd name="connsiteY18" fmla="*/ 822401 h 951879"/>
                <a:gd name="connsiteX19" fmla="*/ 884954 w 1006273"/>
                <a:gd name="connsiteY19" fmla="*/ 746251 h 9518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006273" h="951879">
                  <a:moveTo>
                    <a:pt x="884954" y="746251"/>
                  </a:moveTo>
                  <a:cubicBezTo>
                    <a:pt x="879515" y="721774"/>
                    <a:pt x="876795" y="694578"/>
                    <a:pt x="874076" y="670101"/>
                  </a:cubicBezTo>
                  <a:cubicBezTo>
                    <a:pt x="874076" y="634745"/>
                    <a:pt x="874076" y="583072"/>
                    <a:pt x="874076" y="536837"/>
                  </a:cubicBezTo>
                  <a:cubicBezTo>
                    <a:pt x="879515" y="373658"/>
                    <a:pt x="909431" y="88094"/>
                    <a:pt x="689139" y="88094"/>
                  </a:cubicBezTo>
                  <a:cubicBezTo>
                    <a:pt x="539558" y="88094"/>
                    <a:pt x="452529" y="213199"/>
                    <a:pt x="428052" y="253993"/>
                  </a:cubicBezTo>
                  <a:cubicBezTo>
                    <a:pt x="425332" y="139768"/>
                    <a:pt x="335583" y="58178"/>
                    <a:pt x="196881" y="58178"/>
                  </a:cubicBezTo>
                  <a:cubicBezTo>
                    <a:pt x="109852" y="58178"/>
                    <a:pt x="58178" y="128889"/>
                    <a:pt x="58178" y="128889"/>
                  </a:cubicBezTo>
                  <a:cubicBezTo>
                    <a:pt x="58178" y="128889"/>
                    <a:pt x="142488" y="158805"/>
                    <a:pt x="142488" y="273031"/>
                  </a:cubicBezTo>
                  <a:cubicBezTo>
                    <a:pt x="142488" y="354621"/>
                    <a:pt x="142488" y="757130"/>
                    <a:pt x="142488" y="757130"/>
                  </a:cubicBezTo>
                  <a:cubicBezTo>
                    <a:pt x="145207" y="827841"/>
                    <a:pt x="194161" y="895832"/>
                    <a:pt x="283910" y="895832"/>
                  </a:cubicBezTo>
                  <a:cubicBezTo>
                    <a:pt x="373659" y="895832"/>
                    <a:pt x="428052" y="827841"/>
                    <a:pt x="428052" y="757130"/>
                  </a:cubicBezTo>
                  <a:lnTo>
                    <a:pt x="428052" y="400855"/>
                  </a:lnTo>
                  <a:cubicBezTo>
                    <a:pt x="441650" y="343742"/>
                    <a:pt x="474286" y="283910"/>
                    <a:pt x="523240" y="283910"/>
                  </a:cubicBezTo>
                  <a:cubicBezTo>
                    <a:pt x="585792" y="283910"/>
                    <a:pt x="591231" y="354621"/>
                    <a:pt x="591231" y="354621"/>
                  </a:cubicBezTo>
                  <a:lnTo>
                    <a:pt x="591231" y="697297"/>
                  </a:lnTo>
                  <a:cubicBezTo>
                    <a:pt x="591231" y="708176"/>
                    <a:pt x="593951" y="719054"/>
                    <a:pt x="593951" y="729933"/>
                  </a:cubicBezTo>
                  <a:cubicBezTo>
                    <a:pt x="596671" y="748971"/>
                    <a:pt x="602110" y="765289"/>
                    <a:pt x="610269" y="778887"/>
                  </a:cubicBezTo>
                  <a:cubicBezTo>
                    <a:pt x="645624" y="846878"/>
                    <a:pt x="719055" y="893112"/>
                    <a:pt x="822402" y="893112"/>
                  </a:cubicBezTo>
                  <a:cubicBezTo>
                    <a:pt x="909431" y="893112"/>
                    <a:pt x="961105" y="822401"/>
                    <a:pt x="961105" y="822401"/>
                  </a:cubicBezTo>
                  <a:cubicBezTo>
                    <a:pt x="961105" y="822401"/>
                    <a:pt x="909431" y="808803"/>
                    <a:pt x="884954" y="746251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938331E1-8771-498E-825A-8979204BF675}"/>
                </a:ext>
              </a:extLst>
            </p:cNvPr>
            <p:cNvSpPr/>
            <p:nvPr/>
          </p:nvSpPr>
          <p:spPr>
            <a:xfrm>
              <a:off x="7552331" y="1888610"/>
              <a:ext cx="489539" cy="1332631"/>
            </a:xfrm>
            <a:custGeom>
              <a:avLst/>
              <a:gdLst>
                <a:gd name="connsiteX0" fmla="*/ 368560 w 489538"/>
                <a:gd name="connsiteY0" fmla="*/ 1135162 h 1332630"/>
                <a:gd name="connsiteX1" fmla="*/ 357681 w 489538"/>
                <a:gd name="connsiteY1" fmla="*/ 1059011 h 1332630"/>
                <a:gd name="connsiteX2" fmla="*/ 357681 w 489538"/>
                <a:gd name="connsiteY2" fmla="*/ 207759 h 1332630"/>
                <a:gd name="connsiteX3" fmla="*/ 208099 w 489538"/>
                <a:gd name="connsiteY3" fmla="*/ 58178 h 1332630"/>
                <a:gd name="connsiteX4" fmla="*/ 58518 w 489538"/>
                <a:gd name="connsiteY4" fmla="*/ 207759 h 1332630"/>
                <a:gd name="connsiteX5" fmla="*/ 58518 w 489538"/>
                <a:gd name="connsiteY5" fmla="*/ 961104 h 1332630"/>
                <a:gd name="connsiteX6" fmla="*/ 85715 w 489538"/>
                <a:gd name="connsiteY6" fmla="*/ 1159639 h 1332630"/>
                <a:gd name="connsiteX7" fmla="*/ 306007 w 489538"/>
                <a:gd name="connsiteY7" fmla="*/ 1282023 h 1332630"/>
                <a:gd name="connsiteX8" fmla="*/ 444710 w 489538"/>
                <a:gd name="connsiteY8" fmla="*/ 1211312 h 1332630"/>
                <a:gd name="connsiteX9" fmla="*/ 368560 w 489538"/>
                <a:gd name="connsiteY9" fmla="*/ 1135162 h 13326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89538" h="1332630">
                  <a:moveTo>
                    <a:pt x="368560" y="1135162"/>
                  </a:moveTo>
                  <a:cubicBezTo>
                    <a:pt x="363120" y="1110685"/>
                    <a:pt x="357681" y="1083488"/>
                    <a:pt x="357681" y="1059011"/>
                  </a:cubicBezTo>
                  <a:lnTo>
                    <a:pt x="357681" y="207759"/>
                  </a:lnTo>
                  <a:cubicBezTo>
                    <a:pt x="357681" y="126170"/>
                    <a:pt x="289689" y="58178"/>
                    <a:pt x="208099" y="58178"/>
                  </a:cubicBezTo>
                  <a:cubicBezTo>
                    <a:pt x="126510" y="58178"/>
                    <a:pt x="58518" y="126170"/>
                    <a:pt x="58518" y="207759"/>
                  </a:cubicBezTo>
                  <a:lnTo>
                    <a:pt x="58518" y="961104"/>
                  </a:lnTo>
                  <a:cubicBezTo>
                    <a:pt x="58518" y="1029095"/>
                    <a:pt x="53079" y="1097086"/>
                    <a:pt x="85715" y="1159639"/>
                  </a:cubicBezTo>
                  <a:cubicBezTo>
                    <a:pt x="118351" y="1227630"/>
                    <a:pt x="202660" y="1282023"/>
                    <a:pt x="306007" y="1282023"/>
                  </a:cubicBezTo>
                  <a:cubicBezTo>
                    <a:pt x="393036" y="1282023"/>
                    <a:pt x="444710" y="1211312"/>
                    <a:pt x="444710" y="1211312"/>
                  </a:cubicBezTo>
                  <a:cubicBezTo>
                    <a:pt x="444710" y="1211312"/>
                    <a:pt x="393036" y="1197714"/>
                    <a:pt x="368560" y="1135162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4E0F7623-F722-46A3-8DCD-E4C303E014A0}"/>
                </a:ext>
              </a:extLst>
            </p:cNvPr>
            <p:cNvSpPr/>
            <p:nvPr/>
          </p:nvSpPr>
          <p:spPr>
            <a:xfrm>
              <a:off x="4162324" y="2357456"/>
              <a:ext cx="815899" cy="815898"/>
            </a:xfrm>
            <a:custGeom>
              <a:avLst/>
              <a:gdLst>
                <a:gd name="connsiteX0" fmla="*/ 407949 w 815899"/>
                <a:gd name="connsiteY0" fmla="*/ 174058 h 815898"/>
                <a:gd name="connsiteX1" fmla="*/ 293723 w 815899"/>
                <a:gd name="connsiteY1" fmla="*/ 407950 h 815898"/>
                <a:gd name="connsiteX2" fmla="*/ 410669 w 815899"/>
                <a:gd name="connsiteY2" fmla="*/ 641840 h 815898"/>
                <a:gd name="connsiteX3" fmla="*/ 522175 w 815899"/>
                <a:gd name="connsiteY3" fmla="*/ 407950 h 815898"/>
                <a:gd name="connsiteX4" fmla="*/ 407949 w 815899"/>
                <a:gd name="connsiteY4" fmla="*/ 174058 h 815898"/>
                <a:gd name="connsiteX5" fmla="*/ 407950 w 815899"/>
                <a:gd name="connsiteY5" fmla="*/ 0 h 815898"/>
                <a:gd name="connsiteX6" fmla="*/ 815899 w 815899"/>
                <a:gd name="connsiteY6" fmla="*/ 407949 h 815898"/>
                <a:gd name="connsiteX7" fmla="*/ 407950 w 815899"/>
                <a:gd name="connsiteY7" fmla="*/ 815898 h 815898"/>
                <a:gd name="connsiteX8" fmla="*/ 0 w 815899"/>
                <a:gd name="connsiteY8" fmla="*/ 407949 h 815898"/>
                <a:gd name="connsiteX9" fmla="*/ 407950 w 815899"/>
                <a:gd name="connsiteY9" fmla="*/ 0 h 815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15899" h="815898">
                  <a:moveTo>
                    <a:pt x="407949" y="174058"/>
                  </a:moveTo>
                  <a:cubicBezTo>
                    <a:pt x="342677" y="174058"/>
                    <a:pt x="293723" y="263807"/>
                    <a:pt x="293723" y="407950"/>
                  </a:cubicBezTo>
                  <a:cubicBezTo>
                    <a:pt x="293723" y="552091"/>
                    <a:pt x="331799" y="639120"/>
                    <a:pt x="410669" y="641840"/>
                  </a:cubicBezTo>
                  <a:cubicBezTo>
                    <a:pt x="489539" y="641840"/>
                    <a:pt x="527614" y="552091"/>
                    <a:pt x="522175" y="407950"/>
                  </a:cubicBezTo>
                  <a:cubicBezTo>
                    <a:pt x="522175" y="263807"/>
                    <a:pt x="473221" y="176778"/>
                    <a:pt x="407949" y="174058"/>
                  </a:cubicBezTo>
                  <a:close/>
                  <a:moveTo>
                    <a:pt x="407950" y="0"/>
                  </a:moveTo>
                  <a:cubicBezTo>
                    <a:pt x="633682" y="0"/>
                    <a:pt x="815899" y="182217"/>
                    <a:pt x="815899" y="407949"/>
                  </a:cubicBezTo>
                  <a:cubicBezTo>
                    <a:pt x="815899" y="633681"/>
                    <a:pt x="633682" y="815898"/>
                    <a:pt x="407950" y="815898"/>
                  </a:cubicBezTo>
                  <a:cubicBezTo>
                    <a:pt x="182218" y="815898"/>
                    <a:pt x="0" y="633681"/>
                    <a:pt x="0" y="407949"/>
                  </a:cubicBezTo>
                  <a:cubicBezTo>
                    <a:pt x="0" y="182217"/>
                    <a:pt x="182218" y="0"/>
                    <a:pt x="407950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492D88A5-EFC5-4878-92A8-90872B618E80}"/>
                </a:ext>
              </a:extLst>
            </p:cNvPr>
            <p:cNvSpPr/>
            <p:nvPr/>
          </p:nvSpPr>
          <p:spPr>
            <a:xfrm>
              <a:off x="5884871" y="1946788"/>
              <a:ext cx="912802" cy="1223846"/>
            </a:xfrm>
            <a:custGeom>
              <a:avLst/>
              <a:gdLst>
                <a:gd name="connsiteX0" fmla="*/ 387907 w 912802"/>
                <a:gd name="connsiteY0" fmla="*/ 620081 h 1223846"/>
                <a:gd name="connsiteX1" fmla="*/ 273681 w 912802"/>
                <a:gd name="connsiteY1" fmla="*/ 824055 h 1223846"/>
                <a:gd name="connsiteX2" fmla="*/ 390627 w 912802"/>
                <a:gd name="connsiteY2" fmla="*/ 1028029 h 1223846"/>
                <a:gd name="connsiteX3" fmla="*/ 502132 w 912802"/>
                <a:gd name="connsiteY3" fmla="*/ 824055 h 1223846"/>
                <a:gd name="connsiteX4" fmla="*/ 387907 w 912802"/>
                <a:gd name="connsiteY4" fmla="*/ 620081 h 1223846"/>
                <a:gd name="connsiteX5" fmla="*/ 676192 w 912802"/>
                <a:gd name="connsiteY5" fmla="*/ 0 h 1223846"/>
                <a:gd name="connsiteX6" fmla="*/ 825773 w 912802"/>
                <a:gd name="connsiteY6" fmla="*/ 149581 h 1223846"/>
                <a:gd name="connsiteX7" fmla="*/ 825773 w 912802"/>
                <a:gd name="connsiteY7" fmla="*/ 1000834 h 1223846"/>
                <a:gd name="connsiteX8" fmla="*/ 836651 w 912802"/>
                <a:gd name="connsiteY8" fmla="*/ 1076985 h 1223846"/>
                <a:gd name="connsiteX9" fmla="*/ 912802 w 912802"/>
                <a:gd name="connsiteY9" fmla="*/ 1150415 h 1223846"/>
                <a:gd name="connsiteX10" fmla="*/ 774099 w 912802"/>
                <a:gd name="connsiteY10" fmla="*/ 1221126 h 1223846"/>
                <a:gd name="connsiteX11" fmla="*/ 553807 w 912802"/>
                <a:gd name="connsiteY11" fmla="*/ 1098742 h 1223846"/>
                <a:gd name="connsiteX12" fmla="*/ 548367 w 912802"/>
                <a:gd name="connsiteY12" fmla="*/ 1085144 h 1223846"/>
                <a:gd name="connsiteX13" fmla="*/ 398786 w 912802"/>
                <a:gd name="connsiteY13" fmla="*/ 1212967 h 1223846"/>
                <a:gd name="connsiteX14" fmla="*/ 156736 w 912802"/>
                <a:gd name="connsiteY14" fmla="*/ 1180332 h 1223846"/>
                <a:gd name="connsiteX15" fmla="*/ 287280 w 912802"/>
                <a:gd name="connsiteY15" fmla="*/ 416107 h 1223846"/>
                <a:gd name="connsiteX16" fmla="*/ 526611 w 912802"/>
                <a:gd name="connsiteY16" fmla="*/ 552091 h 1223846"/>
                <a:gd name="connsiteX17" fmla="*/ 526611 w 912802"/>
                <a:gd name="connsiteY17" fmla="*/ 149581 h 1223846"/>
                <a:gd name="connsiteX18" fmla="*/ 676192 w 912802"/>
                <a:gd name="connsiteY18" fmla="*/ 0 h 1223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912802" h="1223846">
                  <a:moveTo>
                    <a:pt x="387907" y="620081"/>
                  </a:moveTo>
                  <a:cubicBezTo>
                    <a:pt x="322635" y="620081"/>
                    <a:pt x="273681" y="698951"/>
                    <a:pt x="273681" y="824055"/>
                  </a:cubicBezTo>
                  <a:cubicBezTo>
                    <a:pt x="273681" y="949160"/>
                    <a:pt x="311756" y="1028029"/>
                    <a:pt x="390627" y="1028029"/>
                  </a:cubicBezTo>
                  <a:cubicBezTo>
                    <a:pt x="466777" y="1025310"/>
                    <a:pt x="504852" y="949160"/>
                    <a:pt x="502132" y="824055"/>
                  </a:cubicBezTo>
                  <a:cubicBezTo>
                    <a:pt x="502132" y="698951"/>
                    <a:pt x="455898" y="622801"/>
                    <a:pt x="387907" y="620081"/>
                  </a:cubicBezTo>
                  <a:close/>
                  <a:moveTo>
                    <a:pt x="676192" y="0"/>
                  </a:moveTo>
                  <a:cubicBezTo>
                    <a:pt x="757781" y="0"/>
                    <a:pt x="825773" y="67992"/>
                    <a:pt x="825773" y="149581"/>
                  </a:cubicBezTo>
                  <a:lnTo>
                    <a:pt x="825773" y="1000834"/>
                  </a:lnTo>
                  <a:cubicBezTo>
                    <a:pt x="828492" y="1025311"/>
                    <a:pt x="831212" y="1052508"/>
                    <a:pt x="836651" y="1076985"/>
                  </a:cubicBezTo>
                  <a:cubicBezTo>
                    <a:pt x="861128" y="1139537"/>
                    <a:pt x="912802" y="1150415"/>
                    <a:pt x="912802" y="1150415"/>
                  </a:cubicBezTo>
                  <a:cubicBezTo>
                    <a:pt x="912802" y="1150415"/>
                    <a:pt x="861128" y="1221126"/>
                    <a:pt x="774099" y="1221126"/>
                  </a:cubicBezTo>
                  <a:cubicBezTo>
                    <a:pt x="670752" y="1221126"/>
                    <a:pt x="589162" y="1166733"/>
                    <a:pt x="553807" y="1098742"/>
                  </a:cubicBezTo>
                  <a:cubicBezTo>
                    <a:pt x="551087" y="1093303"/>
                    <a:pt x="551087" y="1090583"/>
                    <a:pt x="548367" y="1085144"/>
                  </a:cubicBezTo>
                  <a:cubicBezTo>
                    <a:pt x="534769" y="1147696"/>
                    <a:pt x="450460" y="1199369"/>
                    <a:pt x="398786" y="1212967"/>
                  </a:cubicBezTo>
                  <a:cubicBezTo>
                    <a:pt x="322636" y="1234725"/>
                    <a:pt x="222008" y="1223846"/>
                    <a:pt x="156736" y="1180332"/>
                  </a:cubicBezTo>
                  <a:cubicBezTo>
                    <a:pt x="-79874" y="1028031"/>
                    <a:pt x="-58117" y="416107"/>
                    <a:pt x="287280" y="416107"/>
                  </a:cubicBezTo>
                  <a:cubicBezTo>
                    <a:pt x="412385" y="416107"/>
                    <a:pt x="491255" y="503137"/>
                    <a:pt x="526611" y="552091"/>
                  </a:cubicBezTo>
                  <a:lnTo>
                    <a:pt x="526611" y="149581"/>
                  </a:lnTo>
                  <a:cubicBezTo>
                    <a:pt x="526611" y="67992"/>
                    <a:pt x="594602" y="0"/>
                    <a:pt x="676192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D2C98FC1-954B-4A65-A246-E2EB71113B59}"/>
                </a:ext>
              </a:extLst>
            </p:cNvPr>
            <p:cNvSpPr/>
            <p:nvPr/>
          </p:nvSpPr>
          <p:spPr>
            <a:xfrm>
              <a:off x="6789513" y="2362895"/>
              <a:ext cx="747906" cy="810458"/>
            </a:xfrm>
            <a:custGeom>
              <a:avLst/>
              <a:gdLst>
                <a:gd name="connsiteX0" fmla="*/ 394818 w 747906"/>
                <a:gd name="connsiteY0" fmla="*/ 163222 h 810458"/>
                <a:gd name="connsiteX1" fmla="*/ 356275 w 747906"/>
                <a:gd name="connsiteY1" fmla="*/ 174058 h 810458"/>
                <a:gd name="connsiteX2" fmla="*/ 274685 w 747906"/>
                <a:gd name="connsiteY2" fmla="*/ 356275 h 810458"/>
                <a:gd name="connsiteX3" fmla="*/ 375313 w 747906"/>
                <a:gd name="connsiteY3" fmla="*/ 358994 h 810458"/>
                <a:gd name="connsiteX4" fmla="*/ 473220 w 747906"/>
                <a:gd name="connsiteY4" fmla="*/ 239329 h 810458"/>
                <a:gd name="connsiteX5" fmla="*/ 394818 w 747906"/>
                <a:gd name="connsiteY5" fmla="*/ 163222 h 810458"/>
                <a:gd name="connsiteX6" fmla="*/ 386192 w 747906"/>
                <a:gd name="connsiteY6" fmla="*/ 0 h 810458"/>
                <a:gd name="connsiteX7" fmla="*/ 747906 w 747906"/>
                <a:gd name="connsiteY7" fmla="*/ 266526 h 810458"/>
                <a:gd name="connsiteX8" fmla="*/ 291004 w 747906"/>
                <a:gd name="connsiteY8" fmla="*/ 484100 h 810458"/>
                <a:gd name="connsiteX9" fmla="*/ 497698 w 747906"/>
                <a:gd name="connsiteY9" fmla="*/ 617363 h 810458"/>
                <a:gd name="connsiteX10" fmla="*/ 712551 w 747906"/>
                <a:gd name="connsiteY10" fmla="*/ 557530 h 810458"/>
                <a:gd name="connsiteX11" fmla="*/ 388912 w 747906"/>
                <a:gd name="connsiteY11" fmla="*/ 810458 h 810458"/>
                <a:gd name="connsiteX12" fmla="*/ 0 w 747906"/>
                <a:gd name="connsiteY12" fmla="*/ 413389 h 810458"/>
                <a:gd name="connsiteX13" fmla="*/ 386192 w 747906"/>
                <a:gd name="connsiteY13" fmla="*/ 0 h 8104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747906" h="810458">
                  <a:moveTo>
                    <a:pt x="394818" y="163222"/>
                  </a:moveTo>
                  <a:cubicBezTo>
                    <a:pt x="381772" y="163179"/>
                    <a:pt x="368514" y="166579"/>
                    <a:pt x="356275" y="174058"/>
                  </a:cubicBezTo>
                  <a:cubicBezTo>
                    <a:pt x="299162" y="212133"/>
                    <a:pt x="282844" y="291003"/>
                    <a:pt x="274685" y="356275"/>
                  </a:cubicBezTo>
                  <a:cubicBezTo>
                    <a:pt x="274685" y="364434"/>
                    <a:pt x="369873" y="358994"/>
                    <a:pt x="375313" y="358994"/>
                  </a:cubicBezTo>
                  <a:cubicBezTo>
                    <a:pt x="432425" y="345396"/>
                    <a:pt x="473220" y="301881"/>
                    <a:pt x="473220" y="239329"/>
                  </a:cubicBezTo>
                  <a:cubicBezTo>
                    <a:pt x="471181" y="194455"/>
                    <a:pt x="433956" y="163349"/>
                    <a:pt x="394818" y="163222"/>
                  </a:cubicBezTo>
                  <a:close/>
                  <a:moveTo>
                    <a:pt x="386192" y="0"/>
                  </a:moveTo>
                  <a:cubicBezTo>
                    <a:pt x="519455" y="0"/>
                    <a:pt x="747906" y="65272"/>
                    <a:pt x="747906" y="266526"/>
                  </a:cubicBezTo>
                  <a:cubicBezTo>
                    <a:pt x="747906" y="467782"/>
                    <a:pt x="538493" y="484100"/>
                    <a:pt x="291004" y="484100"/>
                  </a:cubicBezTo>
                  <a:cubicBezTo>
                    <a:pt x="291004" y="484100"/>
                    <a:pt x="326359" y="617363"/>
                    <a:pt x="497698" y="617363"/>
                  </a:cubicBezTo>
                  <a:cubicBezTo>
                    <a:pt x="669036" y="617363"/>
                    <a:pt x="712551" y="557530"/>
                    <a:pt x="712551" y="557530"/>
                  </a:cubicBezTo>
                  <a:cubicBezTo>
                    <a:pt x="712551" y="557530"/>
                    <a:pt x="696233" y="810458"/>
                    <a:pt x="388912" y="810458"/>
                  </a:cubicBezTo>
                  <a:cubicBezTo>
                    <a:pt x="212134" y="810458"/>
                    <a:pt x="0" y="677195"/>
                    <a:pt x="0" y="413389"/>
                  </a:cubicBezTo>
                  <a:cubicBezTo>
                    <a:pt x="0" y="176778"/>
                    <a:pt x="163180" y="0"/>
                    <a:pt x="386192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1E73EAB4-BAF9-4B68-B129-BC041994C622}"/>
                </a:ext>
              </a:extLst>
            </p:cNvPr>
            <p:cNvSpPr/>
            <p:nvPr/>
          </p:nvSpPr>
          <p:spPr>
            <a:xfrm>
              <a:off x="7988882" y="2362895"/>
              <a:ext cx="747906" cy="810458"/>
            </a:xfrm>
            <a:custGeom>
              <a:avLst/>
              <a:gdLst>
                <a:gd name="connsiteX0" fmla="*/ 394818 w 747906"/>
                <a:gd name="connsiteY0" fmla="*/ 163222 h 810458"/>
                <a:gd name="connsiteX1" fmla="*/ 356275 w 747906"/>
                <a:gd name="connsiteY1" fmla="*/ 174058 h 810458"/>
                <a:gd name="connsiteX2" fmla="*/ 274685 w 747906"/>
                <a:gd name="connsiteY2" fmla="*/ 356275 h 810458"/>
                <a:gd name="connsiteX3" fmla="*/ 375313 w 747906"/>
                <a:gd name="connsiteY3" fmla="*/ 358994 h 810458"/>
                <a:gd name="connsiteX4" fmla="*/ 473220 w 747906"/>
                <a:gd name="connsiteY4" fmla="*/ 239329 h 810458"/>
                <a:gd name="connsiteX5" fmla="*/ 394818 w 747906"/>
                <a:gd name="connsiteY5" fmla="*/ 163222 h 810458"/>
                <a:gd name="connsiteX6" fmla="*/ 386192 w 747906"/>
                <a:gd name="connsiteY6" fmla="*/ 0 h 810458"/>
                <a:gd name="connsiteX7" fmla="*/ 747906 w 747906"/>
                <a:gd name="connsiteY7" fmla="*/ 266526 h 810458"/>
                <a:gd name="connsiteX8" fmla="*/ 291004 w 747906"/>
                <a:gd name="connsiteY8" fmla="*/ 484100 h 810458"/>
                <a:gd name="connsiteX9" fmla="*/ 497697 w 747906"/>
                <a:gd name="connsiteY9" fmla="*/ 617363 h 810458"/>
                <a:gd name="connsiteX10" fmla="*/ 712551 w 747906"/>
                <a:gd name="connsiteY10" fmla="*/ 557530 h 810458"/>
                <a:gd name="connsiteX11" fmla="*/ 388911 w 747906"/>
                <a:gd name="connsiteY11" fmla="*/ 810458 h 810458"/>
                <a:gd name="connsiteX12" fmla="*/ 0 w 747906"/>
                <a:gd name="connsiteY12" fmla="*/ 413389 h 810458"/>
                <a:gd name="connsiteX13" fmla="*/ 386192 w 747906"/>
                <a:gd name="connsiteY13" fmla="*/ 0 h 8104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747906" h="810458">
                  <a:moveTo>
                    <a:pt x="394818" y="163222"/>
                  </a:moveTo>
                  <a:cubicBezTo>
                    <a:pt x="381772" y="163179"/>
                    <a:pt x="368514" y="166579"/>
                    <a:pt x="356275" y="174058"/>
                  </a:cubicBezTo>
                  <a:cubicBezTo>
                    <a:pt x="299162" y="212133"/>
                    <a:pt x="282844" y="291003"/>
                    <a:pt x="274685" y="356275"/>
                  </a:cubicBezTo>
                  <a:cubicBezTo>
                    <a:pt x="274685" y="364434"/>
                    <a:pt x="369873" y="358994"/>
                    <a:pt x="375313" y="358994"/>
                  </a:cubicBezTo>
                  <a:cubicBezTo>
                    <a:pt x="432426" y="345396"/>
                    <a:pt x="473220" y="301881"/>
                    <a:pt x="473220" y="239329"/>
                  </a:cubicBezTo>
                  <a:cubicBezTo>
                    <a:pt x="471181" y="194455"/>
                    <a:pt x="433955" y="163349"/>
                    <a:pt x="394818" y="163222"/>
                  </a:cubicBezTo>
                  <a:close/>
                  <a:moveTo>
                    <a:pt x="386192" y="0"/>
                  </a:moveTo>
                  <a:cubicBezTo>
                    <a:pt x="519455" y="0"/>
                    <a:pt x="747906" y="65272"/>
                    <a:pt x="747906" y="266526"/>
                  </a:cubicBezTo>
                  <a:cubicBezTo>
                    <a:pt x="747906" y="467782"/>
                    <a:pt x="538492" y="484100"/>
                    <a:pt x="291004" y="484100"/>
                  </a:cubicBezTo>
                  <a:cubicBezTo>
                    <a:pt x="291004" y="484100"/>
                    <a:pt x="326359" y="617363"/>
                    <a:pt x="497697" y="617363"/>
                  </a:cubicBezTo>
                  <a:cubicBezTo>
                    <a:pt x="669036" y="617363"/>
                    <a:pt x="712551" y="557530"/>
                    <a:pt x="712551" y="557530"/>
                  </a:cubicBezTo>
                  <a:cubicBezTo>
                    <a:pt x="712551" y="557530"/>
                    <a:pt x="696233" y="810458"/>
                    <a:pt x="388911" y="810458"/>
                  </a:cubicBezTo>
                  <a:cubicBezTo>
                    <a:pt x="212133" y="810458"/>
                    <a:pt x="0" y="677195"/>
                    <a:pt x="0" y="413389"/>
                  </a:cubicBezTo>
                  <a:cubicBezTo>
                    <a:pt x="0" y="176778"/>
                    <a:pt x="163180" y="0"/>
                    <a:pt x="386192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E9538EBC-4DC7-4383-9295-D6A8D0233665}"/>
                </a:ext>
              </a:extLst>
            </p:cNvPr>
            <p:cNvSpPr/>
            <p:nvPr/>
          </p:nvSpPr>
          <p:spPr>
            <a:xfrm>
              <a:off x="8683414" y="2274801"/>
              <a:ext cx="897487" cy="951879"/>
            </a:xfrm>
            <a:custGeom>
              <a:avLst/>
              <a:gdLst>
                <a:gd name="connsiteX0" fmla="*/ 580988 w 897487"/>
                <a:gd name="connsiteY0" fmla="*/ 667381 h 951879"/>
                <a:gd name="connsiteX1" fmla="*/ 409649 w 897487"/>
                <a:gd name="connsiteY1" fmla="*/ 667381 h 951879"/>
                <a:gd name="connsiteX2" fmla="*/ 591866 w 897487"/>
                <a:gd name="connsiteY2" fmla="*/ 525959 h 951879"/>
                <a:gd name="connsiteX3" fmla="*/ 842075 w 897487"/>
                <a:gd name="connsiteY3" fmla="*/ 123450 h 951879"/>
                <a:gd name="connsiteX4" fmla="*/ 842075 w 897487"/>
                <a:gd name="connsiteY4" fmla="*/ 123450 h 951879"/>
                <a:gd name="connsiteX5" fmla="*/ 798560 w 897487"/>
                <a:gd name="connsiteY5" fmla="*/ 58178 h 951879"/>
                <a:gd name="connsiteX6" fmla="*/ 746887 w 897487"/>
                <a:gd name="connsiteY6" fmla="*/ 107132 h 951879"/>
                <a:gd name="connsiteX7" fmla="*/ 697933 w 897487"/>
                <a:gd name="connsiteY7" fmla="*/ 115291 h 951879"/>
                <a:gd name="connsiteX8" fmla="*/ 219273 w 897487"/>
                <a:gd name="connsiteY8" fmla="*/ 115291 h 951879"/>
                <a:gd name="connsiteX9" fmla="*/ 102328 w 897487"/>
                <a:gd name="connsiteY9" fmla="*/ 224077 h 951879"/>
                <a:gd name="connsiteX10" fmla="*/ 213834 w 897487"/>
                <a:gd name="connsiteY10" fmla="*/ 332863 h 951879"/>
                <a:gd name="connsiteX11" fmla="*/ 485800 w 897487"/>
                <a:gd name="connsiteY11" fmla="*/ 335583 h 951879"/>
                <a:gd name="connsiteX12" fmla="*/ 134964 w 897487"/>
                <a:gd name="connsiteY12" fmla="*/ 615708 h 951879"/>
                <a:gd name="connsiteX13" fmla="*/ 61533 w 897487"/>
                <a:gd name="connsiteY13" fmla="*/ 884953 h 951879"/>
                <a:gd name="connsiteX14" fmla="*/ 398771 w 897487"/>
                <a:gd name="connsiteY14" fmla="*/ 806083 h 951879"/>
                <a:gd name="connsiteX15" fmla="*/ 529314 w 897487"/>
                <a:gd name="connsiteY15" fmla="*/ 863196 h 951879"/>
                <a:gd name="connsiteX16" fmla="*/ 782242 w 897487"/>
                <a:gd name="connsiteY16" fmla="*/ 607549 h 951879"/>
                <a:gd name="connsiteX17" fmla="*/ 580988 w 897487"/>
                <a:gd name="connsiteY17" fmla="*/ 667381 h 9518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897487" h="951879">
                  <a:moveTo>
                    <a:pt x="580988" y="667381"/>
                  </a:moveTo>
                  <a:lnTo>
                    <a:pt x="409649" y="667381"/>
                  </a:lnTo>
                  <a:cubicBezTo>
                    <a:pt x="423248" y="667381"/>
                    <a:pt x="548352" y="561314"/>
                    <a:pt x="591866" y="525959"/>
                  </a:cubicBezTo>
                  <a:cubicBezTo>
                    <a:pt x="700653" y="433491"/>
                    <a:pt x="899188" y="297508"/>
                    <a:pt x="842075" y="123450"/>
                  </a:cubicBezTo>
                  <a:lnTo>
                    <a:pt x="842075" y="123450"/>
                  </a:lnTo>
                  <a:cubicBezTo>
                    <a:pt x="831197" y="82655"/>
                    <a:pt x="798560" y="58178"/>
                    <a:pt x="798560" y="58178"/>
                  </a:cubicBezTo>
                  <a:cubicBezTo>
                    <a:pt x="798560" y="58178"/>
                    <a:pt x="787682" y="90814"/>
                    <a:pt x="746887" y="107132"/>
                  </a:cubicBezTo>
                  <a:cubicBezTo>
                    <a:pt x="730569" y="109852"/>
                    <a:pt x="714251" y="115291"/>
                    <a:pt x="697933" y="115291"/>
                  </a:cubicBezTo>
                  <a:cubicBezTo>
                    <a:pt x="684334" y="115291"/>
                    <a:pt x="219273" y="115291"/>
                    <a:pt x="219273" y="115291"/>
                  </a:cubicBezTo>
                  <a:cubicBezTo>
                    <a:pt x="156721" y="115291"/>
                    <a:pt x="105048" y="166964"/>
                    <a:pt x="102328" y="224077"/>
                  </a:cubicBezTo>
                  <a:cubicBezTo>
                    <a:pt x="102328" y="283910"/>
                    <a:pt x="151282" y="332863"/>
                    <a:pt x="213834" y="332863"/>
                  </a:cubicBezTo>
                  <a:lnTo>
                    <a:pt x="485800" y="335583"/>
                  </a:lnTo>
                  <a:cubicBezTo>
                    <a:pt x="360695" y="406294"/>
                    <a:pt x="211114" y="487884"/>
                    <a:pt x="134964" y="615708"/>
                  </a:cubicBezTo>
                  <a:cubicBezTo>
                    <a:pt x="91449" y="689138"/>
                    <a:pt x="45215" y="800644"/>
                    <a:pt x="61533" y="884953"/>
                  </a:cubicBezTo>
                  <a:cubicBezTo>
                    <a:pt x="121366" y="830560"/>
                    <a:pt x="279106" y="778887"/>
                    <a:pt x="398771" y="806083"/>
                  </a:cubicBezTo>
                  <a:cubicBezTo>
                    <a:pt x="445005" y="814242"/>
                    <a:pt x="491239" y="838719"/>
                    <a:pt x="529314" y="863196"/>
                  </a:cubicBezTo>
                  <a:cubicBezTo>
                    <a:pt x="755046" y="1004618"/>
                    <a:pt x="891029" y="727213"/>
                    <a:pt x="782242" y="607549"/>
                  </a:cubicBezTo>
                  <a:cubicBezTo>
                    <a:pt x="784962" y="607549"/>
                    <a:pt x="722410" y="667381"/>
                    <a:pt x="580988" y="667381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BDA212C6-92C7-4E68-89C9-A94713A119D9}"/>
                </a:ext>
              </a:extLst>
            </p:cNvPr>
            <p:cNvSpPr/>
            <p:nvPr/>
          </p:nvSpPr>
          <p:spPr>
            <a:xfrm>
              <a:off x="2624650" y="1948442"/>
              <a:ext cx="1903761" cy="1577400"/>
            </a:xfrm>
            <a:custGeom>
              <a:avLst/>
              <a:gdLst>
                <a:gd name="connsiteX0" fmla="*/ 1559430 w 1903760"/>
                <a:gd name="connsiteY0" fmla="*/ 1165078 h 1577399"/>
                <a:gd name="connsiteX1" fmla="*/ 1369054 w 1903760"/>
                <a:gd name="connsiteY1" fmla="*/ 593950 h 1577399"/>
                <a:gd name="connsiteX2" fmla="*/ 1483279 w 1903760"/>
                <a:gd name="connsiteY2" fmla="*/ 126170 h 1577399"/>
                <a:gd name="connsiteX3" fmla="*/ 1311941 w 1903760"/>
                <a:gd name="connsiteY3" fmla="*/ 58178 h 1577399"/>
                <a:gd name="connsiteX4" fmla="*/ 1078050 w 1903760"/>
                <a:gd name="connsiteY4" fmla="*/ 205040 h 1577399"/>
                <a:gd name="connsiteX5" fmla="*/ 846879 w 1903760"/>
                <a:gd name="connsiteY5" fmla="*/ 523239 h 1577399"/>
                <a:gd name="connsiteX6" fmla="*/ 645624 w 1903760"/>
                <a:gd name="connsiteY6" fmla="*/ 210479 h 1577399"/>
                <a:gd name="connsiteX7" fmla="*/ 455248 w 1903760"/>
                <a:gd name="connsiteY7" fmla="*/ 63617 h 1577399"/>
                <a:gd name="connsiteX8" fmla="*/ 234956 w 1903760"/>
                <a:gd name="connsiteY8" fmla="*/ 137048 h 1577399"/>
                <a:gd name="connsiteX9" fmla="*/ 316546 w 1903760"/>
                <a:gd name="connsiteY9" fmla="*/ 588511 h 1577399"/>
                <a:gd name="connsiteX10" fmla="*/ 58178 w 1903760"/>
                <a:gd name="connsiteY10" fmla="*/ 1072610 h 1577399"/>
                <a:gd name="connsiteX11" fmla="*/ 474286 w 1903760"/>
                <a:gd name="connsiteY11" fmla="*/ 1020936 h 1577399"/>
                <a:gd name="connsiteX12" fmla="*/ 555876 w 1903760"/>
                <a:gd name="connsiteY12" fmla="*/ 572193 h 1577399"/>
                <a:gd name="connsiteX13" fmla="*/ 830561 w 1903760"/>
                <a:gd name="connsiteY13" fmla="*/ 993740 h 1577399"/>
                <a:gd name="connsiteX14" fmla="*/ 1140602 w 1903760"/>
                <a:gd name="connsiteY14" fmla="*/ 574913 h 1577399"/>
                <a:gd name="connsiteX15" fmla="*/ 1567589 w 1903760"/>
                <a:gd name="connsiteY15" fmla="*/ 1526792 h 1577399"/>
                <a:gd name="connsiteX16" fmla="*/ 1866751 w 1903760"/>
                <a:gd name="connsiteY16" fmla="*/ 1322818 h 1577399"/>
                <a:gd name="connsiteX17" fmla="*/ 1559430 w 1903760"/>
                <a:gd name="connsiteY17" fmla="*/ 1165078 h 15773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903760" h="1577399">
                  <a:moveTo>
                    <a:pt x="1559430" y="1165078"/>
                  </a:moveTo>
                  <a:cubicBezTo>
                    <a:pt x="1420727" y="1012777"/>
                    <a:pt x="1377213" y="762569"/>
                    <a:pt x="1369054" y="593950"/>
                  </a:cubicBezTo>
                  <a:cubicBezTo>
                    <a:pt x="1360895" y="449809"/>
                    <a:pt x="1369054" y="199600"/>
                    <a:pt x="1483279" y="126170"/>
                  </a:cubicBezTo>
                  <a:cubicBezTo>
                    <a:pt x="1445204" y="77216"/>
                    <a:pt x="1369054" y="58178"/>
                    <a:pt x="1311941" y="58178"/>
                  </a:cubicBezTo>
                  <a:cubicBezTo>
                    <a:pt x="1184117" y="58178"/>
                    <a:pt x="1121565" y="142488"/>
                    <a:pt x="1078050" y="205040"/>
                  </a:cubicBezTo>
                  <a:cubicBezTo>
                    <a:pt x="1064452" y="224077"/>
                    <a:pt x="846879" y="523239"/>
                    <a:pt x="846879" y="523239"/>
                  </a:cubicBezTo>
                  <a:cubicBezTo>
                    <a:pt x="846879" y="523239"/>
                    <a:pt x="667382" y="243115"/>
                    <a:pt x="645624" y="210479"/>
                  </a:cubicBezTo>
                  <a:cubicBezTo>
                    <a:pt x="615708" y="164245"/>
                    <a:pt x="555876" y="77216"/>
                    <a:pt x="455248" y="63617"/>
                  </a:cubicBezTo>
                  <a:cubicBezTo>
                    <a:pt x="411734" y="58178"/>
                    <a:pt x="297508" y="52739"/>
                    <a:pt x="234956" y="137048"/>
                  </a:cubicBezTo>
                  <a:cubicBezTo>
                    <a:pt x="341023" y="221357"/>
                    <a:pt x="338303" y="438930"/>
                    <a:pt x="316546" y="588511"/>
                  </a:cubicBezTo>
                  <a:cubicBezTo>
                    <a:pt x="248554" y="1031815"/>
                    <a:pt x="58178" y="1072610"/>
                    <a:pt x="58178" y="1072610"/>
                  </a:cubicBezTo>
                  <a:cubicBezTo>
                    <a:pt x="156086" y="1333696"/>
                    <a:pt x="403575" y="1230350"/>
                    <a:pt x="474286" y="1020936"/>
                  </a:cubicBezTo>
                  <a:cubicBezTo>
                    <a:pt x="520520" y="884953"/>
                    <a:pt x="550436" y="713615"/>
                    <a:pt x="555876" y="572193"/>
                  </a:cubicBezTo>
                  <a:lnTo>
                    <a:pt x="830561" y="993740"/>
                  </a:lnTo>
                  <a:cubicBezTo>
                    <a:pt x="830561" y="993740"/>
                    <a:pt x="1140602" y="574913"/>
                    <a:pt x="1140602" y="574913"/>
                  </a:cubicBezTo>
                  <a:cubicBezTo>
                    <a:pt x="1088929" y="1314659"/>
                    <a:pt x="1344577" y="1526792"/>
                    <a:pt x="1567589" y="1526792"/>
                  </a:cubicBezTo>
                  <a:cubicBezTo>
                    <a:pt x="1790601" y="1526792"/>
                    <a:pt x="1866751" y="1322818"/>
                    <a:pt x="1866751" y="1322818"/>
                  </a:cubicBezTo>
                  <a:cubicBezTo>
                    <a:pt x="1744367" y="1314659"/>
                    <a:pt x="1641019" y="1252107"/>
                    <a:pt x="1559430" y="1165078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552029A9-C9A8-49B6-B3B4-DDB77AA1AAB4}"/>
                </a:ext>
              </a:extLst>
            </p:cNvPr>
            <p:cNvSpPr/>
            <p:nvPr/>
          </p:nvSpPr>
          <p:spPr>
            <a:xfrm>
              <a:off x="4792218" y="3234839"/>
              <a:ext cx="271966" cy="652717"/>
            </a:xfrm>
            <a:custGeom>
              <a:avLst/>
              <a:gdLst>
                <a:gd name="connsiteX0" fmla="*/ 88095 w 271965"/>
                <a:gd name="connsiteY0" fmla="*/ 120730 h 652717"/>
                <a:gd name="connsiteX1" fmla="*/ 93534 w 271965"/>
                <a:gd name="connsiteY1" fmla="*/ 153366 h 652717"/>
                <a:gd name="connsiteX2" fmla="*/ 93534 w 271965"/>
                <a:gd name="connsiteY2" fmla="*/ 544997 h 652717"/>
                <a:gd name="connsiteX3" fmla="*/ 156086 w 271965"/>
                <a:gd name="connsiteY3" fmla="*/ 604829 h 652717"/>
                <a:gd name="connsiteX4" fmla="*/ 221358 w 271965"/>
                <a:gd name="connsiteY4" fmla="*/ 544997 h 652717"/>
                <a:gd name="connsiteX5" fmla="*/ 221358 w 271965"/>
                <a:gd name="connsiteY5" fmla="*/ 194161 h 652717"/>
                <a:gd name="connsiteX6" fmla="*/ 210479 w 271965"/>
                <a:gd name="connsiteY6" fmla="*/ 109852 h 652717"/>
                <a:gd name="connsiteX7" fmla="*/ 118011 w 271965"/>
                <a:gd name="connsiteY7" fmla="*/ 58178 h 652717"/>
                <a:gd name="connsiteX8" fmla="*/ 58178 w 271965"/>
                <a:gd name="connsiteY8" fmla="*/ 88094 h 652717"/>
                <a:gd name="connsiteX9" fmla="*/ 88095 w 271965"/>
                <a:gd name="connsiteY9" fmla="*/ 120730 h 6527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71965" h="652717">
                  <a:moveTo>
                    <a:pt x="88095" y="120730"/>
                  </a:moveTo>
                  <a:cubicBezTo>
                    <a:pt x="90814" y="131609"/>
                    <a:pt x="90814" y="142487"/>
                    <a:pt x="93534" y="153366"/>
                  </a:cubicBezTo>
                  <a:cubicBezTo>
                    <a:pt x="93534" y="156086"/>
                    <a:pt x="93534" y="542277"/>
                    <a:pt x="93534" y="544997"/>
                  </a:cubicBezTo>
                  <a:cubicBezTo>
                    <a:pt x="93534" y="577632"/>
                    <a:pt x="123450" y="604829"/>
                    <a:pt x="156086" y="604829"/>
                  </a:cubicBezTo>
                  <a:cubicBezTo>
                    <a:pt x="188722" y="607548"/>
                    <a:pt x="221358" y="577632"/>
                    <a:pt x="221358" y="544997"/>
                  </a:cubicBezTo>
                  <a:cubicBezTo>
                    <a:pt x="221358" y="539557"/>
                    <a:pt x="221358" y="194161"/>
                    <a:pt x="221358" y="194161"/>
                  </a:cubicBezTo>
                  <a:cubicBezTo>
                    <a:pt x="221358" y="164245"/>
                    <a:pt x="224078" y="134329"/>
                    <a:pt x="210479" y="109852"/>
                  </a:cubicBezTo>
                  <a:cubicBezTo>
                    <a:pt x="196881" y="79935"/>
                    <a:pt x="158806" y="58178"/>
                    <a:pt x="118011" y="58178"/>
                  </a:cubicBezTo>
                  <a:cubicBezTo>
                    <a:pt x="79936" y="58178"/>
                    <a:pt x="58178" y="88094"/>
                    <a:pt x="58178" y="88094"/>
                  </a:cubicBezTo>
                  <a:cubicBezTo>
                    <a:pt x="58178" y="88094"/>
                    <a:pt x="77216" y="93534"/>
                    <a:pt x="88095" y="120730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79F85ABB-A50C-40B7-AC49-BB3E72D927CF}"/>
                </a:ext>
              </a:extLst>
            </p:cNvPr>
            <p:cNvSpPr/>
            <p:nvPr/>
          </p:nvSpPr>
          <p:spPr>
            <a:xfrm>
              <a:off x="8751819" y="3234667"/>
              <a:ext cx="271966" cy="652717"/>
            </a:xfrm>
            <a:custGeom>
              <a:avLst/>
              <a:gdLst>
                <a:gd name="connsiteX0" fmla="*/ 191663 w 271965"/>
                <a:gd name="connsiteY0" fmla="*/ 542449 h 652717"/>
                <a:gd name="connsiteX1" fmla="*/ 186224 w 271965"/>
                <a:gd name="connsiteY1" fmla="*/ 509813 h 652717"/>
                <a:gd name="connsiteX2" fmla="*/ 186224 w 271965"/>
                <a:gd name="connsiteY2" fmla="*/ 118183 h 652717"/>
                <a:gd name="connsiteX3" fmla="*/ 123672 w 271965"/>
                <a:gd name="connsiteY3" fmla="*/ 58350 h 652717"/>
                <a:gd name="connsiteX4" fmla="*/ 58400 w 271965"/>
                <a:gd name="connsiteY4" fmla="*/ 118183 h 652717"/>
                <a:gd name="connsiteX5" fmla="*/ 58400 w 271965"/>
                <a:gd name="connsiteY5" fmla="*/ 469018 h 652717"/>
                <a:gd name="connsiteX6" fmla="*/ 69279 w 271965"/>
                <a:gd name="connsiteY6" fmla="*/ 553328 h 652717"/>
                <a:gd name="connsiteX7" fmla="*/ 161747 w 271965"/>
                <a:gd name="connsiteY7" fmla="*/ 605001 h 652717"/>
                <a:gd name="connsiteX8" fmla="*/ 221580 w 271965"/>
                <a:gd name="connsiteY8" fmla="*/ 575085 h 652717"/>
                <a:gd name="connsiteX9" fmla="*/ 191663 w 271965"/>
                <a:gd name="connsiteY9" fmla="*/ 542449 h 6527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71965" h="652717">
                  <a:moveTo>
                    <a:pt x="191663" y="542449"/>
                  </a:moveTo>
                  <a:cubicBezTo>
                    <a:pt x="188944" y="531570"/>
                    <a:pt x="186224" y="520692"/>
                    <a:pt x="186224" y="509813"/>
                  </a:cubicBezTo>
                  <a:cubicBezTo>
                    <a:pt x="186224" y="507093"/>
                    <a:pt x="186224" y="120902"/>
                    <a:pt x="186224" y="118183"/>
                  </a:cubicBezTo>
                  <a:cubicBezTo>
                    <a:pt x="186224" y="85547"/>
                    <a:pt x="156308" y="58350"/>
                    <a:pt x="123672" y="58350"/>
                  </a:cubicBezTo>
                  <a:cubicBezTo>
                    <a:pt x="91036" y="55631"/>
                    <a:pt x="58400" y="85547"/>
                    <a:pt x="58400" y="118183"/>
                  </a:cubicBezTo>
                  <a:cubicBezTo>
                    <a:pt x="58400" y="123622"/>
                    <a:pt x="58400" y="469018"/>
                    <a:pt x="58400" y="469018"/>
                  </a:cubicBezTo>
                  <a:cubicBezTo>
                    <a:pt x="58400" y="498934"/>
                    <a:pt x="55680" y="528851"/>
                    <a:pt x="69279" y="553328"/>
                  </a:cubicBezTo>
                  <a:cubicBezTo>
                    <a:pt x="82877" y="583244"/>
                    <a:pt x="120953" y="605001"/>
                    <a:pt x="161747" y="605001"/>
                  </a:cubicBezTo>
                  <a:cubicBezTo>
                    <a:pt x="199822" y="605001"/>
                    <a:pt x="221580" y="575085"/>
                    <a:pt x="221580" y="575085"/>
                  </a:cubicBezTo>
                  <a:cubicBezTo>
                    <a:pt x="221580" y="575085"/>
                    <a:pt x="202542" y="566926"/>
                    <a:pt x="191663" y="542449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22DD841B-152A-4831-B1D2-6E495BE1B1B6}"/>
                </a:ext>
              </a:extLst>
            </p:cNvPr>
            <p:cNvSpPr/>
            <p:nvPr/>
          </p:nvSpPr>
          <p:spPr>
            <a:xfrm>
              <a:off x="6320666" y="3416868"/>
              <a:ext cx="435145" cy="462341"/>
            </a:xfrm>
            <a:custGeom>
              <a:avLst/>
              <a:gdLst>
                <a:gd name="connsiteX0" fmla="*/ 302948 w 435145"/>
                <a:gd name="connsiteY0" fmla="*/ 74684 h 462341"/>
                <a:gd name="connsiteX1" fmla="*/ 186003 w 435145"/>
                <a:gd name="connsiteY1" fmla="*/ 148115 h 462341"/>
                <a:gd name="connsiteX2" fmla="*/ 186003 w 435145"/>
                <a:gd name="connsiteY2" fmla="*/ 148115 h 462341"/>
                <a:gd name="connsiteX3" fmla="*/ 186003 w 435145"/>
                <a:gd name="connsiteY3" fmla="*/ 115479 h 462341"/>
                <a:gd name="connsiteX4" fmla="*/ 123450 w 435145"/>
                <a:gd name="connsiteY4" fmla="*/ 58366 h 462341"/>
                <a:gd name="connsiteX5" fmla="*/ 58178 w 435145"/>
                <a:gd name="connsiteY5" fmla="*/ 115479 h 462341"/>
                <a:gd name="connsiteX6" fmla="*/ 58178 w 435145"/>
                <a:gd name="connsiteY6" fmla="*/ 362967 h 462341"/>
                <a:gd name="connsiteX7" fmla="*/ 120730 w 435145"/>
                <a:gd name="connsiteY7" fmla="*/ 422800 h 462341"/>
                <a:gd name="connsiteX8" fmla="*/ 186003 w 435145"/>
                <a:gd name="connsiteY8" fmla="*/ 362967 h 462341"/>
                <a:gd name="connsiteX9" fmla="*/ 186003 w 435145"/>
                <a:gd name="connsiteY9" fmla="*/ 213386 h 462341"/>
                <a:gd name="connsiteX10" fmla="*/ 186003 w 435145"/>
                <a:gd name="connsiteY10" fmla="*/ 213386 h 462341"/>
                <a:gd name="connsiteX11" fmla="*/ 229517 w 435145"/>
                <a:gd name="connsiteY11" fmla="*/ 161713 h 462341"/>
                <a:gd name="connsiteX12" fmla="*/ 259433 w 435145"/>
                <a:gd name="connsiteY12" fmla="*/ 194349 h 462341"/>
                <a:gd name="connsiteX13" fmla="*/ 259433 w 435145"/>
                <a:gd name="connsiteY13" fmla="*/ 362967 h 462341"/>
                <a:gd name="connsiteX14" fmla="*/ 321985 w 435145"/>
                <a:gd name="connsiteY14" fmla="*/ 422800 h 462341"/>
                <a:gd name="connsiteX15" fmla="*/ 387257 w 435145"/>
                <a:gd name="connsiteY15" fmla="*/ 362967 h 462341"/>
                <a:gd name="connsiteX16" fmla="*/ 387257 w 435145"/>
                <a:gd name="connsiteY16" fmla="*/ 273219 h 462341"/>
                <a:gd name="connsiteX17" fmla="*/ 302948 w 435145"/>
                <a:gd name="connsiteY17" fmla="*/ 74684 h 4623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435145" h="462341">
                  <a:moveTo>
                    <a:pt x="302948" y="74684"/>
                  </a:moveTo>
                  <a:cubicBezTo>
                    <a:pt x="234956" y="74684"/>
                    <a:pt x="196881" y="131797"/>
                    <a:pt x="186003" y="148115"/>
                  </a:cubicBezTo>
                  <a:lnTo>
                    <a:pt x="186003" y="148115"/>
                  </a:lnTo>
                  <a:cubicBezTo>
                    <a:pt x="186003" y="129077"/>
                    <a:pt x="186003" y="115479"/>
                    <a:pt x="186003" y="115479"/>
                  </a:cubicBezTo>
                  <a:cubicBezTo>
                    <a:pt x="186003" y="82843"/>
                    <a:pt x="156086" y="58366"/>
                    <a:pt x="123450" y="58366"/>
                  </a:cubicBezTo>
                  <a:cubicBezTo>
                    <a:pt x="90814" y="55646"/>
                    <a:pt x="58178" y="82843"/>
                    <a:pt x="58178" y="115479"/>
                  </a:cubicBezTo>
                  <a:cubicBezTo>
                    <a:pt x="58178" y="120918"/>
                    <a:pt x="58178" y="360248"/>
                    <a:pt x="58178" y="362967"/>
                  </a:cubicBezTo>
                  <a:cubicBezTo>
                    <a:pt x="58178" y="395603"/>
                    <a:pt x="88095" y="422800"/>
                    <a:pt x="120730" y="422800"/>
                  </a:cubicBezTo>
                  <a:cubicBezTo>
                    <a:pt x="153366" y="425519"/>
                    <a:pt x="186003" y="395603"/>
                    <a:pt x="186003" y="362967"/>
                  </a:cubicBezTo>
                  <a:cubicBezTo>
                    <a:pt x="186003" y="360248"/>
                    <a:pt x="186003" y="281378"/>
                    <a:pt x="186003" y="213386"/>
                  </a:cubicBezTo>
                  <a:lnTo>
                    <a:pt x="186003" y="213386"/>
                  </a:lnTo>
                  <a:cubicBezTo>
                    <a:pt x="191442" y="186190"/>
                    <a:pt x="205040" y="161713"/>
                    <a:pt x="229517" y="161713"/>
                  </a:cubicBezTo>
                  <a:cubicBezTo>
                    <a:pt x="259433" y="161713"/>
                    <a:pt x="259433" y="194349"/>
                    <a:pt x="259433" y="194349"/>
                  </a:cubicBezTo>
                  <a:lnTo>
                    <a:pt x="259433" y="362967"/>
                  </a:lnTo>
                  <a:cubicBezTo>
                    <a:pt x="259433" y="395603"/>
                    <a:pt x="289349" y="422800"/>
                    <a:pt x="321985" y="422800"/>
                  </a:cubicBezTo>
                  <a:cubicBezTo>
                    <a:pt x="354621" y="425519"/>
                    <a:pt x="387257" y="395603"/>
                    <a:pt x="387257" y="362967"/>
                  </a:cubicBezTo>
                  <a:lnTo>
                    <a:pt x="387257" y="273219"/>
                  </a:lnTo>
                  <a:cubicBezTo>
                    <a:pt x="387257" y="183470"/>
                    <a:pt x="395416" y="71964"/>
                    <a:pt x="302948" y="74684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EF594510-C333-4EE6-9A81-F5B5D6794F1E}"/>
                </a:ext>
              </a:extLst>
            </p:cNvPr>
            <p:cNvSpPr/>
            <p:nvPr/>
          </p:nvSpPr>
          <p:spPr>
            <a:xfrm>
              <a:off x="7960620" y="3416868"/>
              <a:ext cx="435145" cy="462341"/>
            </a:xfrm>
            <a:custGeom>
              <a:avLst/>
              <a:gdLst>
                <a:gd name="connsiteX0" fmla="*/ 302948 w 435145"/>
                <a:gd name="connsiteY0" fmla="*/ 74684 h 462341"/>
                <a:gd name="connsiteX1" fmla="*/ 186002 w 435145"/>
                <a:gd name="connsiteY1" fmla="*/ 148115 h 462341"/>
                <a:gd name="connsiteX2" fmla="*/ 186002 w 435145"/>
                <a:gd name="connsiteY2" fmla="*/ 148115 h 462341"/>
                <a:gd name="connsiteX3" fmla="*/ 186002 w 435145"/>
                <a:gd name="connsiteY3" fmla="*/ 115479 h 462341"/>
                <a:gd name="connsiteX4" fmla="*/ 123450 w 435145"/>
                <a:gd name="connsiteY4" fmla="*/ 58366 h 462341"/>
                <a:gd name="connsiteX5" fmla="*/ 58178 w 435145"/>
                <a:gd name="connsiteY5" fmla="*/ 115479 h 462341"/>
                <a:gd name="connsiteX6" fmla="*/ 58178 w 435145"/>
                <a:gd name="connsiteY6" fmla="*/ 362967 h 462341"/>
                <a:gd name="connsiteX7" fmla="*/ 120730 w 435145"/>
                <a:gd name="connsiteY7" fmla="*/ 422800 h 462341"/>
                <a:gd name="connsiteX8" fmla="*/ 186002 w 435145"/>
                <a:gd name="connsiteY8" fmla="*/ 362967 h 462341"/>
                <a:gd name="connsiteX9" fmla="*/ 186002 w 435145"/>
                <a:gd name="connsiteY9" fmla="*/ 213386 h 462341"/>
                <a:gd name="connsiteX10" fmla="*/ 186002 w 435145"/>
                <a:gd name="connsiteY10" fmla="*/ 213386 h 462341"/>
                <a:gd name="connsiteX11" fmla="*/ 229517 w 435145"/>
                <a:gd name="connsiteY11" fmla="*/ 161713 h 462341"/>
                <a:gd name="connsiteX12" fmla="*/ 259433 w 435145"/>
                <a:gd name="connsiteY12" fmla="*/ 194349 h 462341"/>
                <a:gd name="connsiteX13" fmla="*/ 259433 w 435145"/>
                <a:gd name="connsiteY13" fmla="*/ 362967 h 462341"/>
                <a:gd name="connsiteX14" fmla="*/ 321985 w 435145"/>
                <a:gd name="connsiteY14" fmla="*/ 422800 h 462341"/>
                <a:gd name="connsiteX15" fmla="*/ 387257 w 435145"/>
                <a:gd name="connsiteY15" fmla="*/ 362967 h 462341"/>
                <a:gd name="connsiteX16" fmla="*/ 387257 w 435145"/>
                <a:gd name="connsiteY16" fmla="*/ 273219 h 462341"/>
                <a:gd name="connsiteX17" fmla="*/ 302948 w 435145"/>
                <a:gd name="connsiteY17" fmla="*/ 74684 h 4623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435145" h="462341">
                  <a:moveTo>
                    <a:pt x="302948" y="74684"/>
                  </a:moveTo>
                  <a:cubicBezTo>
                    <a:pt x="234956" y="74684"/>
                    <a:pt x="196881" y="131797"/>
                    <a:pt x="186002" y="148115"/>
                  </a:cubicBezTo>
                  <a:lnTo>
                    <a:pt x="186002" y="148115"/>
                  </a:lnTo>
                  <a:cubicBezTo>
                    <a:pt x="186002" y="129077"/>
                    <a:pt x="186002" y="115479"/>
                    <a:pt x="186002" y="115479"/>
                  </a:cubicBezTo>
                  <a:cubicBezTo>
                    <a:pt x="186002" y="82843"/>
                    <a:pt x="156086" y="58366"/>
                    <a:pt x="123450" y="58366"/>
                  </a:cubicBezTo>
                  <a:cubicBezTo>
                    <a:pt x="90814" y="55646"/>
                    <a:pt x="58178" y="82843"/>
                    <a:pt x="58178" y="115479"/>
                  </a:cubicBezTo>
                  <a:cubicBezTo>
                    <a:pt x="58178" y="120918"/>
                    <a:pt x="58178" y="360248"/>
                    <a:pt x="58178" y="362967"/>
                  </a:cubicBezTo>
                  <a:cubicBezTo>
                    <a:pt x="58178" y="395603"/>
                    <a:pt x="88095" y="422800"/>
                    <a:pt x="120730" y="422800"/>
                  </a:cubicBezTo>
                  <a:cubicBezTo>
                    <a:pt x="153366" y="425519"/>
                    <a:pt x="186002" y="395603"/>
                    <a:pt x="186002" y="362967"/>
                  </a:cubicBezTo>
                  <a:cubicBezTo>
                    <a:pt x="186002" y="360248"/>
                    <a:pt x="186002" y="281378"/>
                    <a:pt x="186002" y="213386"/>
                  </a:cubicBezTo>
                  <a:lnTo>
                    <a:pt x="186002" y="213386"/>
                  </a:lnTo>
                  <a:cubicBezTo>
                    <a:pt x="191442" y="186190"/>
                    <a:pt x="205040" y="161713"/>
                    <a:pt x="229517" y="161713"/>
                  </a:cubicBezTo>
                  <a:cubicBezTo>
                    <a:pt x="259433" y="161713"/>
                    <a:pt x="259433" y="194349"/>
                    <a:pt x="259433" y="194349"/>
                  </a:cubicBezTo>
                  <a:lnTo>
                    <a:pt x="259433" y="362967"/>
                  </a:lnTo>
                  <a:cubicBezTo>
                    <a:pt x="259433" y="395603"/>
                    <a:pt x="289349" y="422800"/>
                    <a:pt x="321985" y="422800"/>
                  </a:cubicBezTo>
                  <a:cubicBezTo>
                    <a:pt x="354621" y="425519"/>
                    <a:pt x="387257" y="395603"/>
                    <a:pt x="387257" y="362967"/>
                  </a:cubicBezTo>
                  <a:lnTo>
                    <a:pt x="387257" y="273219"/>
                  </a:lnTo>
                  <a:cubicBezTo>
                    <a:pt x="384537" y="183470"/>
                    <a:pt x="395416" y="71964"/>
                    <a:pt x="302948" y="74684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2A809C24-BB35-4731-AFC5-357428D0ACB1}"/>
                </a:ext>
              </a:extLst>
            </p:cNvPr>
            <p:cNvSpPr/>
            <p:nvPr/>
          </p:nvSpPr>
          <p:spPr>
            <a:xfrm>
              <a:off x="5020669" y="3416868"/>
              <a:ext cx="435145" cy="462341"/>
            </a:xfrm>
            <a:custGeom>
              <a:avLst/>
              <a:gdLst>
                <a:gd name="connsiteX0" fmla="*/ 302948 w 435145"/>
                <a:gd name="connsiteY0" fmla="*/ 74684 h 462341"/>
                <a:gd name="connsiteX1" fmla="*/ 186002 w 435145"/>
                <a:gd name="connsiteY1" fmla="*/ 148115 h 462341"/>
                <a:gd name="connsiteX2" fmla="*/ 186002 w 435145"/>
                <a:gd name="connsiteY2" fmla="*/ 148115 h 462341"/>
                <a:gd name="connsiteX3" fmla="*/ 186002 w 435145"/>
                <a:gd name="connsiteY3" fmla="*/ 115479 h 462341"/>
                <a:gd name="connsiteX4" fmla="*/ 123450 w 435145"/>
                <a:gd name="connsiteY4" fmla="*/ 58366 h 462341"/>
                <a:gd name="connsiteX5" fmla="*/ 58178 w 435145"/>
                <a:gd name="connsiteY5" fmla="*/ 115479 h 462341"/>
                <a:gd name="connsiteX6" fmla="*/ 58178 w 435145"/>
                <a:gd name="connsiteY6" fmla="*/ 362967 h 462341"/>
                <a:gd name="connsiteX7" fmla="*/ 120730 w 435145"/>
                <a:gd name="connsiteY7" fmla="*/ 422800 h 462341"/>
                <a:gd name="connsiteX8" fmla="*/ 186002 w 435145"/>
                <a:gd name="connsiteY8" fmla="*/ 362967 h 462341"/>
                <a:gd name="connsiteX9" fmla="*/ 186002 w 435145"/>
                <a:gd name="connsiteY9" fmla="*/ 213386 h 462341"/>
                <a:gd name="connsiteX10" fmla="*/ 186002 w 435145"/>
                <a:gd name="connsiteY10" fmla="*/ 213386 h 462341"/>
                <a:gd name="connsiteX11" fmla="*/ 229517 w 435145"/>
                <a:gd name="connsiteY11" fmla="*/ 161713 h 462341"/>
                <a:gd name="connsiteX12" fmla="*/ 259433 w 435145"/>
                <a:gd name="connsiteY12" fmla="*/ 194349 h 462341"/>
                <a:gd name="connsiteX13" fmla="*/ 259433 w 435145"/>
                <a:gd name="connsiteY13" fmla="*/ 362967 h 462341"/>
                <a:gd name="connsiteX14" fmla="*/ 321985 w 435145"/>
                <a:gd name="connsiteY14" fmla="*/ 422800 h 462341"/>
                <a:gd name="connsiteX15" fmla="*/ 387257 w 435145"/>
                <a:gd name="connsiteY15" fmla="*/ 362967 h 462341"/>
                <a:gd name="connsiteX16" fmla="*/ 387257 w 435145"/>
                <a:gd name="connsiteY16" fmla="*/ 273219 h 462341"/>
                <a:gd name="connsiteX17" fmla="*/ 302948 w 435145"/>
                <a:gd name="connsiteY17" fmla="*/ 74684 h 4623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435145" h="462341">
                  <a:moveTo>
                    <a:pt x="302948" y="74684"/>
                  </a:moveTo>
                  <a:cubicBezTo>
                    <a:pt x="234956" y="74684"/>
                    <a:pt x="196881" y="131797"/>
                    <a:pt x="186002" y="148115"/>
                  </a:cubicBezTo>
                  <a:lnTo>
                    <a:pt x="186002" y="148115"/>
                  </a:lnTo>
                  <a:cubicBezTo>
                    <a:pt x="186002" y="129077"/>
                    <a:pt x="186002" y="115479"/>
                    <a:pt x="186002" y="115479"/>
                  </a:cubicBezTo>
                  <a:cubicBezTo>
                    <a:pt x="186002" y="82843"/>
                    <a:pt x="156086" y="58366"/>
                    <a:pt x="123450" y="58366"/>
                  </a:cubicBezTo>
                  <a:cubicBezTo>
                    <a:pt x="90814" y="55646"/>
                    <a:pt x="58178" y="82843"/>
                    <a:pt x="58178" y="115479"/>
                  </a:cubicBezTo>
                  <a:cubicBezTo>
                    <a:pt x="58178" y="120918"/>
                    <a:pt x="58178" y="360248"/>
                    <a:pt x="58178" y="362967"/>
                  </a:cubicBezTo>
                  <a:cubicBezTo>
                    <a:pt x="58178" y="395603"/>
                    <a:pt x="88094" y="422800"/>
                    <a:pt x="120730" y="422800"/>
                  </a:cubicBezTo>
                  <a:cubicBezTo>
                    <a:pt x="153366" y="425519"/>
                    <a:pt x="186002" y="395603"/>
                    <a:pt x="186002" y="362967"/>
                  </a:cubicBezTo>
                  <a:cubicBezTo>
                    <a:pt x="186002" y="360248"/>
                    <a:pt x="186002" y="281378"/>
                    <a:pt x="186002" y="213386"/>
                  </a:cubicBezTo>
                  <a:lnTo>
                    <a:pt x="186002" y="213386"/>
                  </a:lnTo>
                  <a:cubicBezTo>
                    <a:pt x="191442" y="186190"/>
                    <a:pt x="205040" y="161713"/>
                    <a:pt x="229517" y="161713"/>
                  </a:cubicBezTo>
                  <a:cubicBezTo>
                    <a:pt x="259433" y="161713"/>
                    <a:pt x="259433" y="194349"/>
                    <a:pt x="259433" y="194349"/>
                  </a:cubicBezTo>
                  <a:lnTo>
                    <a:pt x="259433" y="362967"/>
                  </a:lnTo>
                  <a:cubicBezTo>
                    <a:pt x="259433" y="395603"/>
                    <a:pt x="289349" y="422800"/>
                    <a:pt x="321985" y="422800"/>
                  </a:cubicBezTo>
                  <a:cubicBezTo>
                    <a:pt x="354621" y="425519"/>
                    <a:pt x="387257" y="395603"/>
                    <a:pt x="387257" y="362967"/>
                  </a:cubicBezTo>
                  <a:lnTo>
                    <a:pt x="387257" y="273219"/>
                  </a:lnTo>
                  <a:cubicBezTo>
                    <a:pt x="384537" y="183470"/>
                    <a:pt x="395416" y="71964"/>
                    <a:pt x="302948" y="74684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7A77C51A-62BE-45E9-AE30-EEEE66586901}"/>
                </a:ext>
              </a:extLst>
            </p:cNvPr>
            <p:cNvSpPr/>
            <p:nvPr/>
          </p:nvSpPr>
          <p:spPr>
            <a:xfrm>
              <a:off x="7616289" y="3475234"/>
              <a:ext cx="364436" cy="364434"/>
            </a:xfrm>
            <a:custGeom>
              <a:avLst/>
              <a:gdLst>
                <a:gd name="connsiteX0" fmla="*/ 182218 w 364436"/>
                <a:gd name="connsiteY0" fmla="*/ 73431 h 364434"/>
                <a:gd name="connsiteX1" fmla="*/ 130544 w 364436"/>
                <a:gd name="connsiteY1" fmla="*/ 179499 h 364434"/>
                <a:gd name="connsiteX2" fmla="*/ 182218 w 364436"/>
                <a:gd name="connsiteY2" fmla="*/ 285565 h 364434"/>
                <a:gd name="connsiteX3" fmla="*/ 233891 w 364436"/>
                <a:gd name="connsiteY3" fmla="*/ 179499 h 364434"/>
                <a:gd name="connsiteX4" fmla="*/ 182218 w 364436"/>
                <a:gd name="connsiteY4" fmla="*/ 73431 h 364434"/>
                <a:gd name="connsiteX5" fmla="*/ 182219 w 364436"/>
                <a:gd name="connsiteY5" fmla="*/ 0 h 364434"/>
                <a:gd name="connsiteX6" fmla="*/ 364436 w 364436"/>
                <a:gd name="connsiteY6" fmla="*/ 182217 h 364434"/>
                <a:gd name="connsiteX7" fmla="*/ 182219 w 364436"/>
                <a:gd name="connsiteY7" fmla="*/ 364434 h 364434"/>
                <a:gd name="connsiteX8" fmla="*/ 0 w 364436"/>
                <a:gd name="connsiteY8" fmla="*/ 182217 h 364434"/>
                <a:gd name="connsiteX9" fmla="*/ 182219 w 364436"/>
                <a:gd name="connsiteY9" fmla="*/ 0 h 3644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64436" h="364434">
                  <a:moveTo>
                    <a:pt x="182218" y="73431"/>
                  </a:moveTo>
                  <a:cubicBezTo>
                    <a:pt x="152302" y="76151"/>
                    <a:pt x="130544" y="114226"/>
                    <a:pt x="130544" y="179499"/>
                  </a:cubicBezTo>
                  <a:cubicBezTo>
                    <a:pt x="130544" y="244770"/>
                    <a:pt x="146862" y="285565"/>
                    <a:pt x="182218" y="285565"/>
                  </a:cubicBezTo>
                  <a:cubicBezTo>
                    <a:pt x="217573" y="285565"/>
                    <a:pt x="233891" y="247490"/>
                    <a:pt x="233891" y="179499"/>
                  </a:cubicBezTo>
                  <a:cubicBezTo>
                    <a:pt x="233891" y="114226"/>
                    <a:pt x="212134" y="73431"/>
                    <a:pt x="182218" y="73431"/>
                  </a:cubicBezTo>
                  <a:close/>
                  <a:moveTo>
                    <a:pt x="182219" y="0"/>
                  </a:moveTo>
                  <a:cubicBezTo>
                    <a:pt x="282846" y="0"/>
                    <a:pt x="364436" y="81590"/>
                    <a:pt x="364436" y="182217"/>
                  </a:cubicBezTo>
                  <a:cubicBezTo>
                    <a:pt x="364436" y="282844"/>
                    <a:pt x="282846" y="364434"/>
                    <a:pt x="182219" y="364434"/>
                  </a:cubicBezTo>
                  <a:cubicBezTo>
                    <a:pt x="81591" y="364434"/>
                    <a:pt x="0" y="282844"/>
                    <a:pt x="0" y="182217"/>
                  </a:cubicBezTo>
                  <a:cubicBezTo>
                    <a:pt x="0" y="81590"/>
                    <a:pt x="81591" y="0"/>
                    <a:pt x="182219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3BDEFB69-A427-4EE9-9048-F231BA101167}"/>
                </a:ext>
              </a:extLst>
            </p:cNvPr>
            <p:cNvSpPr/>
            <p:nvPr/>
          </p:nvSpPr>
          <p:spPr>
            <a:xfrm>
              <a:off x="6743101" y="3464184"/>
              <a:ext cx="372773" cy="375657"/>
            </a:xfrm>
            <a:custGeom>
              <a:avLst/>
              <a:gdLst>
                <a:gd name="connsiteX0" fmla="*/ 176958 w 372773"/>
                <a:gd name="connsiteY0" fmla="*/ 98080 h 375657"/>
                <a:gd name="connsiteX1" fmla="*/ 125284 w 372773"/>
                <a:gd name="connsiteY1" fmla="*/ 190548 h 375657"/>
                <a:gd name="connsiteX2" fmla="*/ 176958 w 372773"/>
                <a:gd name="connsiteY2" fmla="*/ 283017 h 375657"/>
                <a:gd name="connsiteX3" fmla="*/ 228631 w 372773"/>
                <a:gd name="connsiteY3" fmla="*/ 190548 h 375657"/>
                <a:gd name="connsiteX4" fmla="*/ 176958 w 372773"/>
                <a:gd name="connsiteY4" fmla="*/ 98080 h 375657"/>
                <a:gd name="connsiteX5" fmla="*/ 307501 w 372773"/>
                <a:gd name="connsiteY5" fmla="*/ 172 h 375657"/>
                <a:gd name="connsiteX6" fmla="*/ 372773 w 372773"/>
                <a:gd name="connsiteY6" fmla="*/ 62724 h 375657"/>
                <a:gd name="connsiteX7" fmla="*/ 372773 w 372773"/>
                <a:gd name="connsiteY7" fmla="*/ 312934 h 375657"/>
                <a:gd name="connsiteX8" fmla="*/ 302061 w 372773"/>
                <a:gd name="connsiteY8" fmla="*/ 375486 h 375657"/>
                <a:gd name="connsiteX9" fmla="*/ 239509 w 372773"/>
                <a:gd name="connsiteY9" fmla="*/ 326532 h 375657"/>
                <a:gd name="connsiteX10" fmla="*/ 179677 w 372773"/>
                <a:gd name="connsiteY10" fmla="*/ 370046 h 375657"/>
                <a:gd name="connsiteX11" fmla="*/ 70890 w 372773"/>
                <a:gd name="connsiteY11" fmla="*/ 353728 h 375657"/>
                <a:gd name="connsiteX12" fmla="*/ 128003 w 372773"/>
                <a:gd name="connsiteY12" fmla="*/ 11051 h 375657"/>
                <a:gd name="connsiteX13" fmla="*/ 236790 w 372773"/>
                <a:gd name="connsiteY13" fmla="*/ 70883 h 375657"/>
                <a:gd name="connsiteX14" fmla="*/ 236790 w 372773"/>
                <a:gd name="connsiteY14" fmla="*/ 62724 h 375657"/>
                <a:gd name="connsiteX15" fmla="*/ 307501 w 372773"/>
                <a:gd name="connsiteY15" fmla="*/ 172 h 3756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72773" h="375657">
                  <a:moveTo>
                    <a:pt x="176958" y="98080"/>
                  </a:moveTo>
                  <a:cubicBezTo>
                    <a:pt x="147042" y="100800"/>
                    <a:pt x="125284" y="133436"/>
                    <a:pt x="125284" y="190548"/>
                  </a:cubicBezTo>
                  <a:cubicBezTo>
                    <a:pt x="125284" y="247661"/>
                    <a:pt x="141602" y="283017"/>
                    <a:pt x="176958" y="283017"/>
                  </a:cubicBezTo>
                  <a:cubicBezTo>
                    <a:pt x="212314" y="283017"/>
                    <a:pt x="228631" y="247661"/>
                    <a:pt x="228631" y="190548"/>
                  </a:cubicBezTo>
                  <a:cubicBezTo>
                    <a:pt x="228631" y="133436"/>
                    <a:pt x="206874" y="98080"/>
                    <a:pt x="176958" y="98080"/>
                  </a:cubicBezTo>
                  <a:close/>
                  <a:moveTo>
                    <a:pt x="307501" y="172"/>
                  </a:moveTo>
                  <a:cubicBezTo>
                    <a:pt x="340137" y="172"/>
                    <a:pt x="372773" y="30088"/>
                    <a:pt x="372773" y="62724"/>
                  </a:cubicBezTo>
                  <a:cubicBezTo>
                    <a:pt x="372773" y="65444"/>
                    <a:pt x="372773" y="307494"/>
                    <a:pt x="372773" y="312934"/>
                  </a:cubicBezTo>
                  <a:cubicBezTo>
                    <a:pt x="370053" y="348289"/>
                    <a:pt x="337417" y="378205"/>
                    <a:pt x="302061" y="375486"/>
                  </a:cubicBezTo>
                  <a:cubicBezTo>
                    <a:pt x="274865" y="372766"/>
                    <a:pt x="247668" y="353728"/>
                    <a:pt x="239509" y="326532"/>
                  </a:cubicBezTo>
                  <a:cubicBezTo>
                    <a:pt x="225911" y="348289"/>
                    <a:pt x="198715" y="364607"/>
                    <a:pt x="179677" y="370046"/>
                  </a:cubicBezTo>
                  <a:cubicBezTo>
                    <a:pt x="147041" y="378205"/>
                    <a:pt x="100807" y="372766"/>
                    <a:pt x="70890" y="353728"/>
                  </a:cubicBezTo>
                  <a:cubicBezTo>
                    <a:pt x="-35177" y="285737"/>
                    <a:pt x="-27018" y="11051"/>
                    <a:pt x="128003" y="11051"/>
                  </a:cubicBezTo>
                  <a:cubicBezTo>
                    <a:pt x="185116" y="11051"/>
                    <a:pt x="220471" y="49126"/>
                    <a:pt x="236790" y="70883"/>
                  </a:cubicBezTo>
                  <a:cubicBezTo>
                    <a:pt x="236790" y="70883"/>
                    <a:pt x="236790" y="65444"/>
                    <a:pt x="236790" y="62724"/>
                  </a:cubicBezTo>
                  <a:cubicBezTo>
                    <a:pt x="239509" y="27369"/>
                    <a:pt x="272145" y="-2547"/>
                    <a:pt x="307501" y="172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id="{46719ABB-E490-4463-9FFA-AE200A2AD7A1}"/>
                </a:ext>
              </a:extLst>
            </p:cNvPr>
            <p:cNvSpPr/>
            <p:nvPr/>
          </p:nvSpPr>
          <p:spPr>
            <a:xfrm>
              <a:off x="8380335" y="3464184"/>
              <a:ext cx="372772" cy="375657"/>
            </a:xfrm>
            <a:custGeom>
              <a:avLst/>
              <a:gdLst>
                <a:gd name="connsiteX0" fmla="*/ 176957 w 372772"/>
                <a:gd name="connsiteY0" fmla="*/ 98080 h 375657"/>
                <a:gd name="connsiteX1" fmla="*/ 125282 w 372772"/>
                <a:gd name="connsiteY1" fmla="*/ 190548 h 375657"/>
                <a:gd name="connsiteX2" fmla="*/ 176957 w 372772"/>
                <a:gd name="connsiteY2" fmla="*/ 283017 h 375657"/>
                <a:gd name="connsiteX3" fmla="*/ 228630 w 372772"/>
                <a:gd name="connsiteY3" fmla="*/ 190548 h 375657"/>
                <a:gd name="connsiteX4" fmla="*/ 176957 w 372772"/>
                <a:gd name="connsiteY4" fmla="*/ 98080 h 375657"/>
                <a:gd name="connsiteX5" fmla="*/ 307501 w 372772"/>
                <a:gd name="connsiteY5" fmla="*/ 172 h 375657"/>
                <a:gd name="connsiteX6" fmla="*/ 372772 w 372772"/>
                <a:gd name="connsiteY6" fmla="*/ 62724 h 375657"/>
                <a:gd name="connsiteX7" fmla="*/ 372772 w 372772"/>
                <a:gd name="connsiteY7" fmla="*/ 312934 h 375657"/>
                <a:gd name="connsiteX8" fmla="*/ 302062 w 372772"/>
                <a:gd name="connsiteY8" fmla="*/ 375486 h 375657"/>
                <a:gd name="connsiteX9" fmla="*/ 239509 w 372772"/>
                <a:gd name="connsiteY9" fmla="*/ 326532 h 375657"/>
                <a:gd name="connsiteX10" fmla="*/ 179677 w 372772"/>
                <a:gd name="connsiteY10" fmla="*/ 370046 h 375657"/>
                <a:gd name="connsiteX11" fmla="*/ 70890 w 372772"/>
                <a:gd name="connsiteY11" fmla="*/ 353728 h 375657"/>
                <a:gd name="connsiteX12" fmla="*/ 128002 w 372772"/>
                <a:gd name="connsiteY12" fmla="*/ 11051 h 375657"/>
                <a:gd name="connsiteX13" fmla="*/ 236790 w 372772"/>
                <a:gd name="connsiteY13" fmla="*/ 70883 h 375657"/>
                <a:gd name="connsiteX14" fmla="*/ 236790 w 372772"/>
                <a:gd name="connsiteY14" fmla="*/ 62724 h 375657"/>
                <a:gd name="connsiteX15" fmla="*/ 307501 w 372772"/>
                <a:gd name="connsiteY15" fmla="*/ 172 h 3756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72772" h="375657">
                  <a:moveTo>
                    <a:pt x="176957" y="98080"/>
                  </a:moveTo>
                  <a:cubicBezTo>
                    <a:pt x="147039" y="100800"/>
                    <a:pt x="125282" y="133436"/>
                    <a:pt x="125282" y="190548"/>
                  </a:cubicBezTo>
                  <a:cubicBezTo>
                    <a:pt x="125282" y="247661"/>
                    <a:pt x="141600" y="283017"/>
                    <a:pt x="176957" y="283017"/>
                  </a:cubicBezTo>
                  <a:cubicBezTo>
                    <a:pt x="212312" y="283017"/>
                    <a:pt x="228630" y="247661"/>
                    <a:pt x="228630" y="190548"/>
                  </a:cubicBezTo>
                  <a:cubicBezTo>
                    <a:pt x="228630" y="133436"/>
                    <a:pt x="206873" y="98080"/>
                    <a:pt x="176957" y="98080"/>
                  </a:cubicBezTo>
                  <a:close/>
                  <a:moveTo>
                    <a:pt x="307501" y="172"/>
                  </a:moveTo>
                  <a:cubicBezTo>
                    <a:pt x="340137" y="172"/>
                    <a:pt x="372772" y="30088"/>
                    <a:pt x="372772" y="62724"/>
                  </a:cubicBezTo>
                  <a:cubicBezTo>
                    <a:pt x="372772" y="65444"/>
                    <a:pt x="372772" y="307494"/>
                    <a:pt x="372772" y="312934"/>
                  </a:cubicBezTo>
                  <a:cubicBezTo>
                    <a:pt x="370053" y="348289"/>
                    <a:pt x="337417" y="378205"/>
                    <a:pt x="302062" y="375486"/>
                  </a:cubicBezTo>
                  <a:cubicBezTo>
                    <a:pt x="274865" y="372766"/>
                    <a:pt x="247668" y="353728"/>
                    <a:pt x="239509" y="326532"/>
                  </a:cubicBezTo>
                  <a:cubicBezTo>
                    <a:pt x="228630" y="348289"/>
                    <a:pt x="198714" y="364607"/>
                    <a:pt x="179677" y="370046"/>
                  </a:cubicBezTo>
                  <a:cubicBezTo>
                    <a:pt x="147040" y="378205"/>
                    <a:pt x="100806" y="372766"/>
                    <a:pt x="70890" y="353728"/>
                  </a:cubicBezTo>
                  <a:cubicBezTo>
                    <a:pt x="-35177" y="285737"/>
                    <a:pt x="-27018" y="11051"/>
                    <a:pt x="128002" y="11051"/>
                  </a:cubicBezTo>
                  <a:cubicBezTo>
                    <a:pt x="185116" y="11051"/>
                    <a:pt x="220472" y="49126"/>
                    <a:pt x="236790" y="70883"/>
                  </a:cubicBezTo>
                  <a:cubicBezTo>
                    <a:pt x="236790" y="70883"/>
                    <a:pt x="236790" y="65444"/>
                    <a:pt x="236790" y="62724"/>
                  </a:cubicBezTo>
                  <a:cubicBezTo>
                    <a:pt x="239509" y="27369"/>
                    <a:pt x="272145" y="-2547"/>
                    <a:pt x="307501" y="172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5" name="Freeform: Shape 34">
              <a:extLst>
                <a:ext uri="{FF2B5EF4-FFF2-40B4-BE49-F238E27FC236}">
                  <a16:creationId xmlns:a16="http://schemas.microsoft.com/office/drawing/2014/main" id="{879D5D20-EE89-4A8B-9699-D9683301D220}"/>
                </a:ext>
              </a:extLst>
            </p:cNvPr>
            <p:cNvSpPr/>
            <p:nvPr/>
          </p:nvSpPr>
          <p:spPr>
            <a:xfrm>
              <a:off x="7389492" y="3444253"/>
              <a:ext cx="217573" cy="435145"/>
            </a:xfrm>
            <a:custGeom>
              <a:avLst/>
              <a:gdLst>
                <a:gd name="connsiteX0" fmla="*/ 186002 w 217572"/>
                <a:gd name="connsiteY0" fmla="*/ 118011 h 435144"/>
                <a:gd name="connsiteX1" fmla="*/ 128890 w 217572"/>
                <a:gd name="connsiteY1" fmla="*/ 58178 h 435144"/>
                <a:gd name="connsiteX2" fmla="*/ 123450 w 217572"/>
                <a:gd name="connsiteY2" fmla="*/ 58178 h 435144"/>
                <a:gd name="connsiteX3" fmla="*/ 58178 w 217572"/>
                <a:gd name="connsiteY3" fmla="*/ 115291 h 435144"/>
                <a:gd name="connsiteX4" fmla="*/ 58178 w 217572"/>
                <a:gd name="connsiteY4" fmla="*/ 232236 h 435144"/>
                <a:gd name="connsiteX5" fmla="*/ 58178 w 217572"/>
                <a:gd name="connsiteY5" fmla="*/ 232236 h 435144"/>
                <a:gd name="connsiteX6" fmla="*/ 58178 w 217572"/>
                <a:gd name="connsiteY6" fmla="*/ 335583 h 435144"/>
                <a:gd name="connsiteX7" fmla="*/ 115291 w 217572"/>
                <a:gd name="connsiteY7" fmla="*/ 395415 h 435144"/>
                <a:gd name="connsiteX8" fmla="*/ 120730 w 217572"/>
                <a:gd name="connsiteY8" fmla="*/ 395415 h 435144"/>
                <a:gd name="connsiteX9" fmla="*/ 186002 w 217572"/>
                <a:gd name="connsiteY9" fmla="*/ 338303 h 435144"/>
                <a:gd name="connsiteX10" fmla="*/ 186002 w 217572"/>
                <a:gd name="connsiteY10" fmla="*/ 240395 h 435144"/>
                <a:gd name="connsiteX11" fmla="*/ 186002 w 217572"/>
                <a:gd name="connsiteY11" fmla="*/ 240395 h 435144"/>
                <a:gd name="connsiteX12" fmla="*/ 186002 w 217572"/>
                <a:gd name="connsiteY12" fmla="*/ 118011 h 4351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17572" h="435144">
                  <a:moveTo>
                    <a:pt x="186002" y="118011"/>
                  </a:moveTo>
                  <a:cubicBezTo>
                    <a:pt x="183283" y="85375"/>
                    <a:pt x="158806" y="60898"/>
                    <a:pt x="128890" y="58178"/>
                  </a:cubicBezTo>
                  <a:cubicBezTo>
                    <a:pt x="126170" y="58178"/>
                    <a:pt x="126170" y="58178"/>
                    <a:pt x="123450" y="58178"/>
                  </a:cubicBezTo>
                  <a:cubicBezTo>
                    <a:pt x="96254" y="58178"/>
                    <a:pt x="58178" y="82655"/>
                    <a:pt x="58178" y="115291"/>
                  </a:cubicBezTo>
                  <a:lnTo>
                    <a:pt x="58178" y="232236"/>
                  </a:lnTo>
                  <a:lnTo>
                    <a:pt x="58178" y="232236"/>
                  </a:lnTo>
                  <a:cubicBezTo>
                    <a:pt x="58178" y="270311"/>
                    <a:pt x="58178" y="335583"/>
                    <a:pt x="58178" y="335583"/>
                  </a:cubicBezTo>
                  <a:cubicBezTo>
                    <a:pt x="60898" y="368219"/>
                    <a:pt x="85375" y="392696"/>
                    <a:pt x="115291" y="395415"/>
                  </a:cubicBezTo>
                  <a:cubicBezTo>
                    <a:pt x="118011" y="395415"/>
                    <a:pt x="118011" y="395415"/>
                    <a:pt x="120730" y="395415"/>
                  </a:cubicBezTo>
                  <a:cubicBezTo>
                    <a:pt x="147927" y="395415"/>
                    <a:pt x="186002" y="370938"/>
                    <a:pt x="186002" y="338303"/>
                  </a:cubicBezTo>
                  <a:lnTo>
                    <a:pt x="186002" y="240395"/>
                  </a:lnTo>
                  <a:lnTo>
                    <a:pt x="186002" y="240395"/>
                  </a:lnTo>
                  <a:cubicBezTo>
                    <a:pt x="186002" y="202320"/>
                    <a:pt x="186002" y="118011"/>
                    <a:pt x="186002" y="118011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6" name="Freeform: Shape 35">
              <a:extLst>
                <a:ext uri="{FF2B5EF4-FFF2-40B4-BE49-F238E27FC236}">
                  <a16:creationId xmlns:a16="http://schemas.microsoft.com/office/drawing/2014/main" id="{3FD26498-FDBF-440C-8464-BDE4887B9840}"/>
                </a:ext>
              </a:extLst>
            </p:cNvPr>
            <p:cNvSpPr/>
            <p:nvPr/>
          </p:nvSpPr>
          <p:spPr>
            <a:xfrm>
              <a:off x="7392212" y="3280901"/>
              <a:ext cx="217573" cy="217572"/>
            </a:xfrm>
            <a:custGeom>
              <a:avLst/>
              <a:gdLst>
                <a:gd name="connsiteX0" fmla="*/ 183282 w 217572"/>
                <a:gd name="connsiteY0" fmla="*/ 120902 h 217572"/>
                <a:gd name="connsiteX1" fmla="*/ 120730 w 217572"/>
                <a:gd name="connsiteY1" fmla="*/ 183454 h 217572"/>
                <a:gd name="connsiteX2" fmla="*/ 58178 w 217572"/>
                <a:gd name="connsiteY2" fmla="*/ 120902 h 217572"/>
                <a:gd name="connsiteX3" fmla="*/ 120730 w 217572"/>
                <a:gd name="connsiteY3" fmla="*/ 58350 h 217572"/>
                <a:gd name="connsiteX4" fmla="*/ 183282 w 217572"/>
                <a:gd name="connsiteY4" fmla="*/ 120902 h 2175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17572" h="217572">
                  <a:moveTo>
                    <a:pt x="183282" y="120902"/>
                  </a:moveTo>
                  <a:cubicBezTo>
                    <a:pt x="183282" y="156258"/>
                    <a:pt x="156086" y="183454"/>
                    <a:pt x="120730" y="183454"/>
                  </a:cubicBezTo>
                  <a:cubicBezTo>
                    <a:pt x="85375" y="183454"/>
                    <a:pt x="58178" y="156258"/>
                    <a:pt x="58178" y="120902"/>
                  </a:cubicBezTo>
                  <a:cubicBezTo>
                    <a:pt x="58178" y="85547"/>
                    <a:pt x="85375" y="58350"/>
                    <a:pt x="120730" y="58350"/>
                  </a:cubicBezTo>
                  <a:cubicBezTo>
                    <a:pt x="153366" y="55630"/>
                    <a:pt x="183282" y="85547"/>
                    <a:pt x="183282" y="120902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7" name="Freeform: Shape 36">
              <a:extLst>
                <a:ext uri="{FF2B5EF4-FFF2-40B4-BE49-F238E27FC236}">
                  <a16:creationId xmlns:a16="http://schemas.microsoft.com/office/drawing/2014/main" id="{38BDF441-371D-4336-BFE3-6AB3A6129E34}"/>
                </a:ext>
              </a:extLst>
            </p:cNvPr>
            <p:cNvSpPr/>
            <p:nvPr/>
          </p:nvSpPr>
          <p:spPr>
            <a:xfrm>
              <a:off x="6005186" y="3416884"/>
              <a:ext cx="380752" cy="462341"/>
            </a:xfrm>
            <a:custGeom>
              <a:avLst/>
              <a:gdLst>
                <a:gd name="connsiteX0" fmla="*/ 270312 w 380752"/>
                <a:gd name="connsiteY0" fmla="*/ 69229 h 462341"/>
                <a:gd name="connsiteX1" fmla="*/ 188722 w 380752"/>
                <a:gd name="connsiteY1" fmla="*/ 134501 h 462341"/>
                <a:gd name="connsiteX2" fmla="*/ 188722 w 380752"/>
                <a:gd name="connsiteY2" fmla="*/ 118183 h 462341"/>
                <a:gd name="connsiteX3" fmla="*/ 126170 w 380752"/>
                <a:gd name="connsiteY3" fmla="*/ 58350 h 462341"/>
                <a:gd name="connsiteX4" fmla="*/ 58178 w 380752"/>
                <a:gd name="connsiteY4" fmla="*/ 118183 h 462341"/>
                <a:gd name="connsiteX5" fmla="*/ 58178 w 380752"/>
                <a:gd name="connsiteY5" fmla="*/ 210651 h 462341"/>
                <a:gd name="connsiteX6" fmla="*/ 58178 w 380752"/>
                <a:gd name="connsiteY6" fmla="*/ 365671 h 462341"/>
                <a:gd name="connsiteX7" fmla="*/ 58178 w 380752"/>
                <a:gd name="connsiteY7" fmla="*/ 365671 h 462341"/>
                <a:gd name="connsiteX8" fmla="*/ 120730 w 380752"/>
                <a:gd name="connsiteY8" fmla="*/ 425504 h 462341"/>
                <a:gd name="connsiteX9" fmla="*/ 186002 w 380752"/>
                <a:gd name="connsiteY9" fmla="*/ 365671 h 462341"/>
                <a:gd name="connsiteX10" fmla="*/ 186002 w 380752"/>
                <a:gd name="connsiteY10" fmla="*/ 365671 h 462341"/>
                <a:gd name="connsiteX11" fmla="*/ 186002 w 380752"/>
                <a:gd name="connsiteY11" fmla="*/ 210651 h 462341"/>
                <a:gd name="connsiteX12" fmla="*/ 215919 w 380752"/>
                <a:gd name="connsiteY12" fmla="*/ 158978 h 462341"/>
                <a:gd name="connsiteX13" fmla="*/ 275751 w 380752"/>
                <a:gd name="connsiteY13" fmla="*/ 221530 h 462341"/>
                <a:gd name="connsiteX14" fmla="*/ 270312 w 380752"/>
                <a:gd name="connsiteY14" fmla="*/ 69229 h 4623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80752" h="462341">
                  <a:moveTo>
                    <a:pt x="270312" y="69229"/>
                  </a:moveTo>
                  <a:cubicBezTo>
                    <a:pt x="232236" y="71949"/>
                    <a:pt x="213199" y="99145"/>
                    <a:pt x="188722" y="134501"/>
                  </a:cubicBezTo>
                  <a:cubicBezTo>
                    <a:pt x="188722" y="134501"/>
                    <a:pt x="188722" y="118183"/>
                    <a:pt x="188722" y="118183"/>
                  </a:cubicBezTo>
                  <a:cubicBezTo>
                    <a:pt x="188722" y="85547"/>
                    <a:pt x="158806" y="58350"/>
                    <a:pt x="126170" y="58350"/>
                  </a:cubicBezTo>
                  <a:cubicBezTo>
                    <a:pt x="93534" y="55631"/>
                    <a:pt x="60898" y="85547"/>
                    <a:pt x="58178" y="118183"/>
                  </a:cubicBezTo>
                  <a:lnTo>
                    <a:pt x="58178" y="210651"/>
                  </a:lnTo>
                  <a:lnTo>
                    <a:pt x="58178" y="365671"/>
                  </a:lnTo>
                  <a:lnTo>
                    <a:pt x="58178" y="365671"/>
                  </a:lnTo>
                  <a:cubicBezTo>
                    <a:pt x="58178" y="398307"/>
                    <a:pt x="88094" y="425504"/>
                    <a:pt x="120730" y="425504"/>
                  </a:cubicBezTo>
                  <a:cubicBezTo>
                    <a:pt x="153366" y="428224"/>
                    <a:pt x="186002" y="398307"/>
                    <a:pt x="186002" y="365671"/>
                  </a:cubicBezTo>
                  <a:lnTo>
                    <a:pt x="186002" y="365671"/>
                  </a:lnTo>
                  <a:lnTo>
                    <a:pt x="186002" y="210651"/>
                  </a:lnTo>
                  <a:cubicBezTo>
                    <a:pt x="188722" y="188894"/>
                    <a:pt x="196881" y="158978"/>
                    <a:pt x="215919" y="158978"/>
                  </a:cubicBezTo>
                  <a:cubicBezTo>
                    <a:pt x="243115" y="158978"/>
                    <a:pt x="215919" y="221530"/>
                    <a:pt x="275751" y="221530"/>
                  </a:cubicBezTo>
                  <a:cubicBezTo>
                    <a:pt x="362780" y="221530"/>
                    <a:pt x="373658" y="63790"/>
                    <a:pt x="270312" y="69229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8" name="Freeform: Shape 37">
              <a:extLst>
                <a:ext uri="{FF2B5EF4-FFF2-40B4-BE49-F238E27FC236}">
                  <a16:creationId xmlns:a16="http://schemas.microsoft.com/office/drawing/2014/main" id="{F8BAD5CD-434F-4D77-8BD2-26C750766026}"/>
                </a:ext>
              </a:extLst>
            </p:cNvPr>
            <p:cNvSpPr/>
            <p:nvPr/>
          </p:nvSpPr>
          <p:spPr>
            <a:xfrm>
              <a:off x="5693490" y="3475234"/>
              <a:ext cx="337238" cy="364434"/>
            </a:xfrm>
            <a:custGeom>
              <a:avLst/>
              <a:gdLst>
                <a:gd name="connsiteX0" fmla="*/ 180433 w 337238"/>
                <a:gd name="connsiteY0" fmla="*/ 73984 h 364434"/>
                <a:gd name="connsiteX1" fmla="*/ 163180 w 337238"/>
                <a:gd name="connsiteY1" fmla="*/ 78870 h 364434"/>
                <a:gd name="connsiteX2" fmla="*/ 125105 w 337238"/>
                <a:gd name="connsiteY2" fmla="*/ 160461 h 364434"/>
                <a:gd name="connsiteX3" fmla="*/ 171339 w 337238"/>
                <a:gd name="connsiteY3" fmla="*/ 163180 h 364434"/>
                <a:gd name="connsiteX4" fmla="*/ 214854 w 337238"/>
                <a:gd name="connsiteY4" fmla="*/ 108787 h 364434"/>
                <a:gd name="connsiteX5" fmla="*/ 180433 w 337238"/>
                <a:gd name="connsiteY5" fmla="*/ 73984 h 364434"/>
                <a:gd name="connsiteX6" fmla="*/ 174059 w 337238"/>
                <a:gd name="connsiteY6" fmla="*/ 0 h 364434"/>
                <a:gd name="connsiteX7" fmla="*/ 337238 w 337238"/>
                <a:gd name="connsiteY7" fmla="*/ 119665 h 364434"/>
                <a:gd name="connsiteX8" fmla="*/ 133264 w 337238"/>
                <a:gd name="connsiteY8" fmla="*/ 217573 h 364434"/>
                <a:gd name="connsiteX9" fmla="*/ 225732 w 337238"/>
                <a:gd name="connsiteY9" fmla="*/ 277405 h 364434"/>
                <a:gd name="connsiteX10" fmla="*/ 320920 w 337238"/>
                <a:gd name="connsiteY10" fmla="*/ 250208 h 364434"/>
                <a:gd name="connsiteX11" fmla="*/ 174059 w 337238"/>
                <a:gd name="connsiteY11" fmla="*/ 364434 h 364434"/>
                <a:gd name="connsiteX12" fmla="*/ 0 w 337238"/>
                <a:gd name="connsiteY12" fmla="*/ 184937 h 364434"/>
                <a:gd name="connsiteX13" fmla="*/ 174059 w 337238"/>
                <a:gd name="connsiteY13" fmla="*/ 0 h 3644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37238" h="364434">
                  <a:moveTo>
                    <a:pt x="180433" y="73984"/>
                  </a:moveTo>
                  <a:cubicBezTo>
                    <a:pt x="174569" y="73941"/>
                    <a:pt x="168620" y="75471"/>
                    <a:pt x="163180" y="78870"/>
                  </a:cubicBezTo>
                  <a:cubicBezTo>
                    <a:pt x="135984" y="95189"/>
                    <a:pt x="127825" y="130544"/>
                    <a:pt x="125105" y="160461"/>
                  </a:cubicBezTo>
                  <a:cubicBezTo>
                    <a:pt x="125105" y="163180"/>
                    <a:pt x="168620" y="160461"/>
                    <a:pt x="171339" y="163180"/>
                  </a:cubicBezTo>
                  <a:cubicBezTo>
                    <a:pt x="195816" y="157741"/>
                    <a:pt x="214854" y="135984"/>
                    <a:pt x="214854" y="108787"/>
                  </a:cubicBezTo>
                  <a:cubicBezTo>
                    <a:pt x="214854" y="88389"/>
                    <a:pt x="198026" y="74111"/>
                    <a:pt x="180433" y="73984"/>
                  </a:cubicBezTo>
                  <a:close/>
                  <a:moveTo>
                    <a:pt x="174059" y="0"/>
                  </a:moveTo>
                  <a:cubicBezTo>
                    <a:pt x="233891" y="0"/>
                    <a:pt x="337238" y="29916"/>
                    <a:pt x="337238" y="119665"/>
                  </a:cubicBezTo>
                  <a:cubicBezTo>
                    <a:pt x="337238" y="209414"/>
                    <a:pt x="244770" y="217573"/>
                    <a:pt x="133264" y="217573"/>
                  </a:cubicBezTo>
                  <a:cubicBezTo>
                    <a:pt x="133264" y="217573"/>
                    <a:pt x="149581" y="277405"/>
                    <a:pt x="225732" y="277405"/>
                  </a:cubicBezTo>
                  <a:cubicBezTo>
                    <a:pt x="301883" y="277405"/>
                    <a:pt x="320920" y="250208"/>
                    <a:pt x="320920" y="250208"/>
                  </a:cubicBezTo>
                  <a:cubicBezTo>
                    <a:pt x="320920" y="250208"/>
                    <a:pt x="315481" y="364434"/>
                    <a:pt x="174059" y="364434"/>
                  </a:cubicBezTo>
                  <a:cubicBezTo>
                    <a:pt x="95188" y="364434"/>
                    <a:pt x="0" y="304602"/>
                    <a:pt x="0" y="184937"/>
                  </a:cubicBezTo>
                  <a:cubicBezTo>
                    <a:pt x="0" y="78870"/>
                    <a:pt x="73431" y="0"/>
                    <a:pt x="174059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: Shape 38">
              <a:extLst>
                <a:ext uri="{FF2B5EF4-FFF2-40B4-BE49-F238E27FC236}">
                  <a16:creationId xmlns:a16="http://schemas.microsoft.com/office/drawing/2014/main" id="{502F9BDB-7819-4E53-AED0-AEFFFB5D36A6}"/>
                </a:ext>
              </a:extLst>
            </p:cNvPr>
            <p:cNvSpPr/>
            <p:nvPr/>
          </p:nvSpPr>
          <p:spPr>
            <a:xfrm>
              <a:off x="5376945" y="3338014"/>
              <a:ext cx="353556" cy="543931"/>
            </a:xfrm>
            <a:custGeom>
              <a:avLst/>
              <a:gdLst>
                <a:gd name="connsiteX0" fmla="*/ 311107 w 353555"/>
                <a:gd name="connsiteY0" fmla="*/ 433663 h 543931"/>
                <a:gd name="connsiteX1" fmla="*/ 215919 w 353555"/>
                <a:gd name="connsiteY1" fmla="*/ 501654 h 543931"/>
                <a:gd name="connsiteX2" fmla="*/ 98973 w 353555"/>
                <a:gd name="connsiteY2" fmla="*/ 392868 h 543931"/>
                <a:gd name="connsiteX3" fmla="*/ 98973 w 353555"/>
                <a:gd name="connsiteY3" fmla="*/ 221530 h 543931"/>
                <a:gd name="connsiteX4" fmla="*/ 82655 w 353555"/>
                <a:gd name="connsiteY4" fmla="*/ 221530 h 543931"/>
                <a:gd name="connsiteX5" fmla="*/ 58178 w 353555"/>
                <a:gd name="connsiteY5" fmla="*/ 191614 h 543931"/>
                <a:gd name="connsiteX6" fmla="*/ 85375 w 353555"/>
                <a:gd name="connsiteY6" fmla="*/ 164417 h 543931"/>
                <a:gd name="connsiteX7" fmla="*/ 101693 w 353555"/>
                <a:gd name="connsiteY7" fmla="*/ 164417 h 543931"/>
                <a:gd name="connsiteX8" fmla="*/ 101693 w 353555"/>
                <a:gd name="connsiteY8" fmla="*/ 118183 h 543931"/>
                <a:gd name="connsiteX9" fmla="*/ 166965 w 353555"/>
                <a:gd name="connsiteY9" fmla="*/ 58350 h 543931"/>
                <a:gd name="connsiteX10" fmla="*/ 229517 w 353555"/>
                <a:gd name="connsiteY10" fmla="*/ 118183 h 543931"/>
                <a:gd name="connsiteX11" fmla="*/ 229517 w 353555"/>
                <a:gd name="connsiteY11" fmla="*/ 118183 h 543931"/>
                <a:gd name="connsiteX12" fmla="*/ 229517 w 353555"/>
                <a:gd name="connsiteY12" fmla="*/ 164417 h 543931"/>
                <a:gd name="connsiteX13" fmla="*/ 283910 w 353555"/>
                <a:gd name="connsiteY13" fmla="*/ 164417 h 543931"/>
                <a:gd name="connsiteX14" fmla="*/ 308387 w 353555"/>
                <a:gd name="connsiteY14" fmla="*/ 194333 h 543931"/>
                <a:gd name="connsiteX15" fmla="*/ 281190 w 353555"/>
                <a:gd name="connsiteY15" fmla="*/ 221530 h 543931"/>
                <a:gd name="connsiteX16" fmla="*/ 229517 w 353555"/>
                <a:gd name="connsiteY16" fmla="*/ 221530 h 543931"/>
                <a:gd name="connsiteX17" fmla="*/ 229517 w 353555"/>
                <a:gd name="connsiteY17" fmla="*/ 365671 h 543931"/>
                <a:gd name="connsiteX18" fmla="*/ 311107 w 353555"/>
                <a:gd name="connsiteY18" fmla="*/ 433663 h 5439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353555" h="543931">
                  <a:moveTo>
                    <a:pt x="311107" y="433663"/>
                  </a:moveTo>
                  <a:cubicBezTo>
                    <a:pt x="311107" y="433663"/>
                    <a:pt x="278471" y="501654"/>
                    <a:pt x="215919" y="501654"/>
                  </a:cubicBezTo>
                  <a:cubicBezTo>
                    <a:pt x="164245" y="501654"/>
                    <a:pt x="101693" y="458140"/>
                    <a:pt x="98973" y="392868"/>
                  </a:cubicBezTo>
                  <a:cubicBezTo>
                    <a:pt x="98973" y="392868"/>
                    <a:pt x="98973" y="297680"/>
                    <a:pt x="98973" y="221530"/>
                  </a:cubicBezTo>
                  <a:lnTo>
                    <a:pt x="82655" y="221530"/>
                  </a:lnTo>
                  <a:cubicBezTo>
                    <a:pt x="74496" y="221530"/>
                    <a:pt x="58178" y="216090"/>
                    <a:pt x="58178" y="191614"/>
                  </a:cubicBezTo>
                  <a:cubicBezTo>
                    <a:pt x="58178" y="167137"/>
                    <a:pt x="77216" y="164417"/>
                    <a:pt x="85375" y="164417"/>
                  </a:cubicBezTo>
                  <a:lnTo>
                    <a:pt x="101693" y="164417"/>
                  </a:lnTo>
                  <a:cubicBezTo>
                    <a:pt x="101693" y="137220"/>
                    <a:pt x="101693" y="118183"/>
                    <a:pt x="101693" y="118183"/>
                  </a:cubicBezTo>
                  <a:cubicBezTo>
                    <a:pt x="104413" y="85547"/>
                    <a:pt x="134329" y="55631"/>
                    <a:pt x="166965" y="58350"/>
                  </a:cubicBezTo>
                  <a:cubicBezTo>
                    <a:pt x="196881" y="61070"/>
                    <a:pt x="229517" y="85547"/>
                    <a:pt x="229517" y="118183"/>
                  </a:cubicBezTo>
                  <a:lnTo>
                    <a:pt x="229517" y="118183"/>
                  </a:lnTo>
                  <a:lnTo>
                    <a:pt x="229517" y="164417"/>
                  </a:lnTo>
                  <a:lnTo>
                    <a:pt x="283910" y="164417"/>
                  </a:lnTo>
                  <a:cubicBezTo>
                    <a:pt x="292069" y="164417"/>
                    <a:pt x="308387" y="169856"/>
                    <a:pt x="308387" y="194333"/>
                  </a:cubicBezTo>
                  <a:cubicBezTo>
                    <a:pt x="308387" y="218810"/>
                    <a:pt x="292069" y="221530"/>
                    <a:pt x="281190" y="221530"/>
                  </a:cubicBezTo>
                  <a:lnTo>
                    <a:pt x="229517" y="221530"/>
                  </a:lnTo>
                  <a:lnTo>
                    <a:pt x="229517" y="365671"/>
                  </a:lnTo>
                  <a:cubicBezTo>
                    <a:pt x="226797" y="409186"/>
                    <a:pt x="267592" y="433663"/>
                    <a:pt x="311107" y="433663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0" name="Freeform: Shape 39">
              <a:extLst>
                <a:ext uri="{FF2B5EF4-FFF2-40B4-BE49-F238E27FC236}">
                  <a16:creationId xmlns:a16="http://schemas.microsoft.com/office/drawing/2014/main" id="{6FE22129-481A-4C11-B764-0A44426B8CBA}"/>
                </a:ext>
              </a:extLst>
            </p:cNvPr>
            <p:cNvSpPr/>
            <p:nvPr/>
          </p:nvSpPr>
          <p:spPr>
            <a:xfrm>
              <a:off x="7090329" y="3338014"/>
              <a:ext cx="353556" cy="543931"/>
            </a:xfrm>
            <a:custGeom>
              <a:avLst/>
              <a:gdLst>
                <a:gd name="connsiteX0" fmla="*/ 311107 w 353555"/>
                <a:gd name="connsiteY0" fmla="*/ 433663 h 543931"/>
                <a:gd name="connsiteX1" fmla="*/ 215919 w 353555"/>
                <a:gd name="connsiteY1" fmla="*/ 501654 h 543931"/>
                <a:gd name="connsiteX2" fmla="*/ 98973 w 353555"/>
                <a:gd name="connsiteY2" fmla="*/ 392868 h 543931"/>
                <a:gd name="connsiteX3" fmla="*/ 98973 w 353555"/>
                <a:gd name="connsiteY3" fmla="*/ 221530 h 543931"/>
                <a:gd name="connsiteX4" fmla="*/ 82655 w 353555"/>
                <a:gd name="connsiteY4" fmla="*/ 221530 h 543931"/>
                <a:gd name="connsiteX5" fmla="*/ 58178 w 353555"/>
                <a:gd name="connsiteY5" fmla="*/ 191614 h 543931"/>
                <a:gd name="connsiteX6" fmla="*/ 85375 w 353555"/>
                <a:gd name="connsiteY6" fmla="*/ 164417 h 543931"/>
                <a:gd name="connsiteX7" fmla="*/ 101693 w 353555"/>
                <a:gd name="connsiteY7" fmla="*/ 164417 h 543931"/>
                <a:gd name="connsiteX8" fmla="*/ 101693 w 353555"/>
                <a:gd name="connsiteY8" fmla="*/ 118183 h 543931"/>
                <a:gd name="connsiteX9" fmla="*/ 166965 w 353555"/>
                <a:gd name="connsiteY9" fmla="*/ 58350 h 543931"/>
                <a:gd name="connsiteX10" fmla="*/ 229517 w 353555"/>
                <a:gd name="connsiteY10" fmla="*/ 118183 h 543931"/>
                <a:gd name="connsiteX11" fmla="*/ 229517 w 353555"/>
                <a:gd name="connsiteY11" fmla="*/ 118183 h 543931"/>
                <a:gd name="connsiteX12" fmla="*/ 229517 w 353555"/>
                <a:gd name="connsiteY12" fmla="*/ 164417 h 543931"/>
                <a:gd name="connsiteX13" fmla="*/ 283910 w 353555"/>
                <a:gd name="connsiteY13" fmla="*/ 164417 h 543931"/>
                <a:gd name="connsiteX14" fmla="*/ 308387 w 353555"/>
                <a:gd name="connsiteY14" fmla="*/ 194333 h 543931"/>
                <a:gd name="connsiteX15" fmla="*/ 281190 w 353555"/>
                <a:gd name="connsiteY15" fmla="*/ 221530 h 543931"/>
                <a:gd name="connsiteX16" fmla="*/ 229517 w 353555"/>
                <a:gd name="connsiteY16" fmla="*/ 221530 h 543931"/>
                <a:gd name="connsiteX17" fmla="*/ 229517 w 353555"/>
                <a:gd name="connsiteY17" fmla="*/ 365671 h 543931"/>
                <a:gd name="connsiteX18" fmla="*/ 311107 w 353555"/>
                <a:gd name="connsiteY18" fmla="*/ 433663 h 5439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353555" h="543931">
                  <a:moveTo>
                    <a:pt x="311107" y="433663"/>
                  </a:moveTo>
                  <a:cubicBezTo>
                    <a:pt x="311107" y="433663"/>
                    <a:pt x="278471" y="501654"/>
                    <a:pt x="215919" y="501654"/>
                  </a:cubicBezTo>
                  <a:cubicBezTo>
                    <a:pt x="164245" y="501654"/>
                    <a:pt x="101693" y="458140"/>
                    <a:pt x="98973" y="392868"/>
                  </a:cubicBezTo>
                  <a:cubicBezTo>
                    <a:pt x="98973" y="392868"/>
                    <a:pt x="98973" y="297680"/>
                    <a:pt x="98973" y="221530"/>
                  </a:cubicBezTo>
                  <a:lnTo>
                    <a:pt x="82655" y="221530"/>
                  </a:lnTo>
                  <a:cubicBezTo>
                    <a:pt x="74496" y="221530"/>
                    <a:pt x="58178" y="216090"/>
                    <a:pt x="58178" y="191614"/>
                  </a:cubicBezTo>
                  <a:cubicBezTo>
                    <a:pt x="58178" y="167137"/>
                    <a:pt x="77216" y="164417"/>
                    <a:pt x="85375" y="164417"/>
                  </a:cubicBezTo>
                  <a:lnTo>
                    <a:pt x="101693" y="164417"/>
                  </a:lnTo>
                  <a:cubicBezTo>
                    <a:pt x="101693" y="137220"/>
                    <a:pt x="101693" y="118183"/>
                    <a:pt x="101693" y="118183"/>
                  </a:cubicBezTo>
                  <a:cubicBezTo>
                    <a:pt x="104412" y="85547"/>
                    <a:pt x="134329" y="55631"/>
                    <a:pt x="166965" y="58350"/>
                  </a:cubicBezTo>
                  <a:cubicBezTo>
                    <a:pt x="196881" y="61070"/>
                    <a:pt x="229517" y="85547"/>
                    <a:pt x="229517" y="118183"/>
                  </a:cubicBezTo>
                  <a:lnTo>
                    <a:pt x="229517" y="118183"/>
                  </a:lnTo>
                  <a:lnTo>
                    <a:pt x="229517" y="164417"/>
                  </a:lnTo>
                  <a:lnTo>
                    <a:pt x="283910" y="164417"/>
                  </a:lnTo>
                  <a:cubicBezTo>
                    <a:pt x="292069" y="164417"/>
                    <a:pt x="308387" y="169856"/>
                    <a:pt x="308387" y="194333"/>
                  </a:cubicBezTo>
                  <a:cubicBezTo>
                    <a:pt x="308387" y="218810"/>
                    <a:pt x="292069" y="221530"/>
                    <a:pt x="281190" y="221530"/>
                  </a:cubicBezTo>
                  <a:lnTo>
                    <a:pt x="229517" y="221530"/>
                  </a:lnTo>
                  <a:lnTo>
                    <a:pt x="229517" y="365671"/>
                  </a:lnTo>
                  <a:cubicBezTo>
                    <a:pt x="229517" y="409186"/>
                    <a:pt x="270312" y="433663"/>
                    <a:pt x="311107" y="433663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1" name="Freeform: Shape 40">
              <a:extLst>
                <a:ext uri="{FF2B5EF4-FFF2-40B4-BE49-F238E27FC236}">
                  <a16:creationId xmlns:a16="http://schemas.microsoft.com/office/drawing/2014/main" id="{56673DCB-4EF6-4931-8C51-40ABA4BC6E47}"/>
                </a:ext>
              </a:extLst>
            </p:cNvPr>
            <p:cNvSpPr/>
            <p:nvPr/>
          </p:nvSpPr>
          <p:spPr>
            <a:xfrm>
              <a:off x="2080719" y="4178559"/>
              <a:ext cx="462342" cy="788700"/>
            </a:xfrm>
            <a:custGeom>
              <a:avLst/>
              <a:gdLst>
                <a:gd name="connsiteX0" fmla="*/ 403575 w 462341"/>
                <a:gd name="connsiteY0" fmla="*/ 583072 h 788699"/>
                <a:gd name="connsiteX1" fmla="*/ 406295 w 462341"/>
                <a:gd name="connsiteY1" fmla="*/ 596670 h 788699"/>
                <a:gd name="connsiteX2" fmla="*/ 400855 w 462341"/>
                <a:gd name="connsiteY2" fmla="*/ 610268 h 788699"/>
                <a:gd name="connsiteX3" fmla="*/ 389977 w 462341"/>
                <a:gd name="connsiteY3" fmla="*/ 626586 h 788699"/>
                <a:gd name="connsiteX4" fmla="*/ 354621 w 462341"/>
                <a:gd name="connsiteY4" fmla="*/ 675540 h 788699"/>
                <a:gd name="connsiteX5" fmla="*/ 327424 w 462341"/>
                <a:gd name="connsiteY5" fmla="*/ 691858 h 788699"/>
                <a:gd name="connsiteX6" fmla="*/ 292069 w 462341"/>
                <a:gd name="connsiteY6" fmla="*/ 713615 h 788699"/>
                <a:gd name="connsiteX7" fmla="*/ 251274 w 462341"/>
                <a:gd name="connsiteY7" fmla="*/ 724494 h 788699"/>
                <a:gd name="connsiteX8" fmla="*/ 221358 w 462341"/>
                <a:gd name="connsiteY8" fmla="*/ 721774 h 788699"/>
                <a:gd name="connsiteX9" fmla="*/ 191442 w 462341"/>
                <a:gd name="connsiteY9" fmla="*/ 721774 h 788699"/>
                <a:gd name="connsiteX10" fmla="*/ 153366 w 462341"/>
                <a:gd name="connsiteY10" fmla="*/ 713615 h 788699"/>
                <a:gd name="connsiteX11" fmla="*/ 104412 w 462341"/>
                <a:gd name="connsiteY11" fmla="*/ 675540 h 788699"/>
                <a:gd name="connsiteX12" fmla="*/ 104412 w 462341"/>
                <a:gd name="connsiteY12" fmla="*/ 689138 h 788699"/>
                <a:gd name="connsiteX13" fmla="*/ 101693 w 462341"/>
                <a:gd name="connsiteY13" fmla="*/ 710895 h 788699"/>
                <a:gd name="connsiteX14" fmla="*/ 85375 w 462341"/>
                <a:gd name="connsiteY14" fmla="*/ 732653 h 788699"/>
                <a:gd name="connsiteX15" fmla="*/ 69057 w 462341"/>
                <a:gd name="connsiteY15" fmla="*/ 727214 h 788699"/>
                <a:gd name="connsiteX16" fmla="*/ 60898 w 462341"/>
                <a:gd name="connsiteY16" fmla="*/ 710895 h 788699"/>
                <a:gd name="connsiteX17" fmla="*/ 58178 w 462341"/>
                <a:gd name="connsiteY17" fmla="*/ 691858 h 788699"/>
                <a:gd name="connsiteX18" fmla="*/ 60898 w 462341"/>
                <a:gd name="connsiteY18" fmla="*/ 664661 h 788699"/>
                <a:gd name="connsiteX19" fmla="*/ 60898 w 462341"/>
                <a:gd name="connsiteY19" fmla="*/ 607549 h 788699"/>
                <a:gd name="connsiteX20" fmla="*/ 63618 w 462341"/>
                <a:gd name="connsiteY20" fmla="*/ 528679 h 788699"/>
                <a:gd name="connsiteX21" fmla="*/ 69057 w 462341"/>
                <a:gd name="connsiteY21" fmla="*/ 504202 h 788699"/>
                <a:gd name="connsiteX22" fmla="*/ 74496 w 462341"/>
                <a:gd name="connsiteY22" fmla="*/ 493323 h 788699"/>
                <a:gd name="connsiteX23" fmla="*/ 82655 w 462341"/>
                <a:gd name="connsiteY23" fmla="*/ 487884 h 788699"/>
                <a:gd name="connsiteX24" fmla="*/ 90814 w 462341"/>
                <a:gd name="connsiteY24" fmla="*/ 493323 h 788699"/>
                <a:gd name="connsiteX25" fmla="*/ 98973 w 462341"/>
                <a:gd name="connsiteY25" fmla="*/ 512361 h 788699"/>
                <a:gd name="connsiteX26" fmla="*/ 101693 w 462341"/>
                <a:gd name="connsiteY26" fmla="*/ 555875 h 788699"/>
                <a:gd name="connsiteX27" fmla="*/ 101693 w 462341"/>
                <a:gd name="connsiteY27" fmla="*/ 596670 h 788699"/>
                <a:gd name="connsiteX28" fmla="*/ 109852 w 462341"/>
                <a:gd name="connsiteY28" fmla="*/ 626586 h 788699"/>
                <a:gd name="connsiteX29" fmla="*/ 128889 w 462341"/>
                <a:gd name="connsiteY29" fmla="*/ 651063 h 788699"/>
                <a:gd name="connsiteX30" fmla="*/ 153366 w 462341"/>
                <a:gd name="connsiteY30" fmla="*/ 670101 h 788699"/>
                <a:gd name="connsiteX31" fmla="*/ 196881 w 462341"/>
                <a:gd name="connsiteY31" fmla="*/ 678260 h 788699"/>
                <a:gd name="connsiteX32" fmla="*/ 221358 w 462341"/>
                <a:gd name="connsiteY32" fmla="*/ 667381 h 788699"/>
                <a:gd name="connsiteX33" fmla="*/ 253994 w 462341"/>
                <a:gd name="connsiteY33" fmla="*/ 659222 h 788699"/>
                <a:gd name="connsiteX34" fmla="*/ 275751 w 462341"/>
                <a:gd name="connsiteY34" fmla="*/ 637465 h 788699"/>
                <a:gd name="connsiteX35" fmla="*/ 281190 w 462341"/>
                <a:gd name="connsiteY35" fmla="*/ 615708 h 788699"/>
                <a:gd name="connsiteX36" fmla="*/ 278471 w 462341"/>
                <a:gd name="connsiteY36" fmla="*/ 602109 h 788699"/>
                <a:gd name="connsiteX37" fmla="*/ 262153 w 462341"/>
                <a:gd name="connsiteY37" fmla="*/ 572193 h 788699"/>
                <a:gd name="connsiteX38" fmla="*/ 245835 w 462341"/>
                <a:gd name="connsiteY38" fmla="*/ 536838 h 788699"/>
                <a:gd name="connsiteX39" fmla="*/ 196881 w 462341"/>
                <a:gd name="connsiteY39" fmla="*/ 477005 h 788699"/>
                <a:gd name="connsiteX40" fmla="*/ 145207 w 462341"/>
                <a:gd name="connsiteY40" fmla="*/ 419892 h 788699"/>
                <a:gd name="connsiteX41" fmla="*/ 93534 w 462341"/>
                <a:gd name="connsiteY41" fmla="*/ 357340 h 788699"/>
                <a:gd name="connsiteX42" fmla="*/ 66337 w 462341"/>
                <a:gd name="connsiteY42" fmla="*/ 283910 h 788699"/>
                <a:gd name="connsiteX43" fmla="*/ 58178 w 462341"/>
                <a:gd name="connsiteY43" fmla="*/ 224077 h 788699"/>
                <a:gd name="connsiteX44" fmla="*/ 82655 w 462341"/>
                <a:gd name="connsiteY44" fmla="*/ 150647 h 788699"/>
                <a:gd name="connsiteX45" fmla="*/ 137048 w 462341"/>
                <a:gd name="connsiteY45" fmla="*/ 96253 h 788699"/>
                <a:gd name="connsiteX46" fmla="*/ 196881 w 462341"/>
                <a:gd name="connsiteY46" fmla="*/ 77216 h 788699"/>
                <a:gd name="connsiteX47" fmla="*/ 232236 w 462341"/>
                <a:gd name="connsiteY47" fmla="*/ 69057 h 788699"/>
                <a:gd name="connsiteX48" fmla="*/ 262153 w 462341"/>
                <a:gd name="connsiteY48" fmla="*/ 74496 h 788699"/>
                <a:gd name="connsiteX49" fmla="*/ 294789 w 462341"/>
                <a:gd name="connsiteY49" fmla="*/ 85375 h 788699"/>
                <a:gd name="connsiteX50" fmla="*/ 327424 w 462341"/>
                <a:gd name="connsiteY50" fmla="*/ 104412 h 788699"/>
                <a:gd name="connsiteX51" fmla="*/ 332864 w 462341"/>
                <a:gd name="connsiteY51" fmla="*/ 74496 h 788699"/>
                <a:gd name="connsiteX52" fmla="*/ 338303 w 462341"/>
                <a:gd name="connsiteY52" fmla="*/ 63618 h 788699"/>
                <a:gd name="connsiteX53" fmla="*/ 349182 w 462341"/>
                <a:gd name="connsiteY53" fmla="*/ 58178 h 788699"/>
                <a:gd name="connsiteX54" fmla="*/ 357341 w 462341"/>
                <a:gd name="connsiteY54" fmla="*/ 63618 h 788699"/>
                <a:gd name="connsiteX55" fmla="*/ 365500 w 462341"/>
                <a:gd name="connsiteY55" fmla="*/ 82655 h 788699"/>
                <a:gd name="connsiteX56" fmla="*/ 368219 w 462341"/>
                <a:gd name="connsiteY56" fmla="*/ 142488 h 788699"/>
                <a:gd name="connsiteX57" fmla="*/ 368219 w 462341"/>
                <a:gd name="connsiteY57" fmla="*/ 188722 h 788699"/>
                <a:gd name="connsiteX58" fmla="*/ 370939 w 462341"/>
                <a:gd name="connsiteY58" fmla="*/ 245834 h 788699"/>
                <a:gd name="connsiteX59" fmla="*/ 354621 w 462341"/>
                <a:gd name="connsiteY59" fmla="*/ 286629 h 788699"/>
                <a:gd name="connsiteX60" fmla="*/ 338303 w 462341"/>
                <a:gd name="connsiteY60" fmla="*/ 281190 h 788699"/>
                <a:gd name="connsiteX61" fmla="*/ 330144 w 462341"/>
                <a:gd name="connsiteY61" fmla="*/ 264872 h 788699"/>
                <a:gd name="connsiteX62" fmla="*/ 327424 w 462341"/>
                <a:gd name="connsiteY62" fmla="*/ 248554 h 788699"/>
                <a:gd name="connsiteX63" fmla="*/ 330144 w 462341"/>
                <a:gd name="connsiteY63" fmla="*/ 221357 h 788699"/>
                <a:gd name="connsiteX64" fmla="*/ 330144 w 462341"/>
                <a:gd name="connsiteY64" fmla="*/ 188722 h 788699"/>
                <a:gd name="connsiteX65" fmla="*/ 327424 w 462341"/>
                <a:gd name="connsiteY65" fmla="*/ 164245 h 788699"/>
                <a:gd name="connsiteX66" fmla="*/ 311107 w 462341"/>
                <a:gd name="connsiteY66" fmla="*/ 134329 h 788699"/>
                <a:gd name="connsiteX67" fmla="*/ 283910 w 462341"/>
                <a:gd name="connsiteY67" fmla="*/ 118011 h 788699"/>
                <a:gd name="connsiteX68" fmla="*/ 251274 w 462341"/>
                <a:gd name="connsiteY68" fmla="*/ 112571 h 788699"/>
                <a:gd name="connsiteX69" fmla="*/ 215918 w 462341"/>
                <a:gd name="connsiteY69" fmla="*/ 123450 h 788699"/>
                <a:gd name="connsiteX70" fmla="*/ 202320 w 462341"/>
                <a:gd name="connsiteY70" fmla="*/ 147927 h 788699"/>
                <a:gd name="connsiteX71" fmla="*/ 188722 w 462341"/>
                <a:gd name="connsiteY71" fmla="*/ 180563 h 788699"/>
                <a:gd name="connsiteX72" fmla="*/ 183283 w 462341"/>
                <a:gd name="connsiteY72" fmla="*/ 210479 h 788699"/>
                <a:gd name="connsiteX73" fmla="*/ 188722 w 462341"/>
                <a:gd name="connsiteY73" fmla="*/ 226797 h 788699"/>
                <a:gd name="connsiteX74" fmla="*/ 188722 w 462341"/>
                <a:gd name="connsiteY74" fmla="*/ 248554 h 788699"/>
                <a:gd name="connsiteX75" fmla="*/ 210479 w 462341"/>
                <a:gd name="connsiteY75" fmla="*/ 273031 h 788699"/>
                <a:gd name="connsiteX76" fmla="*/ 226797 w 462341"/>
                <a:gd name="connsiteY76" fmla="*/ 300228 h 788699"/>
                <a:gd name="connsiteX77" fmla="*/ 256713 w 462341"/>
                <a:gd name="connsiteY77" fmla="*/ 332864 h 788699"/>
                <a:gd name="connsiteX78" fmla="*/ 275751 w 462341"/>
                <a:gd name="connsiteY78" fmla="*/ 351901 h 788699"/>
                <a:gd name="connsiteX79" fmla="*/ 324705 w 462341"/>
                <a:gd name="connsiteY79" fmla="*/ 400855 h 788699"/>
                <a:gd name="connsiteX80" fmla="*/ 343742 w 462341"/>
                <a:gd name="connsiteY80" fmla="*/ 428051 h 788699"/>
                <a:gd name="connsiteX81" fmla="*/ 351901 w 462341"/>
                <a:gd name="connsiteY81" fmla="*/ 433491 h 788699"/>
                <a:gd name="connsiteX82" fmla="*/ 360060 w 462341"/>
                <a:gd name="connsiteY82" fmla="*/ 447089 h 788699"/>
                <a:gd name="connsiteX83" fmla="*/ 384537 w 462341"/>
                <a:gd name="connsiteY83" fmla="*/ 474286 h 788699"/>
                <a:gd name="connsiteX84" fmla="*/ 395416 w 462341"/>
                <a:gd name="connsiteY84" fmla="*/ 506921 h 788699"/>
                <a:gd name="connsiteX85" fmla="*/ 406295 w 462341"/>
                <a:gd name="connsiteY85" fmla="*/ 536838 h 788699"/>
                <a:gd name="connsiteX86" fmla="*/ 409014 w 462341"/>
                <a:gd name="connsiteY86" fmla="*/ 547716 h 788699"/>
                <a:gd name="connsiteX87" fmla="*/ 406295 w 462341"/>
                <a:gd name="connsiteY87" fmla="*/ 569473 h 788699"/>
                <a:gd name="connsiteX88" fmla="*/ 403575 w 462341"/>
                <a:gd name="connsiteY88" fmla="*/ 583072 h 788699"/>
                <a:gd name="connsiteX89" fmla="*/ 403575 w 462341"/>
                <a:gd name="connsiteY89" fmla="*/ 583072 h 7886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</a:cxnLst>
              <a:rect l="l" t="t" r="r" b="b"/>
              <a:pathLst>
                <a:path w="462341" h="788699">
                  <a:moveTo>
                    <a:pt x="403575" y="583072"/>
                  </a:moveTo>
                  <a:cubicBezTo>
                    <a:pt x="403575" y="588511"/>
                    <a:pt x="406295" y="591231"/>
                    <a:pt x="406295" y="596670"/>
                  </a:cubicBezTo>
                  <a:cubicBezTo>
                    <a:pt x="406295" y="602109"/>
                    <a:pt x="403575" y="604829"/>
                    <a:pt x="400855" y="610268"/>
                  </a:cubicBezTo>
                  <a:cubicBezTo>
                    <a:pt x="398136" y="615708"/>
                    <a:pt x="392696" y="621147"/>
                    <a:pt x="389977" y="626586"/>
                  </a:cubicBezTo>
                  <a:cubicBezTo>
                    <a:pt x="381818" y="645624"/>
                    <a:pt x="368219" y="661942"/>
                    <a:pt x="354621" y="675540"/>
                  </a:cubicBezTo>
                  <a:cubicBezTo>
                    <a:pt x="346462" y="683699"/>
                    <a:pt x="338303" y="686419"/>
                    <a:pt x="327424" y="691858"/>
                  </a:cubicBezTo>
                  <a:cubicBezTo>
                    <a:pt x="316546" y="700017"/>
                    <a:pt x="302948" y="708176"/>
                    <a:pt x="292069" y="713615"/>
                  </a:cubicBezTo>
                  <a:cubicBezTo>
                    <a:pt x="281190" y="719054"/>
                    <a:pt x="264872" y="724494"/>
                    <a:pt x="251274" y="724494"/>
                  </a:cubicBezTo>
                  <a:cubicBezTo>
                    <a:pt x="240395" y="724494"/>
                    <a:pt x="229517" y="721774"/>
                    <a:pt x="221358" y="721774"/>
                  </a:cubicBezTo>
                  <a:cubicBezTo>
                    <a:pt x="213199" y="721774"/>
                    <a:pt x="202320" y="721774"/>
                    <a:pt x="191442" y="721774"/>
                  </a:cubicBezTo>
                  <a:cubicBezTo>
                    <a:pt x="172404" y="721774"/>
                    <a:pt x="172404" y="721774"/>
                    <a:pt x="153366" y="713615"/>
                  </a:cubicBezTo>
                  <a:cubicBezTo>
                    <a:pt x="134329" y="708176"/>
                    <a:pt x="118011" y="691858"/>
                    <a:pt x="104412" y="675540"/>
                  </a:cubicBezTo>
                  <a:cubicBezTo>
                    <a:pt x="104412" y="678260"/>
                    <a:pt x="104412" y="680979"/>
                    <a:pt x="104412" y="689138"/>
                  </a:cubicBezTo>
                  <a:cubicBezTo>
                    <a:pt x="104412" y="694578"/>
                    <a:pt x="104412" y="702737"/>
                    <a:pt x="101693" y="710895"/>
                  </a:cubicBezTo>
                  <a:cubicBezTo>
                    <a:pt x="101693" y="721774"/>
                    <a:pt x="96253" y="732653"/>
                    <a:pt x="85375" y="732653"/>
                  </a:cubicBezTo>
                  <a:cubicBezTo>
                    <a:pt x="77216" y="732653"/>
                    <a:pt x="74496" y="729933"/>
                    <a:pt x="69057" y="727214"/>
                  </a:cubicBezTo>
                  <a:cubicBezTo>
                    <a:pt x="63618" y="724494"/>
                    <a:pt x="60898" y="716335"/>
                    <a:pt x="60898" y="710895"/>
                  </a:cubicBezTo>
                  <a:cubicBezTo>
                    <a:pt x="58178" y="702737"/>
                    <a:pt x="58178" y="697297"/>
                    <a:pt x="58178" y="691858"/>
                  </a:cubicBezTo>
                  <a:cubicBezTo>
                    <a:pt x="58178" y="683699"/>
                    <a:pt x="60898" y="678260"/>
                    <a:pt x="60898" y="664661"/>
                  </a:cubicBezTo>
                  <a:cubicBezTo>
                    <a:pt x="60898" y="656502"/>
                    <a:pt x="60898" y="632026"/>
                    <a:pt x="60898" y="607549"/>
                  </a:cubicBezTo>
                  <a:cubicBezTo>
                    <a:pt x="60898" y="574913"/>
                    <a:pt x="60898" y="542277"/>
                    <a:pt x="63618" y="528679"/>
                  </a:cubicBezTo>
                  <a:cubicBezTo>
                    <a:pt x="63618" y="520520"/>
                    <a:pt x="63618" y="509641"/>
                    <a:pt x="69057" y="504202"/>
                  </a:cubicBezTo>
                  <a:cubicBezTo>
                    <a:pt x="71777" y="501482"/>
                    <a:pt x="71777" y="498762"/>
                    <a:pt x="74496" y="493323"/>
                  </a:cubicBezTo>
                  <a:cubicBezTo>
                    <a:pt x="77216" y="490603"/>
                    <a:pt x="79936" y="487884"/>
                    <a:pt x="82655" y="487884"/>
                  </a:cubicBezTo>
                  <a:cubicBezTo>
                    <a:pt x="85375" y="487884"/>
                    <a:pt x="90814" y="490603"/>
                    <a:pt x="90814" y="493323"/>
                  </a:cubicBezTo>
                  <a:cubicBezTo>
                    <a:pt x="93534" y="498762"/>
                    <a:pt x="98973" y="506921"/>
                    <a:pt x="98973" y="512361"/>
                  </a:cubicBezTo>
                  <a:cubicBezTo>
                    <a:pt x="98973" y="520520"/>
                    <a:pt x="101693" y="536838"/>
                    <a:pt x="101693" y="555875"/>
                  </a:cubicBezTo>
                  <a:cubicBezTo>
                    <a:pt x="101693" y="569473"/>
                    <a:pt x="101693" y="583072"/>
                    <a:pt x="101693" y="596670"/>
                  </a:cubicBezTo>
                  <a:cubicBezTo>
                    <a:pt x="101693" y="607549"/>
                    <a:pt x="104412" y="618427"/>
                    <a:pt x="109852" y="626586"/>
                  </a:cubicBezTo>
                  <a:cubicBezTo>
                    <a:pt x="115291" y="637465"/>
                    <a:pt x="123450" y="642904"/>
                    <a:pt x="128889" y="651063"/>
                  </a:cubicBezTo>
                  <a:cubicBezTo>
                    <a:pt x="137048" y="661942"/>
                    <a:pt x="139768" y="667381"/>
                    <a:pt x="153366" y="670101"/>
                  </a:cubicBezTo>
                  <a:cubicBezTo>
                    <a:pt x="161525" y="670101"/>
                    <a:pt x="183283" y="678260"/>
                    <a:pt x="196881" y="678260"/>
                  </a:cubicBezTo>
                  <a:cubicBezTo>
                    <a:pt x="207759" y="678260"/>
                    <a:pt x="210479" y="672820"/>
                    <a:pt x="221358" y="667381"/>
                  </a:cubicBezTo>
                  <a:cubicBezTo>
                    <a:pt x="232236" y="661942"/>
                    <a:pt x="245835" y="664661"/>
                    <a:pt x="253994" y="659222"/>
                  </a:cubicBezTo>
                  <a:cubicBezTo>
                    <a:pt x="262153" y="653783"/>
                    <a:pt x="273031" y="645624"/>
                    <a:pt x="275751" y="637465"/>
                  </a:cubicBezTo>
                  <a:cubicBezTo>
                    <a:pt x="281190" y="629306"/>
                    <a:pt x="281190" y="621147"/>
                    <a:pt x="281190" y="615708"/>
                  </a:cubicBezTo>
                  <a:cubicBezTo>
                    <a:pt x="281190" y="610268"/>
                    <a:pt x="281190" y="607549"/>
                    <a:pt x="278471" y="602109"/>
                  </a:cubicBezTo>
                  <a:cubicBezTo>
                    <a:pt x="275751" y="591231"/>
                    <a:pt x="267592" y="583072"/>
                    <a:pt x="262153" y="572193"/>
                  </a:cubicBezTo>
                  <a:cubicBezTo>
                    <a:pt x="256713" y="561314"/>
                    <a:pt x="253994" y="547716"/>
                    <a:pt x="245835" y="536838"/>
                  </a:cubicBezTo>
                  <a:cubicBezTo>
                    <a:pt x="232236" y="515080"/>
                    <a:pt x="213199" y="498762"/>
                    <a:pt x="196881" y="477005"/>
                  </a:cubicBezTo>
                  <a:cubicBezTo>
                    <a:pt x="180563" y="457968"/>
                    <a:pt x="164245" y="438930"/>
                    <a:pt x="145207" y="419892"/>
                  </a:cubicBezTo>
                  <a:cubicBezTo>
                    <a:pt x="126170" y="400855"/>
                    <a:pt x="109852" y="379098"/>
                    <a:pt x="93534" y="357340"/>
                  </a:cubicBezTo>
                  <a:cubicBezTo>
                    <a:pt x="77216" y="335583"/>
                    <a:pt x="71777" y="308387"/>
                    <a:pt x="66337" y="283910"/>
                  </a:cubicBezTo>
                  <a:cubicBezTo>
                    <a:pt x="63618" y="267592"/>
                    <a:pt x="58178" y="245834"/>
                    <a:pt x="58178" y="224077"/>
                  </a:cubicBezTo>
                  <a:cubicBezTo>
                    <a:pt x="58178" y="194161"/>
                    <a:pt x="69057" y="175123"/>
                    <a:pt x="82655" y="150647"/>
                  </a:cubicBezTo>
                  <a:cubicBezTo>
                    <a:pt x="96253" y="128889"/>
                    <a:pt x="115291" y="109852"/>
                    <a:pt x="137048" y="96253"/>
                  </a:cubicBezTo>
                  <a:cubicBezTo>
                    <a:pt x="158806" y="82655"/>
                    <a:pt x="172404" y="79936"/>
                    <a:pt x="196881" y="77216"/>
                  </a:cubicBezTo>
                  <a:cubicBezTo>
                    <a:pt x="210479" y="77216"/>
                    <a:pt x="215918" y="69057"/>
                    <a:pt x="232236" y="69057"/>
                  </a:cubicBezTo>
                  <a:cubicBezTo>
                    <a:pt x="243115" y="69057"/>
                    <a:pt x="251274" y="71776"/>
                    <a:pt x="262153" y="74496"/>
                  </a:cubicBezTo>
                  <a:cubicBezTo>
                    <a:pt x="273031" y="77216"/>
                    <a:pt x="283910" y="82655"/>
                    <a:pt x="294789" y="85375"/>
                  </a:cubicBezTo>
                  <a:cubicBezTo>
                    <a:pt x="308387" y="90814"/>
                    <a:pt x="319265" y="96253"/>
                    <a:pt x="327424" y="104412"/>
                  </a:cubicBezTo>
                  <a:cubicBezTo>
                    <a:pt x="327424" y="90814"/>
                    <a:pt x="327424" y="79936"/>
                    <a:pt x="332864" y="74496"/>
                  </a:cubicBezTo>
                  <a:cubicBezTo>
                    <a:pt x="335583" y="71776"/>
                    <a:pt x="335583" y="69057"/>
                    <a:pt x="338303" y="63618"/>
                  </a:cubicBezTo>
                  <a:cubicBezTo>
                    <a:pt x="341023" y="60898"/>
                    <a:pt x="346462" y="58178"/>
                    <a:pt x="349182" y="58178"/>
                  </a:cubicBezTo>
                  <a:cubicBezTo>
                    <a:pt x="351901" y="58178"/>
                    <a:pt x="357341" y="60898"/>
                    <a:pt x="357341" y="63618"/>
                  </a:cubicBezTo>
                  <a:cubicBezTo>
                    <a:pt x="360060" y="69057"/>
                    <a:pt x="365500" y="77216"/>
                    <a:pt x="365500" y="82655"/>
                  </a:cubicBezTo>
                  <a:cubicBezTo>
                    <a:pt x="365500" y="90814"/>
                    <a:pt x="368219" y="123450"/>
                    <a:pt x="368219" y="142488"/>
                  </a:cubicBezTo>
                  <a:cubicBezTo>
                    <a:pt x="368219" y="158806"/>
                    <a:pt x="368219" y="177843"/>
                    <a:pt x="368219" y="188722"/>
                  </a:cubicBezTo>
                  <a:cubicBezTo>
                    <a:pt x="368219" y="213199"/>
                    <a:pt x="370939" y="224077"/>
                    <a:pt x="370939" y="245834"/>
                  </a:cubicBezTo>
                  <a:cubicBezTo>
                    <a:pt x="370939" y="256713"/>
                    <a:pt x="370939" y="286629"/>
                    <a:pt x="354621" y="286629"/>
                  </a:cubicBezTo>
                  <a:cubicBezTo>
                    <a:pt x="346462" y="286629"/>
                    <a:pt x="343742" y="283910"/>
                    <a:pt x="338303" y="281190"/>
                  </a:cubicBezTo>
                  <a:cubicBezTo>
                    <a:pt x="332864" y="278470"/>
                    <a:pt x="330144" y="270311"/>
                    <a:pt x="330144" y="264872"/>
                  </a:cubicBezTo>
                  <a:cubicBezTo>
                    <a:pt x="327424" y="256713"/>
                    <a:pt x="327424" y="251274"/>
                    <a:pt x="327424" y="248554"/>
                  </a:cubicBezTo>
                  <a:cubicBezTo>
                    <a:pt x="327424" y="240395"/>
                    <a:pt x="330144" y="234956"/>
                    <a:pt x="330144" y="221357"/>
                  </a:cubicBezTo>
                  <a:cubicBezTo>
                    <a:pt x="330144" y="213199"/>
                    <a:pt x="330144" y="202320"/>
                    <a:pt x="330144" y="188722"/>
                  </a:cubicBezTo>
                  <a:cubicBezTo>
                    <a:pt x="330144" y="180563"/>
                    <a:pt x="327424" y="172404"/>
                    <a:pt x="327424" y="164245"/>
                  </a:cubicBezTo>
                  <a:cubicBezTo>
                    <a:pt x="324705" y="153366"/>
                    <a:pt x="319265" y="142488"/>
                    <a:pt x="311107" y="134329"/>
                  </a:cubicBezTo>
                  <a:cubicBezTo>
                    <a:pt x="302948" y="126170"/>
                    <a:pt x="294789" y="120730"/>
                    <a:pt x="283910" y="118011"/>
                  </a:cubicBezTo>
                  <a:cubicBezTo>
                    <a:pt x="275751" y="115291"/>
                    <a:pt x="262153" y="112571"/>
                    <a:pt x="251274" y="112571"/>
                  </a:cubicBezTo>
                  <a:cubicBezTo>
                    <a:pt x="237676" y="112571"/>
                    <a:pt x="224077" y="115291"/>
                    <a:pt x="215918" y="123450"/>
                  </a:cubicBezTo>
                  <a:cubicBezTo>
                    <a:pt x="207759" y="128889"/>
                    <a:pt x="205040" y="139768"/>
                    <a:pt x="202320" y="147927"/>
                  </a:cubicBezTo>
                  <a:cubicBezTo>
                    <a:pt x="196881" y="158806"/>
                    <a:pt x="191442" y="166964"/>
                    <a:pt x="188722" y="180563"/>
                  </a:cubicBezTo>
                  <a:cubicBezTo>
                    <a:pt x="186002" y="191441"/>
                    <a:pt x="183283" y="199600"/>
                    <a:pt x="183283" y="210479"/>
                  </a:cubicBezTo>
                  <a:cubicBezTo>
                    <a:pt x="183283" y="215918"/>
                    <a:pt x="186002" y="221357"/>
                    <a:pt x="188722" y="226797"/>
                  </a:cubicBezTo>
                  <a:cubicBezTo>
                    <a:pt x="191442" y="234956"/>
                    <a:pt x="188722" y="243115"/>
                    <a:pt x="188722" y="248554"/>
                  </a:cubicBezTo>
                  <a:cubicBezTo>
                    <a:pt x="191442" y="259433"/>
                    <a:pt x="202320" y="264872"/>
                    <a:pt x="210479" y="273031"/>
                  </a:cubicBezTo>
                  <a:cubicBezTo>
                    <a:pt x="218638" y="281190"/>
                    <a:pt x="221358" y="292069"/>
                    <a:pt x="226797" y="300228"/>
                  </a:cubicBezTo>
                  <a:cubicBezTo>
                    <a:pt x="234956" y="311106"/>
                    <a:pt x="245835" y="321985"/>
                    <a:pt x="256713" y="332864"/>
                  </a:cubicBezTo>
                  <a:cubicBezTo>
                    <a:pt x="259433" y="338303"/>
                    <a:pt x="267592" y="343742"/>
                    <a:pt x="275751" y="351901"/>
                  </a:cubicBezTo>
                  <a:cubicBezTo>
                    <a:pt x="292069" y="368219"/>
                    <a:pt x="311107" y="384537"/>
                    <a:pt x="324705" y="400855"/>
                  </a:cubicBezTo>
                  <a:cubicBezTo>
                    <a:pt x="332864" y="409014"/>
                    <a:pt x="335583" y="419892"/>
                    <a:pt x="343742" y="428051"/>
                  </a:cubicBezTo>
                  <a:cubicBezTo>
                    <a:pt x="346462" y="430771"/>
                    <a:pt x="349182" y="430771"/>
                    <a:pt x="351901" y="433491"/>
                  </a:cubicBezTo>
                  <a:cubicBezTo>
                    <a:pt x="354621" y="436210"/>
                    <a:pt x="357341" y="441650"/>
                    <a:pt x="360060" y="447089"/>
                  </a:cubicBezTo>
                  <a:cubicBezTo>
                    <a:pt x="368219" y="455248"/>
                    <a:pt x="376378" y="463407"/>
                    <a:pt x="384537" y="474286"/>
                  </a:cubicBezTo>
                  <a:cubicBezTo>
                    <a:pt x="389977" y="482445"/>
                    <a:pt x="392696" y="496043"/>
                    <a:pt x="395416" y="506921"/>
                  </a:cubicBezTo>
                  <a:cubicBezTo>
                    <a:pt x="400855" y="517800"/>
                    <a:pt x="400855" y="528679"/>
                    <a:pt x="406295" y="536838"/>
                  </a:cubicBezTo>
                  <a:cubicBezTo>
                    <a:pt x="409014" y="539557"/>
                    <a:pt x="409014" y="544997"/>
                    <a:pt x="409014" y="547716"/>
                  </a:cubicBezTo>
                  <a:cubicBezTo>
                    <a:pt x="409014" y="555875"/>
                    <a:pt x="406295" y="561314"/>
                    <a:pt x="406295" y="569473"/>
                  </a:cubicBezTo>
                  <a:cubicBezTo>
                    <a:pt x="406295" y="574913"/>
                    <a:pt x="403575" y="577632"/>
                    <a:pt x="403575" y="583072"/>
                  </a:cubicBezTo>
                  <a:lnTo>
                    <a:pt x="403575" y="583072"/>
                  </a:ln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2" name="Freeform: Shape 41">
              <a:extLst>
                <a:ext uri="{FF2B5EF4-FFF2-40B4-BE49-F238E27FC236}">
                  <a16:creationId xmlns:a16="http://schemas.microsoft.com/office/drawing/2014/main" id="{9AE53901-D870-4D3D-ABDA-84C6C826D55A}"/>
                </a:ext>
              </a:extLst>
            </p:cNvPr>
            <p:cNvSpPr/>
            <p:nvPr/>
          </p:nvSpPr>
          <p:spPr>
            <a:xfrm>
              <a:off x="2456032" y="4192158"/>
              <a:ext cx="571128" cy="761503"/>
            </a:xfrm>
            <a:custGeom>
              <a:avLst/>
              <a:gdLst>
                <a:gd name="connsiteX0" fmla="*/ 512361 w 571128"/>
                <a:gd name="connsiteY0" fmla="*/ 79936 h 761503"/>
                <a:gd name="connsiteX1" fmla="*/ 539558 w 571128"/>
                <a:gd name="connsiteY1" fmla="*/ 96253 h 761503"/>
                <a:gd name="connsiteX2" fmla="*/ 534118 w 571128"/>
                <a:gd name="connsiteY2" fmla="*/ 112571 h 761503"/>
                <a:gd name="connsiteX3" fmla="*/ 523240 w 571128"/>
                <a:gd name="connsiteY3" fmla="*/ 120730 h 761503"/>
                <a:gd name="connsiteX4" fmla="*/ 506922 w 571128"/>
                <a:gd name="connsiteY4" fmla="*/ 123450 h 761503"/>
                <a:gd name="connsiteX5" fmla="*/ 477006 w 571128"/>
                <a:gd name="connsiteY5" fmla="*/ 123450 h 761503"/>
                <a:gd name="connsiteX6" fmla="*/ 479725 w 571128"/>
                <a:gd name="connsiteY6" fmla="*/ 145207 h 761503"/>
                <a:gd name="connsiteX7" fmla="*/ 477006 w 571128"/>
                <a:gd name="connsiteY7" fmla="*/ 180563 h 761503"/>
                <a:gd name="connsiteX8" fmla="*/ 482445 w 571128"/>
                <a:gd name="connsiteY8" fmla="*/ 232236 h 761503"/>
                <a:gd name="connsiteX9" fmla="*/ 485165 w 571128"/>
                <a:gd name="connsiteY9" fmla="*/ 283910 h 761503"/>
                <a:gd name="connsiteX10" fmla="*/ 485165 w 571128"/>
                <a:gd name="connsiteY10" fmla="*/ 327424 h 761503"/>
                <a:gd name="connsiteX11" fmla="*/ 487884 w 571128"/>
                <a:gd name="connsiteY11" fmla="*/ 373658 h 761503"/>
                <a:gd name="connsiteX12" fmla="*/ 485165 w 571128"/>
                <a:gd name="connsiteY12" fmla="*/ 419892 h 761503"/>
                <a:gd name="connsiteX13" fmla="*/ 485165 w 571128"/>
                <a:gd name="connsiteY13" fmla="*/ 463407 h 761503"/>
                <a:gd name="connsiteX14" fmla="*/ 482445 w 571128"/>
                <a:gd name="connsiteY14" fmla="*/ 515080 h 761503"/>
                <a:gd name="connsiteX15" fmla="*/ 482445 w 571128"/>
                <a:gd name="connsiteY15" fmla="*/ 558595 h 761503"/>
                <a:gd name="connsiteX16" fmla="*/ 479725 w 571128"/>
                <a:gd name="connsiteY16" fmla="*/ 602109 h 761503"/>
                <a:gd name="connsiteX17" fmla="*/ 485165 w 571128"/>
                <a:gd name="connsiteY17" fmla="*/ 648343 h 761503"/>
                <a:gd name="connsiteX18" fmla="*/ 474286 w 571128"/>
                <a:gd name="connsiteY18" fmla="*/ 675540 h 761503"/>
                <a:gd name="connsiteX19" fmla="*/ 428052 w 571128"/>
                <a:gd name="connsiteY19" fmla="*/ 691858 h 761503"/>
                <a:gd name="connsiteX20" fmla="*/ 387257 w 571128"/>
                <a:gd name="connsiteY20" fmla="*/ 683699 h 761503"/>
                <a:gd name="connsiteX21" fmla="*/ 351901 w 571128"/>
                <a:gd name="connsiteY21" fmla="*/ 664661 h 761503"/>
                <a:gd name="connsiteX22" fmla="*/ 305667 w 571128"/>
                <a:gd name="connsiteY22" fmla="*/ 596670 h 761503"/>
                <a:gd name="connsiteX23" fmla="*/ 270312 w 571128"/>
                <a:gd name="connsiteY23" fmla="*/ 509641 h 761503"/>
                <a:gd name="connsiteX24" fmla="*/ 251274 w 571128"/>
                <a:gd name="connsiteY24" fmla="*/ 460687 h 761503"/>
                <a:gd name="connsiteX25" fmla="*/ 224077 w 571128"/>
                <a:gd name="connsiteY25" fmla="*/ 381817 h 761503"/>
                <a:gd name="connsiteX26" fmla="*/ 207759 w 571128"/>
                <a:gd name="connsiteY26" fmla="*/ 330144 h 761503"/>
                <a:gd name="connsiteX27" fmla="*/ 191442 w 571128"/>
                <a:gd name="connsiteY27" fmla="*/ 286629 h 761503"/>
                <a:gd name="connsiteX28" fmla="*/ 183283 w 571128"/>
                <a:gd name="connsiteY28" fmla="*/ 278470 h 761503"/>
                <a:gd name="connsiteX29" fmla="*/ 180563 w 571128"/>
                <a:gd name="connsiteY29" fmla="*/ 292069 h 761503"/>
                <a:gd name="connsiteX30" fmla="*/ 180563 w 571128"/>
                <a:gd name="connsiteY30" fmla="*/ 305667 h 761503"/>
                <a:gd name="connsiteX31" fmla="*/ 183283 w 571128"/>
                <a:gd name="connsiteY31" fmla="*/ 354621 h 761503"/>
                <a:gd name="connsiteX32" fmla="*/ 188722 w 571128"/>
                <a:gd name="connsiteY32" fmla="*/ 449809 h 761503"/>
                <a:gd name="connsiteX33" fmla="*/ 188722 w 571128"/>
                <a:gd name="connsiteY33" fmla="*/ 479725 h 761503"/>
                <a:gd name="connsiteX34" fmla="*/ 188722 w 571128"/>
                <a:gd name="connsiteY34" fmla="*/ 542277 h 761503"/>
                <a:gd name="connsiteX35" fmla="*/ 186002 w 571128"/>
                <a:gd name="connsiteY35" fmla="*/ 615708 h 761503"/>
                <a:gd name="connsiteX36" fmla="*/ 186002 w 571128"/>
                <a:gd name="connsiteY36" fmla="*/ 637465 h 761503"/>
                <a:gd name="connsiteX37" fmla="*/ 183283 w 571128"/>
                <a:gd name="connsiteY37" fmla="*/ 664661 h 761503"/>
                <a:gd name="connsiteX38" fmla="*/ 226797 w 571128"/>
                <a:gd name="connsiteY38" fmla="*/ 664661 h 761503"/>
                <a:gd name="connsiteX39" fmla="*/ 253994 w 571128"/>
                <a:gd name="connsiteY39" fmla="*/ 680979 h 761503"/>
                <a:gd name="connsiteX40" fmla="*/ 248554 w 571128"/>
                <a:gd name="connsiteY40" fmla="*/ 697297 h 761503"/>
                <a:gd name="connsiteX41" fmla="*/ 234956 w 571128"/>
                <a:gd name="connsiteY41" fmla="*/ 705456 h 761503"/>
                <a:gd name="connsiteX42" fmla="*/ 218638 w 571128"/>
                <a:gd name="connsiteY42" fmla="*/ 708176 h 761503"/>
                <a:gd name="connsiteX43" fmla="*/ 183283 w 571128"/>
                <a:gd name="connsiteY43" fmla="*/ 708176 h 761503"/>
                <a:gd name="connsiteX44" fmla="*/ 150647 w 571128"/>
                <a:gd name="connsiteY44" fmla="*/ 708176 h 761503"/>
                <a:gd name="connsiteX45" fmla="*/ 107132 w 571128"/>
                <a:gd name="connsiteY45" fmla="*/ 708176 h 761503"/>
                <a:gd name="connsiteX46" fmla="*/ 88094 w 571128"/>
                <a:gd name="connsiteY46" fmla="*/ 708176 h 761503"/>
                <a:gd name="connsiteX47" fmla="*/ 69057 w 571128"/>
                <a:gd name="connsiteY47" fmla="*/ 702737 h 761503"/>
                <a:gd name="connsiteX48" fmla="*/ 58178 w 571128"/>
                <a:gd name="connsiteY48" fmla="*/ 686419 h 761503"/>
                <a:gd name="connsiteX49" fmla="*/ 60898 w 571128"/>
                <a:gd name="connsiteY49" fmla="*/ 678260 h 761503"/>
                <a:gd name="connsiteX50" fmla="*/ 77216 w 571128"/>
                <a:gd name="connsiteY50" fmla="*/ 670101 h 761503"/>
                <a:gd name="connsiteX51" fmla="*/ 120730 w 571128"/>
                <a:gd name="connsiteY51" fmla="*/ 664661 h 761503"/>
                <a:gd name="connsiteX52" fmla="*/ 131609 w 571128"/>
                <a:gd name="connsiteY52" fmla="*/ 664661 h 761503"/>
                <a:gd name="connsiteX53" fmla="*/ 134329 w 571128"/>
                <a:gd name="connsiteY53" fmla="*/ 539557 h 761503"/>
                <a:gd name="connsiteX54" fmla="*/ 134329 w 571128"/>
                <a:gd name="connsiteY54" fmla="*/ 504202 h 761503"/>
                <a:gd name="connsiteX55" fmla="*/ 131609 w 571128"/>
                <a:gd name="connsiteY55" fmla="*/ 376378 h 761503"/>
                <a:gd name="connsiteX56" fmla="*/ 131609 w 571128"/>
                <a:gd name="connsiteY56" fmla="*/ 302947 h 761503"/>
                <a:gd name="connsiteX57" fmla="*/ 134329 w 571128"/>
                <a:gd name="connsiteY57" fmla="*/ 221357 h 761503"/>
                <a:gd name="connsiteX58" fmla="*/ 137048 w 571128"/>
                <a:gd name="connsiteY58" fmla="*/ 123450 h 761503"/>
                <a:gd name="connsiteX59" fmla="*/ 107132 w 571128"/>
                <a:gd name="connsiteY59" fmla="*/ 123450 h 761503"/>
                <a:gd name="connsiteX60" fmla="*/ 88094 w 571128"/>
                <a:gd name="connsiteY60" fmla="*/ 123450 h 761503"/>
                <a:gd name="connsiteX61" fmla="*/ 69057 w 571128"/>
                <a:gd name="connsiteY61" fmla="*/ 118011 h 761503"/>
                <a:gd name="connsiteX62" fmla="*/ 58178 w 571128"/>
                <a:gd name="connsiteY62" fmla="*/ 101693 h 761503"/>
                <a:gd name="connsiteX63" fmla="*/ 60898 w 571128"/>
                <a:gd name="connsiteY63" fmla="*/ 93534 h 761503"/>
                <a:gd name="connsiteX64" fmla="*/ 77216 w 571128"/>
                <a:gd name="connsiteY64" fmla="*/ 85375 h 761503"/>
                <a:gd name="connsiteX65" fmla="*/ 131609 w 571128"/>
                <a:gd name="connsiteY65" fmla="*/ 79936 h 761503"/>
                <a:gd name="connsiteX66" fmla="*/ 161525 w 571128"/>
                <a:gd name="connsiteY66" fmla="*/ 79936 h 761503"/>
                <a:gd name="connsiteX67" fmla="*/ 177843 w 571128"/>
                <a:gd name="connsiteY67" fmla="*/ 66337 h 761503"/>
                <a:gd name="connsiteX68" fmla="*/ 202320 w 571128"/>
                <a:gd name="connsiteY68" fmla="*/ 58178 h 761503"/>
                <a:gd name="connsiteX69" fmla="*/ 234956 w 571128"/>
                <a:gd name="connsiteY69" fmla="*/ 77216 h 761503"/>
                <a:gd name="connsiteX70" fmla="*/ 251274 w 571128"/>
                <a:gd name="connsiteY70" fmla="*/ 107132 h 761503"/>
                <a:gd name="connsiteX71" fmla="*/ 267592 w 571128"/>
                <a:gd name="connsiteY71" fmla="*/ 147927 h 761503"/>
                <a:gd name="connsiteX72" fmla="*/ 281190 w 571128"/>
                <a:gd name="connsiteY72" fmla="*/ 183282 h 761503"/>
                <a:gd name="connsiteX73" fmla="*/ 297508 w 571128"/>
                <a:gd name="connsiteY73" fmla="*/ 224077 h 761503"/>
                <a:gd name="connsiteX74" fmla="*/ 308387 w 571128"/>
                <a:gd name="connsiteY74" fmla="*/ 264872 h 761503"/>
                <a:gd name="connsiteX75" fmla="*/ 319265 w 571128"/>
                <a:gd name="connsiteY75" fmla="*/ 300228 h 761503"/>
                <a:gd name="connsiteX76" fmla="*/ 351901 w 571128"/>
                <a:gd name="connsiteY76" fmla="*/ 379098 h 761503"/>
                <a:gd name="connsiteX77" fmla="*/ 365500 w 571128"/>
                <a:gd name="connsiteY77" fmla="*/ 417173 h 761503"/>
                <a:gd name="connsiteX78" fmla="*/ 379098 w 571128"/>
                <a:gd name="connsiteY78" fmla="*/ 457968 h 761503"/>
                <a:gd name="connsiteX79" fmla="*/ 395416 w 571128"/>
                <a:gd name="connsiteY79" fmla="*/ 496043 h 761503"/>
                <a:gd name="connsiteX80" fmla="*/ 406295 w 571128"/>
                <a:gd name="connsiteY80" fmla="*/ 512361 h 761503"/>
                <a:gd name="connsiteX81" fmla="*/ 411734 w 571128"/>
                <a:gd name="connsiteY81" fmla="*/ 531398 h 761503"/>
                <a:gd name="connsiteX82" fmla="*/ 419893 w 571128"/>
                <a:gd name="connsiteY82" fmla="*/ 558595 h 761503"/>
                <a:gd name="connsiteX83" fmla="*/ 425332 w 571128"/>
                <a:gd name="connsiteY83" fmla="*/ 564034 h 761503"/>
                <a:gd name="connsiteX84" fmla="*/ 430771 w 571128"/>
                <a:gd name="connsiteY84" fmla="*/ 558595 h 761503"/>
                <a:gd name="connsiteX85" fmla="*/ 430771 w 571128"/>
                <a:gd name="connsiteY85" fmla="*/ 550436 h 761503"/>
                <a:gd name="connsiteX86" fmla="*/ 430771 w 571128"/>
                <a:gd name="connsiteY86" fmla="*/ 501482 h 761503"/>
                <a:gd name="connsiteX87" fmla="*/ 430771 w 571128"/>
                <a:gd name="connsiteY87" fmla="*/ 403575 h 761503"/>
                <a:gd name="connsiteX88" fmla="*/ 425332 w 571128"/>
                <a:gd name="connsiteY88" fmla="*/ 313826 h 761503"/>
                <a:gd name="connsiteX89" fmla="*/ 425332 w 571128"/>
                <a:gd name="connsiteY89" fmla="*/ 248554 h 761503"/>
                <a:gd name="connsiteX90" fmla="*/ 425332 w 571128"/>
                <a:gd name="connsiteY90" fmla="*/ 210479 h 761503"/>
                <a:gd name="connsiteX91" fmla="*/ 422613 w 571128"/>
                <a:gd name="connsiteY91" fmla="*/ 153366 h 761503"/>
                <a:gd name="connsiteX92" fmla="*/ 425332 w 571128"/>
                <a:gd name="connsiteY92" fmla="*/ 123450 h 761503"/>
                <a:gd name="connsiteX93" fmla="*/ 398136 w 571128"/>
                <a:gd name="connsiteY93" fmla="*/ 123450 h 761503"/>
                <a:gd name="connsiteX94" fmla="*/ 379098 w 571128"/>
                <a:gd name="connsiteY94" fmla="*/ 123450 h 761503"/>
                <a:gd name="connsiteX95" fmla="*/ 360060 w 571128"/>
                <a:gd name="connsiteY95" fmla="*/ 118011 h 761503"/>
                <a:gd name="connsiteX96" fmla="*/ 349182 w 571128"/>
                <a:gd name="connsiteY96" fmla="*/ 101693 h 761503"/>
                <a:gd name="connsiteX97" fmla="*/ 351901 w 571128"/>
                <a:gd name="connsiteY97" fmla="*/ 93534 h 761503"/>
                <a:gd name="connsiteX98" fmla="*/ 368219 w 571128"/>
                <a:gd name="connsiteY98" fmla="*/ 85375 h 761503"/>
                <a:gd name="connsiteX99" fmla="*/ 422613 w 571128"/>
                <a:gd name="connsiteY99" fmla="*/ 79936 h 761503"/>
                <a:gd name="connsiteX100" fmla="*/ 444370 w 571128"/>
                <a:gd name="connsiteY100" fmla="*/ 79936 h 761503"/>
                <a:gd name="connsiteX101" fmla="*/ 463407 w 571128"/>
                <a:gd name="connsiteY101" fmla="*/ 71776 h 761503"/>
                <a:gd name="connsiteX102" fmla="*/ 477006 w 571128"/>
                <a:gd name="connsiteY102" fmla="*/ 79936 h 761503"/>
                <a:gd name="connsiteX103" fmla="*/ 512361 w 571128"/>
                <a:gd name="connsiteY103" fmla="*/ 79936 h 761503"/>
                <a:gd name="connsiteX104" fmla="*/ 512361 w 571128"/>
                <a:gd name="connsiteY104" fmla="*/ 79936 h 761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</a:cxnLst>
              <a:rect l="l" t="t" r="r" b="b"/>
              <a:pathLst>
                <a:path w="571128" h="761503">
                  <a:moveTo>
                    <a:pt x="512361" y="79936"/>
                  </a:moveTo>
                  <a:cubicBezTo>
                    <a:pt x="520520" y="79936"/>
                    <a:pt x="539558" y="79936"/>
                    <a:pt x="539558" y="96253"/>
                  </a:cubicBezTo>
                  <a:cubicBezTo>
                    <a:pt x="539558" y="104412"/>
                    <a:pt x="539558" y="107132"/>
                    <a:pt x="534118" y="112571"/>
                  </a:cubicBezTo>
                  <a:cubicBezTo>
                    <a:pt x="531399" y="118011"/>
                    <a:pt x="525960" y="120730"/>
                    <a:pt x="523240" y="120730"/>
                  </a:cubicBezTo>
                  <a:cubicBezTo>
                    <a:pt x="515081" y="123450"/>
                    <a:pt x="512361" y="123450"/>
                    <a:pt x="506922" y="123450"/>
                  </a:cubicBezTo>
                  <a:cubicBezTo>
                    <a:pt x="504202" y="123450"/>
                    <a:pt x="490604" y="123450"/>
                    <a:pt x="477006" y="123450"/>
                  </a:cubicBezTo>
                  <a:cubicBezTo>
                    <a:pt x="477006" y="131609"/>
                    <a:pt x="479725" y="137048"/>
                    <a:pt x="479725" y="145207"/>
                  </a:cubicBezTo>
                  <a:cubicBezTo>
                    <a:pt x="479725" y="156086"/>
                    <a:pt x="477006" y="166964"/>
                    <a:pt x="477006" y="180563"/>
                  </a:cubicBezTo>
                  <a:cubicBezTo>
                    <a:pt x="477006" y="196881"/>
                    <a:pt x="479725" y="215918"/>
                    <a:pt x="482445" y="232236"/>
                  </a:cubicBezTo>
                  <a:cubicBezTo>
                    <a:pt x="485165" y="248554"/>
                    <a:pt x="485165" y="267592"/>
                    <a:pt x="485165" y="283910"/>
                  </a:cubicBezTo>
                  <a:cubicBezTo>
                    <a:pt x="485165" y="297508"/>
                    <a:pt x="485165" y="313826"/>
                    <a:pt x="485165" y="327424"/>
                  </a:cubicBezTo>
                  <a:cubicBezTo>
                    <a:pt x="485165" y="343742"/>
                    <a:pt x="487884" y="357340"/>
                    <a:pt x="487884" y="373658"/>
                  </a:cubicBezTo>
                  <a:cubicBezTo>
                    <a:pt x="487884" y="389976"/>
                    <a:pt x="485165" y="403575"/>
                    <a:pt x="485165" y="419892"/>
                  </a:cubicBezTo>
                  <a:cubicBezTo>
                    <a:pt x="485165" y="436210"/>
                    <a:pt x="485165" y="449809"/>
                    <a:pt x="485165" y="463407"/>
                  </a:cubicBezTo>
                  <a:cubicBezTo>
                    <a:pt x="485165" y="479725"/>
                    <a:pt x="485165" y="498762"/>
                    <a:pt x="482445" y="515080"/>
                  </a:cubicBezTo>
                  <a:cubicBezTo>
                    <a:pt x="482445" y="528679"/>
                    <a:pt x="482445" y="542277"/>
                    <a:pt x="482445" y="558595"/>
                  </a:cubicBezTo>
                  <a:cubicBezTo>
                    <a:pt x="482445" y="572193"/>
                    <a:pt x="479725" y="588511"/>
                    <a:pt x="479725" y="602109"/>
                  </a:cubicBezTo>
                  <a:cubicBezTo>
                    <a:pt x="479725" y="615708"/>
                    <a:pt x="485165" y="632026"/>
                    <a:pt x="485165" y="648343"/>
                  </a:cubicBezTo>
                  <a:cubicBezTo>
                    <a:pt x="485165" y="659222"/>
                    <a:pt x="482445" y="670101"/>
                    <a:pt x="474286" y="675540"/>
                  </a:cubicBezTo>
                  <a:cubicBezTo>
                    <a:pt x="460688" y="686419"/>
                    <a:pt x="444370" y="691858"/>
                    <a:pt x="428052" y="691858"/>
                  </a:cubicBezTo>
                  <a:cubicBezTo>
                    <a:pt x="414454" y="691858"/>
                    <a:pt x="400855" y="689138"/>
                    <a:pt x="387257" y="683699"/>
                  </a:cubicBezTo>
                  <a:cubicBezTo>
                    <a:pt x="373659" y="678260"/>
                    <a:pt x="360060" y="672820"/>
                    <a:pt x="351901" y="664661"/>
                  </a:cubicBezTo>
                  <a:cubicBezTo>
                    <a:pt x="330144" y="645624"/>
                    <a:pt x="316546" y="621147"/>
                    <a:pt x="305667" y="596670"/>
                  </a:cubicBezTo>
                  <a:cubicBezTo>
                    <a:pt x="292069" y="569473"/>
                    <a:pt x="281190" y="539557"/>
                    <a:pt x="270312" y="509641"/>
                  </a:cubicBezTo>
                  <a:cubicBezTo>
                    <a:pt x="264872" y="493323"/>
                    <a:pt x="256713" y="477005"/>
                    <a:pt x="251274" y="460687"/>
                  </a:cubicBezTo>
                  <a:cubicBezTo>
                    <a:pt x="240395" y="433491"/>
                    <a:pt x="232236" y="409014"/>
                    <a:pt x="224077" y="381817"/>
                  </a:cubicBezTo>
                  <a:cubicBezTo>
                    <a:pt x="218638" y="365499"/>
                    <a:pt x="213199" y="346462"/>
                    <a:pt x="207759" y="330144"/>
                  </a:cubicBezTo>
                  <a:cubicBezTo>
                    <a:pt x="202320" y="316545"/>
                    <a:pt x="196881" y="300228"/>
                    <a:pt x="191442" y="286629"/>
                  </a:cubicBezTo>
                  <a:cubicBezTo>
                    <a:pt x="188722" y="281190"/>
                    <a:pt x="186002" y="278470"/>
                    <a:pt x="183283" y="278470"/>
                  </a:cubicBezTo>
                  <a:cubicBezTo>
                    <a:pt x="180563" y="278470"/>
                    <a:pt x="180563" y="286629"/>
                    <a:pt x="180563" y="292069"/>
                  </a:cubicBezTo>
                  <a:cubicBezTo>
                    <a:pt x="180563" y="297508"/>
                    <a:pt x="180563" y="302947"/>
                    <a:pt x="180563" y="305667"/>
                  </a:cubicBezTo>
                  <a:cubicBezTo>
                    <a:pt x="180563" y="321985"/>
                    <a:pt x="183283" y="338303"/>
                    <a:pt x="183283" y="354621"/>
                  </a:cubicBezTo>
                  <a:cubicBezTo>
                    <a:pt x="183283" y="387257"/>
                    <a:pt x="186002" y="417173"/>
                    <a:pt x="188722" y="449809"/>
                  </a:cubicBezTo>
                  <a:cubicBezTo>
                    <a:pt x="188722" y="460687"/>
                    <a:pt x="188722" y="468846"/>
                    <a:pt x="188722" y="479725"/>
                  </a:cubicBezTo>
                  <a:cubicBezTo>
                    <a:pt x="188722" y="501482"/>
                    <a:pt x="188722" y="523239"/>
                    <a:pt x="188722" y="542277"/>
                  </a:cubicBezTo>
                  <a:cubicBezTo>
                    <a:pt x="188722" y="566754"/>
                    <a:pt x="186002" y="591231"/>
                    <a:pt x="186002" y="615708"/>
                  </a:cubicBezTo>
                  <a:cubicBezTo>
                    <a:pt x="186002" y="623867"/>
                    <a:pt x="186002" y="632026"/>
                    <a:pt x="186002" y="637465"/>
                  </a:cubicBezTo>
                  <a:cubicBezTo>
                    <a:pt x="186002" y="645624"/>
                    <a:pt x="183283" y="656502"/>
                    <a:pt x="183283" y="664661"/>
                  </a:cubicBezTo>
                  <a:cubicBezTo>
                    <a:pt x="202320" y="664661"/>
                    <a:pt x="218638" y="664661"/>
                    <a:pt x="226797" y="664661"/>
                  </a:cubicBezTo>
                  <a:cubicBezTo>
                    <a:pt x="234956" y="664661"/>
                    <a:pt x="253994" y="664661"/>
                    <a:pt x="253994" y="680979"/>
                  </a:cubicBezTo>
                  <a:cubicBezTo>
                    <a:pt x="253994" y="689138"/>
                    <a:pt x="253994" y="691858"/>
                    <a:pt x="248554" y="697297"/>
                  </a:cubicBezTo>
                  <a:cubicBezTo>
                    <a:pt x="245835" y="702737"/>
                    <a:pt x="240395" y="705456"/>
                    <a:pt x="234956" y="705456"/>
                  </a:cubicBezTo>
                  <a:cubicBezTo>
                    <a:pt x="226797" y="708176"/>
                    <a:pt x="224077" y="708176"/>
                    <a:pt x="218638" y="708176"/>
                  </a:cubicBezTo>
                  <a:cubicBezTo>
                    <a:pt x="215918" y="708176"/>
                    <a:pt x="199600" y="708176"/>
                    <a:pt x="183283" y="708176"/>
                  </a:cubicBezTo>
                  <a:cubicBezTo>
                    <a:pt x="166965" y="708176"/>
                    <a:pt x="153366" y="708176"/>
                    <a:pt x="150647" y="708176"/>
                  </a:cubicBezTo>
                  <a:cubicBezTo>
                    <a:pt x="139768" y="708176"/>
                    <a:pt x="120730" y="708176"/>
                    <a:pt x="107132" y="708176"/>
                  </a:cubicBezTo>
                  <a:cubicBezTo>
                    <a:pt x="101693" y="708176"/>
                    <a:pt x="96253" y="708176"/>
                    <a:pt x="88094" y="708176"/>
                  </a:cubicBezTo>
                  <a:cubicBezTo>
                    <a:pt x="82655" y="708176"/>
                    <a:pt x="74496" y="708176"/>
                    <a:pt x="69057" y="702737"/>
                  </a:cubicBezTo>
                  <a:cubicBezTo>
                    <a:pt x="63618" y="700017"/>
                    <a:pt x="58178" y="691858"/>
                    <a:pt x="58178" y="686419"/>
                  </a:cubicBezTo>
                  <a:cubicBezTo>
                    <a:pt x="58178" y="683699"/>
                    <a:pt x="58178" y="680979"/>
                    <a:pt x="60898" y="678260"/>
                  </a:cubicBezTo>
                  <a:cubicBezTo>
                    <a:pt x="63618" y="675540"/>
                    <a:pt x="71777" y="672820"/>
                    <a:pt x="77216" y="670101"/>
                  </a:cubicBezTo>
                  <a:cubicBezTo>
                    <a:pt x="90814" y="667381"/>
                    <a:pt x="115291" y="664661"/>
                    <a:pt x="120730" y="664661"/>
                  </a:cubicBezTo>
                  <a:cubicBezTo>
                    <a:pt x="123450" y="664661"/>
                    <a:pt x="126170" y="664661"/>
                    <a:pt x="131609" y="664661"/>
                  </a:cubicBezTo>
                  <a:cubicBezTo>
                    <a:pt x="131609" y="623867"/>
                    <a:pt x="134329" y="583072"/>
                    <a:pt x="134329" y="539557"/>
                  </a:cubicBezTo>
                  <a:cubicBezTo>
                    <a:pt x="134329" y="528679"/>
                    <a:pt x="134329" y="515080"/>
                    <a:pt x="134329" y="504202"/>
                  </a:cubicBezTo>
                  <a:cubicBezTo>
                    <a:pt x="131609" y="460687"/>
                    <a:pt x="131609" y="417173"/>
                    <a:pt x="131609" y="376378"/>
                  </a:cubicBezTo>
                  <a:cubicBezTo>
                    <a:pt x="131609" y="351901"/>
                    <a:pt x="131609" y="327424"/>
                    <a:pt x="131609" y="302947"/>
                  </a:cubicBezTo>
                  <a:cubicBezTo>
                    <a:pt x="131609" y="275751"/>
                    <a:pt x="131609" y="248554"/>
                    <a:pt x="134329" y="221357"/>
                  </a:cubicBezTo>
                  <a:cubicBezTo>
                    <a:pt x="134329" y="188722"/>
                    <a:pt x="137048" y="156086"/>
                    <a:pt x="137048" y="123450"/>
                  </a:cubicBezTo>
                  <a:cubicBezTo>
                    <a:pt x="126170" y="123450"/>
                    <a:pt x="115291" y="123450"/>
                    <a:pt x="107132" y="123450"/>
                  </a:cubicBezTo>
                  <a:cubicBezTo>
                    <a:pt x="101693" y="123450"/>
                    <a:pt x="96253" y="123450"/>
                    <a:pt x="88094" y="123450"/>
                  </a:cubicBezTo>
                  <a:cubicBezTo>
                    <a:pt x="82655" y="123450"/>
                    <a:pt x="74496" y="120730"/>
                    <a:pt x="69057" y="118011"/>
                  </a:cubicBezTo>
                  <a:cubicBezTo>
                    <a:pt x="63618" y="115291"/>
                    <a:pt x="58178" y="107132"/>
                    <a:pt x="58178" y="101693"/>
                  </a:cubicBezTo>
                  <a:cubicBezTo>
                    <a:pt x="58178" y="98973"/>
                    <a:pt x="58178" y="96253"/>
                    <a:pt x="60898" y="93534"/>
                  </a:cubicBezTo>
                  <a:cubicBezTo>
                    <a:pt x="63618" y="90814"/>
                    <a:pt x="71777" y="88095"/>
                    <a:pt x="77216" y="85375"/>
                  </a:cubicBezTo>
                  <a:cubicBezTo>
                    <a:pt x="90814" y="82655"/>
                    <a:pt x="126170" y="79936"/>
                    <a:pt x="131609" y="79936"/>
                  </a:cubicBezTo>
                  <a:cubicBezTo>
                    <a:pt x="137048" y="79936"/>
                    <a:pt x="147927" y="79936"/>
                    <a:pt x="161525" y="79936"/>
                  </a:cubicBezTo>
                  <a:cubicBezTo>
                    <a:pt x="166965" y="74496"/>
                    <a:pt x="172404" y="71776"/>
                    <a:pt x="177843" y="66337"/>
                  </a:cubicBezTo>
                  <a:cubicBezTo>
                    <a:pt x="186002" y="60898"/>
                    <a:pt x="194161" y="58178"/>
                    <a:pt x="202320" y="58178"/>
                  </a:cubicBezTo>
                  <a:cubicBezTo>
                    <a:pt x="215918" y="58178"/>
                    <a:pt x="226797" y="63618"/>
                    <a:pt x="234956" y="77216"/>
                  </a:cubicBezTo>
                  <a:cubicBezTo>
                    <a:pt x="240395" y="88095"/>
                    <a:pt x="248554" y="96253"/>
                    <a:pt x="251274" y="107132"/>
                  </a:cubicBezTo>
                  <a:cubicBezTo>
                    <a:pt x="256713" y="120730"/>
                    <a:pt x="259433" y="134329"/>
                    <a:pt x="267592" y="147927"/>
                  </a:cubicBezTo>
                  <a:cubicBezTo>
                    <a:pt x="273031" y="158806"/>
                    <a:pt x="275751" y="172404"/>
                    <a:pt x="281190" y="183282"/>
                  </a:cubicBezTo>
                  <a:cubicBezTo>
                    <a:pt x="286630" y="196881"/>
                    <a:pt x="292069" y="210479"/>
                    <a:pt x="297508" y="224077"/>
                  </a:cubicBezTo>
                  <a:cubicBezTo>
                    <a:pt x="300228" y="237676"/>
                    <a:pt x="305667" y="251274"/>
                    <a:pt x="308387" y="264872"/>
                  </a:cubicBezTo>
                  <a:cubicBezTo>
                    <a:pt x="311107" y="278470"/>
                    <a:pt x="311107" y="289349"/>
                    <a:pt x="319265" y="300228"/>
                  </a:cubicBezTo>
                  <a:cubicBezTo>
                    <a:pt x="332864" y="324704"/>
                    <a:pt x="346462" y="351901"/>
                    <a:pt x="351901" y="379098"/>
                  </a:cubicBezTo>
                  <a:cubicBezTo>
                    <a:pt x="354621" y="392696"/>
                    <a:pt x="360060" y="403575"/>
                    <a:pt x="365500" y="417173"/>
                  </a:cubicBezTo>
                  <a:cubicBezTo>
                    <a:pt x="373659" y="430771"/>
                    <a:pt x="373659" y="444369"/>
                    <a:pt x="379098" y="457968"/>
                  </a:cubicBezTo>
                  <a:cubicBezTo>
                    <a:pt x="381818" y="471566"/>
                    <a:pt x="387257" y="482445"/>
                    <a:pt x="395416" y="496043"/>
                  </a:cubicBezTo>
                  <a:cubicBezTo>
                    <a:pt x="398136" y="501482"/>
                    <a:pt x="403575" y="506921"/>
                    <a:pt x="406295" y="512361"/>
                  </a:cubicBezTo>
                  <a:cubicBezTo>
                    <a:pt x="409014" y="517800"/>
                    <a:pt x="409014" y="525959"/>
                    <a:pt x="411734" y="531398"/>
                  </a:cubicBezTo>
                  <a:cubicBezTo>
                    <a:pt x="414454" y="539557"/>
                    <a:pt x="417173" y="550436"/>
                    <a:pt x="419893" y="558595"/>
                  </a:cubicBezTo>
                  <a:cubicBezTo>
                    <a:pt x="422613" y="561314"/>
                    <a:pt x="422613" y="564034"/>
                    <a:pt x="425332" y="564034"/>
                  </a:cubicBezTo>
                  <a:cubicBezTo>
                    <a:pt x="428052" y="564034"/>
                    <a:pt x="428052" y="561314"/>
                    <a:pt x="430771" y="558595"/>
                  </a:cubicBezTo>
                  <a:cubicBezTo>
                    <a:pt x="430771" y="555875"/>
                    <a:pt x="430771" y="553156"/>
                    <a:pt x="430771" y="550436"/>
                  </a:cubicBezTo>
                  <a:cubicBezTo>
                    <a:pt x="430771" y="534118"/>
                    <a:pt x="430771" y="517800"/>
                    <a:pt x="430771" y="501482"/>
                  </a:cubicBezTo>
                  <a:cubicBezTo>
                    <a:pt x="430771" y="468846"/>
                    <a:pt x="433491" y="436210"/>
                    <a:pt x="430771" y="403575"/>
                  </a:cubicBezTo>
                  <a:cubicBezTo>
                    <a:pt x="430771" y="373658"/>
                    <a:pt x="425332" y="343742"/>
                    <a:pt x="425332" y="313826"/>
                  </a:cubicBezTo>
                  <a:cubicBezTo>
                    <a:pt x="425332" y="292069"/>
                    <a:pt x="425332" y="270311"/>
                    <a:pt x="425332" y="248554"/>
                  </a:cubicBezTo>
                  <a:cubicBezTo>
                    <a:pt x="425332" y="234956"/>
                    <a:pt x="425332" y="224077"/>
                    <a:pt x="425332" y="210479"/>
                  </a:cubicBezTo>
                  <a:cubicBezTo>
                    <a:pt x="425332" y="191441"/>
                    <a:pt x="422613" y="172404"/>
                    <a:pt x="422613" y="153366"/>
                  </a:cubicBezTo>
                  <a:cubicBezTo>
                    <a:pt x="422613" y="142488"/>
                    <a:pt x="422613" y="134329"/>
                    <a:pt x="425332" y="123450"/>
                  </a:cubicBezTo>
                  <a:cubicBezTo>
                    <a:pt x="417173" y="123450"/>
                    <a:pt x="406295" y="123450"/>
                    <a:pt x="398136" y="123450"/>
                  </a:cubicBezTo>
                  <a:cubicBezTo>
                    <a:pt x="392696" y="123450"/>
                    <a:pt x="387257" y="123450"/>
                    <a:pt x="379098" y="123450"/>
                  </a:cubicBezTo>
                  <a:cubicBezTo>
                    <a:pt x="373659" y="123450"/>
                    <a:pt x="365500" y="120730"/>
                    <a:pt x="360060" y="118011"/>
                  </a:cubicBezTo>
                  <a:cubicBezTo>
                    <a:pt x="354621" y="115291"/>
                    <a:pt x="349182" y="107132"/>
                    <a:pt x="349182" y="101693"/>
                  </a:cubicBezTo>
                  <a:cubicBezTo>
                    <a:pt x="349182" y="98973"/>
                    <a:pt x="349182" y="96253"/>
                    <a:pt x="351901" y="93534"/>
                  </a:cubicBezTo>
                  <a:cubicBezTo>
                    <a:pt x="354621" y="90814"/>
                    <a:pt x="362780" y="88095"/>
                    <a:pt x="368219" y="85375"/>
                  </a:cubicBezTo>
                  <a:cubicBezTo>
                    <a:pt x="381818" y="82655"/>
                    <a:pt x="417173" y="79936"/>
                    <a:pt x="422613" y="79936"/>
                  </a:cubicBezTo>
                  <a:cubicBezTo>
                    <a:pt x="428052" y="79936"/>
                    <a:pt x="433491" y="79936"/>
                    <a:pt x="444370" y="79936"/>
                  </a:cubicBezTo>
                  <a:cubicBezTo>
                    <a:pt x="449809" y="74496"/>
                    <a:pt x="455248" y="71776"/>
                    <a:pt x="463407" y="71776"/>
                  </a:cubicBezTo>
                  <a:cubicBezTo>
                    <a:pt x="471566" y="71776"/>
                    <a:pt x="477006" y="74496"/>
                    <a:pt x="477006" y="79936"/>
                  </a:cubicBezTo>
                  <a:cubicBezTo>
                    <a:pt x="490604" y="82655"/>
                    <a:pt x="504202" y="79936"/>
                    <a:pt x="512361" y="79936"/>
                  </a:cubicBezTo>
                  <a:lnTo>
                    <a:pt x="512361" y="79936"/>
                  </a:ln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3" name="Freeform: Shape 42">
              <a:extLst>
                <a:ext uri="{FF2B5EF4-FFF2-40B4-BE49-F238E27FC236}">
                  <a16:creationId xmlns:a16="http://schemas.microsoft.com/office/drawing/2014/main" id="{7B70687E-1688-4C6E-AD4E-6AF6091422E5}"/>
                </a:ext>
              </a:extLst>
            </p:cNvPr>
            <p:cNvSpPr/>
            <p:nvPr/>
          </p:nvSpPr>
          <p:spPr>
            <a:xfrm>
              <a:off x="2987430" y="4242177"/>
              <a:ext cx="494979" cy="674476"/>
            </a:xfrm>
            <a:custGeom>
              <a:avLst/>
              <a:gdLst>
                <a:gd name="connsiteX0" fmla="*/ 228453 w 494979"/>
                <a:gd name="connsiteY0" fmla="*/ 97907 h 674476"/>
                <a:gd name="connsiteX1" fmla="*/ 212135 w 494979"/>
                <a:gd name="connsiteY1" fmla="*/ 119665 h 674476"/>
                <a:gd name="connsiteX2" fmla="*/ 203976 w 494979"/>
                <a:gd name="connsiteY2" fmla="*/ 152300 h 674476"/>
                <a:gd name="connsiteX3" fmla="*/ 201256 w 494979"/>
                <a:gd name="connsiteY3" fmla="*/ 168618 h 674476"/>
                <a:gd name="connsiteX4" fmla="*/ 198537 w 494979"/>
                <a:gd name="connsiteY4" fmla="*/ 184936 h 674476"/>
                <a:gd name="connsiteX5" fmla="*/ 190378 w 494979"/>
                <a:gd name="connsiteY5" fmla="*/ 220292 h 674476"/>
                <a:gd name="connsiteX6" fmla="*/ 171340 w 494979"/>
                <a:gd name="connsiteY6" fmla="*/ 291003 h 674476"/>
                <a:gd name="connsiteX7" fmla="*/ 163180 w 494979"/>
                <a:gd name="connsiteY7" fmla="*/ 323639 h 674476"/>
                <a:gd name="connsiteX8" fmla="*/ 152302 w 494979"/>
                <a:gd name="connsiteY8" fmla="*/ 361714 h 674476"/>
                <a:gd name="connsiteX9" fmla="*/ 146862 w 494979"/>
                <a:gd name="connsiteY9" fmla="*/ 388910 h 674476"/>
                <a:gd name="connsiteX10" fmla="*/ 152302 w 494979"/>
                <a:gd name="connsiteY10" fmla="*/ 391630 h 674476"/>
                <a:gd name="connsiteX11" fmla="*/ 174060 w 494979"/>
                <a:gd name="connsiteY11" fmla="*/ 391630 h 674476"/>
                <a:gd name="connsiteX12" fmla="*/ 195817 w 494979"/>
                <a:gd name="connsiteY12" fmla="*/ 388910 h 674476"/>
                <a:gd name="connsiteX13" fmla="*/ 214855 w 494979"/>
                <a:gd name="connsiteY13" fmla="*/ 388910 h 674476"/>
                <a:gd name="connsiteX14" fmla="*/ 239332 w 494979"/>
                <a:gd name="connsiteY14" fmla="*/ 388910 h 674476"/>
                <a:gd name="connsiteX15" fmla="*/ 252930 w 494979"/>
                <a:gd name="connsiteY15" fmla="*/ 386191 h 674476"/>
                <a:gd name="connsiteX16" fmla="*/ 261089 w 494979"/>
                <a:gd name="connsiteY16" fmla="*/ 386191 h 674476"/>
                <a:gd name="connsiteX17" fmla="*/ 258369 w 494979"/>
                <a:gd name="connsiteY17" fmla="*/ 367153 h 674476"/>
                <a:gd name="connsiteX18" fmla="*/ 252930 w 494979"/>
                <a:gd name="connsiteY18" fmla="*/ 331797 h 674476"/>
                <a:gd name="connsiteX19" fmla="*/ 250210 w 494979"/>
                <a:gd name="connsiteY19" fmla="*/ 244769 h 674476"/>
                <a:gd name="connsiteX20" fmla="*/ 244771 w 494979"/>
                <a:gd name="connsiteY20" fmla="*/ 203974 h 674476"/>
                <a:gd name="connsiteX21" fmla="*/ 239332 w 494979"/>
                <a:gd name="connsiteY21" fmla="*/ 157740 h 674476"/>
                <a:gd name="connsiteX22" fmla="*/ 236612 w 494979"/>
                <a:gd name="connsiteY22" fmla="*/ 119665 h 674476"/>
                <a:gd name="connsiteX23" fmla="*/ 228453 w 494979"/>
                <a:gd name="connsiteY23" fmla="*/ 97907 h 674476"/>
                <a:gd name="connsiteX24" fmla="*/ 274687 w 494979"/>
                <a:gd name="connsiteY24" fmla="*/ 0 h 674476"/>
                <a:gd name="connsiteX25" fmla="*/ 304603 w 494979"/>
                <a:gd name="connsiteY25" fmla="*/ 5439 h 674476"/>
                <a:gd name="connsiteX26" fmla="*/ 320921 w 494979"/>
                <a:gd name="connsiteY26" fmla="*/ 24477 h 674476"/>
                <a:gd name="connsiteX27" fmla="*/ 334519 w 494979"/>
                <a:gd name="connsiteY27" fmla="*/ 43515 h 674476"/>
                <a:gd name="connsiteX28" fmla="*/ 339959 w 494979"/>
                <a:gd name="connsiteY28" fmla="*/ 65272 h 674476"/>
                <a:gd name="connsiteX29" fmla="*/ 348118 w 494979"/>
                <a:gd name="connsiteY29" fmla="*/ 114226 h 674476"/>
                <a:gd name="connsiteX30" fmla="*/ 361716 w 494979"/>
                <a:gd name="connsiteY30" fmla="*/ 163180 h 674476"/>
                <a:gd name="connsiteX31" fmla="*/ 369875 w 494979"/>
                <a:gd name="connsiteY31" fmla="*/ 220293 h 674476"/>
                <a:gd name="connsiteX32" fmla="*/ 378034 w 494979"/>
                <a:gd name="connsiteY32" fmla="*/ 274686 h 674476"/>
                <a:gd name="connsiteX33" fmla="*/ 383473 w 494979"/>
                <a:gd name="connsiteY33" fmla="*/ 301883 h 674476"/>
                <a:gd name="connsiteX34" fmla="*/ 391632 w 494979"/>
                <a:gd name="connsiteY34" fmla="*/ 337238 h 674476"/>
                <a:gd name="connsiteX35" fmla="*/ 397071 w 494979"/>
                <a:gd name="connsiteY35" fmla="*/ 364435 h 674476"/>
                <a:gd name="connsiteX36" fmla="*/ 405230 w 494979"/>
                <a:gd name="connsiteY36" fmla="*/ 383473 h 674476"/>
                <a:gd name="connsiteX37" fmla="*/ 416109 w 494979"/>
                <a:gd name="connsiteY37" fmla="*/ 386192 h 674476"/>
                <a:gd name="connsiteX38" fmla="*/ 426988 w 494979"/>
                <a:gd name="connsiteY38" fmla="*/ 386192 h 674476"/>
                <a:gd name="connsiteX39" fmla="*/ 454184 w 494979"/>
                <a:gd name="connsiteY39" fmla="*/ 397071 h 674476"/>
                <a:gd name="connsiteX40" fmla="*/ 456904 w 494979"/>
                <a:gd name="connsiteY40" fmla="*/ 405230 h 674476"/>
                <a:gd name="connsiteX41" fmla="*/ 451465 w 494979"/>
                <a:gd name="connsiteY41" fmla="*/ 416108 h 674476"/>
                <a:gd name="connsiteX42" fmla="*/ 432427 w 494979"/>
                <a:gd name="connsiteY42" fmla="*/ 429707 h 674476"/>
                <a:gd name="connsiteX43" fmla="*/ 421548 w 494979"/>
                <a:gd name="connsiteY43" fmla="*/ 432426 h 674476"/>
                <a:gd name="connsiteX44" fmla="*/ 413389 w 494979"/>
                <a:gd name="connsiteY44" fmla="*/ 435146 h 674476"/>
                <a:gd name="connsiteX45" fmla="*/ 413389 w 494979"/>
                <a:gd name="connsiteY45" fmla="*/ 440585 h 674476"/>
                <a:gd name="connsiteX46" fmla="*/ 416109 w 494979"/>
                <a:gd name="connsiteY46" fmla="*/ 451464 h 674476"/>
                <a:gd name="connsiteX47" fmla="*/ 418829 w 494979"/>
                <a:gd name="connsiteY47" fmla="*/ 465062 h 674476"/>
                <a:gd name="connsiteX48" fmla="*/ 418829 w 494979"/>
                <a:gd name="connsiteY48" fmla="*/ 475941 h 674476"/>
                <a:gd name="connsiteX49" fmla="*/ 418829 w 494979"/>
                <a:gd name="connsiteY49" fmla="*/ 486820 h 674476"/>
                <a:gd name="connsiteX50" fmla="*/ 426988 w 494979"/>
                <a:gd name="connsiteY50" fmla="*/ 516736 h 674476"/>
                <a:gd name="connsiteX51" fmla="*/ 432427 w 494979"/>
                <a:gd name="connsiteY51" fmla="*/ 543932 h 674476"/>
                <a:gd name="connsiteX52" fmla="*/ 437866 w 494979"/>
                <a:gd name="connsiteY52" fmla="*/ 573848 h 674476"/>
                <a:gd name="connsiteX53" fmla="*/ 443306 w 494979"/>
                <a:gd name="connsiteY53" fmla="*/ 606484 h 674476"/>
                <a:gd name="connsiteX54" fmla="*/ 446025 w 494979"/>
                <a:gd name="connsiteY54" fmla="*/ 617363 h 674476"/>
                <a:gd name="connsiteX55" fmla="*/ 470502 w 494979"/>
                <a:gd name="connsiteY55" fmla="*/ 617363 h 674476"/>
                <a:gd name="connsiteX56" fmla="*/ 494979 w 494979"/>
                <a:gd name="connsiteY56" fmla="*/ 641840 h 674476"/>
                <a:gd name="connsiteX57" fmla="*/ 486820 w 494979"/>
                <a:gd name="connsiteY57" fmla="*/ 655438 h 674476"/>
                <a:gd name="connsiteX58" fmla="*/ 470502 w 494979"/>
                <a:gd name="connsiteY58" fmla="*/ 663597 h 674476"/>
                <a:gd name="connsiteX59" fmla="*/ 446025 w 494979"/>
                <a:gd name="connsiteY59" fmla="*/ 666317 h 674476"/>
                <a:gd name="connsiteX60" fmla="*/ 424268 w 494979"/>
                <a:gd name="connsiteY60" fmla="*/ 666317 h 674476"/>
                <a:gd name="connsiteX61" fmla="*/ 416109 w 494979"/>
                <a:gd name="connsiteY61" fmla="*/ 666317 h 674476"/>
                <a:gd name="connsiteX62" fmla="*/ 402511 w 494979"/>
                <a:gd name="connsiteY62" fmla="*/ 671756 h 674476"/>
                <a:gd name="connsiteX63" fmla="*/ 386193 w 494979"/>
                <a:gd name="connsiteY63" fmla="*/ 674476 h 674476"/>
                <a:gd name="connsiteX64" fmla="*/ 350837 w 494979"/>
                <a:gd name="connsiteY64" fmla="*/ 669036 h 674476"/>
                <a:gd name="connsiteX65" fmla="*/ 329080 w 494979"/>
                <a:gd name="connsiteY65" fmla="*/ 669036 h 674476"/>
                <a:gd name="connsiteX66" fmla="*/ 280126 w 494979"/>
                <a:gd name="connsiteY66" fmla="*/ 669036 h 674476"/>
                <a:gd name="connsiteX67" fmla="*/ 255649 w 494979"/>
                <a:gd name="connsiteY67" fmla="*/ 663597 h 674476"/>
                <a:gd name="connsiteX68" fmla="*/ 239331 w 494979"/>
                <a:gd name="connsiteY68" fmla="*/ 647279 h 674476"/>
                <a:gd name="connsiteX69" fmla="*/ 263808 w 494979"/>
                <a:gd name="connsiteY69" fmla="*/ 630961 h 674476"/>
                <a:gd name="connsiteX70" fmla="*/ 291005 w 494979"/>
                <a:gd name="connsiteY70" fmla="*/ 628241 h 674476"/>
                <a:gd name="connsiteX71" fmla="*/ 288285 w 494979"/>
                <a:gd name="connsiteY71" fmla="*/ 609204 h 674476"/>
                <a:gd name="connsiteX72" fmla="*/ 285565 w 494979"/>
                <a:gd name="connsiteY72" fmla="*/ 582007 h 674476"/>
                <a:gd name="connsiteX73" fmla="*/ 282846 w 494979"/>
                <a:gd name="connsiteY73" fmla="*/ 568409 h 674476"/>
                <a:gd name="connsiteX74" fmla="*/ 285565 w 494979"/>
                <a:gd name="connsiteY74" fmla="*/ 554811 h 674476"/>
                <a:gd name="connsiteX75" fmla="*/ 280126 w 494979"/>
                <a:gd name="connsiteY75" fmla="*/ 538493 h 674476"/>
                <a:gd name="connsiteX76" fmla="*/ 274687 w 494979"/>
                <a:gd name="connsiteY76" fmla="*/ 505857 h 674476"/>
                <a:gd name="connsiteX77" fmla="*/ 271967 w 494979"/>
                <a:gd name="connsiteY77" fmla="*/ 478660 h 674476"/>
                <a:gd name="connsiteX78" fmla="*/ 269247 w 494979"/>
                <a:gd name="connsiteY78" fmla="*/ 446025 h 674476"/>
                <a:gd name="connsiteX79" fmla="*/ 263808 w 494979"/>
                <a:gd name="connsiteY79" fmla="*/ 437866 h 674476"/>
                <a:gd name="connsiteX80" fmla="*/ 252929 w 494979"/>
                <a:gd name="connsiteY80" fmla="*/ 437866 h 674476"/>
                <a:gd name="connsiteX81" fmla="*/ 223013 w 494979"/>
                <a:gd name="connsiteY81" fmla="*/ 440585 h 674476"/>
                <a:gd name="connsiteX82" fmla="*/ 193097 w 494979"/>
                <a:gd name="connsiteY82" fmla="*/ 443305 h 674476"/>
                <a:gd name="connsiteX83" fmla="*/ 168620 w 494979"/>
                <a:gd name="connsiteY83" fmla="*/ 443305 h 674476"/>
                <a:gd name="connsiteX84" fmla="*/ 146862 w 494979"/>
                <a:gd name="connsiteY84" fmla="*/ 440585 h 674476"/>
                <a:gd name="connsiteX85" fmla="*/ 138703 w 494979"/>
                <a:gd name="connsiteY85" fmla="*/ 454184 h 674476"/>
                <a:gd name="connsiteX86" fmla="*/ 133263 w 494979"/>
                <a:gd name="connsiteY86" fmla="*/ 486820 h 674476"/>
                <a:gd name="connsiteX87" fmla="*/ 122385 w 494979"/>
                <a:gd name="connsiteY87" fmla="*/ 541213 h 674476"/>
                <a:gd name="connsiteX88" fmla="*/ 106067 w 494979"/>
                <a:gd name="connsiteY88" fmla="*/ 614643 h 674476"/>
                <a:gd name="connsiteX89" fmla="*/ 135983 w 494979"/>
                <a:gd name="connsiteY89" fmla="*/ 614643 h 674476"/>
                <a:gd name="connsiteX90" fmla="*/ 171340 w 494979"/>
                <a:gd name="connsiteY90" fmla="*/ 630961 h 674476"/>
                <a:gd name="connsiteX91" fmla="*/ 165900 w 494979"/>
                <a:gd name="connsiteY91" fmla="*/ 647279 h 674476"/>
                <a:gd name="connsiteX92" fmla="*/ 149581 w 494979"/>
                <a:gd name="connsiteY92" fmla="*/ 655438 h 674476"/>
                <a:gd name="connsiteX93" fmla="*/ 127824 w 494979"/>
                <a:gd name="connsiteY93" fmla="*/ 658158 h 674476"/>
                <a:gd name="connsiteX94" fmla="*/ 106067 w 494979"/>
                <a:gd name="connsiteY94" fmla="*/ 658158 h 674476"/>
                <a:gd name="connsiteX95" fmla="*/ 62552 w 494979"/>
                <a:gd name="connsiteY95" fmla="*/ 658158 h 674476"/>
                <a:gd name="connsiteX96" fmla="*/ 40795 w 494979"/>
                <a:gd name="connsiteY96" fmla="*/ 658158 h 674476"/>
                <a:gd name="connsiteX97" fmla="*/ 16318 w 494979"/>
                <a:gd name="connsiteY97" fmla="*/ 652718 h 674476"/>
                <a:gd name="connsiteX98" fmla="*/ 0 w 494979"/>
                <a:gd name="connsiteY98" fmla="*/ 636401 h 674476"/>
                <a:gd name="connsiteX99" fmla="*/ 2720 w 494979"/>
                <a:gd name="connsiteY99" fmla="*/ 628241 h 674476"/>
                <a:gd name="connsiteX100" fmla="*/ 24477 w 494979"/>
                <a:gd name="connsiteY100" fmla="*/ 620082 h 674476"/>
                <a:gd name="connsiteX101" fmla="*/ 62552 w 494979"/>
                <a:gd name="connsiteY101" fmla="*/ 617363 h 674476"/>
                <a:gd name="connsiteX102" fmla="*/ 62552 w 494979"/>
                <a:gd name="connsiteY102" fmla="*/ 614643 h 674476"/>
                <a:gd name="connsiteX103" fmla="*/ 65272 w 494979"/>
                <a:gd name="connsiteY103" fmla="*/ 587447 h 674476"/>
                <a:gd name="connsiteX104" fmla="*/ 76151 w 494979"/>
                <a:gd name="connsiteY104" fmla="*/ 522175 h 674476"/>
                <a:gd name="connsiteX105" fmla="*/ 87029 w 494979"/>
                <a:gd name="connsiteY105" fmla="*/ 470501 h 674476"/>
                <a:gd name="connsiteX106" fmla="*/ 92469 w 494979"/>
                <a:gd name="connsiteY106" fmla="*/ 446025 h 674476"/>
                <a:gd name="connsiteX107" fmla="*/ 65272 w 494979"/>
                <a:gd name="connsiteY107" fmla="*/ 432426 h 674476"/>
                <a:gd name="connsiteX108" fmla="*/ 54393 w 494979"/>
                <a:gd name="connsiteY108" fmla="*/ 421548 h 674476"/>
                <a:gd name="connsiteX109" fmla="*/ 73431 w 494979"/>
                <a:gd name="connsiteY109" fmla="*/ 407949 h 674476"/>
                <a:gd name="connsiteX110" fmla="*/ 100628 w 494979"/>
                <a:gd name="connsiteY110" fmla="*/ 399790 h 674476"/>
                <a:gd name="connsiteX111" fmla="*/ 108787 w 494979"/>
                <a:gd name="connsiteY111" fmla="*/ 369874 h 674476"/>
                <a:gd name="connsiteX112" fmla="*/ 125105 w 494979"/>
                <a:gd name="connsiteY112" fmla="*/ 307322 h 674476"/>
                <a:gd name="connsiteX113" fmla="*/ 141423 w 494979"/>
                <a:gd name="connsiteY113" fmla="*/ 242051 h 674476"/>
                <a:gd name="connsiteX114" fmla="*/ 155021 w 494979"/>
                <a:gd name="connsiteY114" fmla="*/ 179498 h 674476"/>
                <a:gd name="connsiteX115" fmla="*/ 168620 w 494979"/>
                <a:gd name="connsiteY115" fmla="*/ 119665 h 674476"/>
                <a:gd name="connsiteX116" fmla="*/ 193097 w 494979"/>
                <a:gd name="connsiteY116" fmla="*/ 57113 h 674476"/>
                <a:gd name="connsiteX117" fmla="*/ 201256 w 494979"/>
                <a:gd name="connsiteY117" fmla="*/ 38075 h 674476"/>
                <a:gd name="connsiteX118" fmla="*/ 217574 w 494979"/>
                <a:gd name="connsiteY118" fmla="*/ 13598 h 674476"/>
                <a:gd name="connsiteX119" fmla="*/ 274687 w 494979"/>
                <a:gd name="connsiteY119" fmla="*/ 0 h 6744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</a:cxnLst>
              <a:rect l="l" t="t" r="r" b="b"/>
              <a:pathLst>
                <a:path w="494979" h="674476">
                  <a:moveTo>
                    <a:pt x="228453" y="97907"/>
                  </a:moveTo>
                  <a:cubicBezTo>
                    <a:pt x="220294" y="97907"/>
                    <a:pt x="212135" y="114225"/>
                    <a:pt x="212135" y="119665"/>
                  </a:cubicBezTo>
                  <a:cubicBezTo>
                    <a:pt x="209415" y="130543"/>
                    <a:pt x="206696" y="144141"/>
                    <a:pt x="203976" y="152300"/>
                  </a:cubicBezTo>
                  <a:cubicBezTo>
                    <a:pt x="201256" y="157740"/>
                    <a:pt x="201256" y="163179"/>
                    <a:pt x="201256" y="168618"/>
                  </a:cubicBezTo>
                  <a:cubicBezTo>
                    <a:pt x="201256" y="174058"/>
                    <a:pt x="198537" y="179497"/>
                    <a:pt x="198537" y="184936"/>
                  </a:cubicBezTo>
                  <a:cubicBezTo>
                    <a:pt x="195817" y="195815"/>
                    <a:pt x="193097" y="209413"/>
                    <a:pt x="190378" y="220292"/>
                  </a:cubicBezTo>
                  <a:cubicBezTo>
                    <a:pt x="187658" y="244769"/>
                    <a:pt x="179499" y="269246"/>
                    <a:pt x="171340" y="291003"/>
                  </a:cubicBezTo>
                  <a:cubicBezTo>
                    <a:pt x="168620" y="301881"/>
                    <a:pt x="165900" y="312760"/>
                    <a:pt x="163180" y="323639"/>
                  </a:cubicBezTo>
                  <a:cubicBezTo>
                    <a:pt x="160461" y="337237"/>
                    <a:pt x="157741" y="348115"/>
                    <a:pt x="152302" y="361714"/>
                  </a:cubicBezTo>
                  <a:cubicBezTo>
                    <a:pt x="149582" y="367153"/>
                    <a:pt x="146862" y="383471"/>
                    <a:pt x="146862" y="388910"/>
                  </a:cubicBezTo>
                  <a:cubicBezTo>
                    <a:pt x="146862" y="391630"/>
                    <a:pt x="149582" y="391630"/>
                    <a:pt x="152302" y="391630"/>
                  </a:cubicBezTo>
                  <a:cubicBezTo>
                    <a:pt x="157741" y="391630"/>
                    <a:pt x="171340" y="391630"/>
                    <a:pt x="174060" y="391630"/>
                  </a:cubicBezTo>
                  <a:cubicBezTo>
                    <a:pt x="182219" y="391630"/>
                    <a:pt x="190378" y="391630"/>
                    <a:pt x="195817" y="388910"/>
                  </a:cubicBezTo>
                  <a:cubicBezTo>
                    <a:pt x="201256" y="388910"/>
                    <a:pt x="206696" y="388910"/>
                    <a:pt x="214855" y="388910"/>
                  </a:cubicBezTo>
                  <a:cubicBezTo>
                    <a:pt x="220294" y="388910"/>
                    <a:pt x="228453" y="388910"/>
                    <a:pt x="239332" y="388910"/>
                  </a:cubicBezTo>
                  <a:cubicBezTo>
                    <a:pt x="244771" y="388910"/>
                    <a:pt x="250210" y="388910"/>
                    <a:pt x="252930" y="386191"/>
                  </a:cubicBezTo>
                  <a:cubicBezTo>
                    <a:pt x="258369" y="391630"/>
                    <a:pt x="261089" y="388910"/>
                    <a:pt x="261089" y="386191"/>
                  </a:cubicBezTo>
                  <a:cubicBezTo>
                    <a:pt x="261089" y="380751"/>
                    <a:pt x="258369" y="372592"/>
                    <a:pt x="258369" y="367153"/>
                  </a:cubicBezTo>
                  <a:cubicBezTo>
                    <a:pt x="255650" y="353555"/>
                    <a:pt x="252930" y="342676"/>
                    <a:pt x="252930" y="331797"/>
                  </a:cubicBezTo>
                  <a:cubicBezTo>
                    <a:pt x="252930" y="301881"/>
                    <a:pt x="252930" y="274685"/>
                    <a:pt x="250210" y="244769"/>
                  </a:cubicBezTo>
                  <a:cubicBezTo>
                    <a:pt x="250210" y="231170"/>
                    <a:pt x="247491" y="217572"/>
                    <a:pt x="244771" y="203974"/>
                  </a:cubicBezTo>
                  <a:cubicBezTo>
                    <a:pt x="242051" y="187656"/>
                    <a:pt x="239332" y="174058"/>
                    <a:pt x="239332" y="157740"/>
                  </a:cubicBezTo>
                  <a:cubicBezTo>
                    <a:pt x="239332" y="152300"/>
                    <a:pt x="239332" y="133263"/>
                    <a:pt x="236612" y="119665"/>
                  </a:cubicBezTo>
                  <a:cubicBezTo>
                    <a:pt x="236612" y="106066"/>
                    <a:pt x="233892" y="97907"/>
                    <a:pt x="228453" y="97907"/>
                  </a:cubicBezTo>
                  <a:close/>
                  <a:moveTo>
                    <a:pt x="274687" y="0"/>
                  </a:moveTo>
                  <a:cubicBezTo>
                    <a:pt x="288285" y="0"/>
                    <a:pt x="293724" y="2720"/>
                    <a:pt x="304603" y="5439"/>
                  </a:cubicBezTo>
                  <a:cubicBezTo>
                    <a:pt x="315482" y="10879"/>
                    <a:pt x="315482" y="16318"/>
                    <a:pt x="320921" y="24477"/>
                  </a:cubicBezTo>
                  <a:cubicBezTo>
                    <a:pt x="326360" y="29916"/>
                    <a:pt x="331800" y="35356"/>
                    <a:pt x="334519" y="43515"/>
                  </a:cubicBezTo>
                  <a:cubicBezTo>
                    <a:pt x="337239" y="51674"/>
                    <a:pt x="337239" y="57113"/>
                    <a:pt x="339959" y="65272"/>
                  </a:cubicBezTo>
                  <a:cubicBezTo>
                    <a:pt x="345398" y="78870"/>
                    <a:pt x="342678" y="97908"/>
                    <a:pt x="348118" y="114226"/>
                  </a:cubicBezTo>
                  <a:cubicBezTo>
                    <a:pt x="350837" y="130544"/>
                    <a:pt x="358996" y="146863"/>
                    <a:pt x="361716" y="163180"/>
                  </a:cubicBezTo>
                  <a:cubicBezTo>
                    <a:pt x="364435" y="182218"/>
                    <a:pt x="364435" y="201256"/>
                    <a:pt x="369875" y="220293"/>
                  </a:cubicBezTo>
                  <a:cubicBezTo>
                    <a:pt x="375314" y="239331"/>
                    <a:pt x="378034" y="255649"/>
                    <a:pt x="378034" y="274686"/>
                  </a:cubicBezTo>
                  <a:cubicBezTo>
                    <a:pt x="378034" y="282845"/>
                    <a:pt x="380753" y="293724"/>
                    <a:pt x="383473" y="301883"/>
                  </a:cubicBezTo>
                  <a:cubicBezTo>
                    <a:pt x="386193" y="312762"/>
                    <a:pt x="388912" y="326360"/>
                    <a:pt x="391632" y="337238"/>
                  </a:cubicBezTo>
                  <a:cubicBezTo>
                    <a:pt x="391632" y="342678"/>
                    <a:pt x="394352" y="353556"/>
                    <a:pt x="397071" y="364435"/>
                  </a:cubicBezTo>
                  <a:cubicBezTo>
                    <a:pt x="399791" y="372594"/>
                    <a:pt x="402511" y="380753"/>
                    <a:pt x="405230" y="383473"/>
                  </a:cubicBezTo>
                  <a:cubicBezTo>
                    <a:pt x="407950" y="386192"/>
                    <a:pt x="413389" y="386192"/>
                    <a:pt x="416109" y="386192"/>
                  </a:cubicBezTo>
                  <a:cubicBezTo>
                    <a:pt x="418829" y="386192"/>
                    <a:pt x="424268" y="386192"/>
                    <a:pt x="426988" y="386192"/>
                  </a:cubicBezTo>
                  <a:cubicBezTo>
                    <a:pt x="437866" y="386192"/>
                    <a:pt x="448745" y="388912"/>
                    <a:pt x="454184" y="397071"/>
                  </a:cubicBezTo>
                  <a:cubicBezTo>
                    <a:pt x="456904" y="399790"/>
                    <a:pt x="456904" y="402510"/>
                    <a:pt x="456904" y="405230"/>
                  </a:cubicBezTo>
                  <a:cubicBezTo>
                    <a:pt x="456904" y="407949"/>
                    <a:pt x="454184" y="410669"/>
                    <a:pt x="451465" y="416108"/>
                  </a:cubicBezTo>
                  <a:cubicBezTo>
                    <a:pt x="446025" y="421548"/>
                    <a:pt x="440586" y="426987"/>
                    <a:pt x="432427" y="429707"/>
                  </a:cubicBezTo>
                  <a:cubicBezTo>
                    <a:pt x="429707" y="429707"/>
                    <a:pt x="426988" y="432426"/>
                    <a:pt x="421548" y="432426"/>
                  </a:cubicBezTo>
                  <a:cubicBezTo>
                    <a:pt x="418829" y="432426"/>
                    <a:pt x="416109" y="432426"/>
                    <a:pt x="413389" y="435146"/>
                  </a:cubicBezTo>
                  <a:cubicBezTo>
                    <a:pt x="413389" y="435146"/>
                    <a:pt x="413389" y="437866"/>
                    <a:pt x="413389" y="440585"/>
                  </a:cubicBezTo>
                  <a:cubicBezTo>
                    <a:pt x="413389" y="443305"/>
                    <a:pt x="413389" y="448744"/>
                    <a:pt x="416109" y="451464"/>
                  </a:cubicBezTo>
                  <a:cubicBezTo>
                    <a:pt x="416109" y="456903"/>
                    <a:pt x="418829" y="462343"/>
                    <a:pt x="418829" y="465062"/>
                  </a:cubicBezTo>
                  <a:lnTo>
                    <a:pt x="418829" y="475941"/>
                  </a:lnTo>
                  <a:cubicBezTo>
                    <a:pt x="418829" y="481380"/>
                    <a:pt x="418829" y="484100"/>
                    <a:pt x="418829" y="486820"/>
                  </a:cubicBezTo>
                  <a:cubicBezTo>
                    <a:pt x="421548" y="497698"/>
                    <a:pt x="424268" y="505857"/>
                    <a:pt x="426988" y="516736"/>
                  </a:cubicBezTo>
                  <a:cubicBezTo>
                    <a:pt x="426988" y="524895"/>
                    <a:pt x="429707" y="535773"/>
                    <a:pt x="432427" y="543932"/>
                  </a:cubicBezTo>
                  <a:cubicBezTo>
                    <a:pt x="435147" y="554811"/>
                    <a:pt x="437866" y="562970"/>
                    <a:pt x="437866" y="573848"/>
                  </a:cubicBezTo>
                  <a:cubicBezTo>
                    <a:pt x="437866" y="587447"/>
                    <a:pt x="440586" y="595606"/>
                    <a:pt x="443306" y="606484"/>
                  </a:cubicBezTo>
                  <a:cubicBezTo>
                    <a:pt x="443306" y="609204"/>
                    <a:pt x="446025" y="614643"/>
                    <a:pt x="446025" y="617363"/>
                  </a:cubicBezTo>
                  <a:cubicBezTo>
                    <a:pt x="454184" y="617363"/>
                    <a:pt x="462343" y="617363"/>
                    <a:pt x="470502" y="617363"/>
                  </a:cubicBezTo>
                  <a:cubicBezTo>
                    <a:pt x="478661" y="625522"/>
                    <a:pt x="492259" y="630961"/>
                    <a:pt x="494979" y="641840"/>
                  </a:cubicBezTo>
                  <a:cubicBezTo>
                    <a:pt x="494979" y="647279"/>
                    <a:pt x="489540" y="649999"/>
                    <a:pt x="486820" y="655438"/>
                  </a:cubicBezTo>
                  <a:cubicBezTo>
                    <a:pt x="484100" y="660877"/>
                    <a:pt x="475942" y="663597"/>
                    <a:pt x="470502" y="663597"/>
                  </a:cubicBezTo>
                  <a:cubicBezTo>
                    <a:pt x="459623" y="666317"/>
                    <a:pt x="454184" y="666317"/>
                    <a:pt x="446025" y="666317"/>
                  </a:cubicBezTo>
                  <a:cubicBezTo>
                    <a:pt x="440586" y="666317"/>
                    <a:pt x="432427" y="666317"/>
                    <a:pt x="424268" y="666317"/>
                  </a:cubicBezTo>
                  <a:cubicBezTo>
                    <a:pt x="421548" y="666317"/>
                    <a:pt x="418829" y="666317"/>
                    <a:pt x="416109" y="666317"/>
                  </a:cubicBezTo>
                  <a:cubicBezTo>
                    <a:pt x="410670" y="669036"/>
                    <a:pt x="407950" y="669036"/>
                    <a:pt x="402511" y="671756"/>
                  </a:cubicBezTo>
                  <a:cubicBezTo>
                    <a:pt x="397071" y="671756"/>
                    <a:pt x="391632" y="674476"/>
                    <a:pt x="386193" y="674476"/>
                  </a:cubicBezTo>
                  <a:cubicBezTo>
                    <a:pt x="375314" y="674476"/>
                    <a:pt x="361716" y="671756"/>
                    <a:pt x="350837" y="669036"/>
                  </a:cubicBezTo>
                  <a:cubicBezTo>
                    <a:pt x="342678" y="669036"/>
                    <a:pt x="334519" y="669036"/>
                    <a:pt x="329080" y="669036"/>
                  </a:cubicBezTo>
                  <a:cubicBezTo>
                    <a:pt x="307323" y="669036"/>
                    <a:pt x="288285" y="669036"/>
                    <a:pt x="280126" y="669036"/>
                  </a:cubicBezTo>
                  <a:cubicBezTo>
                    <a:pt x="271967" y="669036"/>
                    <a:pt x="261088" y="669036"/>
                    <a:pt x="255649" y="663597"/>
                  </a:cubicBezTo>
                  <a:cubicBezTo>
                    <a:pt x="250210" y="660877"/>
                    <a:pt x="239331" y="655438"/>
                    <a:pt x="239331" y="647279"/>
                  </a:cubicBezTo>
                  <a:cubicBezTo>
                    <a:pt x="239331" y="636401"/>
                    <a:pt x="255649" y="633681"/>
                    <a:pt x="263808" y="630961"/>
                  </a:cubicBezTo>
                  <a:cubicBezTo>
                    <a:pt x="269247" y="630961"/>
                    <a:pt x="277406" y="630961"/>
                    <a:pt x="291005" y="628241"/>
                  </a:cubicBezTo>
                  <a:cubicBezTo>
                    <a:pt x="291005" y="620082"/>
                    <a:pt x="291005" y="614643"/>
                    <a:pt x="288285" y="609204"/>
                  </a:cubicBezTo>
                  <a:cubicBezTo>
                    <a:pt x="288285" y="601045"/>
                    <a:pt x="285565" y="590166"/>
                    <a:pt x="285565" y="582007"/>
                  </a:cubicBezTo>
                  <a:cubicBezTo>
                    <a:pt x="285565" y="576568"/>
                    <a:pt x="282846" y="573848"/>
                    <a:pt x="282846" y="568409"/>
                  </a:cubicBezTo>
                  <a:cubicBezTo>
                    <a:pt x="282846" y="562970"/>
                    <a:pt x="285565" y="557531"/>
                    <a:pt x="285565" y="554811"/>
                  </a:cubicBezTo>
                  <a:cubicBezTo>
                    <a:pt x="285565" y="549371"/>
                    <a:pt x="282846" y="546652"/>
                    <a:pt x="280126" y="538493"/>
                  </a:cubicBezTo>
                  <a:cubicBezTo>
                    <a:pt x="280126" y="527614"/>
                    <a:pt x="274687" y="516736"/>
                    <a:pt x="274687" y="505857"/>
                  </a:cubicBezTo>
                  <a:cubicBezTo>
                    <a:pt x="274687" y="494978"/>
                    <a:pt x="274687" y="486820"/>
                    <a:pt x="271967" y="478660"/>
                  </a:cubicBezTo>
                  <a:cubicBezTo>
                    <a:pt x="269247" y="467782"/>
                    <a:pt x="269247" y="456903"/>
                    <a:pt x="269247" y="446025"/>
                  </a:cubicBezTo>
                  <a:cubicBezTo>
                    <a:pt x="269247" y="440585"/>
                    <a:pt x="266528" y="437866"/>
                    <a:pt x="263808" y="437866"/>
                  </a:cubicBezTo>
                  <a:cubicBezTo>
                    <a:pt x="261088" y="437866"/>
                    <a:pt x="258369" y="437866"/>
                    <a:pt x="252929" y="437866"/>
                  </a:cubicBezTo>
                  <a:cubicBezTo>
                    <a:pt x="242051" y="437866"/>
                    <a:pt x="231172" y="437866"/>
                    <a:pt x="223013" y="440585"/>
                  </a:cubicBezTo>
                  <a:cubicBezTo>
                    <a:pt x="212135" y="440585"/>
                    <a:pt x="203976" y="443305"/>
                    <a:pt x="193097" y="443305"/>
                  </a:cubicBezTo>
                  <a:cubicBezTo>
                    <a:pt x="184938" y="443305"/>
                    <a:pt x="176779" y="443305"/>
                    <a:pt x="168620" y="443305"/>
                  </a:cubicBezTo>
                  <a:cubicBezTo>
                    <a:pt x="165900" y="443305"/>
                    <a:pt x="155021" y="440585"/>
                    <a:pt x="146862" y="440585"/>
                  </a:cubicBezTo>
                  <a:cubicBezTo>
                    <a:pt x="138703" y="440585"/>
                    <a:pt x="138703" y="448744"/>
                    <a:pt x="138703" y="454184"/>
                  </a:cubicBezTo>
                  <a:cubicBezTo>
                    <a:pt x="138703" y="465062"/>
                    <a:pt x="135983" y="475941"/>
                    <a:pt x="133263" y="486820"/>
                  </a:cubicBezTo>
                  <a:cubicBezTo>
                    <a:pt x="130544" y="505857"/>
                    <a:pt x="125105" y="522175"/>
                    <a:pt x="122385" y="541213"/>
                  </a:cubicBezTo>
                  <a:cubicBezTo>
                    <a:pt x="119665" y="560250"/>
                    <a:pt x="111506" y="595606"/>
                    <a:pt x="106067" y="614643"/>
                  </a:cubicBezTo>
                  <a:cubicBezTo>
                    <a:pt x="114226" y="614643"/>
                    <a:pt x="125105" y="614643"/>
                    <a:pt x="135983" y="614643"/>
                  </a:cubicBezTo>
                  <a:cubicBezTo>
                    <a:pt x="149581" y="614643"/>
                    <a:pt x="171340" y="614643"/>
                    <a:pt x="171340" y="630961"/>
                  </a:cubicBezTo>
                  <a:cubicBezTo>
                    <a:pt x="171340" y="639120"/>
                    <a:pt x="168620" y="639120"/>
                    <a:pt x="165900" y="647279"/>
                  </a:cubicBezTo>
                  <a:cubicBezTo>
                    <a:pt x="163181" y="652718"/>
                    <a:pt x="155021" y="655438"/>
                    <a:pt x="149581" y="655438"/>
                  </a:cubicBezTo>
                  <a:cubicBezTo>
                    <a:pt x="141423" y="658158"/>
                    <a:pt x="135983" y="658158"/>
                    <a:pt x="127824" y="658158"/>
                  </a:cubicBezTo>
                  <a:cubicBezTo>
                    <a:pt x="122385" y="658158"/>
                    <a:pt x="116946" y="658158"/>
                    <a:pt x="106067" y="658158"/>
                  </a:cubicBezTo>
                  <a:cubicBezTo>
                    <a:pt x="92469" y="658158"/>
                    <a:pt x="78870" y="658158"/>
                    <a:pt x="62552" y="658158"/>
                  </a:cubicBezTo>
                  <a:cubicBezTo>
                    <a:pt x="54393" y="658158"/>
                    <a:pt x="46234" y="658158"/>
                    <a:pt x="40795" y="658158"/>
                  </a:cubicBezTo>
                  <a:cubicBezTo>
                    <a:pt x="32636" y="658158"/>
                    <a:pt x="21758" y="658158"/>
                    <a:pt x="16318" y="652718"/>
                  </a:cubicBezTo>
                  <a:cubicBezTo>
                    <a:pt x="8159" y="649999"/>
                    <a:pt x="0" y="641840"/>
                    <a:pt x="0" y="636401"/>
                  </a:cubicBezTo>
                  <a:cubicBezTo>
                    <a:pt x="0" y="633681"/>
                    <a:pt x="0" y="630961"/>
                    <a:pt x="2720" y="628241"/>
                  </a:cubicBezTo>
                  <a:cubicBezTo>
                    <a:pt x="8159" y="625522"/>
                    <a:pt x="16318" y="622802"/>
                    <a:pt x="24477" y="620082"/>
                  </a:cubicBezTo>
                  <a:cubicBezTo>
                    <a:pt x="38075" y="617363"/>
                    <a:pt x="48954" y="617363"/>
                    <a:pt x="62552" y="617363"/>
                  </a:cubicBezTo>
                  <a:cubicBezTo>
                    <a:pt x="62552" y="617363"/>
                    <a:pt x="62552" y="614643"/>
                    <a:pt x="62552" y="614643"/>
                  </a:cubicBezTo>
                  <a:cubicBezTo>
                    <a:pt x="62552" y="603765"/>
                    <a:pt x="65272" y="590166"/>
                    <a:pt x="65272" y="587447"/>
                  </a:cubicBezTo>
                  <a:cubicBezTo>
                    <a:pt x="67992" y="565689"/>
                    <a:pt x="73431" y="543932"/>
                    <a:pt x="76151" y="522175"/>
                  </a:cubicBezTo>
                  <a:cubicBezTo>
                    <a:pt x="78870" y="505857"/>
                    <a:pt x="81590" y="486820"/>
                    <a:pt x="87029" y="470501"/>
                  </a:cubicBezTo>
                  <a:cubicBezTo>
                    <a:pt x="87029" y="465062"/>
                    <a:pt x="92469" y="451464"/>
                    <a:pt x="92469" y="446025"/>
                  </a:cubicBezTo>
                  <a:cubicBezTo>
                    <a:pt x="92469" y="437866"/>
                    <a:pt x="73431" y="437866"/>
                    <a:pt x="65272" y="432426"/>
                  </a:cubicBezTo>
                  <a:cubicBezTo>
                    <a:pt x="59833" y="429707"/>
                    <a:pt x="54393" y="426987"/>
                    <a:pt x="54393" y="421548"/>
                  </a:cubicBezTo>
                  <a:cubicBezTo>
                    <a:pt x="54393" y="413389"/>
                    <a:pt x="62552" y="410669"/>
                    <a:pt x="73431" y="407949"/>
                  </a:cubicBezTo>
                  <a:cubicBezTo>
                    <a:pt x="78870" y="407949"/>
                    <a:pt x="92469" y="405230"/>
                    <a:pt x="100628" y="399790"/>
                  </a:cubicBezTo>
                  <a:cubicBezTo>
                    <a:pt x="106067" y="394351"/>
                    <a:pt x="106067" y="378033"/>
                    <a:pt x="108787" y="369874"/>
                  </a:cubicBezTo>
                  <a:cubicBezTo>
                    <a:pt x="114226" y="348117"/>
                    <a:pt x="119665" y="326360"/>
                    <a:pt x="125105" y="307322"/>
                  </a:cubicBezTo>
                  <a:cubicBezTo>
                    <a:pt x="130544" y="285565"/>
                    <a:pt x="135983" y="263808"/>
                    <a:pt x="141423" y="242051"/>
                  </a:cubicBezTo>
                  <a:cubicBezTo>
                    <a:pt x="146862" y="220293"/>
                    <a:pt x="152301" y="198536"/>
                    <a:pt x="155021" y="179498"/>
                  </a:cubicBezTo>
                  <a:cubicBezTo>
                    <a:pt x="157740" y="160461"/>
                    <a:pt x="163181" y="138703"/>
                    <a:pt x="168620" y="119665"/>
                  </a:cubicBezTo>
                  <a:cubicBezTo>
                    <a:pt x="176779" y="100627"/>
                    <a:pt x="182218" y="76150"/>
                    <a:pt x="193097" y="57113"/>
                  </a:cubicBezTo>
                  <a:lnTo>
                    <a:pt x="201256" y="38075"/>
                  </a:lnTo>
                  <a:cubicBezTo>
                    <a:pt x="206695" y="29916"/>
                    <a:pt x="209415" y="19038"/>
                    <a:pt x="217574" y="13598"/>
                  </a:cubicBezTo>
                  <a:cubicBezTo>
                    <a:pt x="231172" y="2720"/>
                    <a:pt x="255649" y="0"/>
                    <a:pt x="274687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4" name="Freeform: Shape 43">
              <a:extLst>
                <a:ext uri="{FF2B5EF4-FFF2-40B4-BE49-F238E27FC236}">
                  <a16:creationId xmlns:a16="http://schemas.microsoft.com/office/drawing/2014/main" id="{FC91D8D8-0C05-411F-B7B8-8CA246B7B429}"/>
                </a:ext>
              </a:extLst>
            </p:cNvPr>
            <p:cNvSpPr/>
            <p:nvPr/>
          </p:nvSpPr>
          <p:spPr>
            <a:xfrm>
              <a:off x="3443268" y="4186718"/>
              <a:ext cx="435145" cy="761503"/>
            </a:xfrm>
            <a:custGeom>
              <a:avLst/>
              <a:gdLst>
                <a:gd name="connsiteX0" fmla="*/ 400855 w 435145"/>
                <a:gd name="connsiteY0" fmla="*/ 678260 h 761503"/>
                <a:gd name="connsiteX1" fmla="*/ 384537 w 435145"/>
                <a:gd name="connsiteY1" fmla="*/ 719054 h 761503"/>
                <a:gd name="connsiteX2" fmla="*/ 368219 w 435145"/>
                <a:gd name="connsiteY2" fmla="*/ 713615 h 761503"/>
                <a:gd name="connsiteX3" fmla="*/ 360060 w 435145"/>
                <a:gd name="connsiteY3" fmla="*/ 697297 h 761503"/>
                <a:gd name="connsiteX4" fmla="*/ 360060 w 435145"/>
                <a:gd name="connsiteY4" fmla="*/ 651063 h 761503"/>
                <a:gd name="connsiteX5" fmla="*/ 332864 w 435145"/>
                <a:gd name="connsiteY5" fmla="*/ 686418 h 761503"/>
                <a:gd name="connsiteX6" fmla="*/ 251274 w 435145"/>
                <a:gd name="connsiteY6" fmla="*/ 721774 h 761503"/>
                <a:gd name="connsiteX7" fmla="*/ 229517 w 435145"/>
                <a:gd name="connsiteY7" fmla="*/ 719054 h 761503"/>
                <a:gd name="connsiteX8" fmla="*/ 158806 w 435145"/>
                <a:gd name="connsiteY8" fmla="*/ 694578 h 761503"/>
                <a:gd name="connsiteX9" fmla="*/ 112571 w 435145"/>
                <a:gd name="connsiteY9" fmla="*/ 659222 h 761503"/>
                <a:gd name="connsiteX10" fmla="*/ 79936 w 435145"/>
                <a:gd name="connsiteY10" fmla="*/ 607548 h 761503"/>
                <a:gd name="connsiteX11" fmla="*/ 63618 w 435145"/>
                <a:gd name="connsiteY11" fmla="*/ 542277 h 761503"/>
                <a:gd name="connsiteX12" fmla="*/ 58178 w 435145"/>
                <a:gd name="connsiteY12" fmla="*/ 471566 h 761503"/>
                <a:gd name="connsiteX13" fmla="*/ 60898 w 435145"/>
                <a:gd name="connsiteY13" fmla="*/ 400855 h 761503"/>
                <a:gd name="connsiteX14" fmla="*/ 66337 w 435145"/>
                <a:gd name="connsiteY14" fmla="*/ 335583 h 761503"/>
                <a:gd name="connsiteX15" fmla="*/ 85375 w 435145"/>
                <a:gd name="connsiteY15" fmla="*/ 267592 h 761503"/>
                <a:gd name="connsiteX16" fmla="*/ 109852 w 435145"/>
                <a:gd name="connsiteY16" fmla="*/ 199600 h 761503"/>
                <a:gd name="connsiteX17" fmla="*/ 145207 w 435145"/>
                <a:gd name="connsiteY17" fmla="*/ 145207 h 761503"/>
                <a:gd name="connsiteX18" fmla="*/ 188722 w 435145"/>
                <a:gd name="connsiteY18" fmla="*/ 96253 h 761503"/>
                <a:gd name="connsiteX19" fmla="*/ 243115 w 435145"/>
                <a:gd name="connsiteY19" fmla="*/ 71776 h 761503"/>
                <a:gd name="connsiteX20" fmla="*/ 286630 w 435145"/>
                <a:gd name="connsiteY20" fmla="*/ 63617 h 761503"/>
                <a:gd name="connsiteX21" fmla="*/ 305667 w 435145"/>
                <a:gd name="connsiteY21" fmla="*/ 66337 h 761503"/>
                <a:gd name="connsiteX22" fmla="*/ 324705 w 435145"/>
                <a:gd name="connsiteY22" fmla="*/ 79936 h 761503"/>
                <a:gd name="connsiteX23" fmla="*/ 341023 w 435145"/>
                <a:gd name="connsiteY23" fmla="*/ 101693 h 761503"/>
                <a:gd name="connsiteX24" fmla="*/ 354621 w 435145"/>
                <a:gd name="connsiteY24" fmla="*/ 123450 h 761503"/>
                <a:gd name="connsiteX25" fmla="*/ 354621 w 435145"/>
                <a:gd name="connsiteY25" fmla="*/ 98973 h 761503"/>
                <a:gd name="connsiteX26" fmla="*/ 360060 w 435145"/>
                <a:gd name="connsiteY26" fmla="*/ 74496 h 761503"/>
                <a:gd name="connsiteX27" fmla="*/ 365500 w 435145"/>
                <a:gd name="connsiteY27" fmla="*/ 63617 h 761503"/>
                <a:gd name="connsiteX28" fmla="*/ 373659 w 435145"/>
                <a:gd name="connsiteY28" fmla="*/ 58178 h 761503"/>
                <a:gd name="connsiteX29" fmla="*/ 381818 w 435145"/>
                <a:gd name="connsiteY29" fmla="*/ 63617 h 761503"/>
                <a:gd name="connsiteX30" fmla="*/ 389977 w 435145"/>
                <a:gd name="connsiteY30" fmla="*/ 82655 h 761503"/>
                <a:gd name="connsiteX31" fmla="*/ 392696 w 435145"/>
                <a:gd name="connsiteY31" fmla="*/ 126170 h 761503"/>
                <a:gd name="connsiteX32" fmla="*/ 395416 w 435145"/>
                <a:gd name="connsiteY32" fmla="*/ 186002 h 761503"/>
                <a:gd name="connsiteX33" fmla="*/ 398136 w 435145"/>
                <a:gd name="connsiteY33" fmla="*/ 237675 h 761503"/>
                <a:gd name="connsiteX34" fmla="*/ 398136 w 435145"/>
                <a:gd name="connsiteY34" fmla="*/ 243115 h 761503"/>
                <a:gd name="connsiteX35" fmla="*/ 395416 w 435145"/>
                <a:gd name="connsiteY35" fmla="*/ 256713 h 761503"/>
                <a:gd name="connsiteX36" fmla="*/ 379098 w 435145"/>
                <a:gd name="connsiteY36" fmla="*/ 278470 h 761503"/>
                <a:gd name="connsiteX37" fmla="*/ 362780 w 435145"/>
                <a:gd name="connsiteY37" fmla="*/ 273031 h 761503"/>
                <a:gd name="connsiteX38" fmla="*/ 354621 w 435145"/>
                <a:gd name="connsiteY38" fmla="*/ 256713 h 761503"/>
                <a:gd name="connsiteX39" fmla="*/ 354621 w 435145"/>
                <a:gd name="connsiteY39" fmla="*/ 213198 h 761503"/>
                <a:gd name="connsiteX40" fmla="*/ 354621 w 435145"/>
                <a:gd name="connsiteY40" fmla="*/ 205040 h 761503"/>
                <a:gd name="connsiteX41" fmla="*/ 338303 w 435145"/>
                <a:gd name="connsiteY41" fmla="*/ 147927 h 761503"/>
                <a:gd name="connsiteX42" fmla="*/ 292069 w 435145"/>
                <a:gd name="connsiteY42" fmla="*/ 107132 h 761503"/>
                <a:gd name="connsiteX43" fmla="*/ 262153 w 435145"/>
                <a:gd name="connsiteY43" fmla="*/ 120730 h 761503"/>
                <a:gd name="connsiteX44" fmla="*/ 251274 w 435145"/>
                <a:gd name="connsiteY44" fmla="*/ 131609 h 761503"/>
                <a:gd name="connsiteX45" fmla="*/ 240395 w 435145"/>
                <a:gd name="connsiteY45" fmla="*/ 139768 h 761503"/>
                <a:gd name="connsiteX46" fmla="*/ 237676 w 435145"/>
                <a:gd name="connsiteY46" fmla="*/ 164245 h 761503"/>
                <a:gd name="connsiteX47" fmla="*/ 226797 w 435145"/>
                <a:gd name="connsiteY47" fmla="*/ 196881 h 761503"/>
                <a:gd name="connsiteX48" fmla="*/ 213199 w 435145"/>
                <a:gd name="connsiteY48" fmla="*/ 259433 h 761503"/>
                <a:gd name="connsiteX49" fmla="*/ 207759 w 435145"/>
                <a:gd name="connsiteY49" fmla="*/ 324704 h 761503"/>
                <a:gd name="connsiteX50" fmla="*/ 207759 w 435145"/>
                <a:gd name="connsiteY50" fmla="*/ 335583 h 761503"/>
                <a:gd name="connsiteX51" fmla="*/ 205040 w 435145"/>
                <a:gd name="connsiteY51" fmla="*/ 349181 h 761503"/>
                <a:gd name="connsiteX52" fmla="*/ 207759 w 435145"/>
                <a:gd name="connsiteY52" fmla="*/ 368219 h 761503"/>
                <a:gd name="connsiteX53" fmla="*/ 207759 w 435145"/>
                <a:gd name="connsiteY53" fmla="*/ 376378 h 761503"/>
                <a:gd name="connsiteX54" fmla="*/ 205040 w 435145"/>
                <a:gd name="connsiteY54" fmla="*/ 387256 h 761503"/>
                <a:gd name="connsiteX55" fmla="*/ 205040 w 435145"/>
                <a:gd name="connsiteY55" fmla="*/ 395415 h 761503"/>
                <a:gd name="connsiteX56" fmla="*/ 205040 w 435145"/>
                <a:gd name="connsiteY56" fmla="*/ 406294 h 761503"/>
                <a:gd name="connsiteX57" fmla="*/ 205040 w 435145"/>
                <a:gd name="connsiteY57" fmla="*/ 425332 h 761503"/>
                <a:gd name="connsiteX58" fmla="*/ 213199 w 435145"/>
                <a:gd name="connsiteY58" fmla="*/ 493323 h 761503"/>
                <a:gd name="connsiteX59" fmla="*/ 221358 w 435145"/>
                <a:gd name="connsiteY59" fmla="*/ 561314 h 761503"/>
                <a:gd name="connsiteX60" fmla="*/ 226797 w 435145"/>
                <a:gd name="connsiteY60" fmla="*/ 591231 h 761503"/>
                <a:gd name="connsiteX61" fmla="*/ 240395 w 435145"/>
                <a:gd name="connsiteY61" fmla="*/ 618427 h 761503"/>
                <a:gd name="connsiteX62" fmla="*/ 283910 w 435145"/>
                <a:gd name="connsiteY62" fmla="*/ 651063 h 761503"/>
                <a:gd name="connsiteX63" fmla="*/ 338303 w 435145"/>
                <a:gd name="connsiteY63" fmla="*/ 612988 h 761503"/>
                <a:gd name="connsiteX64" fmla="*/ 354621 w 435145"/>
                <a:gd name="connsiteY64" fmla="*/ 577632 h 761503"/>
                <a:gd name="connsiteX65" fmla="*/ 357341 w 435145"/>
                <a:gd name="connsiteY65" fmla="*/ 509641 h 761503"/>
                <a:gd name="connsiteX66" fmla="*/ 362780 w 435145"/>
                <a:gd name="connsiteY66" fmla="*/ 485164 h 761503"/>
                <a:gd name="connsiteX67" fmla="*/ 368219 w 435145"/>
                <a:gd name="connsiteY67" fmla="*/ 474286 h 761503"/>
                <a:gd name="connsiteX68" fmla="*/ 376378 w 435145"/>
                <a:gd name="connsiteY68" fmla="*/ 468846 h 761503"/>
                <a:gd name="connsiteX69" fmla="*/ 384537 w 435145"/>
                <a:gd name="connsiteY69" fmla="*/ 474286 h 761503"/>
                <a:gd name="connsiteX70" fmla="*/ 392696 w 435145"/>
                <a:gd name="connsiteY70" fmla="*/ 493323 h 761503"/>
                <a:gd name="connsiteX71" fmla="*/ 395416 w 435145"/>
                <a:gd name="connsiteY71" fmla="*/ 558595 h 761503"/>
                <a:gd name="connsiteX72" fmla="*/ 398136 w 435145"/>
                <a:gd name="connsiteY72" fmla="*/ 618427 h 761503"/>
                <a:gd name="connsiteX73" fmla="*/ 400855 w 435145"/>
                <a:gd name="connsiteY73" fmla="*/ 678260 h 761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</a:cxnLst>
              <a:rect l="l" t="t" r="r" b="b"/>
              <a:pathLst>
                <a:path w="435145" h="761503">
                  <a:moveTo>
                    <a:pt x="400855" y="678260"/>
                  </a:moveTo>
                  <a:cubicBezTo>
                    <a:pt x="400855" y="689138"/>
                    <a:pt x="400855" y="719054"/>
                    <a:pt x="384537" y="719054"/>
                  </a:cubicBezTo>
                  <a:cubicBezTo>
                    <a:pt x="376378" y="719054"/>
                    <a:pt x="373659" y="716335"/>
                    <a:pt x="368219" y="713615"/>
                  </a:cubicBezTo>
                  <a:cubicBezTo>
                    <a:pt x="362780" y="710895"/>
                    <a:pt x="360060" y="702736"/>
                    <a:pt x="360060" y="697297"/>
                  </a:cubicBezTo>
                  <a:cubicBezTo>
                    <a:pt x="357341" y="680979"/>
                    <a:pt x="357341" y="664661"/>
                    <a:pt x="360060" y="651063"/>
                  </a:cubicBezTo>
                  <a:cubicBezTo>
                    <a:pt x="354621" y="659222"/>
                    <a:pt x="341023" y="678260"/>
                    <a:pt x="332864" y="686418"/>
                  </a:cubicBezTo>
                  <a:cubicBezTo>
                    <a:pt x="311107" y="708176"/>
                    <a:pt x="283910" y="721774"/>
                    <a:pt x="251274" y="721774"/>
                  </a:cubicBezTo>
                  <a:cubicBezTo>
                    <a:pt x="243115" y="721774"/>
                    <a:pt x="237676" y="721774"/>
                    <a:pt x="229517" y="719054"/>
                  </a:cubicBezTo>
                  <a:cubicBezTo>
                    <a:pt x="207759" y="716335"/>
                    <a:pt x="183283" y="708176"/>
                    <a:pt x="158806" y="694578"/>
                  </a:cubicBezTo>
                  <a:cubicBezTo>
                    <a:pt x="142488" y="686418"/>
                    <a:pt x="126170" y="672820"/>
                    <a:pt x="112571" y="659222"/>
                  </a:cubicBezTo>
                  <a:cubicBezTo>
                    <a:pt x="98973" y="642904"/>
                    <a:pt x="88095" y="626586"/>
                    <a:pt x="79936" y="607548"/>
                  </a:cubicBezTo>
                  <a:cubicBezTo>
                    <a:pt x="71777" y="585791"/>
                    <a:pt x="66337" y="566754"/>
                    <a:pt x="63618" y="542277"/>
                  </a:cubicBezTo>
                  <a:cubicBezTo>
                    <a:pt x="60898" y="517800"/>
                    <a:pt x="58178" y="493323"/>
                    <a:pt x="58178" y="471566"/>
                  </a:cubicBezTo>
                  <a:cubicBezTo>
                    <a:pt x="58178" y="447089"/>
                    <a:pt x="58178" y="425332"/>
                    <a:pt x="60898" y="400855"/>
                  </a:cubicBezTo>
                  <a:cubicBezTo>
                    <a:pt x="63618" y="379098"/>
                    <a:pt x="60898" y="357340"/>
                    <a:pt x="66337" y="335583"/>
                  </a:cubicBezTo>
                  <a:cubicBezTo>
                    <a:pt x="69057" y="313826"/>
                    <a:pt x="77216" y="289349"/>
                    <a:pt x="85375" y="267592"/>
                  </a:cubicBezTo>
                  <a:cubicBezTo>
                    <a:pt x="93534" y="243115"/>
                    <a:pt x="98973" y="221357"/>
                    <a:pt x="109852" y="199600"/>
                  </a:cubicBezTo>
                  <a:cubicBezTo>
                    <a:pt x="118011" y="177843"/>
                    <a:pt x="131609" y="161525"/>
                    <a:pt x="145207" y="145207"/>
                  </a:cubicBezTo>
                  <a:cubicBezTo>
                    <a:pt x="158806" y="128889"/>
                    <a:pt x="172404" y="109852"/>
                    <a:pt x="188722" y="96253"/>
                  </a:cubicBezTo>
                  <a:cubicBezTo>
                    <a:pt x="205040" y="82655"/>
                    <a:pt x="224077" y="77216"/>
                    <a:pt x="243115" y="71776"/>
                  </a:cubicBezTo>
                  <a:cubicBezTo>
                    <a:pt x="256713" y="69057"/>
                    <a:pt x="273031" y="63617"/>
                    <a:pt x="286630" y="63617"/>
                  </a:cubicBezTo>
                  <a:cubicBezTo>
                    <a:pt x="292069" y="63617"/>
                    <a:pt x="297508" y="63617"/>
                    <a:pt x="305667" y="66337"/>
                  </a:cubicBezTo>
                  <a:cubicBezTo>
                    <a:pt x="313826" y="69057"/>
                    <a:pt x="319266" y="74496"/>
                    <a:pt x="324705" y="79936"/>
                  </a:cubicBezTo>
                  <a:cubicBezTo>
                    <a:pt x="332864" y="85375"/>
                    <a:pt x="332864" y="93534"/>
                    <a:pt x="341023" y="101693"/>
                  </a:cubicBezTo>
                  <a:cubicBezTo>
                    <a:pt x="346462" y="107132"/>
                    <a:pt x="349182" y="118011"/>
                    <a:pt x="354621" y="123450"/>
                  </a:cubicBezTo>
                  <a:cubicBezTo>
                    <a:pt x="354621" y="115291"/>
                    <a:pt x="354621" y="101693"/>
                    <a:pt x="354621" y="98973"/>
                  </a:cubicBezTo>
                  <a:cubicBezTo>
                    <a:pt x="354621" y="90814"/>
                    <a:pt x="354621" y="79936"/>
                    <a:pt x="360060" y="74496"/>
                  </a:cubicBezTo>
                  <a:cubicBezTo>
                    <a:pt x="362780" y="71776"/>
                    <a:pt x="362780" y="69057"/>
                    <a:pt x="365500" y="63617"/>
                  </a:cubicBezTo>
                  <a:cubicBezTo>
                    <a:pt x="368219" y="60898"/>
                    <a:pt x="370939" y="58178"/>
                    <a:pt x="373659" y="58178"/>
                  </a:cubicBezTo>
                  <a:cubicBezTo>
                    <a:pt x="376378" y="58178"/>
                    <a:pt x="379098" y="60898"/>
                    <a:pt x="381818" y="63617"/>
                  </a:cubicBezTo>
                  <a:cubicBezTo>
                    <a:pt x="384537" y="69057"/>
                    <a:pt x="387257" y="77216"/>
                    <a:pt x="389977" y="82655"/>
                  </a:cubicBezTo>
                  <a:cubicBezTo>
                    <a:pt x="389977" y="90814"/>
                    <a:pt x="392696" y="107132"/>
                    <a:pt x="392696" y="126170"/>
                  </a:cubicBezTo>
                  <a:cubicBezTo>
                    <a:pt x="392696" y="150647"/>
                    <a:pt x="392696" y="177843"/>
                    <a:pt x="395416" y="186002"/>
                  </a:cubicBezTo>
                  <a:cubicBezTo>
                    <a:pt x="398136" y="205040"/>
                    <a:pt x="398136" y="215918"/>
                    <a:pt x="398136" y="237675"/>
                  </a:cubicBezTo>
                  <a:cubicBezTo>
                    <a:pt x="398136" y="240395"/>
                    <a:pt x="398136" y="243115"/>
                    <a:pt x="398136" y="243115"/>
                  </a:cubicBezTo>
                  <a:cubicBezTo>
                    <a:pt x="398136" y="248554"/>
                    <a:pt x="398136" y="251274"/>
                    <a:pt x="395416" y="256713"/>
                  </a:cubicBezTo>
                  <a:cubicBezTo>
                    <a:pt x="392696" y="267592"/>
                    <a:pt x="389977" y="278470"/>
                    <a:pt x="379098" y="278470"/>
                  </a:cubicBezTo>
                  <a:cubicBezTo>
                    <a:pt x="370939" y="278470"/>
                    <a:pt x="368219" y="275751"/>
                    <a:pt x="362780" y="273031"/>
                  </a:cubicBezTo>
                  <a:cubicBezTo>
                    <a:pt x="357341" y="270311"/>
                    <a:pt x="354621" y="262152"/>
                    <a:pt x="354621" y="256713"/>
                  </a:cubicBezTo>
                  <a:cubicBezTo>
                    <a:pt x="349182" y="237675"/>
                    <a:pt x="354621" y="232236"/>
                    <a:pt x="354621" y="213198"/>
                  </a:cubicBezTo>
                  <a:cubicBezTo>
                    <a:pt x="354621" y="210479"/>
                    <a:pt x="354621" y="207759"/>
                    <a:pt x="354621" y="205040"/>
                  </a:cubicBezTo>
                  <a:cubicBezTo>
                    <a:pt x="349182" y="186002"/>
                    <a:pt x="343742" y="169684"/>
                    <a:pt x="338303" y="147927"/>
                  </a:cubicBezTo>
                  <a:cubicBezTo>
                    <a:pt x="332864" y="131609"/>
                    <a:pt x="311107" y="107132"/>
                    <a:pt x="292069" y="107132"/>
                  </a:cubicBezTo>
                  <a:cubicBezTo>
                    <a:pt x="281190" y="107132"/>
                    <a:pt x="270312" y="115291"/>
                    <a:pt x="262153" y="120730"/>
                  </a:cubicBezTo>
                  <a:cubicBezTo>
                    <a:pt x="259433" y="123450"/>
                    <a:pt x="256713" y="126170"/>
                    <a:pt x="251274" y="131609"/>
                  </a:cubicBezTo>
                  <a:cubicBezTo>
                    <a:pt x="248554" y="134329"/>
                    <a:pt x="243115" y="137048"/>
                    <a:pt x="240395" y="139768"/>
                  </a:cubicBezTo>
                  <a:cubicBezTo>
                    <a:pt x="237676" y="145207"/>
                    <a:pt x="240395" y="156086"/>
                    <a:pt x="237676" y="164245"/>
                  </a:cubicBezTo>
                  <a:cubicBezTo>
                    <a:pt x="232236" y="175123"/>
                    <a:pt x="229517" y="186002"/>
                    <a:pt x="226797" y="196881"/>
                  </a:cubicBezTo>
                  <a:cubicBezTo>
                    <a:pt x="221358" y="218638"/>
                    <a:pt x="218638" y="237675"/>
                    <a:pt x="213199" y="259433"/>
                  </a:cubicBezTo>
                  <a:cubicBezTo>
                    <a:pt x="210479" y="281190"/>
                    <a:pt x="207759" y="302947"/>
                    <a:pt x="207759" y="324704"/>
                  </a:cubicBezTo>
                  <a:cubicBezTo>
                    <a:pt x="207759" y="327424"/>
                    <a:pt x="207759" y="332863"/>
                    <a:pt x="207759" y="335583"/>
                  </a:cubicBezTo>
                  <a:cubicBezTo>
                    <a:pt x="207759" y="341022"/>
                    <a:pt x="205040" y="343742"/>
                    <a:pt x="205040" y="349181"/>
                  </a:cubicBezTo>
                  <a:cubicBezTo>
                    <a:pt x="205040" y="354621"/>
                    <a:pt x="207759" y="362779"/>
                    <a:pt x="207759" y="368219"/>
                  </a:cubicBezTo>
                  <a:cubicBezTo>
                    <a:pt x="207759" y="370939"/>
                    <a:pt x="207759" y="373658"/>
                    <a:pt x="207759" y="376378"/>
                  </a:cubicBezTo>
                  <a:cubicBezTo>
                    <a:pt x="205040" y="381817"/>
                    <a:pt x="205040" y="384537"/>
                    <a:pt x="205040" y="387256"/>
                  </a:cubicBezTo>
                  <a:cubicBezTo>
                    <a:pt x="205040" y="389976"/>
                    <a:pt x="205040" y="392696"/>
                    <a:pt x="205040" y="395415"/>
                  </a:cubicBezTo>
                  <a:cubicBezTo>
                    <a:pt x="205040" y="398135"/>
                    <a:pt x="205040" y="403574"/>
                    <a:pt x="205040" y="406294"/>
                  </a:cubicBezTo>
                  <a:cubicBezTo>
                    <a:pt x="205040" y="411733"/>
                    <a:pt x="205040" y="417173"/>
                    <a:pt x="205040" y="425332"/>
                  </a:cubicBezTo>
                  <a:cubicBezTo>
                    <a:pt x="205040" y="449809"/>
                    <a:pt x="213199" y="471566"/>
                    <a:pt x="213199" y="493323"/>
                  </a:cubicBezTo>
                  <a:cubicBezTo>
                    <a:pt x="213199" y="517800"/>
                    <a:pt x="215919" y="539557"/>
                    <a:pt x="221358" y="561314"/>
                  </a:cubicBezTo>
                  <a:cubicBezTo>
                    <a:pt x="224077" y="572193"/>
                    <a:pt x="224077" y="580352"/>
                    <a:pt x="226797" y="591231"/>
                  </a:cubicBezTo>
                  <a:cubicBezTo>
                    <a:pt x="229517" y="599390"/>
                    <a:pt x="237676" y="607548"/>
                    <a:pt x="240395" y="618427"/>
                  </a:cubicBezTo>
                  <a:cubicBezTo>
                    <a:pt x="248554" y="637465"/>
                    <a:pt x="262153" y="651063"/>
                    <a:pt x="283910" y="651063"/>
                  </a:cubicBezTo>
                  <a:cubicBezTo>
                    <a:pt x="302948" y="651063"/>
                    <a:pt x="330144" y="629306"/>
                    <a:pt x="338303" y="612988"/>
                  </a:cubicBezTo>
                  <a:cubicBezTo>
                    <a:pt x="346462" y="599390"/>
                    <a:pt x="351901" y="591231"/>
                    <a:pt x="354621" y="577632"/>
                  </a:cubicBezTo>
                  <a:cubicBezTo>
                    <a:pt x="354621" y="550436"/>
                    <a:pt x="354621" y="517800"/>
                    <a:pt x="357341" y="509641"/>
                  </a:cubicBezTo>
                  <a:cubicBezTo>
                    <a:pt x="357341" y="501482"/>
                    <a:pt x="357341" y="490603"/>
                    <a:pt x="362780" y="485164"/>
                  </a:cubicBezTo>
                  <a:cubicBezTo>
                    <a:pt x="365500" y="482444"/>
                    <a:pt x="365500" y="479725"/>
                    <a:pt x="368219" y="474286"/>
                  </a:cubicBezTo>
                  <a:cubicBezTo>
                    <a:pt x="370939" y="471566"/>
                    <a:pt x="373659" y="468846"/>
                    <a:pt x="376378" y="468846"/>
                  </a:cubicBezTo>
                  <a:cubicBezTo>
                    <a:pt x="379098" y="468846"/>
                    <a:pt x="381818" y="471566"/>
                    <a:pt x="384537" y="474286"/>
                  </a:cubicBezTo>
                  <a:cubicBezTo>
                    <a:pt x="387257" y="479725"/>
                    <a:pt x="389977" y="487884"/>
                    <a:pt x="392696" y="493323"/>
                  </a:cubicBezTo>
                  <a:cubicBezTo>
                    <a:pt x="392696" y="501482"/>
                    <a:pt x="395416" y="539557"/>
                    <a:pt x="395416" y="558595"/>
                  </a:cubicBezTo>
                  <a:cubicBezTo>
                    <a:pt x="395416" y="583072"/>
                    <a:pt x="395416" y="610268"/>
                    <a:pt x="398136" y="618427"/>
                  </a:cubicBezTo>
                  <a:cubicBezTo>
                    <a:pt x="398136" y="648343"/>
                    <a:pt x="400855" y="659222"/>
                    <a:pt x="400855" y="678260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5" name="Freeform: Shape 44">
              <a:extLst>
                <a:ext uri="{FF2B5EF4-FFF2-40B4-BE49-F238E27FC236}">
                  <a16:creationId xmlns:a16="http://schemas.microsoft.com/office/drawing/2014/main" id="{AC9E9740-267B-494C-8D33-85F618C926FA}"/>
                </a:ext>
              </a:extLst>
            </p:cNvPr>
            <p:cNvSpPr/>
            <p:nvPr/>
          </p:nvSpPr>
          <p:spPr>
            <a:xfrm>
              <a:off x="3829459" y="4200317"/>
              <a:ext cx="598325" cy="761503"/>
            </a:xfrm>
            <a:custGeom>
              <a:avLst/>
              <a:gdLst>
                <a:gd name="connsiteX0" fmla="*/ 360060 w 598324"/>
                <a:gd name="connsiteY0" fmla="*/ 332863 h 761503"/>
                <a:gd name="connsiteX1" fmla="*/ 341023 w 598324"/>
                <a:gd name="connsiteY1" fmla="*/ 370939 h 761503"/>
                <a:gd name="connsiteX2" fmla="*/ 376378 w 598324"/>
                <a:gd name="connsiteY2" fmla="*/ 389976 h 761503"/>
                <a:gd name="connsiteX3" fmla="*/ 425332 w 598324"/>
                <a:gd name="connsiteY3" fmla="*/ 433491 h 761503"/>
                <a:gd name="connsiteX4" fmla="*/ 438930 w 598324"/>
                <a:gd name="connsiteY4" fmla="*/ 463407 h 761503"/>
                <a:gd name="connsiteX5" fmla="*/ 449809 w 598324"/>
                <a:gd name="connsiteY5" fmla="*/ 498762 h 761503"/>
                <a:gd name="connsiteX6" fmla="*/ 457968 w 598324"/>
                <a:gd name="connsiteY6" fmla="*/ 528679 h 761503"/>
                <a:gd name="connsiteX7" fmla="*/ 466127 w 598324"/>
                <a:gd name="connsiteY7" fmla="*/ 564034 h 761503"/>
                <a:gd name="connsiteX8" fmla="*/ 471566 w 598324"/>
                <a:gd name="connsiteY8" fmla="*/ 593950 h 761503"/>
                <a:gd name="connsiteX9" fmla="*/ 479725 w 598324"/>
                <a:gd name="connsiteY9" fmla="*/ 607548 h 761503"/>
                <a:gd name="connsiteX10" fmla="*/ 487884 w 598324"/>
                <a:gd name="connsiteY10" fmla="*/ 623867 h 761503"/>
                <a:gd name="connsiteX11" fmla="*/ 501482 w 598324"/>
                <a:gd name="connsiteY11" fmla="*/ 651063 h 761503"/>
                <a:gd name="connsiteX12" fmla="*/ 523240 w 598324"/>
                <a:gd name="connsiteY12" fmla="*/ 670101 h 761503"/>
                <a:gd name="connsiteX13" fmla="*/ 534119 w 598324"/>
                <a:gd name="connsiteY13" fmla="*/ 686418 h 761503"/>
                <a:gd name="connsiteX14" fmla="*/ 531399 w 598324"/>
                <a:gd name="connsiteY14" fmla="*/ 694578 h 761503"/>
                <a:gd name="connsiteX15" fmla="*/ 498763 w 598324"/>
                <a:gd name="connsiteY15" fmla="*/ 708176 h 761503"/>
                <a:gd name="connsiteX16" fmla="*/ 449809 w 598324"/>
                <a:gd name="connsiteY16" fmla="*/ 700017 h 761503"/>
                <a:gd name="connsiteX17" fmla="*/ 400855 w 598324"/>
                <a:gd name="connsiteY17" fmla="*/ 667381 h 761503"/>
                <a:gd name="connsiteX18" fmla="*/ 381817 w 598324"/>
                <a:gd name="connsiteY18" fmla="*/ 642904 h 761503"/>
                <a:gd name="connsiteX19" fmla="*/ 368219 w 598324"/>
                <a:gd name="connsiteY19" fmla="*/ 610268 h 761503"/>
                <a:gd name="connsiteX20" fmla="*/ 349182 w 598324"/>
                <a:gd name="connsiteY20" fmla="*/ 550436 h 761503"/>
                <a:gd name="connsiteX21" fmla="*/ 338303 w 598324"/>
                <a:gd name="connsiteY21" fmla="*/ 504202 h 761503"/>
                <a:gd name="connsiteX22" fmla="*/ 330144 w 598324"/>
                <a:gd name="connsiteY22" fmla="*/ 477005 h 761503"/>
                <a:gd name="connsiteX23" fmla="*/ 321985 w 598324"/>
                <a:gd name="connsiteY23" fmla="*/ 455248 h 761503"/>
                <a:gd name="connsiteX24" fmla="*/ 305667 w 598324"/>
                <a:gd name="connsiteY24" fmla="*/ 436210 h 761503"/>
                <a:gd name="connsiteX25" fmla="*/ 294788 w 598324"/>
                <a:gd name="connsiteY25" fmla="*/ 441650 h 761503"/>
                <a:gd name="connsiteX26" fmla="*/ 278471 w 598324"/>
                <a:gd name="connsiteY26" fmla="*/ 463407 h 761503"/>
                <a:gd name="connsiteX27" fmla="*/ 264872 w 598324"/>
                <a:gd name="connsiteY27" fmla="*/ 496043 h 761503"/>
                <a:gd name="connsiteX28" fmla="*/ 262153 w 598324"/>
                <a:gd name="connsiteY28" fmla="*/ 517800 h 761503"/>
                <a:gd name="connsiteX29" fmla="*/ 262153 w 598324"/>
                <a:gd name="connsiteY29" fmla="*/ 523239 h 761503"/>
                <a:gd name="connsiteX30" fmla="*/ 262153 w 598324"/>
                <a:gd name="connsiteY30" fmla="*/ 553155 h 761503"/>
                <a:gd name="connsiteX31" fmla="*/ 262153 w 598324"/>
                <a:gd name="connsiteY31" fmla="*/ 629306 h 761503"/>
                <a:gd name="connsiteX32" fmla="*/ 259433 w 598324"/>
                <a:gd name="connsiteY32" fmla="*/ 659222 h 761503"/>
                <a:gd name="connsiteX33" fmla="*/ 283910 w 598324"/>
                <a:gd name="connsiteY33" fmla="*/ 659222 h 761503"/>
                <a:gd name="connsiteX34" fmla="*/ 321985 w 598324"/>
                <a:gd name="connsiteY34" fmla="*/ 675540 h 761503"/>
                <a:gd name="connsiteX35" fmla="*/ 316546 w 598324"/>
                <a:gd name="connsiteY35" fmla="*/ 691858 h 761503"/>
                <a:gd name="connsiteX36" fmla="*/ 300228 w 598324"/>
                <a:gd name="connsiteY36" fmla="*/ 700017 h 761503"/>
                <a:gd name="connsiteX37" fmla="*/ 278471 w 598324"/>
                <a:gd name="connsiteY37" fmla="*/ 702736 h 761503"/>
                <a:gd name="connsiteX38" fmla="*/ 243115 w 598324"/>
                <a:gd name="connsiteY38" fmla="*/ 702736 h 761503"/>
                <a:gd name="connsiteX39" fmla="*/ 221358 w 598324"/>
                <a:gd name="connsiteY39" fmla="*/ 710895 h 761503"/>
                <a:gd name="connsiteX40" fmla="*/ 194161 w 598324"/>
                <a:gd name="connsiteY40" fmla="*/ 702736 h 761503"/>
                <a:gd name="connsiteX41" fmla="*/ 177843 w 598324"/>
                <a:gd name="connsiteY41" fmla="*/ 702736 h 761503"/>
                <a:gd name="connsiteX42" fmla="*/ 126170 w 598324"/>
                <a:gd name="connsiteY42" fmla="*/ 702736 h 761503"/>
                <a:gd name="connsiteX43" fmla="*/ 101693 w 598324"/>
                <a:gd name="connsiteY43" fmla="*/ 702736 h 761503"/>
                <a:gd name="connsiteX44" fmla="*/ 74496 w 598324"/>
                <a:gd name="connsiteY44" fmla="*/ 697297 h 761503"/>
                <a:gd name="connsiteX45" fmla="*/ 58178 w 598324"/>
                <a:gd name="connsiteY45" fmla="*/ 680979 h 761503"/>
                <a:gd name="connsiteX46" fmla="*/ 63617 w 598324"/>
                <a:gd name="connsiteY46" fmla="*/ 672820 h 761503"/>
                <a:gd name="connsiteX47" fmla="*/ 85375 w 598324"/>
                <a:gd name="connsiteY47" fmla="*/ 664661 h 761503"/>
                <a:gd name="connsiteX48" fmla="*/ 128889 w 598324"/>
                <a:gd name="connsiteY48" fmla="*/ 659222 h 761503"/>
                <a:gd name="connsiteX49" fmla="*/ 147927 w 598324"/>
                <a:gd name="connsiteY49" fmla="*/ 659222 h 761503"/>
                <a:gd name="connsiteX50" fmla="*/ 145207 w 598324"/>
                <a:gd name="connsiteY50" fmla="*/ 653783 h 761503"/>
                <a:gd name="connsiteX51" fmla="*/ 131609 w 598324"/>
                <a:gd name="connsiteY51" fmla="*/ 585791 h 761503"/>
                <a:gd name="connsiteX52" fmla="*/ 134329 w 598324"/>
                <a:gd name="connsiteY52" fmla="*/ 498762 h 761503"/>
                <a:gd name="connsiteX53" fmla="*/ 137048 w 598324"/>
                <a:gd name="connsiteY53" fmla="*/ 406294 h 761503"/>
                <a:gd name="connsiteX54" fmla="*/ 134329 w 598324"/>
                <a:gd name="connsiteY54" fmla="*/ 327424 h 761503"/>
                <a:gd name="connsiteX55" fmla="*/ 137048 w 598324"/>
                <a:gd name="connsiteY55" fmla="*/ 253993 h 761503"/>
                <a:gd name="connsiteX56" fmla="*/ 139768 w 598324"/>
                <a:gd name="connsiteY56" fmla="*/ 207759 h 761503"/>
                <a:gd name="connsiteX57" fmla="*/ 137048 w 598324"/>
                <a:gd name="connsiteY57" fmla="*/ 172404 h 761503"/>
                <a:gd name="connsiteX58" fmla="*/ 137048 w 598324"/>
                <a:gd name="connsiteY58" fmla="*/ 112571 h 761503"/>
                <a:gd name="connsiteX59" fmla="*/ 126170 w 598324"/>
                <a:gd name="connsiteY59" fmla="*/ 112571 h 761503"/>
                <a:gd name="connsiteX60" fmla="*/ 101693 w 598324"/>
                <a:gd name="connsiteY60" fmla="*/ 112571 h 761503"/>
                <a:gd name="connsiteX61" fmla="*/ 74496 w 598324"/>
                <a:gd name="connsiteY61" fmla="*/ 107132 h 761503"/>
                <a:gd name="connsiteX62" fmla="*/ 58178 w 598324"/>
                <a:gd name="connsiteY62" fmla="*/ 90814 h 761503"/>
                <a:gd name="connsiteX63" fmla="*/ 63617 w 598324"/>
                <a:gd name="connsiteY63" fmla="*/ 82655 h 761503"/>
                <a:gd name="connsiteX64" fmla="*/ 85375 w 598324"/>
                <a:gd name="connsiteY64" fmla="*/ 74496 h 761503"/>
                <a:gd name="connsiteX65" fmla="*/ 137048 w 598324"/>
                <a:gd name="connsiteY65" fmla="*/ 69057 h 761503"/>
                <a:gd name="connsiteX66" fmla="*/ 145207 w 598324"/>
                <a:gd name="connsiteY66" fmla="*/ 69057 h 761503"/>
                <a:gd name="connsiteX67" fmla="*/ 169684 w 598324"/>
                <a:gd name="connsiteY67" fmla="*/ 58178 h 761503"/>
                <a:gd name="connsiteX68" fmla="*/ 177843 w 598324"/>
                <a:gd name="connsiteY68" fmla="*/ 58178 h 761503"/>
                <a:gd name="connsiteX69" fmla="*/ 205040 w 598324"/>
                <a:gd name="connsiteY69" fmla="*/ 66337 h 761503"/>
                <a:gd name="connsiteX70" fmla="*/ 286629 w 598324"/>
                <a:gd name="connsiteY70" fmla="*/ 63617 h 761503"/>
                <a:gd name="connsiteX71" fmla="*/ 324705 w 598324"/>
                <a:gd name="connsiteY71" fmla="*/ 79936 h 761503"/>
                <a:gd name="connsiteX72" fmla="*/ 319265 w 598324"/>
                <a:gd name="connsiteY72" fmla="*/ 96253 h 761503"/>
                <a:gd name="connsiteX73" fmla="*/ 302948 w 598324"/>
                <a:gd name="connsiteY73" fmla="*/ 104412 h 761503"/>
                <a:gd name="connsiteX74" fmla="*/ 278471 w 598324"/>
                <a:gd name="connsiteY74" fmla="*/ 112571 h 761503"/>
                <a:gd name="connsiteX75" fmla="*/ 232236 w 598324"/>
                <a:gd name="connsiteY75" fmla="*/ 112571 h 761503"/>
                <a:gd name="connsiteX76" fmla="*/ 240395 w 598324"/>
                <a:gd name="connsiteY76" fmla="*/ 137048 h 761503"/>
                <a:gd name="connsiteX77" fmla="*/ 240395 w 598324"/>
                <a:gd name="connsiteY77" fmla="*/ 150647 h 761503"/>
                <a:gd name="connsiteX78" fmla="*/ 243115 w 598324"/>
                <a:gd name="connsiteY78" fmla="*/ 158805 h 761503"/>
                <a:gd name="connsiteX79" fmla="*/ 248554 w 598324"/>
                <a:gd name="connsiteY79" fmla="*/ 188722 h 761503"/>
                <a:gd name="connsiteX80" fmla="*/ 248554 w 598324"/>
                <a:gd name="connsiteY80" fmla="*/ 199600 h 761503"/>
                <a:gd name="connsiteX81" fmla="*/ 248554 w 598324"/>
                <a:gd name="connsiteY81" fmla="*/ 221357 h 761503"/>
                <a:gd name="connsiteX82" fmla="*/ 253994 w 598324"/>
                <a:gd name="connsiteY82" fmla="*/ 264872 h 761503"/>
                <a:gd name="connsiteX83" fmla="*/ 262153 w 598324"/>
                <a:gd name="connsiteY83" fmla="*/ 297508 h 761503"/>
                <a:gd name="connsiteX84" fmla="*/ 264872 w 598324"/>
                <a:gd name="connsiteY84" fmla="*/ 324704 h 761503"/>
                <a:gd name="connsiteX85" fmla="*/ 264872 w 598324"/>
                <a:gd name="connsiteY85" fmla="*/ 332863 h 761503"/>
                <a:gd name="connsiteX86" fmla="*/ 264872 w 598324"/>
                <a:gd name="connsiteY86" fmla="*/ 351901 h 761503"/>
                <a:gd name="connsiteX87" fmla="*/ 262153 w 598324"/>
                <a:gd name="connsiteY87" fmla="*/ 370939 h 761503"/>
                <a:gd name="connsiteX88" fmla="*/ 267592 w 598324"/>
                <a:gd name="connsiteY88" fmla="*/ 384537 h 761503"/>
                <a:gd name="connsiteX89" fmla="*/ 278471 w 598324"/>
                <a:gd name="connsiteY89" fmla="*/ 370939 h 761503"/>
                <a:gd name="connsiteX90" fmla="*/ 297508 w 598324"/>
                <a:gd name="connsiteY90" fmla="*/ 332863 h 761503"/>
                <a:gd name="connsiteX91" fmla="*/ 311106 w 598324"/>
                <a:gd name="connsiteY91" fmla="*/ 305667 h 761503"/>
                <a:gd name="connsiteX92" fmla="*/ 335583 w 598324"/>
                <a:gd name="connsiteY92" fmla="*/ 259433 h 761503"/>
                <a:gd name="connsiteX93" fmla="*/ 354621 w 598324"/>
                <a:gd name="connsiteY93" fmla="*/ 224077 h 761503"/>
                <a:gd name="connsiteX94" fmla="*/ 381817 w 598324"/>
                <a:gd name="connsiteY94" fmla="*/ 172404 h 761503"/>
                <a:gd name="connsiteX95" fmla="*/ 409014 w 598324"/>
                <a:gd name="connsiteY95" fmla="*/ 118011 h 761503"/>
                <a:gd name="connsiteX96" fmla="*/ 411734 w 598324"/>
                <a:gd name="connsiteY96" fmla="*/ 115291 h 761503"/>
                <a:gd name="connsiteX97" fmla="*/ 398136 w 598324"/>
                <a:gd name="connsiteY97" fmla="*/ 115291 h 761503"/>
                <a:gd name="connsiteX98" fmla="*/ 379098 w 598324"/>
                <a:gd name="connsiteY98" fmla="*/ 109852 h 761503"/>
                <a:gd name="connsiteX99" fmla="*/ 368219 w 598324"/>
                <a:gd name="connsiteY99" fmla="*/ 93534 h 761503"/>
                <a:gd name="connsiteX100" fmla="*/ 370939 w 598324"/>
                <a:gd name="connsiteY100" fmla="*/ 85375 h 761503"/>
                <a:gd name="connsiteX101" fmla="*/ 387257 w 598324"/>
                <a:gd name="connsiteY101" fmla="*/ 77216 h 761503"/>
                <a:gd name="connsiteX102" fmla="*/ 422612 w 598324"/>
                <a:gd name="connsiteY102" fmla="*/ 71776 h 761503"/>
                <a:gd name="connsiteX103" fmla="*/ 436211 w 598324"/>
                <a:gd name="connsiteY103" fmla="*/ 71776 h 761503"/>
                <a:gd name="connsiteX104" fmla="*/ 438930 w 598324"/>
                <a:gd name="connsiteY104" fmla="*/ 69057 h 761503"/>
                <a:gd name="connsiteX105" fmla="*/ 452529 w 598324"/>
                <a:gd name="connsiteY105" fmla="*/ 66337 h 761503"/>
                <a:gd name="connsiteX106" fmla="*/ 466127 w 598324"/>
                <a:gd name="connsiteY106" fmla="*/ 69057 h 761503"/>
                <a:gd name="connsiteX107" fmla="*/ 471566 w 598324"/>
                <a:gd name="connsiteY107" fmla="*/ 71776 h 761503"/>
                <a:gd name="connsiteX108" fmla="*/ 515081 w 598324"/>
                <a:gd name="connsiteY108" fmla="*/ 71776 h 761503"/>
                <a:gd name="connsiteX109" fmla="*/ 542277 w 598324"/>
                <a:gd name="connsiteY109" fmla="*/ 88094 h 761503"/>
                <a:gd name="connsiteX110" fmla="*/ 536838 w 598324"/>
                <a:gd name="connsiteY110" fmla="*/ 104412 h 761503"/>
                <a:gd name="connsiteX111" fmla="*/ 525959 w 598324"/>
                <a:gd name="connsiteY111" fmla="*/ 112571 h 761503"/>
                <a:gd name="connsiteX112" fmla="*/ 509642 w 598324"/>
                <a:gd name="connsiteY112" fmla="*/ 115291 h 761503"/>
                <a:gd name="connsiteX113" fmla="*/ 468847 w 598324"/>
                <a:gd name="connsiteY113" fmla="*/ 115291 h 761503"/>
                <a:gd name="connsiteX114" fmla="*/ 457968 w 598324"/>
                <a:gd name="connsiteY114" fmla="*/ 137048 h 761503"/>
                <a:gd name="connsiteX115" fmla="*/ 430771 w 598324"/>
                <a:gd name="connsiteY115" fmla="*/ 194161 h 761503"/>
                <a:gd name="connsiteX116" fmla="*/ 400855 w 598324"/>
                <a:gd name="connsiteY116" fmla="*/ 262152 h 761503"/>
                <a:gd name="connsiteX117" fmla="*/ 360060 w 598324"/>
                <a:gd name="connsiteY117" fmla="*/ 332863 h 761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</a:cxnLst>
              <a:rect l="l" t="t" r="r" b="b"/>
              <a:pathLst>
                <a:path w="598324" h="761503">
                  <a:moveTo>
                    <a:pt x="360060" y="332863"/>
                  </a:moveTo>
                  <a:cubicBezTo>
                    <a:pt x="351901" y="343742"/>
                    <a:pt x="341023" y="357340"/>
                    <a:pt x="341023" y="370939"/>
                  </a:cubicBezTo>
                  <a:cubicBezTo>
                    <a:pt x="341023" y="379098"/>
                    <a:pt x="357341" y="381817"/>
                    <a:pt x="376378" y="389976"/>
                  </a:cubicBezTo>
                  <a:cubicBezTo>
                    <a:pt x="395416" y="398135"/>
                    <a:pt x="417173" y="417173"/>
                    <a:pt x="425332" y="433491"/>
                  </a:cubicBezTo>
                  <a:cubicBezTo>
                    <a:pt x="430771" y="444369"/>
                    <a:pt x="436211" y="452528"/>
                    <a:pt x="438930" y="463407"/>
                  </a:cubicBezTo>
                  <a:cubicBezTo>
                    <a:pt x="444370" y="474286"/>
                    <a:pt x="447089" y="487884"/>
                    <a:pt x="449809" y="498762"/>
                  </a:cubicBezTo>
                  <a:cubicBezTo>
                    <a:pt x="452529" y="512361"/>
                    <a:pt x="452529" y="517800"/>
                    <a:pt x="457968" y="528679"/>
                  </a:cubicBezTo>
                  <a:cubicBezTo>
                    <a:pt x="463407" y="539557"/>
                    <a:pt x="463407" y="553155"/>
                    <a:pt x="466127" y="564034"/>
                  </a:cubicBezTo>
                  <a:cubicBezTo>
                    <a:pt x="468847" y="572193"/>
                    <a:pt x="468847" y="585791"/>
                    <a:pt x="471566" y="593950"/>
                  </a:cubicBezTo>
                  <a:cubicBezTo>
                    <a:pt x="474286" y="599390"/>
                    <a:pt x="477006" y="602109"/>
                    <a:pt x="479725" y="607548"/>
                  </a:cubicBezTo>
                  <a:cubicBezTo>
                    <a:pt x="482445" y="612988"/>
                    <a:pt x="487884" y="618427"/>
                    <a:pt x="487884" y="623867"/>
                  </a:cubicBezTo>
                  <a:cubicBezTo>
                    <a:pt x="490604" y="634745"/>
                    <a:pt x="496043" y="642904"/>
                    <a:pt x="501482" y="651063"/>
                  </a:cubicBezTo>
                  <a:cubicBezTo>
                    <a:pt x="506922" y="661942"/>
                    <a:pt x="512361" y="664661"/>
                    <a:pt x="523240" y="670101"/>
                  </a:cubicBezTo>
                  <a:cubicBezTo>
                    <a:pt x="528679" y="672820"/>
                    <a:pt x="534119" y="680979"/>
                    <a:pt x="534119" y="686418"/>
                  </a:cubicBezTo>
                  <a:cubicBezTo>
                    <a:pt x="534119" y="689138"/>
                    <a:pt x="534119" y="691858"/>
                    <a:pt x="531399" y="694578"/>
                  </a:cubicBezTo>
                  <a:cubicBezTo>
                    <a:pt x="525959" y="702736"/>
                    <a:pt x="512361" y="708176"/>
                    <a:pt x="498763" y="708176"/>
                  </a:cubicBezTo>
                  <a:cubicBezTo>
                    <a:pt x="485165" y="708176"/>
                    <a:pt x="466127" y="705456"/>
                    <a:pt x="449809" y="700017"/>
                  </a:cubicBezTo>
                  <a:cubicBezTo>
                    <a:pt x="430771" y="694578"/>
                    <a:pt x="409014" y="675540"/>
                    <a:pt x="400855" y="667381"/>
                  </a:cubicBezTo>
                  <a:cubicBezTo>
                    <a:pt x="392696" y="659222"/>
                    <a:pt x="387257" y="651063"/>
                    <a:pt x="381817" y="642904"/>
                  </a:cubicBezTo>
                  <a:cubicBezTo>
                    <a:pt x="376378" y="632025"/>
                    <a:pt x="370939" y="623867"/>
                    <a:pt x="368219" y="610268"/>
                  </a:cubicBezTo>
                  <a:cubicBezTo>
                    <a:pt x="360060" y="588511"/>
                    <a:pt x="357341" y="574913"/>
                    <a:pt x="349182" y="550436"/>
                  </a:cubicBezTo>
                  <a:cubicBezTo>
                    <a:pt x="343742" y="534118"/>
                    <a:pt x="341023" y="520520"/>
                    <a:pt x="338303" y="504202"/>
                  </a:cubicBezTo>
                  <a:cubicBezTo>
                    <a:pt x="335583" y="493323"/>
                    <a:pt x="332864" y="485164"/>
                    <a:pt x="330144" y="477005"/>
                  </a:cubicBezTo>
                  <a:cubicBezTo>
                    <a:pt x="327424" y="471566"/>
                    <a:pt x="324705" y="463407"/>
                    <a:pt x="321985" y="455248"/>
                  </a:cubicBezTo>
                  <a:cubicBezTo>
                    <a:pt x="316546" y="444369"/>
                    <a:pt x="311106" y="436210"/>
                    <a:pt x="305667" y="436210"/>
                  </a:cubicBezTo>
                  <a:cubicBezTo>
                    <a:pt x="302948" y="436210"/>
                    <a:pt x="300228" y="438930"/>
                    <a:pt x="294788" y="441650"/>
                  </a:cubicBezTo>
                  <a:cubicBezTo>
                    <a:pt x="289349" y="447089"/>
                    <a:pt x="283910" y="455248"/>
                    <a:pt x="278471" y="463407"/>
                  </a:cubicBezTo>
                  <a:cubicBezTo>
                    <a:pt x="270312" y="474286"/>
                    <a:pt x="267592" y="485164"/>
                    <a:pt x="264872" y="496043"/>
                  </a:cubicBezTo>
                  <a:cubicBezTo>
                    <a:pt x="264872" y="504202"/>
                    <a:pt x="262153" y="512361"/>
                    <a:pt x="262153" y="517800"/>
                  </a:cubicBezTo>
                  <a:cubicBezTo>
                    <a:pt x="262153" y="520520"/>
                    <a:pt x="262153" y="520520"/>
                    <a:pt x="262153" y="523239"/>
                  </a:cubicBezTo>
                  <a:cubicBezTo>
                    <a:pt x="262153" y="528679"/>
                    <a:pt x="262153" y="544997"/>
                    <a:pt x="262153" y="553155"/>
                  </a:cubicBezTo>
                  <a:cubicBezTo>
                    <a:pt x="262153" y="583072"/>
                    <a:pt x="264872" y="599390"/>
                    <a:pt x="262153" y="629306"/>
                  </a:cubicBezTo>
                  <a:cubicBezTo>
                    <a:pt x="262153" y="640184"/>
                    <a:pt x="262153" y="648343"/>
                    <a:pt x="259433" y="659222"/>
                  </a:cubicBezTo>
                  <a:cubicBezTo>
                    <a:pt x="270312" y="659222"/>
                    <a:pt x="278471" y="659222"/>
                    <a:pt x="283910" y="659222"/>
                  </a:cubicBezTo>
                  <a:cubicBezTo>
                    <a:pt x="297508" y="659222"/>
                    <a:pt x="321985" y="659222"/>
                    <a:pt x="321985" y="675540"/>
                  </a:cubicBezTo>
                  <a:cubicBezTo>
                    <a:pt x="321985" y="683699"/>
                    <a:pt x="319265" y="686418"/>
                    <a:pt x="316546" y="691858"/>
                  </a:cubicBezTo>
                  <a:cubicBezTo>
                    <a:pt x="311106" y="697297"/>
                    <a:pt x="305667" y="700017"/>
                    <a:pt x="300228" y="700017"/>
                  </a:cubicBezTo>
                  <a:cubicBezTo>
                    <a:pt x="292069" y="702736"/>
                    <a:pt x="283910" y="702736"/>
                    <a:pt x="278471" y="702736"/>
                  </a:cubicBezTo>
                  <a:cubicBezTo>
                    <a:pt x="275751" y="702736"/>
                    <a:pt x="259433" y="702736"/>
                    <a:pt x="243115" y="702736"/>
                  </a:cubicBezTo>
                  <a:cubicBezTo>
                    <a:pt x="237676" y="708176"/>
                    <a:pt x="229517" y="710895"/>
                    <a:pt x="221358" y="710895"/>
                  </a:cubicBezTo>
                  <a:cubicBezTo>
                    <a:pt x="213199" y="710895"/>
                    <a:pt x="202320" y="708176"/>
                    <a:pt x="194161" y="702736"/>
                  </a:cubicBezTo>
                  <a:cubicBezTo>
                    <a:pt x="186002" y="702736"/>
                    <a:pt x="180563" y="702736"/>
                    <a:pt x="177843" y="702736"/>
                  </a:cubicBezTo>
                  <a:cubicBezTo>
                    <a:pt x="164245" y="702736"/>
                    <a:pt x="139768" y="702736"/>
                    <a:pt x="126170" y="702736"/>
                  </a:cubicBezTo>
                  <a:cubicBezTo>
                    <a:pt x="118011" y="702736"/>
                    <a:pt x="109852" y="702736"/>
                    <a:pt x="101693" y="702736"/>
                  </a:cubicBezTo>
                  <a:cubicBezTo>
                    <a:pt x="93534" y="702736"/>
                    <a:pt x="82655" y="702736"/>
                    <a:pt x="74496" y="697297"/>
                  </a:cubicBezTo>
                  <a:cubicBezTo>
                    <a:pt x="66337" y="694578"/>
                    <a:pt x="58178" y="686418"/>
                    <a:pt x="58178" y="680979"/>
                  </a:cubicBezTo>
                  <a:cubicBezTo>
                    <a:pt x="58178" y="678260"/>
                    <a:pt x="58178" y="675540"/>
                    <a:pt x="63617" y="672820"/>
                  </a:cubicBezTo>
                  <a:cubicBezTo>
                    <a:pt x="69057" y="670101"/>
                    <a:pt x="79935" y="667381"/>
                    <a:pt x="85375" y="664661"/>
                  </a:cubicBezTo>
                  <a:cubicBezTo>
                    <a:pt x="104412" y="661942"/>
                    <a:pt x="123450" y="659222"/>
                    <a:pt x="128889" y="659222"/>
                  </a:cubicBezTo>
                  <a:cubicBezTo>
                    <a:pt x="134329" y="659222"/>
                    <a:pt x="139768" y="659222"/>
                    <a:pt x="147927" y="659222"/>
                  </a:cubicBezTo>
                  <a:cubicBezTo>
                    <a:pt x="147927" y="656502"/>
                    <a:pt x="145207" y="653783"/>
                    <a:pt x="145207" y="653783"/>
                  </a:cubicBezTo>
                  <a:cubicBezTo>
                    <a:pt x="131609" y="632025"/>
                    <a:pt x="131609" y="610268"/>
                    <a:pt x="131609" y="585791"/>
                  </a:cubicBezTo>
                  <a:cubicBezTo>
                    <a:pt x="131609" y="555875"/>
                    <a:pt x="131609" y="528679"/>
                    <a:pt x="134329" y="498762"/>
                  </a:cubicBezTo>
                  <a:cubicBezTo>
                    <a:pt x="134329" y="468846"/>
                    <a:pt x="137048" y="436210"/>
                    <a:pt x="137048" y="406294"/>
                  </a:cubicBezTo>
                  <a:cubicBezTo>
                    <a:pt x="137048" y="379098"/>
                    <a:pt x="134329" y="354621"/>
                    <a:pt x="134329" y="327424"/>
                  </a:cubicBezTo>
                  <a:cubicBezTo>
                    <a:pt x="134329" y="302947"/>
                    <a:pt x="137048" y="278470"/>
                    <a:pt x="137048" y="253993"/>
                  </a:cubicBezTo>
                  <a:cubicBezTo>
                    <a:pt x="137048" y="237675"/>
                    <a:pt x="139768" y="224077"/>
                    <a:pt x="139768" y="207759"/>
                  </a:cubicBezTo>
                  <a:cubicBezTo>
                    <a:pt x="139768" y="196881"/>
                    <a:pt x="137048" y="183282"/>
                    <a:pt x="137048" y="172404"/>
                  </a:cubicBezTo>
                  <a:cubicBezTo>
                    <a:pt x="137048" y="150647"/>
                    <a:pt x="137048" y="131609"/>
                    <a:pt x="137048" y="112571"/>
                  </a:cubicBezTo>
                  <a:cubicBezTo>
                    <a:pt x="134329" y="112571"/>
                    <a:pt x="137048" y="112571"/>
                    <a:pt x="126170" y="112571"/>
                  </a:cubicBezTo>
                  <a:cubicBezTo>
                    <a:pt x="118011" y="112571"/>
                    <a:pt x="109852" y="112571"/>
                    <a:pt x="101693" y="112571"/>
                  </a:cubicBezTo>
                  <a:cubicBezTo>
                    <a:pt x="93534" y="112571"/>
                    <a:pt x="82655" y="109852"/>
                    <a:pt x="74496" y="107132"/>
                  </a:cubicBezTo>
                  <a:cubicBezTo>
                    <a:pt x="66337" y="104412"/>
                    <a:pt x="58178" y="96253"/>
                    <a:pt x="58178" y="90814"/>
                  </a:cubicBezTo>
                  <a:cubicBezTo>
                    <a:pt x="58178" y="88094"/>
                    <a:pt x="58178" y="85375"/>
                    <a:pt x="63617" y="82655"/>
                  </a:cubicBezTo>
                  <a:cubicBezTo>
                    <a:pt x="69057" y="79936"/>
                    <a:pt x="79935" y="77216"/>
                    <a:pt x="85375" y="74496"/>
                  </a:cubicBezTo>
                  <a:cubicBezTo>
                    <a:pt x="104412" y="71776"/>
                    <a:pt x="128889" y="69057"/>
                    <a:pt x="137048" y="69057"/>
                  </a:cubicBezTo>
                  <a:cubicBezTo>
                    <a:pt x="137048" y="69057"/>
                    <a:pt x="139768" y="69057"/>
                    <a:pt x="145207" y="69057"/>
                  </a:cubicBezTo>
                  <a:cubicBezTo>
                    <a:pt x="150646" y="60898"/>
                    <a:pt x="158806" y="58178"/>
                    <a:pt x="169684" y="58178"/>
                  </a:cubicBezTo>
                  <a:cubicBezTo>
                    <a:pt x="172404" y="58178"/>
                    <a:pt x="175123" y="58178"/>
                    <a:pt x="177843" y="58178"/>
                  </a:cubicBezTo>
                  <a:cubicBezTo>
                    <a:pt x="186002" y="58178"/>
                    <a:pt x="196881" y="63617"/>
                    <a:pt x="205040" y="66337"/>
                  </a:cubicBezTo>
                  <a:cubicBezTo>
                    <a:pt x="237676" y="66337"/>
                    <a:pt x="273031" y="63617"/>
                    <a:pt x="286629" y="63617"/>
                  </a:cubicBezTo>
                  <a:cubicBezTo>
                    <a:pt x="300228" y="63617"/>
                    <a:pt x="324705" y="63617"/>
                    <a:pt x="324705" y="79936"/>
                  </a:cubicBezTo>
                  <a:cubicBezTo>
                    <a:pt x="324705" y="88094"/>
                    <a:pt x="321985" y="90814"/>
                    <a:pt x="319265" y="96253"/>
                  </a:cubicBezTo>
                  <a:cubicBezTo>
                    <a:pt x="313826" y="101693"/>
                    <a:pt x="308387" y="104412"/>
                    <a:pt x="302948" y="104412"/>
                  </a:cubicBezTo>
                  <a:cubicBezTo>
                    <a:pt x="289349" y="112571"/>
                    <a:pt x="283910" y="112571"/>
                    <a:pt x="278471" y="112571"/>
                  </a:cubicBezTo>
                  <a:cubicBezTo>
                    <a:pt x="273031" y="112571"/>
                    <a:pt x="253994" y="112571"/>
                    <a:pt x="232236" y="112571"/>
                  </a:cubicBezTo>
                  <a:cubicBezTo>
                    <a:pt x="237676" y="120730"/>
                    <a:pt x="240395" y="128889"/>
                    <a:pt x="240395" y="137048"/>
                  </a:cubicBezTo>
                  <a:cubicBezTo>
                    <a:pt x="240395" y="142487"/>
                    <a:pt x="240395" y="145207"/>
                    <a:pt x="240395" y="150647"/>
                  </a:cubicBezTo>
                  <a:cubicBezTo>
                    <a:pt x="240395" y="153366"/>
                    <a:pt x="240395" y="156086"/>
                    <a:pt x="243115" y="158805"/>
                  </a:cubicBezTo>
                  <a:cubicBezTo>
                    <a:pt x="245835" y="169684"/>
                    <a:pt x="245835" y="180563"/>
                    <a:pt x="248554" y="188722"/>
                  </a:cubicBezTo>
                  <a:cubicBezTo>
                    <a:pt x="248554" y="191441"/>
                    <a:pt x="248554" y="194161"/>
                    <a:pt x="248554" y="199600"/>
                  </a:cubicBezTo>
                  <a:cubicBezTo>
                    <a:pt x="248554" y="207759"/>
                    <a:pt x="248554" y="213198"/>
                    <a:pt x="248554" y="221357"/>
                  </a:cubicBezTo>
                  <a:cubicBezTo>
                    <a:pt x="248554" y="234956"/>
                    <a:pt x="251274" y="248554"/>
                    <a:pt x="253994" y="264872"/>
                  </a:cubicBezTo>
                  <a:cubicBezTo>
                    <a:pt x="256713" y="275751"/>
                    <a:pt x="259433" y="286629"/>
                    <a:pt x="262153" y="297508"/>
                  </a:cubicBezTo>
                  <a:cubicBezTo>
                    <a:pt x="264872" y="305667"/>
                    <a:pt x="264872" y="313826"/>
                    <a:pt x="264872" y="324704"/>
                  </a:cubicBezTo>
                  <a:cubicBezTo>
                    <a:pt x="264872" y="327424"/>
                    <a:pt x="264872" y="330144"/>
                    <a:pt x="264872" y="332863"/>
                  </a:cubicBezTo>
                  <a:cubicBezTo>
                    <a:pt x="264872" y="338303"/>
                    <a:pt x="264872" y="346462"/>
                    <a:pt x="264872" y="351901"/>
                  </a:cubicBezTo>
                  <a:cubicBezTo>
                    <a:pt x="264872" y="357340"/>
                    <a:pt x="262153" y="365499"/>
                    <a:pt x="262153" y="370939"/>
                  </a:cubicBezTo>
                  <a:cubicBezTo>
                    <a:pt x="262153" y="376378"/>
                    <a:pt x="264872" y="384537"/>
                    <a:pt x="267592" y="384537"/>
                  </a:cubicBezTo>
                  <a:cubicBezTo>
                    <a:pt x="273031" y="384537"/>
                    <a:pt x="275751" y="376378"/>
                    <a:pt x="278471" y="370939"/>
                  </a:cubicBezTo>
                  <a:cubicBezTo>
                    <a:pt x="283910" y="360060"/>
                    <a:pt x="289349" y="346462"/>
                    <a:pt x="297508" y="332863"/>
                  </a:cubicBezTo>
                  <a:cubicBezTo>
                    <a:pt x="302948" y="324704"/>
                    <a:pt x="305667" y="313826"/>
                    <a:pt x="311106" y="305667"/>
                  </a:cubicBezTo>
                  <a:cubicBezTo>
                    <a:pt x="319265" y="289349"/>
                    <a:pt x="327424" y="275751"/>
                    <a:pt x="335583" y="259433"/>
                  </a:cubicBezTo>
                  <a:cubicBezTo>
                    <a:pt x="341023" y="248554"/>
                    <a:pt x="349182" y="234956"/>
                    <a:pt x="354621" y="224077"/>
                  </a:cubicBezTo>
                  <a:cubicBezTo>
                    <a:pt x="362780" y="207759"/>
                    <a:pt x="370939" y="191441"/>
                    <a:pt x="381817" y="172404"/>
                  </a:cubicBezTo>
                  <a:cubicBezTo>
                    <a:pt x="389977" y="153366"/>
                    <a:pt x="400855" y="134329"/>
                    <a:pt x="409014" y="118011"/>
                  </a:cubicBezTo>
                  <a:cubicBezTo>
                    <a:pt x="409014" y="115291"/>
                    <a:pt x="409014" y="115291"/>
                    <a:pt x="411734" y="115291"/>
                  </a:cubicBezTo>
                  <a:cubicBezTo>
                    <a:pt x="406294" y="115291"/>
                    <a:pt x="400855" y="115291"/>
                    <a:pt x="398136" y="115291"/>
                  </a:cubicBezTo>
                  <a:cubicBezTo>
                    <a:pt x="392696" y="115291"/>
                    <a:pt x="384537" y="115291"/>
                    <a:pt x="379098" y="109852"/>
                  </a:cubicBezTo>
                  <a:cubicBezTo>
                    <a:pt x="373659" y="107132"/>
                    <a:pt x="368219" y="98973"/>
                    <a:pt x="368219" y="93534"/>
                  </a:cubicBezTo>
                  <a:cubicBezTo>
                    <a:pt x="368219" y="90814"/>
                    <a:pt x="368219" y="88094"/>
                    <a:pt x="370939" y="85375"/>
                  </a:cubicBezTo>
                  <a:cubicBezTo>
                    <a:pt x="373659" y="82655"/>
                    <a:pt x="381817" y="79936"/>
                    <a:pt x="387257" y="77216"/>
                  </a:cubicBezTo>
                  <a:cubicBezTo>
                    <a:pt x="400855" y="74496"/>
                    <a:pt x="414453" y="71776"/>
                    <a:pt x="422612" y="71776"/>
                  </a:cubicBezTo>
                  <a:cubicBezTo>
                    <a:pt x="425332" y="71776"/>
                    <a:pt x="430771" y="71776"/>
                    <a:pt x="436211" y="71776"/>
                  </a:cubicBezTo>
                  <a:cubicBezTo>
                    <a:pt x="436211" y="71776"/>
                    <a:pt x="438930" y="69057"/>
                    <a:pt x="438930" y="69057"/>
                  </a:cubicBezTo>
                  <a:cubicBezTo>
                    <a:pt x="444370" y="66337"/>
                    <a:pt x="447089" y="66337"/>
                    <a:pt x="452529" y="66337"/>
                  </a:cubicBezTo>
                  <a:cubicBezTo>
                    <a:pt x="457968" y="66337"/>
                    <a:pt x="460688" y="66337"/>
                    <a:pt x="466127" y="69057"/>
                  </a:cubicBezTo>
                  <a:cubicBezTo>
                    <a:pt x="468847" y="69057"/>
                    <a:pt x="471566" y="71776"/>
                    <a:pt x="471566" y="71776"/>
                  </a:cubicBezTo>
                  <a:cubicBezTo>
                    <a:pt x="490604" y="71776"/>
                    <a:pt x="506922" y="71776"/>
                    <a:pt x="515081" y="71776"/>
                  </a:cubicBezTo>
                  <a:cubicBezTo>
                    <a:pt x="523240" y="71776"/>
                    <a:pt x="542277" y="71776"/>
                    <a:pt x="542277" y="88094"/>
                  </a:cubicBezTo>
                  <a:cubicBezTo>
                    <a:pt x="542277" y="96253"/>
                    <a:pt x="542277" y="98973"/>
                    <a:pt x="536838" y="104412"/>
                  </a:cubicBezTo>
                  <a:cubicBezTo>
                    <a:pt x="534119" y="109852"/>
                    <a:pt x="528679" y="112571"/>
                    <a:pt x="525959" y="112571"/>
                  </a:cubicBezTo>
                  <a:cubicBezTo>
                    <a:pt x="520520" y="115291"/>
                    <a:pt x="515081" y="115291"/>
                    <a:pt x="509642" y="115291"/>
                  </a:cubicBezTo>
                  <a:cubicBezTo>
                    <a:pt x="506922" y="115291"/>
                    <a:pt x="487884" y="115291"/>
                    <a:pt x="468847" y="115291"/>
                  </a:cubicBezTo>
                  <a:cubicBezTo>
                    <a:pt x="466127" y="123450"/>
                    <a:pt x="460688" y="128889"/>
                    <a:pt x="457968" y="137048"/>
                  </a:cubicBezTo>
                  <a:cubicBezTo>
                    <a:pt x="447089" y="156086"/>
                    <a:pt x="438930" y="175123"/>
                    <a:pt x="430771" y="194161"/>
                  </a:cubicBezTo>
                  <a:cubicBezTo>
                    <a:pt x="419893" y="215918"/>
                    <a:pt x="411734" y="240395"/>
                    <a:pt x="400855" y="262152"/>
                  </a:cubicBezTo>
                  <a:cubicBezTo>
                    <a:pt x="387257" y="289349"/>
                    <a:pt x="373659" y="311106"/>
                    <a:pt x="360060" y="332863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6" name="Freeform: Shape 45">
              <a:extLst>
                <a:ext uri="{FF2B5EF4-FFF2-40B4-BE49-F238E27FC236}">
                  <a16:creationId xmlns:a16="http://schemas.microsoft.com/office/drawing/2014/main" id="{34A535C0-EFC9-4E88-9ED6-FA4561E43589}"/>
                </a:ext>
              </a:extLst>
            </p:cNvPr>
            <p:cNvSpPr/>
            <p:nvPr/>
          </p:nvSpPr>
          <p:spPr>
            <a:xfrm>
              <a:off x="4335316" y="4186718"/>
              <a:ext cx="353556" cy="761503"/>
            </a:xfrm>
            <a:custGeom>
              <a:avLst/>
              <a:gdLst>
                <a:gd name="connsiteX0" fmla="*/ 283910 w 353555"/>
                <a:gd name="connsiteY0" fmla="*/ 672820 h 761503"/>
                <a:gd name="connsiteX1" fmla="*/ 321985 w 353555"/>
                <a:gd name="connsiteY1" fmla="*/ 689138 h 761503"/>
                <a:gd name="connsiteX2" fmla="*/ 316546 w 353555"/>
                <a:gd name="connsiteY2" fmla="*/ 705456 h 761503"/>
                <a:gd name="connsiteX3" fmla="*/ 300228 w 353555"/>
                <a:gd name="connsiteY3" fmla="*/ 713615 h 761503"/>
                <a:gd name="connsiteX4" fmla="*/ 278471 w 353555"/>
                <a:gd name="connsiteY4" fmla="*/ 716335 h 761503"/>
                <a:gd name="connsiteX5" fmla="*/ 237676 w 353555"/>
                <a:gd name="connsiteY5" fmla="*/ 716335 h 761503"/>
                <a:gd name="connsiteX6" fmla="*/ 180563 w 353555"/>
                <a:gd name="connsiteY6" fmla="*/ 719054 h 761503"/>
                <a:gd name="connsiteX7" fmla="*/ 126170 w 353555"/>
                <a:gd name="connsiteY7" fmla="*/ 719054 h 761503"/>
                <a:gd name="connsiteX8" fmla="*/ 101693 w 353555"/>
                <a:gd name="connsiteY8" fmla="*/ 719054 h 761503"/>
                <a:gd name="connsiteX9" fmla="*/ 74496 w 353555"/>
                <a:gd name="connsiteY9" fmla="*/ 713615 h 761503"/>
                <a:gd name="connsiteX10" fmla="*/ 58178 w 353555"/>
                <a:gd name="connsiteY10" fmla="*/ 697297 h 761503"/>
                <a:gd name="connsiteX11" fmla="*/ 63617 w 353555"/>
                <a:gd name="connsiteY11" fmla="*/ 689138 h 761503"/>
                <a:gd name="connsiteX12" fmla="*/ 85375 w 353555"/>
                <a:gd name="connsiteY12" fmla="*/ 680979 h 761503"/>
                <a:gd name="connsiteX13" fmla="*/ 131609 w 353555"/>
                <a:gd name="connsiteY13" fmla="*/ 675540 h 761503"/>
                <a:gd name="connsiteX14" fmla="*/ 142488 w 353555"/>
                <a:gd name="connsiteY14" fmla="*/ 675540 h 761503"/>
                <a:gd name="connsiteX15" fmla="*/ 131609 w 353555"/>
                <a:gd name="connsiteY15" fmla="*/ 653783 h 761503"/>
                <a:gd name="connsiteX16" fmla="*/ 128889 w 353555"/>
                <a:gd name="connsiteY16" fmla="*/ 640184 h 761503"/>
                <a:gd name="connsiteX17" fmla="*/ 128889 w 353555"/>
                <a:gd name="connsiteY17" fmla="*/ 629306 h 761503"/>
                <a:gd name="connsiteX18" fmla="*/ 128889 w 353555"/>
                <a:gd name="connsiteY18" fmla="*/ 621147 h 761503"/>
                <a:gd name="connsiteX19" fmla="*/ 128889 w 353555"/>
                <a:gd name="connsiteY19" fmla="*/ 593950 h 761503"/>
                <a:gd name="connsiteX20" fmla="*/ 128889 w 353555"/>
                <a:gd name="connsiteY20" fmla="*/ 583072 h 761503"/>
                <a:gd name="connsiteX21" fmla="*/ 128889 w 353555"/>
                <a:gd name="connsiteY21" fmla="*/ 436210 h 761503"/>
                <a:gd name="connsiteX22" fmla="*/ 128889 w 353555"/>
                <a:gd name="connsiteY22" fmla="*/ 357340 h 761503"/>
                <a:gd name="connsiteX23" fmla="*/ 131609 w 353555"/>
                <a:gd name="connsiteY23" fmla="*/ 289349 h 761503"/>
                <a:gd name="connsiteX24" fmla="*/ 131609 w 353555"/>
                <a:gd name="connsiteY24" fmla="*/ 251274 h 761503"/>
                <a:gd name="connsiteX25" fmla="*/ 131609 w 353555"/>
                <a:gd name="connsiteY25" fmla="*/ 205040 h 761503"/>
                <a:gd name="connsiteX26" fmla="*/ 131609 w 353555"/>
                <a:gd name="connsiteY26" fmla="*/ 139768 h 761503"/>
                <a:gd name="connsiteX27" fmla="*/ 131609 w 353555"/>
                <a:gd name="connsiteY27" fmla="*/ 128889 h 761503"/>
                <a:gd name="connsiteX28" fmla="*/ 126170 w 353555"/>
                <a:gd name="connsiteY28" fmla="*/ 128889 h 761503"/>
                <a:gd name="connsiteX29" fmla="*/ 101693 w 353555"/>
                <a:gd name="connsiteY29" fmla="*/ 128889 h 761503"/>
                <a:gd name="connsiteX30" fmla="*/ 74496 w 353555"/>
                <a:gd name="connsiteY30" fmla="*/ 123450 h 761503"/>
                <a:gd name="connsiteX31" fmla="*/ 58178 w 353555"/>
                <a:gd name="connsiteY31" fmla="*/ 107132 h 761503"/>
                <a:gd name="connsiteX32" fmla="*/ 60898 w 353555"/>
                <a:gd name="connsiteY32" fmla="*/ 98973 h 761503"/>
                <a:gd name="connsiteX33" fmla="*/ 82655 w 353555"/>
                <a:gd name="connsiteY33" fmla="*/ 93534 h 761503"/>
                <a:gd name="connsiteX34" fmla="*/ 131609 w 353555"/>
                <a:gd name="connsiteY34" fmla="*/ 88094 h 761503"/>
                <a:gd name="connsiteX35" fmla="*/ 131609 w 353555"/>
                <a:gd name="connsiteY35" fmla="*/ 82655 h 761503"/>
                <a:gd name="connsiteX36" fmla="*/ 134329 w 353555"/>
                <a:gd name="connsiteY36" fmla="*/ 71776 h 761503"/>
                <a:gd name="connsiteX37" fmla="*/ 147927 w 353555"/>
                <a:gd name="connsiteY37" fmla="*/ 63617 h 761503"/>
                <a:gd name="connsiteX38" fmla="*/ 164245 w 353555"/>
                <a:gd name="connsiteY38" fmla="*/ 58178 h 761503"/>
                <a:gd name="connsiteX39" fmla="*/ 177843 w 353555"/>
                <a:gd name="connsiteY39" fmla="*/ 58178 h 761503"/>
                <a:gd name="connsiteX40" fmla="*/ 196881 w 353555"/>
                <a:gd name="connsiteY40" fmla="*/ 60898 h 761503"/>
                <a:gd name="connsiteX41" fmla="*/ 232236 w 353555"/>
                <a:gd name="connsiteY41" fmla="*/ 88094 h 761503"/>
                <a:gd name="connsiteX42" fmla="*/ 278471 w 353555"/>
                <a:gd name="connsiteY42" fmla="*/ 88094 h 761503"/>
                <a:gd name="connsiteX43" fmla="*/ 316546 w 353555"/>
                <a:gd name="connsiteY43" fmla="*/ 104412 h 761503"/>
                <a:gd name="connsiteX44" fmla="*/ 311106 w 353555"/>
                <a:gd name="connsiteY44" fmla="*/ 120730 h 761503"/>
                <a:gd name="connsiteX45" fmla="*/ 294788 w 353555"/>
                <a:gd name="connsiteY45" fmla="*/ 128889 h 761503"/>
                <a:gd name="connsiteX46" fmla="*/ 273031 w 353555"/>
                <a:gd name="connsiteY46" fmla="*/ 131609 h 761503"/>
                <a:gd name="connsiteX47" fmla="*/ 243115 w 353555"/>
                <a:gd name="connsiteY47" fmla="*/ 131609 h 761503"/>
                <a:gd name="connsiteX48" fmla="*/ 243115 w 353555"/>
                <a:gd name="connsiteY48" fmla="*/ 134329 h 761503"/>
                <a:gd name="connsiteX49" fmla="*/ 248554 w 353555"/>
                <a:gd name="connsiteY49" fmla="*/ 169684 h 761503"/>
                <a:gd name="connsiteX50" fmla="*/ 251274 w 353555"/>
                <a:gd name="connsiteY50" fmla="*/ 205040 h 761503"/>
                <a:gd name="connsiteX51" fmla="*/ 251274 w 353555"/>
                <a:gd name="connsiteY51" fmla="*/ 240395 h 761503"/>
                <a:gd name="connsiteX52" fmla="*/ 251274 w 353555"/>
                <a:gd name="connsiteY52" fmla="*/ 256713 h 761503"/>
                <a:gd name="connsiteX53" fmla="*/ 253994 w 353555"/>
                <a:gd name="connsiteY53" fmla="*/ 270311 h 761503"/>
                <a:gd name="connsiteX54" fmla="*/ 259433 w 353555"/>
                <a:gd name="connsiteY54" fmla="*/ 343742 h 761503"/>
                <a:gd name="connsiteX55" fmla="*/ 262153 w 353555"/>
                <a:gd name="connsiteY55" fmla="*/ 425332 h 761503"/>
                <a:gd name="connsiteX56" fmla="*/ 264872 w 353555"/>
                <a:gd name="connsiteY56" fmla="*/ 490603 h 761503"/>
                <a:gd name="connsiteX57" fmla="*/ 270312 w 353555"/>
                <a:gd name="connsiteY57" fmla="*/ 564034 h 761503"/>
                <a:gd name="connsiteX58" fmla="*/ 270312 w 353555"/>
                <a:gd name="connsiteY58" fmla="*/ 599390 h 761503"/>
                <a:gd name="connsiteX59" fmla="*/ 270312 w 353555"/>
                <a:gd name="connsiteY59" fmla="*/ 637465 h 761503"/>
                <a:gd name="connsiteX60" fmla="*/ 264872 w 353555"/>
                <a:gd name="connsiteY60" fmla="*/ 670101 h 761503"/>
                <a:gd name="connsiteX61" fmla="*/ 283910 w 353555"/>
                <a:gd name="connsiteY61" fmla="*/ 672820 h 761503"/>
                <a:gd name="connsiteX62" fmla="*/ 283910 w 353555"/>
                <a:gd name="connsiteY62" fmla="*/ 672820 h 761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</a:cxnLst>
              <a:rect l="l" t="t" r="r" b="b"/>
              <a:pathLst>
                <a:path w="353555" h="761503">
                  <a:moveTo>
                    <a:pt x="283910" y="672820"/>
                  </a:moveTo>
                  <a:cubicBezTo>
                    <a:pt x="297508" y="672820"/>
                    <a:pt x="321985" y="672820"/>
                    <a:pt x="321985" y="689138"/>
                  </a:cubicBezTo>
                  <a:cubicBezTo>
                    <a:pt x="321985" y="697297"/>
                    <a:pt x="319265" y="697297"/>
                    <a:pt x="316546" y="705456"/>
                  </a:cubicBezTo>
                  <a:cubicBezTo>
                    <a:pt x="311106" y="710895"/>
                    <a:pt x="305667" y="713615"/>
                    <a:pt x="300228" y="713615"/>
                  </a:cubicBezTo>
                  <a:cubicBezTo>
                    <a:pt x="292069" y="716335"/>
                    <a:pt x="283910" y="716335"/>
                    <a:pt x="278471" y="716335"/>
                  </a:cubicBezTo>
                  <a:cubicBezTo>
                    <a:pt x="275751" y="716335"/>
                    <a:pt x="256713" y="716335"/>
                    <a:pt x="237676" y="716335"/>
                  </a:cubicBezTo>
                  <a:cubicBezTo>
                    <a:pt x="213199" y="716335"/>
                    <a:pt x="186002" y="719054"/>
                    <a:pt x="180563" y="719054"/>
                  </a:cubicBezTo>
                  <a:cubicBezTo>
                    <a:pt x="166965" y="719054"/>
                    <a:pt x="142488" y="719054"/>
                    <a:pt x="126170" y="719054"/>
                  </a:cubicBezTo>
                  <a:cubicBezTo>
                    <a:pt x="118011" y="719054"/>
                    <a:pt x="109852" y="719054"/>
                    <a:pt x="101693" y="719054"/>
                  </a:cubicBezTo>
                  <a:cubicBezTo>
                    <a:pt x="93534" y="719054"/>
                    <a:pt x="82655" y="719054"/>
                    <a:pt x="74496" y="713615"/>
                  </a:cubicBezTo>
                  <a:cubicBezTo>
                    <a:pt x="66337" y="710895"/>
                    <a:pt x="58178" y="702736"/>
                    <a:pt x="58178" y="697297"/>
                  </a:cubicBezTo>
                  <a:cubicBezTo>
                    <a:pt x="58178" y="694578"/>
                    <a:pt x="58178" y="691858"/>
                    <a:pt x="63617" y="689138"/>
                  </a:cubicBezTo>
                  <a:cubicBezTo>
                    <a:pt x="69057" y="686418"/>
                    <a:pt x="79935" y="683699"/>
                    <a:pt x="85375" y="680979"/>
                  </a:cubicBezTo>
                  <a:cubicBezTo>
                    <a:pt x="104412" y="678260"/>
                    <a:pt x="123450" y="675540"/>
                    <a:pt x="131609" y="675540"/>
                  </a:cubicBezTo>
                  <a:cubicBezTo>
                    <a:pt x="134329" y="675540"/>
                    <a:pt x="137048" y="675540"/>
                    <a:pt x="142488" y="675540"/>
                  </a:cubicBezTo>
                  <a:cubicBezTo>
                    <a:pt x="134329" y="670101"/>
                    <a:pt x="131609" y="661942"/>
                    <a:pt x="131609" y="653783"/>
                  </a:cubicBezTo>
                  <a:cubicBezTo>
                    <a:pt x="131609" y="648343"/>
                    <a:pt x="131609" y="642904"/>
                    <a:pt x="128889" y="640184"/>
                  </a:cubicBezTo>
                  <a:cubicBezTo>
                    <a:pt x="128889" y="637465"/>
                    <a:pt x="128889" y="634745"/>
                    <a:pt x="128889" y="629306"/>
                  </a:cubicBezTo>
                  <a:cubicBezTo>
                    <a:pt x="128889" y="626586"/>
                    <a:pt x="128889" y="623867"/>
                    <a:pt x="128889" y="621147"/>
                  </a:cubicBezTo>
                  <a:cubicBezTo>
                    <a:pt x="128889" y="612988"/>
                    <a:pt x="128889" y="604829"/>
                    <a:pt x="128889" y="593950"/>
                  </a:cubicBezTo>
                  <a:cubicBezTo>
                    <a:pt x="128889" y="591231"/>
                    <a:pt x="128889" y="585791"/>
                    <a:pt x="128889" y="583072"/>
                  </a:cubicBezTo>
                  <a:cubicBezTo>
                    <a:pt x="128889" y="534118"/>
                    <a:pt x="131609" y="485164"/>
                    <a:pt x="128889" y="436210"/>
                  </a:cubicBezTo>
                  <a:cubicBezTo>
                    <a:pt x="128889" y="409014"/>
                    <a:pt x="128889" y="384537"/>
                    <a:pt x="128889" y="357340"/>
                  </a:cubicBezTo>
                  <a:cubicBezTo>
                    <a:pt x="128889" y="335583"/>
                    <a:pt x="131609" y="313826"/>
                    <a:pt x="131609" y="289349"/>
                  </a:cubicBezTo>
                  <a:cubicBezTo>
                    <a:pt x="131609" y="275751"/>
                    <a:pt x="131609" y="264872"/>
                    <a:pt x="131609" y="251274"/>
                  </a:cubicBezTo>
                  <a:cubicBezTo>
                    <a:pt x="131609" y="234956"/>
                    <a:pt x="131609" y="221357"/>
                    <a:pt x="131609" y="205040"/>
                  </a:cubicBezTo>
                  <a:cubicBezTo>
                    <a:pt x="131609" y="183282"/>
                    <a:pt x="131609" y="161525"/>
                    <a:pt x="131609" y="139768"/>
                  </a:cubicBezTo>
                  <a:cubicBezTo>
                    <a:pt x="131609" y="137048"/>
                    <a:pt x="131609" y="134329"/>
                    <a:pt x="131609" y="128889"/>
                  </a:cubicBezTo>
                  <a:cubicBezTo>
                    <a:pt x="128889" y="128889"/>
                    <a:pt x="126170" y="128889"/>
                    <a:pt x="126170" y="128889"/>
                  </a:cubicBezTo>
                  <a:cubicBezTo>
                    <a:pt x="118011" y="128889"/>
                    <a:pt x="109852" y="128889"/>
                    <a:pt x="101693" y="128889"/>
                  </a:cubicBezTo>
                  <a:cubicBezTo>
                    <a:pt x="93534" y="128889"/>
                    <a:pt x="82655" y="128889"/>
                    <a:pt x="74496" y="123450"/>
                  </a:cubicBezTo>
                  <a:cubicBezTo>
                    <a:pt x="66337" y="120730"/>
                    <a:pt x="58178" y="112571"/>
                    <a:pt x="58178" y="107132"/>
                  </a:cubicBezTo>
                  <a:cubicBezTo>
                    <a:pt x="58178" y="104412"/>
                    <a:pt x="58178" y="101693"/>
                    <a:pt x="60898" y="98973"/>
                  </a:cubicBezTo>
                  <a:cubicBezTo>
                    <a:pt x="63617" y="96253"/>
                    <a:pt x="77216" y="93534"/>
                    <a:pt x="82655" y="93534"/>
                  </a:cubicBezTo>
                  <a:cubicBezTo>
                    <a:pt x="98973" y="90814"/>
                    <a:pt x="123450" y="88094"/>
                    <a:pt x="131609" y="88094"/>
                  </a:cubicBezTo>
                  <a:cubicBezTo>
                    <a:pt x="131609" y="85375"/>
                    <a:pt x="131609" y="85375"/>
                    <a:pt x="131609" y="82655"/>
                  </a:cubicBezTo>
                  <a:cubicBezTo>
                    <a:pt x="131609" y="77216"/>
                    <a:pt x="131609" y="74496"/>
                    <a:pt x="134329" y="71776"/>
                  </a:cubicBezTo>
                  <a:cubicBezTo>
                    <a:pt x="137048" y="69057"/>
                    <a:pt x="145207" y="66337"/>
                    <a:pt x="147927" y="63617"/>
                  </a:cubicBezTo>
                  <a:cubicBezTo>
                    <a:pt x="153366" y="60898"/>
                    <a:pt x="158806" y="58178"/>
                    <a:pt x="164245" y="58178"/>
                  </a:cubicBezTo>
                  <a:cubicBezTo>
                    <a:pt x="169684" y="58178"/>
                    <a:pt x="175123" y="58178"/>
                    <a:pt x="177843" y="58178"/>
                  </a:cubicBezTo>
                  <a:cubicBezTo>
                    <a:pt x="183283" y="58178"/>
                    <a:pt x="191442" y="58178"/>
                    <a:pt x="196881" y="60898"/>
                  </a:cubicBezTo>
                  <a:cubicBezTo>
                    <a:pt x="213199" y="63617"/>
                    <a:pt x="224077" y="74496"/>
                    <a:pt x="232236" y="88094"/>
                  </a:cubicBezTo>
                  <a:cubicBezTo>
                    <a:pt x="253994" y="88094"/>
                    <a:pt x="270312" y="88094"/>
                    <a:pt x="278471" y="88094"/>
                  </a:cubicBezTo>
                  <a:cubicBezTo>
                    <a:pt x="292069" y="88094"/>
                    <a:pt x="316546" y="88094"/>
                    <a:pt x="316546" y="104412"/>
                  </a:cubicBezTo>
                  <a:cubicBezTo>
                    <a:pt x="316546" y="112571"/>
                    <a:pt x="313826" y="112571"/>
                    <a:pt x="311106" y="120730"/>
                  </a:cubicBezTo>
                  <a:cubicBezTo>
                    <a:pt x="305667" y="126170"/>
                    <a:pt x="300228" y="128889"/>
                    <a:pt x="294788" y="128889"/>
                  </a:cubicBezTo>
                  <a:cubicBezTo>
                    <a:pt x="286630" y="131609"/>
                    <a:pt x="278471" y="131609"/>
                    <a:pt x="273031" y="131609"/>
                  </a:cubicBezTo>
                  <a:cubicBezTo>
                    <a:pt x="270312" y="131609"/>
                    <a:pt x="259433" y="131609"/>
                    <a:pt x="243115" y="131609"/>
                  </a:cubicBezTo>
                  <a:lnTo>
                    <a:pt x="243115" y="134329"/>
                  </a:lnTo>
                  <a:cubicBezTo>
                    <a:pt x="245835" y="145207"/>
                    <a:pt x="245835" y="158805"/>
                    <a:pt x="248554" y="169684"/>
                  </a:cubicBezTo>
                  <a:cubicBezTo>
                    <a:pt x="251274" y="180563"/>
                    <a:pt x="251274" y="194161"/>
                    <a:pt x="251274" y="205040"/>
                  </a:cubicBezTo>
                  <a:cubicBezTo>
                    <a:pt x="251274" y="215918"/>
                    <a:pt x="251274" y="226797"/>
                    <a:pt x="251274" y="240395"/>
                  </a:cubicBezTo>
                  <a:cubicBezTo>
                    <a:pt x="251274" y="245834"/>
                    <a:pt x="251274" y="251274"/>
                    <a:pt x="251274" y="256713"/>
                  </a:cubicBezTo>
                  <a:cubicBezTo>
                    <a:pt x="251274" y="262152"/>
                    <a:pt x="251274" y="267592"/>
                    <a:pt x="253994" y="270311"/>
                  </a:cubicBezTo>
                  <a:cubicBezTo>
                    <a:pt x="256713" y="294788"/>
                    <a:pt x="256713" y="319265"/>
                    <a:pt x="259433" y="343742"/>
                  </a:cubicBezTo>
                  <a:cubicBezTo>
                    <a:pt x="259433" y="370939"/>
                    <a:pt x="262153" y="398135"/>
                    <a:pt x="262153" y="425332"/>
                  </a:cubicBezTo>
                  <a:cubicBezTo>
                    <a:pt x="262153" y="447089"/>
                    <a:pt x="262153" y="468846"/>
                    <a:pt x="264872" y="490603"/>
                  </a:cubicBezTo>
                  <a:cubicBezTo>
                    <a:pt x="264872" y="515080"/>
                    <a:pt x="270312" y="539557"/>
                    <a:pt x="270312" y="564034"/>
                  </a:cubicBezTo>
                  <a:cubicBezTo>
                    <a:pt x="270312" y="574913"/>
                    <a:pt x="270312" y="588511"/>
                    <a:pt x="270312" y="599390"/>
                  </a:cubicBezTo>
                  <a:cubicBezTo>
                    <a:pt x="270312" y="612988"/>
                    <a:pt x="270312" y="623867"/>
                    <a:pt x="270312" y="637465"/>
                  </a:cubicBezTo>
                  <a:cubicBezTo>
                    <a:pt x="270312" y="648343"/>
                    <a:pt x="270312" y="661942"/>
                    <a:pt x="264872" y="670101"/>
                  </a:cubicBezTo>
                  <a:cubicBezTo>
                    <a:pt x="273031" y="672820"/>
                    <a:pt x="278471" y="672820"/>
                    <a:pt x="283910" y="672820"/>
                  </a:cubicBezTo>
                  <a:lnTo>
                    <a:pt x="283910" y="672820"/>
                  </a:ln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7" name="Freeform: Shape 46">
              <a:extLst>
                <a:ext uri="{FF2B5EF4-FFF2-40B4-BE49-F238E27FC236}">
                  <a16:creationId xmlns:a16="http://schemas.microsoft.com/office/drawing/2014/main" id="{BCA09B03-C6FB-46E6-AB89-1A6C42A51B45}"/>
                </a:ext>
              </a:extLst>
            </p:cNvPr>
            <p:cNvSpPr/>
            <p:nvPr/>
          </p:nvSpPr>
          <p:spPr>
            <a:xfrm>
              <a:off x="4620880" y="4194877"/>
              <a:ext cx="598325" cy="761503"/>
            </a:xfrm>
            <a:custGeom>
              <a:avLst/>
              <a:gdLst>
                <a:gd name="connsiteX0" fmla="*/ 515081 w 598324"/>
                <a:gd name="connsiteY0" fmla="*/ 79935 h 761503"/>
                <a:gd name="connsiteX1" fmla="*/ 542277 w 598324"/>
                <a:gd name="connsiteY1" fmla="*/ 96253 h 761503"/>
                <a:gd name="connsiteX2" fmla="*/ 536838 w 598324"/>
                <a:gd name="connsiteY2" fmla="*/ 112571 h 761503"/>
                <a:gd name="connsiteX3" fmla="*/ 523240 w 598324"/>
                <a:gd name="connsiteY3" fmla="*/ 120730 h 761503"/>
                <a:gd name="connsiteX4" fmla="*/ 506922 w 598324"/>
                <a:gd name="connsiteY4" fmla="*/ 123450 h 761503"/>
                <a:gd name="connsiteX5" fmla="*/ 477006 w 598324"/>
                <a:gd name="connsiteY5" fmla="*/ 123450 h 761503"/>
                <a:gd name="connsiteX6" fmla="*/ 479725 w 598324"/>
                <a:gd name="connsiteY6" fmla="*/ 145207 h 761503"/>
                <a:gd name="connsiteX7" fmla="*/ 477006 w 598324"/>
                <a:gd name="connsiteY7" fmla="*/ 180563 h 761503"/>
                <a:gd name="connsiteX8" fmla="*/ 482445 w 598324"/>
                <a:gd name="connsiteY8" fmla="*/ 232236 h 761503"/>
                <a:gd name="connsiteX9" fmla="*/ 485165 w 598324"/>
                <a:gd name="connsiteY9" fmla="*/ 283909 h 761503"/>
                <a:gd name="connsiteX10" fmla="*/ 485165 w 598324"/>
                <a:gd name="connsiteY10" fmla="*/ 327424 h 761503"/>
                <a:gd name="connsiteX11" fmla="*/ 487884 w 598324"/>
                <a:gd name="connsiteY11" fmla="*/ 373658 h 761503"/>
                <a:gd name="connsiteX12" fmla="*/ 485165 w 598324"/>
                <a:gd name="connsiteY12" fmla="*/ 419892 h 761503"/>
                <a:gd name="connsiteX13" fmla="*/ 485165 w 598324"/>
                <a:gd name="connsiteY13" fmla="*/ 463407 h 761503"/>
                <a:gd name="connsiteX14" fmla="*/ 482445 w 598324"/>
                <a:gd name="connsiteY14" fmla="*/ 515080 h 761503"/>
                <a:gd name="connsiteX15" fmla="*/ 482445 w 598324"/>
                <a:gd name="connsiteY15" fmla="*/ 558595 h 761503"/>
                <a:gd name="connsiteX16" fmla="*/ 479725 w 598324"/>
                <a:gd name="connsiteY16" fmla="*/ 602109 h 761503"/>
                <a:gd name="connsiteX17" fmla="*/ 485165 w 598324"/>
                <a:gd name="connsiteY17" fmla="*/ 648343 h 761503"/>
                <a:gd name="connsiteX18" fmla="*/ 474286 w 598324"/>
                <a:gd name="connsiteY18" fmla="*/ 675540 h 761503"/>
                <a:gd name="connsiteX19" fmla="*/ 428052 w 598324"/>
                <a:gd name="connsiteY19" fmla="*/ 691858 h 761503"/>
                <a:gd name="connsiteX20" fmla="*/ 387257 w 598324"/>
                <a:gd name="connsiteY20" fmla="*/ 683699 h 761503"/>
                <a:gd name="connsiteX21" fmla="*/ 351901 w 598324"/>
                <a:gd name="connsiteY21" fmla="*/ 664661 h 761503"/>
                <a:gd name="connsiteX22" fmla="*/ 305667 w 598324"/>
                <a:gd name="connsiteY22" fmla="*/ 596670 h 761503"/>
                <a:gd name="connsiteX23" fmla="*/ 270312 w 598324"/>
                <a:gd name="connsiteY23" fmla="*/ 509641 h 761503"/>
                <a:gd name="connsiteX24" fmla="*/ 251274 w 598324"/>
                <a:gd name="connsiteY24" fmla="*/ 460687 h 761503"/>
                <a:gd name="connsiteX25" fmla="*/ 224077 w 598324"/>
                <a:gd name="connsiteY25" fmla="*/ 381817 h 761503"/>
                <a:gd name="connsiteX26" fmla="*/ 207759 w 598324"/>
                <a:gd name="connsiteY26" fmla="*/ 330144 h 761503"/>
                <a:gd name="connsiteX27" fmla="*/ 191442 w 598324"/>
                <a:gd name="connsiteY27" fmla="*/ 286629 h 761503"/>
                <a:gd name="connsiteX28" fmla="*/ 183283 w 598324"/>
                <a:gd name="connsiteY28" fmla="*/ 278470 h 761503"/>
                <a:gd name="connsiteX29" fmla="*/ 180563 w 598324"/>
                <a:gd name="connsiteY29" fmla="*/ 292068 h 761503"/>
                <a:gd name="connsiteX30" fmla="*/ 180563 w 598324"/>
                <a:gd name="connsiteY30" fmla="*/ 305667 h 761503"/>
                <a:gd name="connsiteX31" fmla="*/ 183283 w 598324"/>
                <a:gd name="connsiteY31" fmla="*/ 354620 h 761503"/>
                <a:gd name="connsiteX32" fmla="*/ 188722 w 598324"/>
                <a:gd name="connsiteY32" fmla="*/ 449808 h 761503"/>
                <a:gd name="connsiteX33" fmla="*/ 188722 w 598324"/>
                <a:gd name="connsiteY33" fmla="*/ 479725 h 761503"/>
                <a:gd name="connsiteX34" fmla="*/ 188722 w 598324"/>
                <a:gd name="connsiteY34" fmla="*/ 542277 h 761503"/>
                <a:gd name="connsiteX35" fmla="*/ 186002 w 598324"/>
                <a:gd name="connsiteY35" fmla="*/ 615708 h 761503"/>
                <a:gd name="connsiteX36" fmla="*/ 186002 w 598324"/>
                <a:gd name="connsiteY36" fmla="*/ 637465 h 761503"/>
                <a:gd name="connsiteX37" fmla="*/ 183283 w 598324"/>
                <a:gd name="connsiteY37" fmla="*/ 664661 h 761503"/>
                <a:gd name="connsiteX38" fmla="*/ 226797 w 598324"/>
                <a:gd name="connsiteY38" fmla="*/ 664661 h 761503"/>
                <a:gd name="connsiteX39" fmla="*/ 253994 w 598324"/>
                <a:gd name="connsiteY39" fmla="*/ 680979 h 761503"/>
                <a:gd name="connsiteX40" fmla="*/ 248554 w 598324"/>
                <a:gd name="connsiteY40" fmla="*/ 697297 h 761503"/>
                <a:gd name="connsiteX41" fmla="*/ 234956 w 598324"/>
                <a:gd name="connsiteY41" fmla="*/ 705456 h 761503"/>
                <a:gd name="connsiteX42" fmla="*/ 218638 w 598324"/>
                <a:gd name="connsiteY42" fmla="*/ 708176 h 761503"/>
                <a:gd name="connsiteX43" fmla="*/ 183283 w 598324"/>
                <a:gd name="connsiteY43" fmla="*/ 708176 h 761503"/>
                <a:gd name="connsiteX44" fmla="*/ 150647 w 598324"/>
                <a:gd name="connsiteY44" fmla="*/ 708176 h 761503"/>
                <a:gd name="connsiteX45" fmla="*/ 107132 w 598324"/>
                <a:gd name="connsiteY45" fmla="*/ 708176 h 761503"/>
                <a:gd name="connsiteX46" fmla="*/ 88094 w 598324"/>
                <a:gd name="connsiteY46" fmla="*/ 708176 h 761503"/>
                <a:gd name="connsiteX47" fmla="*/ 69057 w 598324"/>
                <a:gd name="connsiteY47" fmla="*/ 702736 h 761503"/>
                <a:gd name="connsiteX48" fmla="*/ 58178 w 598324"/>
                <a:gd name="connsiteY48" fmla="*/ 686418 h 761503"/>
                <a:gd name="connsiteX49" fmla="*/ 60898 w 598324"/>
                <a:gd name="connsiteY49" fmla="*/ 678259 h 761503"/>
                <a:gd name="connsiteX50" fmla="*/ 77216 w 598324"/>
                <a:gd name="connsiteY50" fmla="*/ 670101 h 761503"/>
                <a:gd name="connsiteX51" fmla="*/ 120730 w 598324"/>
                <a:gd name="connsiteY51" fmla="*/ 664661 h 761503"/>
                <a:gd name="connsiteX52" fmla="*/ 131609 w 598324"/>
                <a:gd name="connsiteY52" fmla="*/ 664661 h 761503"/>
                <a:gd name="connsiteX53" fmla="*/ 134329 w 598324"/>
                <a:gd name="connsiteY53" fmla="*/ 539557 h 761503"/>
                <a:gd name="connsiteX54" fmla="*/ 134329 w 598324"/>
                <a:gd name="connsiteY54" fmla="*/ 504201 h 761503"/>
                <a:gd name="connsiteX55" fmla="*/ 131609 w 598324"/>
                <a:gd name="connsiteY55" fmla="*/ 376378 h 761503"/>
                <a:gd name="connsiteX56" fmla="*/ 131609 w 598324"/>
                <a:gd name="connsiteY56" fmla="*/ 302947 h 761503"/>
                <a:gd name="connsiteX57" fmla="*/ 134329 w 598324"/>
                <a:gd name="connsiteY57" fmla="*/ 221357 h 761503"/>
                <a:gd name="connsiteX58" fmla="*/ 137048 w 598324"/>
                <a:gd name="connsiteY58" fmla="*/ 123450 h 761503"/>
                <a:gd name="connsiteX59" fmla="*/ 107132 w 598324"/>
                <a:gd name="connsiteY59" fmla="*/ 123450 h 761503"/>
                <a:gd name="connsiteX60" fmla="*/ 88094 w 598324"/>
                <a:gd name="connsiteY60" fmla="*/ 123450 h 761503"/>
                <a:gd name="connsiteX61" fmla="*/ 69057 w 598324"/>
                <a:gd name="connsiteY61" fmla="*/ 118011 h 761503"/>
                <a:gd name="connsiteX62" fmla="*/ 58178 w 598324"/>
                <a:gd name="connsiteY62" fmla="*/ 101693 h 761503"/>
                <a:gd name="connsiteX63" fmla="*/ 60898 w 598324"/>
                <a:gd name="connsiteY63" fmla="*/ 93534 h 761503"/>
                <a:gd name="connsiteX64" fmla="*/ 77216 w 598324"/>
                <a:gd name="connsiteY64" fmla="*/ 85375 h 761503"/>
                <a:gd name="connsiteX65" fmla="*/ 131609 w 598324"/>
                <a:gd name="connsiteY65" fmla="*/ 79935 h 761503"/>
                <a:gd name="connsiteX66" fmla="*/ 161525 w 598324"/>
                <a:gd name="connsiteY66" fmla="*/ 79935 h 761503"/>
                <a:gd name="connsiteX67" fmla="*/ 177843 w 598324"/>
                <a:gd name="connsiteY67" fmla="*/ 66337 h 761503"/>
                <a:gd name="connsiteX68" fmla="*/ 202320 w 598324"/>
                <a:gd name="connsiteY68" fmla="*/ 58178 h 761503"/>
                <a:gd name="connsiteX69" fmla="*/ 234956 w 598324"/>
                <a:gd name="connsiteY69" fmla="*/ 77216 h 761503"/>
                <a:gd name="connsiteX70" fmla="*/ 251274 w 598324"/>
                <a:gd name="connsiteY70" fmla="*/ 107132 h 761503"/>
                <a:gd name="connsiteX71" fmla="*/ 267592 w 598324"/>
                <a:gd name="connsiteY71" fmla="*/ 147927 h 761503"/>
                <a:gd name="connsiteX72" fmla="*/ 281190 w 598324"/>
                <a:gd name="connsiteY72" fmla="*/ 183282 h 761503"/>
                <a:gd name="connsiteX73" fmla="*/ 297508 w 598324"/>
                <a:gd name="connsiteY73" fmla="*/ 224077 h 761503"/>
                <a:gd name="connsiteX74" fmla="*/ 308387 w 598324"/>
                <a:gd name="connsiteY74" fmla="*/ 264872 h 761503"/>
                <a:gd name="connsiteX75" fmla="*/ 319265 w 598324"/>
                <a:gd name="connsiteY75" fmla="*/ 300227 h 761503"/>
                <a:gd name="connsiteX76" fmla="*/ 351901 w 598324"/>
                <a:gd name="connsiteY76" fmla="*/ 379097 h 761503"/>
                <a:gd name="connsiteX77" fmla="*/ 365500 w 598324"/>
                <a:gd name="connsiteY77" fmla="*/ 417173 h 761503"/>
                <a:gd name="connsiteX78" fmla="*/ 379098 w 598324"/>
                <a:gd name="connsiteY78" fmla="*/ 457967 h 761503"/>
                <a:gd name="connsiteX79" fmla="*/ 395416 w 598324"/>
                <a:gd name="connsiteY79" fmla="*/ 496043 h 761503"/>
                <a:gd name="connsiteX80" fmla="*/ 406294 w 598324"/>
                <a:gd name="connsiteY80" fmla="*/ 512361 h 761503"/>
                <a:gd name="connsiteX81" fmla="*/ 411734 w 598324"/>
                <a:gd name="connsiteY81" fmla="*/ 531398 h 761503"/>
                <a:gd name="connsiteX82" fmla="*/ 419893 w 598324"/>
                <a:gd name="connsiteY82" fmla="*/ 558595 h 761503"/>
                <a:gd name="connsiteX83" fmla="*/ 425332 w 598324"/>
                <a:gd name="connsiteY83" fmla="*/ 564034 h 761503"/>
                <a:gd name="connsiteX84" fmla="*/ 430771 w 598324"/>
                <a:gd name="connsiteY84" fmla="*/ 558595 h 761503"/>
                <a:gd name="connsiteX85" fmla="*/ 430771 w 598324"/>
                <a:gd name="connsiteY85" fmla="*/ 550436 h 761503"/>
                <a:gd name="connsiteX86" fmla="*/ 430771 w 598324"/>
                <a:gd name="connsiteY86" fmla="*/ 501482 h 761503"/>
                <a:gd name="connsiteX87" fmla="*/ 430771 w 598324"/>
                <a:gd name="connsiteY87" fmla="*/ 403574 h 761503"/>
                <a:gd name="connsiteX88" fmla="*/ 425332 w 598324"/>
                <a:gd name="connsiteY88" fmla="*/ 313826 h 761503"/>
                <a:gd name="connsiteX89" fmla="*/ 425332 w 598324"/>
                <a:gd name="connsiteY89" fmla="*/ 248554 h 761503"/>
                <a:gd name="connsiteX90" fmla="*/ 425332 w 598324"/>
                <a:gd name="connsiteY90" fmla="*/ 210479 h 761503"/>
                <a:gd name="connsiteX91" fmla="*/ 422613 w 598324"/>
                <a:gd name="connsiteY91" fmla="*/ 153366 h 761503"/>
                <a:gd name="connsiteX92" fmla="*/ 425332 w 598324"/>
                <a:gd name="connsiteY92" fmla="*/ 123450 h 761503"/>
                <a:gd name="connsiteX93" fmla="*/ 398136 w 598324"/>
                <a:gd name="connsiteY93" fmla="*/ 123450 h 761503"/>
                <a:gd name="connsiteX94" fmla="*/ 379098 w 598324"/>
                <a:gd name="connsiteY94" fmla="*/ 123450 h 761503"/>
                <a:gd name="connsiteX95" fmla="*/ 360060 w 598324"/>
                <a:gd name="connsiteY95" fmla="*/ 118011 h 761503"/>
                <a:gd name="connsiteX96" fmla="*/ 349182 w 598324"/>
                <a:gd name="connsiteY96" fmla="*/ 101693 h 761503"/>
                <a:gd name="connsiteX97" fmla="*/ 351901 w 598324"/>
                <a:gd name="connsiteY97" fmla="*/ 93534 h 761503"/>
                <a:gd name="connsiteX98" fmla="*/ 368219 w 598324"/>
                <a:gd name="connsiteY98" fmla="*/ 85375 h 761503"/>
                <a:gd name="connsiteX99" fmla="*/ 422613 w 598324"/>
                <a:gd name="connsiteY99" fmla="*/ 79935 h 761503"/>
                <a:gd name="connsiteX100" fmla="*/ 444370 w 598324"/>
                <a:gd name="connsiteY100" fmla="*/ 79935 h 761503"/>
                <a:gd name="connsiteX101" fmla="*/ 463407 w 598324"/>
                <a:gd name="connsiteY101" fmla="*/ 71776 h 761503"/>
                <a:gd name="connsiteX102" fmla="*/ 477006 w 598324"/>
                <a:gd name="connsiteY102" fmla="*/ 79935 h 761503"/>
                <a:gd name="connsiteX103" fmla="*/ 515081 w 598324"/>
                <a:gd name="connsiteY103" fmla="*/ 79935 h 761503"/>
                <a:gd name="connsiteX104" fmla="*/ 515081 w 598324"/>
                <a:gd name="connsiteY104" fmla="*/ 79935 h 761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</a:cxnLst>
              <a:rect l="l" t="t" r="r" b="b"/>
              <a:pathLst>
                <a:path w="598324" h="761503">
                  <a:moveTo>
                    <a:pt x="515081" y="79935"/>
                  </a:moveTo>
                  <a:cubicBezTo>
                    <a:pt x="523240" y="79935"/>
                    <a:pt x="542277" y="79935"/>
                    <a:pt x="542277" y="96253"/>
                  </a:cubicBezTo>
                  <a:cubicBezTo>
                    <a:pt x="542277" y="104412"/>
                    <a:pt x="542277" y="107132"/>
                    <a:pt x="536838" y="112571"/>
                  </a:cubicBezTo>
                  <a:cubicBezTo>
                    <a:pt x="534119" y="118011"/>
                    <a:pt x="528679" y="120730"/>
                    <a:pt x="523240" y="120730"/>
                  </a:cubicBezTo>
                  <a:cubicBezTo>
                    <a:pt x="515081" y="123450"/>
                    <a:pt x="512361" y="123450"/>
                    <a:pt x="506922" y="123450"/>
                  </a:cubicBezTo>
                  <a:cubicBezTo>
                    <a:pt x="504202" y="123450"/>
                    <a:pt x="490604" y="123450"/>
                    <a:pt x="477006" y="123450"/>
                  </a:cubicBezTo>
                  <a:cubicBezTo>
                    <a:pt x="477006" y="131609"/>
                    <a:pt x="479725" y="137048"/>
                    <a:pt x="479725" y="145207"/>
                  </a:cubicBezTo>
                  <a:cubicBezTo>
                    <a:pt x="479725" y="156086"/>
                    <a:pt x="477006" y="166964"/>
                    <a:pt x="477006" y="180563"/>
                  </a:cubicBezTo>
                  <a:cubicBezTo>
                    <a:pt x="477006" y="196881"/>
                    <a:pt x="479725" y="215918"/>
                    <a:pt x="482445" y="232236"/>
                  </a:cubicBezTo>
                  <a:cubicBezTo>
                    <a:pt x="485165" y="248554"/>
                    <a:pt x="485165" y="267592"/>
                    <a:pt x="485165" y="283909"/>
                  </a:cubicBezTo>
                  <a:cubicBezTo>
                    <a:pt x="485165" y="297508"/>
                    <a:pt x="485165" y="313826"/>
                    <a:pt x="485165" y="327424"/>
                  </a:cubicBezTo>
                  <a:cubicBezTo>
                    <a:pt x="485165" y="343742"/>
                    <a:pt x="487884" y="357340"/>
                    <a:pt x="487884" y="373658"/>
                  </a:cubicBezTo>
                  <a:cubicBezTo>
                    <a:pt x="487884" y="389976"/>
                    <a:pt x="485165" y="403574"/>
                    <a:pt x="485165" y="419892"/>
                  </a:cubicBezTo>
                  <a:cubicBezTo>
                    <a:pt x="485165" y="436210"/>
                    <a:pt x="485165" y="449808"/>
                    <a:pt x="485165" y="463407"/>
                  </a:cubicBezTo>
                  <a:cubicBezTo>
                    <a:pt x="485165" y="479725"/>
                    <a:pt x="485165" y="498762"/>
                    <a:pt x="482445" y="515080"/>
                  </a:cubicBezTo>
                  <a:cubicBezTo>
                    <a:pt x="482445" y="528678"/>
                    <a:pt x="482445" y="542277"/>
                    <a:pt x="482445" y="558595"/>
                  </a:cubicBezTo>
                  <a:cubicBezTo>
                    <a:pt x="482445" y="572193"/>
                    <a:pt x="479725" y="588511"/>
                    <a:pt x="479725" y="602109"/>
                  </a:cubicBezTo>
                  <a:cubicBezTo>
                    <a:pt x="479725" y="615708"/>
                    <a:pt x="485165" y="632025"/>
                    <a:pt x="485165" y="648343"/>
                  </a:cubicBezTo>
                  <a:cubicBezTo>
                    <a:pt x="485165" y="659222"/>
                    <a:pt x="482445" y="670101"/>
                    <a:pt x="474286" y="675540"/>
                  </a:cubicBezTo>
                  <a:cubicBezTo>
                    <a:pt x="460688" y="686418"/>
                    <a:pt x="444370" y="691858"/>
                    <a:pt x="428052" y="691858"/>
                  </a:cubicBezTo>
                  <a:cubicBezTo>
                    <a:pt x="414453" y="691858"/>
                    <a:pt x="400855" y="689138"/>
                    <a:pt x="387257" y="683699"/>
                  </a:cubicBezTo>
                  <a:cubicBezTo>
                    <a:pt x="373659" y="678259"/>
                    <a:pt x="360060" y="672820"/>
                    <a:pt x="351901" y="664661"/>
                  </a:cubicBezTo>
                  <a:cubicBezTo>
                    <a:pt x="330144" y="645624"/>
                    <a:pt x="316546" y="621147"/>
                    <a:pt x="305667" y="596670"/>
                  </a:cubicBezTo>
                  <a:cubicBezTo>
                    <a:pt x="292069" y="569473"/>
                    <a:pt x="281190" y="539557"/>
                    <a:pt x="270312" y="509641"/>
                  </a:cubicBezTo>
                  <a:cubicBezTo>
                    <a:pt x="264872" y="493323"/>
                    <a:pt x="256713" y="477005"/>
                    <a:pt x="251274" y="460687"/>
                  </a:cubicBezTo>
                  <a:cubicBezTo>
                    <a:pt x="240395" y="433490"/>
                    <a:pt x="232236" y="409014"/>
                    <a:pt x="224077" y="381817"/>
                  </a:cubicBezTo>
                  <a:cubicBezTo>
                    <a:pt x="218638" y="365499"/>
                    <a:pt x="213199" y="346462"/>
                    <a:pt x="207759" y="330144"/>
                  </a:cubicBezTo>
                  <a:cubicBezTo>
                    <a:pt x="202320" y="316545"/>
                    <a:pt x="196881" y="300227"/>
                    <a:pt x="191442" y="286629"/>
                  </a:cubicBezTo>
                  <a:cubicBezTo>
                    <a:pt x="188722" y="281190"/>
                    <a:pt x="186002" y="278470"/>
                    <a:pt x="183283" y="278470"/>
                  </a:cubicBezTo>
                  <a:cubicBezTo>
                    <a:pt x="180563" y="278470"/>
                    <a:pt x="180563" y="286629"/>
                    <a:pt x="180563" y="292068"/>
                  </a:cubicBezTo>
                  <a:cubicBezTo>
                    <a:pt x="180563" y="297508"/>
                    <a:pt x="180563" y="302947"/>
                    <a:pt x="180563" y="305667"/>
                  </a:cubicBezTo>
                  <a:cubicBezTo>
                    <a:pt x="180563" y="321985"/>
                    <a:pt x="183283" y="338303"/>
                    <a:pt x="183283" y="354620"/>
                  </a:cubicBezTo>
                  <a:cubicBezTo>
                    <a:pt x="183283" y="387256"/>
                    <a:pt x="186002" y="417173"/>
                    <a:pt x="188722" y="449808"/>
                  </a:cubicBezTo>
                  <a:cubicBezTo>
                    <a:pt x="188722" y="460687"/>
                    <a:pt x="188722" y="468846"/>
                    <a:pt x="188722" y="479725"/>
                  </a:cubicBezTo>
                  <a:cubicBezTo>
                    <a:pt x="188722" y="501482"/>
                    <a:pt x="188722" y="523239"/>
                    <a:pt x="188722" y="542277"/>
                  </a:cubicBezTo>
                  <a:cubicBezTo>
                    <a:pt x="188722" y="566754"/>
                    <a:pt x="186002" y="591231"/>
                    <a:pt x="186002" y="615708"/>
                  </a:cubicBezTo>
                  <a:cubicBezTo>
                    <a:pt x="186002" y="623866"/>
                    <a:pt x="186002" y="632025"/>
                    <a:pt x="186002" y="637465"/>
                  </a:cubicBezTo>
                  <a:cubicBezTo>
                    <a:pt x="186002" y="645624"/>
                    <a:pt x="183283" y="656502"/>
                    <a:pt x="183283" y="664661"/>
                  </a:cubicBezTo>
                  <a:cubicBezTo>
                    <a:pt x="202320" y="664661"/>
                    <a:pt x="218638" y="664661"/>
                    <a:pt x="226797" y="664661"/>
                  </a:cubicBezTo>
                  <a:cubicBezTo>
                    <a:pt x="234956" y="664661"/>
                    <a:pt x="253994" y="664661"/>
                    <a:pt x="253994" y="680979"/>
                  </a:cubicBezTo>
                  <a:cubicBezTo>
                    <a:pt x="253994" y="689138"/>
                    <a:pt x="253994" y="691858"/>
                    <a:pt x="248554" y="697297"/>
                  </a:cubicBezTo>
                  <a:cubicBezTo>
                    <a:pt x="245835" y="702736"/>
                    <a:pt x="240395" y="705456"/>
                    <a:pt x="234956" y="705456"/>
                  </a:cubicBezTo>
                  <a:cubicBezTo>
                    <a:pt x="226797" y="708176"/>
                    <a:pt x="224077" y="708176"/>
                    <a:pt x="218638" y="708176"/>
                  </a:cubicBezTo>
                  <a:cubicBezTo>
                    <a:pt x="215918" y="708176"/>
                    <a:pt x="199600" y="708176"/>
                    <a:pt x="183283" y="708176"/>
                  </a:cubicBezTo>
                  <a:cubicBezTo>
                    <a:pt x="166965" y="708176"/>
                    <a:pt x="153366" y="708176"/>
                    <a:pt x="150647" y="708176"/>
                  </a:cubicBezTo>
                  <a:cubicBezTo>
                    <a:pt x="139768" y="708176"/>
                    <a:pt x="120730" y="708176"/>
                    <a:pt x="107132" y="708176"/>
                  </a:cubicBezTo>
                  <a:cubicBezTo>
                    <a:pt x="101693" y="708176"/>
                    <a:pt x="96254" y="708176"/>
                    <a:pt x="88094" y="708176"/>
                  </a:cubicBezTo>
                  <a:cubicBezTo>
                    <a:pt x="82655" y="708176"/>
                    <a:pt x="74496" y="708176"/>
                    <a:pt x="69057" y="702736"/>
                  </a:cubicBezTo>
                  <a:cubicBezTo>
                    <a:pt x="63617" y="700017"/>
                    <a:pt x="58178" y="691858"/>
                    <a:pt x="58178" y="686418"/>
                  </a:cubicBezTo>
                  <a:cubicBezTo>
                    <a:pt x="58178" y="683699"/>
                    <a:pt x="58178" y="680979"/>
                    <a:pt x="60898" y="678259"/>
                  </a:cubicBezTo>
                  <a:cubicBezTo>
                    <a:pt x="63617" y="675540"/>
                    <a:pt x="71777" y="672820"/>
                    <a:pt x="77216" y="670101"/>
                  </a:cubicBezTo>
                  <a:cubicBezTo>
                    <a:pt x="90814" y="667381"/>
                    <a:pt x="115291" y="664661"/>
                    <a:pt x="120730" y="664661"/>
                  </a:cubicBezTo>
                  <a:cubicBezTo>
                    <a:pt x="123450" y="664661"/>
                    <a:pt x="126170" y="664661"/>
                    <a:pt x="131609" y="664661"/>
                  </a:cubicBezTo>
                  <a:cubicBezTo>
                    <a:pt x="131609" y="623866"/>
                    <a:pt x="134329" y="583072"/>
                    <a:pt x="134329" y="539557"/>
                  </a:cubicBezTo>
                  <a:cubicBezTo>
                    <a:pt x="134329" y="528678"/>
                    <a:pt x="134329" y="515080"/>
                    <a:pt x="134329" y="504201"/>
                  </a:cubicBezTo>
                  <a:cubicBezTo>
                    <a:pt x="131609" y="460687"/>
                    <a:pt x="131609" y="417173"/>
                    <a:pt x="131609" y="376378"/>
                  </a:cubicBezTo>
                  <a:cubicBezTo>
                    <a:pt x="131609" y="351901"/>
                    <a:pt x="131609" y="327424"/>
                    <a:pt x="131609" y="302947"/>
                  </a:cubicBezTo>
                  <a:cubicBezTo>
                    <a:pt x="131609" y="275751"/>
                    <a:pt x="131609" y="248554"/>
                    <a:pt x="134329" y="221357"/>
                  </a:cubicBezTo>
                  <a:cubicBezTo>
                    <a:pt x="134329" y="188722"/>
                    <a:pt x="137048" y="156086"/>
                    <a:pt x="137048" y="123450"/>
                  </a:cubicBezTo>
                  <a:cubicBezTo>
                    <a:pt x="126170" y="123450"/>
                    <a:pt x="115291" y="123450"/>
                    <a:pt x="107132" y="123450"/>
                  </a:cubicBezTo>
                  <a:cubicBezTo>
                    <a:pt x="101693" y="123450"/>
                    <a:pt x="96254" y="123450"/>
                    <a:pt x="88094" y="123450"/>
                  </a:cubicBezTo>
                  <a:cubicBezTo>
                    <a:pt x="82655" y="123450"/>
                    <a:pt x="74496" y="120730"/>
                    <a:pt x="69057" y="118011"/>
                  </a:cubicBezTo>
                  <a:cubicBezTo>
                    <a:pt x="63617" y="115291"/>
                    <a:pt x="58178" y="107132"/>
                    <a:pt x="58178" y="101693"/>
                  </a:cubicBezTo>
                  <a:cubicBezTo>
                    <a:pt x="58178" y="98973"/>
                    <a:pt x="58178" y="96253"/>
                    <a:pt x="60898" y="93534"/>
                  </a:cubicBezTo>
                  <a:cubicBezTo>
                    <a:pt x="63617" y="90814"/>
                    <a:pt x="71777" y="88094"/>
                    <a:pt x="77216" y="85375"/>
                  </a:cubicBezTo>
                  <a:cubicBezTo>
                    <a:pt x="90814" y="82655"/>
                    <a:pt x="126170" y="79935"/>
                    <a:pt x="131609" y="79935"/>
                  </a:cubicBezTo>
                  <a:cubicBezTo>
                    <a:pt x="137048" y="79935"/>
                    <a:pt x="147927" y="79935"/>
                    <a:pt x="161525" y="79935"/>
                  </a:cubicBezTo>
                  <a:cubicBezTo>
                    <a:pt x="166965" y="74496"/>
                    <a:pt x="172404" y="71776"/>
                    <a:pt x="177843" y="66337"/>
                  </a:cubicBezTo>
                  <a:cubicBezTo>
                    <a:pt x="186002" y="60898"/>
                    <a:pt x="194161" y="58178"/>
                    <a:pt x="202320" y="58178"/>
                  </a:cubicBezTo>
                  <a:cubicBezTo>
                    <a:pt x="215918" y="58178"/>
                    <a:pt x="226797" y="63617"/>
                    <a:pt x="234956" y="77216"/>
                  </a:cubicBezTo>
                  <a:cubicBezTo>
                    <a:pt x="240395" y="88094"/>
                    <a:pt x="248554" y="96253"/>
                    <a:pt x="251274" y="107132"/>
                  </a:cubicBezTo>
                  <a:cubicBezTo>
                    <a:pt x="256713" y="120730"/>
                    <a:pt x="259433" y="134328"/>
                    <a:pt x="267592" y="147927"/>
                  </a:cubicBezTo>
                  <a:cubicBezTo>
                    <a:pt x="273031" y="158805"/>
                    <a:pt x="275751" y="172404"/>
                    <a:pt x="281190" y="183282"/>
                  </a:cubicBezTo>
                  <a:cubicBezTo>
                    <a:pt x="286630" y="196881"/>
                    <a:pt x="292069" y="210479"/>
                    <a:pt x="297508" y="224077"/>
                  </a:cubicBezTo>
                  <a:cubicBezTo>
                    <a:pt x="300228" y="237675"/>
                    <a:pt x="305667" y="251274"/>
                    <a:pt x="308387" y="264872"/>
                  </a:cubicBezTo>
                  <a:cubicBezTo>
                    <a:pt x="311106" y="278470"/>
                    <a:pt x="311106" y="289349"/>
                    <a:pt x="319265" y="300227"/>
                  </a:cubicBezTo>
                  <a:cubicBezTo>
                    <a:pt x="332864" y="324704"/>
                    <a:pt x="346462" y="351901"/>
                    <a:pt x="351901" y="379097"/>
                  </a:cubicBezTo>
                  <a:cubicBezTo>
                    <a:pt x="354621" y="392696"/>
                    <a:pt x="360060" y="403574"/>
                    <a:pt x="365500" y="417173"/>
                  </a:cubicBezTo>
                  <a:cubicBezTo>
                    <a:pt x="373659" y="430771"/>
                    <a:pt x="373659" y="444369"/>
                    <a:pt x="379098" y="457967"/>
                  </a:cubicBezTo>
                  <a:cubicBezTo>
                    <a:pt x="381818" y="471566"/>
                    <a:pt x="387257" y="482444"/>
                    <a:pt x="395416" y="496043"/>
                  </a:cubicBezTo>
                  <a:cubicBezTo>
                    <a:pt x="398136" y="501482"/>
                    <a:pt x="403575" y="506921"/>
                    <a:pt x="406294" y="512361"/>
                  </a:cubicBezTo>
                  <a:cubicBezTo>
                    <a:pt x="409014" y="517800"/>
                    <a:pt x="409014" y="525959"/>
                    <a:pt x="411734" y="531398"/>
                  </a:cubicBezTo>
                  <a:cubicBezTo>
                    <a:pt x="414453" y="539557"/>
                    <a:pt x="417173" y="550436"/>
                    <a:pt x="419893" y="558595"/>
                  </a:cubicBezTo>
                  <a:cubicBezTo>
                    <a:pt x="422613" y="561314"/>
                    <a:pt x="422613" y="564034"/>
                    <a:pt x="425332" y="564034"/>
                  </a:cubicBezTo>
                  <a:cubicBezTo>
                    <a:pt x="428052" y="564034"/>
                    <a:pt x="428052" y="561314"/>
                    <a:pt x="430771" y="558595"/>
                  </a:cubicBezTo>
                  <a:cubicBezTo>
                    <a:pt x="430771" y="555875"/>
                    <a:pt x="430771" y="553155"/>
                    <a:pt x="430771" y="550436"/>
                  </a:cubicBezTo>
                  <a:cubicBezTo>
                    <a:pt x="430771" y="534118"/>
                    <a:pt x="430771" y="517800"/>
                    <a:pt x="430771" y="501482"/>
                  </a:cubicBezTo>
                  <a:cubicBezTo>
                    <a:pt x="430771" y="468846"/>
                    <a:pt x="433491" y="436210"/>
                    <a:pt x="430771" y="403574"/>
                  </a:cubicBezTo>
                  <a:cubicBezTo>
                    <a:pt x="430771" y="373658"/>
                    <a:pt x="425332" y="343742"/>
                    <a:pt x="425332" y="313826"/>
                  </a:cubicBezTo>
                  <a:cubicBezTo>
                    <a:pt x="425332" y="292068"/>
                    <a:pt x="425332" y="270311"/>
                    <a:pt x="425332" y="248554"/>
                  </a:cubicBezTo>
                  <a:cubicBezTo>
                    <a:pt x="425332" y="234956"/>
                    <a:pt x="425332" y="224077"/>
                    <a:pt x="425332" y="210479"/>
                  </a:cubicBezTo>
                  <a:cubicBezTo>
                    <a:pt x="425332" y="191441"/>
                    <a:pt x="422613" y="172404"/>
                    <a:pt x="422613" y="153366"/>
                  </a:cubicBezTo>
                  <a:cubicBezTo>
                    <a:pt x="422613" y="142487"/>
                    <a:pt x="422613" y="134328"/>
                    <a:pt x="425332" y="123450"/>
                  </a:cubicBezTo>
                  <a:cubicBezTo>
                    <a:pt x="417173" y="123450"/>
                    <a:pt x="406294" y="123450"/>
                    <a:pt x="398136" y="123450"/>
                  </a:cubicBezTo>
                  <a:cubicBezTo>
                    <a:pt x="392696" y="123450"/>
                    <a:pt x="387257" y="123450"/>
                    <a:pt x="379098" y="123450"/>
                  </a:cubicBezTo>
                  <a:cubicBezTo>
                    <a:pt x="373659" y="123450"/>
                    <a:pt x="365500" y="120730"/>
                    <a:pt x="360060" y="118011"/>
                  </a:cubicBezTo>
                  <a:cubicBezTo>
                    <a:pt x="354621" y="115291"/>
                    <a:pt x="349182" y="107132"/>
                    <a:pt x="349182" y="101693"/>
                  </a:cubicBezTo>
                  <a:cubicBezTo>
                    <a:pt x="349182" y="98973"/>
                    <a:pt x="349182" y="96253"/>
                    <a:pt x="351901" y="93534"/>
                  </a:cubicBezTo>
                  <a:cubicBezTo>
                    <a:pt x="354621" y="90814"/>
                    <a:pt x="362780" y="88094"/>
                    <a:pt x="368219" y="85375"/>
                  </a:cubicBezTo>
                  <a:cubicBezTo>
                    <a:pt x="381818" y="82655"/>
                    <a:pt x="417173" y="79935"/>
                    <a:pt x="422613" y="79935"/>
                  </a:cubicBezTo>
                  <a:cubicBezTo>
                    <a:pt x="428052" y="79935"/>
                    <a:pt x="433491" y="79935"/>
                    <a:pt x="444370" y="79935"/>
                  </a:cubicBezTo>
                  <a:cubicBezTo>
                    <a:pt x="449809" y="74496"/>
                    <a:pt x="455248" y="71776"/>
                    <a:pt x="463407" y="71776"/>
                  </a:cubicBezTo>
                  <a:cubicBezTo>
                    <a:pt x="471566" y="71776"/>
                    <a:pt x="477006" y="74496"/>
                    <a:pt x="477006" y="79935"/>
                  </a:cubicBezTo>
                  <a:cubicBezTo>
                    <a:pt x="493324" y="79935"/>
                    <a:pt x="506922" y="79935"/>
                    <a:pt x="515081" y="79935"/>
                  </a:cubicBezTo>
                  <a:lnTo>
                    <a:pt x="515081" y="79935"/>
                  </a:ln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8" name="Freeform: Shape 47">
              <a:extLst>
                <a:ext uri="{FF2B5EF4-FFF2-40B4-BE49-F238E27FC236}">
                  <a16:creationId xmlns:a16="http://schemas.microsoft.com/office/drawing/2014/main" id="{036A51AB-A18D-4440-9151-7933E6130ED3}"/>
                </a:ext>
              </a:extLst>
            </p:cNvPr>
            <p:cNvSpPr/>
            <p:nvPr/>
          </p:nvSpPr>
          <p:spPr>
            <a:xfrm>
              <a:off x="5139126" y="4192158"/>
              <a:ext cx="516735" cy="788700"/>
            </a:xfrm>
            <a:custGeom>
              <a:avLst/>
              <a:gdLst>
                <a:gd name="connsiteX0" fmla="*/ 464616 w 516735"/>
                <a:gd name="connsiteY0" fmla="*/ 436210 h 788699"/>
                <a:gd name="connsiteX1" fmla="*/ 445578 w 516735"/>
                <a:gd name="connsiteY1" fmla="*/ 455248 h 788699"/>
                <a:gd name="connsiteX2" fmla="*/ 404784 w 516735"/>
                <a:gd name="connsiteY2" fmla="*/ 466126 h 788699"/>
                <a:gd name="connsiteX3" fmla="*/ 385746 w 516735"/>
                <a:gd name="connsiteY3" fmla="*/ 479725 h 788699"/>
                <a:gd name="connsiteX4" fmla="*/ 388466 w 516735"/>
                <a:gd name="connsiteY4" fmla="*/ 512361 h 788699"/>
                <a:gd name="connsiteX5" fmla="*/ 388466 w 516735"/>
                <a:gd name="connsiteY5" fmla="*/ 544997 h 788699"/>
                <a:gd name="connsiteX6" fmla="*/ 388466 w 516735"/>
                <a:gd name="connsiteY6" fmla="*/ 566754 h 788699"/>
                <a:gd name="connsiteX7" fmla="*/ 391185 w 516735"/>
                <a:gd name="connsiteY7" fmla="*/ 632026 h 788699"/>
                <a:gd name="connsiteX8" fmla="*/ 393905 w 516735"/>
                <a:gd name="connsiteY8" fmla="*/ 683699 h 788699"/>
                <a:gd name="connsiteX9" fmla="*/ 377587 w 516735"/>
                <a:gd name="connsiteY9" fmla="*/ 724494 h 788699"/>
                <a:gd name="connsiteX10" fmla="*/ 361269 w 516735"/>
                <a:gd name="connsiteY10" fmla="*/ 719054 h 788699"/>
                <a:gd name="connsiteX11" fmla="*/ 353110 w 516735"/>
                <a:gd name="connsiteY11" fmla="*/ 702737 h 788699"/>
                <a:gd name="connsiteX12" fmla="*/ 350390 w 516735"/>
                <a:gd name="connsiteY12" fmla="*/ 686419 h 788699"/>
                <a:gd name="connsiteX13" fmla="*/ 353110 w 516735"/>
                <a:gd name="connsiteY13" fmla="*/ 659222 h 788699"/>
                <a:gd name="connsiteX14" fmla="*/ 353110 w 516735"/>
                <a:gd name="connsiteY14" fmla="*/ 656502 h 788699"/>
                <a:gd name="connsiteX15" fmla="*/ 317755 w 516735"/>
                <a:gd name="connsiteY15" fmla="*/ 708176 h 788699"/>
                <a:gd name="connsiteX16" fmla="*/ 241604 w 516735"/>
                <a:gd name="connsiteY16" fmla="*/ 735372 h 788699"/>
                <a:gd name="connsiteX17" fmla="*/ 187211 w 516735"/>
                <a:gd name="connsiteY17" fmla="*/ 727214 h 788699"/>
                <a:gd name="connsiteX18" fmla="*/ 135538 w 516735"/>
                <a:gd name="connsiteY18" fmla="*/ 694578 h 788699"/>
                <a:gd name="connsiteX19" fmla="*/ 86584 w 516735"/>
                <a:gd name="connsiteY19" fmla="*/ 621147 h 788699"/>
                <a:gd name="connsiteX20" fmla="*/ 67546 w 516735"/>
                <a:gd name="connsiteY20" fmla="*/ 555875 h 788699"/>
                <a:gd name="connsiteX21" fmla="*/ 59387 w 516735"/>
                <a:gd name="connsiteY21" fmla="*/ 509641 h 788699"/>
                <a:gd name="connsiteX22" fmla="*/ 59387 w 516735"/>
                <a:gd name="connsiteY22" fmla="*/ 468846 h 788699"/>
                <a:gd name="connsiteX23" fmla="*/ 86584 w 516735"/>
                <a:gd name="connsiteY23" fmla="*/ 302947 h 788699"/>
                <a:gd name="connsiteX24" fmla="*/ 108341 w 516735"/>
                <a:gd name="connsiteY24" fmla="*/ 224077 h 788699"/>
                <a:gd name="connsiteX25" fmla="*/ 146416 w 516735"/>
                <a:gd name="connsiteY25" fmla="*/ 145207 h 788699"/>
                <a:gd name="connsiteX26" fmla="*/ 198090 w 516735"/>
                <a:gd name="connsiteY26" fmla="*/ 85375 h 788699"/>
                <a:gd name="connsiteX27" fmla="*/ 228006 w 516735"/>
                <a:gd name="connsiteY27" fmla="*/ 69057 h 788699"/>
                <a:gd name="connsiteX28" fmla="*/ 268801 w 516735"/>
                <a:gd name="connsiteY28" fmla="*/ 58178 h 788699"/>
                <a:gd name="connsiteX29" fmla="*/ 274240 w 516735"/>
                <a:gd name="connsiteY29" fmla="*/ 58178 h 788699"/>
                <a:gd name="connsiteX30" fmla="*/ 295997 w 516735"/>
                <a:gd name="connsiteY30" fmla="*/ 60898 h 788699"/>
                <a:gd name="connsiteX31" fmla="*/ 331353 w 516735"/>
                <a:gd name="connsiteY31" fmla="*/ 71776 h 788699"/>
                <a:gd name="connsiteX32" fmla="*/ 350390 w 516735"/>
                <a:gd name="connsiteY32" fmla="*/ 93534 h 788699"/>
                <a:gd name="connsiteX33" fmla="*/ 353110 w 516735"/>
                <a:gd name="connsiteY33" fmla="*/ 74496 h 788699"/>
                <a:gd name="connsiteX34" fmla="*/ 358549 w 516735"/>
                <a:gd name="connsiteY34" fmla="*/ 63618 h 788699"/>
                <a:gd name="connsiteX35" fmla="*/ 366708 w 516735"/>
                <a:gd name="connsiteY35" fmla="*/ 58178 h 788699"/>
                <a:gd name="connsiteX36" fmla="*/ 374867 w 516735"/>
                <a:gd name="connsiteY36" fmla="*/ 63618 h 788699"/>
                <a:gd name="connsiteX37" fmla="*/ 383026 w 516735"/>
                <a:gd name="connsiteY37" fmla="*/ 82655 h 788699"/>
                <a:gd name="connsiteX38" fmla="*/ 385746 w 516735"/>
                <a:gd name="connsiteY38" fmla="*/ 126170 h 788699"/>
                <a:gd name="connsiteX39" fmla="*/ 388466 w 516735"/>
                <a:gd name="connsiteY39" fmla="*/ 186002 h 788699"/>
                <a:gd name="connsiteX40" fmla="*/ 391185 w 516735"/>
                <a:gd name="connsiteY40" fmla="*/ 237676 h 788699"/>
                <a:gd name="connsiteX41" fmla="*/ 374867 w 516735"/>
                <a:gd name="connsiteY41" fmla="*/ 278470 h 788699"/>
                <a:gd name="connsiteX42" fmla="*/ 358549 w 516735"/>
                <a:gd name="connsiteY42" fmla="*/ 273031 h 788699"/>
                <a:gd name="connsiteX43" fmla="*/ 350390 w 516735"/>
                <a:gd name="connsiteY43" fmla="*/ 256713 h 788699"/>
                <a:gd name="connsiteX44" fmla="*/ 347671 w 516735"/>
                <a:gd name="connsiteY44" fmla="*/ 240395 h 788699"/>
                <a:gd name="connsiteX45" fmla="*/ 347671 w 516735"/>
                <a:gd name="connsiteY45" fmla="*/ 213199 h 788699"/>
                <a:gd name="connsiteX46" fmla="*/ 344951 w 516735"/>
                <a:gd name="connsiteY46" fmla="*/ 194161 h 788699"/>
                <a:gd name="connsiteX47" fmla="*/ 339512 w 516735"/>
                <a:gd name="connsiteY47" fmla="*/ 150647 h 788699"/>
                <a:gd name="connsiteX48" fmla="*/ 323194 w 516735"/>
                <a:gd name="connsiteY48" fmla="*/ 112571 h 788699"/>
                <a:gd name="connsiteX49" fmla="*/ 293278 w 516735"/>
                <a:gd name="connsiteY49" fmla="*/ 101693 h 788699"/>
                <a:gd name="connsiteX50" fmla="*/ 263361 w 516735"/>
                <a:gd name="connsiteY50" fmla="*/ 120730 h 788699"/>
                <a:gd name="connsiteX51" fmla="*/ 241604 w 516735"/>
                <a:gd name="connsiteY51" fmla="*/ 153366 h 788699"/>
                <a:gd name="connsiteX52" fmla="*/ 233445 w 516735"/>
                <a:gd name="connsiteY52" fmla="*/ 194161 h 788699"/>
                <a:gd name="connsiteX53" fmla="*/ 225286 w 516735"/>
                <a:gd name="connsiteY53" fmla="*/ 232236 h 788699"/>
                <a:gd name="connsiteX54" fmla="*/ 217127 w 516735"/>
                <a:gd name="connsiteY54" fmla="*/ 275751 h 788699"/>
                <a:gd name="connsiteX55" fmla="*/ 211688 w 516735"/>
                <a:gd name="connsiteY55" fmla="*/ 316545 h 788699"/>
                <a:gd name="connsiteX56" fmla="*/ 206249 w 516735"/>
                <a:gd name="connsiteY56" fmla="*/ 354621 h 788699"/>
                <a:gd name="connsiteX57" fmla="*/ 200809 w 516735"/>
                <a:gd name="connsiteY57" fmla="*/ 398135 h 788699"/>
                <a:gd name="connsiteX58" fmla="*/ 195370 w 516735"/>
                <a:gd name="connsiteY58" fmla="*/ 438930 h 788699"/>
                <a:gd name="connsiteX59" fmla="*/ 192650 w 516735"/>
                <a:gd name="connsiteY59" fmla="*/ 474286 h 788699"/>
                <a:gd name="connsiteX60" fmla="*/ 195370 w 516735"/>
                <a:gd name="connsiteY60" fmla="*/ 525959 h 788699"/>
                <a:gd name="connsiteX61" fmla="*/ 208968 w 516735"/>
                <a:gd name="connsiteY61" fmla="*/ 596670 h 788699"/>
                <a:gd name="connsiteX62" fmla="*/ 214407 w 516735"/>
                <a:gd name="connsiteY62" fmla="*/ 623867 h 788699"/>
                <a:gd name="connsiteX63" fmla="*/ 228006 w 516735"/>
                <a:gd name="connsiteY63" fmla="*/ 656502 h 788699"/>
                <a:gd name="connsiteX64" fmla="*/ 271520 w 516735"/>
                <a:gd name="connsiteY64" fmla="*/ 689138 h 788699"/>
                <a:gd name="connsiteX65" fmla="*/ 306876 w 516735"/>
                <a:gd name="connsiteY65" fmla="*/ 664661 h 788699"/>
                <a:gd name="connsiteX66" fmla="*/ 331353 w 516735"/>
                <a:gd name="connsiteY66" fmla="*/ 602109 h 788699"/>
                <a:gd name="connsiteX67" fmla="*/ 336792 w 516735"/>
                <a:gd name="connsiteY67" fmla="*/ 544997 h 788699"/>
                <a:gd name="connsiteX68" fmla="*/ 336792 w 516735"/>
                <a:gd name="connsiteY68" fmla="*/ 498762 h 788699"/>
                <a:gd name="connsiteX69" fmla="*/ 336792 w 516735"/>
                <a:gd name="connsiteY69" fmla="*/ 490603 h 788699"/>
                <a:gd name="connsiteX70" fmla="*/ 320474 w 516735"/>
                <a:gd name="connsiteY70" fmla="*/ 477005 h 788699"/>
                <a:gd name="connsiteX71" fmla="*/ 282399 w 516735"/>
                <a:gd name="connsiteY71" fmla="*/ 479725 h 788699"/>
                <a:gd name="connsiteX72" fmla="*/ 252483 w 516735"/>
                <a:gd name="connsiteY72" fmla="*/ 474286 h 788699"/>
                <a:gd name="connsiteX73" fmla="*/ 247043 w 516735"/>
                <a:gd name="connsiteY73" fmla="*/ 466126 h 788699"/>
                <a:gd name="connsiteX74" fmla="*/ 249763 w 516735"/>
                <a:gd name="connsiteY74" fmla="*/ 457968 h 788699"/>
                <a:gd name="connsiteX75" fmla="*/ 268801 w 516735"/>
                <a:gd name="connsiteY75" fmla="*/ 447089 h 788699"/>
                <a:gd name="connsiteX76" fmla="*/ 312315 w 516735"/>
                <a:gd name="connsiteY76" fmla="*/ 436210 h 788699"/>
                <a:gd name="connsiteX77" fmla="*/ 353110 w 516735"/>
                <a:gd name="connsiteY77" fmla="*/ 430771 h 788699"/>
                <a:gd name="connsiteX78" fmla="*/ 385746 w 516735"/>
                <a:gd name="connsiteY78" fmla="*/ 430771 h 788699"/>
                <a:gd name="connsiteX79" fmla="*/ 437420 w 516735"/>
                <a:gd name="connsiteY79" fmla="*/ 428051 h 788699"/>
                <a:gd name="connsiteX80" fmla="*/ 464616 w 516735"/>
                <a:gd name="connsiteY80" fmla="*/ 436210 h 7886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</a:cxnLst>
              <a:rect l="l" t="t" r="r" b="b"/>
              <a:pathLst>
                <a:path w="516735" h="788699">
                  <a:moveTo>
                    <a:pt x="464616" y="436210"/>
                  </a:moveTo>
                  <a:cubicBezTo>
                    <a:pt x="464616" y="447089"/>
                    <a:pt x="453737" y="452528"/>
                    <a:pt x="445578" y="455248"/>
                  </a:cubicBezTo>
                  <a:cubicBezTo>
                    <a:pt x="434700" y="460687"/>
                    <a:pt x="415662" y="463407"/>
                    <a:pt x="404784" y="466126"/>
                  </a:cubicBezTo>
                  <a:cubicBezTo>
                    <a:pt x="393905" y="466126"/>
                    <a:pt x="385746" y="468846"/>
                    <a:pt x="385746" y="479725"/>
                  </a:cubicBezTo>
                  <a:cubicBezTo>
                    <a:pt x="385746" y="487884"/>
                    <a:pt x="388466" y="506921"/>
                    <a:pt x="388466" y="512361"/>
                  </a:cubicBezTo>
                  <a:cubicBezTo>
                    <a:pt x="388466" y="515080"/>
                    <a:pt x="388466" y="539557"/>
                    <a:pt x="388466" y="544997"/>
                  </a:cubicBezTo>
                  <a:cubicBezTo>
                    <a:pt x="388466" y="550436"/>
                    <a:pt x="388466" y="558595"/>
                    <a:pt x="388466" y="566754"/>
                  </a:cubicBezTo>
                  <a:cubicBezTo>
                    <a:pt x="388466" y="591231"/>
                    <a:pt x="388466" y="621147"/>
                    <a:pt x="391185" y="632026"/>
                  </a:cubicBezTo>
                  <a:cubicBezTo>
                    <a:pt x="393905" y="653783"/>
                    <a:pt x="393905" y="661942"/>
                    <a:pt x="393905" y="683699"/>
                  </a:cubicBezTo>
                  <a:cubicBezTo>
                    <a:pt x="393905" y="694578"/>
                    <a:pt x="393905" y="724494"/>
                    <a:pt x="377587" y="724494"/>
                  </a:cubicBezTo>
                  <a:cubicBezTo>
                    <a:pt x="369428" y="724494"/>
                    <a:pt x="366708" y="721774"/>
                    <a:pt x="361269" y="719054"/>
                  </a:cubicBezTo>
                  <a:cubicBezTo>
                    <a:pt x="355830" y="716335"/>
                    <a:pt x="353110" y="708176"/>
                    <a:pt x="353110" y="702737"/>
                  </a:cubicBezTo>
                  <a:cubicBezTo>
                    <a:pt x="350390" y="694578"/>
                    <a:pt x="350390" y="689138"/>
                    <a:pt x="350390" y="686419"/>
                  </a:cubicBezTo>
                  <a:cubicBezTo>
                    <a:pt x="350390" y="678260"/>
                    <a:pt x="353110" y="672820"/>
                    <a:pt x="353110" y="659222"/>
                  </a:cubicBezTo>
                  <a:lnTo>
                    <a:pt x="353110" y="656502"/>
                  </a:lnTo>
                  <a:cubicBezTo>
                    <a:pt x="347671" y="675540"/>
                    <a:pt x="334072" y="694578"/>
                    <a:pt x="317755" y="708176"/>
                  </a:cubicBezTo>
                  <a:cubicBezTo>
                    <a:pt x="293278" y="727214"/>
                    <a:pt x="274240" y="735372"/>
                    <a:pt x="241604" y="735372"/>
                  </a:cubicBezTo>
                  <a:cubicBezTo>
                    <a:pt x="222566" y="735372"/>
                    <a:pt x="203529" y="732653"/>
                    <a:pt x="187211" y="727214"/>
                  </a:cubicBezTo>
                  <a:cubicBezTo>
                    <a:pt x="165454" y="719054"/>
                    <a:pt x="149136" y="708176"/>
                    <a:pt x="135538" y="694578"/>
                  </a:cubicBezTo>
                  <a:cubicBezTo>
                    <a:pt x="113780" y="672820"/>
                    <a:pt x="100182" y="648343"/>
                    <a:pt x="86584" y="621147"/>
                  </a:cubicBezTo>
                  <a:cubicBezTo>
                    <a:pt x="75705" y="599390"/>
                    <a:pt x="70266" y="580352"/>
                    <a:pt x="67546" y="555875"/>
                  </a:cubicBezTo>
                  <a:cubicBezTo>
                    <a:pt x="64826" y="539557"/>
                    <a:pt x="62107" y="525959"/>
                    <a:pt x="59387" y="509641"/>
                  </a:cubicBezTo>
                  <a:cubicBezTo>
                    <a:pt x="56667" y="493323"/>
                    <a:pt x="59387" y="485164"/>
                    <a:pt x="59387" y="468846"/>
                  </a:cubicBezTo>
                  <a:cubicBezTo>
                    <a:pt x="59387" y="414453"/>
                    <a:pt x="72985" y="362780"/>
                    <a:pt x="86584" y="302947"/>
                  </a:cubicBezTo>
                  <a:cubicBezTo>
                    <a:pt x="92023" y="275751"/>
                    <a:pt x="100182" y="248554"/>
                    <a:pt x="108341" y="224077"/>
                  </a:cubicBezTo>
                  <a:cubicBezTo>
                    <a:pt x="116500" y="196881"/>
                    <a:pt x="130098" y="169684"/>
                    <a:pt x="146416" y="145207"/>
                  </a:cubicBezTo>
                  <a:cubicBezTo>
                    <a:pt x="160014" y="123450"/>
                    <a:pt x="176332" y="101693"/>
                    <a:pt x="198090" y="85375"/>
                  </a:cubicBezTo>
                  <a:cubicBezTo>
                    <a:pt x="206249" y="77216"/>
                    <a:pt x="217127" y="71776"/>
                    <a:pt x="228006" y="69057"/>
                  </a:cubicBezTo>
                  <a:cubicBezTo>
                    <a:pt x="241604" y="63618"/>
                    <a:pt x="255202" y="58178"/>
                    <a:pt x="268801" y="58178"/>
                  </a:cubicBezTo>
                  <a:cubicBezTo>
                    <a:pt x="271520" y="58178"/>
                    <a:pt x="274240" y="58178"/>
                    <a:pt x="274240" y="58178"/>
                  </a:cubicBezTo>
                  <a:cubicBezTo>
                    <a:pt x="279679" y="58178"/>
                    <a:pt x="285119" y="58178"/>
                    <a:pt x="295997" y="60898"/>
                  </a:cubicBezTo>
                  <a:cubicBezTo>
                    <a:pt x="309595" y="63618"/>
                    <a:pt x="320474" y="66337"/>
                    <a:pt x="331353" y="71776"/>
                  </a:cubicBezTo>
                  <a:cubicBezTo>
                    <a:pt x="339512" y="77216"/>
                    <a:pt x="347671" y="85375"/>
                    <a:pt x="350390" y="93534"/>
                  </a:cubicBezTo>
                  <a:cubicBezTo>
                    <a:pt x="350390" y="88095"/>
                    <a:pt x="353110" y="79936"/>
                    <a:pt x="353110" y="74496"/>
                  </a:cubicBezTo>
                  <a:cubicBezTo>
                    <a:pt x="355830" y="71776"/>
                    <a:pt x="355830" y="69057"/>
                    <a:pt x="358549" y="63618"/>
                  </a:cubicBezTo>
                  <a:cubicBezTo>
                    <a:pt x="361269" y="60898"/>
                    <a:pt x="363989" y="58178"/>
                    <a:pt x="366708" y="58178"/>
                  </a:cubicBezTo>
                  <a:cubicBezTo>
                    <a:pt x="369428" y="58178"/>
                    <a:pt x="372148" y="60898"/>
                    <a:pt x="374867" y="63618"/>
                  </a:cubicBezTo>
                  <a:cubicBezTo>
                    <a:pt x="377587" y="69057"/>
                    <a:pt x="380307" y="77216"/>
                    <a:pt x="383026" y="82655"/>
                  </a:cubicBezTo>
                  <a:cubicBezTo>
                    <a:pt x="383026" y="90814"/>
                    <a:pt x="385746" y="107132"/>
                    <a:pt x="385746" y="126170"/>
                  </a:cubicBezTo>
                  <a:cubicBezTo>
                    <a:pt x="385746" y="150647"/>
                    <a:pt x="385746" y="177843"/>
                    <a:pt x="388466" y="186002"/>
                  </a:cubicBezTo>
                  <a:cubicBezTo>
                    <a:pt x="391185" y="207759"/>
                    <a:pt x="391185" y="215918"/>
                    <a:pt x="391185" y="237676"/>
                  </a:cubicBezTo>
                  <a:cubicBezTo>
                    <a:pt x="391185" y="248554"/>
                    <a:pt x="391185" y="278470"/>
                    <a:pt x="374867" y="278470"/>
                  </a:cubicBezTo>
                  <a:cubicBezTo>
                    <a:pt x="366708" y="278470"/>
                    <a:pt x="363989" y="275751"/>
                    <a:pt x="358549" y="273031"/>
                  </a:cubicBezTo>
                  <a:cubicBezTo>
                    <a:pt x="353110" y="270311"/>
                    <a:pt x="350390" y="262152"/>
                    <a:pt x="350390" y="256713"/>
                  </a:cubicBezTo>
                  <a:cubicBezTo>
                    <a:pt x="350390" y="251274"/>
                    <a:pt x="347671" y="245834"/>
                    <a:pt x="347671" y="240395"/>
                  </a:cubicBezTo>
                  <a:cubicBezTo>
                    <a:pt x="347671" y="232236"/>
                    <a:pt x="347671" y="224077"/>
                    <a:pt x="347671" y="213199"/>
                  </a:cubicBezTo>
                  <a:cubicBezTo>
                    <a:pt x="347671" y="207759"/>
                    <a:pt x="347671" y="199600"/>
                    <a:pt x="344951" y="194161"/>
                  </a:cubicBezTo>
                  <a:cubicBezTo>
                    <a:pt x="342232" y="180563"/>
                    <a:pt x="342232" y="164245"/>
                    <a:pt x="339512" y="150647"/>
                  </a:cubicBezTo>
                  <a:cubicBezTo>
                    <a:pt x="336792" y="137048"/>
                    <a:pt x="331353" y="123450"/>
                    <a:pt x="323194" y="112571"/>
                  </a:cubicBezTo>
                  <a:cubicBezTo>
                    <a:pt x="317755" y="104412"/>
                    <a:pt x="304156" y="101693"/>
                    <a:pt x="293278" y="101693"/>
                  </a:cubicBezTo>
                  <a:cubicBezTo>
                    <a:pt x="279679" y="101693"/>
                    <a:pt x="271520" y="109852"/>
                    <a:pt x="263361" y="120730"/>
                  </a:cubicBezTo>
                  <a:cubicBezTo>
                    <a:pt x="257922" y="131609"/>
                    <a:pt x="247043" y="139768"/>
                    <a:pt x="241604" y="153366"/>
                  </a:cubicBezTo>
                  <a:cubicBezTo>
                    <a:pt x="236165" y="166964"/>
                    <a:pt x="233445" y="180563"/>
                    <a:pt x="233445" y="194161"/>
                  </a:cubicBezTo>
                  <a:cubicBezTo>
                    <a:pt x="233445" y="207759"/>
                    <a:pt x="230726" y="218638"/>
                    <a:pt x="225286" y="232236"/>
                  </a:cubicBezTo>
                  <a:cubicBezTo>
                    <a:pt x="219847" y="245834"/>
                    <a:pt x="219847" y="262152"/>
                    <a:pt x="217127" y="275751"/>
                  </a:cubicBezTo>
                  <a:cubicBezTo>
                    <a:pt x="214407" y="289349"/>
                    <a:pt x="214407" y="302947"/>
                    <a:pt x="211688" y="316545"/>
                  </a:cubicBezTo>
                  <a:cubicBezTo>
                    <a:pt x="211688" y="330144"/>
                    <a:pt x="206249" y="341022"/>
                    <a:pt x="206249" y="354621"/>
                  </a:cubicBezTo>
                  <a:cubicBezTo>
                    <a:pt x="203529" y="368219"/>
                    <a:pt x="203529" y="381817"/>
                    <a:pt x="200809" y="398135"/>
                  </a:cubicBezTo>
                  <a:cubicBezTo>
                    <a:pt x="198090" y="411733"/>
                    <a:pt x="198090" y="425332"/>
                    <a:pt x="195370" y="438930"/>
                  </a:cubicBezTo>
                  <a:cubicBezTo>
                    <a:pt x="195370" y="449809"/>
                    <a:pt x="192650" y="463407"/>
                    <a:pt x="192650" y="474286"/>
                  </a:cubicBezTo>
                  <a:cubicBezTo>
                    <a:pt x="192650" y="490603"/>
                    <a:pt x="195370" y="509641"/>
                    <a:pt x="195370" y="525959"/>
                  </a:cubicBezTo>
                  <a:cubicBezTo>
                    <a:pt x="195370" y="550436"/>
                    <a:pt x="203529" y="572193"/>
                    <a:pt x="208968" y="596670"/>
                  </a:cubicBezTo>
                  <a:cubicBezTo>
                    <a:pt x="211688" y="604829"/>
                    <a:pt x="211688" y="615708"/>
                    <a:pt x="214407" y="623867"/>
                  </a:cubicBezTo>
                  <a:cubicBezTo>
                    <a:pt x="217127" y="634745"/>
                    <a:pt x="222566" y="645624"/>
                    <a:pt x="228006" y="656502"/>
                  </a:cubicBezTo>
                  <a:cubicBezTo>
                    <a:pt x="236165" y="670101"/>
                    <a:pt x="252483" y="689138"/>
                    <a:pt x="271520" y="689138"/>
                  </a:cubicBezTo>
                  <a:cubicBezTo>
                    <a:pt x="287838" y="689138"/>
                    <a:pt x="298717" y="675540"/>
                    <a:pt x="306876" y="664661"/>
                  </a:cubicBezTo>
                  <a:cubicBezTo>
                    <a:pt x="320474" y="645624"/>
                    <a:pt x="325914" y="623867"/>
                    <a:pt x="331353" y="602109"/>
                  </a:cubicBezTo>
                  <a:cubicBezTo>
                    <a:pt x="334072" y="583072"/>
                    <a:pt x="336792" y="564034"/>
                    <a:pt x="336792" y="544997"/>
                  </a:cubicBezTo>
                  <a:cubicBezTo>
                    <a:pt x="336792" y="531398"/>
                    <a:pt x="336792" y="512361"/>
                    <a:pt x="336792" y="498762"/>
                  </a:cubicBezTo>
                  <a:cubicBezTo>
                    <a:pt x="336792" y="496043"/>
                    <a:pt x="336792" y="493323"/>
                    <a:pt x="336792" y="490603"/>
                  </a:cubicBezTo>
                  <a:cubicBezTo>
                    <a:pt x="336792" y="479725"/>
                    <a:pt x="336792" y="477005"/>
                    <a:pt x="320474" y="477005"/>
                  </a:cubicBezTo>
                  <a:cubicBezTo>
                    <a:pt x="309595" y="477005"/>
                    <a:pt x="295997" y="479725"/>
                    <a:pt x="282399" y="479725"/>
                  </a:cubicBezTo>
                  <a:cubicBezTo>
                    <a:pt x="271520" y="479725"/>
                    <a:pt x="260642" y="479725"/>
                    <a:pt x="252483" y="474286"/>
                  </a:cubicBezTo>
                  <a:cubicBezTo>
                    <a:pt x="249763" y="471566"/>
                    <a:pt x="247043" y="468846"/>
                    <a:pt x="247043" y="466126"/>
                  </a:cubicBezTo>
                  <a:cubicBezTo>
                    <a:pt x="247043" y="463407"/>
                    <a:pt x="247043" y="460687"/>
                    <a:pt x="249763" y="457968"/>
                  </a:cubicBezTo>
                  <a:cubicBezTo>
                    <a:pt x="255202" y="452528"/>
                    <a:pt x="260642" y="449809"/>
                    <a:pt x="268801" y="447089"/>
                  </a:cubicBezTo>
                  <a:cubicBezTo>
                    <a:pt x="282399" y="441650"/>
                    <a:pt x="295997" y="438930"/>
                    <a:pt x="312315" y="436210"/>
                  </a:cubicBezTo>
                  <a:cubicBezTo>
                    <a:pt x="325914" y="433491"/>
                    <a:pt x="339512" y="433491"/>
                    <a:pt x="353110" y="430771"/>
                  </a:cubicBezTo>
                  <a:cubicBezTo>
                    <a:pt x="363989" y="430771"/>
                    <a:pt x="374867" y="430771"/>
                    <a:pt x="385746" y="430771"/>
                  </a:cubicBezTo>
                  <a:cubicBezTo>
                    <a:pt x="402064" y="430771"/>
                    <a:pt x="426541" y="428051"/>
                    <a:pt x="437420" y="428051"/>
                  </a:cubicBezTo>
                  <a:cubicBezTo>
                    <a:pt x="451018" y="419892"/>
                    <a:pt x="464616" y="425332"/>
                    <a:pt x="464616" y="436210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9" name="Freeform: Shape 48">
              <a:extLst>
                <a:ext uri="{FF2B5EF4-FFF2-40B4-BE49-F238E27FC236}">
                  <a16:creationId xmlns:a16="http://schemas.microsoft.com/office/drawing/2014/main" id="{84BC48AB-7E8A-4959-9518-594EE8ED2EBA}"/>
                </a:ext>
              </a:extLst>
            </p:cNvPr>
            <p:cNvSpPr/>
            <p:nvPr/>
          </p:nvSpPr>
          <p:spPr>
            <a:xfrm>
              <a:off x="5651630" y="4181279"/>
              <a:ext cx="734308" cy="788700"/>
            </a:xfrm>
            <a:custGeom>
              <a:avLst/>
              <a:gdLst>
                <a:gd name="connsiteX0" fmla="*/ 653783 w 734307"/>
                <a:gd name="connsiteY0" fmla="*/ 678259 h 788699"/>
                <a:gd name="connsiteX1" fmla="*/ 691859 w 734307"/>
                <a:gd name="connsiteY1" fmla="*/ 694577 h 788699"/>
                <a:gd name="connsiteX2" fmla="*/ 686419 w 734307"/>
                <a:gd name="connsiteY2" fmla="*/ 710895 h 788699"/>
                <a:gd name="connsiteX3" fmla="*/ 670101 w 734307"/>
                <a:gd name="connsiteY3" fmla="*/ 719054 h 788699"/>
                <a:gd name="connsiteX4" fmla="*/ 648344 w 734307"/>
                <a:gd name="connsiteY4" fmla="*/ 721774 h 788699"/>
                <a:gd name="connsiteX5" fmla="*/ 618428 w 734307"/>
                <a:gd name="connsiteY5" fmla="*/ 721774 h 788699"/>
                <a:gd name="connsiteX6" fmla="*/ 572194 w 734307"/>
                <a:gd name="connsiteY6" fmla="*/ 735372 h 788699"/>
                <a:gd name="connsiteX7" fmla="*/ 544997 w 734307"/>
                <a:gd name="connsiteY7" fmla="*/ 729933 h 788699"/>
                <a:gd name="connsiteX8" fmla="*/ 534119 w 734307"/>
                <a:gd name="connsiteY8" fmla="*/ 721774 h 788699"/>
                <a:gd name="connsiteX9" fmla="*/ 496043 w 734307"/>
                <a:gd name="connsiteY9" fmla="*/ 721774 h 788699"/>
                <a:gd name="connsiteX10" fmla="*/ 471566 w 734307"/>
                <a:gd name="connsiteY10" fmla="*/ 721774 h 788699"/>
                <a:gd name="connsiteX11" fmla="*/ 444370 w 734307"/>
                <a:gd name="connsiteY11" fmla="*/ 716335 h 788699"/>
                <a:gd name="connsiteX12" fmla="*/ 428052 w 734307"/>
                <a:gd name="connsiteY12" fmla="*/ 700017 h 788699"/>
                <a:gd name="connsiteX13" fmla="*/ 433491 w 734307"/>
                <a:gd name="connsiteY13" fmla="*/ 691858 h 788699"/>
                <a:gd name="connsiteX14" fmla="*/ 455248 w 734307"/>
                <a:gd name="connsiteY14" fmla="*/ 683699 h 788699"/>
                <a:gd name="connsiteX15" fmla="*/ 506922 w 734307"/>
                <a:gd name="connsiteY15" fmla="*/ 678259 h 788699"/>
                <a:gd name="connsiteX16" fmla="*/ 509641 w 734307"/>
                <a:gd name="connsiteY16" fmla="*/ 678259 h 788699"/>
                <a:gd name="connsiteX17" fmla="*/ 506922 w 734307"/>
                <a:gd name="connsiteY17" fmla="*/ 664661 h 788699"/>
                <a:gd name="connsiteX18" fmla="*/ 498763 w 734307"/>
                <a:gd name="connsiteY18" fmla="*/ 580352 h 788699"/>
                <a:gd name="connsiteX19" fmla="*/ 496043 w 734307"/>
                <a:gd name="connsiteY19" fmla="*/ 479725 h 788699"/>
                <a:gd name="connsiteX20" fmla="*/ 493324 w 734307"/>
                <a:gd name="connsiteY20" fmla="*/ 389976 h 788699"/>
                <a:gd name="connsiteX21" fmla="*/ 490604 w 734307"/>
                <a:gd name="connsiteY21" fmla="*/ 302947 h 788699"/>
                <a:gd name="connsiteX22" fmla="*/ 487884 w 734307"/>
                <a:gd name="connsiteY22" fmla="*/ 229516 h 788699"/>
                <a:gd name="connsiteX23" fmla="*/ 485165 w 734307"/>
                <a:gd name="connsiteY23" fmla="*/ 221357 h 788699"/>
                <a:gd name="connsiteX24" fmla="*/ 482445 w 734307"/>
                <a:gd name="connsiteY24" fmla="*/ 226797 h 788699"/>
                <a:gd name="connsiteX25" fmla="*/ 477006 w 734307"/>
                <a:gd name="connsiteY25" fmla="*/ 262152 h 788699"/>
                <a:gd name="connsiteX26" fmla="*/ 460688 w 734307"/>
                <a:gd name="connsiteY26" fmla="*/ 341022 h 788699"/>
                <a:gd name="connsiteX27" fmla="*/ 444370 w 734307"/>
                <a:gd name="connsiteY27" fmla="*/ 417173 h 788699"/>
                <a:gd name="connsiteX28" fmla="*/ 436211 w 734307"/>
                <a:gd name="connsiteY28" fmla="*/ 455248 h 788699"/>
                <a:gd name="connsiteX29" fmla="*/ 425332 w 734307"/>
                <a:gd name="connsiteY29" fmla="*/ 493323 h 788699"/>
                <a:gd name="connsiteX30" fmla="*/ 411734 w 734307"/>
                <a:gd name="connsiteY30" fmla="*/ 531398 h 788699"/>
                <a:gd name="connsiteX31" fmla="*/ 376378 w 734307"/>
                <a:gd name="connsiteY31" fmla="*/ 547716 h 788699"/>
                <a:gd name="connsiteX32" fmla="*/ 319265 w 734307"/>
                <a:gd name="connsiteY32" fmla="*/ 525959 h 788699"/>
                <a:gd name="connsiteX33" fmla="*/ 289349 w 734307"/>
                <a:gd name="connsiteY33" fmla="*/ 455248 h 788699"/>
                <a:gd name="connsiteX34" fmla="*/ 273031 w 734307"/>
                <a:gd name="connsiteY34" fmla="*/ 373658 h 788699"/>
                <a:gd name="connsiteX35" fmla="*/ 262153 w 734307"/>
                <a:gd name="connsiteY35" fmla="*/ 316545 h 788699"/>
                <a:gd name="connsiteX36" fmla="*/ 245835 w 734307"/>
                <a:gd name="connsiteY36" fmla="*/ 237675 h 788699"/>
                <a:gd name="connsiteX37" fmla="*/ 234956 w 734307"/>
                <a:gd name="connsiteY37" fmla="*/ 196881 h 788699"/>
                <a:gd name="connsiteX38" fmla="*/ 232236 w 734307"/>
                <a:gd name="connsiteY38" fmla="*/ 191441 h 788699"/>
                <a:gd name="connsiteX39" fmla="*/ 226797 w 734307"/>
                <a:gd name="connsiteY39" fmla="*/ 207759 h 788699"/>
                <a:gd name="connsiteX40" fmla="*/ 226797 w 734307"/>
                <a:gd name="connsiteY40" fmla="*/ 232236 h 788699"/>
                <a:gd name="connsiteX41" fmla="*/ 224077 w 734307"/>
                <a:gd name="connsiteY41" fmla="*/ 267592 h 788699"/>
                <a:gd name="connsiteX42" fmla="*/ 221358 w 734307"/>
                <a:gd name="connsiteY42" fmla="*/ 311106 h 788699"/>
                <a:gd name="connsiteX43" fmla="*/ 218638 w 734307"/>
                <a:gd name="connsiteY43" fmla="*/ 360060 h 788699"/>
                <a:gd name="connsiteX44" fmla="*/ 215919 w 734307"/>
                <a:gd name="connsiteY44" fmla="*/ 398135 h 788699"/>
                <a:gd name="connsiteX45" fmla="*/ 213199 w 734307"/>
                <a:gd name="connsiteY45" fmla="*/ 430771 h 788699"/>
                <a:gd name="connsiteX46" fmla="*/ 213199 w 734307"/>
                <a:gd name="connsiteY46" fmla="*/ 455248 h 788699"/>
                <a:gd name="connsiteX47" fmla="*/ 213199 w 734307"/>
                <a:gd name="connsiteY47" fmla="*/ 477005 h 788699"/>
                <a:gd name="connsiteX48" fmla="*/ 207759 w 734307"/>
                <a:gd name="connsiteY48" fmla="*/ 520520 h 788699"/>
                <a:gd name="connsiteX49" fmla="*/ 196881 w 734307"/>
                <a:gd name="connsiteY49" fmla="*/ 610268 h 788699"/>
                <a:gd name="connsiteX50" fmla="*/ 194161 w 734307"/>
                <a:gd name="connsiteY50" fmla="*/ 653783 h 788699"/>
                <a:gd name="connsiteX51" fmla="*/ 191441 w 734307"/>
                <a:gd name="connsiteY51" fmla="*/ 667381 h 788699"/>
                <a:gd name="connsiteX52" fmla="*/ 243115 w 734307"/>
                <a:gd name="connsiteY52" fmla="*/ 667381 h 788699"/>
                <a:gd name="connsiteX53" fmla="*/ 273031 w 734307"/>
                <a:gd name="connsiteY53" fmla="*/ 683699 h 788699"/>
                <a:gd name="connsiteX54" fmla="*/ 262153 w 734307"/>
                <a:gd name="connsiteY54" fmla="*/ 697297 h 788699"/>
                <a:gd name="connsiteX55" fmla="*/ 248554 w 734307"/>
                <a:gd name="connsiteY55" fmla="*/ 705456 h 788699"/>
                <a:gd name="connsiteX56" fmla="*/ 232236 w 734307"/>
                <a:gd name="connsiteY56" fmla="*/ 708176 h 788699"/>
                <a:gd name="connsiteX57" fmla="*/ 166965 w 734307"/>
                <a:gd name="connsiteY57" fmla="*/ 708176 h 788699"/>
                <a:gd name="connsiteX58" fmla="*/ 109852 w 734307"/>
                <a:gd name="connsiteY58" fmla="*/ 708176 h 788699"/>
                <a:gd name="connsiteX59" fmla="*/ 90814 w 734307"/>
                <a:gd name="connsiteY59" fmla="*/ 708176 h 788699"/>
                <a:gd name="connsiteX60" fmla="*/ 69057 w 734307"/>
                <a:gd name="connsiteY60" fmla="*/ 702736 h 788699"/>
                <a:gd name="connsiteX61" fmla="*/ 58178 w 734307"/>
                <a:gd name="connsiteY61" fmla="*/ 686418 h 788699"/>
                <a:gd name="connsiteX62" fmla="*/ 60898 w 734307"/>
                <a:gd name="connsiteY62" fmla="*/ 678259 h 788699"/>
                <a:gd name="connsiteX63" fmla="*/ 77216 w 734307"/>
                <a:gd name="connsiteY63" fmla="*/ 670101 h 788699"/>
                <a:gd name="connsiteX64" fmla="*/ 126170 w 734307"/>
                <a:gd name="connsiteY64" fmla="*/ 664661 h 788699"/>
                <a:gd name="connsiteX65" fmla="*/ 142487 w 734307"/>
                <a:gd name="connsiteY65" fmla="*/ 664661 h 788699"/>
                <a:gd name="connsiteX66" fmla="*/ 147927 w 734307"/>
                <a:gd name="connsiteY66" fmla="*/ 588511 h 788699"/>
                <a:gd name="connsiteX67" fmla="*/ 153366 w 734307"/>
                <a:gd name="connsiteY67" fmla="*/ 493323 h 788699"/>
                <a:gd name="connsiteX68" fmla="*/ 156086 w 734307"/>
                <a:gd name="connsiteY68" fmla="*/ 411733 h 788699"/>
                <a:gd name="connsiteX69" fmla="*/ 161525 w 734307"/>
                <a:gd name="connsiteY69" fmla="*/ 297508 h 788699"/>
                <a:gd name="connsiteX70" fmla="*/ 166965 w 734307"/>
                <a:gd name="connsiteY70" fmla="*/ 240395 h 788699"/>
                <a:gd name="connsiteX71" fmla="*/ 177843 w 734307"/>
                <a:gd name="connsiteY71" fmla="*/ 161525 h 788699"/>
                <a:gd name="connsiteX72" fmla="*/ 183282 w 734307"/>
                <a:gd name="connsiteY72" fmla="*/ 118011 h 788699"/>
                <a:gd name="connsiteX73" fmla="*/ 183282 w 734307"/>
                <a:gd name="connsiteY73" fmla="*/ 115291 h 788699"/>
                <a:gd name="connsiteX74" fmla="*/ 161525 w 734307"/>
                <a:gd name="connsiteY74" fmla="*/ 115291 h 788699"/>
                <a:gd name="connsiteX75" fmla="*/ 137048 w 734307"/>
                <a:gd name="connsiteY75" fmla="*/ 115291 h 788699"/>
                <a:gd name="connsiteX76" fmla="*/ 109852 w 734307"/>
                <a:gd name="connsiteY76" fmla="*/ 109851 h 788699"/>
                <a:gd name="connsiteX77" fmla="*/ 93534 w 734307"/>
                <a:gd name="connsiteY77" fmla="*/ 93534 h 788699"/>
                <a:gd name="connsiteX78" fmla="*/ 98973 w 734307"/>
                <a:gd name="connsiteY78" fmla="*/ 85375 h 788699"/>
                <a:gd name="connsiteX79" fmla="*/ 120730 w 734307"/>
                <a:gd name="connsiteY79" fmla="*/ 77216 h 788699"/>
                <a:gd name="connsiteX80" fmla="*/ 172404 w 734307"/>
                <a:gd name="connsiteY80" fmla="*/ 71776 h 788699"/>
                <a:gd name="connsiteX81" fmla="*/ 234956 w 734307"/>
                <a:gd name="connsiteY81" fmla="*/ 69057 h 788699"/>
                <a:gd name="connsiteX82" fmla="*/ 243115 w 734307"/>
                <a:gd name="connsiteY82" fmla="*/ 69057 h 788699"/>
                <a:gd name="connsiteX83" fmla="*/ 270312 w 734307"/>
                <a:gd name="connsiteY83" fmla="*/ 74496 h 788699"/>
                <a:gd name="connsiteX84" fmla="*/ 308387 w 734307"/>
                <a:gd name="connsiteY84" fmla="*/ 123450 h 788699"/>
                <a:gd name="connsiteX85" fmla="*/ 332864 w 734307"/>
                <a:gd name="connsiteY85" fmla="*/ 202320 h 788699"/>
                <a:gd name="connsiteX86" fmla="*/ 338303 w 734307"/>
                <a:gd name="connsiteY86" fmla="*/ 237675 h 788699"/>
                <a:gd name="connsiteX87" fmla="*/ 349182 w 734307"/>
                <a:gd name="connsiteY87" fmla="*/ 281190 h 788699"/>
                <a:gd name="connsiteX88" fmla="*/ 357341 w 734307"/>
                <a:gd name="connsiteY88" fmla="*/ 316545 h 788699"/>
                <a:gd name="connsiteX89" fmla="*/ 365500 w 734307"/>
                <a:gd name="connsiteY89" fmla="*/ 351901 h 788699"/>
                <a:gd name="connsiteX90" fmla="*/ 376378 w 734307"/>
                <a:gd name="connsiteY90" fmla="*/ 389976 h 788699"/>
                <a:gd name="connsiteX91" fmla="*/ 387257 w 734307"/>
                <a:gd name="connsiteY91" fmla="*/ 414453 h 788699"/>
                <a:gd name="connsiteX92" fmla="*/ 398136 w 734307"/>
                <a:gd name="connsiteY92" fmla="*/ 376378 h 788699"/>
                <a:gd name="connsiteX93" fmla="*/ 406295 w 734307"/>
                <a:gd name="connsiteY93" fmla="*/ 332863 h 788699"/>
                <a:gd name="connsiteX94" fmla="*/ 425332 w 734307"/>
                <a:gd name="connsiteY94" fmla="*/ 243115 h 788699"/>
                <a:gd name="connsiteX95" fmla="*/ 444370 w 734307"/>
                <a:gd name="connsiteY95" fmla="*/ 150646 h 788699"/>
                <a:gd name="connsiteX96" fmla="*/ 477006 w 734307"/>
                <a:gd name="connsiteY96" fmla="*/ 79935 h 788699"/>
                <a:gd name="connsiteX97" fmla="*/ 523240 w 734307"/>
                <a:gd name="connsiteY97" fmla="*/ 58178 h 788699"/>
                <a:gd name="connsiteX98" fmla="*/ 544997 w 734307"/>
                <a:gd name="connsiteY98" fmla="*/ 63617 h 788699"/>
                <a:gd name="connsiteX99" fmla="*/ 612988 w 734307"/>
                <a:gd name="connsiteY99" fmla="*/ 63617 h 788699"/>
                <a:gd name="connsiteX100" fmla="*/ 651064 w 734307"/>
                <a:gd name="connsiteY100" fmla="*/ 79935 h 788699"/>
                <a:gd name="connsiteX101" fmla="*/ 645624 w 734307"/>
                <a:gd name="connsiteY101" fmla="*/ 96253 h 788699"/>
                <a:gd name="connsiteX102" fmla="*/ 629307 w 734307"/>
                <a:gd name="connsiteY102" fmla="*/ 104412 h 788699"/>
                <a:gd name="connsiteX103" fmla="*/ 607549 w 734307"/>
                <a:gd name="connsiteY103" fmla="*/ 107132 h 788699"/>
                <a:gd name="connsiteX104" fmla="*/ 580353 w 734307"/>
                <a:gd name="connsiteY104" fmla="*/ 107132 h 788699"/>
                <a:gd name="connsiteX105" fmla="*/ 583072 w 734307"/>
                <a:gd name="connsiteY105" fmla="*/ 115291 h 788699"/>
                <a:gd name="connsiteX106" fmla="*/ 588512 w 734307"/>
                <a:gd name="connsiteY106" fmla="*/ 156086 h 788699"/>
                <a:gd name="connsiteX107" fmla="*/ 593951 w 734307"/>
                <a:gd name="connsiteY107" fmla="*/ 196881 h 788699"/>
                <a:gd name="connsiteX108" fmla="*/ 599390 w 734307"/>
                <a:gd name="connsiteY108" fmla="*/ 226797 h 788699"/>
                <a:gd name="connsiteX109" fmla="*/ 599390 w 734307"/>
                <a:gd name="connsiteY109" fmla="*/ 232236 h 788699"/>
                <a:gd name="connsiteX110" fmla="*/ 599390 w 734307"/>
                <a:gd name="connsiteY110" fmla="*/ 240395 h 788699"/>
                <a:gd name="connsiteX111" fmla="*/ 602110 w 734307"/>
                <a:gd name="connsiteY111" fmla="*/ 270311 h 788699"/>
                <a:gd name="connsiteX112" fmla="*/ 607549 w 734307"/>
                <a:gd name="connsiteY112" fmla="*/ 308386 h 788699"/>
                <a:gd name="connsiteX113" fmla="*/ 607549 w 734307"/>
                <a:gd name="connsiteY113" fmla="*/ 319265 h 788699"/>
                <a:gd name="connsiteX114" fmla="*/ 612988 w 734307"/>
                <a:gd name="connsiteY114" fmla="*/ 335583 h 788699"/>
                <a:gd name="connsiteX115" fmla="*/ 612988 w 734307"/>
                <a:gd name="connsiteY115" fmla="*/ 346462 h 788699"/>
                <a:gd name="connsiteX116" fmla="*/ 612988 w 734307"/>
                <a:gd name="connsiteY116" fmla="*/ 370939 h 788699"/>
                <a:gd name="connsiteX117" fmla="*/ 612988 w 734307"/>
                <a:gd name="connsiteY117" fmla="*/ 395415 h 788699"/>
                <a:gd name="connsiteX118" fmla="*/ 615708 w 734307"/>
                <a:gd name="connsiteY118" fmla="*/ 422612 h 788699"/>
                <a:gd name="connsiteX119" fmla="*/ 618428 w 734307"/>
                <a:gd name="connsiteY119" fmla="*/ 441650 h 788699"/>
                <a:gd name="connsiteX120" fmla="*/ 618428 w 734307"/>
                <a:gd name="connsiteY120" fmla="*/ 455248 h 788699"/>
                <a:gd name="connsiteX121" fmla="*/ 621147 w 734307"/>
                <a:gd name="connsiteY121" fmla="*/ 463407 h 788699"/>
                <a:gd name="connsiteX122" fmla="*/ 626587 w 734307"/>
                <a:gd name="connsiteY122" fmla="*/ 482444 h 788699"/>
                <a:gd name="connsiteX123" fmla="*/ 629307 w 734307"/>
                <a:gd name="connsiteY123" fmla="*/ 517800 h 788699"/>
                <a:gd name="connsiteX124" fmla="*/ 634746 w 734307"/>
                <a:gd name="connsiteY124" fmla="*/ 561314 h 788699"/>
                <a:gd name="connsiteX125" fmla="*/ 634746 w 734307"/>
                <a:gd name="connsiteY125" fmla="*/ 566754 h 788699"/>
                <a:gd name="connsiteX126" fmla="*/ 634746 w 734307"/>
                <a:gd name="connsiteY126" fmla="*/ 583072 h 788699"/>
                <a:gd name="connsiteX127" fmla="*/ 637466 w 734307"/>
                <a:gd name="connsiteY127" fmla="*/ 607548 h 788699"/>
                <a:gd name="connsiteX128" fmla="*/ 640185 w 734307"/>
                <a:gd name="connsiteY128" fmla="*/ 618427 h 788699"/>
                <a:gd name="connsiteX129" fmla="*/ 640185 w 734307"/>
                <a:gd name="connsiteY129" fmla="*/ 632025 h 788699"/>
                <a:gd name="connsiteX130" fmla="*/ 640185 w 734307"/>
                <a:gd name="connsiteY130" fmla="*/ 640184 h 788699"/>
                <a:gd name="connsiteX131" fmla="*/ 642905 w 734307"/>
                <a:gd name="connsiteY131" fmla="*/ 659222 h 788699"/>
                <a:gd name="connsiteX132" fmla="*/ 642905 w 734307"/>
                <a:gd name="connsiteY132" fmla="*/ 664661 h 788699"/>
                <a:gd name="connsiteX133" fmla="*/ 653783 w 734307"/>
                <a:gd name="connsiteY133" fmla="*/ 678259 h 788699"/>
                <a:gd name="connsiteX134" fmla="*/ 653783 w 734307"/>
                <a:gd name="connsiteY134" fmla="*/ 678259 h 7886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</a:cxnLst>
              <a:rect l="l" t="t" r="r" b="b"/>
              <a:pathLst>
                <a:path w="734307" h="788699">
                  <a:moveTo>
                    <a:pt x="653783" y="678259"/>
                  </a:moveTo>
                  <a:cubicBezTo>
                    <a:pt x="667382" y="678259"/>
                    <a:pt x="691859" y="678259"/>
                    <a:pt x="691859" y="694577"/>
                  </a:cubicBezTo>
                  <a:cubicBezTo>
                    <a:pt x="691859" y="702736"/>
                    <a:pt x="689139" y="705456"/>
                    <a:pt x="686419" y="710895"/>
                  </a:cubicBezTo>
                  <a:cubicBezTo>
                    <a:pt x="683700" y="716335"/>
                    <a:pt x="675541" y="719054"/>
                    <a:pt x="670101" y="719054"/>
                  </a:cubicBezTo>
                  <a:cubicBezTo>
                    <a:pt x="661942" y="721774"/>
                    <a:pt x="653783" y="721774"/>
                    <a:pt x="648344" y="721774"/>
                  </a:cubicBezTo>
                  <a:cubicBezTo>
                    <a:pt x="645624" y="721774"/>
                    <a:pt x="634746" y="721774"/>
                    <a:pt x="618428" y="721774"/>
                  </a:cubicBezTo>
                  <a:cubicBezTo>
                    <a:pt x="604829" y="729933"/>
                    <a:pt x="588512" y="735372"/>
                    <a:pt x="572194" y="735372"/>
                  </a:cubicBezTo>
                  <a:cubicBezTo>
                    <a:pt x="564035" y="735372"/>
                    <a:pt x="553156" y="732653"/>
                    <a:pt x="544997" y="729933"/>
                  </a:cubicBezTo>
                  <a:cubicBezTo>
                    <a:pt x="539558" y="727213"/>
                    <a:pt x="536838" y="724494"/>
                    <a:pt x="534119" y="721774"/>
                  </a:cubicBezTo>
                  <a:cubicBezTo>
                    <a:pt x="520520" y="721774"/>
                    <a:pt x="509641" y="721774"/>
                    <a:pt x="496043" y="721774"/>
                  </a:cubicBezTo>
                  <a:cubicBezTo>
                    <a:pt x="487884" y="721774"/>
                    <a:pt x="479725" y="721774"/>
                    <a:pt x="471566" y="721774"/>
                  </a:cubicBezTo>
                  <a:cubicBezTo>
                    <a:pt x="463407" y="721774"/>
                    <a:pt x="452529" y="721774"/>
                    <a:pt x="444370" y="716335"/>
                  </a:cubicBezTo>
                  <a:cubicBezTo>
                    <a:pt x="436211" y="713615"/>
                    <a:pt x="428052" y="705456"/>
                    <a:pt x="428052" y="700017"/>
                  </a:cubicBezTo>
                  <a:cubicBezTo>
                    <a:pt x="428052" y="697297"/>
                    <a:pt x="428052" y="694577"/>
                    <a:pt x="433491" y="691858"/>
                  </a:cubicBezTo>
                  <a:cubicBezTo>
                    <a:pt x="438930" y="689138"/>
                    <a:pt x="449809" y="686418"/>
                    <a:pt x="455248" y="683699"/>
                  </a:cubicBezTo>
                  <a:cubicBezTo>
                    <a:pt x="474286" y="680979"/>
                    <a:pt x="498763" y="678259"/>
                    <a:pt x="506922" y="678259"/>
                  </a:cubicBezTo>
                  <a:cubicBezTo>
                    <a:pt x="506922" y="678259"/>
                    <a:pt x="509641" y="678259"/>
                    <a:pt x="509641" y="678259"/>
                  </a:cubicBezTo>
                  <a:cubicBezTo>
                    <a:pt x="509641" y="672820"/>
                    <a:pt x="506922" y="670101"/>
                    <a:pt x="506922" y="664661"/>
                  </a:cubicBezTo>
                  <a:cubicBezTo>
                    <a:pt x="501483" y="640184"/>
                    <a:pt x="501483" y="612988"/>
                    <a:pt x="498763" y="580352"/>
                  </a:cubicBezTo>
                  <a:cubicBezTo>
                    <a:pt x="496043" y="547716"/>
                    <a:pt x="498763" y="512361"/>
                    <a:pt x="496043" y="479725"/>
                  </a:cubicBezTo>
                  <a:cubicBezTo>
                    <a:pt x="493324" y="449808"/>
                    <a:pt x="493324" y="419892"/>
                    <a:pt x="493324" y="389976"/>
                  </a:cubicBezTo>
                  <a:cubicBezTo>
                    <a:pt x="493324" y="360060"/>
                    <a:pt x="490604" y="332863"/>
                    <a:pt x="490604" y="302947"/>
                  </a:cubicBezTo>
                  <a:cubicBezTo>
                    <a:pt x="487884" y="275751"/>
                    <a:pt x="487884" y="240395"/>
                    <a:pt x="487884" y="229516"/>
                  </a:cubicBezTo>
                  <a:cubicBezTo>
                    <a:pt x="487884" y="224077"/>
                    <a:pt x="487884" y="221357"/>
                    <a:pt x="485165" y="221357"/>
                  </a:cubicBezTo>
                  <a:cubicBezTo>
                    <a:pt x="485165" y="221357"/>
                    <a:pt x="482445" y="224077"/>
                    <a:pt x="482445" y="226797"/>
                  </a:cubicBezTo>
                  <a:cubicBezTo>
                    <a:pt x="479725" y="237675"/>
                    <a:pt x="479725" y="251274"/>
                    <a:pt x="477006" y="262152"/>
                  </a:cubicBezTo>
                  <a:cubicBezTo>
                    <a:pt x="471566" y="289349"/>
                    <a:pt x="466127" y="316545"/>
                    <a:pt x="460688" y="341022"/>
                  </a:cubicBezTo>
                  <a:cubicBezTo>
                    <a:pt x="455248" y="365499"/>
                    <a:pt x="447090" y="392696"/>
                    <a:pt x="444370" y="417173"/>
                  </a:cubicBezTo>
                  <a:cubicBezTo>
                    <a:pt x="441650" y="430771"/>
                    <a:pt x="438930" y="441650"/>
                    <a:pt x="436211" y="455248"/>
                  </a:cubicBezTo>
                  <a:cubicBezTo>
                    <a:pt x="433491" y="468846"/>
                    <a:pt x="428052" y="479725"/>
                    <a:pt x="425332" y="493323"/>
                  </a:cubicBezTo>
                  <a:cubicBezTo>
                    <a:pt x="422612" y="506921"/>
                    <a:pt x="419893" y="520520"/>
                    <a:pt x="411734" y="531398"/>
                  </a:cubicBezTo>
                  <a:cubicBezTo>
                    <a:pt x="406295" y="539557"/>
                    <a:pt x="395416" y="547716"/>
                    <a:pt x="376378" y="547716"/>
                  </a:cubicBezTo>
                  <a:cubicBezTo>
                    <a:pt x="357341" y="547716"/>
                    <a:pt x="335583" y="539557"/>
                    <a:pt x="319265" y="525959"/>
                  </a:cubicBezTo>
                  <a:cubicBezTo>
                    <a:pt x="300228" y="506921"/>
                    <a:pt x="294788" y="479725"/>
                    <a:pt x="289349" y="455248"/>
                  </a:cubicBezTo>
                  <a:cubicBezTo>
                    <a:pt x="283910" y="428051"/>
                    <a:pt x="278470" y="400855"/>
                    <a:pt x="273031" y="373658"/>
                  </a:cubicBezTo>
                  <a:cubicBezTo>
                    <a:pt x="273031" y="368219"/>
                    <a:pt x="267592" y="346462"/>
                    <a:pt x="262153" y="316545"/>
                  </a:cubicBezTo>
                  <a:cubicBezTo>
                    <a:pt x="256713" y="292068"/>
                    <a:pt x="251274" y="262152"/>
                    <a:pt x="245835" y="237675"/>
                  </a:cubicBezTo>
                  <a:cubicBezTo>
                    <a:pt x="240395" y="218638"/>
                    <a:pt x="237675" y="205039"/>
                    <a:pt x="234956" y="196881"/>
                  </a:cubicBezTo>
                  <a:cubicBezTo>
                    <a:pt x="232236" y="191441"/>
                    <a:pt x="232236" y="191441"/>
                    <a:pt x="232236" y="191441"/>
                  </a:cubicBezTo>
                  <a:cubicBezTo>
                    <a:pt x="229517" y="191441"/>
                    <a:pt x="229517" y="196881"/>
                    <a:pt x="226797" y="207759"/>
                  </a:cubicBezTo>
                  <a:cubicBezTo>
                    <a:pt x="226797" y="215918"/>
                    <a:pt x="226797" y="229516"/>
                    <a:pt x="226797" y="232236"/>
                  </a:cubicBezTo>
                  <a:cubicBezTo>
                    <a:pt x="226797" y="243115"/>
                    <a:pt x="224077" y="256713"/>
                    <a:pt x="224077" y="267592"/>
                  </a:cubicBezTo>
                  <a:cubicBezTo>
                    <a:pt x="224077" y="278470"/>
                    <a:pt x="224077" y="294788"/>
                    <a:pt x="221358" y="311106"/>
                  </a:cubicBezTo>
                  <a:cubicBezTo>
                    <a:pt x="221358" y="327424"/>
                    <a:pt x="218638" y="343742"/>
                    <a:pt x="218638" y="360060"/>
                  </a:cubicBezTo>
                  <a:cubicBezTo>
                    <a:pt x="218638" y="373658"/>
                    <a:pt x="215919" y="384537"/>
                    <a:pt x="215919" y="398135"/>
                  </a:cubicBezTo>
                  <a:cubicBezTo>
                    <a:pt x="215919" y="409014"/>
                    <a:pt x="213199" y="419892"/>
                    <a:pt x="213199" y="430771"/>
                  </a:cubicBezTo>
                  <a:cubicBezTo>
                    <a:pt x="213199" y="438930"/>
                    <a:pt x="213199" y="447089"/>
                    <a:pt x="213199" y="455248"/>
                  </a:cubicBezTo>
                  <a:cubicBezTo>
                    <a:pt x="213199" y="463407"/>
                    <a:pt x="213199" y="471566"/>
                    <a:pt x="213199" y="477005"/>
                  </a:cubicBezTo>
                  <a:cubicBezTo>
                    <a:pt x="210479" y="490603"/>
                    <a:pt x="207759" y="506921"/>
                    <a:pt x="207759" y="520520"/>
                  </a:cubicBezTo>
                  <a:cubicBezTo>
                    <a:pt x="202320" y="550436"/>
                    <a:pt x="199600" y="580352"/>
                    <a:pt x="196881" y="610268"/>
                  </a:cubicBezTo>
                  <a:cubicBezTo>
                    <a:pt x="196881" y="623866"/>
                    <a:pt x="196881" y="640184"/>
                    <a:pt x="194161" y="653783"/>
                  </a:cubicBezTo>
                  <a:cubicBezTo>
                    <a:pt x="194161" y="659222"/>
                    <a:pt x="194161" y="661942"/>
                    <a:pt x="191441" y="667381"/>
                  </a:cubicBezTo>
                  <a:cubicBezTo>
                    <a:pt x="213199" y="667381"/>
                    <a:pt x="232236" y="667381"/>
                    <a:pt x="243115" y="667381"/>
                  </a:cubicBezTo>
                  <a:cubicBezTo>
                    <a:pt x="253994" y="667381"/>
                    <a:pt x="273031" y="670101"/>
                    <a:pt x="273031" y="683699"/>
                  </a:cubicBezTo>
                  <a:cubicBezTo>
                    <a:pt x="273031" y="691858"/>
                    <a:pt x="267592" y="691858"/>
                    <a:pt x="262153" y="697297"/>
                  </a:cubicBezTo>
                  <a:cubicBezTo>
                    <a:pt x="259433" y="702736"/>
                    <a:pt x="253994" y="705456"/>
                    <a:pt x="248554" y="705456"/>
                  </a:cubicBezTo>
                  <a:cubicBezTo>
                    <a:pt x="240395" y="708176"/>
                    <a:pt x="234956" y="708176"/>
                    <a:pt x="232236" y="708176"/>
                  </a:cubicBezTo>
                  <a:cubicBezTo>
                    <a:pt x="226797" y="708176"/>
                    <a:pt x="175124" y="708176"/>
                    <a:pt x="166965" y="708176"/>
                  </a:cubicBezTo>
                  <a:cubicBezTo>
                    <a:pt x="156086" y="708176"/>
                    <a:pt x="120730" y="708176"/>
                    <a:pt x="109852" y="708176"/>
                  </a:cubicBezTo>
                  <a:cubicBezTo>
                    <a:pt x="104412" y="708176"/>
                    <a:pt x="96253" y="708176"/>
                    <a:pt x="90814" y="708176"/>
                  </a:cubicBezTo>
                  <a:cubicBezTo>
                    <a:pt x="85375" y="708176"/>
                    <a:pt x="77216" y="705456"/>
                    <a:pt x="69057" y="702736"/>
                  </a:cubicBezTo>
                  <a:cubicBezTo>
                    <a:pt x="63617" y="700017"/>
                    <a:pt x="58178" y="691858"/>
                    <a:pt x="58178" y="686418"/>
                  </a:cubicBezTo>
                  <a:cubicBezTo>
                    <a:pt x="58178" y="683699"/>
                    <a:pt x="58178" y="680979"/>
                    <a:pt x="60898" y="678259"/>
                  </a:cubicBezTo>
                  <a:cubicBezTo>
                    <a:pt x="63617" y="675540"/>
                    <a:pt x="71777" y="672820"/>
                    <a:pt x="77216" y="670101"/>
                  </a:cubicBezTo>
                  <a:cubicBezTo>
                    <a:pt x="90814" y="667381"/>
                    <a:pt x="120730" y="664661"/>
                    <a:pt x="126170" y="664661"/>
                  </a:cubicBezTo>
                  <a:cubicBezTo>
                    <a:pt x="128889" y="664661"/>
                    <a:pt x="134329" y="664661"/>
                    <a:pt x="142487" y="664661"/>
                  </a:cubicBezTo>
                  <a:cubicBezTo>
                    <a:pt x="142487" y="640184"/>
                    <a:pt x="147927" y="612988"/>
                    <a:pt x="147927" y="588511"/>
                  </a:cubicBezTo>
                  <a:cubicBezTo>
                    <a:pt x="150646" y="555875"/>
                    <a:pt x="153366" y="523239"/>
                    <a:pt x="153366" y="493323"/>
                  </a:cubicBezTo>
                  <a:cubicBezTo>
                    <a:pt x="153366" y="466126"/>
                    <a:pt x="156086" y="438930"/>
                    <a:pt x="156086" y="411733"/>
                  </a:cubicBezTo>
                  <a:cubicBezTo>
                    <a:pt x="158806" y="373658"/>
                    <a:pt x="158806" y="335583"/>
                    <a:pt x="161525" y="297508"/>
                  </a:cubicBezTo>
                  <a:cubicBezTo>
                    <a:pt x="161525" y="278470"/>
                    <a:pt x="164245" y="259433"/>
                    <a:pt x="166965" y="240395"/>
                  </a:cubicBezTo>
                  <a:cubicBezTo>
                    <a:pt x="169684" y="210479"/>
                    <a:pt x="172404" y="191441"/>
                    <a:pt x="177843" y="161525"/>
                  </a:cubicBezTo>
                  <a:cubicBezTo>
                    <a:pt x="180563" y="147927"/>
                    <a:pt x="180563" y="131609"/>
                    <a:pt x="183282" y="118011"/>
                  </a:cubicBezTo>
                  <a:cubicBezTo>
                    <a:pt x="183282" y="118011"/>
                    <a:pt x="183282" y="115291"/>
                    <a:pt x="183282" y="115291"/>
                  </a:cubicBezTo>
                  <a:cubicBezTo>
                    <a:pt x="177843" y="115291"/>
                    <a:pt x="172404" y="115291"/>
                    <a:pt x="161525" y="115291"/>
                  </a:cubicBezTo>
                  <a:cubicBezTo>
                    <a:pt x="153366" y="115291"/>
                    <a:pt x="145207" y="115291"/>
                    <a:pt x="137048" y="115291"/>
                  </a:cubicBezTo>
                  <a:cubicBezTo>
                    <a:pt x="128889" y="115291"/>
                    <a:pt x="118011" y="115291"/>
                    <a:pt x="109852" y="109851"/>
                  </a:cubicBezTo>
                  <a:cubicBezTo>
                    <a:pt x="101693" y="107132"/>
                    <a:pt x="93534" y="98973"/>
                    <a:pt x="93534" y="93534"/>
                  </a:cubicBezTo>
                  <a:cubicBezTo>
                    <a:pt x="93534" y="90814"/>
                    <a:pt x="93534" y="88094"/>
                    <a:pt x="98973" y="85375"/>
                  </a:cubicBezTo>
                  <a:cubicBezTo>
                    <a:pt x="104412" y="82655"/>
                    <a:pt x="115291" y="79935"/>
                    <a:pt x="120730" y="77216"/>
                  </a:cubicBezTo>
                  <a:cubicBezTo>
                    <a:pt x="139768" y="74496"/>
                    <a:pt x="164245" y="71776"/>
                    <a:pt x="172404" y="71776"/>
                  </a:cubicBezTo>
                  <a:cubicBezTo>
                    <a:pt x="194161" y="71776"/>
                    <a:pt x="210479" y="69057"/>
                    <a:pt x="234956" y="69057"/>
                  </a:cubicBezTo>
                  <a:cubicBezTo>
                    <a:pt x="237675" y="69057"/>
                    <a:pt x="240395" y="69057"/>
                    <a:pt x="243115" y="69057"/>
                  </a:cubicBezTo>
                  <a:cubicBezTo>
                    <a:pt x="251274" y="69057"/>
                    <a:pt x="262153" y="69057"/>
                    <a:pt x="270312" y="74496"/>
                  </a:cubicBezTo>
                  <a:cubicBezTo>
                    <a:pt x="283910" y="82655"/>
                    <a:pt x="300228" y="96253"/>
                    <a:pt x="308387" y="123450"/>
                  </a:cubicBezTo>
                  <a:cubicBezTo>
                    <a:pt x="316546" y="147927"/>
                    <a:pt x="327424" y="175123"/>
                    <a:pt x="332864" y="202320"/>
                  </a:cubicBezTo>
                  <a:cubicBezTo>
                    <a:pt x="335583" y="213198"/>
                    <a:pt x="335583" y="226797"/>
                    <a:pt x="338303" y="237675"/>
                  </a:cubicBezTo>
                  <a:cubicBezTo>
                    <a:pt x="343742" y="251274"/>
                    <a:pt x="346462" y="264872"/>
                    <a:pt x="349182" y="281190"/>
                  </a:cubicBezTo>
                  <a:cubicBezTo>
                    <a:pt x="351901" y="292068"/>
                    <a:pt x="351901" y="305667"/>
                    <a:pt x="357341" y="316545"/>
                  </a:cubicBezTo>
                  <a:cubicBezTo>
                    <a:pt x="362780" y="327424"/>
                    <a:pt x="362780" y="338303"/>
                    <a:pt x="365500" y="351901"/>
                  </a:cubicBezTo>
                  <a:cubicBezTo>
                    <a:pt x="365500" y="357340"/>
                    <a:pt x="373658" y="373658"/>
                    <a:pt x="376378" y="389976"/>
                  </a:cubicBezTo>
                  <a:cubicBezTo>
                    <a:pt x="381817" y="403574"/>
                    <a:pt x="384537" y="414453"/>
                    <a:pt x="387257" y="414453"/>
                  </a:cubicBezTo>
                  <a:cubicBezTo>
                    <a:pt x="392696" y="414453"/>
                    <a:pt x="395416" y="381817"/>
                    <a:pt x="398136" y="376378"/>
                  </a:cubicBezTo>
                  <a:cubicBezTo>
                    <a:pt x="400855" y="362779"/>
                    <a:pt x="403575" y="346462"/>
                    <a:pt x="406295" y="332863"/>
                  </a:cubicBezTo>
                  <a:cubicBezTo>
                    <a:pt x="411734" y="302947"/>
                    <a:pt x="417173" y="273031"/>
                    <a:pt x="425332" y="243115"/>
                  </a:cubicBezTo>
                  <a:cubicBezTo>
                    <a:pt x="430771" y="213198"/>
                    <a:pt x="436211" y="180563"/>
                    <a:pt x="444370" y="150646"/>
                  </a:cubicBezTo>
                  <a:cubicBezTo>
                    <a:pt x="449809" y="126170"/>
                    <a:pt x="460688" y="98973"/>
                    <a:pt x="477006" y="79935"/>
                  </a:cubicBezTo>
                  <a:cubicBezTo>
                    <a:pt x="487884" y="66337"/>
                    <a:pt x="506922" y="58178"/>
                    <a:pt x="523240" y="58178"/>
                  </a:cubicBezTo>
                  <a:cubicBezTo>
                    <a:pt x="528679" y="58178"/>
                    <a:pt x="539558" y="58178"/>
                    <a:pt x="544997" y="63617"/>
                  </a:cubicBezTo>
                  <a:lnTo>
                    <a:pt x="612988" y="63617"/>
                  </a:lnTo>
                  <a:cubicBezTo>
                    <a:pt x="626587" y="63617"/>
                    <a:pt x="651064" y="63617"/>
                    <a:pt x="651064" y="79935"/>
                  </a:cubicBezTo>
                  <a:cubicBezTo>
                    <a:pt x="651064" y="88094"/>
                    <a:pt x="648344" y="88094"/>
                    <a:pt x="645624" y="96253"/>
                  </a:cubicBezTo>
                  <a:cubicBezTo>
                    <a:pt x="640185" y="101693"/>
                    <a:pt x="634746" y="104412"/>
                    <a:pt x="629307" y="104412"/>
                  </a:cubicBezTo>
                  <a:cubicBezTo>
                    <a:pt x="621147" y="107132"/>
                    <a:pt x="612988" y="107132"/>
                    <a:pt x="607549" y="107132"/>
                  </a:cubicBezTo>
                  <a:cubicBezTo>
                    <a:pt x="604829" y="107132"/>
                    <a:pt x="591231" y="107132"/>
                    <a:pt x="580353" y="107132"/>
                  </a:cubicBezTo>
                  <a:cubicBezTo>
                    <a:pt x="580353" y="109851"/>
                    <a:pt x="583072" y="112571"/>
                    <a:pt x="583072" y="115291"/>
                  </a:cubicBezTo>
                  <a:cubicBezTo>
                    <a:pt x="585792" y="128889"/>
                    <a:pt x="585792" y="142487"/>
                    <a:pt x="588512" y="156086"/>
                  </a:cubicBezTo>
                  <a:cubicBezTo>
                    <a:pt x="591231" y="169684"/>
                    <a:pt x="591231" y="183282"/>
                    <a:pt x="593951" y="196881"/>
                  </a:cubicBezTo>
                  <a:cubicBezTo>
                    <a:pt x="593951" y="207759"/>
                    <a:pt x="599390" y="215918"/>
                    <a:pt x="599390" y="226797"/>
                  </a:cubicBezTo>
                  <a:cubicBezTo>
                    <a:pt x="599390" y="229516"/>
                    <a:pt x="599390" y="229516"/>
                    <a:pt x="599390" y="232236"/>
                  </a:cubicBezTo>
                  <a:cubicBezTo>
                    <a:pt x="599390" y="234956"/>
                    <a:pt x="599390" y="237675"/>
                    <a:pt x="599390" y="240395"/>
                  </a:cubicBezTo>
                  <a:cubicBezTo>
                    <a:pt x="599390" y="251274"/>
                    <a:pt x="599390" y="259433"/>
                    <a:pt x="602110" y="270311"/>
                  </a:cubicBezTo>
                  <a:cubicBezTo>
                    <a:pt x="604829" y="283909"/>
                    <a:pt x="607549" y="294788"/>
                    <a:pt x="607549" y="308386"/>
                  </a:cubicBezTo>
                  <a:cubicBezTo>
                    <a:pt x="607549" y="311106"/>
                    <a:pt x="607549" y="316545"/>
                    <a:pt x="607549" y="319265"/>
                  </a:cubicBezTo>
                  <a:cubicBezTo>
                    <a:pt x="607549" y="324704"/>
                    <a:pt x="610269" y="330144"/>
                    <a:pt x="612988" y="335583"/>
                  </a:cubicBezTo>
                  <a:cubicBezTo>
                    <a:pt x="612988" y="338303"/>
                    <a:pt x="612988" y="343742"/>
                    <a:pt x="612988" y="346462"/>
                  </a:cubicBezTo>
                  <a:cubicBezTo>
                    <a:pt x="612988" y="354620"/>
                    <a:pt x="612988" y="362779"/>
                    <a:pt x="612988" y="370939"/>
                  </a:cubicBezTo>
                  <a:cubicBezTo>
                    <a:pt x="612988" y="379097"/>
                    <a:pt x="612988" y="387256"/>
                    <a:pt x="612988" y="395415"/>
                  </a:cubicBezTo>
                  <a:cubicBezTo>
                    <a:pt x="612988" y="403574"/>
                    <a:pt x="615708" y="414453"/>
                    <a:pt x="615708" y="422612"/>
                  </a:cubicBezTo>
                  <a:cubicBezTo>
                    <a:pt x="618428" y="430771"/>
                    <a:pt x="618428" y="436210"/>
                    <a:pt x="618428" y="441650"/>
                  </a:cubicBezTo>
                  <a:cubicBezTo>
                    <a:pt x="618428" y="444369"/>
                    <a:pt x="618428" y="449808"/>
                    <a:pt x="618428" y="455248"/>
                  </a:cubicBezTo>
                  <a:cubicBezTo>
                    <a:pt x="618428" y="460687"/>
                    <a:pt x="618428" y="460687"/>
                    <a:pt x="621147" y="463407"/>
                  </a:cubicBezTo>
                  <a:cubicBezTo>
                    <a:pt x="623867" y="471566"/>
                    <a:pt x="623867" y="477005"/>
                    <a:pt x="626587" y="482444"/>
                  </a:cubicBezTo>
                  <a:cubicBezTo>
                    <a:pt x="629307" y="493323"/>
                    <a:pt x="629307" y="506921"/>
                    <a:pt x="629307" y="517800"/>
                  </a:cubicBezTo>
                  <a:cubicBezTo>
                    <a:pt x="632026" y="534118"/>
                    <a:pt x="632026" y="547716"/>
                    <a:pt x="634746" y="561314"/>
                  </a:cubicBezTo>
                  <a:cubicBezTo>
                    <a:pt x="634746" y="564034"/>
                    <a:pt x="634746" y="564034"/>
                    <a:pt x="634746" y="566754"/>
                  </a:cubicBezTo>
                  <a:cubicBezTo>
                    <a:pt x="634746" y="572193"/>
                    <a:pt x="634746" y="577632"/>
                    <a:pt x="634746" y="583072"/>
                  </a:cubicBezTo>
                  <a:cubicBezTo>
                    <a:pt x="634746" y="596670"/>
                    <a:pt x="637466" y="602109"/>
                    <a:pt x="637466" y="607548"/>
                  </a:cubicBezTo>
                  <a:cubicBezTo>
                    <a:pt x="637466" y="610268"/>
                    <a:pt x="640185" y="615708"/>
                    <a:pt x="640185" y="618427"/>
                  </a:cubicBezTo>
                  <a:cubicBezTo>
                    <a:pt x="640185" y="623866"/>
                    <a:pt x="640185" y="629306"/>
                    <a:pt x="640185" y="632025"/>
                  </a:cubicBezTo>
                  <a:cubicBezTo>
                    <a:pt x="640185" y="634745"/>
                    <a:pt x="640185" y="637465"/>
                    <a:pt x="640185" y="640184"/>
                  </a:cubicBezTo>
                  <a:cubicBezTo>
                    <a:pt x="640185" y="645624"/>
                    <a:pt x="642905" y="653783"/>
                    <a:pt x="642905" y="659222"/>
                  </a:cubicBezTo>
                  <a:cubicBezTo>
                    <a:pt x="642905" y="661942"/>
                    <a:pt x="642905" y="661942"/>
                    <a:pt x="642905" y="664661"/>
                  </a:cubicBezTo>
                  <a:cubicBezTo>
                    <a:pt x="645624" y="678259"/>
                    <a:pt x="651064" y="678259"/>
                    <a:pt x="653783" y="678259"/>
                  </a:cubicBezTo>
                  <a:lnTo>
                    <a:pt x="653783" y="678259"/>
                  </a:ln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0" name="Freeform: Shape 49">
              <a:extLst>
                <a:ext uri="{FF2B5EF4-FFF2-40B4-BE49-F238E27FC236}">
                  <a16:creationId xmlns:a16="http://schemas.microsoft.com/office/drawing/2014/main" id="{2F7B36F4-4E99-4CE6-BA86-BFDECD3FB1EA}"/>
                </a:ext>
              </a:extLst>
            </p:cNvPr>
            <p:cNvSpPr/>
            <p:nvPr/>
          </p:nvSpPr>
          <p:spPr>
            <a:xfrm>
              <a:off x="6362526" y="4242177"/>
              <a:ext cx="492259" cy="674476"/>
            </a:xfrm>
            <a:custGeom>
              <a:avLst/>
              <a:gdLst>
                <a:gd name="connsiteX0" fmla="*/ 225733 w 492259"/>
                <a:gd name="connsiteY0" fmla="*/ 97907 h 674476"/>
                <a:gd name="connsiteX1" fmla="*/ 209415 w 492259"/>
                <a:gd name="connsiteY1" fmla="*/ 119665 h 674476"/>
                <a:gd name="connsiteX2" fmla="*/ 201256 w 492259"/>
                <a:gd name="connsiteY2" fmla="*/ 152300 h 674476"/>
                <a:gd name="connsiteX3" fmla="*/ 198536 w 492259"/>
                <a:gd name="connsiteY3" fmla="*/ 168618 h 674476"/>
                <a:gd name="connsiteX4" fmla="*/ 195817 w 492259"/>
                <a:gd name="connsiteY4" fmla="*/ 184936 h 674476"/>
                <a:gd name="connsiteX5" fmla="*/ 187658 w 492259"/>
                <a:gd name="connsiteY5" fmla="*/ 220292 h 674476"/>
                <a:gd name="connsiteX6" fmla="*/ 168620 w 492259"/>
                <a:gd name="connsiteY6" fmla="*/ 291003 h 674476"/>
                <a:gd name="connsiteX7" fmla="*/ 160461 w 492259"/>
                <a:gd name="connsiteY7" fmla="*/ 323639 h 674476"/>
                <a:gd name="connsiteX8" fmla="*/ 149582 w 492259"/>
                <a:gd name="connsiteY8" fmla="*/ 361714 h 674476"/>
                <a:gd name="connsiteX9" fmla="*/ 144143 w 492259"/>
                <a:gd name="connsiteY9" fmla="*/ 388910 h 674476"/>
                <a:gd name="connsiteX10" fmla="*/ 149582 w 492259"/>
                <a:gd name="connsiteY10" fmla="*/ 391630 h 674476"/>
                <a:gd name="connsiteX11" fmla="*/ 171340 w 492259"/>
                <a:gd name="connsiteY11" fmla="*/ 391630 h 674476"/>
                <a:gd name="connsiteX12" fmla="*/ 193097 w 492259"/>
                <a:gd name="connsiteY12" fmla="*/ 388910 h 674476"/>
                <a:gd name="connsiteX13" fmla="*/ 212135 w 492259"/>
                <a:gd name="connsiteY13" fmla="*/ 388910 h 674476"/>
                <a:gd name="connsiteX14" fmla="*/ 236611 w 492259"/>
                <a:gd name="connsiteY14" fmla="*/ 388910 h 674476"/>
                <a:gd name="connsiteX15" fmla="*/ 250210 w 492259"/>
                <a:gd name="connsiteY15" fmla="*/ 386191 h 674476"/>
                <a:gd name="connsiteX16" fmla="*/ 258369 w 492259"/>
                <a:gd name="connsiteY16" fmla="*/ 386191 h 674476"/>
                <a:gd name="connsiteX17" fmla="*/ 255649 w 492259"/>
                <a:gd name="connsiteY17" fmla="*/ 367153 h 674476"/>
                <a:gd name="connsiteX18" fmla="*/ 250210 w 492259"/>
                <a:gd name="connsiteY18" fmla="*/ 331797 h 674476"/>
                <a:gd name="connsiteX19" fmla="*/ 247490 w 492259"/>
                <a:gd name="connsiteY19" fmla="*/ 244769 h 674476"/>
                <a:gd name="connsiteX20" fmla="*/ 242051 w 492259"/>
                <a:gd name="connsiteY20" fmla="*/ 203974 h 674476"/>
                <a:gd name="connsiteX21" fmla="*/ 236611 w 492259"/>
                <a:gd name="connsiteY21" fmla="*/ 157740 h 674476"/>
                <a:gd name="connsiteX22" fmla="*/ 233892 w 492259"/>
                <a:gd name="connsiteY22" fmla="*/ 119665 h 674476"/>
                <a:gd name="connsiteX23" fmla="*/ 225733 w 492259"/>
                <a:gd name="connsiteY23" fmla="*/ 97907 h 674476"/>
                <a:gd name="connsiteX24" fmla="*/ 274687 w 492259"/>
                <a:gd name="connsiteY24" fmla="*/ 0 h 674476"/>
                <a:gd name="connsiteX25" fmla="*/ 304603 w 492259"/>
                <a:gd name="connsiteY25" fmla="*/ 5439 h 674476"/>
                <a:gd name="connsiteX26" fmla="*/ 320921 w 492259"/>
                <a:gd name="connsiteY26" fmla="*/ 24477 h 674476"/>
                <a:gd name="connsiteX27" fmla="*/ 334519 w 492259"/>
                <a:gd name="connsiteY27" fmla="*/ 43515 h 674476"/>
                <a:gd name="connsiteX28" fmla="*/ 339959 w 492259"/>
                <a:gd name="connsiteY28" fmla="*/ 65272 h 674476"/>
                <a:gd name="connsiteX29" fmla="*/ 348118 w 492259"/>
                <a:gd name="connsiteY29" fmla="*/ 114226 h 674476"/>
                <a:gd name="connsiteX30" fmla="*/ 361716 w 492259"/>
                <a:gd name="connsiteY30" fmla="*/ 163180 h 674476"/>
                <a:gd name="connsiteX31" fmla="*/ 369875 w 492259"/>
                <a:gd name="connsiteY31" fmla="*/ 220293 h 674476"/>
                <a:gd name="connsiteX32" fmla="*/ 378034 w 492259"/>
                <a:gd name="connsiteY32" fmla="*/ 274686 h 674476"/>
                <a:gd name="connsiteX33" fmla="*/ 383473 w 492259"/>
                <a:gd name="connsiteY33" fmla="*/ 301883 h 674476"/>
                <a:gd name="connsiteX34" fmla="*/ 391632 w 492259"/>
                <a:gd name="connsiteY34" fmla="*/ 337238 h 674476"/>
                <a:gd name="connsiteX35" fmla="*/ 397071 w 492259"/>
                <a:gd name="connsiteY35" fmla="*/ 364435 h 674476"/>
                <a:gd name="connsiteX36" fmla="*/ 405230 w 492259"/>
                <a:gd name="connsiteY36" fmla="*/ 383473 h 674476"/>
                <a:gd name="connsiteX37" fmla="*/ 416109 w 492259"/>
                <a:gd name="connsiteY37" fmla="*/ 386192 h 674476"/>
                <a:gd name="connsiteX38" fmla="*/ 426988 w 492259"/>
                <a:gd name="connsiteY38" fmla="*/ 386192 h 674476"/>
                <a:gd name="connsiteX39" fmla="*/ 454184 w 492259"/>
                <a:gd name="connsiteY39" fmla="*/ 397071 h 674476"/>
                <a:gd name="connsiteX40" fmla="*/ 456904 w 492259"/>
                <a:gd name="connsiteY40" fmla="*/ 405230 h 674476"/>
                <a:gd name="connsiteX41" fmla="*/ 451464 w 492259"/>
                <a:gd name="connsiteY41" fmla="*/ 416108 h 674476"/>
                <a:gd name="connsiteX42" fmla="*/ 432427 w 492259"/>
                <a:gd name="connsiteY42" fmla="*/ 429707 h 674476"/>
                <a:gd name="connsiteX43" fmla="*/ 421548 w 492259"/>
                <a:gd name="connsiteY43" fmla="*/ 432426 h 674476"/>
                <a:gd name="connsiteX44" fmla="*/ 413389 w 492259"/>
                <a:gd name="connsiteY44" fmla="*/ 435146 h 674476"/>
                <a:gd name="connsiteX45" fmla="*/ 413389 w 492259"/>
                <a:gd name="connsiteY45" fmla="*/ 440585 h 674476"/>
                <a:gd name="connsiteX46" fmla="*/ 416109 w 492259"/>
                <a:gd name="connsiteY46" fmla="*/ 451464 h 674476"/>
                <a:gd name="connsiteX47" fmla="*/ 418829 w 492259"/>
                <a:gd name="connsiteY47" fmla="*/ 465062 h 674476"/>
                <a:gd name="connsiteX48" fmla="*/ 418829 w 492259"/>
                <a:gd name="connsiteY48" fmla="*/ 475941 h 674476"/>
                <a:gd name="connsiteX49" fmla="*/ 418829 w 492259"/>
                <a:gd name="connsiteY49" fmla="*/ 486820 h 674476"/>
                <a:gd name="connsiteX50" fmla="*/ 426988 w 492259"/>
                <a:gd name="connsiteY50" fmla="*/ 516736 h 674476"/>
                <a:gd name="connsiteX51" fmla="*/ 432427 w 492259"/>
                <a:gd name="connsiteY51" fmla="*/ 543932 h 674476"/>
                <a:gd name="connsiteX52" fmla="*/ 437866 w 492259"/>
                <a:gd name="connsiteY52" fmla="*/ 573848 h 674476"/>
                <a:gd name="connsiteX53" fmla="*/ 443306 w 492259"/>
                <a:gd name="connsiteY53" fmla="*/ 606484 h 674476"/>
                <a:gd name="connsiteX54" fmla="*/ 446025 w 492259"/>
                <a:gd name="connsiteY54" fmla="*/ 617363 h 674476"/>
                <a:gd name="connsiteX55" fmla="*/ 470502 w 492259"/>
                <a:gd name="connsiteY55" fmla="*/ 617363 h 674476"/>
                <a:gd name="connsiteX56" fmla="*/ 492259 w 492259"/>
                <a:gd name="connsiteY56" fmla="*/ 641840 h 674476"/>
                <a:gd name="connsiteX57" fmla="*/ 484101 w 492259"/>
                <a:gd name="connsiteY57" fmla="*/ 655438 h 674476"/>
                <a:gd name="connsiteX58" fmla="*/ 467782 w 492259"/>
                <a:gd name="connsiteY58" fmla="*/ 663597 h 674476"/>
                <a:gd name="connsiteX59" fmla="*/ 443306 w 492259"/>
                <a:gd name="connsiteY59" fmla="*/ 666317 h 674476"/>
                <a:gd name="connsiteX60" fmla="*/ 421548 w 492259"/>
                <a:gd name="connsiteY60" fmla="*/ 666317 h 674476"/>
                <a:gd name="connsiteX61" fmla="*/ 413389 w 492259"/>
                <a:gd name="connsiteY61" fmla="*/ 666317 h 674476"/>
                <a:gd name="connsiteX62" fmla="*/ 399791 w 492259"/>
                <a:gd name="connsiteY62" fmla="*/ 671756 h 674476"/>
                <a:gd name="connsiteX63" fmla="*/ 383473 w 492259"/>
                <a:gd name="connsiteY63" fmla="*/ 674476 h 674476"/>
                <a:gd name="connsiteX64" fmla="*/ 348118 w 492259"/>
                <a:gd name="connsiteY64" fmla="*/ 669036 h 674476"/>
                <a:gd name="connsiteX65" fmla="*/ 326360 w 492259"/>
                <a:gd name="connsiteY65" fmla="*/ 669036 h 674476"/>
                <a:gd name="connsiteX66" fmla="*/ 277406 w 492259"/>
                <a:gd name="connsiteY66" fmla="*/ 669036 h 674476"/>
                <a:gd name="connsiteX67" fmla="*/ 252930 w 492259"/>
                <a:gd name="connsiteY67" fmla="*/ 663597 h 674476"/>
                <a:gd name="connsiteX68" fmla="*/ 236611 w 492259"/>
                <a:gd name="connsiteY68" fmla="*/ 647279 h 674476"/>
                <a:gd name="connsiteX69" fmla="*/ 261088 w 492259"/>
                <a:gd name="connsiteY69" fmla="*/ 630961 h 674476"/>
                <a:gd name="connsiteX70" fmla="*/ 288285 w 492259"/>
                <a:gd name="connsiteY70" fmla="*/ 628241 h 674476"/>
                <a:gd name="connsiteX71" fmla="*/ 285565 w 492259"/>
                <a:gd name="connsiteY71" fmla="*/ 609204 h 674476"/>
                <a:gd name="connsiteX72" fmla="*/ 282846 w 492259"/>
                <a:gd name="connsiteY72" fmla="*/ 582007 h 674476"/>
                <a:gd name="connsiteX73" fmla="*/ 280126 w 492259"/>
                <a:gd name="connsiteY73" fmla="*/ 568409 h 674476"/>
                <a:gd name="connsiteX74" fmla="*/ 282846 w 492259"/>
                <a:gd name="connsiteY74" fmla="*/ 554811 h 674476"/>
                <a:gd name="connsiteX75" fmla="*/ 277406 w 492259"/>
                <a:gd name="connsiteY75" fmla="*/ 538493 h 674476"/>
                <a:gd name="connsiteX76" fmla="*/ 271967 w 492259"/>
                <a:gd name="connsiteY76" fmla="*/ 505857 h 674476"/>
                <a:gd name="connsiteX77" fmla="*/ 269247 w 492259"/>
                <a:gd name="connsiteY77" fmla="*/ 478660 h 674476"/>
                <a:gd name="connsiteX78" fmla="*/ 266528 w 492259"/>
                <a:gd name="connsiteY78" fmla="*/ 446025 h 674476"/>
                <a:gd name="connsiteX79" fmla="*/ 261088 w 492259"/>
                <a:gd name="connsiteY79" fmla="*/ 437866 h 674476"/>
                <a:gd name="connsiteX80" fmla="*/ 250210 w 492259"/>
                <a:gd name="connsiteY80" fmla="*/ 437866 h 674476"/>
                <a:gd name="connsiteX81" fmla="*/ 220293 w 492259"/>
                <a:gd name="connsiteY81" fmla="*/ 440585 h 674476"/>
                <a:gd name="connsiteX82" fmla="*/ 190377 w 492259"/>
                <a:gd name="connsiteY82" fmla="*/ 443305 h 674476"/>
                <a:gd name="connsiteX83" fmla="*/ 165900 w 492259"/>
                <a:gd name="connsiteY83" fmla="*/ 443305 h 674476"/>
                <a:gd name="connsiteX84" fmla="*/ 144143 w 492259"/>
                <a:gd name="connsiteY84" fmla="*/ 440585 h 674476"/>
                <a:gd name="connsiteX85" fmla="*/ 135984 w 492259"/>
                <a:gd name="connsiteY85" fmla="*/ 454184 h 674476"/>
                <a:gd name="connsiteX86" fmla="*/ 130545 w 492259"/>
                <a:gd name="connsiteY86" fmla="*/ 486820 h 674476"/>
                <a:gd name="connsiteX87" fmla="*/ 119666 w 492259"/>
                <a:gd name="connsiteY87" fmla="*/ 541213 h 674476"/>
                <a:gd name="connsiteX88" fmla="*/ 103348 w 492259"/>
                <a:gd name="connsiteY88" fmla="*/ 614643 h 674476"/>
                <a:gd name="connsiteX89" fmla="*/ 133264 w 492259"/>
                <a:gd name="connsiteY89" fmla="*/ 614643 h 674476"/>
                <a:gd name="connsiteX90" fmla="*/ 168620 w 492259"/>
                <a:gd name="connsiteY90" fmla="*/ 630961 h 674476"/>
                <a:gd name="connsiteX91" fmla="*/ 163181 w 492259"/>
                <a:gd name="connsiteY91" fmla="*/ 647279 h 674476"/>
                <a:gd name="connsiteX92" fmla="*/ 146863 w 492259"/>
                <a:gd name="connsiteY92" fmla="*/ 655438 h 674476"/>
                <a:gd name="connsiteX93" fmla="*/ 127825 w 492259"/>
                <a:gd name="connsiteY93" fmla="*/ 658158 h 674476"/>
                <a:gd name="connsiteX94" fmla="*/ 106068 w 492259"/>
                <a:gd name="connsiteY94" fmla="*/ 658158 h 674476"/>
                <a:gd name="connsiteX95" fmla="*/ 62552 w 492259"/>
                <a:gd name="connsiteY95" fmla="*/ 658158 h 674476"/>
                <a:gd name="connsiteX96" fmla="*/ 40795 w 492259"/>
                <a:gd name="connsiteY96" fmla="*/ 658158 h 674476"/>
                <a:gd name="connsiteX97" fmla="*/ 16318 w 492259"/>
                <a:gd name="connsiteY97" fmla="*/ 652718 h 674476"/>
                <a:gd name="connsiteX98" fmla="*/ 0 w 492259"/>
                <a:gd name="connsiteY98" fmla="*/ 636401 h 674476"/>
                <a:gd name="connsiteX99" fmla="*/ 2720 w 492259"/>
                <a:gd name="connsiteY99" fmla="*/ 628241 h 674476"/>
                <a:gd name="connsiteX100" fmla="*/ 24477 w 492259"/>
                <a:gd name="connsiteY100" fmla="*/ 620082 h 674476"/>
                <a:gd name="connsiteX101" fmla="*/ 62552 w 492259"/>
                <a:gd name="connsiteY101" fmla="*/ 617363 h 674476"/>
                <a:gd name="connsiteX102" fmla="*/ 62552 w 492259"/>
                <a:gd name="connsiteY102" fmla="*/ 614643 h 674476"/>
                <a:gd name="connsiteX103" fmla="*/ 65272 w 492259"/>
                <a:gd name="connsiteY103" fmla="*/ 587447 h 674476"/>
                <a:gd name="connsiteX104" fmla="*/ 76151 w 492259"/>
                <a:gd name="connsiteY104" fmla="*/ 522175 h 674476"/>
                <a:gd name="connsiteX105" fmla="*/ 87029 w 492259"/>
                <a:gd name="connsiteY105" fmla="*/ 470501 h 674476"/>
                <a:gd name="connsiteX106" fmla="*/ 92468 w 492259"/>
                <a:gd name="connsiteY106" fmla="*/ 446025 h 674476"/>
                <a:gd name="connsiteX107" fmla="*/ 65272 w 492259"/>
                <a:gd name="connsiteY107" fmla="*/ 432426 h 674476"/>
                <a:gd name="connsiteX108" fmla="*/ 54393 w 492259"/>
                <a:gd name="connsiteY108" fmla="*/ 421548 h 674476"/>
                <a:gd name="connsiteX109" fmla="*/ 73431 w 492259"/>
                <a:gd name="connsiteY109" fmla="*/ 407949 h 674476"/>
                <a:gd name="connsiteX110" fmla="*/ 100629 w 492259"/>
                <a:gd name="connsiteY110" fmla="*/ 399790 h 674476"/>
                <a:gd name="connsiteX111" fmla="*/ 108788 w 492259"/>
                <a:gd name="connsiteY111" fmla="*/ 369874 h 674476"/>
                <a:gd name="connsiteX112" fmla="*/ 125105 w 492259"/>
                <a:gd name="connsiteY112" fmla="*/ 307322 h 674476"/>
                <a:gd name="connsiteX113" fmla="*/ 141423 w 492259"/>
                <a:gd name="connsiteY113" fmla="*/ 242051 h 674476"/>
                <a:gd name="connsiteX114" fmla="*/ 155022 w 492259"/>
                <a:gd name="connsiteY114" fmla="*/ 179498 h 674476"/>
                <a:gd name="connsiteX115" fmla="*/ 168620 w 492259"/>
                <a:gd name="connsiteY115" fmla="*/ 119665 h 674476"/>
                <a:gd name="connsiteX116" fmla="*/ 193097 w 492259"/>
                <a:gd name="connsiteY116" fmla="*/ 57113 h 674476"/>
                <a:gd name="connsiteX117" fmla="*/ 201256 w 492259"/>
                <a:gd name="connsiteY117" fmla="*/ 38075 h 674476"/>
                <a:gd name="connsiteX118" fmla="*/ 217574 w 492259"/>
                <a:gd name="connsiteY118" fmla="*/ 13598 h 674476"/>
                <a:gd name="connsiteX119" fmla="*/ 274687 w 492259"/>
                <a:gd name="connsiteY119" fmla="*/ 0 h 6744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</a:cxnLst>
              <a:rect l="l" t="t" r="r" b="b"/>
              <a:pathLst>
                <a:path w="492259" h="674476">
                  <a:moveTo>
                    <a:pt x="225733" y="97907"/>
                  </a:moveTo>
                  <a:cubicBezTo>
                    <a:pt x="217574" y="97907"/>
                    <a:pt x="209415" y="114225"/>
                    <a:pt x="209415" y="119665"/>
                  </a:cubicBezTo>
                  <a:cubicBezTo>
                    <a:pt x="206695" y="130543"/>
                    <a:pt x="203976" y="144141"/>
                    <a:pt x="201256" y="152300"/>
                  </a:cubicBezTo>
                  <a:cubicBezTo>
                    <a:pt x="198536" y="157740"/>
                    <a:pt x="198536" y="163179"/>
                    <a:pt x="198536" y="168618"/>
                  </a:cubicBezTo>
                  <a:cubicBezTo>
                    <a:pt x="198536" y="174058"/>
                    <a:pt x="195817" y="179497"/>
                    <a:pt x="195817" y="184936"/>
                  </a:cubicBezTo>
                  <a:cubicBezTo>
                    <a:pt x="193097" y="195815"/>
                    <a:pt x="190377" y="209413"/>
                    <a:pt x="187658" y="220292"/>
                  </a:cubicBezTo>
                  <a:cubicBezTo>
                    <a:pt x="184938" y="244769"/>
                    <a:pt x="176779" y="269246"/>
                    <a:pt x="168620" y="291003"/>
                  </a:cubicBezTo>
                  <a:cubicBezTo>
                    <a:pt x="165900" y="301881"/>
                    <a:pt x="163181" y="312760"/>
                    <a:pt x="160461" y="323639"/>
                  </a:cubicBezTo>
                  <a:cubicBezTo>
                    <a:pt x="157742" y="337237"/>
                    <a:pt x="155022" y="348115"/>
                    <a:pt x="149582" y="361714"/>
                  </a:cubicBezTo>
                  <a:cubicBezTo>
                    <a:pt x="146863" y="367153"/>
                    <a:pt x="144143" y="383471"/>
                    <a:pt x="144143" y="388910"/>
                  </a:cubicBezTo>
                  <a:cubicBezTo>
                    <a:pt x="144143" y="391630"/>
                    <a:pt x="146863" y="391630"/>
                    <a:pt x="149582" y="391630"/>
                  </a:cubicBezTo>
                  <a:cubicBezTo>
                    <a:pt x="155022" y="391630"/>
                    <a:pt x="168620" y="391630"/>
                    <a:pt x="171340" y="391630"/>
                  </a:cubicBezTo>
                  <a:cubicBezTo>
                    <a:pt x="179498" y="391630"/>
                    <a:pt x="187658" y="391630"/>
                    <a:pt x="193097" y="388910"/>
                  </a:cubicBezTo>
                  <a:cubicBezTo>
                    <a:pt x="198536" y="388910"/>
                    <a:pt x="203976" y="388910"/>
                    <a:pt x="212135" y="388910"/>
                  </a:cubicBezTo>
                  <a:cubicBezTo>
                    <a:pt x="217574" y="388910"/>
                    <a:pt x="225733" y="388910"/>
                    <a:pt x="236611" y="388910"/>
                  </a:cubicBezTo>
                  <a:cubicBezTo>
                    <a:pt x="242051" y="388910"/>
                    <a:pt x="247490" y="388910"/>
                    <a:pt x="250210" y="386191"/>
                  </a:cubicBezTo>
                  <a:cubicBezTo>
                    <a:pt x="255649" y="391630"/>
                    <a:pt x="258369" y="388910"/>
                    <a:pt x="258369" y="386191"/>
                  </a:cubicBezTo>
                  <a:cubicBezTo>
                    <a:pt x="258369" y="380751"/>
                    <a:pt x="255649" y="372592"/>
                    <a:pt x="255649" y="367153"/>
                  </a:cubicBezTo>
                  <a:cubicBezTo>
                    <a:pt x="252930" y="353555"/>
                    <a:pt x="250210" y="342676"/>
                    <a:pt x="250210" y="331797"/>
                  </a:cubicBezTo>
                  <a:cubicBezTo>
                    <a:pt x="250210" y="301881"/>
                    <a:pt x="250210" y="274685"/>
                    <a:pt x="247490" y="244769"/>
                  </a:cubicBezTo>
                  <a:cubicBezTo>
                    <a:pt x="247490" y="231170"/>
                    <a:pt x="244771" y="217572"/>
                    <a:pt x="242051" y="203974"/>
                  </a:cubicBezTo>
                  <a:cubicBezTo>
                    <a:pt x="239331" y="187656"/>
                    <a:pt x="236611" y="174058"/>
                    <a:pt x="236611" y="157740"/>
                  </a:cubicBezTo>
                  <a:cubicBezTo>
                    <a:pt x="236611" y="152300"/>
                    <a:pt x="236611" y="133263"/>
                    <a:pt x="233892" y="119665"/>
                  </a:cubicBezTo>
                  <a:cubicBezTo>
                    <a:pt x="233892" y="106066"/>
                    <a:pt x="231172" y="97907"/>
                    <a:pt x="225733" y="97907"/>
                  </a:cubicBezTo>
                  <a:close/>
                  <a:moveTo>
                    <a:pt x="274687" y="0"/>
                  </a:moveTo>
                  <a:cubicBezTo>
                    <a:pt x="288285" y="0"/>
                    <a:pt x="293724" y="2720"/>
                    <a:pt x="304603" y="5439"/>
                  </a:cubicBezTo>
                  <a:cubicBezTo>
                    <a:pt x="315481" y="10879"/>
                    <a:pt x="315481" y="16318"/>
                    <a:pt x="320921" y="24477"/>
                  </a:cubicBezTo>
                  <a:cubicBezTo>
                    <a:pt x="326360" y="29916"/>
                    <a:pt x="331800" y="35356"/>
                    <a:pt x="334519" y="43515"/>
                  </a:cubicBezTo>
                  <a:cubicBezTo>
                    <a:pt x="337239" y="51674"/>
                    <a:pt x="337239" y="57113"/>
                    <a:pt x="339959" y="65272"/>
                  </a:cubicBezTo>
                  <a:cubicBezTo>
                    <a:pt x="345398" y="78870"/>
                    <a:pt x="342678" y="97908"/>
                    <a:pt x="348118" y="114226"/>
                  </a:cubicBezTo>
                  <a:cubicBezTo>
                    <a:pt x="350837" y="130544"/>
                    <a:pt x="358996" y="146863"/>
                    <a:pt x="361716" y="163180"/>
                  </a:cubicBezTo>
                  <a:cubicBezTo>
                    <a:pt x="364435" y="182218"/>
                    <a:pt x="364435" y="201256"/>
                    <a:pt x="369875" y="220293"/>
                  </a:cubicBezTo>
                  <a:cubicBezTo>
                    <a:pt x="375314" y="239331"/>
                    <a:pt x="378034" y="255649"/>
                    <a:pt x="378034" y="274686"/>
                  </a:cubicBezTo>
                  <a:cubicBezTo>
                    <a:pt x="378034" y="282845"/>
                    <a:pt x="380753" y="293724"/>
                    <a:pt x="383473" y="301883"/>
                  </a:cubicBezTo>
                  <a:cubicBezTo>
                    <a:pt x="386193" y="312762"/>
                    <a:pt x="388913" y="326360"/>
                    <a:pt x="391632" y="337238"/>
                  </a:cubicBezTo>
                  <a:cubicBezTo>
                    <a:pt x="391632" y="342678"/>
                    <a:pt x="394352" y="353556"/>
                    <a:pt x="397071" y="364435"/>
                  </a:cubicBezTo>
                  <a:cubicBezTo>
                    <a:pt x="399791" y="372594"/>
                    <a:pt x="402511" y="380753"/>
                    <a:pt x="405230" y="383473"/>
                  </a:cubicBezTo>
                  <a:cubicBezTo>
                    <a:pt x="407950" y="386192"/>
                    <a:pt x="413389" y="386192"/>
                    <a:pt x="416109" y="386192"/>
                  </a:cubicBezTo>
                  <a:cubicBezTo>
                    <a:pt x="418829" y="386192"/>
                    <a:pt x="424268" y="386192"/>
                    <a:pt x="426988" y="386192"/>
                  </a:cubicBezTo>
                  <a:cubicBezTo>
                    <a:pt x="437866" y="386192"/>
                    <a:pt x="448745" y="388912"/>
                    <a:pt x="454184" y="397071"/>
                  </a:cubicBezTo>
                  <a:cubicBezTo>
                    <a:pt x="456904" y="399790"/>
                    <a:pt x="456904" y="402510"/>
                    <a:pt x="456904" y="405230"/>
                  </a:cubicBezTo>
                  <a:cubicBezTo>
                    <a:pt x="456904" y="407949"/>
                    <a:pt x="454184" y="410669"/>
                    <a:pt x="451464" y="416108"/>
                  </a:cubicBezTo>
                  <a:cubicBezTo>
                    <a:pt x="446025" y="421548"/>
                    <a:pt x="440586" y="426987"/>
                    <a:pt x="432427" y="429707"/>
                  </a:cubicBezTo>
                  <a:cubicBezTo>
                    <a:pt x="429707" y="429707"/>
                    <a:pt x="426988" y="432426"/>
                    <a:pt x="421548" y="432426"/>
                  </a:cubicBezTo>
                  <a:cubicBezTo>
                    <a:pt x="418829" y="432426"/>
                    <a:pt x="416109" y="432426"/>
                    <a:pt x="413389" y="435146"/>
                  </a:cubicBezTo>
                  <a:cubicBezTo>
                    <a:pt x="413389" y="435146"/>
                    <a:pt x="413389" y="437866"/>
                    <a:pt x="413389" y="440585"/>
                  </a:cubicBezTo>
                  <a:cubicBezTo>
                    <a:pt x="413389" y="443305"/>
                    <a:pt x="413389" y="448744"/>
                    <a:pt x="416109" y="451464"/>
                  </a:cubicBezTo>
                  <a:cubicBezTo>
                    <a:pt x="416109" y="456903"/>
                    <a:pt x="418829" y="462343"/>
                    <a:pt x="418829" y="465062"/>
                  </a:cubicBezTo>
                  <a:lnTo>
                    <a:pt x="418829" y="475941"/>
                  </a:lnTo>
                  <a:cubicBezTo>
                    <a:pt x="418829" y="481380"/>
                    <a:pt x="418829" y="484100"/>
                    <a:pt x="418829" y="486820"/>
                  </a:cubicBezTo>
                  <a:cubicBezTo>
                    <a:pt x="421548" y="497698"/>
                    <a:pt x="424268" y="505857"/>
                    <a:pt x="426988" y="516736"/>
                  </a:cubicBezTo>
                  <a:cubicBezTo>
                    <a:pt x="426988" y="524895"/>
                    <a:pt x="429707" y="535773"/>
                    <a:pt x="432427" y="543932"/>
                  </a:cubicBezTo>
                  <a:cubicBezTo>
                    <a:pt x="435147" y="554811"/>
                    <a:pt x="437866" y="562970"/>
                    <a:pt x="437866" y="573848"/>
                  </a:cubicBezTo>
                  <a:cubicBezTo>
                    <a:pt x="437866" y="587447"/>
                    <a:pt x="440586" y="595606"/>
                    <a:pt x="443306" y="606484"/>
                  </a:cubicBezTo>
                  <a:cubicBezTo>
                    <a:pt x="443306" y="609204"/>
                    <a:pt x="446025" y="614643"/>
                    <a:pt x="446025" y="617363"/>
                  </a:cubicBezTo>
                  <a:cubicBezTo>
                    <a:pt x="454184" y="617363"/>
                    <a:pt x="462343" y="617363"/>
                    <a:pt x="470502" y="617363"/>
                  </a:cubicBezTo>
                  <a:cubicBezTo>
                    <a:pt x="475942" y="625522"/>
                    <a:pt x="492259" y="630961"/>
                    <a:pt x="492259" y="641840"/>
                  </a:cubicBezTo>
                  <a:cubicBezTo>
                    <a:pt x="492259" y="647279"/>
                    <a:pt x="486820" y="649999"/>
                    <a:pt x="484101" y="655438"/>
                  </a:cubicBezTo>
                  <a:cubicBezTo>
                    <a:pt x="481381" y="660877"/>
                    <a:pt x="473222" y="663597"/>
                    <a:pt x="467782" y="663597"/>
                  </a:cubicBezTo>
                  <a:cubicBezTo>
                    <a:pt x="456904" y="666317"/>
                    <a:pt x="451464" y="666317"/>
                    <a:pt x="443306" y="666317"/>
                  </a:cubicBezTo>
                  <a:cubicBezTo>
                    <a:pt x="437866" y="666317"/>
                    <a:pt x="429707" y="666317"/>
                    <a:pt x="421548" y="666317"/>
                  </a:cubicBezTo>
                  <a:cubicBezTo>
                    <a:pt x="418829" y="666317"/>
                    <a:pt x="416109" y="666317"/>
                    <a:pt x="413389" y="666317"/>
                  </a:cubicBezTo>
                  <a:cubicBezTo>
                    <a:pt x="407950" y="669036"/>
                    <a:pt x="405230" y="669036"/>
                    <a:pt x="399791" y="671756"/>
                  </a:cubicBezTo>
                  <a:cubicBezTo>
                    <a:pt x="394352" y="671756"/>
                    <a:pt x="388913" y="674476"/>
                    <a:pt x="383473" y="674476"/>
                  </a:cubicBezTo>
                  <a:cubicBezTo>
                    <a:pt x="372594" y="674476"/>
                    <a:pt x="358996" y="671756"/>
                    <a:pt x="348118" y="669036"/>
                  </a:cubicBezTo>
                  <a:cubicBezTo>
                    <a:pt x="339959" y="669036"/>
                    <a:pt x="331800" y="669036"/>
                    <a:pt x="326360" y="669036"/>
                  </a:cubicBezTo>
                  <a:cubicBezTo>
                    <a:pt x="304603" y="669036"/>
                    <a:pt x="285565" y="669036"/>
                    <a:pt x="277406" y="669036"/>
                  </a:cubicBezTo>
                  <a:cubicBezTo>
                    <a:pt x="269247" y="669036"/>
                    <a:pt x="258369" y="669036"/>
                    <a:pt x="252930" y="663597"/>
                  </a:cubicBezTo>
                  <a:cubicBezTo>
                    <a:pt x="247490" y="660877"/>
                    <a:pt x="236611" y="655438"/>
                    <a:pt x="236611" y="647279"/>
                  </a:cubicBezTo>
                  <a:cubicBezTo>
                    <a:pt x="236611" y="636401"/>
                    <a:pt x="252930" y="633681"/>
                    <a:pt x="261088" y="630961"/>
                  </a:cubicBezTo>
                  <a:cubicBezTo>
                    <a:pt x="266528" y="630961"/>
                    <a:pt x="274687" y="630961"/>
                    <a:pt x="288285" y="628241"/>
                  </a:cubicBezTo>
                  <a:cubicBezTo>
                    <a:pt x="288285" y="620082"/>
                    <a:pt x="288285" y="614643"/>
                    <a:pt x="285565" y="609204"/>
                  </a:cubicBezTo>
                  <a:cubicBezTo>
                    <a:pt x="285565" y="601045"/>
                    <a:pt x="282846" y="590166"/>
                    <a:pt x="282846" y="582007"/>
                  </a:cubicBezTo>
                  <a:cubicBezTo>
                    <a:pt x="282846" y="576568"/>
                    <a:pt x="280126" y="573848"/>
                    <a:pt x="280126" y="568409"/>
                  </a:cubicBezTo>
                  <a:cubicBezTo>
                    <a:pt x="280126" y="562970"/>
                    <a:pt x="282846" y="557531"/>
                    <a:pt x="282846" y="554811"/>
                  </a:cubicBezTo>
                  <a:cubicBezTo>
                    <a:pt x="282846" y="549371"/>
                    <a:pt x="280126" y="546652"/>
                    <a:pt x="277406" y="538493"/>
                  </a:cubicBezTo>
                  <a:cubicBezTo>
                    <a:pt x="277406" y="527614"/>
                    <a:pt x="271967" y="516736"/>
                    <a:pt x="271967" y="505857"/>
                  </a:cubicBezTo>
                  <a:cubicBezTo>
                    <a:pt x="271967" y="494978"/>
                    <a:pt x="271967" y="486820"/>
                    <a:pt x="269247" y="478660"/>
                  </a:cubicBezTo>
                  <a:cubicBezTo>
                    <a:pt x="266528" y="467782"/>
                    <a:pt x="266528" y="456903"/>
                    <a:pt x="266528" y="446025"/>
                  </a:cubicBezTo>
                  <a:cubicBezTo>
                    <a:pt x="266528" y="440585"/>
                    <a:pt x="263808" y="437866"/>
                    <a:pt x="261088" y="437866"/>
                  </a:cubicBezTo>
                  <a:cubicBezTo>
                    <a:pt x="258369" y="437866"/>
                    <a:pt x="255649" y="437866"/>
                    <a:pt x="250210" y="437866"/>
                  </a:cubicBezTo>
                  <a:cubicBezTo>
                    <a:pt x="239331" y="437866"/>
                    <a:pt x="228452" y="437866"/>
                    <a:pt x="220293" y="440585"/>
                  </a:cubicBezTo>
                  <a:cubicBezTo>
                    <a:pt x="209415" y="440585"/>
                    <a:pt x="201256" y="443305"/>
                    <a:pt x="190377" y="443305"/>
                  </a:cubicBezTo>
                  <a:cubicBezTo>
                    <a:pt x="182218" y="443305"/>
                    <a:pt x="174059" y="443305"/>
                    <a:pt x="165900" y="443305"/>
                  </a:cubicBezTo>
                  <a:cubicBezTo>
                    <a:pt x="163181" y="443305"/>
                    <a:pt x="152302" y="440585"/>
                    <a:pt x="144143" y="440585"/>
                  </a:cubicBezTo>
                  <a:cubicBezTo>
                    <a:pt x="135984" y="440585"/>
                    <a:pt x="135984" y="448744"/>
                    <a:pt x="135984" y="454184"/>
                  </a:cubicBezTo>
                  <a:cubicBezTo>
                    <a:pt x="135984" y="465062"/>
                    <a:pt x="133264" y="475941"/>
                    <a:pt x="130545" y="486820"/>
                  </a:cubicBezTo>
                  <a:cubicBezTo>
                    <a:pt x="127825" y="505857"/>
                    <a:pt x="122386" y="522175"/>
                    <a:pt x="119666" y="541213"/>
                  </a:cubicBezTo>
                  <a:cubicBezTo>
                    <a:pt x="116947" y="560250"/>
                    <a:pt x="108788" y="595606"/>
                    <a:pt x="103348" y="614643"/>
                  </a:cubicBezTo>
                  <a:cubicBezTo>
                    <a:pt x="111507" y="614643"/>
                    <a:pt x="122386" y="614643"/>
                    <a:pt x="133264" y="614643"/>
                  </a:cubicBezTo>
                  <a:cubicBezTo>
                    <a:pt x="146863" y="614643"/>
                    <a:pt x="168620" y="614643"/>
                    <a:pt x="168620" y="630961"/>
                  </a:cubicBezTo>
                  <a:cubicBezTo>
                    <a:pt x="168620" y="639120"/>
                    <a:pt x="165900" y="639120"/>
                    <a:pt x="163181" y="647279"/>
                  </a:cubicBezTo>
                  <a:cubicBezTo>
                    <a:pt x="160461" y="652718"/>
                    <a:pt x="152302" y="655438"/>
                    <a:pt x="146863" y="655438"/>
                  </a:cubicBezTo>
                  <a:cubicBezTo>
                    <a:pt x="138704" y="658158"/>
                    <a:pt x="133264" y="658158"/>
                    <a:pt x="127825" y="658158"/>
                  </a:cubicBezTo>
                  <a:cubicBezTo>
                    <a:pt x="122386" y="658158"/>
                    <a:pt x="116947" y="658158"/>
                    <a:pt x="106068" y="658158"/>
                  </a:cubicBezTo>
                  <a:cubicBezTo>
                    <a:pt x="92468" y="658158"/>
                    <a:pt x="78870" y="658158"/>
                    <a:pt x="62552" y="658158"/>
                  </a:cubicBezTo>
                  <a:cubicBezTo>
                    <a:pt x="54393" y="658158"/>
                    <a:pt x="46234" y="658158"/>
                    <a:pt x="40795" y="658158"/>
                  </a:cubicBezTo>
                  <a:cubicBezTo>
                    <a:pt x="32636" y="658158"/>
                    <a:pt x="21758" y="658158"/>
                    <a:pt x="16318" y="652718"/>
                  </a:cubicBezTo>
                  <a:cubicBezTo>
                    <a:pt x="8159" y="649999"/>
                    <a:pt x="0" y="641840"/>
                    <a:pt x="0" y="636401"/>
                  </a:cubicBezTo>
                  <a:cubicBezTo>
                    <a:pt x="0" y="633681"/>
                    <a:pt x="0" y="630961"/>
                    <a:pt x="2720" y="628241"/>
                  </a:cubicBezTo>
                  <a:cubicBezTo>
                    <a:pt x="8159" y="625522"/>
                    <a:pt x="16318" y="622802"/>
                    <a:pt x="24477" y="620082"/>
                  </a:cubicBezTo>
                  <a:cubicBezTo>
                    <a:pt x="38075" y="617363"/>
                    <a:pt x="48954" y="617363"/>
                    <a:pt x="62552" y="617363"/>
                  </a:cubicBezTo>
                  <a:cubicBezTo>
                    <a:pt x="62552" y="617363"/>
                    <a:pt x="62552" y="614643"/>
                    <a:pt x="62552" y="614643"/>
                  </a:cubicBezTo>
                  <a:cubicBezTo>
                    <a:pt x="62552" y="603765"/>
                    <a:pt x="65272" y="590166"/>
                    <a:pt x="65272" y="587447"/>
                  </a:cubicBezTo>
                  <a:cubicBezTo>
                    <a:pt x="67992" y="565689"/>
                    <a:pt x="73431" y="543932"/>
                    <a:pt x="76151" y="522175"/>
                  </a:cubicBezTo>
                  <a:cubicBezTo>
                    <a:pt x="78870" y="505857"/>
                    <a:pt x="81590" y="486820"/>
                    <a:pt x="87029" y="470501"/>
                  </a:cubicBezTo>
                  <a:cubicBezTo>
                    <a:pt x="87029" y="465062"/>
                    <a:pt x="92468" y="451464"/>
                    <a:pt x="92468" y="446025"/>
                  </a:cubicBezTo>
                  <a:cubicBezTo>
                    <a:pt x="92468" y="437866"/>
                    <a:pt x="73431" y="437866"/>
                    <a:pt x="65272" y="432426"/>
                  </a:cubicBezTo>
                  <a:cubicBezTo>
                    <a:pt x="59833" y="429707"/>
                    <a:pt x="54393" y="426987"/>
                    <a:pt x="54393" y="421548"/>
                  </a:cubicBezTo>
                  <a:cubicBezTo>
                    <a:pt x="54393" y="413389"/>
                    <a:pt x="62552" y="410669"/>
                    <a:pt x="73431" y="407949"/>
                  </a:cubicBezTo>
                  <a:cubicBezTo>
                    <a:pt x="78870" y="407949"/>
                    <a:pt x="92468" y="405230"/>
                    <a:pt x="100629" y="399790"/>
                  </a:cubicBezTo>
                  <a:cubicBezTo>
                    <a:pt x="106068" y="394351"/>
                    <a:pt x="106068" y="378033"/>
                    <a:pt x="108788" y="369874"/>
                  </a:cubicBezTo>
                  <a:cubicBezTo>
                    <a:pt x="114227" y="348117"/>
                    <a:pt x="119666" y="326360"/>
                    <a:pt x="125105" y="307322"/>
                  </a:cubicBezTo>
                  <a:cubicBezTo>
                    <a:pt x="130545" y="285565"/>
                    <a:pt x="135984" y="263808"/>
                    <a:pt x="141423" y="242051"/>
                  </a:cubicBezTo>
                  <a:cubicBezTo>
                    <a:pt x="146863" y="220293"/>
                    <a:pt x="152302" y="198536"/>
                    <a:pt x="155022" y="179498"/>
                  </a:cubicBezTo>
                  <a:cubicBezTo>
                    <a:pt x="157742" y="160461"/>
                    <a:pt x="163181" y="138703"/>
                    <a:pt x="168620" y="119665"/>
                  </a:cubicBezTo>
                  <a:cubicBezTo>
                    <a:pt x="176779" y="100627"/>
                    <a:pt x="182218" y="76150"/>
                    <a:pt x="193097" y="57113"/>
                  </a:cubicBezTo>
                  <a:lnTo>
                    <a:pt x="201256" y="38075"/>
                  </a:lnTo>
                  <a:cubicBezTo>
                    <a:pt x="206695" y="29916"/>
                    <a:pt x="209415" y="19038"/>
                    <a:pt x="217574" y="13598"/>
                  </a:cubicBezTo>
                  <a:cubicBezTo>
                    <a:pt x="231172" y="2720"/>
                    <a:pt x="255649" y="0"/>
                    <a:pt x="274687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1" name="Freeform: Shape 50">
              <a:extLst>
                <a:ext uri="{FF2B5EF4-FFF2-40B4-BE49-F238E27FC236}">
                  <a16:creationId xmlns:a16="http://schemas.microsoft.com/office/drawing/2014/main" id="{6BF9BE4F-4C44-4FF7-A214-ED9C63856F18}"/>
                </a:ext>
              </a:extLst>
            </p:cNvPr>
            <p:cNvSpPr/>
            <p:nvPr/>
          </p:nvSpPr>
          <p:spPr>
            <a:xfrm>
              <a:off x="6876542" y="4244897"/>
              <a:ext cx="462342" cy="677195"/>
            </a:xfrm>
            <a:custGeom>
              <a:avLst/>
              <a:gdLst>
                <a:gd name="connsiteX0" fmla="*/ 214853 w 462342"/>
                <a:gd name="connsiteY0" fmla="*/ 65272 h 677195"/>
                <a:gd name="connsiteX1" fmla="*/ 195815 w 462342"/>
                <a:gd name="connsiteY1" fmla="*/ 73431 h 677195"/>
                <a:gd name="connsiteX2" fmla="*/ 193096 w 462342"/>
                <a:gd name="connsiteY2" fmla="*/ 125105 h 677195"/>
                <a:gd name="connsiteX3" fmla="*/ 190376 w 462342"/>
                <a:gd name="connsiteY3" fmla="*/ 280125 h 677195"/>
                <a:gd name="connsiteX4" fmla="*/ 190376 w 462342"/>
                <a:gd name="connsiteY4" fmla="*/ 301882 h 677195"/>
                <a:gd name="connsiteX5" fmla="*/ 193096 w 462342"/>
                <a:gd name="connsiteY5" fmla="*/ 342677 h 677195"/>
                <a:gd name="connsiteX6" fmla="*/ 195815 w 462342"/>
                <a:gd name="connsiteY6" fmla="*/ 397070 h 677195"/>
                <a:gd name="connsiteX7" fmla="*/ 195815 w 462342"/>
                <a:gd name="connsiteY7" fmla="*/ 443304 h 677195"/>
                <a:gd name="connsiteX8" fmla="*/ 195815 w 462342"/>
                <a:gd name="connsiteY8" fmla="*/ 530333 h 677195"/>
                <a:gd name="connsiteX9" fmla="*/ 193096 w 462342"/>
                <a:gd name="connsiteY9" fmla="*/ 554810 h 677195"/>
                <a:gd name="connsiteX10" fmla="*/ 190376 w 462342"/>
                <a:gd name="connsiteY10" fmla="*/ 603764 h 677195"/>
                <a:gd name="connsiteX11" fmla="*/ 198535 w 462342"/>
                <a:gd name="connsiteY11" fmla="*/ 611923 h 677195"/>
                <a:gd name="connsiteX12" fmla="*/ 214853 w 462342"/>
                <a:gd name="connsiteY12" fmla="*/ 611923 h 677195"/>
                <a:gd name="connsiteX13" fmla="*/ 236610 w 462342"/>
                <a:gd name="connsiteY13" fmla="*/ 611923 h 677195"/>
                <a:gd name="connsiteX14" fmla="*/ 263807 w 462342"/>
                <a:gd name="connsiteY14" fmla="*/ 598325 h 677195"/>
                <a:gd name="connsiteX15" fmla="*/ 277405 w 462342"/>
                <a:gd name="connsiteY15" fmla="*/ 592885 h 677195"/>
                <a:gd name="connsiteX16" fmla="*/ 291004 w 462342"/>
                <a:gd name="connsiteY16" fmla="*/ 573848 h 677195"/>
                <a:gd name="connsiteX17" fmla="*/ 307322 w 462342"/>
                <a:gd name="connsiteY17" fmla="*/ 543931 h 677195"/>
                <a:gd name="connsiteX18" fmla="*/ 326359 w 462342"/>
                <a:gd name="connsiteY18" fmla="*/ 481379 h 677195"/>
                <a:gd name="connsiteX19" fmla="*/ 337238 w 462342"/>
                <a:gd name="connsiteY19" fmla="*/ 413388 h 677195"/>
                <a:gd name="connsiteX20" fmla="*/ 337238 w 462342"/>
                <a:gd name="connsiteY20" fmla="*/ 350836 h 677195"/>
                <a:gd name="connsiteX21" fmla="*/ 334518 w 462342"/>
                <a:gd name="connsiteY21" fmla="*/ 296443 h 677195"/>
                <a:gd name="connsiteX22" fmla="*/ 329079 w 462342"/>
                <a:gd name="connsiteY22" fmla="*/ 244769 h 677195"/>
                <a:gd name="connsiteX23" fmla="*/ 307322 w 462342"/>
                <a:gd name="connsiteY23" fmla="*/ 135983 h 677195"/>
                <a:gd name="connsiteX24" fmla="*/ 271966 w 462342"/>
                <a:gd name="connsiteY24" fmla="*/ 78870 h 677195"/>
                <a:gd name="connsiteX25" fmla="*/ 214853 w 462342"/>
                <a:gd name="connsiteY25" fmla="*/ 65272 h 677195"/>
                <a:gd name="connsiteX26" fmla="*/ 114226 w 462342"/>
                <a:gd name="connsiteY26" fmla="*/ 0 h 677195"/>
                <a:gd name="connsiteX27" fmla="*/ 127824 w 462342"/>
                <a:gd name="connsiteY27" fmla="*/ 0 h 677195"/>
                <a:gd name="connsiteX28" fmla="*/ 146862 w 462342"/>
                <a:gd name="connsiteY28" fmla="*/ 2720 h 677195"/>
                <a:gd name="connsiteX29" fmla="*/ 174059 w 462342"/>
                <a:gd name="connsiteY29" fmla="*/ 21758 h 677195"/>
                <a:gd name="connsiteX30" fmla="*/ 193096 w 462342"/>
                <a:gd name="connsiteY30" fmla="*/ 21758 h 677195"/>
                <a:gd name="connsiteX31" fmla="*/ 261088 w 462342"/>
                <a:gd name="connsiteY31" fmla="*/ 27197 h 677195"/>
                <a:gd name="connsiteX32" fmla="*/ 310042 w 462342"/>
                <a:gd name="connsiteY32" fmla="*/ 35356 h 677195"/>
                <a:gd name="connsiteX33" fmla="*/ 334518 w 462342"/>
                <a:gd name="connsiteY33" fmla="*/ 40795 h 677195"/>
                <a:gd name="connsiteX34" fmla="*/ 356276 w 462342"/>
                <a:gd name="connsiteY34" fmla="*/ 59833 h 677195"/>
                <a:gd name="connsiteX35" fmla="*/ 372593 w 462342"/>
                <a:gd name="connsiteY35" fmla="*/ 76151 h 677195"/>
                <a:gd name="connsiteX36" fmla="*/ 380752 w 462342"/>
                <a:gd name="connsiteY36" fmla="*/ 95188 h 677195"/>
                <a:gd name="connsiteX37" fmla="*/ 405230 w 462342"/>
                <a:gd name="connsiteY37" fmla="*/ 114226 h 677195"/>
                <a:gd name="connsiteX38" fmla="*/ 416108 w 462342"/>
                <a:gd name="connsiteY38" fmla="*/ 141422 h 677195"/>
                <a:gd name="connsiteX39" fmla="*/ 451464 w 462342"/>
                <a:gd name="connsiteY39" fmla="*/ 201256 h 677195"/>
                <a:gd name="connsiteX40" fmla="*/ 456903 w 462342"/>
                <a:gd name="connsiteY40" fmla="*/ 252929 h 677195"/>
                <a:gd name="connsiteX41" fmla="*/ 456903 w 462342"/>
                <a:gd name="connsiteY41" fmla="*/ 291004 h 677195"/>
                <a:gd name="connsiteX42" fmla="*/ 459623 w 462342"/>
                <a:gd name="connsiteY42" fmla="*/ 318201 h 677195"/>
                <a:gd name="connsiteX43" fmla="*/ 459623 w 462342"/>
                <a:gd name="connsiteY43" fmla="*/ 326360 h 677195"/>
                <a:gd name="connsiteX44" fmla="*/ 459623 w 462342"/>
                <a:gd name="connsiteY44" fmla="*/ 348117 h 677195"/>
                <a:gd name="connsiteX45" fmla="*/ 462342 w 462342"/>
                <a:gd name="connsiteY45" fmla="*/ 367155 h 677195"/>
                <a:gd name="connsiteX46" fmla="*/ 456903 w 462342"/>
                <a:gd name="connsiteY46" fmla="*/ 391632 h 677195"/>
                <a:gd name="connsiteX47" fmla="*/ 456903 w 462342"/>
                <a:gd name="connsiteY47" fmla="*/ 418828 h 677195"/>
                <a:gd name="connsiteX48" fmla="*/ 451464 w 462342"/>
                <a:gd name="connsiteY48" fmla="*/ 437866 h 677195"/>
                <a:gd name="connsiteX49" fmla="*/ 446025 w 462342"/>
                <a:gd name="connsiteY49" fmla="*/ 454184 h 677195"/>
                <a:gd name="connsiteX50" fmla="*/ 440585 w 462342"/>
                <a:gd name="connsiteY50" fmla="*/ 481380 h 677195"/>
                <a:gd name="connsiteX51" fmla="*/ 432426 w 462342"/>
                <a:gd name="connsiteY51" fmla="*/ 508577 h 677195"/>
                <a:gd name="connsiteX52" fmla="*/ 418828 w 462342"/>
                <a:gd name="connsiteY52" fmla="*/ 530334 h 677195"/>
                <a:gd name="connsiteX53" fmla="*/ 410669 w 462342"/>
                <a:gd name="connsiteY53" fmla="*/ 549371 h 677195"/>
                <a:gd name="connsiteX54" fmla="*/ 391631 w 462342"/>
                <a:gd name="connsiteY54" fmla="*/ 579288 h 677195"/>
                <a:gd name="connsiteX55" fmla="*/ 337238 w 462342"/>
                <a:gd name="connsiteY55" fmla="*/ 630961 h 677195"/>
                <a:gd name="connsiteX56" fmla="*/ 301883 w 462342"/>
                <a:gd name="connsiteY56" fmla="*/ 647279 h 677195"/>
                <a:gd name="connsiteX57" fmla="*/ 263807 w 462342"/>
                <a:gd name="connsiteY57" fmla="*/ 652718 h 677195"/>
                <a:gd name="connsiteX58" fmla="*/ 233891 w 462342"/>
                <a:gd name="connsiteY58" fmla="*/ 649999 h 677195"/>
                <a:gd name="connsiteX59" fmla="*/ 187657 w 462342"/>
                <a:gd name="connsiteY59" fmla="*/ 652718 h 677195"/>
                <a:gd name="connsiteX60" fmla="*/ 171339 w 462342"/>
                <a:gd name="connsiteY60" fmla="*/ 669036 h 677195"/>
                <a:gd name="connsiteX61" fmla="*/ 155021 w 462342"/>
                <a:gd name="connsiteY61" fmla="*/ 671756 h 677195"/>
                <a:gd name="connsiteX62" fmla="*/ 138703 w 462342"/>
                <a:gd name="connsiteY62" fmla="*/ 674476 h 677195"/>
                <a:gd name="connsiteX63" fmla="*/ 125105 w 462342"/>
                <a:gd name="connsiteY63" fmla="*/ 677195 h 677195"/>
                <a:gd name="connsiteX64" fmla="*/ 106067 w 462342"/>
                <a:gd name="connsiteY64" fmla="*/ 671756 h 677195"/>
                <a:gd name="connsiteX65" fmla="*/ 87029 w 462342"/>
                <a:gd name="connsiteY65" fmla="*/ 658158 h 677195"/>
                <a:gd name="connsiteX66" fmla="*/ 81590 w 462342"/>
                <a:gd name="connsiteY66" fmla="*/ 652718 h 677195"/>
                <a:gd name="connsiteX67" fmla="*/ 67992 w 462342"/>
                <a:gd name="connsiteY67" fmla="*/ 652718 h 677195"/>
                <a:gd name="connsiteX68" fmla="*/ 43515 w 462342"/>
                <a:gd name="connsiteY68" fmla="*/ 652718 h 677195"/>
                <a:gd name="connsiteX69" fmla="*/ 16318 w 462342"/>
                <a:gd name="connsiteY69" fmla="*/ 647279 h 677195"/>
                <a:gd name="connsiteX70" fmla="*/ 0 w 462342"/>
                <a:gd name="connsiteY70" fmla="*/ 630961 h 677195"/>
                <a:gd name="connsiteX71" fmla="*/ 5439 w 462342"/>
                <a:gd name="connsiteY71" fmla="*/ 620083 h 677195"/>
                <a:gd name="connsiteX72" fmla="*/ 27197 w 462342"/>
                <a:gd name="connsiteY72" fmla="*/ 611924 h 677195"/>
                <a:gd name="connsiteX73" fmla="*/ 65272 w 462342"/>
                <a:gd name="connsiteY73" fmla="*/ 609204 h 677195"/>
                <a:gd name="connsiteX74" fmla="*/ 65272 w 462342"/>
                <a:gd name="connsiteY74" fmla="*/ 584727 h 677195"/>
                <a:gd name="connsiteX75" fmla="*/ 62552 w 462342"/>
                <a:gd name="connsiteY75" fmla="*/ 456903 h 677195"/>
                <a:gd name="connsiteX76" fmla="*/ 65272 w 462342"/>
                <a:gd name="connsiteY76" fmla="*/ 337238 h 677195"/>
                <a:gd name="connsiteX77" fmla="*/ 67992 w 462342"/>
                <a:gd name="connsiteY77" fmla="*/ 203975 h 677195"/>
                <a:gd name="connsiteX78" fmla="*/ 70712 w 462342"/>
                <a:gd name="connsiteY78" fmla="*/ 119665 h 677195"/>
                <a:gd name="connsiteX79" fmla="*/ 73431 w 462342"/>
                <a:gd name="connsiteY79" fmla="*/ 67992 h 677195"/>
                <a:gd name="connsiteX80" fmla="*/ 67992 w 462342"/>
                <a:gd name="connsiteY80" fmla="*/ 67992 h 677195"/>
                <a:gd name="connsiteX81" fmla="*/ 43515 w 462342"/>
                <a:gd name="connsiteY81" fmla="*/ 67992 h 677195"/>
                <a:gd name="connsiteX82" fmla="*/ 16318 w 462342"/>
                <a:gd name="connsiteY82" fmla="*/ 62552 h 677195"/>
                <a:gd name="connsiteX83" fmla="*/ 0 w 462342"/>
                <a:gd name="connsiteY83" fmla="*/ 46234 h 677195"/>
                <a:gd name="connsiteX84" fmla="*/ 5439 w 462342"/>
                <a:gd name="connsiteY84" fmla="*/ 35356 h 677195"/>
                <a:gd name="connsiteX85" fmla="*/ 27197 w 462342"/>
                <a:gd name="connsiteY85" fmla="*/ 27197 h 677195"/>
                <a:gd name="connsiteX86" fmla="*/ 76151 w 462342"/>
                <a:gd name="connsiteY86" fmla="*/ 21758 h 677195"/>
                <a:gd name="connsiteX87" fmla="*/ 81590 w 462342"/>
                <a:gd name="connsiteY87" fmla="*/ 13598 h 677195"/>
                <a:gd name="connsiteX88" fmla="*/ 97908 w 462342"/>
                <a:gd name="connsiteY88" fmla="*/ 5439 h 677195"/>
                <a:gd name="connsiteX89" fmla="*/ 114226 w 462342"/>
                <a:gd name="connsiteY89" fmla="*/ 0 h 6771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</a:cxnLst>
              <a:rect l="l" t="t" r="r" b="b"/>
              <a:pathLst>
                <a:path w="462342" h="677195">
                  <a:moveTo>
                    <a:pt x="214853" y="65272"/>
                  </a:moveTo>
                  <a:cubicBezTo>
                    <a:pt x="203975" y="65272"/>
                    <a:pt x="195815" y="67992"/>
                    <a:pt x="195815" y="73431"/>
                  </a:cubicBezTo>
                  <a:cubicBezTo>
                    <a:pt x="193096" y="78870"/>
                    <a:pt x="193096" y="100628"/>
                    <a:pt x="193096" y="125105"/>
                  </a:cubicBezTo>
                  <a:cubicBezTo>
                    <a:pt x="193096" y="182217"/>
                    <a:pt x="193096" y="266527"/>
                    <a:pt x="190376" y="280125"/>
                  </a:cubicBezTo>
                  <a:cubicBezTo>
                    <a:pt x="190376" y="288284"/>
                    <a:pt x="190376" y="293723"/>
                    <a:pt x="190376" y="301882"/>
                  </a:cubicBezTo>
                  <a:cubicBezTo>
                    <a:pt x="190376" y="315480"/>
                    <a:pt x="190376" y="329079"/>
                    <a:pt x="193096" y="342677"/>
                  </a:cubicBezTo>
                  <a:cubicBezTo>
                    <a:pt x="193096" y="361715"/>
                    <a:pt x="193096" y="378033"/>
                    <a:pt x="195815" y="397070"/>
                  </a:cubicBezTo>
                  <a:cubicBezTo>
                    <a:pt x="195815" y="413388"/>
                    <a:pt x="195815" y="426986"/>
                    <a:pt x="195815" y="443304"/>
                  </a:cubicBezTo>
                  <a:cubicBezTo>
                    <a:pt x="195815" y="465061"/>
                    <a:pt x="198535" y="508576"/>
                    <a:pt x="195815" y="530333"/>
                  </a:cubicBezTo>
                  <a:cubicBezTo>
                    <a:pt x="195815" y="538492"/>
                    <a:pt x="193096" y="546651"/>
                    <a:pt x="193096" y="554810"/>
                  </a:cubicBezTo>
                  <a:cubicBezTo>
                    <a:pt x="193096" y="560249"/>
                    <a:pt x="190376" y="590166"/>
                    <a:pt x="190376" y="603764"/>
                  </a:cubicBezTo>
                  <a:cubicBezTo>
                    <a:pt x="190376" y="609203"/>
                    <a:pt x="190376" y="611923"/>
                    <a:pt x="198535" y="611923"/>
                  </a:cubicBezTo>
                  <a:cubicBezTo>
                    <a:pt x="206694" y="611923"/>
                    <a:pt x="209414" y="611923"/>
                    <a:pt x="214853" y="611923"/>
                  </a:cubicBezTo>
                  <a:cubicBezTo>
                    <a:pt x="223012" y="611923"/>
                    <a:pt x="220293" y="611923"/>
                    <a:pt x="236610" y="611923"/>
                  </a:cubicBezTo>
                  <a:cubicBezTo>
                    <a:pt x="242050" y="611923"/>
                    <a:pt x="258368" y="601044"/>
                    <a:pt x="263807" y="598325"/>
                  </a:cubicBezTo>
                  <a:cubicBezTo>
                    <a:pt x="266527" y="598325"/>
                    <a:pt x="274686" y="592885"/>
                    <a:pt x="277405" y="592885"/>
                  </a:cubicBezTo>
                  <a:cubicBezTo>
                    <a:pt x="285564" y="587446"/>
                    <a:pt x="288284" y="579287"/>
                    <a:pt x="291004" y="573848"/>
                  </a:cubicBezTo>
                  <a:cubicBezTo>
                    <a:pt x="296443" y="562969"/>
                    <a:pt x="301882" y="554810"/>
                    <a:pt x="307322" y="543931"/>
                  </a:cubicBezTo>
                  <a:cubicBezTo>
                    <a:pt x="315481" y="524894"/>
                    <a:pt x="320920" y="524894"/>
                    <a:pt x="326359" y="481379"/>
                  </a:cubicBezTo>
                  <a:cubicBezTo>
                    <a:pt x="329079" y="456903"/>
                    <a:pt x="334518" y="435145"/>
                    <a:pt x="337238" y="413388"/>
                  </a:cubicBezTo>
                  <a:cubicBezTo>
                    <a:pt x="337238" y="391631"/>
                    <a:pt x="337238" y="369873"/>
                    <a:pt x="337238" y="350836"/>
                  </a:cubicBezTo>
                  <a:cubicBezTo>
                    <a:pt x="337238" y="339957"/>
                    <a:pt x="337238" y="320920"/>
                    <a:pt x="334518" y="296443"/>
                  </a:cubicBezTo>
                  <a:cubicBezTo>
                    <a:pt x="331798" y="269246"/>
                    <a:pt x="329079" y="250209"/>
                    <a:pt x="329079" y="244769"/>
                  </a:cubicBezTo>
                  <a:cubicBezTo>
                    <a:pt x="323640" y="206694"/>
                    <a:pt x="318200" y="174058"/>
                    <a:pt x="307322" y="135983"/>
                  </a:cubicBezTo>
                  <a:cubicBezTo>
                    <a:pt x="304602" y="125105"/>
                    <a:pt x="304602" y="108787"/>
                    <a:pt x="271966" y="78870"/>
                  </a:cubicBezTo>
                  <a:cubicBezTo>
                    <a:pt x="263807" y="73431"/>
                    <a:pt x="233891" y="65272"/>
                    <a:pt x="214853" y="65272"/>
                  </a:cubicBezTo>
                  <a:close/>
                  <a:moveTo>
                    <a:pt x="114226" y="0"/>
                  </a:moveTo>
                  <a:cubicBezTo>
                    <a:pt x="119665" y="0"/>
                    <a:pt x="125105" y="0"/>
                    <a:pt x="127824" y="0"/>
                  </a:cubicBezTo>
                  <a:cubicBezTo>
                    <a:pt x="133264" y="0"/>
                    <a:pt x="141422" y="0"/>
                    <a:pt x="146862" y="2720"/>
                  </a:cubicBezTo>
                  <a:cubicBezTo>
                    <a:pt x="157741" y="5439"/>
                    <a:pt x="165900" y="13598"/>
                    <a:pt x="174059" y="21758"/>
                  </a:cubicBezTo>
                  <a:cubicBezTo>
                    <a:pt x="179498" y="21758"/>
                    <a:pt x="187657" y="21758"/>
                    <a:pt x="193096" y="21758"/>
                  </a:cubicBezTo>
                  <a:cubicBezTo>
                    <a:pt x="212134" y="21758"/>
                    <a:pt x="228452" y="27197"/>
                    <a:pt x="261088" y="27197"/>
                  </a:cubicBezTo>
                  <a:cubicBezTo>
                    <a:pt x="277405" y="27197"/>
                    <a:pt x="293723" y="35356"/>
                    <a:pt x="310042" y="35356"/>
                  </a:cubicBezTo>
                  <a:cubicBezTo>
                    <a:pt x="318200" y="35356"/>
                    <a:pt x="329079" y="35356"/>
                    <a:pt x="334518" y="40795"/>
                  </a:cubicBezTo>
                  <a:cubicBezTo>
                    <a:pt x="342677" y="46234"/>
                    <a:pt x="348117" y="54393"/>
                    <a:pt x="356276" y="59833"/>
                  </a:cubicBezTo>
                  <a:cubicBezTo>
                    <a:pt x="361715" y="65272"/>
                    <a:pt x="369874" y="67992"/>
                    <a:pt x="372593" y="76151"/>
                  </a:cubicBezTo>
                  <a:cubicBezTo>
                    <a:pt x="375313" y="81590"/>
                    <a:pt x="378033" y="89749"/>
                    <a:pt x="380752" y="95188"/>
                  </a:cubicBezTo>
                  <a:cubicBezTo>
                    <a:pt x="386192" y="103347"/>
                    <a:pt x="391631" y="106067"/>
                    <a:pt x="405230" y="114226"/>
                  </a:cubicBezTo>
                  <a:cubicBezTo>
                    <a:pt x="413388" y="119665"/>
                    <a:pt x="410669" y="133263"/>
                    <a:pt x="416108" y="141422"/>
                  </a:cubicBezTo>
                  <a:cubicBezTo>
                    <a:pt x="426987" y="160461"/>
                    <a:pt x="446025" y="182218"/>
                    <a:pt x="451464" y="201256"/>
                  </a:cubicBezTo>
                  <a:cubicBezTo>
                    <a:pt x="456903" y="220293"/>
                    <a:pt x="456903" y="236611"/>
                    <a:pt x="456903" y="252929"/>
                  </a:cubicBezTo>
                  <a:cubicBezTo>
                    <a:pt x="456903" y="266527"/>
                    <a:pt x="456903" y="277406"/>
                    <a:pt x="456903" y="291004"/>
                  </a:cubicBezTo>
                  <a:cubicBezTo>
                    <a:pt x="456903" y="299163"/>
                    <a:pt x="456903" y="307322"/>
                    <a:pt x="459623" y="318201"/>
                  </a:cubicBezTo>
                  <a:cubicBezTo>
                    <a:pt x="459623" y="320921"/>
                    <a:pt x="459623" y="323640"/>
                    <a:pt x="459623" y="326360"/>
                  </a:cubicBezTo>
                  <a:cubicBezTo>
                    <a:pt x="462342" y="331799"/>
                    <a:pt x="459623" y="337238"/>
                    <a:pt x="459623" y="348117"/>
                  </a:cubicBezTo>
                  <a:cubicBezTo>
                    <a:pt x="459623" y="350837"/>
                    <a:pt x="462342" y="361715"/>
                    <a:pt x="462342" y="367155"/>
                  </a:cubicBezTo>
                  <a:cubicBezTo>
                    <a:pt x="462342" y="375314"/>
                    <a:pt x="456903" y="383473"/>
                    <a:pt x="456903" y="391632"/>
                  </a:cubicBezTo>
                  <a:cubicBezTo>
                    <a:pt x="456903" y="399790"/>
                    <a:pt x="456903" y="410669"/>
                    <a:pt x="456903" y="418828"/>
                  </a:cubicBezTo>
                  <a:cubicBezTo>
                    <a:pt x="456903" y="421548"/>
                    <a:pt x="454183" y="429707"/>
                    <a:pt x="451464" y="437866"/>
                  </a:cubicBezTo>
                  <a:cubicBezTo>
                    <a:pt x="448744" y="443305"/>
                    <a:pt x="448744" y="451464"/>
                    <a:pt x="446025" y="454184"/>
                  </a:cubicBezTo>
                  <a:cubicBezTo>
                    <a:pt x="443305" y="462343"/>
                    <a:pt x="440585" y="473221"/>
                    <a:pt x="440585" y="481380"/>
                  </a:cubicBezTo>
                  <a:cubicBezTo>
                    <a:pt x="437865" y="489539"/>
                    <a:pt x="437865" y="500418"/>
                    <a:pt x="432426" y="508577"/>
                  </a:cubicBezTo>
                  <a:cubicBezTo>
                    <a:pt x="429706" y="516736"/>
                    <a:pt x="424267" y="522175"/>
                    <a:pt x="418828" y="530334"/>
                  </a:cubicBezTo>
                  <a:cubicBezTo>
                    <a:pt x="416108" y="535773"/>
                    <a:pt x="413388" y="543932"/>
                    <a:pt x="410669" y="549371"/>
                  </a:cubicBezTo>
                  <a:cubicBezTo>
                    <a:pt x="405230" y="557531"/>
                    <a:pt x="397071" y="573848"/>
                    <a:pt x="391631" y="579288"/>
                  </a:cubicBezTo>
                  <a:cubicBezTo>
                    <a:pt x="369874" y="609204"/>
                    <a:pt x="350836" y="620083"/>
                    <a:pt x="337238" y="630961"/>
                  </a:cubicBezTo>
                  <a:cubicBezTo>
                    <a:pt x="326359" y="639120"/>
                    <a:pt x="315481" y="641840"/>
                    <a:pt x="301883" y="647279"/>
                  </a:cubicBezTo>
                  <a:cubicBezTo>
                    <a:pt x="291004" y="649999"/>
                    <a:pt x="277405" y="652718"/>
                    <a:pt x="263807" y="652718"/>
                  </a:cubicBezTo>
                  <a:cubicBezTo>
                    <a:pt x="252929" y="652718"/>
                    <a:pt x="244770" y="649999"/>
                    <a:pt x="233891" y="649999"/>
                  </a:cubicBezTo>
                  <a:cubicBezTo>
                    <a:pt x="206694" y="649999"/>
                    <a:pt x="217573" y="652718"/>
                    <a:pt x="187657" y="652718"/>
                  </a:cubicBezTo>
                  <a:cubicBezTo>
                    <a:pt x="184937" y="660877"/>
                    <a:pt x="179498" y="666317"/>
                    <a:pt x="171339" y="669036"/>
                  </a:cubicBezTo>
                  <a:cubicBezTo>
                    <a:pt x="165900" y="671756"/>
                    <a:pt x="160460" y="671756"/>
                    <a:pt x="155021" y="671756"/>
                  </a:cubicBezTo>
                  <a:cubicBezTo>
                    <a:pt x="149581" y="671756"/>
                    <a:pt x="144142" y="674476"/>
                    <a:pt x="138703" y="674476"/>
                  </a:cubicBezTo>
                  <a:cubicBezTo>
                    <a:pt x="135983" y="674476"/>
                    <a:pt x="127824" y="677195"/>
                    <a:pt x="125105" y="677195"/>
                  </a:cubicBezTo>
                  <a:cubicBezTo>
                    <a:pt x="116946" y="677195"/>
                    <a:pt x="108787" y="671756"/>
                    <a:pt x="106067" y="671756"/>
                  </a:cubicBezTo>
                  <a:cubicBezTo>
                    <a:pt x="100628" y="669036"/>
                    <a:pt x="95188" y="663597"/>
                    <a:pt x="87029" y="658158"/>
                  </a:cubicBezTo>
                  <a:cubicBezTo>
                    <a:pt x="84310" y="655438"/>
                    <a:pt x="81590" y="655438"/>
                    <a:pt x="81590" y="652718"/>
                  </a:cubicBezTo>
                  <a:cubicBezTo>
                    <a:pt x="73431" y="652718"/>
                    <a:pt x="81590" y="652718"/>
                    <a:pt x="67992" y="652718"/>
                  </a:cubicBezTo>
                  <a:cubicBezTo>
                    <a:pt x="59833" y="652718"/>
                    <a:pt x="51674" y="652718"/>
                    <a:pt x="43515" y="652718"/>
                  </a:cubicBezTo>
                  <a:cubicBezTo>
                    <a:pt x="35356" y="652718"/>
                    <a:pt x="24477" y="652718"/>
                    <a:pt x="16318" y="647279"/>
                  </a:cubicBezTo>
                  <a:cubicBezTo>
                    <a:pt x="8159" y="644559"/>
                    <a:pt x="0" y="636401"/>
                    <a:pt x="0" y="630961"/>
                  </a:cubicBezTo>
                  <a:cubicBezTo>
                    <a:pt x="0" y="625522"/>
                    <a:pt x="0" y="622802"/>
                    <a:pt x="5439" y="620083"/>
                  </a:cubicBezTo>
                  <a:cubicBezTo>
                    <a:pt x="10879" y="617363"/>
                    <a:pt x="21758" y="614643"/>
                    <a:pt x="27197" y="611924"/>
                  </a:cubicBezTo>
                  <a:cubicBezTo>
                    <a:pt x="38076" y="609204"/>
                    <a:pt x="54393" y="609204"/>
                    <a:pt x="65272" y="609204"/>
                  </a:cubicBezTo>
                  <a:cubicBezTo>
                    <a:pt x="65272" y="601045"/>
                    <a:pt x="65272" y="592886"/>
                    <a:pt x="65272" y="584727"/>
                  </a:cubicBezTo>
                  <a:cubicBezTo>
                    <a:pt x="65272" y="541213"/>
                    <a:pt x="62552" y="500418"/>
                    <a:pt x="62552" y="456903"/>
                  </a:cubicBezTo>
                  <a:cubicBezTo>
                    <a:pt x="62552" y="440585"/>
                    <a:pt x="65272" y="397071"/>
                    <a:pt x="65272" y="337238"/>
                  </a:cubicBezTo>
                  <a:cubicBezTo>
                    <a:pt x="65272" y="293724"/>
                    <a:pt x="67992" y="247490"/>
                    <a:pt x="67992" y="203975"/>
                  </a:cubicBezTo>
                  <a:cubicBezTo>
                    <a:pt x="67992" y="179498"/>
                    <a:pt x="67992" y="149582"/>
                    <a:pt x="70712" y="119665"/>
                  </a:cubicBezTo>
                  <a:cubicBezTo>
                    <a:pt x="70712" y="103347"/>
                    <a:pt x="73431" y="84309"/>
                    <a:pt x="73431" y="67992"/>
                  </a:cubicBezTo>
                  <a:cubicBezTo>
                    <a:pt x="73431" y="67992"/>
                    <a:pt x="70712" y="67992"/>
                    <a:pt x="67992" y="67992"/>
                  </a:cubicBezTo>
                  <a:cubicBezTo>
                    <a:pt x="59833" y="67992"/>
                    <a:pt x="51674" y="67992"/>
                    <a:pt x="43515" y="67992"/>
                  </a:cubicBezTo>
                  <a:cubicBezTo>
                    <a:pt x="35356" y="67992"/>
                    <a:pt x="24477" y="67992"/>
                    <a:pt x="16318" y="62552"/>
                  </a:cubicBezTo>
                  <a:cubicBezTo>
                    <a:pt x="8159" y="59833"/>
                    <a:pt x="0" y="51674"/>
                    <a:pt x="0" y="46234"/>
                  </a:cubicBezTo>
                  <a:cubicBezTo>
                    <a:pt x="0" y="43515"/>
                    <a:pt x="0" y="38075"/>
                    <a:pt x="5439" y="35356"/>
                  </a:cubicBezTo>
                  <a:cubicBezTo>
                    <a:pt x="10879" y="32636"/>
                    <a:pt x="21758" y="29916"/>
                    <a:pt x="27197" y="27197"/>
                  </a:cubicBezTo>
                  <a:cubicBezTo>
                    <a:pt x="46234" y="24477"/>
                    <a:pt x="65272" y="21758"/>
                    <a:pt x="76151" y="21758"/>
                  </a:cubicBezTo>
                  <a:cubicBezTo>
                    <a:pt x="76151" y="19038"/>
                    <a:pt x="78871" y="16318"/>
                    <a:pt x="81590" y="13598"/>
                  </a:cubicBezTo>
                  <a:cubicBezTo>
                    <a:pt x="84310" y="10879"/>
                    <a:pt x="92469" y="5439"/>
                    <a:pt x="97908" y="5439"/>
                  </a:cubicBezTo>
                  <a:cubicBezTo>
                    <a:pt x="103347" y="2720"/>
                    <a:pt x="108787" y="0"/>
                    <a:pt x="114226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2" name="Freeform: Shape 51">
              <a:extLst>
                <a:ext uri="{FF2B5EF4-FFF2-40B4-BE49-F238E27FC236}">
                  <a16:creationId xmlns:a16="http://schemas.microsoft.com/office/drawing/2014/main" id="{87F22B60-EF17-465C-8727-A1F0ACE58BA8}"/>
                </a:ext>
              </a:extLst>
            </p:cNvPr>
            <p:cNvSpPr/>
            <p:nvPr/>
          </p:nvSpPr>
          <p:spPr>
            <a:xfrm>
              <a:off x="7310622" y="4197597"/>
              <a:ext cx="489539" cy="761503"/>
            </a:xfrm>
            <a:custGeom>
              <a:avLst/>
              <a:gdLst>
                <a:gd name="connsiteX0" fmla="*/ 433491 w 489538"/>
                <a:gd name="connsiteY0" fmla="*/ 651063 h 761503"/>
                <a:gd name="connsiteX1" fmla="*/ 438930 w 489538"/>
                <a:gd name="connsiteY1" fmla="*/ 661942 h 761503"/>
                <a:gd name="connsiteX2" fmla="*/ 425332 w 489538"/>
                <a:gd name="connsiteY2" fmla="*/ 683699 h 761503"/>
                <a:gd name="connsiteX3" fmla="*/ 400855 w 489538"/>
                <a:gd name="connsiteY3" fmla="*/ 691858 h 761503"/>
                <a:gd name="connsiteX4" fmla="*/ 343742 w 489538"/>
                <a:gd name="connsiteY4" fmla="*/ 700017 h 761503"/>
                <a:gd name="connsiteX5" fmla="*/ 316546 w 489538"/>
                <a:gd name="connsiteY5" fmla="*/ 705456 h 761503"/>
                <a:gd name="connsiteX6" fmla="*/ 275751 w 489538"/>
                <a:gd name="connsiteY6" fmla="*/ 705456 h 761503"/>
                <a:gd name="connsiteX7" fmla="*/ 264872 w 489538"/>
                <a:gd name="connsiteY7" fmla="*/ 708176 h 761503"/>
                <a:gd name="connsiteX8" fmla="*/ 253994 w 489538"/>
                <a:gd name="connsiteY8" fmla="*/ 708176 h 761503"/>
                <a:gd name="connsiteX9" fmla="*/ 240395 w 489538"/>
                <a:gd name="connsiteY9" fmla="*/ 719054 h 761503"/>
                <a:gd name="connsiteX10" fmla="*/ 224077 w 489538"/>
                <a:gd name="connsiteY10" fmla="*/ 721774 h 761503"/>
                <a:gd name="connsiteX11" fmla="*/ 205040 w 489538"/>
                <a:gd name="connsiteY11" fmla="*/ 724494 h 761503"/>
                <a:gd name="connsiteX12" fmla="*/ 191441 w 489538"/>
                <a:gd name="connsiteY12" fmla="*/ 727213 h 761503"/>
                <a:gd name="connsiteX13" fmla="*/ 169684 w 489538"/>
                <a:gd name="connsiteY13" fmla="*/ 721774 h 761503"/>
                <a:gd name="connsiteX14" fmla="*/ 150646 w 489538"/>
                <a:gd name="connsiteY14" fmla="*/ 708176 h 761503"/>
                <a:gd name="connsiteX15" fmla="*/ 139768 w 489538"/>
                <a:gd name="connsiteY15" fmla="*/ 708176 h 761503"/>
                <a:gd name="connsiteX16" fmla="*/ 120730 w 489538"/>
                <a:gd name="connsiteY16" fmla="*/ 708176 h 761503"/>
                <a:gd name="connsiteX17" fmla="*/ 98973 w 489538"/>
                <a:gd name="connsiteY17" fmla="*/ 708176 h 761503"/>
                <a:gd name="connsiteX18" fmla="*/ 74496 w 489538"/>
                <a:gd name="connsiteY18" fmla="*/ 702736 h 761503"/>
                <a:gd name="connsiteX19" fmla="*/ 58178 w 489538"/>
                <a:gd name="connsiteY19" fmla="*/ 683699 h 761503"/>
                <a:gd name="connsiteX20" fmla="*/ 63617 w 489538"/>
                <a:gd name="connsiteY20" fmla="*/ 675540 h 761503"/>
                <a:gd name="connsiteX21" fmla="*/ 85375 w 489538"/>
                <a:gd name="connsiteY21" fmla="*/ 667381 h 761503"/>
                <a:gd name="connsiteX22" fmla="*/ 128889 w 489538"/>
                <a:gd name="connsiteY22" fmla="*/ 661942 h 761503"/>
                <a:gd name="connsiteX23" fmla="*/ 128889 w 489538"/>
                <a:gd name="connsiteY23" fmla="*/ 602109 h 761503"/>
                <a:gd name="connsiteX24" fmla="*/ 126170 w 489538"/>
                <a:gd name="connsiteY24" fmla="*/ 523239 h 761503"/>
                <a:gd name="connsiteX25" fmla="*/ 126170 w 489538"/>
                <a:gd name="connsiteY25" fmla="*/ 468846 h 761503"/>
                <a:gd name="connsiteX26" fmla="*/ 123450 w 489538"/>
                <a:gd name="connsiteY26" fmla="*/ 409014 h 761503"/>
                <a:gd name="connsiteX27" fmla="*/ 123450 w 489538"/>
                <a:gd name="connsiteY27" fmla="*/ 384537 h 761503"/>
                <a:gd name="connsiteX28" fmla="*/ 126170 w 489538"/>
                <a:gd name="connsiteY28" fmla="*/ 349181 h 761503"/>
                <a:gd name="connsiteX29" fmla="*/ 126170 w 489538"/>
                <a:gd name="connsiteY29" fmla="*/ 324704 h 761503"/>
                <a:gd name="connsiteX30" fmla="*/ 128889 w 489538"/>
                <a:gd name="connsiteY30" fmla="*/ 292068 h 761503"/>
                <a:gd name="connsiteX31" fmla="*/ 134329 w 489538"/>
                <a:gd name="connsiteY31" fmla="*/ 234956 h 761503"/>
                <a:gd name="connsiteX32" fmla="*/ 134329 w 489538"/>
                <a:gd name="connsiteY32" fmla="*/ 172404 h 761503"/>
                <a:gd name="connsiteX33" fmla="*/ 137048 w 489538"/>
                <a:gd name="connsiteY33" fmla="*/ 123450 h 761503"/>
                <a:gd name="connsiteX34" fmla="*/ 123450 w 489538"/>
                <a:gd name="connsiteY34" fmla="*/ 123450 h 761503"/>
                <a:gd name="connsiteX35" fmla="*/ 101693 w 489538"/>
                <a:gd name="connsiteY35" fmla="*/ 123450 h 761503"/>
                <a:gd name="connsiteX36" fmla="*/ 77216 w 489538"/>
                <a:gd name="connsiteY36" fmla="*/ 118011 h 761503"/>
                <a:gd name="connsiteX37" fmla="*/ 60898 w 489538"/>
                <a:gd name="connsiteY37" fmla="*/ 98973 h 761503"/>
                <a:gd name="connsiteX38" fmla="*/ 66337 w 489538"/>
                <a:gd name="connsiteY38" fmla="*/ 90814 h 761503"/>
                <a:gd name="connsiteX39" fmla="*/ 88094 w 489538"/>
                <a:gd name="connsiteY39" fmla="*/ 82655 h 761503"/>
                <a:gd name="connsiteX40" fmla="*/ 145207 w 489538"/>
                <a:gd name="connsiteY40" fmla="*/ 77216 h 761503"/>
                <a:gd name="connsiteX41" fmla="*/ 145207 w 489538"/>
                <a:gd name="connsiteY41" fmla="*/ 77216 h 761503"/>
                <a:gd name="connsiteX42" fmla="*/ 153366 w 489538"/>
                <a:gd name="connsiteY42" fmla="*/ 69057 h 761503"/>
                <a:gd name="connsiteX43" fmla="*/ 177843 w 489538"/>
                <a:gd name="connsiteY43" fmla="*/ 60898 h 761503"/>
                <a:gd name="connsiteX44" fmla="*/ 196881 w 489538"/>
                <a:gd name="connsiteY44" fmla="*/ 58178 h 761503"/>
                <a:gd name="connsiteX45" fmla="*/ 205040 w 489538"/>
                <a:gd name="connsiteY45" fmla="*/ 58178 h 761503"/>
                <a:gd name="connsiteX46" fmla="*/ 215919 w 489538"/>
                <a:gd name="connsiteY46" fmla="*/ 63617 h 761503"/>
                <a:gd name="connsiteX47" fmla="*/ 229517 w 489538"/>
                <a:gd name="connsiteY47" fmla="*/ 69057 h 761503"/>
                <a:gd name="connsiteX48" fmla="*/ 256713 w 489538"/>
                <a:gd name="connsiteY48" fmla="*/ 77216 h 761503"/>
                <a:gd name="connsiteX49" fmla="*/ 264872 w 489538"/>
                <a:gd name="connsiteY49" fmla="*/ 77216 h 761503"/>
                <a:gd name="connsiteX50" fmla="*/ 281190 w 489538"/>
                <a:gd name="connsiteY50" fmla="*/ 77216 h 761503"/>
                <a:gd name="connsiteX51" fmla="*/ 330144 w 489538"/>
                <a:gd name="connsiteY51" fmla="*/ 77216 h 761503"/>
                <a:gd name="connsiteX52" fmla="*/ 357341 w 489538"/>
                <a:gd name="connsiteY52" fmla="*/ 79935 h 761503"/>
                <a:gd name="connsiteX53" fmla="*/ 387257 w 489538"/>
                <a:gd name="connsiteY53" fmla="*/ 82655 h 761503"/>
                <a:gd name="connsiteX54" fmla="*/ 406295 w 489538"/>
                <a:gd name="connsiteY54" fmla="*/ 85375 h 761503"/>
                <a:gd name="connsiteX55" fmla="*/ 417173 w 489538"/>
                <a:gd name="connsiteY55" fmla="*/ 79935 h 761503"/>
                <a:gd name="connsiteX56" fmla="*/ 425332 w 489538"/>
                <a:gd name="connsiteY56" fmla="*/ 85375 h 761503"/>
                <a:gd name="connsiteX57" fmla="*/ 433491 w 489538"/>
                <a:gd name="connsiteY57" fmla="*/ 104412 h 761503"/>
                <a:gd name="connsiteX58" fmla="*/ 436211 w 489538"/>
                <a:gd name="connsiteY58" fmla="*/ 137048 h 761503"/>
                <a:gd name="connsiteX59" fmla="*/ 438930 w 489538"/>
                <a:gd name="connsiteY59" fmla="*/ 183282 h 761503"/>
                <a:gd name="connsiteX60" fmla="*/ 422612 w 489538"/>
                <a:gd name="connsiteY60" fmla="*/ 218638 h 761503"/>
                <a:gd name="connsiteX61" fmla="*/ 406295 w 489538"/>
                <a:gd name="connsiteY61" fmla="*/ 213198 h 761503"/>
                <a:gd name="connsiteX62" fmla="*/ 398136 w 489538"/>
                <a:gd name="connsiteY62" fmla="*/ 196881 h 761503"/>
                <a:gd name="connsiteX63" fmla="*/ 395416 w 489538"/>
                <a:gd name="connsiteY63" fmla="*/ 175123 h 761503"/>
                <a:gd name="connsiteX64" fmla="*/ 395416 w 489538"/>
                <a:gd name="connsiteY64" fmla="*/ 153366 h 761503"/>
                <a:gd name="connsiteX65" fmla="*/ 395416 w 489538"/>
                <a:gd name="connsiteY65" fmla="*/ 126170 h 761503"/>
                <a:gd name="connsiteX66" fmla="*/ 370939 w 489538"/>
                <a:gd name="connsiteY66" fmla="*/ 128889 h 761503"/>
                <a:gd name="connsiteX67" fmla="*/ 338303 w 489538"/>
                <a:gd name="connsiteY67" fmla="*/ 131609 h 761503"/>
                <a:gd name="connsiteX68" fmla="*/ 286629 w 489538"/>
                <a:gd name="connsiteY68" fmla="*/ 134328 h 761503"/>
                <a:gd name="connsiteX69" fmla="*/ 273031 w 489538"/>
                <a:gd name="connsiteY69" fmla="*/ 137048 h 761503"/>
                <a:gd name="connsiteX70" fmla="*/ 262153 w 489538"/>
                <a:gd name="connsiteY70" fmla="*/ 142487 h 761503"/>
                <a:gd name="connsiteX71" fmla="*/ 259433 w 489538"/>
                <a:gd name="connsiteY71" fmla="*/ 153366 h 761503"/>
                <a:gd name="connsiteX72" fmla="*/ 262153 w 489538"/>
                <a:gd name="connsiteY72" fmla="*/ 166964 h 761503"/>
                <a:gd name="connsiteX73" fmla="*/ 262153 w 489538"/>
                <a:gd name="connsiteY73" fmla="*/ 196881 h 761503"/>
                <a:gd name="connsiteX74" fmla="*/ 262153 w 489538"/>
                <a:gd name="connsiteY74" fmla="*/ 215918 h 761503"/>
                <a:gd name="connsiteX75" fmla="*/ 262153 w 489538"/>
                <a:gd name="connsiteY75" fmla="*/ 251274 h 761503"/>
                <a:gd name="connsiteX76" fmla="*/ 259433 w 489538"/>
                <a:gd name="connsiteY76" fmla="*/ 278470 h 761503"/>
                <a:gd name="connsiteX77" fmla="*/ 259433 w 489538"/>
                <a:gd name="connsiteY77" fmla="*/ 308386 h 761503"/>
                <a:gd name="connsiteX78" fmla="*/ 259433 w 489538"/>
                <a:gd name="connsiteY78" fmla="*/ 321985 h 761503"/>
                <a:gd name="connsiteX79" fmla="*/ 259433 w 489538"/>
                <a:gd name="connsiteY79" fmla="*/ 332863 h 761503"/>
                <a:gd name="connsiteX80" fmla="*/ 267592 w 489538"/>
                <a:gd name="connsiteY80" fmla="*/ 335583 h 761503"/>
                <a:gd name="connsiteX81" fmla="*/ 281190 w 489538"/>
                <a:gd name="connsiteY81" fmla="*/ 335583 h 761503"/>
                <a:gd name="connsiteX82" fmla="*/ 327424 w 489538"/>
                <a:gd name="connsiteY82" fmla="*/ 338303 h 761503"/>
                <a:gd name="connsiteX83" fmla="*/ 351901 w 489538"/>
                <a:gd name="connsiteY83" fmla="*/ 341022 h 761503"/>
                <a:gd name="connsiteX84" fmla="*/ 351901 w 489538"/>
                <a:gd name="connsiteY84" fmla="*/ 335583 h 761503"/>
                <a:gd name="connsiteX85" fmla="*/ 351901 w 489538"/>
                <a:gd name="connsiteY85" fmla="*/ 313826 h 761503"/>
                <a:gd name="connsiteX86" fmla="*/ 357341 w 489538"/>
                <a:gd name="connsiteY86" fmla="*/ 289349 h 761503"/>
                <a:gd name="connsiteX87" fmla="*/ 373658 w 489538"/>
                <a:gd name="connsiteY87" fmla="*/ 273031 h 761503"/>
                <a:gd name="connsiteX88" fmla="*/ 381817 w 489538"/>
                <a:gd name="connsiteY88" fmla="*/ 278470 h 761503"/>
                <a:gd name="connsiteX89" fmla="*/ 389977 w 489538"/>
                <a:gd name="connsiteY89" fmla="*/ 300228 h 761503"/>
                <a:gd name="connsiteX90" fmla="*/ 395416 w 489538"/>
                <a:gd name="connsiteY90" fmla="*/ 351901 h 761503"/>
                <a:gd name="connsiteX91" fmla="*/ 398136 w 489538"/>
                <a:gd name="connsiteY91" fmla="*/ 409014 h 761503"/>
                <a:gd name="connsiteX92" fmla="*/ 381817 w 489538"/>
                <a:gd name="connsiteY92" fmla="*/ 444369 h 761503"/>
                <a:gd name="connsiteX93" fmla="*/ 365500 w 489538"/>
                <a:gd name="connsiteY93" fmla="*/ 438930 h 761503"/>
                <a:gd name="connsiteX94" fmla="*/ 357341 w 489538"/>
                <a:gd name="connsiteY94" fmla="*/ 422612 h 761503"/>
                <a:gd name="connsiteX95" fmla="*/ 354621 w 489538"/>
                <a:gd name="connsiteY95" fmla="*/ 400855 h 761503"/>
                <a:gd name="connsiteX96" fmla="*/ 354621 w 489538"/>
                <a:gd name="connsiteY96" fmla="*/ 381817 h 761503"/>
                <a:gd name="connsiteX97" fmla="*/ 270312 w 489538"/>
                <a:gd name="connsiteY97" fmla="*/ 381817 h 761503"/>
                <a:gd name="connsiteX98" fmla="*/ 256713 w 489538"/>
                <a:gd name="connsiteY98" fmla="*/ 395415 h 761503"/>
                <a:gd name="connsiteX99" fmla="*/ 253994 w 489538"/>
                <a:gd name="connsiteY99" fmla="*/ 422612 h 761503"/>
                <a:gd name="connsiteX100" fmla="*/ 253994 w 489538"/>
                <a:gd name="connsiteY100" fmla="*/ 433490 h 761503"/>
                <a:gd name="connsiteX101" fmla="*/ 253994 w 489538"/>
                <a:gd name="connsiteY101" fmla="*/ 449809 h 761503"/>
                <a:gd name="connsiteX102" fmla="*/ 256713 w 489538"/>
                <a:gd name="connsiteY102" fmla="*/ 474285 h 761503"/>
                <a:gd name="connsiteX103" fmla="*/ 256713 w 489538"/>
                <a:gd name="connsiteY103" fmla="*/ 496043 h 761503"/>
                <a:gd name="connsiteX104" fmla="*/ 259433 w 489538"/>
                <a:gd name="connsiteY104" fmla="*/ 534118 h 761503"/>
                <a:gd name="connsiteX105" fmla="*/ 259433 w 489538"/>
                <a:gd name="connsiteY105" fmla="*/ 591231 h 761503"/>
                <a:gd name="connsiteX106" fmla="*/ 262153 w 489538"/>
                <a:gd name="connsiteY106" fmla="*/ 618427 h 761503"/>
                <a:gd name="connsiteX107" fmla="*/ 267592 w 489538"/>
                <a:gd name="connsiteY107" fmla="*/ 648343 h 761503"/>
                <a:gd name="connsiteX108" fmla="*/ 292069 w 489538"/>
                <a:gd name="connsiteY108" fmla="*/ 651063 h 761503"/>
                <a:gd name="connsiteX109" fmla="*/ 327424 w 489538"/>
                <a:gd name="connsiteY109" fmla="*/ 651063 h 761503"/>
                <a:gd name="connsiteX110" fmla="*/ 362780 w 489538"/>
                <a:gd name="connsiteY110" fmla="*/ 653783 h 761503"/>
                <a:gd name="connsiteX111" fmla="*/ 395416 w 489538"/>
                <a:gd name="connsiteY111" fmla="*/ 648343 h 761503"/>
                <a:gd name="connsiteX112" fmla="*/ 395416 w 489538"/>
                <a:gd name="connsiteY112" fmla="*/ 618427 h 761503"/>
                <a:gd name="connsiteX113" fmla="*/ 395416 w 489538"/>
                <a:gd name="connsiteY113" fmla="*/ 596670 h 761503"/>
                <a:gd name="connsiteX114" fmla="*/ 398136 w 489538"/>
                <a:gd name="connsiteY114" fmla="*/ 574913 h 761503"/>
                <a:gd name="connsiteX115" fmla="*/ 406295 w 489538"/>
                <a:gd name="connsiteY115" fmla="*/ 558595 h 761503"/>
                <a:gd name="connsiteX116" fmla="*/ 422612 w 489538"/>
                <a:gd name="connsiteY116" fmla="*/ 553155 h 761503"/>
                <a:gd name="connsiteX117" fmla="*/ 438930 w 489538"/>
                <a:gd name="connsiteY117" fmla="*/ 588511 h 761503"/>
                <a:gd name="connsiteX118" fmla="*/ 436211 w 489538"/>
                <a:gd name="connsiteY118" fmla="*/ 645624 h 761503"/>
                <a:gd name="connsiteX119" fmla="*/ 433491 w 489538"/>
                <a:gd name="connsiteY119" fmla="*/ 651063 h 761503"/>
                <a:gd name="connsiteX120" fmla="*/ 433491 w 489538"/>
                <a:gd name="connsiteY120" fmla="*/ 651063 h 761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</a:cxnLst>
              <a:rect l="l" t="t" r="r" b="b"/>
              <a:pathLst>
                <a:path w="489538" h="761503">
                  <a:moveTo>
                    <a:pt x="433491" y="651063"/>
                  </a:moveTo>
                  <a:cubicBezTo>
                    <a:pt x="436211" y="653783"/>
                    <a:pt x="438930" y="656502"/>
                    <a:pt x="438930" y="661942"/>
                  </a:cubicBezTo>
                  <a:cubicBezTo>
                    <a:pt x="438930" y="670101"/>
                    <a:pt x="433491" y="678259"/>
                    <a:pt x="425332" y="683699"/>
                  </a:cubicBezTo>
                  <a:cubicBezTo>
                    <a:pt x="417173" y="689138"/>
                    <a:pt x="409014" y="689138"/>
                    <a:pt x="400855" y="691858"/>
                  </a:cubicBezTo>
                  <a:cubicBezTo>
                    <a:pt x="381817" y="694578"/>
                    <a:pt x="362780" y="694578"/>
                    <a:pt x="343742" y="700017"/>
                  </a:cubicBezTo>
                  <a:cubicBezTo>
                    <a:pt x="335583" y="702736"/>
                    <a:pt x="324705" y="702736"/>
                    <a:pt x="316546" y="705456"/>
                  </a:cubicBezTo>
                  <a:cubicBezTo>
                    <a:pt x="308387" y="705456"/>
                    <a:pt x="289349" y="705456"/>
                    <a:pt x="275751" y="705456"/>
                  </a:cubicBezTo>
                  <a:cubicBezTo>
                    <a:pt x="270312" y="705456"/>
                    <a:pt x="267592" y="708176"/>
                    <a:pt x="264872" y="708176"/>
                  </a:cubicBezTo>
                  <a:cubicBezTo>
                    <a:pt x="264872" y="708176"/>
                    <a:pt x="259433" y="708176"/>
                    <a:pt x="253994" y="708176"/>
                  </a:cubicBezTo>
                  <a:cubicBezTo>
                    <a:pt x="251274" y="713615"/>
                    <a:pt x="245835" y="716335"/>
                    <a:pt x="240395" y="719054"/>
                  </a:cubicBezTo>
                  <a:cubicBezTo>
                    <a:pt x="234956" y="721774"/>
                    <a:pt x="229517" y="721774"/>
                    <a:pt x="224077" y="721774"/>
                  </a:cubicBezTo>
                  <a:cubicBezTo>
                    <a:pt x="218638" y="721774"/>
                    <a:pt x="213199" y="724494"/>
                    <a:pt x="205040" y="724494"/>
                  </a:cubicBezTo>
                  <a:cubicBezTo>
                    <a:pt x="202320" y="724494"/>
                    <a:pt x="194161" y="727213"/>
                    <a:pt x="191441" y="727213"/>
                  </a:cubicBezTo>
                  <a:cubicBezTo>
                    <a:pt x="183282" y="727213"/>
                    <a:pt x="172404" y="721774"/>
                    <a:pt x="169684" y="721774"/>
                  </a:cubicBezTo>
                  <a:cubicBezTo>
                    <a:pt x="164245" y="719054"/>
                    <a:pt x="156086" y="713615"/>
                    <a:pt x="150646" y="708176"/>
                  </a:cubicBezTo>
                  <a:cubicBezTo>
                    <a:pt x="145207" y="708176"/>
                    <a:pt x="139768" y="708176"/>
                    <a:pt x="139768" y="708176"/>
                  </a:cubicBezTo>
                  <a:cubicBezTo>
                    <a:pt x="126170" y="708176"/>
                    <a:pt x="137048" y="708176"/>
                    <a:pt x="120730" y="708176"/>
                  </a:cubicBezTo>
                  <a:cubicBezTo>
                    <a:pt x="112571" y="708176"/>
                    <a:pt x="104412" y="708176"/>
                    <a:pt x="98973" y="708176"/>
                  </a:cubicBezTo>
                  <a:cubicBezTo>
                    <a:pt x="90814" y="708176"/>
                    <a:pt x="79936" y="708176"/>
                    <a:pt x="74496" y="702736"/>
                  </a:cubicBezTo>
                  <a:cubicBezTo>
                    <a:pt x="66337" y="700017"/>
                    <a:pt x="58178" y="689138"/>
                    <a:pt x="58178" y="683699"/>
                  </a:cubicBezTo>
                  <a:cubicBezTo>
                    <a:pt x="58178" y="680979"/>
                    <a:pt x="58178" y="678259"/>
                    <a:pt x="63617" y="675540"/>
                  </a:cubicBezTo>
                  <a:cubicBezTo>
                    <a:pt x="69057" y="672820"/>
                    <a:pt x="77216" y="670101"/>
                    <a:pt x="85375" y="667381"/>
                  </a:cubicBezTo>
                  <a:cubicBezTo>
                    <a:pt x="98973" y="664661"/>
                    <a:pt x="115291" y="664661"/>
                    <a:pt x="128889" y="661942"/>
                  </a:cubicBezTo>
                  <a:cubicBezTo>
                    <a:pt x="128889" y="645624"/>
                    <a:pt x="128889" y="623866"/>
                    <a:pt x="128889" y="602109"/>
                  </a:cubicBezTo>
                  <a:cubicBezTo>
                    <a:pt x="128889" y="566754"/>
                    <a:pt x="128889" y="531398"/>
                    <a:pt x="126170" y="523239"/>
                  </a:cubicBezTo>
                  <a:cubicBezTo>
                    <a:pt x="126170" y="517800"/>
                    <a:pt x="126170" y="487884"/>
                    <a:pt x="126170" y="468846"/>
                  </a:cubicBezTo>
                  <a:cubicBezTo>
                    <a:pt x="126170" y="449809"/>
                    <a:pt x="123450" y="430771"/>
                    <a:pt x="123450" y="409014"/>
                  </a:cubicBezTo>
                  <a:cubicBezTo>
                    <a:pt x="123450" y="400855"/>
                    <a:pt x="123450" y="392696"/>
                    <a:pt x="123450" y="384537"/>
                  </a:cubicBezTo>
                  <a:cubicBezTo>
                    <a:pt x="123450" y="373658"/>
                    <a:pt x="126170" y="360060"/>
                    <a:pt x="126170" y="349181"/>
                  </a:cubicBezTo>
                  <a:cubicBezTo>
                    <a:pt x="126170" y="341022"/>
                    <a:pt x="126170" y="332863"/>
                    <a:pt x="126170" y="324704"/>
                  </a:cubicBezTo>
                  <a:cubicBezTo>
                    <a:pt x="126170" y="313826"/>
                    <a:pt x="126170" y="302947"/>
                    <a:pt x="128889" y="292068"/>
                  </a:cubicBezTo>
                  <a:cubicBezTo>
                    <a:pt x="131609" y="273031"/>
                    <a:pt x="134329" y="253993"/>
                    <a:pt x="134329" y="234956"/>
                  </a:cubicBezTo>
                  <a:cubicBezTo>
                    <a:pt x="134329" y="213198"/>
                    <a:pt x="134329" y="191441"/>
                    <a:pt x="134329" y="172404"/>
                  </a:cubicBezTo>
                  <a:cubicBezTo>
                    <a:pt x="134329" y="156086"/>
                    <a:pt x="134329" y="139768"/>
                    <a:pt x="137048" y="123450"/>
                  </a:cubicBezTo>
                  <a:cubicBezTo>
                    <a:pt x="131609" y="123450"/>
                    <a:pt x="134329" y="123450"/>
                    <a:pt x="123450" y="123450"/>
                  </a:cubicBezTo>
                  <a:cubicBezTo>
                    <a:pt x="115291" y="123450"/>
                    <a:pt x="107132" y="123450"/>
                    <a:pt x="101693" y="123450"/>
                  </a:cubicBezTo>
                  <a:cubicBezTo>
                    <a:pt x="93534" y="123450"/>
                    <a:pt x="82655" y="123450"/>
                    <a:pt x="77216" y="118011"/>
                  </a:cubicBezTo>
                  <a:cubicBezTo>
                    <a:pt x="69057" y="115291"/>
                    <a:pt x="60898" y="101693"/>
                    <a:pt x="60898" y="98973"/>
                  </a:cubicBezTo>
                  <a:cubicBezTo>
                    <a:pt x="60898" y="96253"/>
                    <a:pt x="60898" y="93534"/>
                    <a:pt x="66337" y="90814"/>
                  </a:cubicBezTo>
                  <a:cubicBezTo>
                    <a:pt x="71777" y="88094"/>
                    <a:pt x="79936" y="85375"/>
                    <a:pt x="88094" y="82655"/>
                  </a:cubicBezTo>
                  <a:cubicBezTo>
                    <a:pt x="104412" y="79935"/>
                    <a:pt x="131609" y="77216"/>
                    <a:pt x="145207" y="77216"/>
                  </a:cubicBezTo>
                  <a:cubicBezTo>
                    <a:pt x="145207" y="77216"/>
                    <a:pt x="145207" y="77216"/>
                    <a:pt x="145207" y="77216"/>
                  </a:cubicBezTo>
                  <a:cubicBezTo>
                    <a:pt x="145207" y="74496"/>
                    <a:pt x="150646" y="71776"/>
                    <a:pt x="153366" y="69057"/>
                  </a:cubicBezTo>
                  <a:cubicBezTo>
                    <a:pt x="161525" y="63617"/>
                    <a:pt x="169684" y="63617"/>
                    <a:pt x="177843" y="60898"/>
                  </a:cubicBezTo>
                  <a:cubicBezTo>
                    <a:pt x="183282" y="58178"/>
                    <a:pt x="191441" y="58178"/>
                    <a:pt x="196881" y="58178"/>
                  </a:cubicBezTo>
                  <a:cubicBezTo>
                    <a:pt x="199600" y="58178"/>
                    <a:pt x="202320" y="58178"/>
                    <a:pt x="205040" y="58178"/>
                  </a:cubicBezTo>
                  <a:cubicBezTo>
                    <a:pt x="207759" y="58178"/>
                    <a:pt x="213199" y="60898"/>
                    <a:pt x="215919" y="63617"/>
                  </a:cubicBezTo>
                  <a:cubicBezTo>
                    <a:pt x="221358" y="66337"/>
                    <a:pt x="224077" y="66337"/>
                    <a:pt x="229517" y="69057"/>
                  </a:cubicBezTo>
                  <a:cubicBezTo>
                    <a:pt x="237675" y="71776"/>
                    <a:pt x="245835" y="77216"/>
                    <a:pt x="256713" y="77216"/>
                  </a:cubicBezTo>
                  <a:cubicBezTo>
                    <a:pt x="259433" y="77216"/>
                    <a:pt x="262153" y="77216"/>
                    <a:pt x="264872" y="77216"/>
                  </a:cubicBezTo>
                  <a:cubicBezTo>
                    <a:pt x="270312" y="77216"/>
                    <a:pt x="275751" y="77216"/>
                    <a:pt x="281190" y="77216"/>
                  </a:cubicBezTo>
                  <a:cubicBezTo>
                    <a:pt x="292069" y="77216"/>
                    <a:pt x="321985" y="77216"/>
                    <a:pt x="330144" y="77216"/>
                  </a:cubicBezTo>
                  <a:cubicBezTo>
                    <a:pt x="338303" y="77216"/>
                    <a:pt x="349182" y="77216"/>
                    <a:pt x="357341" y="79935"/>
                  </a:cubicBezTo>
                  <a:cubicBezTo>
                    <a:pt x="368219" y="79935"/>
                    <a:pt x="379098" y="82655"/>
                    <a:pt x="387257" y="82655"/>
                  </a:cubicBezTo>
                  <a:cubicBezTo>
                    <a:pt x="392696" y="82655"/>
                    <a:pt x="400855" y="85375"/>
                    <a:pt x="406295" y="85375"/>
                  </a:cubicBezTo>
                  <a:cubicBezTo>
                    <a:pt x="409014" y="82655"/>
                    <a:pt x="414453" y="79935"/>
                    <a:pt x="417173" y="79935"/>
                  </a:cubicBezTo>
                  <a:cubicBezTo>
                    <a:pt x="419893" y="79935"/>
                    <a:pt x="422612" y="79935"/>
                    <a:pt x="425332" y="85375"/>
                  </a:cubicBezTo>
                  <a:cubicBezTo>
                    <a:pt x="428052" y="90814"/>
                    <a:pt x="433491" y="98973"/>
                    <a:pt x="433491" y="104412"/>
                  </a:cubicBezTo>
                  <a:cubicBezTo>
                    <a:pt x="436211" y="131609"/>
                    <a:pt x="436211" y="120730"/>
                    <a:pt x="436211" y="137048"/>
                  </a:cubicBezTo>
                  <a:cubicBezTo>
                    <a:pt x="438930" y="158805"/>
                    <a:pt x="438930" y="158805"/>
                    <a:pt x="438930" y="183282"/>
                  </a:cubicBezTo>
                  <a:cubicBezTo>
                    <a:pt x="438930" y="194161"/>
                    <a:pt x="438930" y="218638"/>
                    <a:pt x="422612" y="218638"/>
                  </a:cubicBezTo>
                  <a:cubicBezTo>
                    <a:pt x="414453" y="218638"/>
                    <a:pt x="411734" y="215918"/>
                    <a:pt x="406295" y="213198"/>
                  </a:cubicBezTo>
                  <a:cubicBezTo>
                    <a:pt x="400855" y="210479"/>
                    <a:pt x="398136" y="202320"/>
                    <a:pt x="398136" y="196881"/>
                  </a:cubicBezTo>
                  <a:cubicBezTo>
                    <a:pt x="395416" y="188722"/>
                    <a:pt x="395416" y="183282"/>
                    <a:pt x="395416" y="175123"/>
                  </a:cubicBezTo>
                  <a:cubicBezTo>
                    <a:pt x="395416" y="169684"/>
                    <a:pt x="395416" y="164245"/>
                    <a:pt x="395416" y="153366"/>
                  </a:cubicBezTo>
                  <a:cubicBezTo>
                    <a:pt x="395416" y="145207"/>
                    <a:pt x="395416" y="134328"/>
                    <a:pt x="395416" y="126170"/>
                  </a:cubicBezTo>
                  <a:cubicBezTo>
                    <a:pt x="387257" y="128889"/>
                    <a:pt x="379098" y="128889"/>
                    <a:pt x="370939" y="128889"/>
                  </a:cubicBezTo>
                  <a:cubicBezTo>
                    <a:pt x="360060" y="128889"/>
                    <a:pt x="349182" y="128889"/>
                    <a:pt x="338303" y="131609"/>
                  </a:cubicBezTo>
                  <a:cubicBezTo>
                    <a:pt x="327424" y="131609"/>
                    <a:pt x="319265" y="134328"/>
                    <a:pt x="286629" y="134328"/>
                  </a:cubicBezTo>
                  <a:cubicBezTo>
                    <a:pt x="281190" y="134328"/>
                    <a:pt x="278470" y="134328"/>
                    <a:pt x="273031" y="137048"/>
                  </a:cubicBezTo>
                  <a:cubicBezTo>
                    <a:pt x="270312" y="137048"/>
                    <a:pt x="264872" y="137048"/>
                    <a:pt x="262153" y="142487"/>
                  </a:cubicBezTo>
                  <a:cubicBezTo>
                    <a:pt x="259433" y="145207"/>
                    <a:pt x="259433" y="150647"/>
                    <a:pt x="259433" y="153366"/>
                  </a:cubicBezTo>
                  <a:cubicBezTo>
                    <a:pt x="259433" y="158805"/>
                    <a:pt x="259433" y="164245"/>
                    <a:pt x="262153" y="166964"/>
                  </a:cubicBezTo>
                  <a:cubicBezTo>
                    <a:pt x="262153" y="177843"/>
                    <a:pt x="262153" y="186002"/>
                    <a:pt x="262153" y="196881"/>
                  </a:cubicBezTo>
                  <a:cubicBezTo>
                    <a:pt x="262153" y="202320"/>
                    <a:pt x="262153" y="210479"/>
                    <a:pt x="262153" y="215918"/>
                  </a:cubicBezTo>
                  <a:cubicBezTo>
                    <a:pt x="262153" y="229516"/>
                    <a:pt x="262153" y="240395"/>
                    <a:pt x="262153" y="251274"/>
                  </a:cubicBezTo>
                  <a:cubicBezTo>
                    <a:pt x="262153" y="259433"/>
                    <a:pt x="259433" y="270311"/>
                    <a:pt x="259433" y="278470"/>
                  </a:cubicBezTo>
                  <a:cubicBezTo>
                    <a:pt x="259433" y="289349"/>
                    <a:pt x="259433" y="297508"/>
                    <a:pt x="259433" y="308386"/>
                  </a:cubicBezTo>
                  <a:cubicBezTo>
                    <a:pt x="259433" y="313826"/>
                    <a:pt x="259433" y="319265"/>
                    <a:pt x="259433" y="321985"/>
                  </a:cubicBezTo>
                  <a:cubicBezTo>
                    <a:pt x="259433" y="324704"/>
                    <a:pt x="259433" y="330144"/>
                    <a:pt x="259433" y="332863"/>
                  </a:cubicBezTo>
                  <a:cubicBezTo>
                    <a:pt x="262153" y="335583"/>
                    <a:pt x="264872" y="335583"/>
                    <a:pt x="267592" y="335583"/>
                  </a:cubicBezTo>
                  <a:cubicBezTo>
                    <a:pt x="273031" y="335583"/>
                    <a:pt x="275751" y="335583"/>
                    <a:pt x="281190" y="335583"/>
                  </a:cubicBezTo>
                  <a:cubicBezTo>
                    <a:pt x="311107" y="335583"/>
                    <a:pt x="319265" y="335583"/>
                    <a:pt x="327424" y="338303"/>
                  </a:cubicBezTo>
                  <a:cubicBezTo>
                    <a:pt x="335583" y="341022"/>
                    <a:pt x="343742" y="341022"/>
                    <a:pt x="351901" y="341022"/>
                  </a:cubicBezTo>
                  <a:cubicBezTo>
                    <a:pt x="351901" y="338303"/>
                    <a:pt x="351901" y="338303"/>
                    <a:pt x="351901" y="335583"/>
                  </a:cubicBezTo>
                  <a:cubicBezTo>
                    <a:pt x="351901" y="327424"/>
                    <a:pt x="351901" y="319265"/>
                    <a:pt x="351901" y="313826"/>
                  </a:cubicBezTo>
                  <a:cubicBezTo>
                    <a:pt x="351901" y="305667"/>
                    <a:pt x="351901" y="294788"/>
                    <a:pt x="357341" y="289349"/>
                  </a:cubicBezTo>
                  <a:cubicBezTo>
                    <a:pt x="360060" y="281190"/>
                    <a:pt x="368219" y="273031"/>
                    <a:pt x="373658" y="273031"/>
                  </a:cubicBezTo>
                  <a:cubicBezTo>
                    <a:pt x="376378" y="273031"/>
                    <a:pt x="379098" y="273031"/>
                    <a:pt x="381817" y="278470"/>
                  </a:cubicBezTo>
                  <a:cubicBezTo>
                    <a:pt x="384537" y="283909"/>
                    <a:pt x="387257" y="292068"/>
                    <a:pt x="389977" y="300228"/>
                  </a:cubicBezTo>
                  <a:cubicBezTo>
                    <a:pt x="392696" y="316545"/>
                    <a:pt x="392696" y="335583"/>
                    <a:pt x="395416" y="351901"/>
                  </a:cubicBezTo>
                  <a:cubicBezTo>
                    <a:pt x="398136" y="373658"/>
                    <a:pt x="398136" y="384537"/>
                    <a:pt x="398136" y="409014"/>
                  </a:cubicBezTo>
                  <a:cubicBezTo>
                    <a:pt x="398136" y="422612"/>
                    <a:pt x="398136" y="444369"/>
                    <a:pt x="381817" y="444369"/>
                  </a:cubicBezTo>
                  <a:cubicBezTo>
                    <a:pt x="373658" y="444369"/>
                    <a:pt x="370939" y="441650"/>
                    <a:pt x="365500" y="438930"/>
                  </a:cubicBezTo>
                  <a:cubicBezTo>
                    <a:pt x="360060" y="436210"/>
                    <a:pt x="357341" y="428051"/>
                    <a:pt x="357341" y="422612"/>
                  </a:cubicBezTo>
                  <a:cubicBezTo>
                    <a:pt x="354621" y="414453"/>
                    <a:pt x="354621" y="409014"/>
                    <a:pt x="354621" y="400855"/>
                  </a:cubicBezTo>
                  <a:cubicBezTo>
                    <a:pt x="354621" y="395415"/>
                    <a:pt x="354621" y="389976"/>
                    <a:pt x="354621" y="381817"/>
                  </a:cubicBezTo>
                  <a:cubicBezTo>
                    <a:pt x="335583" y="381817"/>
                    <a:pt x="308387" y="384537"/>
                    <a:pt x="270312" y="381817"/>
                  </a:cubicBezTo>
                  <a:cubicBezTo>
                    <a:pt x="262153" y="381817"/>
                    <a:pt x="256713" y="387256"/>
                    <a:pt x="256713" y="395415"/>
                  </a:cubicBezTo>
                  <a:cubicBezTo>
                    <a:pt x="256713" y="403574"/>
                    <a:pt x="256713" y="414453"/>
                    <a:pt x="253994" y="422612"/>
                  </a:cubicBezTo>
                  <a:cubicBezTo>
                    <a:pt x="253994" y="425332"/>
                    <a:pt x="253994" y="430771"/>
                    <a:pt x="253994" y="433490"/>
                  </a:cubicBezTo>
                  <a:cubicBezTo>
                    <a:pt x="253994" y="438930"/>
                    <a:pt x="253994" y="444369"/>
                    <a:pt x="253994" y="449809"/>
                  </a:cubicBezTo>
                  <a:cubicBezTo>
                    <a:pt x="253994" y="457967"/>
                    <a:pt x="256713" y="466126"/>
                    <a:pt x="256713" y="474285"/>
                  </a:cubicBezTo>
                  <a:cubicBezTo>
                    <a:pt x="256713" y="482444"/>
                    <a:pt x="256713" y="490603"/>
                    <a:pt x="256713" y="496043"/>
                  </a:cubicBezTo>
                  <a:cubicBezTo>
                    <a:pt x="256713" y="509641"/>
                    <a:pt x="259433" y="520520"/>
                    <a:pt x="259433" y="534118"/>
                  </a:cubicBezTo>
                  <a:cubicBezTo>
                    <a:pt x="259433" y="553155"/>
                    <a:pt x="259433" y="572193"/>
                    <a:pt x="259433" y="591231"/>
                  </a:cubicBezTo>
                  <a:cubicBezTo>
                    <a:pt x="259433" y="602109"/>
                    <a:pt x="262153" y="610268"/>
                    <a:pt x="262153" y="618427"/>
                  </a:cubicBezTo>
                  <a:cubicBezTo>
                    <a:pt x="264872" y="626586"/>
                    <a:pt x="262153" y="642904"/>
                    <a:pt x="267592" y="648343"/>
                  </a:cubicBezTo>
                  <a:cubicBezTo>
                    <a:pt x="270312" y="651063"/>
                    <a:pt x="275751" y="651063"/>
                    <a:pt x="292069" y="651063"/>
                  </a:cubicBezTo>
                  <a:cubicBezTo>
                    <a:pt x="305667" y="651063"/>
                    <a:pt x="319265" y="651063"/>
                    <a:pt x="327424" y="651063"/>
                  </a:cubicBezTo>
                  <a:cubicBezTo>
                    <a:pt x="338303" y="651063"/>
                    <a:pt x="351901" y="653783"/>
                    <a:pt x="362780" y="653783"/>
                  </a:cubicBezTo>
                  <a:cubicBezTo>
                    <a:pt x="376378" y="653783"/>
                    <a:pt x="384537" y="651063"/>
                    <a:pt x="395416" y="648343"/>
                  </a:cubicBezTo>
                  <a:cubicBezTo>
                    <a:pt x="395416" y="637465"/>
                    <a:pt x="395416" y="629306"/>
                    <a:pt x="395416" y="618427"/>
                  </a:cubicBezTo>
                  <a:cubicBezTo>
                    <a:pt x="395416" y="610268"/>
                    <a:pt x="395416" y="602109"/>
                    <a:pt x="395416" y="596670"/>
                  </a:cubicBezTo>
                  <a:cubicBezTo>
                    <a:pt x="395416" y="591231"/>
                    <a:pt x="395416" y="585791"/>
                    <a:pt x="398136" y="574913"/>
                  </a:cubicBezTo>
                  <a:cubicBezTo>
                    <a:pt x="400855" y="569473"/>
                    <a:pt x="400855" y="564034"/>
                    <a:pt x="406295" y="558595"/>
                  </a:cubicBezTo>
                  <a:cubicBezTo>
                    <a:pt x="411734" y="553155"/>
                    <a:pt x="414453" y="553155"/>
                    <a:pt x="422612" y="553155"/>
                  </a:cubicBezTo>
                  <a:cubicBezTo>
                    <a:pt x="436211" y="553155"/>
                    <a:pt x="438930" y="577632"/>
                    <a:pt x="438930" y="588511"/>
                  </a:cubicBezTo>
                  <a:cubicBezTo>
                    <a:pt x="438930" y="612988"/>
                    <a:pt x="438930" y="623866"/>
                    <a:pt x="436211" y="645624"/>
                  </a:cubicBezTo>
                  <a:cubicBezTo>
                    <a:pt x="433491" y="648343"/>
                    <a:pt x="433491" y="648343"/>
                    <a:pt x="433491" y="651063"/>
                  </a:cubicBezTo>
                  <a:lnTo>
                    <a:pt x="433491" y="651063"/>
                  </a:ln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3" name="Freeform: Shape 52">
              <a:extLst>
                <a:ext uri="{FF2B5EF4-FFF2-40B4-BE49-F238E27FC236}">
                  <a16:creationId xmlns:a16="http://schemas.microsoft.com/office/drawing/2014/main" id="{E1B18E76-E2CA-4B40-93A3-5CA062AC31EB}"/>
                </a:ext>
              </a:extLst>
            </p:cNvPr>
            <p:cNvSpPr/>
            <p:nvPr/>
          </p:nvSpPr>
          <p:spPr>
            <a:xfrm>
              <a:off x="7912732" y="4250336"/>
              <a:ext cx="465062" cy="658157"/>
            </a:xfrm>
            <a:custGeom>
              <a:avLst/>
              <a:gdLst>
                <a:gd name="connsiteX0" fmla="*/ 193096 w 465062"/>
                <a:gd name="connsiteY0" fmla="*/ 59832 h 658157"/>
                <a:gd name="connsiteX1" fmla="*/ 193096 w 465062"/>
                <a:gd name="connsiteY1" fmla="*/ 114226 h 658157"/>
                <a:gd name="connsiteX2" fmla="*/ 198536 w 465062"/>
                <a:gd name="connsiteY2" fmla="*/ 209414 h 658157"/>
                <a:gd name="connsiteX3" fmla="*/ 201255 w 465062"/>
                <a:gd name="connsiteY3" fmla="*/ 282845 h 658157"/>
                <a:gd name="connsiteX4" fmla="*/ 203975 w 465062"/>
                <a:gd name="connsiteY4" fmla="*/ 315481 h 658157"/>
                <a:gd name="connsiteX5" fmla="*/ 203975 w 465062"/>
                <a:gd name="connsiteY5" fmla="*/ 320920 h 658157"/>
                <a:gd name="connsiteX6" fmla="*/ 212134 w 465062"/>
                <a:gd name="connsiteY6" fmla="*/ 329079 h 658157"/>
                <a:gd name="connsiteX7" fmla="*/ 223013 w 465062"/>
                <a:gd name="connsiteY7" fmla="*/ 329079 h 658157"/>
                <a:gd name="connsiteX8" fmla="*/ 239331 w 465062"/>
                <a:gd name="connsiteY8" fmla="*/ 329079 h 658157"/>
                <a:gd name="connsiteX9" fmla="*/ 280126 w 465062"/>
                <a:gd name="connsiteY9" fmla="*/ 312761 h 658157"/>
                <a:gd name="connsiteX10" fmla="*/ 296443 w 465062"/>
                <a:gd name="connsiteY10" fmla="*/ 288284 h 658157"/>
                <a:gd name="connsiteX11" fmla="*/ 304602 w 465062"/>
                <a:gd name="connsiteY11" fmla="*/ 258368 h 658157"/>
                <a:gd name="connsiteX12" fmla="*/ 312761 w 465062"/>
                <a:gd name="connsiteY12" fmla="*/ 225732 h 658157"/>
                <a:gd name="connsiteX13" fmla="*/ 315481 w 465062"/>
                <a:gd name="connsiteY13" fmla="*/ 195816 h 658157"/>
                <a:gd name="connsiteX14" fmla="*/ 318201 w 465062"/>
                <a:gd name="connsiteY14" fmla="*/ 168619 h 658157"/>
                <a:gd name="connsiteX15" fmla="*/ 312761 w 465062"/>
                <a:gd name="connsiteY15" fmla="*/ 135983 h 658157"/>
                <a:gd name="connsiteX16" fmla="*/ 312761 w 465062"/>
                <a:gd name="connsiteY16" fmla="*/ 122385 h 658157"/>
                <a:gd name="connsiteX17" fmla="*/ 293724 w 465062"/>
                <a:gd name="connsiteY17" fmla="*/ 84309 h 658157"/>
                <a:gd name="connsiteX18" fmla="*/ 280126 w 465062"/>
                <a:gd name="connsiteY18" fmla="*/ 73430 h 658157"/>
                <a:gd name="connsiteX19" fmla="*/ 258368 w 465062"/>
                <a:gd name="connsiteY19" fmla="*/ 62552 h 658157"/>
                <a:gd name="connsiteX20" fmla="*/ 217573 w 465062"/>
                <a:gd name="connsiteY20" fmla="*/ 59832 h 658157"/>
                <a:gd name="connsiteX21" fmla="*/ 111506 w 465062"/>
                <a:gd name="connsiteY21" fmla="*/ 0 h 658157"/>
                <a:gd name="connsiteX22" fmla="*/ 127824 w 465062"/>
                <a:gd name="connsiteY22" fmla="*/ 0 h 658157"/>
                <a:gd name="connsiteX23" fmla="*/ 157741 w 465062"/>
                <a:gd name="connsiteY23" fmla="*/ 5440 h 658157"/>
                <a:gd name="connsiteX24" fmla="*/ 179497 w 465062"/>
                <a:gd name="connsiteY24" fmla="*/ 16318 h 658157"/>
                <a:gd name="connsiteX25" fmla="*/ 209414 w 465062"/>
                <a:gd name="connsiteY25" fmla="*/ 16318 h 658157"/>
                <a:gd name="connsiteX26" fmla="*/ 247489 w 465062"/>
                <a:gd name="connsiteY26" fmla="*/ 16318 h 658157"/>
                <a:gd name="connsiteX27" fmla="*/ 266527 w 465062"/>
                <a:gd name="connsiteY27" fmla="*/ 16318 h 658157"/>
                <a:gd name="connsiteX28" fmla="*/ 312761 w 465062"/>
                <a:gd name="connsiteY28" fmla="*/ 27197 h 658157"/>
                <a:gd name="connsiteX29" fmla="*/ 337238 w 465062"/>
                <a:gd name="connsiteY29" fmla="*/ 38075 h 658157"/>
                <a:gd name="connsiteX30" fmla="*/ 364434 w 465062"/>
                <a:gd name="connsiteY30" fmla="*/ 54393 h 658157"/>
                <a:gd name="connsiteX31" fmla="*/ 386192 w 465062"/>
                <a:gd name="connsiteY31" fmla="*/ 73431 h 658157"/>
                <a:gd name="connsiteX32" fmla="*/ 407949 w 465062"/>
                <a:gd name="connsiteY32" fmla="*/ 103347 h 658157"/>
                <a:gd name="connsiteX33" fmla="*/ 416108 w 465062"/>
                <a:gd name="connsiteY33" fmla="*/ 141422 h 658157"/>
                <a:gd name="connsiteX34" fmla="*/ 418828 w 465062"/>
                <a:gd name="connsiteY34" fmla="*/ 163179 h 658157"/>
                <a:gd name="connsiteX35" fmla="*/ 418828 w 465062"/>
                <a:gd name="connsiteY35" fmla="*/ 171339 h 658157"/>
                <a:gd name="connsiteX36" fmla="*/ 421547 w 465062"/>
                <a:gd name="connsiteY36" fmla="*/ 187656 h 658157"/>
                <a:gd name="connsiteX37" fmla="*/ 418828 w 465062"/>
                <a:gd name="connsiteY37" fmla="*/ 206694 h 658157"/>
                <a:gd name="connsiteX38" fmla="*/ 416108 w 465062"/>
                <a:gd name="connsiteY38" fmla="*/ 233891 h 658157"/>
                <a:gd name="connsiteX39" fmla="*/ 405229 w 465062"/>
                <a:gd name="connsiteY39" fmla="*/ 263807 h 658157"/>
                <a:gd name="connsiteX40" fmla="*/ 394351 w 465062"/>
                <a:gd name="connsiteY40" fmla="*/ 274686 h 658157"/>
                <a:gd name="connsiteX41" fmla="*/ 388912 w 465062"/>
                <a:gd name="connsiteY41" fmla="*/ 285564 h 658157"/>
                <a:gd name="connsiteX42" fmla="*/ 369874 w 465062"/>
                <a:gd name="connsiteY42" fmla="*/ 304602 h 658157"/>
                <a:gd name="connsiteX43" fmla="*/ 358995 w 465062"/>
                <a:gd name="connsiteY43" fmla="*/ 310041 h 658157"/>
                <a:gd name="connsiteX44" fmla="*/ 348117 w 465062"/>
                <a:gd name="connsiteY44" fmla="*/ 320920 h 658157"/>
                <a:gd name="connsiteX45" fmla="*/ 326359 w 465062"/>
                <a:gd name="connsiteY45" fmla="*/ 339957 h 658157"/>
                <a:gd name="connsiteX46" fmla="*/ 312761 w 465062"/>
                <a:gd name="connsiteY46" fmla="*/ 353555 h 658157"/>
                <a:gd name="connsiteX47" fmla="*/ 337238 w 465062"/>
                <a:gd name="connsiteY47" fmla="*/ 380752 h 658157"/>
                <a:gd name="connsiteX48" fmla="*/ 358995 w 465062"/>
                <a:gd name="connsiteY48" fmla="*/ 421547 h 658157"/>
                <a:gd name="connsiteX49" fmla="*/ 372593 w 465062"/>
                <a:gd name="connsiteY49" fmla="*/ 459622 h 658157"/>
                <a:gd name="connsiteX50" fmla="*/ 386192 w 465062"/>
                <a:gd name="connsiteY50" fmla="*/ 514015 h 658157"/>
                <a:gd name="connsiteX51" fmla="*/ 407949 w 465062"/>
                <a:gd name="connsiteY51" fmla="*/ 568408 h 658157"/>
                <a:gd name="connsiteX52" fmla="*/ 421547 w 465062"/>
                <a:gd name="connsiteY52" fmla="*/ 598324 h 658157"/>
                <a:gd name="connsiteX53" fmla="*/ 451463 w 465062"/>
                <a:gd name="connsiteY53" fmla="*/ 628241 h 658157"/>
                <a:gd name="connsiteX54" fmla="*/ 465062 w 465062"/>
                <a:gd name="connsiteY54" fmla="*/ 644559 h 658157"/>
                <a:gd name="connsiteX55" fmla="*/ 462342 w 465062"/>
                <a:gd name="connsiteY55" fmla="*/ 649998 h 658157"/>
                <a:gd name="connsiteX56" fmla="*/ 437865 w 465062"/>
                <a:gd name="connsiteY56" fmla="*/ 658157 h 658157"/>
                <a:gd name="connsiteX57" fmla="*/ 361715 w 465062"/>
                <a:gd name="connsiteY57" fmla="*/ 622801 h 658157"/>
                <a:gd name="connsiteX58" fmla="*/ 320920 w 465062"/>
                <a:gd name="connsiteY58" fmla="*/ 565689 h 658157"/>
                <a:gd name="connsiteX59" fmla="*/ 304602 w 465062"/>
                <a:gd name="connsiteY59" fmla="*/ 530333 h 658157"/>
                <a:gd name="connsiteX60" fmla="*/ 293723 w 465062"/>
                <a:gd name="connsiteY60" fmla="*/ 497697 h 658157"/>
                <a:gd name="connsiteX61" fmla="*/ 282845 w 465062"/>
                <a:gd name="connsiteY61" fmla="*/ 462342 h 658157"/>
                <a:gd name="connsiteX62" fmla="*/ 269246 w 465062"/>
                <a:gd name="connsiteY62" fmla="*/ 424267 h 658157"/>
                <a:gd name="connsiteX63" fmla="*/ 255648 w 465062"/>
                <a:gd name="connsiteY63" fmla="*/ 391631 h 658157"/>
                <a:gd name="connsiteX64" fmla="*/ 236610 w 465062"/>
                <a:gd name="connsiteY64" fmla="*/ 367154 h 658157"/>
                <a:gd name="connsiteX65" fmla="*/ 217573 w 465062"/>
                <a:gd name="connsiteY65" fmla="*/ 361714 h 658157"/>
                <a:gd name="connsiteX66" fmla="*/ 201255 w 465062"/>
                <a:gd name="connsiteY66" fmla="*/ 361714 h 658157"/>
                <a:gd name="connsiteX67" fmla="*/ 198535 w 465062"/>
                <a:gd name="connsiteY67" fmla="*/ 367154 h 658157"/>
                <a:gd name="connsiteX68" fmla="*/ 201255 w 465062"/>
                <a:gd name="connsiteY68" fmla="*/ 388911 h 658157"/>
                <a:gd name="connsiteX69" fmla="*/ 198535 w 465062"/>
                <a:gd name="connsiteY69" fmla="*/ 426986 h 658157"/>
                <a:gd name="connsiteX70" fmla="*/ 203975 w 465062"/>
                <a:gd name="connsiteY70" fmla="*/ 478660 h 658157"/>
                <a:gd name="connsiteX71" fmla="*/ 198535 w 465062"/>
                <a:gd name="connsiteY71" fmla="*/ 552090 h 658157"/>
                <a:gd name="connsiteX72" fmla="*/ 195816 w 465062"/>
                <a:gd name="connsiteY72" fmla="*/ 576567 h 658157"/>
                <a:gd name="connsiteX73" fmla="*/ 198535 w 465062"/>
                <a:gd name="connsiteY73" fmla="*/ 592885 h 658157"/>
                <a:gd name="connsiteX74" fmla="*/ 233891 w 465062"/>
                <a:gd name="connsiteY74" fmla="*/ 592885 h 658157"/>
                <a:gd name="connsiteX75" fmla="*/ 271966 w 465062"/>
                <a:gd name="connsiteY75" fmla="*/ 611923 h 658157"/>
                <a:gd name="connsiteX76" fmla="*/ 266527 w 465062"/>
                <a:gd name="connsiteY76" fmla="*/ 628241 h 658157"/>
                <a:gd name="connsiteX77" fmla="*/ 250209 w 465062"/>
                <a:gd name="connsiteY77" fmla="*/ 636400 h 658157"/>
                <a:gd name="connsiteX78" fmla="*/ 228451 w 465062"/>
                <a:gd name="connsiteY78" fmla="*/ 639119 h 658157"/>
                <a:gd name="connsiteX79" fmla="*/ 187657 w 465062"/>
                <a:gd name="connsiteY79" fmla="*/ 639119 h 658157"/>
                <a:gd name="connsiteX80" fmla="*/ 152301 w 465062"/>
                <a:gd name="connsiteY80" fmla="*/ 652717 h 658157"/>
                <a:gd name="connsiteX81" fmla="*/ 133263 w 465062"/>
                <a:gd name="connsiteY81" fmla="*/ 655437 h 658157"/>
                <a:gd name="connsiteX82" fmla="*/ 122385 w 465062"/>
                <a:gd name="connsiteY82" fmla="*/ 652717 h 658157"/>
                <a:gd name="connsiteX83" fmla="*/ 97908 w 465062"/>
                <a:gd name="connsiteY83" fmla="*/ 639119 h 658157"/>
                <a:gd name="connsiteX84" fmla="*/ 70711 w 465062"/>
                <a:gd name="connsiteY84" fmla="*/ 639119 h 658157"/>
                <a:gd name="connsiteX85" fmla="*/ 46234 w 465062"/>
                <a:gd name="connsiteY85" fmla="*/ 639119 h 658157"/>
                <a:gd name="connsiteX86" fmla="*/ 19038 w 465062"/>
                <a:gd name="connsiteY86" fmla="*/ 630960 h 658157"/>
                <a:gd name="connsiteX87" fmla="*/ 2720 w 465062"/>
                <a:gd name="connsiteY87" fmla="*/ 614642 h 658157"/>
                <a:gd name="connsiteX88" fmla="*/ 8159 w 465062"/>
                <a:gd name="connsiteY88" fmla="*/ 606483 h 658157"/>
                <a:gd name="connsiteX89" fmla="*/ 29916 w 465062"/>
                <a:gd name="connsiteY89" fmla="*/ 598324 h 658157"/>
                <a:gd name="connsiteX90" fmla="*/ 76151 w 465062"/>
                <a:gd name="connsiteY90" fmla="*/ 592885 h 658157"/>
                <a:gd name="connsiteX91" fmla="*/ 73431 w 465062"/>
                <a:gd name="connsiteY91" fmla="*/ 573848 h 658157"/>
                <a:gd name="connsiteX92" fmla="*/ 70711 w 465062"/>
                <a:gd name="connsiteY92" fmla="*/ 500417 h 658157"/>
                <a:gd name="connsiteX93" fmla="*/ 73431 w 465062"/>
                <a:gd name="connsiteY93" fmla="*/ 437865 h 658157"/>
                <a:gd name="connsiteX94" fmla="*/ 70711 w 465062"/>
                <a:gd name="connsiteY94" fmla="*/ 369873 h 658157"/>
                <a:gd name="connsiteX95" fmla="*/ 70711 w 465062"/>
                <a:gd name="connsiteY95" fmla="*/ 293723 h 658157"/>
                <a:gd name="connsiteX96" fmla="*/ 73431 w 465062"/>
                <a:gd name="connsiteY96" fmla="*/ 212133 h 658157"/>
                <a:gd name="connsiteX97" fmla="*/ 76151 w 465062"/>
                <a:gd name="connsiteY97" fmla="*/ 155021 h 658157"/>
                <a:gd name="connsiteX98" fmla="*/ 76151 w 465062"/>
                <a:gd name="connsiteY98" fmla="*/ 119665 h 658157"/>
                <a:gd name="connsiteX99" fmla="*/ 78870 w 465062"/>
                <a:gd name="connsiteY99" fmla="*/ 84310 h 658157"/>
                <a:gd name="connsiteX100" fmla="*/ 76151 w 465062"/>
                <a:gd name="connsiteY100" fmla="*/ 62552 h 658157"/>
                <a:gd name="connsiteX101" fmla="*/ 67992 w 465062"/>
                <a:gd name="connsiteY101" fmla="*/ 62552 h 658157"/>
                <a:gd name="connsiteX102" fmla="*/ 43515 w 465062"/>
                <a:gd name="connsiteY102" fmla="*/ 62552 h 658157"/>
                <a:gd name="connsiteX103" fmla="*/ 16318 w 465062"/>
                <a:gd name="connsiteY103" fmla="*/ 57113 h 658157"/>
                <a:gd name="connsiteX104" fmla="*/ 0 w 465062"/>
                <a:gd name="connsiteY104" fmla="*/ 40795 h 658157"/>
                <a:gd name="connsiteX105" fmla="*/ 5439 w 465062"/>
                <a:gd name="connsiteY105" fmla="*/ 32636 h 658157"/>
                <a:gd name="connsiteX106" fmla="*/ 27197 w 465062"/>
                <a:gd name="connsiteY106" fmla="*/ 24477 h 658157"/>
                <a:gd name="connsiteX107" fmla="*/ 76151 w 465062"/>
                <a:gd name="connsiteY107" fmla="*/ 19038 h 658157"/>
                <a:gd name="connsiteX108" fmla="*/ 78870 w 465062"/>
                <a:gd name="connsiteY108" fmla="*/ 13598 h 658157"/>
                <a:gd name="connsiteX109" fmla="*/ 95188 w 465062"/>
                <a:gd name="connsiteY109" fmla="*/ 5440 h 658157"/>
                <a:gd name="connsiteX110" fmla="*/ 111506 w 465062"/>
                <a:gd name="connsiteY110" fmla="*/ 0 h 6581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</a:cxnLst>
              <a:rect l="l" t="t" r="r" b="b"/>
              <a:pathLst>
                <a:path w="465062" h="658157">
                  <a:moveTo>
                    <a:pt x="193096" y="59832"/>
                  </a:moveTo>
                  <a:cubicBezTo>
                    <a:pt x="193096" y="73430"/>
                    <a:pt x="193096" y="89748"/>
                    <a:pt x="193096" y="114226"/>
                  </a:cubicBezTo>
                  <a:cubicBezTo>
                    <a:pt x="193096" y="144142"/>
                    <a:pt x="195816" y="176778"/>
                    <a:pt x="198536" y="209414"/>
                  </a:cubicBezTo>
                  <a:cubicBezTo>
                    <a:pt x="198536" y="247489"/>
                    <a:pt x="201255" y="277406"/>
                    <a:pt x="201255" y="282845"/>
                  </a:cubicBezTo>
                  <a:cubicBezTo>
                    <a:pt x="201255" y="293723"/>
                    <a:pt x="203975" y="304602"/>
                    <a:pt x="203975" y="315481"/>
                  </a:cubicBezTo>
                  <a:cubicBezTo>
                    <a:pt x="203975" y="318200"/>
                    <a:pt x="203975" y="318200"/>
                    <a:pt x="203975" y="320920"/>
                  </a:cubicBezTo>
                  <a:cubicBezTo>
                    <a:pt x="203975" y="326359"/>
                    <a:pt x="206695" y="329079"/>
                    <a:pt x="212134" y="329079"/>
                  </a:cubicBezTo>
                  <a:cubicBezTo>
                    <a:pt x="214854" y="329079"/>
                    <a:pt x="220293" y="329079"/>
                    <a:pt x="223013" y="329079"/>
                  </a:cubicBezTo>
                  <a:cubicBezTo>
                    <a:pt x="228452" y="329079"/>
                    <a:pt x="233891" y="329079"/>
                    <a:pt x="239331" y="329079"/>
                  </a:cubicBezTo>
                  <a:cubicBezTo>
                    <a:pt x="252929" y="329079"/>
                    <a:pt x="271967" y="323640"/>
                    <a:pt x="280126" y="312761"/>
                  </a:cubicBezTo>
                  <a:cubicBezTo>
                    <a:pt x="288284" y="304602"/>
                    <a:pt x="291004" y="299163"/>
                    <a:pt x="296443" y="288284"/>
                  </a:cubicBezTo>
                  <a:cubicBezTo>
                    <a:pt x="299163" y="277406"/>
                    <a:pt x="301883" y="269247"/>
                    <a:pt x="304602" y="258368"/>
                  </a:cubicBezTo>
                  <a:cubicBezTo>
                    <a:pt x="307322" y="244770"/>
                    <a:pt x="310042" y="239330"/>
                    <a:pt x="312761" y="225732"/>
                  </a:cubicBezTo>
                  <a:cubicBezTo>
                    <a:pt x="315481" y="212134"/>
                    <a:pt x="315481" y="209414"/>
                    <a:pt x="315481" y="195816"/>
                  </a:cubicBezTo>
                  <a:cubicBezTo>
                    <a:pt x="315481" y="179498"/>
                    <a:pt x="315481" y="184937"/>
                    <a:pt x="318201" y="168619"/>
                  </a:cubicBezTo>
                  <a:cubicBezTo>
                    <a:pt x="312761" y="152302"/>
                    <a:pt x="312761" y="149582"/>
                    <a:pt x="312761" y="135983"/>
                  </a:cubicBezTo>
                  <a:cubicBezTo>
                    <a:pt x="312761" y="133264"/>
                    <a:pt x="312761" y="127825"/>
                    <a:pt x="312761" y="122385"/>
                  </a:cubicBezTo>
                  <a:cubicBezTo>
                    <a:pt x="312761" y="111507"/>
                    <a:pt x="301883" y="95188"/>
                    <a:pt x="293724" y="84309"/>
                  </a:cubicBezTo>
                  <a:cubicBezTo>
                    <a:pt x="288284" y="78870"/>
                    <a:pt x="285565" y="76150"/>
                    <a:pt x="280126" y="73430"/>
                  </a:cubicBezTo>
                  <a:cubicBezTo>
                    <a:pt x="271967" y="67991"/>
                    <a:pt x="266527" y="65271"/>
                    <a:pt x="258368" y="62552"/>
                  </a:cubicBezTo>
                  <a:cubicBezTo>
                    <a:pt x="244770" y="59832"/>
                    <a:pt x="228452" y="59832"/>
                    <a:pt x="217573" y="59832"/>
                  </a:cubicBezTo>
                  <a:close/>
                  <a:moveTo>
                    <a:pt x="111506" y="0"/>
                  </a:moveTo>
                  <a:cubicBezTo>
                    <a:pt x="114226" y="0"/>
                    <a:pt x="122385" y="0"/>
                    <a:pt x="127824" y="0"/>
                  </a:cubicBezTo>
                  <a:cubicBezTo>
                    <a:pt x="135983" y="0"/>
                    <a:pt x="146862" y="2720"/>
                    <a:pt x="157741" y="5440"/>
                  </a:cubicBezTo>
                  <a:cubicBezTo>
                    <a:pt x="168619" y="8159"/>
                    <a:pt x="176778" y="10879"/>
                    <a:pt x="179497" y="16318"/>
                  </a:cubicBezTo>
                  <a:cubicBezTo>
                    <a:pt x="193096" y="16318"/>
                    <a:pt x="201255" y="16318"/>
                    <a:pt x="209414" y="16318"/>
                  </a:cubicBezTo>
                  <a:cubicBezTo>
                    <a:pt x="220292" y="16318"/>
                    <a:pt x="231171" y="16318"/>
                    <a:pt x="247489" y="16318"/>
                  </a:cubicBezTo>
                  <a:cubicBezTo>
                    <a:pt x="250209" y="16318"/>
                    <a:pt x="258368" y="16318"/>
                    <a:pt x="266527" y="16318"/>
                  </a:cubicBezTo>
                  <a:cubicBezTo>
                    <a:pt x="277405" y="16318"/>
                    <a:pt x="291004" y="21758"/>
                    <a:pt x="312761" y="27197"/>
                  </a:cubicBezTo>
                  <a:cubicBezTo>
                    <a:pt x="320920" y="29917"/>
                    <a:pt x="329079" y="35356"/>
                    <a:pt x="337238" y="38075"/>
                  </a:cubicBezTo>
                  <a:cubicBezTo>
                    <a:pt x="342677" y="40795"/>
                    <a:pt x="353556" y="48954"/>
                    <a:pt x="364434" y="54393"/>
                  </a:cubicBezTo>
                  <a:cubicBezTo>
                    <a:pt x="375313" y="62552"/>
                    <a:pt x="386192" y="67992"/>
                    <a:pt x="386192" y="73431"/>
                  </a:cubicBezTo>
                  <a:cubicBezTo>
                    <a:pt x="391631" y="84310"/>
                    <a:pt x="402510" y="92469"/>
                    <a:pt x="407949" y="103347"/>
                  </a:cubicBezTo>
                  <a:cubicBezTo>
                    <a:pt x="413388" y="116945"/>
                    <a:pt x="416108" y="130544"/>
                    <a:pt x="416108" y="141422"/>
                  </a:cubicBezTo>
                  <a:cubicBezTo>
                    <a:pt x="416108" y="152301"/>
                    <a:pt x="418828" y="157740"/>
                    <a:pt x="418828" y="163179"/>
                  </a:cubicBezTo>
                  <a:cubicBezTo>
                    <a:pt x="418828" y="165899"/>
                    <a:pt x="418828" y="168619"/>
                    <a:pt x="418828" y="171339"/>
                  </a:cubicBezTo>
                  <a:cubicBezTo>
                    <a:pt x="418828" y="174058"/>
                    <a:pt x="421547" y="182217"/>
                    <a:pt x="421547" y="187656"/>
                  </a:cubicBezTo>
                  <a:cubicBezTo>
                    <a:pt x="421547" y="193096"/>
                    <a:pt x="418828" y="201255"/>
                    <a:pt x="418828" y="206694"/>
                  </a:cubicBezTo>
                  <a:cubicBezTo>
                    <a:pt x="418828" y="217573"/>
                    <a:pt x="418828" y="223012"/>
                    <a:pt x="416108" y="233891"/>
                  </a:cubicBezTo>
                  <a:cubicBezTo>
                    <a:pt x="413388" y="244769"/>
                    <a:pt x="410668" y="255648"/>
                    <a:pt x="405229" y="263807"/>
                  </a:cubicBezTo>
                  <a:cubicBezTo>
                    <a:pt x="402510" y="269246"/>
                    <a:pt x="397070" y="269246"/>
                    <a:pt x="394351" y="274686"/>
                  </a:cubicBezTo>
                  <a:cubicBezTo>
                    <a:pt x="391631" y="277405"/>
                    <a:pt x="391631" y="282844"/>
                    <a:pt x="388912" y="285564"/>
                  </a:cubicBezTo>
                  <a:cubicBezTo>
                    <a:pt x="383472" y="291003"/>
                    <a:pt x="375313" y="301882"/>
                    <a:pt x="369874" y="304602"/>
                  </a:cubicBezTo>
                  <a:cubicBezTo>
                    <a:pt x="367154" y="307321"/>
                    <a:pt x="361715" y="307321"/>
                    <a:pt x="358995" y="310041"/>
                  </a:cubicBezTo>
                  <a:cubicBezTo>
                    <a:pt x="356275" y="312761"/>
                    <a:pt x="350836" y="318200"/>
                    <a:pt x="348117" y="320920"/>
                  </a:cubicBezTo>
                  <a:cubicBezTo>
                    <a:pt x="339958" y="326359"/>
                    <a:pt x="334518" y="334518"/>
                    <a:pt x="326359" y="339957"/>
                  </a:cubicBezTo>
                  <a:cubicBezTo>
                    <a:pt x="320920" y="342677"/>
                    <a:pt x="312761" y="342677"/>
                    <a:pt x="312761" y="353555"/>
                  </a:cubicBezTo>
                  <a:cubicBezTo>
                    <a:pt x="312761" y="361714"/>
                    <a:pt x="334518" y="372593"/>
                    <a:pt x="337238" y="380752"/>
                  </a:cubicBezTo>
                  <a:cubicBezTo>
                    <a:pt x="345397" y="394350"/>
                    <a:pt x="353556" y="407948"/>
                    <a:pt x="358995" y="421547"/>
                  </a:cubicBezTo>
                  <a:cubicBezTo>
                    <a:pt x="364434" y="435145"/>
                    <a:pt x="367154" y="446024"/>
                    <a:pt x="372593" y="459622"/>
                  </a:cubicBezTo>
                  <a:cubicBezTo>
                    <a:pt x="378033" y="478660"/>
                    <a:pt x="383472" y="494978"/>
                    <a:pt x="386192" y="514015"/>
                  </a:cubicBezTo>
                  <a:cubicBezTo>
                    <a:pt x="391631" y="533053"/>
                    <a:pt x="402510" y="549371"/>
                    <a:pt x="407949" y="568408"/>
                  </a:cubicBezTo>
                  <a:cubicBezTo>
                    <a:pt x="410668" y="579287"/>
                    <a:pt x="416108" y="590165"/>
                    <a:pt x="421547" y="598324"/>
                  </a:cubicBezTo>
                  <a:cubicBezTo>
                    <a:pt x="435146" y="614642"/>
                    <a:pt x="443305" y="622801"/>
                    <a:pt x="451463" y="628241"/>
                  </a:cubicBezTo>
                  <a:cubicBezTo>
                    <a:pt x="456903" y="630960"/>
                    <a:pt x="465062" y="636400"/>
                    <a:pt x="465062" y="644559"/>
                  </a:cubicBezTo>
                  <a:cubicBezTo>
                    <a:pt x="465062" y="647278"/>
                    <a:pt x="465062" y="647278"/>
                    <a:pt x="462342" y="649998"/>
                  </a:cubicBezTo>
                  <a:cubicBezTo>
                    <a:pt x="456903" y="655437"/>
                    <a:pt x="446024" y="658157"/>
                    <a:pt x="437865" y="658157"/>
                  </a:cubicBezTo>
                  <a:cubicBezTo>
                    <a:pt x="413388" y="658157"/>
                    <a:pt x="378033" y="641839"/>
                    <a:pt x="361715" y="622801"/>
                  </a:cubicBezTo>
                  <a:cubicBezTo>
                    <a:pt x="345397" y="606483"/>
                    <a:pt x="334518" y="584726"/>
                    <a:pt x="320920" y="565689"/>
                  </a:cubicBezTo>
                  <a:cubicBezTo>
                    <a:pt x="315480" y="554810"/>
                    <a:pt x="310041" y="543931"/>
                    <a:pt x="304602" y="530333"/>
                  </a:cubicBezTo>
                  <a:cubicBezTo>
                    <a:pt x="299163" y="519454"/>
                    <a:pt x="296443" y="508576"/>
                    <a:pt x="293723" y="497697"/>
                  </a:cubicBezTo>
                  <a:cubicBezTo>
                    <a:pt x="291004" y="486819"/>
                    <a:pt x="288284" y="473220"/>
                    <a:pt x="282845" y="462342"/>
                  </a:cubicBezTo>
                  <a:cubicBezTo>
                    <a:pt x="280125" y="448743"/>
                    <a:pt x="274686" y="437865"/>
                    <a:pt x="269246" y="424267"/>
                  </a:cubicBezTo>
                  <a:cubicBezTo>
                    <a:pt x="266527" y="416108"/>
                    <a:pt x="261087" y="402509"/>
                    <a:pt x="255648" y="391631"/>
                  </a:cubicBezTo>
                  <a:cubicBezTo>
                    <a:pt x="250209" y="380752"/>
                    <a:pt x="244770" y="375313"/>
                    <a:pt x="236610" y="367154"/>
                  </a:cubicBezTo>
                  <a:cubicBezTo>
                    <a:pt x="231171" y="361714"/>
                    <a:pt x="223012" y="361714"/>
                    <a:pt x="217573" y="361714"/>
                  </a:cubicBezTo>
                  <a:cubicBezTo>
                    <a:pt x="212134" y="361714"/>
                    <a:pt x="206694" y="361714"/>
                    <a:pt x="201255" y="361714"/>
                  </a:cubicBezTo>
                  <a:cubicBezTo>
                    <a:pt x="198535" y="361714"/>
                    <a:pt x="198535" y="364434"/>
                    <a:pt x="198535" y="367154"/>
                  </a:cubicBezTo>
                  <a:cubicBezTo>
                    <a:pt x="198535" y="375313"/>
                    <a:pt x="201255" y="386191"/>
                    <a:pt x="201255" y="388911"/>
                  </a:cubicBezTo>
                  <a:cubicBezTo>
                    <a:pt x="201255" y="402509"/>
                    <a:pt x="198535" y="413388"/>
                    <a:pt x="198535" y="426986"/>
                  </a:cubicBezTo>
                  <a:cubicBezTo>
                    <a:pt x="198535" y="446024"/>
                    <a:pt x="203975" y="456902"/>
                    <a:pt x="203975" y="478660"/>
                  </a:cubicBezTo>
                  <a:cubicBezTo>
                    <a:pt x="203975" y="503136"/>
                    <a:pt x="201255" y="527613"/>
                    <a:pt x="198535" y="552090"/>
                  </a:cubicBezTo>
                  <a:cubicBezTo>
                    <a:pt x="198535" y="560249"/>
                    <a:pt x="195816" y="568408"/>
                    <a:pt x="195816" y="576567"/>
                  </a:cubicBezTo>
                  <a:cubicBezTo>
                    <a:pt x="195816" y="582006"/>
                    <a:pt x="195816" y="587446"/>
                    <a:pt x="198535" y="592885"/>
                  </a:cubicBezTo>
                  <a:cubicBezTo>
                    <a:pt x="212134" y="592885"/>
                    <a:pt x="225732" y="592885"/>
                    <a:pt x="233891" y="592885"/>
                  </a:cubicBezTo>
                  <a:cubicBezTo>
                    <a:pt x="247489" y="592885"/>
                    <a:pt x="271966" y="592885"/>
                    <a:pt x="271966" y="611923"/>
                  </a:cubicBezTo>
                  <a:cubicBezTo>
                    <a:pt x="271966" y="620082"/>
                    <a:pt x="269246" y="622801"/>
                    <a:pt x="266527" y="628241"/>
                  </a:cubicBezTo>
                  <a:cubicBezTo>
                    <a:pt x="261087" y="633680"/>
                    <a:pt x="255648" y="636400"/>
                    <a:pt x="250209" y="636400"/>
                  </a:cubicBezTo>
                  <a:cubicBezTo>
                    <a:pt x="239330" y="639119"/>
                    <a:pt x="233891" y="639119"/>
                    <a:pt x="228451" y="639119"/>
                  </a:cubicBezTo>
                  <a:cubicBezTo>
                    <a:pt x="223012" y="639119"/>
                    <a:pt x="206694" y="639119"/>
                    <a:pt x="187657" y="639119"/>
                  </a:cubicBezTo>
                  <a:cubicBezTo>
                    <a:pt x="176778" y="647278"/>
                    <a:pt x="163180" y="649998"/>
                    <a:pt x="152301" y="652717"/>
                  </a:cubicBezTo>
                  <a:cubicBezTo>
                    <a:pt x="146862" y="652717"/>
                    <a:pt x="138703" y="655437"/>
                    <a:pt x="133263" y="655437"/>
                  </a:cubicBezTo>
                  <a:cubicBezTo>
                    <a:pt x="130544" y="655437"/>
                    <a:pt x="125104" y="655437"/>
                    <a:pt x="122385" y="652717"/>
                  </a:cubicBezTo>
                  <a:cubicBezTo>
                    <a:pt x="114226" y="649998"/>
                    <a:pt x="103347" y="644559"/>
                    <a:pt x="97908" y="639119"/>
                  </a:cubicBezTo>
                  <a:cubicBezTo>
                    <a:pt x="87029" y="639119"/>
                    <a:pt x="78870" y="639119"/>
                    <a:pt x="70711" y="639119"/>
                  </a:cubicBezTo>
                  <a:cubicBezTo>
                    <a:pt x="62552" y="639119"/>
                    <a:pt x="54393" y="639119"/>
                    <a:pt x="46234" y="639119"/>
                  </a:cubicBezTo>
                  <a:cubicBezTo>
                    <a:pt x="38075" y="639119"/>
                    <a:pt x="27197" y="633680"/>
                    <a:pt x="19038" y="630960"/>
                  </a:cubicBezTo>
                  <a:cubicBezTo>
                    <a:pt x="10879" y="628241"/>
                    <a:pt x="2720" y="620082"/>
                    <a:pt x="2720" y="614642"/>
                  </a:cubicBezTo>
                  <a:cubicBezTo>
                    <a:pt x="2720" y="611923"/>
                    <a:pt x="2720" y="609203"/>
                    <a:pt x="8159" y="606483"/>
                  </a:cubicBezTo>
                  <a:cubicBezTo>
                    <a:pt x="13599" y="603764"/>
                    <a:pt x="24477" y="601044"/>
                    <a:pt x="29916" y="598324"/>
                  </a:cubicBezTo>
                  <a:cubicBezTo>
                    <a:pt x="43515" y="595605"/>
                    <a:pt x="62552" y="595605"/>
                    <a:pt x="76151" y="592885"/>
                  </a:cubicBezTo>
                  <a:cubicBezTo>
                    <a:pt x="76151" y="587446"/>
                    <a:pt x="73431" y="582006"/>
                    <a:pt x="73431" y="573848"/>
                  </a:cubicBezTo>
                  <a:cubicBezTo>
                    <a:pt x="73431" y="565689"/>
                    <a:pt x="70711" y="516735"/>
                    <a:pt x="70711" y="500417"/>
                  </a:cubicBezTo>
                  <a:cubicBezTo>
                    <a:pt x="70711" y="481379"/>
                    <a:pt x="73431" y="456902"/>
                    <a:pt x="73431" y="437865"/>
                  </a:cubicBezTo>
                  <a:cubicBezTo>
                    <a:pt x="73431" y="416108"/>
                    <a:pt x="70711" y="391631"/>
                    <a:pt x="70711" y="369873"/>
                  </a:cubicBezTo>
                  <a:cubicBezTo>
                    <a:pt x="70711" y="345397"/>
                    <a:pt x="70711" y="318200"/>
                    <a:pt x="70711" y="293723"/>
                  </a:cubicBezTo>
                  <a:cubicBezTo>
                    <a:pt x="70711" y="266526"/>
                    <a:pt x="73431" y="239330"/>
                    <a:pt x="73431" y="212133"/>
                  </a:cubicBezTo>
                  <a:cubicBezTo>
                    <a:pt x="73431" y="187656"/>
                    <a:pt x="76151" y="179498"/>
                    <a:pt x="76151" y="155021"/>
                  </a:cubicBezTo>
                  <a:cubicBezTo>
                    <a:pt x="76151" y="144142"/>
                    <a:pt x="76151" y="130544"/>
                    <a:pt x="76151" y="119665"/>
                  </a:cubicBezTo>
                  <a:cubicBezTo>
                    <a:pt x="76151" y="106067"/>
                    <a:pt x="78870" y="95188"/>
                    <a:pt x="78870" y="84310"/>
                  </a:cubicBezTo>
                  <a:cubicBezTo>
                    <a:pt x="78870" y="78870"/>
                    <a:pt x="78870" y="70711"/>
                    <a:pt x="76151" y="62552"/>
                  </a:cubicBezTo>
                  <a:cubicBezTo>
                    <a:pt x="76151" y="62552"/>
                    <a:pt x="73431" y="62552"/>
                    <a:pt x="67992" y="62552"/>
                  </a:cubicBezTo>
                  <a:cubicBezTo>
                    <a:pt x="59833" y="62552"/>
                    <a:pt x="51674" y="62552"/>
                    <a:pt x="43515" y="62552"/>
                  </a:cubicBezTo>
                  <a:cubicBezTo>
                    <a:pt x="35356" y="62552"/>
                    <a:pt x="24477" y="59833"/>
                    <a:pt x="16318" y="57113"/>
                  </a:cubicBezTo>
                  <a:cubicBezTo>
                    <a:pt x="8159" y="54393"/>
                    <a:pt x="0" y="43515"/>
                    <a:pt x="0" y="40795"/>
                  </a:cubicBezTo>
                  <a:cubicBezTo>
                    <a:pt x="0" y="38075"/>
                    <a:pt x="0" y="35356"/>
                    <a:pt x="5439" y="32636"/>
                  </a:cubicBezTo>
                  <a:cubicBezTo>
                    <a:pt x="10879" y="29917"/>
                    <a:pt x="21758" y="27197"/>
                    <a:pt x="27197" y="24477"/>
                  </a:cubicBezTo>
                  <a:cubicBezTo>
                    <a:pt x="46234" y="21758"/>
                    <a:pt x="62552" y="19038"/>
                    <a:pt x="76151" y="19038"/>
                  </a:cubicBezTo>
                  <a:cubicBezTo>
                    <a:pt x="76151" y="16318"/>
                    <a:pt x="78870" y="16318"/>
                    <a:pt x="78870" y="13598"/>
                  </a:cubicBezTo>
                  <a:cubicBezTo>
                    <a:pt x="84309" y="10879"/>
                    <a:pt x="89749" y="8159"/>
                    <a:pt x="95188" y="5440"/>
                  </a:cubicBezTo>
                  <a:cubicBezTo>
                    <a:pt x="100628" y="2720"/>
                    <a:pt x="106067" y="0"/>
                    <a:pt x="111506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4" name="Freeform: Shape 53">
              <a:extLst>
                <a:ext uri="{FF2B5EF4-FFF2-40B4-BE49-F238E27FC236}">
                  <a16:creationId xmlns:a16="http://schemas.microsoft.com/office/drawing/2014/main" id="{34815080-B3AE-49B7-AE41-2545F7485078}"/>
                </a:ext>
              </a:extLst>
            </p:cNvPr>
            <p:cNvSpPr/>
            <p:nvPr/>
          </p:nvSpPr>
          <p:spPr>
            <a:xfrm>
              <a:off x="8346812" y="4186718"/>
              <a:ext cx="353556" cy="761503"/>
            </a:xfrm>
            <a:custGeom>
              <a:avLst/>
              <a:gdLst>
                <a:gd name="connsiteX0" fmla="*/ 283910 w 353555"/>
                <a:gd name="connsiteY0" fmla="*/ 672820 h 761503"/>
                <a:gd name="connsiteX1" fmla="*/ 321985 w 353555"/>
                <a:gd name="connsiteY1" fmla="*/ 689138 h 761503"/>
                <a:gd name="connsiteX2" fmla="*/ 316546 w 353555"/>
                <a:gd name="connsiteY2" fmla="*/ 705456 h 761503"/>
                <a:gd name="connsiteX3" fmla="*/ 300228 w 353555"/>
                <a:gd name="connsiteY3" fmla="*/ 713615 h 761503"/>
                <a:gd name="connsiteX4" fmla="*/ 278471 w 353555"/>
                <a:gd name="connsiteY4" fmla="*/ 716335 h 761503"/>
                <a:gd name="connsiteX5" fmla="*/ 237676 w 353555"/>
                <a:gd name="connsiteY5" fmla="*/ 716335 h 761503"/>
                <a:gd name="connsiteX6" fmla="*/ 180563 w 353555"/>
                <a:gd name="connsiteY6" fmla="*/ 719054 h 761503"/>
                <a:gd name="connsiteX7" fmla="*/ 126170 w 353555"/>
                <a:gd name="connsiteY7" fmla="*/ 719054 h 761503"/>
                <a:gd name="connsiteX8" fmla="*/ 101693 w 353555"/>
                <a:gd name="connsiteY8" fmla="*/ 719054 h 761503"/>
                <a:gd name="connsiteX9" fmla="*/ 74496 w 353555"/>
                <a:gd name="connsiteY9" fmla="*/ 713615 h 761503"/>
                <a:gd name="connsiteX10" fmla="*/ 58178 w 353555"/>
                <a:gd name="connsiteY10" fmla="*/ 697297 h 761503"/>
                <a:gd name="connsiteX11" fmla="*/ 63618 w 353555"/>
                <a:gd name="connsiteY11" fmla="*/ 689138 h 761503"/>
                <a:gd name="connsiteX12" fmla="*/ 85375 w 353555"/>
                <a:gd name="connsiteY12" fmla="*/ 680979 h 761503"/>
                <a:gd name="connsiteX13" fmla="*/ 131609 w 353555"/>
                <a:gd name="connsiteY13" fmla="*/ 675540 h 761503"/>
                <a:gd name="connsiteX14" fmla="*/ 142488 w 353555"/>
                <a:gd name="connsiteY14" fmla="*/ 675540 h 761503"/>
                <a:gd name="connsiteX15" fmla="*/ 131609 w 353555"/>
                <a:gd name="connsiteY15" fmla="*/ 653783 h 761503"/>
                <a:gd name="connsiteX16" fmla="*/ 128890 w 353555"/>
                <a:gd name="connsiteY16" fmla="*/ 640184 h 761503"/>
                <a:gd name="connsiteX17" fmla="*/ 128890 w 353555"/>
                <a:gd name="connsiteY17" fmla="*/ 629306 h 761503"/>
                <a:gd name="connsiteX18" fmla="*/ 128890 w 353555"/>
                <a:gd name="connsiteY18" fmla="*/ 621147 h 761503"/>
                <a:gd name="connsiteX19" fmla="*/ 128890 w 353555"/>
                <a:gd name="connsiteY19" fmla="*/ 593950 h 761503"/>
                <a:gd name="connsiteX20" fmla="*/ 128890 w 353555"/>
                <a:gd name="connsiteY20" fmla="*/ 583072 h 761503"/>
                <a:gd name="connsiteX21" fmla="*/ 128890 w 353555"/>
                <a:gd name="connsiteY21" fmla="*/ 436210 h 761503"/>
                <a:gd name="connsiteX22" fmla="*/ 128890 w 353555"/>
                <a:gd name="connsiteY22" fmla="*/ 357340 h 761503"/>
                <a:gd name="connsiteX23" fmla="*/ 131609 w 353555"/>
                <a:gd name="connsiteY23" fmla="*/ 289349 h 761503"/>
                <a:gd name="connsiteX24" fmla="*/ 131609 w 353555"/>
                <a:gd name="connsiteY24" fmla="*/ 251274 h 761503"/>
                <a:gd name="connsiteX25" fmla="*/ 131609 w 353555"/>
                <a:gd name="connsiteY25" fmla="*/ 205040 h 761503"/>
                <a:gd name="connsiteX26" fmla="*/ 131609 w 353555"/>
                <a:gd name="connsiteY26" fmla="*/ 139768 h 761503"/>
                <a:gd name="connsiteX27" fmla="*/ 131609 w 353555"/>
                <a:gd name="connsiteY27" fmla="*/ 128889 h 761503"/>
                <a:gd name="connsiteX28" fmla="*/ 126170 w 353555"/>
                <a:gd name="connsiteY28" fmla="*/ 128889 h 761503"/>
                <a:gd name="connsiteX29" fmla="*/ 101693 w 353555"/>
                <a:gd name="connsiteY29" fmla="*/ 128889 h 761503"/>
                <a:gd name="connsiteX30" fmla="*/ 74496 w 353555"/>
                <a:gd name="connsiteY30" fmla="*/ 123450 h 761503"/>
                <a:gd name="connsiteX31" fmla="*/ 58178 w 353555"/>
                <a:gd name="connsiteY31" fmla="*/ 107132 h 761503"/>
                <a:gd name="connsiteX32" fmla="*/ 60898 w 353555"/>
                <a:gd name="connsiteY32" fmla="*/ 98973 h 761503"/>
                <a:gd name="connsiteX33" fmla="*/ 82655 w 353555"/>
                <a:gd name="connsiteY33" fmla="*/ 93534 h 761503"/>
                <a:gd name="connsiteX34" fmla="*/ 131609 w 353555"/>
                <a:gd name="connsiteY34" fmla="*/ 88094 h 761503"/>
                <a:gd name="connsiteX35" fmla="*/ 131609 w 353555"/>
                <a:gd name="connsiteY35" fmla="*/ 82655 h 761503"/>
                <a:gd name="connsiteX36" fmla="*/ 134329 w 353555"/>
                <a:gd name="connsiteY36" fmla="*/ 71776 h 761503"/>
                <a:gd name="connsiteX37" fmla="*/ 147927 w 353555"/>
                <a:gd name="connsiteY37" fmla="*/ 63617 h 761503"/>
                <a:gd name="connsiteX38" fmla="*/ 164245 w 353555"/>
                <a:gd name="connsiteY38" fmla="*/ 58178 h 761503"/>
                <a:gd name="connsiteX39" fmla="*/ 177843 w 353555"/>
                <a:gd name="connsiteY39" fmla="*/ 58178 h 761503"/>
                <a:gd name="connsiteX40" fmla="*/ 196881 w 353555"/>
                <a:gd name="connsiteY40" fmla="*/ 60898 h 761503"/>
                <a:gd name="connsiteX41" fmla="*/ 232237 w 353555"/>
                <a:gd name="connsiteY41" fmla="*/ 88094 h 761503"/>
                <a:gd name="connsiteX42" fmla="*/ 278471 w 353555"/>
                <a:gd name="connsiteY42" fmla="*/ 88094 h 761503"/>
                <a:gd name="connsiteX43" fmla="*/ 316546 w 353555"/>
                <a:gd name="connsiteY43" fmla="*/ 104412 h 761503"/>
                <a:gd name="connsiteX44" fmla="*/ 311107 w 353555"/>
                <a:gd name="connsiteY44" fmla="*/ 120730 h 761503"/>
                <a:gd name="connsiteX45" fmla="*/ 294789 w 353555"/>
                <a:gd name="connsiteY45" fmla="*/ 128889 h 761503"/>
                <a:gd name="connsiteX46" fmla="*/ 273032 w 353555"/>
                <a:gd name="connsiteY46" fmla="*/ 131609 h 761503"/>
                <a:gd name="connsiteX47" fmla="*/ 243115 w 353555"/>
                <a:gd name="connsiteY47" fmla="*/ 131609 h 761503"/>
                <a:gd name="connsiteX48" fmla="*/ 243115 w 353555"/>
                <a:gd name="connsiteY48" fmla="*/ 134329 h 761503"/>
                <a:gd name="connsiteX49" fmla="*/ 248554 w 353555"/>
                <a:gd name="connsiteY49" fmla="*/ 169684 h 761503"/>
                <a:gd name="connsiteX50" fmla="*/ 251274 w 353555"/>
                <a:gd name="connsiteY50" fmla="*/ 205040 h 761503"/>
                <a:gd name="connsiteX51" fmla="*/ 251274 w 353555"/>
                <a:gd name="connsiteY51" fmla="*/ 240395 h 761503"/>
                <a:gd name="connsiteX52" fmla="*/ 251274 w 353555"/>
                <a:gd name="connsiteY52" fmla="*/ 256713 h 761503"/>
                <a:gd name="connsiteX53" fmla="*/ 253994 w 353555"/>
                <a:gd name="connsiteY53" fmla="*/ 270311 h 761503"/>
                <a:gd name="connsiteX54" fmla="*/ 259433 w 353555"/>
                <a:gd name="connsiteY54" fmla="*/ 343742 h 761503"/>
                <a:gd name="connsiteX55" fmla="*/ 262153 w 353555"/>
                <a:gd name="connsiteY55" fmla="*/ 425332 h 761503"/>
                <a:gd name="connsiteX56" fmla="*/ 264872 w 353555"/>
                <a:gd name="connsiteY56" fmla="*/ 490603 h 761503"/>
                <a:gd name="connsiteX57" fmla="*/ 270312 w 353555"/>
                <a:gd name="connsiteY57" fmla="*/ 564034 h 761503"/>
                <a:gd name="connsiteX58" fmla="*/ 270312 w 353555"/>
                <a:gd name="connsiteY58" fmla="*/ 599390 h 761503"/>
                <a:gd name="connsiteX59" fmla="*/ 270312 w 353555"/>
                <a:gd name="connsiteY59" fmla="*/ 637465 h 761503"/>
                <a:gd name="connsiteX60" fmla="*/ 264872 w 353555"/>
                <a:gd name="connsiteY60" fmla="*/ 670101 h 761503"/>
                <a:gd name="connsiteX61" fmla="*/ 283910 w 353555"/>
                <a:gd name="connsiteY61" fmla="*/ 672820 h 761503"/>
                <a:gd name="connsiteX62" fmla="*/ 283910 w 353555"/>
                <a:gd name="connsiteY62" fmla="*/ 672820 h 761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</a:cxnLst>
              <a:rect l="l" t="t" r="r" b="b"/>
              <a:pathLst>
                <a:path w="353555" h="761503">
                  <a:moveTo>
                    <a:pt x="283910" y="672820"/>
                  </a:moveTo>
                  <a:cubicBezTo>
                    <a:pt x="297508" y="672820"/>
                    <a:pt x="321985" y="672820"/>
                    <a:pt x="321985" y="689138"/>
                  </a:cubicBezTo>
                  <a:cubicBezTo>
                    <a:pt x="321985" y="697297"/>
                    <a:pt x="319266" y="697297"/>
                    <a:pt x="316546" y="705456"/>
                  </a:cubicBezTo>
                  <a:cubicBezTo>
                    <a:pt x="311107" y="710895"/>
                    <a:pt x="305667" y="713615"/>
                    <a:pt x="300228" y="713615"/>
                  </a:cubicBezTo>
                  <a:cubicBezTo>
                    <a:pt x="292069" y="716335"/>
                    <a:pt x="283910" y="716335"/>
                    <a:pt x="278471" y="716335"/>
                  </a:cubicBezTo>
                  <a:cubicBezTo>
                    <a:pt x="275751" y="716335"/>
                    <a:pt x="256713" y="716335"/>
                    <a:pt x="237676" y="716335"/>
                  </a:cubicBezTo>
                  <a:cubicBezTo>
                    <a:pt x="213199" y="716335"/>
                    <a:pt x="186003" y="719054"/>
                    <a:pt x="180563" y="719054"/>
                  </a:cubicBezTo>
                  <a:cubicBezTo>
                    <a:pt x="166965" y="719054"/>
                    <a:pt x="142488" y="719054"/>
                    <a:pt x="126170" y="719054"/>
                  </a:cubicBezTo>
                  <a:cubicBezTo>
                    <a:pt x="118011" y="719054"/>
                    <a:pt x="109852" y="719054"/>
                    <a:pt x="101693" y="719054"/>
                  </a:cubicBezTo>
                  <a:cubicBezTo>
                    <a:pt x="93534" y="719054"/>
                    <a:pt x="82655" y="719054"/>
                    <a:pt x="74496" y="713615"/>
                  </a:cubicBezTo>
                  <a:cubicBezTo>
                    <a:pt x="66337" y="710895"/>
                    <a:pt x="58178" y="702736"/>
                    <a:pt x="58178" y="697297"/>
                  </a:cubicBezTo>
                  <a:cubicBezTo>
                    <a:pt x="58178" y="694578"/>
                    <a:pt x="58178" y="691858"/>
                    <a:pt x="63618" y="689138"/>
                  </a:cubicBezTo>
                  <a:cubicBezTo>
                    <a:pt x="69057" y="686418"/>
                    <a:pt x="79936" y="683699"/>
                    <a:pt x="85375" y="680979"/>
                  </a:cubicBezTo>
                  <a:cubicBezTo>
                    <a:pt x="104413" y="678260"/>
                    <a:pt x="123450" y="675540"/>
                    <a:pt x="131609" y="675540"/>
                  </a:cubicBezTo>
                  <a:cubicBezTo>
                    <a:pt x="134329" y="675540"/>
                    <a:pt x="137049" y="675540"/>
                    <a:pt x="142488" y="675540"/>
                  </a:cubicBezTo>
                  <a:cubicBezTo>
                    <a:pt x="134329" y="670101"/>
                    <a:pt x="131609" y="661942"/>
                    <a:pt x="131609" y="653783"/>
                  </a:cubicBezTo>
                  <a:cubicBezTo>
                    <a:pt x="131609" y="648343"/>
                    <a:pt x="131609" y="642904"/>
                    <a:pt x="128890" y="640184"/>
                  </a:cubicBezTo>
                  <a:cubicBezTo>
                    <a:pt x="128890" y="637465"/>
                    <a:pt x="128890" y="634745"/>
                    <a:pt x="128890" y="629306"/>
                  </a:cubicBezTo>
                  <a:cubicBezTo>
                    <a:pt x="128890" y="626586"/>
                    <a:pt x="128890" y="623867"/>
                    <a:pt x="128890" y="621147"/>
                  </a:cubicBezTo>
                  <a:cubicBezTo>
                    <a:pt x="128890" y="612988"/>
                    <a:pt x="128890" y="604829"/>
                    <a:pt x="128890" y="593950"/>
                  </a:cubicBezTo>
                  <a:cubicBezTo>
                    <a:pt x="128890" y="591231"/>
                    <a:pt x="128890" y="585791"/>
                    <a:pt x="128890" y="583072"/>
                  </a:cubicBezTo>
                  <a:cubicBezTo>
                    <a:pt x="128890" y="534118"/>
                    <a:pt x="131609" y="485164"/>
                    <a:pt x="128890" y="436210"/>
                  </a:cubicBezTo>
                  <a:cubicBezTo>
                    <a:pt x="128890" y="409014"/>
                    <a:pt x="128890" y="384537"/>
                    <a:pt x="128890" y="357340"/>
                  </a:cubicBezTo>
                  <a:cubicBezTo>
                    <a:pt x="128890" y="335583"/>
                    <a:pt x="131609" y="313826"/>
                    <a:pt x="131609" y="289349"/>
                  </a:cubicBezTo>
                  <a:cubicBezTo>
                    <a:pt x="131609" y="275751"/>
                    <a:pt x="131609" y="264872"/>
                    <a:pt x="131609" y="251274"/>
                  </a:cubicBezTo>
                  <a:cubicBezTo>
                    <a:pt x="131609" y="234956"/>
                    <a:pt x="131609" y="221357"/>
                    <a:pt x="131609" y="205040"/>
                  </a:cubicBezTo>
                  <a:cubicBezTo>
                    <a:pt x="131609" y="183282"/>
                    <a:pt x="131609" y="161525"/>
                    <a:pt x="131609" y="139768"/>
                  </a:cubicBezTo>
                  <a:cubicBezTo>
                    <a:pt x="131609" y="137048"/>
                    <a:pt x="131609" y="134329"/>
                    <a:pt x="131609" y="128889"/>
                  </a:cubicBezTo>
                  <a:cubicBezTo>
                    <a:pt x="128890" y="128889"/>
                    <a:pt x="126170" y="128889"/>
                    <a:pt x="126170" y="128889"/>
                  </a:cubicBezTo>
                  <a:cubicBezTo>
                    <a:pt x="118011" y="128889"/>
                    <a:pt x="109852" y="128889"/>
                    <a:pt x="101693" y="128889"/>
                  </a:cubicBezTo>
                  <a:cubicBezTo>
                    <a:pt x="93534" y="128889"/>
                    <a:pt x="82655" y="128889"/>
                    <a:pt x="74496" y="123450"/>
                  </a:cubicBezTo>
                  <a:cubicBezTo>
                    <a:pt x="66337" y="120730"/>
                    <a:pt x="58178" y="112571"/>
                    <a:pt x="58178" y="107132"/>
                  </a:cubicBezTo>
                  <a:cubicBezTo>
                    <a:pt x="58178" y="104412"/>
                    <a:pt x="58178" y="101693"/>
                    <a:pt x="60898" y="98973"/>
                  </a:cubicBezTo>
                  <a:cubicBezTo>
                    <a:pt x="63618" y="96253"/>
                    <a:pt x="77216" y="93534"/>
                    <a:pt x="82655" y="93534"/>
                  </a:cubicBezTo>
                  <a:cubicBezTo>
                    <a:pt x="98973" y="90814"/>
                    <a:pt x="123450" y="88094"/>
                    <a:pt x="131609" y="88094"/>
                  </a:cubicBezTo>
                  <a:cubicBezTo>
                    <a:pt x="131609" y="85375"/>
                    <a:pt x="131609" y="85375"/>
                    <a:pt x="131609" y="82655"/>
                  </a:cubicBezTo>
                  <a:cubicBezTo>
                    <a:pt x="131609" y="77216"/>
                    <a:pt x="131609" y="74496"/>
                    <a:pt x="134329" y="71776"/>
                  </a:cubicBezTo>
                  <a:cubicBezTo>
                    <a:pt x="137049" y="69057"/>
                    <a:pt x="145208" y="66337"/>
                    <a:pt x="147927" y="63617"/>
                  </a:cubicBezTo>
                  <a:cubicBezTo>
                    <a:pt x="153366" y="60898"/>
                    <a:pt x="158806" y="58178"/>
                    <a:pt x="164245" y="58178"/>
                  </a:cubicBezTo>
                  <a:cubicBezTo>
                    <a:pt x="169684" y="58178"/>
                    <a:pt x="175124" y="58178"/>
                    <a:pt x="177843" y="58178"/>
                  </a:cubicBezTo>
                  <a:cubicBezTo>
                    <a:pt x="183283" y="58178"/>
                    <a:pt x="191442" y="58178"/>
                    <a:pt x="196881" y="60898"/>
                  </a:cubicBezTo>
                  <a:cubicBezTo>
                    <a:pt x="213199" y="63617"/>
                    <a:pt x="224078" y="74496"/>
                    <a:pt x="232237" y="88094"/>
                  </a:cubicBezTo>
                  <a:cubicBezTo>
                    <a:pt x="253994" y="88094"/>
                    <a:pt x="270312" y="88094"/>
                    <a:pt x="278471" y="88094"/>
                  </a:cubicBezTo>
                  <a:cubicBezTo>
                    <a:pt x="292069" y="88094"/>
                    <a:pt x="316546" y="88094"/>
                    <a:pt x="316546" y="104412"/>
                  </a:cubicBezTo>
                  <a:cubicBezTo>
                    <a:pt x="316546" y="112571"/>
                    <a:pt x="313826" y="112571"/>
                    <a:pt x="311107" y="120730"/>
                  </a:cubicBezTo>
                  <a:cubicBezTo>
                    <a:pt x="305667" y="126170"/>
                    <a:pt x="300228" y="128889"/>
                    <a:pt x="294789" y="128889"/>
                  </a:cubicBezTo>
                  <a:cubicBezTo>
                    <a:pt x="286630" y="131609"/>
                    <a:pt x="278471" y="131609"/>
                    <a:pt x="273032" y="131609"/>
                  </a:cubicBezTo>
                  <a:cubicBezTo>
                    <a:pt x="270312" y="131609"/>
                    <a:pt x="259433" y="131609"/>
                    <a:pt x="243115" y="131609"/>
                  </a:cubicBezTo>
                  <a:lnTo>
                    <a:pt x="243115" y="134329"/>
                  </a:lnTo>
                  <a:cubicBezTo>
                    <a:pt x="245835" y="145207"/>
                    <a:pt x="245835" y="158805"/>
                    <a:pt x="248554" y="169684"/>
                  </a:cubicBezTo>
                  <a:cubicBezTo>
                    <a:pt x="251274" y="180563"/>
                    <a:pt x="251274" y="194161"/>
                    <a:pt x="251274" y="205040"/>
                  </a:cubicBezTo>
                  <a:cubicBezTo>
                    <a:pt x="251274" y="215918"/>
                    <a:pt x="251274" y="226797"/>
                    <a:pt x="251274" y="240395"/>
                  </a:cubicBezTo>
                  <a:cubicBezTo>
                    <a:pt x="251274" y="245834"/>
                    <a:pt x="251274" y="251274"/>
                    <a:pt x="251274" y="256713"/>
                  </a:cubicBezTo>
                  <a:cubicBezTo>
                    <a:pt x="251274" y="262152"/>
                    <a:pt x="251274" y="267592"/>
                    <a:pt x="253994" y="270311"/>
                  </a:cubicBezTo>
                  <a:cubicBezTo>
                    <a:pt x="256713" y="294788"/>
                    <a:pt x="256713" y="319265"/>
                    <a:pt x="259433" y="343742"/>
                  </a:cubicBezTo>
                  <a:cubicBezTo>
                    <a:pt x="259433" y="370939"/>
                    <a:pt x="262153" y="398135"/>
                    <a:pt x="262153" y="425332"/>
                  </a:cubicBezTo>
                  <a:cubicBezTo>
                    <a:pt x="262153" y="447089"/>
                    <a:pt x="262153" y="468846"/>
                    <a:pt x="264872" y="490603"/>
                  </a:cubicBezTo>
                  <a:cubicBezTo>
                    <a:pt x="264872" y="515080"/>
                    <a:pt x="270312" y="539557"/>
                    <a:pt x="270312" y="564034"/>
                  </a:cubicBezTo>
                  <a:cubicBezTo>
                    <a:pt x="270312" y="574913"/>
                    <a:pt x="270312" y="588511"/>
                    <a:pt x="270312" y="599390"/>
                  </a:cubicBezTo>
                  <a:cubicBezTo>
                    <a:pt x="270312" y="612988"/>
                    <a:pt x="270312" y="623867"/>
                    <a:pt x="270312" y="637465"/>
                  </a:cubicBezTo>
                  <a:cubicBezTo>
                    <a:pt x="270312" y="648343"/>
                    <a:pt x="270312" y="661942"/>
                    <a:pt x="264872" y="670101"/>
                  </a:cubicBezTo>
                  <a:cubicBezTo>
                    <a:pt x="273032" y="672820"/>
                    <a:pt x="278471" y="672820"/>
                    <a:pt x="283910" y="672820"/>
                  </a:cubicBezTo>
                  <a:lnTo>
                    <a:pt x="283910" y="672820"/>
                  </a:ln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5" name="Freeform: Shape 54">
              <a:extLst>
                <a:ext uri="{FF2B5EF4-FFF2-40B4-BE49-F238E27FC236}">
                  <a16:creationId xmlns:a16="http://schemas.microsoft.com/office/drawing/2014/main" id="{8F114B3A-7B5E-4A7A-BD2A-B116B303AE1B}"/>
                </a:ext>
              </a:extLst>
            </p:cNvPr>
            <p:cNvSpPr/>
            <p:nvPr/>
          </p:nvSpPr>
          <p:spPr>
            <a:xfrm>
              <a:off x="8652924" y="4192158"/>
              <a:ext cx="516735" cy="788700"/>
            </a:xfrm>
            <a:custGeom>
              <a:avLst/>
              <a:gdLst>
                <a:gd name="connsiteX0" fmla="*/ 464616 w 516735"/>
                <a:gd name="connsiteY0" fmla="*/ 436210 h 788699"/>
                <a:gd name="connsiteX1" fmla="*/ 445578 w 516735"/>
                <a:gd name="connsiteY1" fmla="*/ 455248 h 788699"/>
                <a:gd name="connsiteX2" fmla="*/ 404783 w 516735"/>
                <a:gd name="connsiteY2" fmla="*/ 466126 h 788699"/>
                <a:gd name="connsiteX3" fmla="*/ 385746 w 516735"/>
                <a:gd name="connsiteY3" fmla="*/ 479725 h 788699"/>
                <a:gd name="connsiteX4" fmla="*/ 388466 w 516735"/>
                <a:gd name="connsiteY4" fmla="*/ 512361 h 788699"/>
                <a:gd name="connsiteX5" fmla="*/ 388466 w 516735"/>
                <a:gd name="connsiteY5" fmla="*/ 544997 h 788699"/>
                <a:gd name="connsiteX6" fmla="*/ 388466 w 516735"/>
                <a:gd name="connsiteY6" fmla="*/ 566754 h 788699"/>
                <a:gd name="connsiteX7" fmla="*/ 391185 w 516735"/>
                <a:gd name="connsiteY7" fmla="*/ 632026 h 788699"/>
                <a:gd name="connsiteX8" fmla="*/ 393905 w 516735"/>
                <a:gd name="connsiteY8" fmla="*/ 683699 h 788699"/>
                <a:gd name="connsiteX9" fmla="*/ 377587 w 516735"/>
                <a:gd name="connsiteY9" fmla="*/ 724494 h 788699"/>
                <a:gd name="connsiteX10" fmla="*/ 361269 w 516735"/>
                <a:gd name="connsiteY10" fmla="*/ 719054 h 788699"/>
                <a:gd name="connsiteX11" fmla="*/ 353110 w 516735"/>
                <a:gd name="connsiteY11" fmla="*/ 702737 h 788699"/>
                <a:gd name="connsiteX12" fmla="*/ 350390 w 516735"/>
                <a:gd name="connsiteY12" fmla="*/ 686419 h 788699"/>
                <a:gd name="connsiteX13" fmla="*/ 353110 w 516735"/>
                <a:gd name="connsiteY13" fmla="*/ 659222 h 788699"/>
                <a:gd name="connsiteX14" fmla="*/ 353110 w 516735"/>
                <a:gd name="connsiteY14" fmla="*/ 656502 h 788699"/>
                <a:gd name="connsiteX15" fmla="*/ 317754 w 516735"/>
                <a:gd name="connsiteY15" fmla="*/ 708176 h 788699"/>
                <a:gd name="connsiteX16" fmla="*/ 241604 w 516735"/>
                <a:gd name="connsiteY16" fmla="*/ 735372 h 788699"/>
                <a:gd name="connsiteX17" fmla="*/ 187211 w 516735"/>
                <a:gd name="connsiteY17" fmla="*/ 727214 h 788699"/>
                <a:gd name="connsiteX18" fmla="*/ 135537 w 516735"/>
                <a:gd name="connsiteY18" fmla="*/ 694578 h 788699"/>
                <a:gd name="connsiteX19" fmla="*/ 86583 w 516735"/>
                <a:gd name="connsiteY19" fmla="*/ 621147 h 788699"/>
                <a:gd name="connsiteX20" fmla="*/ 67546 w 516735"/>
                <a:gd name="connsiteY20" fmla="*/ 555875 h 788699"/>
                <a:gd name="connsiteX21" fmla="*/ 59387 w 516735"/>
                <a:gd name="connsiteY21" fmla="*/ 509641 h 788699"/>
                <a:gd name="connsiteX22" fmla="*/ 59387 w 516735"/>
                <a:gd name="connsiteY22" fmla="*/ 468846 h 788699"/>
                <a:gd name="connsiteX23" fmla="*/ 86583 w 516735"/>
                <a:gd name="connsiteY23" fmla="*/ 302947 h 788699"/>
                <a:gd name="connsiteX24" fmla="*/ 108341 w 516735"/>
                <a:gd name="connsiteY24" fmla="*/ 224077 h 788699"/>
                <a:gd name="connsiteX25" fmla="*/ 146416 w 516735"/>
                <a:gd name="connsiteY25" fmla="*/ 145207 h 788699"/>
                <a:gd name="connsiteX26" fmla="*/ 198090 w 516735"/>
                <a:gd name="connsiteY26" fmla="*/ 85375 h 788699"/>
                <a:gd name="connsiteX27" fmla="*/ 228006 w 516735"/>
                <a:gd name="connsiteY27" fmla="*/ 69057 h 788699"/>
                <a:gd name="connsiteX28" fmla="*/ 268801 w 516735"/>
                <a:gd name="connsiteY28" fmla="*/ 58178 h 788699"/>
                <a:gd name="connsiteX29" fmla="*/ 274240 w 516735"/>
                <a:gd name="connsiteY29" fmla="*/ 58178 h 788699"/>
                <a:gd name="connsiteX30" fmla="*/ 295997 w 516735"/>
                <a:gd name="connsiteY30" fmla="*/ 60898 h 788699"/>
                <a:gd name="connsiteX31" fmla="*/ 331353 w 516735"/>
                <a:gd name="connsiteY31" fmla="*/ 71776 h 788699"/>
                <a:gd name="connsiteX32" fmla="*/ 350390 w 516735"/>
                <a:gd name="connsiteY32" fmla="*/ 93534 h 788699"/>
                <a:gd name="connsiteX33" fmla="*/ 353110 w 516735"/>
                <a:gd name="connsiteY33" fmla="*/ 74496 h 788699"/>
                <a:gd name="connsiteX34" fmla="*/ 358549 w 516735"/>
                <a:gd name="connsiteY34" fmla="*/ 63618 h 788699"/>
                <a:gd name="connsiteX35" fmla="*/ 366708 w 516735"/>
                <a:gd name="connsiteY35" fmla="*/ 58178 h 788699"/>
                <a:gd name="connsiteX36" fmla="*/ 374867 w 516735"/>
                <a:gd name="connsiteY36" fmla="*/ 63618 h 788699"/>
                <a:gd name="connsiteX37" fmla="*/ 383027 w 516735"/>
                <a:gd name="connsiteY37" fmla="*/ 82655 h 788699"/>
                <a:gd name="connsiteX38" fmla="*/ 385746 w 516735"/>
                <a:gd name="connsiteY38" fmla="*/ 126170 h 788699"/>
                <a:gd name="connsiteX39" fmla="*/ 388466 w 516735"/>
                <a:gd name="connsiteY39" fmla="*/ 186002 h 788699"/>
                <a:gd name="connsiteX40" fmla="*/ 391185 w 516735"/>
                <a:gd name="connsiteY40" fmla="*/ 237676 h 788699"/>
                <a:gd name="connsiteX41" fmla="*/ 374867 w 516735"/>
                <a:gd name="connsiteY41" fmla="*/ 278470 h 788699"/>
                <a:gd name="connsiteX42" fmla="*/ 358549 w 516735"/>
                <a:gd name="connsiteY42" fmla="*/ 273031 h 788699"/>
                <a:gd name="connsiteX43" fmla="*/ 350390 w 516735"/>
                <a:gd name="connsiteY43" fmla="*/ 256713 h 788699"/>
                <a:gd name="connsiteX44" fmla="*/ 347671 w 516735"/>
                <a:gd name="connsiteY44" fmla="*/ 240395 h 788699"/>
                <a:gd name="connsiteX45" fmla="*/ 347671 w 516735"/>
                <a:gd name="connsiteY45" fmla="*/ 213199 h 788699"/>
                <a:gd name="connsiteX46" fmla="*/ 344951 w 516735"/>
                <a:gd name="connsiteY46" fmla="*/ 194161 h 788699"/>
                <a:gd name="connsiteX47" fmla="*/ 339512 w 516735"/>
                <a:gd name="connsiteY47" fmla="*/ 150647 h 788699"/>
                <a:gd name="connsiteX48" fmla="*/ 323194 w 516735"/>
                <a:gd name="connsiteY48" fmla="*/ 112571 h 788699"/>
                <a:gd name="connsiteX49" fmla="*/ 293278 w 516735"/>
                <a:gd name="connsiteY49" fmla="*/ 101693 h 788699"/>
                <a:gd name="connsiteX50" fmla="*/ 263361 w 516735"/>
                <a:gd name="connsiteY50" fmla="*/ 120730 h 788699"/>
                <a:gd name="connsiteX51" fmla="*/ 241604 w 516735"/>
                <a:gd name="connsiteY51" fmla="*/ 153366 h 788699"/>
                <a:gd name="connsiteX52" fmla="*/ 233445 w 516735"/>
                <a:gd name="connsiteY52" fmla="*/ 194161 h 788699"/>
                <a:gd name="connsiteX53" fmla="*/ 225286 w 516735"/>
                <a:gd name="connsiteY53" fmla="*/ 232236 h 788699"/>
                <a:gd name="connsiteX54" fmla="*/ 217127 w 516735"/>
                <a:gd name="connsiteY54" fmla="*/ 275751 h 788699"/>
                <a:gd name="connsiteX55" fmla="*/ 211688 w 516735"/>
                <a:gd name="connsiteY55" fmla="*/ 316545 h 788699"/>
                <a:gd name="connsiteX56" fmla="*/ 206249 w 516735"/>
                <a:gd name="connsiteY56" fmla="*/ 354621 h 788699"/>
                <a:gd name="connsiteX57" fmla="*/ 200809 w 516735"/>
                <a:gd name="connsiteY57" fmla="*/ 398135 h 788699"/>
                <a:gd name="connsiteX58" fmla="*/ 195370 w 516735"/>
                <a:gd name="connsiteY58" fmla="*/ 438930 h 788699"/>
                <a:gd name="connsiteX59" fmla="*/ 192650 w 516735"/>
                <a:gd name="connsiteY59" fmla="*/ 474286 h 788699"/>
                <a:gd name="connsiteX60" fmla="*/ 195370 w 516735"/>
                <a:gd name="connsiteY60" fmla="*/ 525959 h 788699"/>
                <a:gd name="connsiteX61" fmla="*/ 208968 w 516735"/>
                <a:gd name="connsiteY61" fmla="*/ 596670 h 788699"/>
                <a:gd name="connsiteX62" fmla="*/ 214407 w 516735"/>
                <a:gd name="connsiteY62" fmla="*/ 623867 h 788699"/>
                <a:gd name="connsiteX63" fmla="*/ 228006 w 516735"/>
                <a:gd name="connsiteY63" fmla="*/ 656502 h 788699"/>
                <a:gd name="connsiteX64" fmla="*/ 271520 w 516735"/>
                <a:gd name="connsiteY64" fmla="*/ 689138 h 788699"/>
                <a:gd name="connsiteX65" fmla="*/ 306876 w 516735"/>
                <a:gd name="connsiteY65" fmla="*/ 664661 h 788699"/>
                <a:gd name="connsiteX66" fmla="*/ 331353 w 516735"/>
                <a:gd name="connsiteY66" fmla="*/ 602109 h 788699"/>
                <a:gd name="connsiteX67" fmla="*/ 336792 w 516735"/>
                <a:gd name="connsiteY67" fmla="*/ 544997 h 788699"/>
                <a:gd name="connsiteX68" fmla="*/ 336792 w 516735"/>
                <a:gd name="connsiteY68" fmla="*/ 498762 h 788699"/>
                <a:gd name="connsiteX69" fmla="*/ 336792 w 516735"/>
                <a:gd name="connsiteY69" fmla="*/ 490603 h 788699"/>
                <a:gd name="connsiteX70" fmla="*/ 320474 w 516735"/>
                <a:gd name="connsiteY70" fmla="*/ 477005 h 788699"/>
                <a:gd name="connsiteX71" fmla="*/ 282399 w 516735"/>
                <a:gd name="connsiteY71" fmla="*/ 479725 h 788699"/>
                <a:gd name="connsiteX72" fmla="*/ 252483 w 516735"/>
                <a:gd name="connsiteY72" fmla="*/ 474286 h 788699"/>
                <a:gd name="connsiteX73" fmla="*/ 247044 w 516735"/>
                <a:gd name="connsiteY73" fmla="*/ 466126 h 788699"/>
                <a:gd name="connsiteX74" fmla="*/ 249763 w 516735"/>
                <a:gd name="connsiteY74" fmla="*/ 457968 h 788699"/>
                <a:gd name="connsiteX75" fmla="*/ 268801 w 516735"/>
                <a:gd name="connsiteY75" fmla="*/ 447089 h 788699"/>
                <a:gd name="connsiteX76" fmla="*/ 312315 w 516735"/>
                <a:gd name="connsiteY76" fmla="*/ 436210 h 788699"/>
                <a:gd name="connsiteX77" fmla="*/ 353110 w 516735"/>
                <a:gd name="connsiteY77" fmla="*/ 430771 h 788699"/>
                <a:gd name="connsiteX78" fmla="*/ 385746 w 516735"/>
                <a:gd name="connsiteY78" fmla="*/ 430771 h 788699"/>
                <a:gd name="connsiteX79" fmla="*/ 437420 w 516735"/>
                <a:gd name="connsiteY79" fmla="*/ 428051 h 788699"/>
                <a:gd name="connsiteX80" fmla="*/ 464616 w 516735"/>
                <a:gd name="connsiteY80" fmla="*/ 436210 h 7886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</a:cxnLst>
              <a:rect l="l" t="t" r="r" b="b"/>
              <a:pathLst>
                <a:path w="516735" h="788699">
                  <a:moveTo>
                    <a:pt x="464616" y="436210"/>
                  </a:moveTo>
                  <a:cubicBezTo>
                    <a:pt x="464616" y="447089"/>
                    <a:pt x="453738" y="452528"/>
                    <a:pt x="445578" y="455248"/>
                  </a:cubicBezTo>
                  <a:cubicBezTo>
                    <a:pt x="434700" y="460687"/>
                    <a:pt x="415662" y="463407"/>
                    <a:pt x="404783" y="466126"/>
                  </a:cubicBezTo>
                  <a:cubicBezTo>
                    <a:pt x="393905" y="466126"/>
                    <a:pt x="385746" y="468846"/>
                    <a:pt x="385746" y="479725"/>
                  </a:cubicBezTo>
                  <a:cubicBezTo>
                    <a:pt x="385746" y="487884"/>
                    <a:pt x="388466" y="506921"/>
                    <a:pt x="388466" y="512361"/>
                  </a:cubicBezTo>
                  <a:cubicBezTo>
                    <a:pt x="388466" y="515080"/>
                    <a:pt x="388466" y="539557"/>
                    <a:pt x="388466" y="544997"/>
                  </a:cubicBezTo>
                  <a:cubicBezTo>
                    <a:pt x="388466" y="550436"/>
                    <a:pt x="388466" y="558595"/>
                    <a:pt x="388466" y="566754"/>
                  </a:cubicBezTo>
                  <a:cubicBezTo>
                    <a:pt x="388466" y="591231"/>
                    <a:pt x="388466" y="621147"/>
                    <a:pt x="391185" y="632026"/>
                  </a:cubicBezTo>
                  <a:cubicBezTo>
                    <a:pt x="393905" y="653783"/>
                    <a:pt x="393905" y="661942"/>
                    <a:pt x="393905" y="683699"/>
                  </a:cubicBezTo>
                  <a:cubicBezTo>
                    <a:pt x="393905" y="694578"/>
                    <a:pt x="393905" y="724494"/>
                    <a:pt x="377587" y="724494"/>
                  </a:cubicBezTo>
                  <a:cubicBezTo>
                    <a:pt x="369428" y="724494"/>
                    <a:pt x="366708" y="721774"/>
                    <a:pt x="361269" y="719054"/>
                  </a:cubicBezTo>
                  <a:cubicBezTo>
                    <a:pt x="355830" y="716335"/>
                    <a:pt x="353110" y="708176"/>
                    <a:pt x="353110" y="702737"/>
                  </a:cubicBezTo>
                  <a:cubicBezTo>
                    <a:pt x="350390" y="694578"/>
                    <a:pt x="350390" y="689138"/>
                    <a:pt x="350390" y="686419"/>
                  </a:cubicBezTo>
                  <a:cubicBezTo>
                    <a:pt x="350390" y="678260"/>
                    <a:pt x="353110" y="672820"/>
                    <a:pt x="353110" y="659222"/>
                  </a:cubicBezTo>
                  <a:lnTo>
                    <a:pt x="353110" y="656502"/>
                  </a:lnTo>
                  <a:cubicBezTo>
                    <a:pt x="347671" y="675540"/>
                    <a:pt x="334073" y="694578"/>
                    <a:pt x="317754" y="708176"/>
                  </a:cubicBezTo>
                  <a:cubicBezTo>
                    <a:pt x="293278" y="727214"/>
                    <a:pt x="274240" y="735372"/>
                    <a:pt x="241604" y="735372"/>
                  </a:cubicBezTo>
                  <a:cubicBezTo>
                    <a:pt x="222566" y="735372"/>
                    <a:pt x="203529" y="732653"/>
                    <a:pt x="187211" y="727214"/>
                  </a:cubicBezTo>
                  <a:cubicBezTo>
                    <a:pt x="165454" y="719054"/>
                    <a:pt x="149136" y="708176"/>
                    <a:pt x="135537" y="694578"/>
                  </a:cubicBezTo>
                  <a:cubicBezTo>
                    <a:pt x="113780" y="672820"/>
                    <a:pt x="100182" y="648343"/>
                    <a:pt x="86583" y="621147"/>
                  </a:cubicBezTo>
                  <a:cubicBezTo>
                    <a:pt x="75705" y="599390"/>
                    <a:pt x="70266" y="580352"/>
                    <a:pt x="67546" y="555875"/>
                  </a:cubicBezTo>
                  <a:cubicBezTo>
                    <a:pt x="64826" y="539557"/>
                    <a:pt x="62107" y="525959"/>
                    <a:pt x="59387" y="509641"/>
                  </a:cubicBezTo>
                  <a:cubicBezTo>
                    <a:pt x="56667" y="493323"/>
                    <a:pt x="59387" y="485164"/>
                    <a:pt x="59387" y="468846"/>
                  </a:cubicBezTo>
                  <a:cubicBezTo>
                    <a:pt x="59387" y="414453"/>
                    <a:pt x="72985" y="362780"/>
                    <a:pt x="86583" y="302947"/>
                  </a:cubicBezTo>
                  <a:cubicBezTo>
                    <a:pt x="92023" y="275751"/>
                    <a:pt x="100182" y="248554"/>
                    <a:pt x="108341" y="224077"/>
                  </a:cubicBezTo>
                  <a:cubicBezTo>
                    <a:pt x="116500" y="196881"/>
                    <a:pt x="130098" y="169684"/>
                    <a:pt x="146416" y="145207"/>
                  </a:cubicBezTo>
                  <a:cubicBezTo>
                    <a:pt x="160014" y="123450"/>
                    <a:pt x="176332" y="101693"/>
                    <a:pt x="198090" y="85375"/>
                  </a:cubicBezTo>
                  <a:cubicBezTo>
                    <a:pt x="206249" y="77216"/>
                    <a:pt x="217127" y="71776"/>
                    <a:pt x="228006" y="69057"/>
                  </a:cubicBezTo>
                  <a:cubicBezTo>
                    <a:pt x="241604" y="63618"/>
                    <a:pt x="255202" y="58178"/>
                    <a:pt x="268801" y="58178"/>
                  </a:cubicBezTo>
                  <a:cubicBezTo>
                    <a:pt x="271520" y="58178"/>
                    <a:pt x="274240" y="58178"/>
                    <a:pt x="274240" y="58178"/>
                  </a:cubicBezTo>
                  <a:cubicBezTo>
                    <a:pt x="279679" y="58178"/>
                    <a:pt x="285119" y="58178"/>
                    <a:pt x="295997" y="60898"/>
                  </a:cubicBezTo>
                  <a:cubicBezTo>
                    <a:pt x="309595" y="63618"/>
                    <a:pt x="320474" y="66337"/>
                    <a:pt x="331353" y="71776"/>
                  </a:cubicBezTo>
                  <a:cubicBezTo>
                    <a:pt x="339512" y="77216"/>
                    <a:pt x="347671" y="85375"/>
                    <a:pt x="350390" y="93534"/>
                  </a:cubicBezTo>
                  <a:cubicBezTo>
                    <a:pt x="350390" y="88095"/>
                    <a:pt x="353110" y="79936"/>
                    <a:pt x="353110" y="74496"/>
                  </a:cubicBezTo>
                  <a:cubicBezTo>
                    <a:pt x="355830" y="71776"/>
                    <a:pt x="355830" y="69057"/>
                    <a:pt x="358549" y="63618"/>
                  </a:cubicBezTo>
                  <a:cubicBezTo>
                    <a:pt x="361269" y="60898"/>
                    <a:pt x="363989" y="58178"/>
                    <a:pt x="366708" y="58178"/>
                  </a:cubicBezTo>
                  <a:cubicBezTo>
                    <a:pt x="369428" y="58178"/>
                    <a:pt x="372148" y="60898"/>
                    <a:pt x="374867" y="63618"/>
                  </a:cubicBezTo>
                  <a:cubicBezTo>
                    <a:pt x="377587" y="69057"/>
                    <a:pt x="380307" y="77216"/>
                    <a:pt x="383027" y="82655"/>
                  </a:cubicBezTo>
                  <a:cubicBezTo>
                    <a:pt x="383027" y="90814"/>
                    <a:pt x="385746" y="107132"/>
                    <a:pt x="385746" y="126170"/>
                  </a:cubicBezTo>
                  <a:cubicBezTo>
                    <a:pt x="385746" y="150647"/>
                    <a:pt x="385746" y="177843"/>
                    <a:pt x="388466" y="186002"/>
                  </a:cubicBezTo>
                  <a:cubicBezTo>
                    <a:pt x="391185" y="207759"/>
                    <a:pt x="391185" y="215918"/>
                    <a:pt x="391185" y="237676"/>
                  </a:cubicBezTo>
                  <a:cubicBezTo>
                    <a:pt x="391185" y="248554"/>
                    <a:pt x="391185" y="278470"/>
                    <a:pt x="374867" y="278470"/>
                  </a:cubicBezTo>
                  <a:cubicBezTo>
                    <a:pt x="366708" y="278470"/>
                    <a:pt x="363989" y="275751"/>
                    <a:pt x="358549" y="273031"/>
                  </a:cubicBezTo>
                  <a:cubicBezTo>
                    <a:pt x="353110" y="270311"/>
                    <a:pt x="350390" y="262152"/>
                    <a:pt x="350390" y="256713"/>
                  </a:cubicBezTo>
                  <a:cubicBezTo>
                    <a:pt x="350390" y="251274"/>
                    <a:pt x="347671" y="245834"/>
                    <a:pt x="347671" y="240395"/>
                  </a:cubicBezTo>
                  <a:cubicBezTo>
                    <a:pt x="347671" y="232236"/>
                    <a:pt x="347671" y="224077"/>
                    <a:pt x="347671" y="213199"/>
                  </a:cubicBezTo>
                  <a:cubicBezTo>
                    <a:pt x="347671" y="207759"/>
                    <a:pt x="347671" y="199600"/>
                    <a:pt x="344951" y="194161"/>
                  </a:cubicBezTo>
                  <a:cubicBezTo>
                    <a:pt x="342232" y="180563"/>
                    <a:pt x="342232" y="164245"/>
                    <a:pt x="339512" y="150647"/>
                  </a:cubicBezTo>
                  <a:cubicBezTo>
                    <a:pt x="336792" y="137048"/>
                    <a:pt x="331353" y="123450"/>
                    <a:pt x="323194" y="112571"/>
                  </a:cubicBezTo>
                  <a:cubicBezTo>
                    <a:pt x="317754" y="104412"/>
                    <a:pt x="304156" y="101693"/>
                    <a:pt x="293278" y="101693"/>
                  </a:cubicBezTo>
                  <a:cubicBezTo>
                    <a:pt x="279679" y="101693"/>
                    <a:pt x="271520" y="109852"/>
                    <a:pt x="263361" y="120730"/>
                  </a:cubicBezTo>
                  <a:cubicBezTo>
                    <a:pt x="257922" y="131609"/>
                    <a:pt x="247044" y="139768"/>
                    <a:pt x="241604" y="153366"/>
                  </a:cubicBezTo>
                  <a:cubicBezTo>
                    <a:pt x="236165" y="166964"/>
                    <a:pt x="233445" y="180563"/>
                    <a:pt x="233445" y="194161"/>
                  </a:cubicBezTo>
                  <a:cubicBezTo>
                    <a:pt x="233445" y="207759"/>
                    <a:pt x="230725" y="218638"/>
                    <a:pt x="225286" y="232236"/>
                  </a:cubicBezTo>
                  <a:cubicBezTo>
                    <a:pt x="219847" y="245834"/>
                    <a:pt x="219847" y="262152"/>
                    <a:pt x="217127" y="275751"/>
                  </a:cubicBezTo>
                  <a:cubicBezTo>
                    <a:pt x="214407" y="289349"/>
                    <a:pt x="214407" y="302947"/>
                    <a:pt x="211688" y="316545"/>
                  </a:cubicBezTo>
                  <a:cubicBezTo>
                    <a:pt x="211688" y="330144"/>
                    <a:pt x="206249" y="341022"/>
                    <a:pt x="206249" y="354621"/>
                  </a:cubicBezTo>
                  <a:cubicBezTo>
                    <a:pt x="203529" y="368219"/>
                    <a:pt x="203529" y="381817"/>
                    <a:pt x="200809" y="398135"/>
                  </a:cubicBezTo>
                  <a:cubicBezTo>
                    <a:pt x="198090" y="411733"/>
                    <a:pt x="198090" y="425332"/>
                    <a:pt x="195370" y="438930"/>
                  </a:cubicBezTo>
                  <a:cubicBezTo>
                    <a:pt x="195370" y="449809"/>
                    <a:pt x="192650" y="463407"/>
                    <a:pt x="192650" y="474286"/>
                  </a:cubicBezTo>
                  <a:cubicBezTo>
                    <a:pt x="192650" y="490603"/>
                    <a:pt x="195370" y="509641"/>
                    <a:pt x="195370" y="525959"/>
                  </a:cubicBezTo>
                  <a:cubicBezTo>
                    <a:pt x="195370" y="550436"/>
                    <a:pt x="203529" y="572193"/>
                    <a:pt x="208968" y="596670"/>
                  </a:cubicBezTo>
                  <a:cubicBezTo>
                    <a:pt x="211688" y="604829"/>
                    <a:pt x="211688" y="615708"/>
                    <a:pt x="214407" y="623867"/>
                  </a:cubicBezTo>
                  <a:cubicBezTo>
                    <a:pt x="217127" y="634745"/>
                    <a:pt x="222566" y="645624"/>
                    <a:pt x="228006" y="656502"/>
                  </a:cubicBezTo>
                  <a:cubicBezTo>
                    <a:pt x="236165" y="670101"/>
                    <a:pt x="252483" y="689138"/>
                    <a:pt x="271520" y="689138"/>
                  </a:cubicBezTo>
                  <a:cubicBezTo>
                    <a:pt x="287838" y="689138"/>
                    <a:pt x="298717" y="675540"/>
                    <a:pt x="306876" y="664661"/>
                  </a:cubicBezTo>
                  <a:cubicBezTo>
                    <a:pt x="320474" y="645624"/>
                    <a:pt x="325914" y="623867"/>
                    <a:pt x="331353" y="602109"/>
                  </a:cubicBezTo>
                  <a:cubicBezTo>
                    <a:pt x="334073" y="583072"/>
                    <a:pt x="336792" y="564034"/>
                    <a:pt x="336792" y="544997"/>
                  </a:cubicBezTo>
                  <a:cubicBezTo>
                    <a:pt x="336792" y="531398"/>
                    <a:pt x="336792" y="512361"/>
                    <a:pt x="336792" y="498762"/>
                  </a:cubicBezTo>
                  <a:cubicBezTo>
                    <a:pt x="336792" y="496043"/>
                    <a:pt x="336792" y="493323"/>
                    <a:pt x="336792" y="490603"/>
                  </a:cubicBezTo>
                  <a:cubicBezTo>
                    <a:pt x="336792" y="479725"/>
                    <a:pt x="336792" y="477005"/>
                    <a:pt x="320474" y="477005"/>
                  </a:cubicBezTo>
                  <a:cubicBezTo>
                    <a:pt x="309595" y="477005"/>
                    <a:pt x="295997" y="479725"/>
                    <a:pt x="282399" y="479725"/>
                  </a:cubicBezTo>
                  <a:cubicBezTo>
                    <a:pt x="271520" y="479725"/>
                    <a:pt x="260642" y="479725"/>
                    <a:pt x="252483" y="474286"/>
                  </a:cubicBezTo>
                  <a:cubicBezTo>
                    <a:pt x="249763" y="471566"/>
                    <a:pt x="247044" y="468846"/>
                    <a:pt x="247044" y="466126"/>
                  </a:cubicBezTo>
                  <a:cubicBezTo>
                    <a:pt x="247044" y="463407"/>
                    <a:pt x="247044" y="460687"/>
                    <a:pt x="249763" y="457968"/>
                  </a:cubicBezTo>
                  <a:cubicBezTo>
                    <a:pt x="255202" y="452528"/>
                    <a:pt x="260642" y="449809"/>
                    <a:pt x="268801" y="447089"/>
                  </a:cubicBezTo>
                  <a:cubicBezTo>
                    <a:pt x="282399" y="441650"/>
                    <a:pt x="295997" y="438930"/>
                    <a:pt x="312315" y="436210"/>
                  </a:cubicBezTo>
                  <a:cubicBezTo>
                    <a:pt x="325914" y="433491"/>
                    <a:pt x="339512" y="433491"/>
                    <a:pt x="353110" y="430771"/>
                  </a:cubicBezTo>
                  <a:cubicBezTo>
                    <a:pt x="363989" y="430771"/>
                    <a:pt x="374867" y="430771"/>
                    <a:pt x="385746" y="430771"/>
                  </a:cubicBezTo>
                  <a:cubicBezTo>
                    <a:pt x="402064" y="430771"/>
                    <a:pt x="426541" y="428051"/>
                    <a:pt x="437420" y="428051"/>
                  </a:cubicBezTo>
                  <a:cubicBezTo>
                    <a:pt x="451018" y="422612"/>
                    <a:pt x="464616" y="425332"/>
                    <a:pt x="464616" y="436210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6" name="Freeform: Shape 55">
              <a:extLst>
                <a:ext uri="{FF2B5EF4-FFF2-40B4-BE49-F238E27FC236}">
                  <a16:creationId xmlns:a16="http://schemas.microsoft.com/office/drawing/2014/main" id="{A536130B-73EE-4E3D-9780-9C55A1656313}"/>
                </a:ext>
              </a:extLst>
            </p:cNvPr>
            <p:cNvSpPr/>
            <p:nvPr/>
          </p:nvSpPr>
          <p:spPr>
            <a:xfrm>
              <a:off x="9053923" y="4178559"/>
              <a:ext cx="625521" cy="788700"/>
            </a:xfrm>
            <a:custGeom>
              <a:avLst/>
              <a:gdLst>
                <a:gd name="connsiteX0" fmla="*/ 536838 w 625521"/>
                <a:gd name="connsiteY0" fmla="*/ 680979 h 788699"/>
                <a:gd name="connsiteX1" fmla="*/ 574913 w 625521"/>
                <a:gd name="connsiteY1" fmla="*/ 697297 h 788699"/>
                <a:gd name="connsiteX2" fmla="*/ 566755 w 625521"/>
                <a:gd name="connsiteY2" fmla="*/ 713615 h 788699"/>
                <a:gd name="connsiteX3" fmla="*/ 550437 w 625521"/>
                <a:gd name="connsiteY3" fmla="*/ 721774 h 788699"/>
                <a:gd name="connsiteX4" fmla="*/ 528680 w 625521"/>
                <a:gd name="connsiteY4" fmla="*/ 724494 h 788699"/>
                <a:gd name="connsiteX5" fmla="*/ 417174 w 625521"/>
                <a:gd name="connsiteY5" fmla="*/ 724494 h 788699"/>
                <a:gd name="connsiteX6" fmla="*/ 398136 w 625521"/>
                <a:gd name="connsiteY6" fmla="*/ 724494 h 788699"/>
                <a:gd name="connsiteX7" fmla="*/ 373659 w 625521"/>
                <a:gd name="connsiteY7" fmla="*/ 724494 h 788699"/>
                <a:gd name="connsiteX8" fmla="*/ 346462 w 625521"/>
                <a:gd name="connsiteY8" fmla="*/ 719054 h 788699"/>
                <a:gd name="connsiteX9" fmla="*/ 330144 w 625521"/>
                <a:gd name="connsiteY9" fmla="*/ 702737 h 788699"/>
                <a:gd name="connsiteX10" fmla="*/ 335584 w 625521"/>
                <a:gd name="connsiteY10" fmla="*/ 694578 h 788699"/>
                <a:gd name="connsiteX11" fmla="*/ 357341 w 625521"/>
                <a:gd name="connsiteY11" fmla="*/ 686419 h 788699"/>
                <a:gd name="connsiteX12" fmla="*/ 395416 w 625521"/>
                <a:gd name="connsiteY12" fmla="*/ 680979 h 788699"/>
                <a:gd name="connsiteX13" fmla="*/ 381817 w 625521"/>
                <a:gd name="connsiteY13" fmla="*/ 656502 h 788699"/>
                <a:gd name="connsiteX14" fmla="*/ 379098 w 625521"/>
                <a:gd name="connsiteY14" fmla="*/ 585791 h 788699"/>
                <a:gd name="connsiteX15" fmla="*/ 379098 w 625521"/>
                <a:gd name="connsiteY15" fmla="*/ 517800 h 788699"/>
                <a:gd name="connsiteX16" fmla="*/ 379098 w 625521"/>
                <a:gd name="connsiteY16" fmla="*/ 474286 h 788699"/>
                <a:gd name="connsiteX17" fmla="*/ 379098 w 625521"/>
                <a:gd name="connsiteY17" fmla="*/ 430771 h 788699"/>
                <a:gd name="connsiteX18" fmla="*/ 381817 w 625521"/>
                <a:gd name="connsiteY18" fmla="*/ 411733 h 788699"/>
                <a:gd name="connsiteX19" fmla="*/ 379098 w 625521"/>
                <a:gd name="connsiteY19" fmla="*/ 400855 h 788699"/>
                <a:gd name="connsiteX20" fmla="*/ 370939 w 625521"/>
                <a:gd name="connsiteY20" fmla="*/ 398135 h 788699"/>
                <a:gd name="connsiteX21" fmla="*/ 338304 w 625521"/>
                <a:gd name="connsiteY21" fmla="*/ 400855 h 788699"/>
                <a:gd name="connsiteX22" fmla="*/ 289349 w 625521"/>
                <a:gd name="connsiteY22" fmla="*/ 403575 h 788699"/>
                <a:gd name="connsiteX23" fmla="*/ 264872 w 625521"/>
                <a:gd name="connsiteY23" fmla="*/ 400855 h 788699"/>
                <a:gd name="connsiteX24" fmla="*/ 259433 w 625521"/>
                <a:gd name="connsiteY24" fmla="*/ 406294 h 788699"/>
                <a:gd name="connsiteX25" fmla="*/ 259433 w 625521"/>
                <a:gd name="connsiteY25" fmla="*/ 425332 h 788699"/>
                <a:gd name="connsiteX26" fmla="*/ 259433 w 625521"/>
                <a:gd name="connsiteY26" fmla="*/ 449809 h 788699"/>
                <a:gd name="connsiteX27" fmla="*/ 259433 w 625521"/>
                <a:gd name="connsiteY27" fmla="*/ 471566 h 788699"/>
                <a:gd name="connsiteX28" fmla="*/ 259433 w 625521"/>
                <a:gd name="connsiteY28" fmla="*/ 504202 h 788699"/>
                <a:gd name="connsiteX29" fmla="*/ 259433 w 625521"/>
                <a:gd name="connsiteY29" fmla="*/ 509641 h 788699"/>
                <a:gd name="connsiteX30" fmla="*/ 256714 w 625521"/>
                <a:gd name="connsiteY30" fmla="*/ 542277 h 788699"/>
                <a:gd name="connsiteX31" fmla="*/ 256714 w 625521"/>
                <a:gd name="connsiteY31" fmla="*/ 577632 h 788699"/>
                <a:gd name="connsiteX32" fmla="*/ 256714 w 625521"/>
                <a:gd name="connsiteY32" fmla="*/ 612988 h 788699"/>
                <a:gd name="connsiteX33" fmla="*/ 253994 w 625521"/>
                <a:gd name="connsiteY33" fmla="*/ 656502 h 788699"/>
                <a:gd name="connsiteX34" fmla="*/ 256714 w 625521"/>
                <a:gd name="connsiteY34" fmla="*/ 678260 h 788699"/>
                <a:gd name="connsiteX35" fmla="*/ 286629 w 625521"/>
                <a:gd name="connsiteY35" fmla="*/ 694578 h 788699"/>
                <a:gd name="connsiteX36" fmla="*/ 281191 w 625521"/>
                <a:gd name="connsiteY36" fmla="*/ 710895 h 788699"/>
                <a:gd name="connsiteX37" fmla="*/ 264872 w 625521"/>
                <a:gd name="connsiteY37" fmla="*/ 719054 h 788699"/>
                <a:gd name="connsiteX38" fmla="*/ 243116 w 625521"/>
                <a:gd name="connsiteY38" fmla="*/ 721774 h 788699"/>
                <a:gd name="connsiteX39" fmla="*/ 243116 w 625521"/>
                <a:gd name="connsiteY39" fmla="*/ 721774 h 788699"/>
                <a:gd name="connsiteX40" fmla="*/ 232236 w 625521"/>
                <a:gd name="connsiteY40" fmla="*/ 727214 h 788699"/>
                <a:gd name="connsiteX41" fmla="*/ 224078 w 625521"/>
                <a:gd name="connsiteY41" fmla="*/ 735372 h 788699"/>
                <a:gd name="connsiteX42" fmla="*/ 213199 w 625521"/>
                <a:gd name="connsiteY42" fmla="*/ 738092 h 788699"/>
                <a:gd name="connsiteX43" fmla="*/ 183283 w 625521"/>
                <a:gd name="connsiteY43" fmla="*/ 727214 h 788699"/>
                <a:gd name="connsiteX44" fmla="*/ 175124 w 625521"/>
                <a:gd name="connsiteY44" fmla="*/ 719054 h 788699"/>
                <a:gd name="connsiteX45" fmla="*/ 145208 w 625521"/>
                <a:gd name="connsiteY45" fmla="*/ 719054 h 788699"/>
                <a:gd name="connsiteX46" fmla="*/ 126170 w 625521"/>
                <a:gd name="connsiteY46" fmla="*/ 719054 h 788699"/>
                <a:gd name="connsiteX47" fmla="*/ 101693 w 625521"/>
                <a:gd name="connsiteY47" fmla="*/ 719054 h 788699"/>
                <a:gd name="connsiteX48" fmla="*/ 74496 w 625521"/>
                <a:gd name="connsiteY48" fmla="*/ 713615 h 788699"/>
                <a:gd name="connsiteX49" fmla="*/ 58178 w 625521"/>
                <a:gd name="connsiteY49" fmla="*/ 697297 h 788699"/>
                <a:gd name="connsiteX50" fmla="*/ 63618 w 625521"/>
                <a:gd name="connsiteY50" fmla="*/ 689138 h 788699"/>
                <a:gd name="connsiteX51" fmla="*/ 85375 w 625521"/>
                <a:gd name="connsiteY51" fmla="*/ 680979 h 788699"/>
                <a:gd name="connsiteX52" fmla="*/ 131609 w 625521"/>
                <a:gd name="connsiteY52" fmla="*/ 675540 h 788699"/>
                <a:gd name="connsiteX53" fmla="*/ 131609 w 625521"/>
                <a:gd name="connsiteY53" fmla="*/ 667381 h 788699"/>
                <a:gd name="connsiteX54" fmla="*/ 131609 w 625521"/>
                <a:gd name="connsiteY54" fmla="*/ 651063 h 788699"/>
                <a:gd name="connsiteX55" fmla="*/ 131609 w 625521"/>
                <a:gd name="connsiteY55" fmla="*/ 618427 h 788699"/>
                <a:gd name="connsiteX56" fmla="*/ 131609 w 625521"/>
                <a:gd name="connsiteY56" fmla="*/ 580352 h 788699"/>
                <a:gd name="connsiteX57" fmla="*/ 131609 w 625521"/>
                <a:gd name="connsiteY57" fmla="*/ 531398 h 788699"/>
                <a:gd name="connsiteX58" fmla="*/ 131609 w 625521"/>
                <a:gd name="connsiteY58" fmla="*/ 466126 h 788699"/>
                <a:gd name="connsiteX59" fmla="*/ 131609 w 625521"/>
                <a:gd name="connsiteY59" fmla="*/ 422612 h 788699"/>
                <a:gd name="connsiteX60" fmla="*/ 131609 w 625521"/>
                <a:gd name="connsiteY60" fmla="*/ 411733 h 788699"/>
                <a:gd name="connsiteX61" fmla="*/ 131609 w 625521"/>
                <a:gd name="connsiteY61" fmla="*/ 398135 h 788699"/>
                <a:gd name="connsiteX62" fmla="*/ 126170 w 625521"/>
                <a:gd name="connsiteY62" fmla="*/ 389976 h 788699"/>
                <a:gd name="connsiteX63" fmla="*/ 101693 w 625521"/>
                <a:gd name="connsiteY63" fmla="*/ 387257 h 788699"/>
                <a:gd name="connsiteX64" fmla="*/ 77216 w 625521"/>
                <a:gd name="connsiteY64" fmla="*/ 376378 h 788699"/>
                <a:gd name="connsiteX65" fmla="*/ 82655 w 625521"/>
                <a:gd name="connsiteY65" fmla="*/ 368219 h 788699"/>
                <a:gd name="connsiteX66" fmla="*/ 98973 w 625521"/>
                <a:gd name="connsiteY66" fmla="*/ 360060 h 788699"/>
                <a:gd name="connsiteX67" fmla="*/ 118011 w 625521"/>
                <a:gd name="connsiteY67" fmla="*/ 357340 h 788699"/>
                <a:gd name="connsiteX68" fmla="*/ 131609 w 625521"/>
                <a:gd name="connsiteY68" fmla="*/ 351901 h 788699"/>
                <a:gd name="connsiteX69" fmla="*/ 131609 w 625521"/>
                <a:gd name="connsiteY69" fmla="*/ 343742 h 788699"/>
                <a:gd name="connsiteX70" fmla="*/ 131609 w 625521"/>
                <a:gd name="connsiteY70" fmla="*/ 270311 h 788699"/>
                <a:gd name="connsiteX71" fmla="*/ 137048 w 625521"/>
                <a:gd name="connsiteY71" fmla="*/ 145207 h 788699"/>
                <a:gd name="connsiteX72" fmla="*/ 139768 w 625521"/>
                <a:gd name="connsiteY72" fmla="*/ 123450 h 788699"/>
                <a:gd name="connsiteX73" fmla="*/ 123450 w 625521"/>
                <a:gd name="connsiteY73" fmla="*/ 123450 h 788699"/>
                <a:gd name="connsiteX74" fmla="*/ 118011 w 625521"/>
                <a:gd name="connsiteY74" fmla="*/ 123450 h 788699"/>
                <a:gd name="connsiteX75" fmla="*/ 101693 w 625521"/>
                <a:gd name="connsiteY75" fmla="*/ 123450 h 788699"/>
                <a:gd name="connsiteX76" fmla="*/ 74496 w 625521"/>
                <a:gd name="connsiteY76" fmla="*/ 118011 h 788699"/>
                <a:gd name="connsiteX77" fmla="*/ 58178 w 625521"/>
                <a:gd name="connsiteY77" fmla="*/ 101693 h 788699"/>
                <a:gd name="connsiteX78" fmla="*/ 63618 w 625521"/>
                <a:gd name="connsiteY78" fmla="*/ 93534 h 788699"/>
                <a:gd name="connsiteX79" fmla="*/ 85375 w 625521"/>
                <a:gd name="connsiteY79" fmla="*/ 85375 h 788699"/>
                <a:gd name="connsiteX80" fmla="*/ 137048 w 625521"/>
                <a:gd name="connsiteY80" fmla="*/ 82655 h 788699"/>
                <a:gd name="connsiteX81" fmla="*/ 147927 w 625521"/>
                <a:gd name="connsiteY81" fmla="*/ 82655 h 788699"/>
                <a:gd name="connsiteX82" fmla="*/ 186003 w 625521"/>
                <a:gd name="connsiteY82" fmla="*/ 58178 h 788699"/>
                <a:gd name="connsiteX83" fmla="*/ 226797 w 625521"/>
                <a:gd name="connsiteY83" fmla="*/ 79936 h 788699"/>
                <a:gd name="connsiteX84" fmla="*/ 253994 w 625521"/>
                <a:gd name="connsiteY84" fmla="*/ 79936 h 788699"/>
                <a:gd name="connsiteX85" fmla="*/ 294789 w 625521"/>
                <a:gd name="connsiteY85" fmla="*/ 96253 h 788699"/>
                <a:gd name="connsiteX86" fmla="*/ 283910 w 625521"/>
                <a:gd name="connsiteY86" fmla="*/ 112571 h 788699"/>
                <a:gd name="connsiteX87" fmla="*/ 267592 w 625521"/>
                <a:gd name="connsiteY87" fmla="*/ 120730 h 788699"/>
                <a:gd name="connsiteX88" fmla="*/ 245835 w 625521"/>
                <a:gd name="connsiteY88" fmla="*/ 123450 h 788699"/>
                <a:gd name="connsiteX89" fmla="*/ 237676 w 625521"/>
                <a:gd name="connsiteY89" fmla="*/ 123450 h 788699"/>
                <a:gd name="connsiteX90" fmla="*/ 240396 w 625521"/>
                <a:gd name="connsiteY90" fmla="*/ 128889 h 788699"/>
                <a:gd name="connsiteX91" fmla="*/ 251274 w 625521"/>
                <a:gd name="connsiteY91" fmla="*/ 177843 h 788699"/>
                <a:gd name="connsiteX92" fmla="*/ 256714 w 625521"/>
                <a:gd name="connsiteY92" fmla="*/ 226797 h 788699"/>
                <a:gd name="connsiteX93" fmla="*/ 262153 w 625521"/>
                <a:gd name="connsiteY93" fmla="*/ 273031 h 788699"/>
                <a:gd name="connsiteX94" fmla="*/ 262153 w 625521"/>
                <a:gd name="connsiteY94" fmla="*/ 289349 h 788699"/>
                <a:gd name="connsiteX95" fmla="*/ 262153 w 625521"/>
                <a:gd name="connsiteY95" fmla="*/ 297508 h 788699"/>
                <a:gd name="connsiteX96" fmla="*/ 264872 w 625521"/>
                <a:gd name="connsiteY96" fmla="*/ 321985 h 788699"/>
                <a:gd name="connsiteX97" fmla="*/ 270312 w 625521"/>
                <a:gd name="connsiteY97" fmla="*/ 335583 h 788699"/>
                <a:gd name="connsiteX98" fmla="*/ 270312 w 625521"/>
                <a:gd name="connsiteY98" fmla="*/ 338303 h 788699"/>
                <a:gd name="connsiteX99" fmla="*/ 270312 w 625521"/>
                <a:gd name="connsiteY99" fmla="*/ 346462 h 788699"/>
                <a:gd name="connsiteX100" fmla="*/ 278471 w 625521"/>
                <a:gd name="connsiteY100" fmla="*/ 354621 h 788699"/>
                <a:gd name="connsiteX101" fmla="*/ 338304 w 625521"/>
                <a:gd name="connsiteY101" fmla="*/ 349181 h 788699"/>
                <a:gd name="connsiteX102" fmla="*/ 365500 w 625521"/>
                <a:gd name="connsiteY102" fmla="*/ 349181 h 788699"/>
                <a:gd name="connsiteX103" fmla="*/ 381817 w 625521"/>
                <a:gd name="connsiteY103" fmla="*/ 349181 h 788699"/>
                <a:gd name="connsiteX104" fmla="*/ 392697 w 625521"/>
                <a:gd name="connsiteY104" fmla="*/ 338303 h 788699"/>
                <a:gd name="connsiteX105" fmla="*/ 389977 w 625521"/>
                <a:gd name="connsiteY105" fmla="*/ 313826 h 788699"/>
                <a:gd name="connsiteX106" fmla="*/ 392697 w 625521"/>
                <a:gd name="connsiteY106" fmla="*/ 262152 h 788699"/>
                <a:gd name="connsiteX107" fmla="*/ 395416 w 625521"/>
                <a:gd name="connsiteY107" fmla="*/ 224077 h 788699"/>
                <a:gd name="connsiteX108" fmla="*/ 398136 w 625521"/>
                <a:gd name="connsiteY108" fmla="*/ 177843 h 788699"/>
                <a:gd name="connsiteX109" fmla="*/ 395416 w 625521"/>
                <a:gd name="connsiteY109" fmla="*/ 153366 h 788699"/>
                <a:gd name="connsiteX110" fmla="*/ 395416 w 625521"/>
                <a:gd name="connsiteY110" fmla="*/ 137048 h 788699"/>
                <a:gd name="connsiteX111" fmla="*/ 379098 w 625521"/>
                <a:gd name="connsiteY111" fmla="*/ 137048 h 788699"/>
                <a:gd name="connsiteX112" fmla="*/ 351902 w 625521"/>
                <a:gd name="connsiteY112" fmla="*/ 131609 h 788699"/>
                <a:gd name="connsiteX113" fmla="*/ 338304 w 625521"/>
                <a:gd name="connsiteY113" fmla="*/ 115291 h 788699"/>
                <a:gd name="connsiteX114" fmla="*/ 343742 w 625521"/>
                <a:gd name="connsiteY114" fmla="*/ 107132 h 788699"/>
                <a:gd name="connsiteX115" fmla="*/ 362780 w 625521"/>
                <a:gd name="connsiteY115" fmla="*/ 98973 h 788699"/>
                <a:gd name="connsiteX116" fmla="*/ 395416 w 625521"/>
                <a:gd name="connsiteY116" fmla="*/ 96253 h 788699"/>
                <a:gd name="connsiteX117" fmla="*/ 403575 w 625521"/>
                <a:gd name="connsiteY117" fmla="*/ 90814 h 788699"/>
                <a:gd name="connsiteX118" fmla="*/ 422612 w 625521"/>
                <a:gd name="connsiteY118" fmla="*/ 88095 h 788699"/>
                <a:gd name="connsiteX119" fmla="*/ 428052 w 625521"/>
                <a:gd name="connsiteY119" fmla="*/ 88095 h 788699"/>
                <a:gd name="connsiteX120" fmla="*/ 447090 w 625521"/>
                <a:gd name="connsiteY120" fmla="*/ 90814 h 788699"/>
                <a:gd name="connsiteX121" fmla="*/ 455249 w 625521"/>
                <a:gd name="connsiteY121" fmla="*/ 96253 h 788699"/>
                <a:gd name="connsiteX122" fmla="*/ 525960 w 625521"/>
                <a:gd name="connsiteY122" fmla="*/ 93534 h 788699"/>
                <a:gd name="connsiteX123" fmla="*/ 561315 w 625521"/>
                <a:gd name="connsiteY123" fmla="*/ 109852 h 788699"/>
                <a:gd name="connsiteX124" fmla="*/ 555876 w 625521"/>
                <a:gd name="connsiteY124" fmla="*/ 126170 h 788699"/>
                <a:gd name="connsiteX125" fmla="*/ 539558 w 625521"/>
                <a:gd name="connsiteY125" fmla="*/ 134329 h 788699"/>
                <a:gd name="connsiteX126" fmla="*/ 517800 w 625521"/>
                <a:gd name="connsiteY126" fmla="*/ 137048 h 788699"/>
                <a:gd name="connsiteX127" fmla="*/ 477006 w 625521"/>
                <a:gd name="connsiteY127" fmla="*/ 137048 h 788699"/>
                <a:gd name="connsiteX128" fmla="*/ 485165 w 625521"/>
                <a:gd name="connsiteY128" fmla="*/ 161525 h 788699"/>
                <a:gd name="connsiteX129" fmla="*/ 496043 w 625521"/>
                <a:gd name="connsiteY129" fmla="*/ 210479 h 788699"/>
                <a:gd name="connsiteX130" fmla="*/ 501483 w 625521"/>
                <a:gd name="connsiteY130" fmla="*/ 251274 h 788699"/>
                <a:gd name="connsiteX131" fmla="*/ 506922 w 625521"/>
                <a:gd name="connsiteY131" fmla="*/ 292069 h 788699"/>
                <a:gd name="connsiteX132" fmla="*/ 506922 w 625521"/>
                <a:gd name="connsiteY132" fmla="*/ 321985 h 788699"/>
                <a:gd name="connsiteX133" fmla="*/ 509642 w 625521"/>
                <a:gd name="connsiteY133" fmla="*/ 341022 h 788699"/>
                <a:gd name="connsiteX134" fmla="*/ 509642 w 625521"/>
                <a:gd name="connsiteY134" fmla="*/ 343742 h 788699"/>
                <a:gd name="connsiteX135" fmla="*/ 517800 w 625521"/>
                <a:gd name="connsiteY135" fmla="*/ 349181 h 788699"/>
                <a:gd name="connsiteX136" fmla="*/ 528680 w 625521"/>
                <a:gd name="connsiteY136" fmla="*/ 349181 h 788699"/>
                <a:gd name="connsiteX137" fmla="*/ 550437 w 625521"/>
                <a:gd name="connsiteY137" fmla="*/ 357340 h 788699"/>
                <a:gd name="connsiteX138" fmla="*/ 550437 w 625521"/>
                <a:gd name="connsiteY138" fmla="*/ 362780 h 788699"/>
                <a:gd name="connsiteX139" fmla="*/ 534119 w 625521"/>
                <a:gd name="connsiteY139" fmla="*/ 384537 h 788699"/>
                <a:gd name="connsiteX140" fmla="*/ 520520 w 625521"/>
                <a:gd name="connsiteY140" fmla="*/ 389976 h 788699"/>
                <a:gd name="connsiteX141" fmla="*/ 512362 w 625521"/>
                <a:gd name="connsiteY141" fmla="*/ 395415 h 788699"/>
                <a:gd name="connsiteX142" fmla="*/ 512362 w 625521"/>
                <a:gd name="connsiteY142" fmla="*/ 398135 h 788699"/>
                <a:gd name="connsiteX143" fmla="*/ 512362 w 625521"/>
                <a:gd name="connsiteY143" fmla="*/ 409014 h 788699"/>
                <a:gd name="connsiteX144" fmla="*/ 512362 w 625521"/>
                <a:gd name="connsiteY144" fmla="*/ 414453 h 788699"/>
                <a:gd name="connsiteX145" fmla="*/ 512362 w 625521"/>
                <a:gd name="connsiteY145" fmla="*/ 438930 h 788699"/>
                <a:gd name="connsiteX146" fmla="*/ 515081 w 625521"/>
                <a:gd name="connsiteY146" fmla="*/ 504202 h 788699"/>
                <a:gd name="connsiteX147" fmla="*/ 520520 w 625521"/>
                <a:gd name="connsiteY147" fmla="*/ 572193 h 788699"/>
                <a:gd name="connsiteX148" fmla="*/ 517800 w 625521"/>
                <a:gd name="connsiteY148" fmla="*/ 604829 h 788699"/>
                <a:gd name="connsiteX149" fmla="*/ 512362 w 625521"/>
                <a:gd name="connsiteY149" fmla="*/ 661942 h 788699"/>
                <a:gd name="connsiteX150" fmla="*/ 509642 w 625521"/>
                <a:gd name="connsiteY150" fmla="*/ 670101 h 788699"/>
                <a:gd name="connsiteX151" fmla="*/ 512362 w 625521"/>
                <a:gd name="connsiteY151" fmla="*/ 680979 h 788699"/>
                <a:gd name="connsiteX152" fmla="*/ 512362 w 625521"/>
                <a:gd name="connsiteY152" fmla="*/ 686419 h 788699"/>
                <a:gd name="connsiteX153" fmla="*/ 536838 w 625521"/>
                <a:gd name="connsiteY153" fmla="*/ 680979 h 788699"/>
                <a:gd name="connsiteX154" fmla="*/ 536838 w 625521"/>
                <a:gd name="connsiteY154" fmla="*/ 680979 h 7886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</a:cxnLst>
              <a:rect l="l" t="t" r="r" b="b"/>
              <a:pathLst>
                <a:path w="625521" h="788699">
                  <a:moveTo>
                    <a:pt x="536838" y="680979"/>
                  </a:moveTo>
                  <a:cubicBezTo>
                    <a:pt x="550437" y="680979"/>
                    <a:pt x="574913" y="680979"/>
                    <a:pt x="574913" y="697297"/>
                  </a:cubicBezTo>
                  <a:cubicBezTo>
                    <a:pt x="574913" y="705456"/>
                    <a:pt x="572194" y="708176"/>
                    <a:pt x="566755" y="713615"/>
                  </a:cubicBezTo>
                  <a:cubicBezTo>
                    <a:pt x="561315" y="719054"/>
                    <a:pt x="555876" y="721774"/>
                    <a:pt x="550437" y="721774"/>
                  </a:cubicBezTo>
                  <a:cubicBezTo>
                    <a:pt x="539558" y="724494"/>
                    <a:pt x="534119" y="724494"/>
                    <a:pt x="528680" y="724494"/>
                  </a:cubicBezTo>
                  <a:cubicBezTo>
                    <a:pt x="517800" y="724494"/>
                    <a:pt x="428052" y="724494"/>
                    <a:pt x="417174" y="724494"/>
                  </a:cubicBezTo>
                  <a:cubicBezTo>
                    <a:pt x="403575" y="724494"/>
                    <a:pt x="414454" y="724494"/>
                    <a:pt x="398136" y="724494"/>
                  </a:cubicBezTo>
                  <a:cubicBezTo>
                    <a:pt x="389977" y="724494"/>
                    <a:pt x="381817" y="724494"/>
                    <a:pt x="373659" y="724494"/>
                  </a:cubicBezTo>
                  <a:cubicBezTo>
                    <a:pt x="365500" y="724494"/>
                    <a:pt x="354621" y="721774"/>
                    <a:pt x="346462" y="719054"/>
                  </a:cubicBezTo>
                  <a:cubicBezTo>
                    <a:pt x="338304" y="716335"/>
                    <a:pt x="330144" y="708176"/>
                    <a:pt x="330144" y="702737"/>
                  </a:cubicBezTo>
                  <a:cubicBezTo>
                    <a:pt x="330144" y="700017"/>
                    <a:pt x="330144" y="697297"/>
                    <a:pt x="335584" y="694578"/>
                  </a:cubicBezTo>
                  <a:cubicBezTo>
                    <a:pt x="341023" y="691858"/>
                    <a:pt x="351902" y="689138"/>
                    <a:pt x="357341" y="686419"/>
                  </a:cubicBezTo>
                  <a:cubicBezTo>
                    <a:pt x="373659" y="683699"/>
                    <a:pt x="387257" y="680979"/>
                    <a:pt x="395416" y="680979"/>
                  </a:cubicBezTo>
                  <a:cubicBezTo>
                    <a:pt x="387257" y="675540"/>
                    <a:pt x="384537" y="670101"/>
                    <a:pt x="381817" y="656502"/>
                  </a:cubicBezTo>
                  <a:cubicBezTo>
                    <a:pt x="379098" y="632026"/>
                    <a:pt x="379098" y="610268"/>
                    <a:pt x="379098" y="585791"/>
                  </a:cubicBezTo>
                  <a:cubicBezTo>
                    <a:pt x="379098" y="564034"/>
                    <a:pt x="379098" y="542277"/>
                    <a:pt x="379098" y="517800"/>
                  </a:cubicBezTo>
                  <a:cubicBezTo>
                    <a:pt x="379098" y="504202"/>
                    <a:pt x="379098" y="487884"/>
                    <a:pt x="379098" y="474286"/>
                  </a:cubicBezTo>
                  <a:cubicBezTo>
                    <a:pt x="379098" y="457968"/>
                    <a:pt x="376379" y="444369"/>
                    <a:pt x="379098" y="430771"/>
                  </a:cubicBezTo>
                  <a:cubicBezTo>
                    <a:pt x="379098" y="425332"/>
                    <a:pt x="381817" y="417173"/>
                    <a:pt x="381817" y="411733"/>
                  </a:cubicBezTo>
                  <a:cubicBezTo>
                    <a:pt x="381817" y="406294"/>
                    <a:pt x="381817" y="403575"/>
                    <a:pt x="379098" y="400855"/>
                  </a:cubicBezTo>
                  <a:cubicBezTo>
                    <a:pt x="376379" y="400855"/>
                    <a:pt x="373659" y="398135"/>
                    <a:pt x="370939" y="398135"/>
                  </a:cubicBezTo>
                  <a:cubicBezTo>
                    <a:pt x="360061" y="398135"/>
                    <a:pt x="343742" y="400855"/>
                    <a:pt x="338304" y="400855"/>
                  </a:cubicBezTo>
                  <a:cubicBezTo>
                    <a:pt x="330144" y="400855"/>
                    <a:pt x="319266" y="403575"/>
                    <a:pt x="289349" y="403575"/>
                  </a:cubicBezTo>
                  <a:cubicBezTo>
                    <a:pt x="275751" y="403575"/>
                    <a:pt x="267592" y="400855"/>
                    <a:pt x="264872" y="400855"/>
                  </a:cubicBezTo>
                  <a:cubicBezTo>
                    <a:pt x="262153" y="400855"/>
                    <a:pt x="259433" y="400855"/>
                    <a:pt x="259433" y="406294"/>
                  </a:cubicBezTo>
                  <a:cubicBezTo>
                    <a:pt x="259433" y="414453"/>
                    <a:pt x="259433" y="419892"/>
                    <a:pt x="259433" y="425332"/>
                  </a:cubicBezTo>
                  <a:cubicBezTo>
                    <a:pt x="259433" y="433491"/>
                    <a:pt x="259433" y="441650"/>
                    <a:pt x="259433" y="449809"/>
                  </a:cubicBezTo>
                  <a:cubicBezTo>
                    <a:pt x="259433" y="457968"/>
                    <a:pt x="259433" y="463407"/>
                    <a:pt x="259433" y="471566"/>
                  </a:cubicBezTo>
                  <a:cubicBezTo>
                    <a:pt x="259433" y="482445"/>
                    <a:pt x="259433" y="493323"/>
                    <a:pt x="259433" y="504202"/>
                  </a:cubicBezTo>
                  <a:cubicBezTo>
                    <a:pt x="259433" y="506921"/>
                    <a:pt x="259433" y="506921"/>
                    <a:pt x="259433" y="509641"/>
                  </a:cubicBezTo>
                  <a:cubicBezTo>
                    <a:pt x="259433" y="520520"/>
                    <a:pt x="256714" y="531398"/>
                    <a:pt x="256714" y="542277"/>
                  </a:cubicBezTo>
                  <a:cubicBezTo>
                    <a:pt x="256714" y="553156"/>
                    <a:pt x="256714" y="566754"/>
                    <a:pt x="256714" y="577632"/>
                  </a:cubicBezTo>
                  <a:cubicBezTo>
                    <a:pt x="256714" y="588511"/>
                    <a:pt x="256714" y="599390"/>
                    <a:pt x="256714" y="612988"/>
                  </a:cubicBezTo>
                  <a:cubicBezTo>
                    <a:pt x="256714" y="629306"/>
                    <a:pt x="253994" y="642904"/>
                    <a:pt x="253994" y="656502"/>
                  </a:cubicBezTo>
                  <a:cubicBezTo>
                    <a:pt x="253994" y="664661"/>
                    <a:pt x="256714" y="672820"/>
                    <a:pt x="256714" y="678260"/>
                  </a:cubicBezTo>
                  <a:cubicBezTo>
                    <a:pt x="270312" y="678260"/>
                    <a:pt x="286629" y="680979"/>
                    <a:pt x="286629" y="694578"/>
                  </a:cubicBezTo>
                  <a:cubicBezTo>
                    <a:pt x="286629" y="702737"/>
                    <a:pt x="283910" y="705456"/>
                    <a:pt x="281191" y="710895"/>
                  </a:cubicBezTo>
                  <a:cubicBezTo>
                    <a:pt x="275751" y="716335"/>
                    <a:pt x="270312" y="719054"/>
                    <a:pt x="264872" y="719054"/>
                  </a:cubicBezTo>
                  <a:cubicBezTo>
                    <a:pt x="256714" y="721774"/>
                    <a:pt x="248554" y="721774"/>
                    <a:pt x="243116" y="721774"/>
                  </a:cubicBezTo>
                  <a:cubicBezTo>
                    <a:pt x="243116" y="721774"/>
                    <a:pt x="243116" y="721774"/>
                    <a:pt x="243116" y="721774"/>
                  </a:cubicBezTo>
                  <a:cubicBezTo>
                    <a:pt x="237676" y="724494"/>
                    <a:pt x="237676" y="724494"/>
                    <a:pt x="232236" y="727214"/>
                  </a:cubicBezTo>
                  <a:cubicBezTo>
                    <a:pt x="229517" y="729933"/>
                    <a:pt x="229517" y="732653"/>
                    <a:pt x="224078" y="735372"/>
                  </a:cubicBezTo>
                  <a:cubicBezTo>
                    <a:pt x="221358" y="738092"/>
                    <a:pt x="215919" y="738092"/>
                    <a:pt x="213199" y="738092"/>
                  </a:cubicBezTo>
                  <a:cubicBezTo>
                    <a:pt x="199601" y="738092"/>
                    <a:pt x="188722" y="735372"/>
                    <a:pt x="183283" y="727214"/>
                  </a:cubicBezTo>
                  <a:cubicBezTo>
                    <a:pt x="180563" y="724494"/>
                    <a:pt x="177843" y="721774"/>
                    <a:pt x="175124" y="719054"/>
                  </a:cubicBezTo>
                  <a:cubicBezTo>
                    <a:pt x="161526" y="719054"/>
                    <a:pt x="150646" y="719054"/>
                    <a:pt x="145208" y="719054"/>
                  </a:cubicBezTo>
                  <a:cubicBezTo>
                    <a:pt x="131609" y="719054"/>
                    <a:pt x="142488" y="719054"/>
                    <a:pt x="126170" y="719054"/>
                  </a:cubicBezTo>
                  <a:cubicBezTo>
                    <a:pt x="118011" y="719054"/>
                    <a:pt x="109852" y="719054"/>
                    <a:pt x="101693" y="719054"/>
                  </a:cubicBezTo>
                  <a:cubicBezTo>
                    <a:pt x="93534" y="719054"/>
                    <a:pt x="82655" y="719054"/>
                    <a:pt x="74496" y="713615"/>
                  </a:cubicBezTo>
                  <a:cubicBezTo>
                    <a:pt x="66338" y="710895"/>
                    <a:pt x="58178" y="702737"/>
                    <a:pt x="58178" y="697297"/>
                  </a:cubicBezTo>
                  <a:cubicBezTo>
                    <a:pt x="58178" y="694578"/>
                    <a:pt x="58178" y="691858"/>
                    <a:pt x="63618" y="689138"/>
                  </a:cubicBezTo>
                  <a:cubicBezTo>
                    <a:pt x="69057" y="686419"/>
                    <a:pt x="79936" y="683699"/>
                    <a:pt x="85375" y="680979"/>
                  </a:cubicBezTo>
                  <a:cubicBezTo>
                    <a:pt x="98973" y="678260"/>
                    <a:pt x="118011" y="678260"/>
                    <a:pt x="131609" y="675540"/>
                  </a:cubicBezTo>
                  <a:cubicBezTo>
                    <a:pt x="131609" y="672820"/>
                    <a:pt x="131609" y="670101"/>
                    <a:pt x="131609" y="667381"/>
                  </a:cubicBezTo>
                  <a:cubicBezTo>
                    <a:pt x="131609" y="661942"/>
                    <a:pt x="131609" y="656502"/>
                    <a:pt x="131609" y="651063"/>
                  </a:cubicBezTo>
                  <a:cubicBezTo>
                    <a:pt x="131609" y="640184"/>
                    <a:pt x="131609" y="629306"/>
                    <a:pt x="131609" y="618427"/>
                  </a:cubicBezTo>
                  <a:cubicBezTo>
                    <a:pt x="131609" y="604829"/>
                    <a:pt x="131609" y="593950"/>
                    <a:pt x="131609" y="580352"/>
                  </a:cubicBezTo>
                  <a:cubicBezTo>
                    <a:pt x="131609" y="564034"/>
                    <a:pt x="131609" y="547716"/>
                    <a:pt x="131609" y="531398"/>
                  </a:cubicBezTo>
                  <a:cubicBezTo>
                    <a:pt x="131609" y="509641"/>
                    <a:pt x="131609" y="487884"/>
                    <a:pt x="131609" y="466126"/>
                  </a:cubicBezTo>
                  <a:cubicBezTo>
                    <a:pt x="131609" y="452528"/>
                    <a:pt x="131609" y="436210"/>
                    <a:pt x="131609" y="422612"/>
                  </a:cubicBezTo>
                  <a:cubicBezTo>
                    <a:pt x="131609" y="419892"/>
                    <a:pt x="131609" y="414453"/>
                    <a:pt x="131609" y="411733"/>
                  </a:cubicBezTo>
                  <a:cubicBezTo>
                    <a:pt x="131609" y="409014"/>
                    <a:pt x="131609" y="400855"/>
                    <a:pt x="131609" y="398135"/>
                  </a:cubicBezTo>
                  <a:cubicBezTo>
                    <a:pt x="131609" y="392696"/>
                    <a:pt x="131609" y="392696"/>
                    <a:pt x="126170" y="389976"/>
                  </a:cubicBezTo>
                  <a:cubicBezTo>
                    <a:pt x="123450" y="389976"/>
                    <a:pt x="109852" y="387257"/>
                    <a:pt x="101693" y="387257"/>
                  </a:cubicBezTo>
                  <a:cubicBezTo>
                    <a:pt x="90814" y="384537"/>
                    <a:pt x="77216" y="381817"/>
                    <a:pt x="77216" y="376378"/>
                  </a:cubicBezTo>
                  <a:cubicBezTo>
                    <a:pt x="77216" y="373658"/>
                    <a:pt x="79936" y="370939"/>
                    <a:pt x="82655" y="368219"/>
                  </a:cubicBezTo>
                  <a:cubicBezTo>
                    <a:pt x="88095" y="365499"/>
                    <a:pt x="93534" y="362780"/>
                    <a:pt x="98973" y="360060"/>
                  </a:cubicBezTo>
                  <a:cubicBezTo>
                    <a:pt x="104413" y="360060"/>
                    <a:pt x="112571" y="357340"/>
                    <a:pt x="118011" y="357340"/>
                  </a:cubicBezTo>
                  <a:cubicBezTo>
                    <a:pt x="126170" y="354621"/>
                    <a:pt x="128890" y="357340"/>
                    <a:pt x="131609" y="351901"/>
                  </a:cubicBezTo>
                  <a:cubicBezTo>
                    <a:pt x="131609" y="349181"/>
                    <a:pt x="131609" y="346462"/>
                    <a:pt x="131609" y="343742"/>
                  </a:cubicBezTo>
                  <a:cubicBezTo>
                    <a:pt x="131609" y="319265"/>
                    <a:pt x="131609" y="294788"/>
                    <a:pt x="131609" y="270311"/>
                  </a:cubicBezTo>
                  <a:cubicBezTo>
                    <a:pt x="131609" y="226797"/>
                    <a:pt x="131609" y="186002"/>
                    <a:pt x="137048" y="145207"/>
                  </a:cubicBezTo>
                  <a:cubicBezTo>
                    <a:pt x="137048" y="139768"/>
                    <a:pt x="137048" y="131609"/>
                    <a:pt x="139768" y="123450"/>
                  </a:cubicBezTo>
                  <a:cubicBezTo>
                    <a:pt x="134329" y="123450"/>
                    <a:pt x="137048" y="123450"/>
                    <a:pt x="123450" y="123450"/>
                  </a:cubicBezTo>
                  <a:cubicBezTo>
                    <a:pt x="120731" y="123450"/>
                    <a:pt x="120731" y="123450"/>
                    <a:pt x="118011" y="123450"/>
                  </a:cubicBezTo>
                  <a:cubicBezTo>
                    <a:pt x="112571" y="123450"/>
                    <a:pt x="107133" y="123450"/>
                    <a:pt x="101693" y="123450"/>
                  </a:cubicBezTo>
                  <a:cubicBezTo>
                    <a:pt x="93534" y="123450"/>
                    <a:pt x="82655" y="120730"/>
                    <a:pt x="74496" y="118011"/>
                  </a:cubicBezTo>
                  <a:cubicBezTo>
                    <a:pt x="66338" y="115291"/>
                    <a:pt x="58178" y="107132"/>
                    <a:pt x="58178" y="101693"/>
                  </a:cubicBezTo>
                  <a:cubicBezTo>
                    <a:pt x="58178" y="98973"/>
                    <a:pt x="58178" y="96253"/>
                    <a:pt x="63618" y="93534"/>
                  </a:cubicBezTo>
                  <a:cubicBezTo>
                    <a:pt x="66338" y="90814"/>
                    <a:pt x="77216" y="88095"/>
                    <a:pt x="85375" y="85375"/>
                  </a:cubicBezTo>
                  <a:cubicBezTo>
                    <a:pt x="104413" y="82655"/>
                    <a:pt x="128890" y="82655"/>
                    <a:pt x="137048" y="82655"/>
                  </a:cubicBezTo>
                  <a:cubicBezTo>
                    <a:pt x="139768" y="82655"/>
                    <a:pt x="142488" y="82655"/>
                    <a:pt x="147927" y="82655"/>
                  </a:cubicBezTo>
                  <a:cubicBezTo>
                    <a:pt x="153366" y="69057"/>
                    <a:pt x="164245" y="58178"/>
                    <a:pt x="186003" y="58178"/>
                  </a:cubicBezTo>
                  <a:cubicBezTo>
                    <a:pt x="202321" y="58178"/>
                    <a:pt x="215919" y="66337"/>
                    <a:pt x="226797" y="79936"/>
                  </a:cubicBezTo>
                  <a:cubicBezTo>
                    <a:pt x="237676" y="79936"/>
                    <a:pt x="248554" y="79936"/>
                    <a:pt x="253994" y="79936"/>
                  </a:cubicBezTo>
                  <a:cubicBezTo>
                    <a:pt x="267592" y="79936"/>
                    <a:pt x="294789" y="79936"/>
                    <a:pt x="294789" y="96253"/>
                  </a:cubicBezTo>
                  <a:cubicBezTo>
                    <a:pt x="294789" y="104412"/>
                    <a:pt x="289349" y="107132"/>
                    <a:pt x="283910" y="112571"/>
                  </a:cubicBezTo>
                  <a:cubicBezTo>
                    <a:pt x="278471" y="118011"/>
                    <a:pt x="273031" y="120730"/>
                    <a:pt x="267592" y="120730"/>
                  </a:cubicBezTo>
                  <a:cubicBezTo>
                    <a:pt x="259433" y="123450"/>
                    <a:pt x="251274" y="123450"/>
                    <a:pt x="245835" y="123450"/>
                  </a:cubicBezTo>
                  <a:cubicBezTo>
                    <a:pt x="245835" y="123450"/>
                    <a:pt x="243116" y="123450"/>
                    <a:pt x="237676" y="123450"/>
                  </a:cubicBezTo>
                  <a:cubicBezTo>
                    <a:pt x="237676" y="126170"/>
                    <a:pt x="237676" y="126170"/>
                    <a:pt x="240396" y="128889"/>
                  </a:cubicBezTo>
                  <a:cubicBezTo>
                    <a:pt x="245835" y="145207"/>
                    <a:pt x="248554" y="161525"/>
                    <a:pt x="251274" y="177843"/>
                  </a:cubicBezTo>
                  <a:cubicBezTo>
                    <a:pt x="253994" y="194161"/>
                    <a:pt x="253994" y="210479"/>
                    <a:pt x="256714" y="226797"/>
                  </a:cubicBezTo>
                  <a:cubicBezTo>
                    <a:pt x="259433" y="243115"/>
                    <a:pt x="262153" y="256713"/>
                    <a:pt x="262153" y="273031"/>
                  </a:cubicBezTo>
                  <a:cubicBezTo>
                    <a:pt x="262153" y="278470"/>
                    <a:pt x="262153" y="283910"/>
                    <a:pt x="262153" y="289349"/>
                  </a:cubicBezTo>
                  <a:lnTo>
                    <a:pt x="262153" y="297508"/>
                  </a:lnTo>
                  <a:cubicBezTo>
                    <a:pt x="262153" y="305667"/>
                    <a:pt x="262153" y="313826"/>
                    <a:pt x="264872" y="321985"/>
                  </a:cubicBezTo>
                  <a:cubicBezTo>
                    <a:pt x="264872" y="327424"/>
                    <a:pt x="270312" y="330144"/>
                    <a:pt x="270312" y="335583"/>
                  </a:cubicBezTo>
                  <a:cubicBezTo>
                    <a:pt x="270312" y="335583"/>
                    <a:pt x="270312" y="338303"/>
                    <a:pt x="270312" y="338303"/>
                  </a:cubicBezTo>
                  <a:cubicBezTo>
                    <a:pt x="270312" y="341022"/>
                    <a:pt x="270312" y="343742"/>
                    <a:pt x="270312" y="346462"/>
                  </a:cubicBezTo>
                  <a:cubicBezTo>
                    <a:pt x="270312" y="351901"/>
                    <a:pt x="273031" y="354621"/>
                    <a:pt x="278471" y="354621"/>
                  </a:cubicBezTo>
                  <a:cubicBezTo>
                    <a:pt x="289349" y="354621"/>
                    <a:pt x="335584" y="351901"/>
                    <a:pt x="338304" y="349181"/>
                  </a:cubicBezTo>
                  <a:cubicBezTo>
                    <a:pt x="346462" y="349181"/>
                    <a:pt x="357341" y="349181"/>
                    <a:pt x="365500" y="349181"/>
                  </a:cubicBezTo>
                  <a:cubicBezTo>
                    <a:pt x="370939" y="349181"/>
                    <a:pt x="376379" y="349181"/>
                    <a:pt x="381817" y="349181"/>
                  </a:cubicBezTo>
                  <a:cubicBezTo>
                    <a:pt x="387257" y="349181"/>
                    <a:pt x="392697" y="346462"/>
                    <a:pt x="392697" y="338303"/>
                  </a:cubicBezTo>
                  <a:cubicBezTo>
                    <a:pt x="392697" y="330144"/>
                    <a:pt x="389977" y="316545"/>
                    <a:pt x="389977" y="313826"/>
                  </a:cubicBezTo>
                  <a:cubicBezTo>
                    <a:pt x="389977" y="294788"/>
                    <a:pt x="389977" y="278470"/>
                    <a:pt x="392697" y="262152"/>
                  </a:cubicBezTo>
                  <a:cubicBezTo>
                    <a:pt x="392697" y="259433"/>
                    <a:pt x="395416" y="243115"/>
                    <a:pt x="395416" y="224077"/>
                  </a:cubicBezTo>
                  <a:cubicBezTo>
                    <a:pt x="395416" y="207759"/>
                    <a:pt x="398136" y="188722"/>
                    <a:pt x="398136" y="177843"/>
                  </a:cubicBezTo>
                  <a:cubicBezTo>
                    <a:pt x="398136" y="169684"/>
                    <a:pt x="395416" y="158806"/>
                    <a:pt x="395416" y="153366"/>
                  </a:cubicBezTo>
                  <a:cubicBezTo>
                    <a:pt x="395416" y="145207"/>
                    <a:pt x="395416" y="142488"/>
                    <a:pt x="395416" y="137048"/>
                  </a:cubicBezTo>
                  <a:cubicBezTo>
                    <a:pt x="389977" y="137048"/>
                    <a:pt x="384537" y="137048"/>
                    <a:pt x="379098" y="137048"/>
                  </a:cubicBezTo>
                  <a:cubicBezTo>
                    <a:pt x="370939" y="137048"/>
                    <a:pt x="360061" y="134329"/>
                    <a:pt x="351902" y="131609"/>
                  </a:cubicBezTo>
                  <a:cubicBezTo>
                    <a:pt x="343742" y="128889"/>
                    <a:pt x="338304" y="120730"/>
                    <a:pt x="338304" y="115291"/>
                  </a:cubicBezTo>
                  <a:cubicBezTo>
                    <a:pt x="338304" y="112571"/>
                    <a:pt x="338304" y="109852"/>
                    <a:pt x="343742" y="107132"/>
                  </a:cubicBezTo>
                  <a:cubicBezTo>
                    <a:pt x="349182" y="104412"/>
                    <a:pt x="357341" y="101693"/>
                    <a:pt x="362780" y="98973"/>
                  </a:cubicBezTo>
                  <a:cubicBezTo>
                    <a:pt x="373659" y="96253"/>
                    <a:pt x="387257" y="96253"/>
                    <a:pt x="395416" y="96253"/>
                  </a:cubicBezTo>
                  <a:cubicBezTo>
                    <a:pt x="398136" y="93534"/>
                    <a:pt x="400855" y="90814"/>
                    <a:pt x="403575" y="90814"/>
                  </a:cubicBezTo>
                  <a:cubicBezTo>
                    <a:pt x="411734" y="90814"/>
                    <a:pt x="419893" y="88095"/>
                    <a:pt x="422612" y="88095"/>
                  </a:cubicBezTo>
                  <a:cubicBezTo>
                    <a:pt x="425332" y="88095"/>
                    <a:pt x="425332" y="88095"/>
                    <a:pt x="428052" y="88095"/>
                  </a:cubicBezTo>
                  <a:cubicBezTo>
                    <a:pt x="433492" y="88095"/>
                    <a:pt x="441650" y="88095"/>
                    <a:pt x="447090" y="90814"/>
                  </a:cubicBezTo>
                  <a:cubicBezTo>
                    <a:pt x="449809" y="90814"/>
                    <a:pt x="452529" y="93534"/>
                    <a:pt x="455249" y="96253"/>
                  </a:cubicBezTo>
                  <a:cubicBezTo>
                    <a:pt x="482445" y="96253"/>
                    <a:pt x="509642" y="93534"/>
                    <a:pt x="525960" y="93534"/>
                  </a:cubicBezTo>
                  <a:cubicBezTo>
                    <a:pt x="539558" y="93534"/>
                    <a:pt x="561315" y="93534"/>
                    <a:pt x="561315" y="109852"/>
                  </a:cubicBezTo>
                  <a:cubicBezTo>
                    <a:pt x="561315" y="118011"/>
                    <a:pt x="561315" y="120730"/>
                    <a:pt x="555876" y="126170"/>
                  </a:cubicBezTo>
                  <a:cubicBezTo>
                    <a:pt x="550437" y="131609"/>
                    <a:pt x="544997" y="134329"/>
                    <a:pt x="539558" y="134329"/>
                  </a:cubicBezTo>
                  <a:cubicBezTo>
                    <a:pt x="531399" y="137048"/>
                    <a:pt x="523240" y="137048"/>
                    <a:pt x="517800" y="137048"/>
                  </a:cubicBezTo>
                  <a:cubicBezTo>
                    <a:pt x="515081" y="137048"/>
                    <a:pt x="498763" y="137048"/>
                    <a:pt x="477006" y="137048"/>
                  </a:cubicBezTo>
                  <a:cubicBezTo>
                    <a:pt x="479725" y="145207"/>
                    <a:pt x="485165" y="153366"/>
                    <a:pt x="485165" y="161525"/>
                  </a:cubicBezTo>
                  <a:cubicBezTo>
                    <a:pt x="487885" y="177843"/>
                    <a:pt x="493324" y="194161"/>
                    <a:pt x="496043" y="210479"/>
                  </a:cubicBezTo>
                  <a:cubicBezTo>
                    <a:pt x="498763" y="224077"/>
                    <a:pt x="498763" y="237676"/>
                    <a:pt x="501483" y="251274"/>
                  </a:cubicBezTo>
                  <a:cubicBezTo>
                    <a:pt x="504202" y="264872"/>
                    <a:pt x="506922" y="275751"/>
                    <a:pt x="506922" y="292069"/>
                  </a:cubicBezTo>
                  <a:cubicBezTo>
                    <a:pt x="506922" y="302947"/>
                    <a:pt x="506922" y="311106"/>
                    <a:pt x="506922" y="321985"/>
                  </a:cubicBezTo>
                  <a:cubicBezTo>
                    <a:pt x="506922" y="327424"/>
                    <a:pt x="509642" y="335583"/>
                    <a:pt x="509642" y="341022"/>
                  </a:cubicBezTo>
                  <a:cubicBezTo>
                    <a:pt x="509642" y="343742"/>
                    <a:pt x="509642" y="343742"/>
                    <a:pt x="509642" y="343742"/>
                  </a:cubicBezTo>
                  <a:cubicBezTo>
                    <a:pt x="509642" y="349181"/>
                    <a:pt x="515081" y="349181"/>
                    <a:pt x="517800" y="349181"/>
                  </a:cubicBezTo>
                  <a:cubicBezTo>
                    <a:pt x="520520" y="349181"/>
                    <a:pt x="523240" y="349181"/>
                    <a:pt x="528680" y="349181"/>
                  </a:cubicBezTo>
                  <a:cubicBezTo>
                    <a:pt x="536838" y="349181"/>
                    <a:pt x="547717" y="349181"/>
                    <a:pt x="550437" y="357340"/>
                  </a:cubicBezTo>
                  <a:cubicBezTo>
                    <a:pt x="550437" y="360060"/>
                    <a:pt x="550437" y="360060"/>
                    <a:pt x="550437" y="362780"/>
                  </a:cubicBezTo>
                  <a:cubicBezTo>
                    <a:pt x="550437" y="370939"/>
                    <a:pt x="539558" y="381817"/>
                    <a:pt x="534119" y="384537"/>
                  </a:cubicBezTo>
                  <a:cubicBezTo>
                    <a:pt x="531399" y="387257"/>
                    <a:pt x="523240" y="387257"/>
                    <a:pt x="520520" y="389976"/>
                  </a:cubicBezTo>
                  <a:cubicBezTo>
                    <a:pt x="515081" y="389976"/>
                    <a:pt x="512362" y="392696"/>
                    <a:pt x="512362" y="395415"/>
                  </a:cubicBezTo>
                  <a:cubicBezTo>
                    <a:pt x="512362" y="395415"/>
                    <a:pt x="512362" y="398135"/>
                    <a:pt x="512362" y="398135"/>
                  </a:cubicBezTo>
                  <a:cubicBezTo>
                    <a:pt x="512362" y="400855"/>
                    <a:pt x="512362" y="406294"/>
                    <a:pt x="512362" y="409014"/>
                  </a:cubicBezTo>
                  <a:cubicBezTo>
                    <a:pt x="512362" y="411733"/>
                    <a:pt x="512362" y="411733"/>
                    <a:pt x="512362" y="414453"/>
                  </a:cubicBezTo>
                  <a:cubicBezTo>
                    <a:pt x="512362" y="422612"/>
                    <a:pt x="512362" y="430771"/>
                    <a:pt x="512362" y="438930"/>
                  </a:cubicBezTo>
                  <a:cubicBezTo>
                    <a:pt x="512362" y="460687"/>
                    <a:pt x="512362" y="482445"/>
                    <a:pt x="515081" y="504202"/>
                  </a:cubicBezTo>
                  <a:cubicBezTo>
                    <a:pt x="517800" y="525959"/>
                    <a:pt x="520520" y="550436"/>
                    <a:pt x="520520" y="572193"/>
                  </a:cubicBezTo>
                  <a:cubicBezTo>
                    <a:pt x="520520" y="583072"/>
                    <a:pt x="520520" y="593950"/>
                    <a:pt x="517800" y="604829"/>
                  </a:cubicBezTo>
                  <a:cubicBezTo>
                    <a:pt x="515081" y="623867"/>
                    <a:pt x="515081" y="642904"/>
                    <a:pt x="512362" y="661942"/>
                  </a:cubicBezTo>
                  <a:cubicBezTo>
                    <a:pt x="512362" y="664661"/>
                    <a:pt x="509642" y="667381"/>
                    <a:pt x="509642" y="670101"/>
                  </a:cubicBezTo>
                  <a:cubicBezTo>
                    <a:pt x="509642" y="672820"/>
                    <a:pt x="512362" y="678260"/>
                    <a:pt x="512362" y="680979"/>
                  </a:cubicBezTo>
                  <a:cubicBezTo>
                    <a:pt x="512362" y="683699"/>
                    <a:pt x="512362" y="686419"/>
                    <a:pt x="512362" y="686419"/>
                  </a:cubicBezTo>
                  <a:cubicBezTo>
                    <a:pt x="517800" y="680979"/>
                    <a:pt x="528680" y="680979"/>
                    <a:pt x="536838" y="680979"/>
                  </a:cubicBezTo>
                  <a:lnTo>
                    <a:pt x="536838" y="680979"/>
                  </a:ln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7" name="Freeform: Shape 56">
              <a:extLst>
                <a:ext uri="{FF2B5EF4-FFF2-40B4-BE49-F238E27FC236}">
                  <a16:creationId xmlns:a16="http://schemas.microsoft.com/office/drawing/2014/main" id="{0FD41130-7459-4A04-89E6-B467E7827050}"/>
                </a:ext>
              </a:extLst>
            </p:cNvPr>
            <p:cNvSpPr/>
            <p:nvPr/>
          </p:nvSpPr>
          <p:spPr>
            <a:xfrm>
              <a:off x="9592416" y="4192158"/>
              <a:ext cx="516735" cy="761503"/>
            </a:xfrm>
            <a:custGeom>
              <a:avLst/>
              <a:gdLst>
                <a:gd name="connsiteX0" fmla="*/ 463407 w 516735"/>
                <a:gd name="connsiteY0" fmla="*/ 194161 h 761503"/>
                <a:gd name="connsiteX1" fmla="*/ 447089 w 516735"/>
                <a:gd name="connsiteY1" fmla="*/ 226797 h 761503"/>
                <a:gd name="connsiteX2" fmla="*/ 430771 w 516735"/>
                <a:gd name="connsiteY2" fmla="*/ 221357 h 761503"/>
                <a:gd name="connsiteX3" fmla="*/ 422612 w 516735"/>
                <a:gd name="connsiteY3" fmla="*/ 207759 h 761503"/>
                <a:gd name="connsiteX4" fmla="*/ 419893 w 516735"/>
                <a:gd name="connsiteY4" fmla="*/ 188722 h 761503"/>
                <a:gd name="connsiteX5" fmla="*/ 419893 w 516735"/>
                <a:gd name="connsiteY5" fmla="*/ 139768 h 761503"/>
                <a:gd name="connsiteX6" fmla="*/ 419893 w 516735"/>
                <a:gd name="connsiteY6" fmla="*/ 120730 h 761503"/>
                <a:gd name="connsiteX7" fmla="*/ 395416 w 516735"/>
                <a:gd name="connsiteY7" fmla="*/ 120730 h 761503"/>
                <a:gd name="connsiteX8" fmla="*/ 370939 w 516735"/>
                <a:gd name="connsiteY8" fmla="*/ 120730 h 761503"/>
                <a:gd name="connsiteX9" fmla="*/ 346461 w 516735"/>
                <a:gd name="connsiteY9" fmla="*/ 123450 h 761503"/>
                <a:gd name="connsiteX10" fmla="*/ 335583 w 516735"/>
                <a:gd name="connsiteY10" fmla="*/ 123450 h 761503"/>
                <a:gd name="connsiteX11" fmla="*/ 335583 w 516735"/>
                <a:gd name="connsiteY11" fmla="*/ 123450 h 761503"/>
                <a:gd name="connsiteX12" fmla="*/ 324704 w 516735"/>
                <a:gd name="connsiteY12" fmla="*/ 128889 h 761503"/>
                <a:gd name="connsiteX13" fmla="*/ 327424 w 516735"/>
                <a:gd name="connsiteY13" fmla="*/ 139768 h 761503"/>
                <a:gd name="connsiteX14" fmla="*/ 330144 w 516735"/>
                <a:gd name="connsiteY14" fmla="*/ 175123 h 761503"/>
                <a:gd name="connsiteX15" fmla="*/ 330144 w 516735"/>
                <a:gd name="connsiteY15" fmla="*/ 199600 h 761503"/>
                <a:gd name="connsiteX16" fmla="*/ 327424 w 516735"/>
                <a:gd name="connsiteY16" fmla="*/ 224077 h 761503"/>
                <a:gd name="connsiteX17" fmla="*/ 330144 w 516735"/>
                <a:gd name="connsiteY17" fmla="*/ 251274 h 761503"/>
                <a:gd name="connsiteX18" fmla="*/ 327424 w 516735"/>
                <a:gd name="connsiteY18" fmla="*/ 278470 h 761503"/>
                <a:gd name="connsiteX19" fmla="*/ 327424 w 516735"/>
                <a:gd name="connsiteY19" fmla="*/ 332864 h 761503"/>
                <a:gd name="connsiteX20" fmla="*/ 330144 w 516735"/>
                <a:gd name="connsiteY20" fmla="*/ 357340 h 761503"/>
                <a:gd name="connsiteX21" fmla="*/ 330144 w 516735"/>
                <a:gd name="connsiteY21" fmla="*/ 368219 h 761503"/>
                <a:gd name="connsiteX22" fmla="*/ 332863 w 516735"/>
                <a:gd name="connsiteY22" fmla="*/ 387257 h 761503"/>
                <a:gd name="connsiteX23" fmla="*/ 332863 w 516735"/>
                <a:gd name="connsiteY23" fmla="*/ 433491 h 761503"/>
                <a:gd name="connsiteX24" fmla="*/ 332863 w 516735"/>
                <a:gd name="connsiteY24" fmla="*/ 487884 h 761503"/>
                <a:gd name="connsiteX25" fmla="*/ 330144 w 516735"/>
                <a:gd name="connsiteY25" fmla="*/ 512361 h 761503"/>
                <a:gd name="connsiteX26" fmla="*/ 330144 w 516735"/>
                <a:gd name="connsiteY26" fmla="*/ 539557 h 761503"/>
                <a:gd name="connsiteX27" fmla="*/ 332863 w 516735"/>
                <a:gd name="connsiteY27" fmla="*/ 593950 h 761503"/>
                <a:gd name="connsiteX28" fmla="*/ 332863 w 516735"/>
                <a:gd name="connsiteY28" fmla="*/ 648343 h 761503"/>
                <a:gd name="connsiteX29" fmla="*/ 332863 w 516735"/>
                <a:gd name="connsiteY29" fmla="*/ 656502 h 761503"/>
                <a:gd name="connsiteX30" fmla="*/ 357341 w 516735"/>
                <a:gd name="connsiteY30" fmla="*/ 656502 h 761503"/>
                <a:gd name="connsiteX31" fmla="*/ 395416 w 516735"/>
                <a:gd name="connsiteY31" fmla="*/ 675540 h 761503"/>
                <a:gd name="connsiteX32" fmla="*/ 389976 w 516735"/>
                <a:gd name="connsiteY32" fmla="*/ 691858 h 761503"/>
                <a:gd name="connsiteX33" fmla="*/ 373658 w 516735"/>
                <a:gd name="connsiteY33" fmla="*/ 700017 h 761503"/>
                <a:gd name="connsiteX34" fmla="*/ 351901 w 516735"/>
                <a:gd name="connsiteY34" fmla="*/ 702737 h 761503"/>
                <a:gd name="connsiteX35" fmla="*/ 319265 w 516735"/>
                <a:gd name="connsiteY35" fmla="*/ 702737 h 761503"/>
                <a:gd name="connsiteX36" fmla="*/ 311106 w 516735"/>
                <a:gd name="connsiteY36" fmla="*/ 708176 h 761503"/>
                <a:gd name="connsiteX37" fmla="*/ 289349 w 516735"/>
                <a:gd name="connsiteY37" fmla="*/ 713615 h 761503"/>
                <a:gd name="connsiteX38" fmla="*/ 270311 w 516735"/>
                <a:gd name="connsiteY38" fmla="*/ 713615 h 761503"/>
                <a:gd name="connsiteX39" fmla="*/ 243115 w 516735"/>
                <a:gd name="connsiteY39" fmla="*/ 705456 h 761503"/>
                <a:gd name="connsiteX40" fmla="*/ 237675 w 516735"/>
                <a:gd name="connsiteY40" fmla="*/ 702737 h 761503"/>
                <a:gd name="connsiteX41" fmla="*/ 199600 w 516735"/>
                <a:gd name="connsiteY41" fmla="*/ 702737 h 761503"/>
                <a:gd name="connsiteX42" fmla="*/ 175123 w 516735"/>
                <a:gd name="connsiteY42" fmla="*/ 702737 h 761503"/>
                <a:gd name="connsiteX43" fmla="*/ 147927 w 516735"/>
                <a:gd name="connsiteY43" fmla="*/ 697297 h 761503"/>
                <a:gd name="connsiteX44" fmla="*/ 131609 w 516735"/>
                <a:gd name="connsiteY44" fmla="*/ 678260 h 761503"/>
                <a:gd name="connsiteX45" fmla="*/ 137048 w 516735"/>
                <a:gd name="connsiteY45" fmla="*/ 670101 h 761503"/>
                <a:gd name="connsiteX46" fmla="*/ 158805 w 516735"/>
                <a:gd name="connsiteY46" fmla="*/ 661942 h 761503"/>
                <a:gd name="connsiteX47" fmla="*/ 199600 w 516735"/>
                <a:gd name="connsiteY47" fmla="*/ 659222 h 761503"/>
                <a:gd name="connsiteX48" fmla="*/ 199600 w 516735"/>
                <a:gd name="connsiteY48" fmla="*/ 659222 h 761503"/>
                <a:gd name="connsiteX49" fmla="*/ 196880 w 516735"/>
                <a:gd name="connsiteY49" fmla="*/ 629306 h 761503"/>
                <a:gd name="connsiteX50" fmla="*/ 199600 w 516735"/>
                <a:gd name="connsiteY50" fmla="*/ 574913 h 761503"/>
                <a:gd name="connsiteX51" fmla="*/ 202320 w 516735"/>
                <a:gd name="connsiteY51" fmla="*/ 523239 h 761503"/>
                <a:gd name="connsiteX52" fmla="*/ 205040 w 516735"/>
                <a:gd name="connsiteY52" fmla="*/ 460687 h 761503"/>
                <a:gd name="connsiteX53" fmla="*/ 205040 w 516735"/>
                <a:gd name="connsiteY53" fmla="*/ 417173 h 761503"/>
                <a:gd name="connsiteX54" fmla="*/ 207759 w 516735"/>
                <a:gd name="connsiteY54" fmla="*/ 392696 h 761503"/>
                <a:gd name="connsiteX55" fmla="*/ 210478 w 516735"/>
                <a:gd name="connsiteY55" fmla="*/ 368219 h 761503"/>
                <a:gd name="connsiteX56" fmla="*/ 210478 w 516735"/>
                <a:gd name="connsiteY56" fmla="*/ 313826 h 761503"/>
                <a:gd name="connsiteX57" fmla="*/ 210478 w 516735"/>
                <a:gd name="connsiteY57" fmla="*/ 259433 h 761503"/>
                <a:gd name="connsiteX58" fmla="*/ 210478 w 516735"/>
                <a:gd name="connsiteY58" fmla="*/ 213199 h 761503"/>
                <a:gd name="connsiteX59" fmla="*/ 210478 w 516735"/>
                <a:gd name="connsiteY59" fmla="*/ 145207 h 761503"/>
                <a:gd name="connsiteX60" fmla="*/ 213198 w 516735"/>
                <a:gd name="connsiteY60" fmla="*/ 131609 h 761503"/>
                <a:gd name="connsiteX61" fmla="*/ 205040 w 516735"/>
                <a:gd name="connsiteY61" fmla="*/ 123450 h 761503"/>
                <a:gd name="connsiteX62" fmla="*/ 161525 w 516735"/>
                <a:gd name="connsiteY62" fmla="*/ 123450 h 761503"/>
                <a:gd name="connsiteX63" fmla="*/ 112571 w 516735"/>
                <a:gd name="connsiteY63" fmla="*/ 120730 h 761503"/>
                <a:gd name="connsiteX64" fmla="*/ 104412 w 516735"/>
                <a:gd name="connsiteY64" fmla="*/ 118011 h 761503"/>
                <a:gd name="connsiteX65" fmla="*/ 107132 w 516735"/>
                <a:gd name="connsiteY65" fmla="*/ 191441 h 761503"/>
                <a:gd name="connsiteX66" fmla="*/ 90814 w 516735"/>
                <a:gd name="connsiteY66" fmla="*/ 224077 h 761503"/>
                <a:gd name="connsiteX67" fmla="*/ 74496 w 516735"/>
                <a:gd name="connsiteY67" fmla="*/ 218638 h 761503"/>
                <a:gd name="connsiteX68" fmla="*/ 66337 w 516735"/>
                <a:gd name="connsiteY68" fmla="*/ 205040 h 761503"/>
                <a:gd name="connsiteX69" fmla="*/ 63617 w 516735"/>
                <a:gd name="connsiteY69" fmla="*/ 186002 h 761503"/>
                <a:gd name="connsiteX70" fmla="*/ 63617 w 516735"/>
                <a:gd name="connsiteY70" fmla="*/ 145207 h 761503"/>
                <a:gd name="connsiteX71" fmla="*/ 63617 w 516735"/>
                <a:gd name="connsiteY71" fmla="*/ 109852 h 761503"/>
                <a:gd name="connsiteX72" fmla="*/ 58178 w 516735"/>
                <a:gd name="connsiteY72" fmla="*/ 96253 h 761503"/>
                <a:gd name="connsiteX73" fmla="*/ 66337 w 516735"/>
                <a:gd name="connsiteY73" fmla="*/ 85375 h 761503"/>
                <a:gd name="connsiteX74" fmla="*/ 93533 w 516735"/>
                <a:gd name="connsiteY74" fmla="*/ 77216 h 761503"/>
                <a:gd name="connsiteX75" fmla="*/ 115290 w 516735"/>
                <a:gd name="connsiteY75" fmla="*/ 77216 h 761503"/>
                <a:gd name="connsiteX76" fmla="*/ 169684 w 516735"/>
                <a:gd name="connsiteY76" fmla="*/ 74496 h 761503"/>
                <a:gd name="connsiteX77" fmla="*/ 194161 w 516735"/>
                <a:gd name="connsiteY77" fmla="*/ 71776 h 761503"/>
                <a:gd name="connsiteX78" fmla="*/ 196880 w 516735"/>
                <a:gd name="connsiteY78" fmla="*/ 71776 h 761503"/>
                <a:gd name="connsiteX79" fmla="*/ 210478 w 516735"/>
                <a:gd name="connsiteY79" fmla="*/ 71776 h 761503"/>
                <a:gd name="connsiteX80" fmla="*/ 218638 w 516735"/>
                <a:gd name="connsiteY80" fmla="*/ 71776 h 761503"/>
                <a:gd name="connsiteX81" fmla="*/ 237675 w 516735"/>
                <a:gd name="connsiteY81" fmla="*/ 60898 h 761503"/>
                <a:gd name="connsiteX82" fmla="*/ 253993 w 516735"/>
                <a:gd name="connsiteY82" fmla="*/ 58178 h 761503"/>
                <a:gd name="connsiteX83" fmla="*/ 283910 w 516735"/>
                <a:gd name="connsiteY83" fmla="*/ 60898 h 761503"/>
                <a:gd name="connsiteX84" fmla="*/ 294788 w 516735"/>
                <a:gd name="connsiteY84" fmla="*/ 66337 h 761503"/>
                <a:gd name="connsiteX85" fmla="*/ 305667 w 516735"/>
                <a:gd name="connsiteY85" fmla="*/ 74496 h 761503"/>
                <a:gd name="connsiteX86" fmla="*/ 313826 w 516735"/>
                <a:gd name="connsiteY86" fmla="*/ 74496 h 761503"/>
                <a:gd name="connsiteX87" fmla="*/ 327424 w 516735"/>
                <a:gd name="connsiteY87" fmla="*/ 74496 h 761503"/>
                <a:gd name="connsiteX88" fmla="*/ 354621 w 516735"/>
                <a:gd name="connsiteY88" fmla="*/ 74496 h 761503"/>
                <a:gd name="connsiteX89" fmla="*/ 422612 w 516735"/>
                <a:gd name="connsiteY89" fmla="*/ 74496 h 761503"/>
                <a:gd name="connsiteX90" fmla="*/ 455248 w 516735"/>
                <a:gd name="connsiteY90" fmla="*/ 79936 h 761503"/>
                <a:gd name="connsiteX91" fmla="*/ 466127 w 516735"/>
                <a:gd name="connsiteY91" fmla="*/ 98973 h 761503"/>
                <a:gd name="connsiteX92" fmla="*/ 463407 w 516735"/>
                <a:gd name="connsiteY92" fmla="*/ 109852 h 761503"/>
                <a:gd name="connsiteX93" fmla="*/ 463407 w 516735"/>
                <a:gd name="connsiteY93" fmla="*/ 120730 h 761503"/>
                <a:gd name="connsiteX94" fmla="*/ 463407 w 516735"/>
                <a:gd name="connsiteY94" fmla="*/ 194161 h 761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</a:cxnLst>
              <a:rect l="l" t="t" r="r" b="b"/>
              <a:pathLst>
                <a:path w="516735" h="761503">
                  <a:moveTo>
                    <a:pt x="463407" y="194161"/>
                  </a:moveTo>
                  <a:cubicBezTo>
                    <a:pt x="463407" y="205040"/>
                    <a:pt x="463407" y="226797"/>
                    <a:pt x="447089" y="226797"/>
                  </a:cubicBezTo>
                  <a:cubicBezTo>
                    <a:pt x="438930" y="226797"/>
                    <a:pt x="436211" y="226797"/>
                    <a:pt x="430771" y="221357"/>
                  </a:cubicBezTo>
                  <a:cubicBezTo>
                    <a:pt x="425332" y="218638"/>
                    <a:pt x="422612" y="210479"/>
                    <a:pt x="422612" y="207759"/>
                  </a:cubicBezTo>
                  <a:cubicBezTo>
                    <a:pt x="419893" y="199600"/>
                    <a:pt x="419893" y="194161"/>
                    <a:pt x="419893" y="188722"/>
                  </a:cubicBezTo>
                  <a:cubicBezTo>
                    <a:pt x="419893" y="183282"/>
                    <a:pt x="419893" y="147927"/>
                    <a:pt x="419893" y="139768"/>
                  </a:cubicBezTo>
                  <a:cubicBezTo>
                    <a:pt x="419893" y="134329"/>
                    <a:pt x="419893" y="128889"/>
                    <a:pt x="419893" y="120730"/>
                  </a:cubicBezTo>
                  <a:cubicBezTo>
                    <a:pt x="411734" y="120730"/>
                    <a:pt x="403574" y="120730"/>
                    <a:pt x="395416" y="120730"/>
                  </a:cubicBezTo>
                  <a:cubicBezTo>
                    <a:pt x="387256" y="120730"/>
                    <a:pt x="379098" y="120730"/>
                    <a:pt x="370939" y="120730"/>
                  </a:cubicBezTo>
                  <a:cubicBezTo>
                    <a:pt x="362780" y="120730"/>
                    <a:pt x="354621" y="123450"/>
                    <a:pt x="346461" y="123450"/>
                  </a:cubicBezTo>
                  <a:cubicBezTo>
                    <a:pt x="343742" y="123450"/>
                    <a:pt x="341023" y="123450"/>
                    <a:pt x="335583" y="123450"/>
                  </a:cubicBezTo>
                  <a:cubicBezTo>
                    <a:pt x="335583" y="123450"/>
                    <a:pt x="335583" y="123450"/>
                    <a:pt x="335583" y="123450"/>
                  </a:cubicBezTo>
                  <a:cubicBezTo>
                    <a:pt x="327424" y="123450"/>
                    <a:pt x="324704" y="126170"/>
                    <a:pt x="324704" y="128889"/>
                  </a:cubicBezTo>
                  <a:cubicBezTo>
                    <a:pt x="324704" y="131609"/>
                    <a:pt x="324704" y="137048"/>
                    <a:pt x="327424" y="139768"/>
                  </a:cubicBezTo>
                  <a:cubicBezTo>
                    <a:pt x="330144" y="147927"/>
                    <a:pt x="330144" y="166964"/>
                    <a:pt x="330144" y="175123"/>
                  </a:cubicBezTo>
                  <a:cubicBezTo>
                    <a:pt x="330144" y="183282"/>
                    <a:pt x="330144" y="191441"/>
                    <a:pt x="330144" y="199600"/>
                  </a:cubicBezTo>
                  <a:cubicBezTo>
                    <a:pt x="330144" y="207759"/>
                    <a:pt x="327424" y="215918"/>
                    <a:pt x="327424" y="224077"/>
                  </a:cubicBezTo>
                  <a:cubicBezTo>
                    <a:pt x="327424" y="232236"/>
                    <a:pt x="330144" y="243115"/>
                    <a:pt x="330144" y="251274"/>
                  </a:cubicBezTo>
                  <a:cubicBezTo>
                    <a:pt x="330144" y="259433"/>
                    <a:pt x="330144" y="267592"/>
                    <a:pt x="327424" y="278470"/>
                  </a:cubicBezTo>
                  <a:cubicBezTo>
                    <a:pt x="327424" y="294788"/>
                    <a:pt x="327424" y="313826"/>
                    <a:pt x="327424" y="332864"/>
                  </a:cubicBezTo>
                  <a:cubicBezTo>
                    <a:pt x="327424" y="341022"/>
                    <a:pt x="327424" y="349181"/>
                    <a:pt x="330144" y="357340"/>
                  </a:cubicBezTo>
                  <a:cubicBezTo>
                    <a:pt x="330144" y="360060"/>
                    <a:pt x="330144" y="365499"/>
                    <a:pt x="330144" y="368219"/>
                  </a:cubicBezTo>
                  <a:cubicBezTo>
                    <a:pt x="330144" y="373658"/>
                    <a:pt x="332863" y="384537"/>
                    <a:pt x="332863" y="387257"/>
                  </a:cubicBezTo>
                  <a:cubicBezTo>
                    <a:pt x="332863" y="406294"/>
                    <a:pt x="332863" y="414453"/>
                    <a:pt x="332863" y="433491"/>
                  </a:cubicBezTo>
                  <a:cubicBezTo>
                    <a:pt x="332863" y="452528"/>
                    <a:pt x="335583" y="468846"/>
                    <a:pt x="332863" y="487884"/>
                  </a:cubicBezTo>
                  <a:cubicBezTo>
                    <a:pt x="332863" y="496043"/>
                    <a:pt x="330144" y="504202"/>
                    <a:pt x="330144" y="512361"/>
                  </a:cubicBezTo>
                  <a:cubicBezTo>
                    <a:pt x="330144" y="520520"/>
                    <a:pt x="330144" y="531398"/>
                    <a:pt x="330144" y="539557"/>
                  </a:cubicBezTo>
                  <a:cubicBezTo>
                    <a:pt x="330144" y="558595"/>
                    <a:pt x="330144" y="574913"/>
                    <a:pt x="332863" y="593950"/>
                  </a:cubicBezTo>
                  <a:cubicBezTo>
                    <a:pt x="332863" y="610268"/>
                    <a:pt x="332863" y="632026"/>
                    <a:pt x="332863" y="648343"/>
                  </a:cubicBezTo>
                  <a:cubicBezTo>
                    <a:pt x="332863" y="651063"/>
                    <a:pt x="332863" y="653783"/>
                    <a:pt x="332863" y="656502"/>
                  </a:cubicBezTo>
                  <a:cubicBezTo>
                    <a:pt x="343742" y="656502"/>
                    <a:pt x="351901" y="656502"/>
                    <a:pt x="357341" y="656502"/>
                  </a:cubicBezTo>
                  <a:cubicBezTo>
                    <a:pt x="370939" y="656502"/>
                    <a:pt x="395416" y="659222"/>
                    <a:pt x="395416" y="675540"/>
                  </a:cubicBezTo>
                  <a:cubicBezTo>
                    <a:pt x="395416" y="683699"/>
                    <a:pt x="392696" y="686419"/>
                    <a:pt x="389976" y="691858"/>
                  </a:cubicBezTo>
                  <a:cubicBezTo>
                    <a:pt x="384537" y="697297"/>
                    <a:pt x="379098" y="700017"/>
                    <a:pt x="373658" y="700017"/>
                  </a:cubicBezTo>
                  <a:cubicBezTo>
                    <a:pt x="365499" y="702737"/>
                    <a:pt x="357341" y="702737"/>
                    <a:pt x="351901" y="702737"/>
                  </a:cubicBezTo>
                  <a:cubicBezTo>
                    <a:pt x="349181" y="702737"/>
                    <a:pt x="335583" y="702737"/>
                    <a:pt x="319265" y="702737"/>
                  </a:cubicBezTo>
                  <a:cubicBezTo>
                    <a:pt x="316546" y="705456"/>
                    <a:pt x="313826" y="705456"/>
                    <a:pt x="311106" y="708176"/>
                  </a:cubicBezTo>
                  <a:cubicBezTo>
                    <a:pt x="302948" y="713615"/>
                    <a:pt x="297508" y="713615"/>
                    <a:pt x="289349" y="713615"/>
                  </a:cubicBezTo>
                  <a:cubicBezTo>
                    <a:pt x="283910" y="713615"/>
                    <a:pt x="278470" y="713615"/>
                    <a:pt x="270311" y="713615"/>
                  </a:cubicBezTo>
                  <a:cubicBezTo>
                    <a:pt x="259433" y="713615"/>
                    <a:pt x="251273" y="710895"/>
                    <a:pt x="243115" y="705456"/>
                  </a:cubicBezTo>
                  <a:cubicBezTo>
                    <a:pt x="240395" y="705456"/>
                    <a:pt x="237675" y="702737"/>
                    <a:pt x="237675" y="702737"/>
                  </a:cubicBezTo>
                  <a:cubicBezTo>
                    <a:pt x="224077" y="702737"/>
                    <a:pt x="213198" y="702737"/>
                    <a:pt x="199600" y="702737"/>
                  </a:cubicBezTo>
                  <a:cubicBezTo>
                    <a:pt x="191441" y="702737"/>
                    <a:pt x="183282" y="702737"/>
                    <a:pt x="175123" y="702737"/>
                  </a:cubicBezTo>
                  <a:cubicBezTo>
                    <a:pt x="166965" y="702737"/>
                    <a:pt x="156085" y="702737"/>
                    <a:pt x="147927" y="697297"/>
                  </a:cubicBezTo>
                  <a:cubicBezTo>
                    <a:pt x="139768" y="694578"/>
                    <a:pt x="131609" y="680979"/>
                    <a:pt x="131609" y="678260"/>
                  </a:cubicBezTo>
                  <a:cubicBezTo>
                    <a:pt x="131609" y="675540"/>
                    <a:pt x="131609" y="672820"/>
                    <a:pt x="137048" y="670101"/>
                  </a:cubicBezTo>
                  <a:cubicBezTo>
                    <a:pt x="142487" y="667381"/>
                    <a:pt x="153366" y="664661"/>
                    <a:pt x="158805" y="661942"/>
                  </a:cubicBezTo>
                  <a:cubicBezTo>
                    <a:pt x="175123" y="659222"/>
                    <a:pt x="191441" y="659222"/>
                    <a:pt x="199600" y="659222"/>
                  </a:cubicBezTo>
                  <a:lnTo>
                    <a:pt x="199600" y="659222"/>
                  </a:lnTo>
                  <a:cubicBezTo>
                    <a:pt x="199600" y="648343"/>
                    <a:pt x="196880" y="640184"/>
                    <a:pt x="196880" y="629306"/>
                  </a:cubicBezTo>
                  <a:cubicBezTo>
                    <a:pt x="196880" y="612988"/>
                    <a:pt x="196880" y="591231"/>
                    <a:pt x="199600" y="574913"/>
                  </a:cubicBezTo>
                  <a:cubicBezTo>
                    <a:pt x="199600" y="558595"/>
                    <a:pt x="199600" y="539557"/>
                    <a:pt x="202320" y="523239"/>
                  </a:cubicBezTo>
                  <a:cubicBezTo>
                    <a:pt x="202320" y="501482"/>
                    <a:pt x="205040" y="482445"/>
                    <a:pt x="205040" y="460687"/>
                  </a:cubicBezTo>
                  <a:cubicBezTo>
                    <a:pt x="205040" y="447089"/>
                    <a:pt x="205040" y="430771"/>
                    <a:pt x="205040" y="417173"/>
                  </a:cubicBezTo>
                  <a:cubicBezTo>
                    <a:pt x="205040" y="409014"/>
                    <a:pt x="207759" y="400855"/>
                    <a:pt x="207759" y="392696"/>
                  </a:cubicBezTo>
                  <a:cubicBezTo>
                    <a:pt x="207759" y="384537"/>
                    <a:pt x="210478" y="376378"/>
                    <a:pt x="210478" y="368219"/>
                  </a:cubicBezTo>
                  <a:cubicBezTo>
                    <a:pt x="210478" y="351901"/>
                    <a:pt x="210478" y="332864"/>
                    <a:pt x="210478" y="313826"/>
                  </a:cubicBezTo>
                  <a:cubicBezTo>
                    <a:pt x="210478" y="294788"/>
                    <a:pt x="210478" y="275751"/>
                    <a:pt x="210478" y="259433"/>
                  </a:cubicBezTo>
                  <a:cubicBezTo>
                    <a:pt x="210478" y="243115"/>
                    <a:pt x="210478" y="226797"/>
                    <a:pt x="210478" y="213199"/>
                  </a:cubicBezTo>
                  <a:cubicBezTo>
                    <a:pt x="210478" y="194161"/>
                    <a:pt x="210478" y="164245"/>
                    <a:pt x="210478" y="145207"/>
                  </a:cubicBezTo>
                  <a:cubicBezTo>
                    <a:pt x="210478" y="139768"/>
                    <a:pt x="213198" y="134329"/>
                    <a:pt x="213198" y="131609"/>
                  </a:cubicBezTo>
                  <a:cubicBezTo>
                    <a:pt x="213198" y="126170"/>
                    <a:pt x="207759" y="123450"/>
                    <a:pt x="205040" y="123450"/>
                  </a:cubicBezTo>
                  <a:cubicBezTo>
                    <a:pt x="199600" y="123450"/>
                    <a:pt x="166965" y="123450"/>
                    <a:pt x="161525" y="123450"/>
                  </a:cubicBezTo>
                  <a:cubicBezTo>
                    <a:pt x="145207" y="123450"/>
                    <a:pt x="128889" y="123450"/>
                    <a:pt x="112571" y="120730"/>
                  </a:cubicBezTo>
                  <a:cubicBezTo>
                    <a:pt x="109852" y="120730"/>
                    <a:pt x="107132" y="120730"/>
                    <a:pt x="104412" y="118011"/>
                  </a:cubicBezTo>
                  <a:cubicBezTo>
                    <a:pt x="107132" y="137048"/>
                    <a:pt x="107132" y="172404"/>
                    <a:pt x="107132" y="191441"/>
                  </a:cubicBezTo>
                  <a:cubicBezTo>
                    <a:pt x="107132" y="202320"/>
                    <a:pt x="107132" y="224077"/>
                    <a:pt x="90814" y="224077"/>
                  </a:cubicBezTo>
                  <a:cubicBezTo>
                    <a:pt x="82655" y="224077"/>
                    <a:pt x="79935" y="221357"/>
                    <a:pt x="74496" y="218638"/>
                  </a:cubicBezTo>
                  <a:cubicBezTo>
                    <a:pt x="69057" y="215918"/>
                    <a:pt x="66337" y="210479"/>
                    <a:pt x="66337" y="205040"/>
                  </a:cubicBezTo>
                  <a:cubicBezTo>
                    <a:pt x="63617" y="196881"/>
                    <a:pt x="63617" y="191441"/>
                    <a:pt x="63617" y="186002"/>
                  </a:cubicBezTo>
                  <a:cubicBezTo>
                    <a:pt x="63617" y="180563"/>
                    <a:pt x="63617" y="153366"/>
                    <a:pt x="63617" y="145207"/>
                  </a:cubicBezTo>
                  <a:cubicBezTo>
                    <a:pt x="63617" y="134329"/>
                    <a:pt x="63617" y="120730"/>
                    <a:pt x="63617" y="109852"/>
                  </a:cubicBezTo>
                  <a:cubicBezTo>
                    <a:pt x="60897" y="104412"/>
                    <a:pt x="58178" y="101693"/>
                    <a:pt x="58178" y="96253"/>
                  </a:cubicBezTo>
                  <a:cubicBezTo>
                    <a:pt x="58178" y="93534"/>
                    <a:pt x="60897" y="88095"/>
                    <a:pt x="66337" y="85375"/>
                  </a:cubicBezTo>
                  <a:cubicBezTo>
                    <a:pt x="74496" y="79936"/>
                    <a:pt x="77215" y="77216"/>
                    <a:pt x="93533" y="77216"/>
                  </a:cubicBezTo>
                  <a:cubicBezTo>
                    <a:pt x="101692" y="77216"/>
                    <a:pt x="109852" y="77216"/>
                    <a:pt x="115290" y="77216"/>
                  </a:cubicBezTo>
                  <a:cubicBezTo>
                    <a:pt x="134328" y="77216"/>
                    <a:pt x="150646" y="77216"/>
                    <a:pt x="169684" y="74496"/>
                  </a:cubicBezTo>
                  <a:cubicBezTo>
                    <a:pt x="177843" y="74496"/>
                    <a:pt x="186002" y="71776"/>
                    <a:pt x="194161" y="71776"/>
                  </a:cubicBezTo>
                  <a:cubicBezTo>
                    <a:pt x="194161" y="71776"/>
                    <a:pt x="196880" y="71776"/>
                    <a:pt x="196880" y="71776"/>
                  </a:cubicBezTo>
                  <a:cubicBezTo>
                    <a:pt x="199600" y="71776"/>
                    <a:pt x="205040" y="71776"/>
                    <a:pt x="210478" y="71776"/>
                  </a:cubicBezTo>
                  <a:cubicBezTo>
                    <a:pt x="213198" y="71776"/>
                    <a:pt x="215918" y="71776"/>
                    <a:pt x="218638" y="71776"/>
                  </a:cubicBezTo>
                  <a:cubicBezTo>
                    <a:pt x="224077" y="69057"/>
                    <a:pt x="229516" y="63618"/>
                    <a:pt x="237675" y="60898"/>
                  </a:cubicBezTo>
                  <a:cubicBezTo>
                    <a:pt x="243115" y="58178"/>
                    <a:pt x="248554" y="58178"/>
                    <a:pt x="253993" y="58178"/>
                  </a:cubicBezTo>
                  <a:cubicBezTo>
                    <a:pt x="264872" y="58178"/>
                    <a:pt x="273031" y="58178"/>
                    <a:pt x="283910" y="60898"/>
                  </a:cubicBezTo>
                  <a:cubicBezTo>
                    <a:pt x="286629" y="60898"/>
                    <a:pt x="292068" y="63618"/>
                    <a:pt x="294788" y="66337"/>
                  </a:cubicBezTo>
                  <a:cubicBezTo>
                    <a:pt x="297508" y="69057"/>
                    <a:pt x="302948" y="71776"/>
                    <a:pt x="305667" y="74496"/>
                  </a:cubicBezTo>
                  <a:cubicBezTo>
                    <a:pt x="308386" y="74496"/>
                    <a:pt x="311106" y="74496"/>
                    <a:pt x="313826" y="74496"/>
                  </a:cubicBezTo>
                  <a:cubicBezTo>
                    <a:pt x="319265" y="74496"/>
                    <a:pt x="321985" y="74496"/>
                    <a:pt x="327424" y="74496"/>
                  </a:cubicBezTo>
                  <a:cubicBezTo>
                    <a:pt x="335583" y="74496"/>
                    <a:pt x="346461" y="74496"/>
                    <a:pt x="354621" y="74496"/>
                  </a:cubicBezTo>
                  <a:cubicBezTo>
                    <a:pt x="376378" y="74496"/>
                    <a:pt x="400855" y="74496"/>
                    <a:pt x="422612" y="74496"/>
                  </a:cubicBezTo>
                  <a:cubicBezTo>
                    <a:pt x="433491" y="74496"/>
                    <a:pt x="447089" y="74496"/>
                    <a:pt x="455248" y="79936"/>
                  </a:cubicBezTo>
                  <a:cubicBezTo>
                    <a:pt x="460687" y="82655"/>
                    <a:pt x="466127" y="90814"/>
                    <a:pt x="466127" y="98973"/>
                  </a:cubicBezTo>
                  <a:cubicBezTo>
                    <a:pt x="466127" y="101693"/>
                    <a:pt x="466127" y="107132"/>
                    <a:pt x="463407" y="109852"/>
                  </a:cubicBezTo>
                  <a:cubicBezTo>
                    <a:pt x="463407" y="112571"/>
                    <a:pt x="463407" y="112571"/>
                    <a:pt x="463407" y="120730"/>
                  </a:cubicBezTo>
                  <a:cubicBezTo>
                    <a:pt x="463407" y="142488"/>
                    <a:pt x="463407" y="172404"/>
                    <a:pt x="463407" y="194161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A0129EEC-9B42-496F-A2D1-85996ED46E8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96000" y="457200"/>
            <a:ext cx="5715000" cy="2565401"/>
          </a:xfrm>
          <a:prstGeom prst="rect">
            <a:avLst/>
          </a:prstGeom>
        </p:spPr>
        <p:txBody>
          <a:bodyPr anchor="b"/>
          <a:lstStyle>
            <a:lvl1pPr algn="l">
              <a:lnSpc>
                <a:spcPct val="82000"/>
              </a:lnSpc>
              <a:defRPr sz="66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7FC3C0E5-30C1-434C-9ECA-434F7A55C49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096000" y="3306349"/>
            <a:ext cx="5715000" cy="731520"/>
          </a:xfrm>
          <a:prstGeom prst="rect">
            <a:avLst/>
          </a:prstGeom>
        </p:spPr>
        <p:txBody>
          <a:bodyPr/>
          <a:lstStyle>
            <a:lvl1pPr marL="0" indent="0" algn="l">
              <a:spcBef>
                <a:spcPts val="0"/>
              </a:spcBef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ubtitle or Presenter Name</a:t>
            </a:r>
          </a:p>
        </p:txBody>
      </p:sp>
    </p:spTree>
    <p:extLst>
      <p:ext uri="{BB962C8B-B14F-4D97-AF65-F5344CB8AC3E}">
        <p14:creationId xmlns:p14="http://schemas.microsoft.com/office/powerpoint/2010/main" val="851694479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451214" y="518651"/>
            <a:ext cx="8493867" cy="485335"/>
          </a:xfrm>
          <a:prstGeom prst="rect">
            <a:avLst/>
          </a:prstGeom>
        </p:spPr>
        <p:txBody>
          <a:bodyPr/>
          <a:lstStyle>
            <a:lvl1pPr>
              <a:defRPr sz="3600" baseline="0">
                <a:solidFill>
                  <a:srgbClr val="E18719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DBCD2B53-A30F-4FC9-9906-880BE98B041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8296" t="73125"/>
          <a:stretch/>
        </p:blipFill>
        <p:spPr>
          <a:xfrm>
            <a:off x="0" y="0"/>
            <a:ext cx="3976425" cy="1436984"/>
          </a:xfrm>
          <a:prstGeom prst="rect">
            <a:avLst/>
          </a:prstGeom>
        </p:spPr>
      </p:pic>
      <p:sp>
        <p:nvSpPr>
          <p:cNvPr id="7" name="Free Form 97">
            <a:extLst>
              <a:ext uri="{FF2B5EF4-FFF2-40B4-BE49-F238E27FC236}">
                <a16:creationId xmlns:a16="http://schemas.microsoft.com/office/drawing/2014/main" id="{C3405FB7-4A51-4439-B64A-459E1F1BC15B}"/>
              </a:ext>
            </a:extLst>
          </p:cNvPr>
          <p:cNvSpPr/>
          <p:nvPr userDrawn="1"/>
        </p:nvSpPr>
        <p:spPr>
          <a:xfrm>
            <a:off x="2043015" y="1209728"/>
            <a:ext cx="10241280" cy="64008"/>
          </a:xfrm>
          <a:custGeom>
            <a:avLst/>
            <a:gdLst/>
            <a:ahLst/>
            <a:cxnLst/>
            <a:rect l="0" t="0" r="0" b="0"/>
            <a:pathLst>
              <a:path w="8732704" h="216115">
                <a:moveTo>
                  <a:pt x="8732704" y="68302"/>
                </a:moveTo>
                <a:cubicBezTo>
                  <a:pt x="8732704" y="56280"/>
                  <a:pt x="8713647" y="47444"/>
                  <a:pt x="8679457" y="47428"/>
                </a:cubicBezTo>
                <a:cubicBezTo>
                  <a:pt x="5940644" y="45781"/>
                  <a:pt x="3072661" y="0"/>
                  <a:pt x="335880" y="33943"/>
                </a:cubicBezTo>
                <a:cubicBezTo>
                  <a:pt x="251906" y="33943"/>
                  <a:pt x="0" y="68056"/>
                  <a:pt x="0" y="102662"/>
                </a:cubicBezTo>
                <a:cubicBezTo>
                  <a:pt x="0" y="216115"/>
                  <a:pt x="839693" y="137021"/>
                  <a:pt x="1259532" y="137021"/>
                </a:cubicBezTo>
                <a:cubicBezTo>
                  <a:pt x="1931277" y="102662"/>
                  <a:pt x="2603022" y="102662"/>
                  <a:pt x="3274768" y="102662"/>
                </a:cubicBezTo>
                <a:cubicBezTo>
                  <a:pt x="5038097" y="171380"/>
                  <a:pt x="6717468" y="137021"/>
                  <a:pt x="8480813" y="137021"/>
                </a:cubicBezTo>
                <a:cubicBezTo>
                  <a:pt x="8564772" y="137021"/>
                  <a:pt x="8732704" y="137021"/>
                  <a:pt x="8732704" y="68302"/>
                </a:cubicBezTo>
                <a:close/>
              </a:path>
            </a:pathLst>
          </a:custGeom>
          <a:solidFill>
            <a:srgbClr val="4F206F">
              <a:alpha val="100000"/>
            </a:srgbClr>
          </a:solidFill>
          <a:ln w="12700" cap="flat" cmpd="sng">
            <a:noFill/>
            <a:prstDash val="solid"/>
            <a:miter lim="800000"/>
          </a:ln>
        </p:spPr>
        <p:txBody>
          <a:bodyPr anchor="ctr">
            <a:spAutoFit/>
          </a:bodyPr>
          <a:lstStyle/>
          <a:p>
            <a:pPr algn="ctr"/>
            <a:endParaRPr lang="en-US" sz="1485"/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F2257C3D-9932-4452-82C6-B5C9E5DE453C}"/>
              </a:ext>
            </a:extLst>
          </p:cNvPr>
          <p:cNvGrpSpPr/>
          <p:nvPr userDrawn="1"/>
        </p:nvGrpSpPr>
        <p:grpSpPr>
          <a:xfrm>
            <a:off x="246919" y="254412"/>
            <a:ext cx="2363121" cy="588647"/>
            <a:chOff x="246919" y="254412"/>
            <a:chExt cx="2363121" cy="588647"/>
          </a:xfrm>
        </p:grpSpPr>
        <p:sp>
          <p:nvSpPr>
            <p:cNvPr id="9" name="Freeform: Shape 6">
              <a:extLst>
                <a:ext uri="{FF2B5EF4-FFF2-40B4-BE49-F238E27FC236}">
                  <a16:creationId xmlns:a16="http://schemas.microsoft.com/office/drawing/2014/main" id="{E2A6EBA8-A91A-4CC8-B977-C61FC81A528A}"/>
                </a:ext>
              </a:extLst>
            </p:cNvPr>
            <p:cNvSpPr/>
            <p:nvPr/>
          </p:nvSpPr>
          <p:spPr>
            <a:xfrm>
              <a:off x="246919" y="544204"/>
              <a:ext cx="280308" cy="192211"/>
            </a:xfrm>
            <a:custGeom>
              <a:avLst/>
              <a:gdLst>
                <a:gd name="connsiteX0" fmla="*/ 903041 w 951880"/>
                <a:gd name="connsiteY0" fmla="*/ 330574 h 652717"/>
                <a:gd name="connsiteX1" fmla="*/ 780656 w 951880"/>
                <a:gd name="connsiteY1" fmla="*/ 379528 h 652717"/>
                <a:gd name="connsiteX2" fmla="*/ 598439 w 951880"/>
                <a:gd name="connsiteY2" fmla="*/ 311537 h 652717"/>
                <a:gd name="connsiteX3" fmla="*/ 505970 w 951880"/>
                <a:gd name="connsiteY3" fmla="*/ 164675 h 652717"/>
                <a:gd name="connsiteX4" fmla="*/ 266640 w 951880"/>
                <a:gd name="connsiteY4" fmla="*/ 61329 h 652717"/>
                <a:gd name="connsiteX5" fmla="*/ 103461 w 951880"/>
                <a:gd name="connsiteY5" fmla="*/ 458398 h 652717"/>
                <a:gd name="connsiteX6" fmla="*/ 756179 w 951880"/>
                <a:gd name="connsiteY6" fmla="*/ 485595 h 652717"/>
                <a:gd name="connsiteX7" fmla="*/ 903041 w 951880"/>
                <a:gd name="connsiteY7" fmla="*/ 330574 h 6527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51880" h="652717">
                  <a:moveTo>
                    <a:pt x="903041" y="330574"/>
                  </a:moveTo>
                  <a:cubicBezTo>
                    <a:pt x="867685" y="363210"/>
                    <a:pt x="813292" y="374089"/>
                    <a:pt x="780656" y="379528"/>
                  </a:cubicBezTo>
                  <a:cubicBezTo>
                    <a:pt x="712664" y="387687"/>
                    <a:pt x="641953" y="365930"/>
                    <a:pt x="598439" y="311537"/>
                  </a:cubicBezTo>
                  <a:cubicBezTo>
                    <a:pt x="563083" y="268022"/>
                    <a:pt x="544046" y="210910"/>
                    <a:pt x="505970" y="164675"/>
                  </a:cubicBezTo>
                  <a:cubicBezTo>
                    <a:pt x="448858" y="93964"/>
                    <a:pt x="359109" y="45011"/>
                    <a:pt x="266640" y="61329"/>
                  </a:cubicBezTo>
                  <a:cubicBezTo>
                    <a:pt x="81704" y="93964"/>
                    <a:pt x="114" y="308817"/>
                    <a:pt x="103461" y="458398"/>
                  </a:cubicBezTo>
                  <a:cubicBezTo>
                    <a:pt x="253042" y="670531"/>
                    <a:pt x="584840" y="635176"/>
                    <a:pt x="756179" y="485595"/>
                  </a:cubicBezTo>
                  <a:cubicBezTo>
                    <a:pt x="813292" y="442080"/>
                    <a:pt x="862246" y="390407"/>
                    <a:pt x="903041" y="330574"/>
                  </a:cubicBezTo>
                </a:path>
              </a:pathLst>
            </a:custGeom>
            <a:solidFill>
              <a:srgbClr val="FFFFFF"/>
            </a:solidFill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" name="Freeform: Shape 8">
              <a:extLst>
                <a:ext uri="{FF2B5EF4-FFF2-40B4-BE49-F238E27FC236}">
                  <a16:creationId xmlns:a16="http://schemas.microsoft.com/office/drawing/2014/main" id="{D718DFEE-CCCF-4806-9B04-B65866E5FF92}"/>
                </a:ext>
              </a:extLst>
            </p:cNvPr>
            <p:cNvSpPr/>
            <p:nvPr/>
          </p:nvSpPr>
          <p:spPr>
            <a:xfrm>
              <a:off x="2329732" y="544204"/>
              <a:ext cx="280308" cy="192211"/>
            </a:xfrm>
            <a:custGeom>
              <a:avLst/>
              <a:gdLst>
                <a:gd name="connsiteX0" fmla="*/ 58178 w 951880"/>
                <a:gd name="connsiteY0" fmla="*/ 330574 h 652717"/>
                <a:gd name="connsiteX1" fmla="*/ 180563 w 951880"/>
                <a:gd name="connsiteY1" fmla="*/ 379528 h 652717"/>
                <a:gd name="connsiteX2" fmla="*/ 362780 w 951880"/>
                <a:gd name="connsiteY2" fmla="*/ 311537 h 652717"/>
                <a:gd name="connsiteX3" fmla="*/ 455249 w 951880"/>
                <a:gd name="connsiteY3" fmla="*/ 164675 h 652717"/>
                <a:gd name="connsiteX4" fmla="*/ 694578 w 951880"/>
                <a:gd name="connsiteY4" fmla="*/ 61329 h 652717"/>
                <a:gd name="connsiteX5" fmla="*/ 857758 w 951880"/>
                <a:gd name="connsiteY5" fmla="*/ 458398 h 652717"/>
                <a:gd name="connsiteX6" fmla="*/ 205040 w 951880"/>
                <a:gd name="connsiteY6" fmla="*/ 485595 h 652717"/>
                <a:gd name="connsiteX7" fmla="*/ 58178 w 951880"/>
                <a:gd name="connsiteY7" fmla="*/ 330574 h 6527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51880" h="652717">
                  <a:moveTo>
                    <a:pt x="58178" y="330574"/>
                  </a:moveTo>
                  <a:cubicBezTo>
                    <a:pt x="96253" y="363210"/>
                    <a:pt x="147927" y="374089"/>
                    <a:pt x="180563" y="379528"/>
                  </a:cubicBezTo>
                  <a:cubicBezTo>
                    <a:pt x="248554" y="387687"/>
                    <a:pt x="319266" y="365930"/>
                    <a:pt x="362780" y="311537"/>
                  </a:cubicBezTo>
                  <a:cubicBezTo>
                    <a:pt x="398136" y="268022"/>
                    <a:pt x="417174" y="210910"/>
                    <a:pt x="455249" y="164675"/>
                  </a:cubicBezTo>
                  <a:cubicBezTo>
                    <a:pt x="512362" y="93964"/>
                    <a:pt x="602110" y="45011"/>
                    <a:pt x="694578" y="61329"/>
                  </a:cubicBezTo>
                  <a:cubicBezTo>
                    <a:pt x="879515" y="93964"/>
                    <a:pt x="961105" y="308817"/>
                    <a:pt x="857758" y="458398"/>
                  </a:cubicBezTo>
                  <a:cubicBezTo>
                    <a:pt x="708176" y="670531"/>
                    <a:pt x="376379" y="635176"/>
                    <a:pt x="205040" y="485595"/>
                  </a:cubicBezTo>
                  <a:cubicBezTo>
                    <a:pt x="150646" y="442080"/>
                    <a:pt x="101693" y="390407"/>
                    <a:pt x="58178" y="330574"/>
                  </a:cubicBezTo>
                </a:path>
              </a:pathLst>
            </a:custGeom>
            <a:solidFill>
              <a:srgbClr val="FFFFFF"/>
            </a:solidFill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F6E34884-3142-46B5-8FC9-7652AEACBAE5}"/>
                </a:ext>
              </a:extLst>
            </p:cNvPr>
            <p:cNvSpPr/>
            <p:nvPr/>
          </p:nvSpPr>
          <p:spPr>
            <a:xfrm>
              <a:off x="1990923" y="290452"/>
              <a:ext cx="216238" cy="88097"/>
            </a:xfrm>
            <a:custGeom>
              <a:avLst/>
              <a:gdLst>
                <a:gd name="connsiteX0" fmla="*/ 596792 w 734307"/>
                <a:gd name="connsiteY0" fmla="*/ 58178 h 299162"/>
                <a:gd name="connsiteX1" fmla="*/ 148048 w 734307"/>
                <a:gd name="connsiteY1" fmla="*/ 58178 h 299162"/>
                <a:gd name="connsiteX2" fmla="*/ 58299 w 734307"/>
                <a:gd name="connsiteY2" fmla="*/ 150646 h 299162"/>
                <a:gd name="connsiteX3" fmla="*/ 148048 w 734307"/>
                <a:gd name="connsiteY3" fmla="*/ 251274 h 299162"/>
                <a:gd name="connsiteX4" fmla="*/ 596792 w 734307"/>
                <a:gd name="connsiteY4" fmla="*/ 251274 h 299162"/>
                <a:gd name="connsiteX5" fmla="*/ 686541 w 734307"/>
                <a:gd name="connsiteY5" fmla="*/ 158805 h 299162"/>
                <a:gd name="connsiteX6" fmla="*/ 596792 w 734307"/>
                <a:gd name="connsiteY6" fmla="*/ 58178 h 2991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34307" h="299162">
                  <a:moveTo>
                    <a:pt x="596792" y="58178"/>
                  </a:moveTo>
                  <a:cubicBezTo>
                    <a:pt x="591353" y="58178"/>
                    <a:pt x="153487" y="58178"/>
                    <a:pt x="148048" y="58178"/>
                  </a:cubicBezTo>
                  <a:cubicBezTo>
                    <a:pt x="99094" y="60898"/>
                    <a:pt x="61019" y="104412"/>
                    <a:pt x="58299" y="150646"/>
                  </a:cubicBezTo>
                  <a:cubicBezTo>
                    <a:pt x="55580" y="199600"/>
                    <a:pt x="99094" y="248554"/>
                    <a:pt x="148048" y="251274"/>
                  </a:cubicBezTo>
                  <a:cubicBezTo>
                    <a:pt x="153487" y="251274"/>
                    <a:pt x="591353" y="251274"/>
                    <a:pt x="596792" y="251274"/>
                  </a:cubicBezTo>
                  <a:cubicBezTo>
                    <a:pt x="645746" y="248554"/>
                    <a:pt x="683821" y="205040"/>
                    <a:pt x="686541" y="158805"/>
                  </a:cubicBezTo>
                  <a:cubicBezTo>
                    <a:pt x="689260" y="109852"/>
                    <a:pt x="648465" y="60898"/>
                    <a:pt x="596792" y="58178"/>
                  </a:cubicBezTo>
                </a:path>
              </a:pathLst>
            </a:custGeom>
            <a:solidFill>
              <a:srgbClr val="FFFFFF"/>
            </a:solidFill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2B9ABB82-9A23-4E6C-8E86-0BEA09232873}"/>
                </a:ext>
              </a:extLst>
            </p:cNvPr>
            <p:cNvSpPr/>
            <p:nvPr/>
          </p:nvSpPr>
          <p:spPr>
            <a:xfrm>
              <a:off x="1083560" y="368938"/>
              <a:ext cx="296326" cy="280308"/>
            </a:xfrm>
            <a:custGeom>
              <a:avLst/>
              <a:gdLst>
                <a:gd name="connsiteX0" fmla="*/ 884954 w 1006273"/>
                <a:gd name="connsiteY0" fmla="*/ 746251 h 951879"/>
                <a:gd name="connsiteX1" fmla="*/ 874076 w 1006273"/>
                <a:gd name="connsiteY1" fmla="*/ 670101 h 951879"/>
                <a:gd name="connsiteX2" fmla="*/ 874076 w 1006273"/>
                <a:gd name="connsiteY2" fmla="*/ 536837 h 951879"/>
                <a:gd name="connsiteX3" fmla="*/ 689139 w 1006273"/>
                <a:gd name="connsiteY3" fmla="*/ 88094 h 951879"/>
                <a:gd name="connsiteX4" fmla="*/ 428052 w 1006273"/>
                <a:gd name="connsiteY4" fmla="*/ 253993 h 951879"/>
                <a:gd name="connsiteX5" fmla="*/ 196881 w 1006273"/>
                <a:gd name="connsiteY5" fmla="*/ 58178 h 951879"/>
                <a:gd name="connsiteX6" fmla="*/ 58178 w 1006273"/>
                <a:gd name="connsiteY6" fmla="*/ 128889 h 951879"/>
                <a:gd name="connsiteX7" fmla="*/ 142488 w 1006273"/>
                <a:gd name="connsiteY7" fmla="*/ 273031 h 951879"/>
                <a:gd name="connsiteX8" fmla="*/ 142488 w 1006273"/>
                <a:gd name="connsiteY8" fmla="*/ 757130 h 951879"/>
                <a:gd name="connsiteX9" fmla="*/ 283910 w 1006273"/>
                <a:gd name="connsiteY9" fmla="*/ 895832 h 951879"/>
                <a:gd name="connsiteX10" fmla="*/ 428052 w 1006273"/>
                <a:gd name="connsiteY10" fmla="*/ 757130 h 951879"/>
                <a:gd name="connsiteX11" fmla="*/ 428052 w 1006273"/>
                <a:gd name="connsiteY11" fmla="*/ 400855 h 951879"/>
                <a:gd name="connsiteX12" fmla="*/ 523240 w 1006273"/>
                <a:gd name="connsiteY12" fmla="*/ 283910 h 951879"/>
                <a:gd name="connsiteX13" fmla="*/ 591231 w 1006273"/>
                <a:gd name="connsiteY13" fmla="*/ 354621 h 951879"/>
                <a:gd name="connsiteX14" fmla="*/ 591231 w 1006273"/>
                <a:gd name="connsiteY14" fmla="*/ 697297 h 951879"/>
                <a:gd name="connsiteX15" fmla="*/ 593951 w 1006273"/>
                <a:gd name="connsiteY15" fmla="*/ 729933 h 951879"/>
                <a:gd name="connsiteX16" fmla="*/ 610269 w 1006273"/>
                <a:gd name="connsiteY16" fmla="*/ 778887 h 951879"/>
                <a:gd name="connsiteX17" fmla="*/ 822402 w 1006273"/>
                <a:gd name="connsiteY17" fmla="*/ 893112 h 951879"/>
                <a:gd name="connsiteX18" fmla="*/ 961105 w 1006273"/>
                <a:gd name="connsiteY18" fmla="*/ 822401 h 951879"/>
                <a:gd name="connsiteX19" fmla="*/ 884954 w 1006273"/>
                <a:gd name="connsiteY19" fmla="*/ 746251 h 9518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006273" h="951879">
                  <a:moveTo>
                    <a:pt x="884954" y="746251"/>
                  </a:moveTo>
                  <a:cubicBezTo>
                    <a:pt x="879515" y="721774"/>
                    <a:pt x="876795" y="694578"/>
                    <a:pt x="874076" y="670101"/>
                  </a:cubicBezTo>
                  <a:cubicBezTo>
                    <a:pt x="874076" y="634745"/>
                    <a:pt x="874076" y="583072"/>
                    <a:pt x="874076" y="536837"/>
                  </a:cubicBezTo>
                  <a:cubicBezTo>
                    <a:pt x="879515" y="373658"/>
                    <a:pt x="909431" y="88094"/>
                    <a:pt x="689139" y="88094"/>
                  </a:cubicBezTo>
                  <a:cubicBezTo>
                    <a:pt x="539558" y="88094"/>
                    <a:pt x="452529" y="213199"/>
                    <a:pt x="428052" y="253993"/>
                  </a:cubicBezTo>
                  <a:cubicBezTo>
                    <a:pt x="425332" y="139768"/>
                    <a:pt x="335583" y="58178"/>
                    <a:pt x="196881" y="58178"/>
                  </a:cubicBezTo>
                  <a:cubicBezTo>
                    <a:pt x="109852" y="58178"/>
                    <a:pt x="58178" y="128889"/>
                    <a:pt x="58178" y="128889"/>
                  </a:cubicBezTo>
                  <a:cubicBezTo>
                    <a:pt x="58178" y="128889"/>
                    <a:pt x="142488" y="158805"/>
                    <a:pt x="142488" y="273031"/>
                  </a:cubicBezTo>
                  <a:cubicBezTo>
                    <a:pt x="142488" y="354621"/>
                    <a:pt x="142488" y="757130"/>
                    <a:pt x="142488" y="757130"/>
                  </a:cubicBezTo>
                  <a:cubicBezTo>
                    <a:pt x="145207" y="827841"/>
                    <a:pt x="194161" y="895832"/>
                    <a:pt x="283910" y="895832"/>
                  </a:cubicBezTo>
                  <a:cubicBezTo>
                    <a:pt x="373659" y="895832"/>
                    <a:pt x="428052" y="827841"/>
                    <a:pt x="428052" y="757130"/>
                  </a:cubicBezTo>
                  <a:lnTo>
                    <a:pt x="428052" y="400855"/>
                  </a:lnTo>
                  <a:cubicBezTo>
                    <a:pt x="441650" y="343742"/>
                    <a:pt x="474286" y="283910"/>
                    <a:pt x="523240" y="283910"/>
                  </a:cubicBezTo>
                  <a:cubicBezTo>
                    <a:pt x="585792" y="283910"/>
                    <a:pt x="591231" y="354621"/>
                    <a:pt x="591231" y="354621"/>
                  </a:cubicBezTo>
                  <a:lnTo>
                    <a:pt x="591231" y="697297"/>
                  </a:lnTo>
                  <a:cubicBezTo>
                    <a:pt x="591231" y="708176"/>
                    <a:pt x="593951" y="719054"/>
                    <a:pt x="593951" y="729933"/>
                  </a:cubicBezTo>
                  <a:cubicBezTo>
                    <a:pt x="596671" y="748971"/>
                    <a:pt x="602110" y="765289"/>
                    <a:pt x="610269" y="778887"/>
                  </a:cubicBezTo>
                  <a:cubicBezTo>
                    <a:pt x="645624" y="846878"/>
                    <a:pt x="719055" y="893112"/>
                    <a:pt x="822402" y="893112"/>
                  </a:cubicBezTo>
                  <a:cubicBezTo>
                    <a:pt x="909431" y="893112"/>
                    <a:pt x="961105" y="822401"/>
                    <a:pt x="961105" y="822401"/>
                  </a:cubicBezTo>
                  <a:cubicBezTo>
                    <a:pt x="961105" y="822401"/>
                    <a:pt x="909431" y="808803"/>
                    <a:pt x="884954" y="746251"/>
                  </a:cubicBezTo>
                </a:path>
              </a:pathLst>
            </a:custGeom>
            <a:solidFill>
              <a:srgbClr val="FFFFFF"/>
            </a:solidFill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9B1131D4-D2AE-492F-9B86-D7FB518AB5BF}"/>
                </a:ext>
              </a:extLst>
            </p:cNvPr>
            <p:cNvSpPr/>
            <p:nvPr/>
          </p:nvSpPr>
          <p:spPr>
            <a:xfrm>
              <a:off x="1858713" y="254412"/>
              <a:ext cx="144159" cy="392432"/>
            </a:xfrm>
            <a:custGeom>
              <a:avLst/>
              <a:gdLst>
                <a:gd name="connsiteX0" fmla="*/ 368560 w 489538"/>
                <a:gd name="connsiteY0" fmla="*/ 1135162 h 1332630"/>
                <a:gd name="connsiteX1" fmla="*/ 357681 w 489538"/>
                <a:gd name="connsiteY1" fmla="*/ 1059011 h 1332630"/>
                <a:gd name="connsiteX2" fmla="*/ 357681 w 489538"/>
                <a:gd name="connsiteY2" fmla="*/ 207759 h 1332630"/>
                <a:gd name="connsiteX3" fmla="*/ 208099 w 489538"/>
                <a:gd name="connsiteY3" fmla="*/ 58178 h 1332630"/>
                <a:gd name="connsiteX4" fmla="*/ 58518 w 489538"/>
                <a:gd name="connsiteY4" fmla="*/ 207759 h 1332630"/>
                <a:gd name="connsiteX5" fmla="*/ 58518 w 489538"/>
                <a:gd name="connsiteY5" fmla="*/ 961104 h 1332630"/>
                <a:gd name="connsiteX6" fmla="*/ 85715 w 489538"/>
                <a:gd name="connsiteY6" fmla="*/ 1159639 h 1332630"/>
                <a:gd name="connsiteX7" fmla="*/ 306007 w 489538"/>
                <a:gd name="connsiteY7" fmla="*/ 1282023 h 1332630"/>
                <a:gd name="connsiteX8" fmla="*/ 444710 w 489538"/>
                <a:gd name="connsiteY8" fmla="*/ 1211312 h 1332630"/>
                <a:gd name="connsiteX9" fmla="*/ 368560 w 489538"/>
                <a:gd name="connsiteY9" fmla="*/ 1135162 h 13326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89538" h="1332630">
                  <a:moveTo>
                    <a:pt x="368560" y="1135162"/>
                  </a:moveTo>
                  <a:cubicBezTo>
                    <a:pt x="363120" y="1110685"/>
                    <a:pt x="357681" y="1083488"/>
                    <a:pt x="357681" y="1059011"/>
                  </a:cubicBezTo>
                  <a:lnTo>
                    <a:pt x="357681" y="207759"/>
                  </a:lnTo>
                  <a:cubicBezTo>
                    <a:pt x="357681" y="126170"/>
                    <a:pt x="289689" y="58178"/>
                    <a:pt x="208099" y="58178"/>
                  </a:cubicBezTo>
                  <a:cubicBezTo>
                    <a:pt x="126510" y="58178"/>
                    <a:pt x="58518" y="126170"/>
                    <a:pt x="58518" y="207759"/>
                  </a:cubicBezTo>
                  <a:lnTo>
                    <a:pt x="58518" y="961104"/>
                  </a:lnTo>
                  <a:cubicBezTo>
                    <a:pt x="58518" y="1029095"/>
                    <a:pt x="53079" y="1097086"/>
                    <a:pt x="85715" y="1159639"/>
                  </a:cubicBezTo>
                  <a:cubicBezTo>
                    <a:pt x="118351" y="1227630"/>
                    <a:pt x="202660" y="1282023"/>
                    <a:pt x="306007" y="1282023"/>
                  </a:cubicBezTo>
                  <a:cubicBezTo>
                    <a:pt x="393036" y="1282023"/>
                    <a:pt x="444710" y="1211312"/>
                    <a:pt x="444710" y="1211312"/>
                  </a:cubicBezTo>
                  <a:cubicBezTo>
                    <a:pt x="444710" y="1211312"/>
                    <a:pt x="393036" y="1197714"/>
                    <a:pt x="368560" y="1135162"/>
                  </a:cubicBezTo>
                </a:path>
              </a:pathLst>
            </a:custGeom>
            <a:solidFill>
              <a:srgbClr val="FFFFFF"/>
            </a:solidFill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97935BDF-D835-4A48-A6AF-5DA9639D0464}"/>
                </a:ext>
              </a:extLst>
            </p:cNvPr>
            <p:cNvSpPr/>
            <p:nvPr/>
          </p:nvSpPr>
          <p:spPr>
            <a:xfrm>
              <a:off x="860428" y="392477"/>
              <a:ext cx="240265" cy="240265"/>
            </a:xfrm>
            <a:custGeom>
              <a:avLst/>
              <a:gdLst>
                <a:gd name="connsiteX0" fmla="*/ 407949 w 815899"/>
                <a:gd name="connsiteY0" fmla="*/ 174058 h 815898"/>
                <a:gd name="connsiteX1" fmla="*/ 293723 w 815899"/>
                <a:gd name="connsiteY1" fmla="*/ 407950 h 815898"/>
                <a:gd name="connsiteX2" fmla="*/ 410669 w 815899"/>
                <a:gd name="connsiteY2" fmla="*/ 641840 h 815898"/>
                <a:gd name="connsiteX3" fmla="*/ 522175 w 815899"/>
                <a:gd name="connsiteY3" fmla="*/ 407950 h 815898"/>
                <a:gd name="connsiteX4" fmla="*/ 407949 w 815899"/>
                <a:gd name="connsiteY4" fmla="*/ 174058 h 815898"/>
                <a:gd name="connsiteX5" fmla="*/ 407950 w 815899"/>
                <a:gd name="connsiteY5" fmla="*/ 0 h 815898"/>
                <a:gd name="connsiteX6" fmla="*/ 815899 w 815899"/>
                <a:gd name="connsiteY6" fmla="*/ 407949 h 815898"/>
                <a:gd name="connsiteX7" fmla="*/ 407950 w 815899"/>
                <a:gd name="connsiteY7" fmla="*/ 815898 h 815898"/>
                <a:gd name="connsiteX8" fmla="*/ 0 w 815899"/>
                <a:gd name="connsiteY8" fmla="*/ 407949 h 815898"/>
                <a:gd name="connsiteX9" fmla="*/ 407950 w 815899"/>
                <a:gd name="connsiteY9" fmla="*/ 0 h 815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15899" h="815898">
                  <a:moveTo>
                    <a:pt x="407949" y="174058"/>
                  </a:moveTo>
                  <a:cubicBezTo>
                    <a:pt x="342677" y="174058"/>
                    <a:pt x="293723" y="263807"/>
                    <a:pt x="293723" y="407950"/>
                  </a:cubicBezTo>
                  <a:cubicBezTo>
                    <a:pt x="293723" y="552091"/>
                    <a:pt x="331799" y="639120"/>
                    <a:pt x="410669" y="641840"/>
                  </a:cubicBezTo>
                  <a:cubicBezTo>
                    <a:pt x="489539" y="641840"/>
                    <a:pt x="527614" y="552091"/>
                    <a:pt x="522175" y="407950"/>
                  </a:cubicBezTo>
                  <a:cubicBezTo>
                    <a:pt x="522175" y="263807"/>
                    <a:pt x="473221" y="176778"/>
                    <a:pt x="407949" y="174058"/>
                  </a:cubicBezTo>
                  <a:close/>
                  <a:moveTo>
                    <a:pt x="407950" y="0"/>
                  </a:moveTo>
                  <a:cubicBezTo>
                    <a:pt x="633682" y="0"/>
                    <a:pt x="815899" y="182217"/>
                    <a:pt x="815899" y="407949"/>
                  </a:cubicBezTo>
                  <a:cubicBezTo>
                    <a:pt x="815899" y="633681"/>
                    <a:pt x="633682" y="815898"/>
                    <a:pt x="407950" y="815898"/>
                  </a:cubicBezTo>
                  <a:cubicBezTo>
                    <a:pt x="182218" y="815898"/>
                    <a:pt x="0" y="633681"/>
                    <a:pt x="0" y="407949"/>
                  </a:cubicBezTo>
                  <a:cubicBezTo>
                    <a:pt x="0" y="182217"/>
                    <a:pt x="182218" y="0"/>
                    <a:pt x="407950" y="0"/>
                  </a:cubicBezTo>
                  <a:close/>
                </a:path>
              </a:pathLst>
            </a:custGeom>
            <a:solidFill>
              <a:srgbClr val="FFFFFF"/>
            </a:solidFill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DEDACB9B-77C7-4D7B-86A8-863585F8650B}"/>
                </a:ext>
              </a:extLst>
            </p:cNvPr>
            <p:cNvSpPr/>
            <p:nvPr/>
          </p:nvSpPr>
          <p:spPr>
            <a:xfrm>
              <a:off x="1367681" y="271544"/>
              <a:ext cx="268801" cy="360397"/>
            </a:xfrm>
            <a:custGeom>
              <a:avLst/>
              <a:gdLst>
                <a:gd name="connsiteX0" fmla="*/ 387907 w 912802"/>
                <a:gd name="connsiteY0" fmla="*/ 620081 h 1223846"/>
                <a:gd name="connsiteX1" fmla="*/ 273681 w 912802"/>
                <a:gd name="connsiteY1" fmla="*/ 824055 h 1223846"/>
                <a:gd name="connsiteX2" fmla="*/ 390627 w 912802"/>
                <a:gd name="connsiteY2" fmla="*/ 1028029 h 1223846"/>
                <a:gd name="connsiteX3" fmla="*/ 502132 w 912802"/>
                <a:gd name="connsiteY3" fmla="*/ 824055 h 1223846"/>
                <a:gd name="connsiteX4" fmla="*/ 387907 w 912802"/>
                <a:gd name="connsiteY4" fmla="*/ 620081 h 1223846"/>
                <a:gd name="connsiteX5" fmla="*/ 676192 w 912802"/>
                <a:gd name="connsiteY5" fmla="*/ 0 h 1223846"/>
                <a:gd name="connsiteX6" fmla="*/ 825773 w 912802"/>
                <a:gd name="connsiteY6" fmla="*/ 149581 h 1223846"/>
                <a:gd name="connsiteX7" fmla="*/ 825773 w 912802"/>
                <a:gd name="connsiteY7" fmla="*/ 1000834 h 1223846"/>
                <a:gd name="connsiteX8" fmla="*/ 836651 w 912802"/>
                <a:gd name="connsiteY8" fmla="*/ 1076985 h 1223846"/>
                <a:gd name="connsiteX9" fmla="*/ 912802 w 912802"/>
                <a:gd name="connsiteY9" fmla="*/ 1150415 h 1223846"/>
                <a:gd name="connsiteX10" fmla="*/ 774099 w 912802"/>
                <a:gd name="connsiteY10" fmla="*/ 1221126 h 1223846"/>
                <a:gd name="connsiteX11" fmla="*/ 553807 w 912802"/>
                <a:gd name="connsiteY11" fmla="*/ 1098742 h 1223846"/>
                <a:gd name="connsiteX12" fmla="*/ 548367 w 912802"/>
                <a:gd name="connsiteY12" fmla="*/ 1085144 h 1223846"/>
                <a:gd name="connsiteX13" fmla="*/ 398786 w 912802"/>
                <a:gd name="connsiteY13" fmla="*/ 1212967 h 1223846"/>
                <a:gd name="connsiteX14" fmla="*/ 156736 w 912802"/>
                <a:gd name="connsiteY14" fmla="*/ 1180332 h 1223846"/>
                <a:gd name="connsiteX15" fmla="*/ 287280 w 912802"/>
                <a:gd name="connsiteY15" fmla="*/ 416107 h 1223846"/>
                <a:gd name="connsiteX16" fmla="*/ 526611 w 912802"/>
                <a:gd name="connsiteY16" fmla="*/ 552091 h 1223846"/>
                <a:gd name="connsiteX17" fmla="*/ 526611 w 912802"/>
                <a:gd name="connsiteY17" fmla="*/ 149581 h 1223846"/>
                <a:gd name="connsiteX18" fmla="*/ 676192 w 912802"/>
                <a:gd name="connsiteY18" fmla="*/ 0 h 1223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912802" h="1223846">
                  <a:moveTo>
                    <a:pt x="387907" y="620081"/>
                  </a:moveTo>
                  <a:cubicBezTo>
                    <a:pt x="322635" y="620081"/>
                    <a:pt x="273681" y="698951"/>
                    <a:pt x="273681" y="824055"/>
                  </a:cubicBezTo>
                  <a:cubicBezTo>
                    <a:pt x="273681" y="949160"/>
                    <a:pt x="311756" y="1028029"/>
                    <a:pt x="390627" y="1028029"/>
                  </a:cubicBezTo>
                  <a:cubicBezTo>
                    <a:pt x="466777" y="1025310"/>
                    <a:pt x="504852" y="949160"/>
                    <a:pt x="502132" y="824055"/>
                  </a:cubicBezTo>
                  <a:cubicBezTo>
                    <a:pt x="502132" y="698951"/>
                    <a:pt x="455898" y="622801"/>
                    <a:pt x="387907" y="620081"/>
                  </a:cubicBezTo>
                  <a:close/>
                  <a:moveTo>
                    <a:pt x="676192" y="0"/>
                  </a:moveTo>
                  <a:cubicBezTo>
                    <a:pt x="757781" y="0"/>
                    <a:pt x="825773" y="67992"/>
                    <a:pt x="825773" y="149581"/>
                  </a:cubicBezTo>
                  <a:lnTo>
                    <a:pt x="825773" y="1000834"/>
                  </a:lnTo>
                  <a:cubicBezTo>
                    <a:pt x="828492" y="1025311"/>
                    <a:pt x="831212" y="1052508"/>
                    <a:pt x="836651" y="1076985"/>
                  </a:cubicBezTo>
                  <a:cubicBezTo>
                    <a:pt x="861128" y="1139537"/>
                    <a:pt x="912802" y="1150415"/>
                    <a:pt x="912802" y="1150415"/>
                  </a:cubicBezTo>
                  <a:cubicBezTo>
                    <a:pt x="912802" y="1150415"/>
                    <a:pt x="861128" y="1221126"/>
                    <a:pt x="774099" y="1221126"/>
                  </a:cubicBezTo>
                  <a:cubicBezTo>
                    <a:pt x="670752" y="1221126"/>
                    <a:pt x="589162" y="1166733"/>
                    <a:pt x="553807" y="1098742"/>
                  </a:cubicBezTo>
                  <a:cubicBezTo>
                    <a:pt x="551087" y="1093303"/>
                    <a:pt x="551087" y="1090583"/>
                    <a:pt x="548367" y="1085144"/>
                  </a:cubicBezTo>
                  <a:cubicBezTo>
                    <a:pt x="534769" y="1147696"/>
                    <a:pt x="450460" y="1199369"/>
                    <a:pt x="398786" y="1212967"/>
                  </a:cubicBezTo>
                  <a:cubicBezTo>
                    <a:pt x="322636" y="1234725"/>
                    <a:pt x="222008" y="1223846"/>
                    <a:pt x="156736" y="1180332"/>
                  </a:cubicBezTo>
                  <a:cubicBezTo>
                    <a:pt x="-79874" y="1028031"/>
                    <a:pt x="-58117" y="416107"/>
                    <a:pt x="287280" y="416107"/>
                  </a:cubicBezTo>
                  <a:cubicBezTo>
                    <a:pt x="412385" y="416107"/>
                    <a:pt x="491255" y="503137"/>
                    <a:pt x="526611" y="552091"/>
                  </a:cubicBezTo>
                  <a:lnTo>
                    <a:pt x="526611" y="149581"/>
                  </a:lnTo>
                  <a:cubicBezTo>
                    <a:pt x="526611" y="67992"/>
                    <a:pt x="594602" y="0"/>
                    <a:pt x="676192" y="0"/>
                  </a:cubicBezTo>
                  <a:close/>
                </a:path>
              </a:pathLst>
            </a:custGeom>
            <a:solidFill>
              <a:srgbClr val="FFFFFF"/>
            </a:solidFill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68DBE358-78A9-4A94-A6F9-8F3A8AC620ED}"/>
                </a:ext>
              </a:extLst>
            </p:cNvPr>
            <p:cNvSpPr/>
            <p:nvPr/>
          </p:nvSpPr>
          <p:spPr>
            <a:xfrm>
              <a:off x="1634079" y="394079"/>
              <a:ext cx="220242" cy="238663"/>
            </a:xfrm>
            <a:custGeom>
              <a:avLst/>
              <a:gdLst>
                <a:gd name="connsiteX0" fmla="*/ 394818 w 747906"/>
                <a:gd name="connsiteY0" fmla="*/ 163222 h 810458"/>
                <a:gd name="connsiteX1" fmla="*/ 356275 w 747906"/>
                <a:gd name="connsiteY1" fmla="*/ 174058 h 810458"/>
                <a:gd name="connsiteX2" fmla="*/ 274685 w 747906"/>
                <a:gd name="connsiteY2" fmla="*/ 356275 h 810458"/>
                <a:gd name="connsiteX3" fmla="*/ 375313 w 747906"/>
                <a:gd name="connsiteY3" fmla="*/ 358994 h 810458"/>
                <a:gd name="connsiteX4" fmla="*/ 473220 w 747906"/>
                <a:gd name="connsiteY4" fmla="*/ 239329 h 810458"/>
                <a:gd name="connsiteX5" fmla="*/ 394818 w 747906"/>
                <a:gd name="connsiteY5" fmla="*/ 163222 h 810458"/>
                <a:gd name="connsiteX6" fmla="*/ 386192 w 747906"/>
                <a:gd name="connsiteY6" fmla="*/ 0 h 810458"/>
                <a:gd name="connsiteX7" fmla="*/ 747906 w 747906"/>
                <a:gd name="connsiteY7" fmla="*/ 266526 h 810458"/>
                <a:gd name="connsiteX8" fmla="*/ 291004 w 747906"/>
                <a:gd name="connsiteY8" fmla="*/ 484100 h 810458"/>
                <a:gd name="connsiteX9" fmla="*/ 497698 w 747906"/>
                <a:gd name="connsiteY9" fmla="*/ 617363 h 810458"/>
                <a:gd name="connsiteX10" fmla="*/ 712551 w 747906"/>
                <a:gd name="connsiteY10" fmla="*/ 557530 h 810458"/>
                <a:gd name="connsiteX11" fmla="*/ 388912 w 747906"/>
                <a:gd name="connsiteY11" fmla="*/ 810458 h 810458"/>
                <a:gd name="connsiteX12" fmla="*/ 0 w 747906"/>
                <a:gd name="connsiteY12" fmla="*/ 413389 h 810458"/>
                <a:gd name="connsiteX13" fmla="*/ 386192 w 747906"/>
                <a:gd name="connsiteY13" fmla="*/ 0 h 8104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747906" h="810458">
                  <a:moveTo>
                    <a:pt x="394818" y="163222"/>
                  </a:moveTo>
                  <a:cubicBezTo>
                    <a:pt x="381772" y="163179"/>
                    <a:pt x="368514" y="166579"/>
                    <a:pt x="356275" y="174058"/>
                  </a:cubicBezTo>
                  <a:cubicBezTo>
                    <a:pt x="299162" y="212133"/>
                    <a:pt x="282844" y="291003"/>
                    <a:pt x="274685" y="356275"/>
                  </a:cubicBezTo>
                  <a:cubicBezTo>
                    <a:pt x="274685" y="364434"/>
                    <a:pt x="369873" y="358994"/>
                    <a:pt x="375313" y="358994"/>
                  </a:cubicBezTo>
                  <a:cubicBezTo>
                    <a:pt x="432425" y="345396"/>
                    <a:pt x="473220" y="301881"/>
                    <a:pt x="473220" y="239329"/>
                  </a:cubicBezTo>
                  <a:cubicBezTo>
                    <a:pt x="471181" y="194455"/>
                    <a:pt x="433956" y="163349"/>
                    <a:pt x="394818" y="163222"/>
                  </a:cubicBezTo>
                  <a:close/>
                  <a:moveTo>
                    <a:pt x="386192" y="0"/>
                  </a:moveTo>
                  <a:cubicBezTo>
                    <a:pt x="519455" y="0"/>
                    <a:pt x="747906" y="65272"/>
                    <a:pt x="747906" y="266526"/>
                  </a:cubicBezTo>
                  <a:cubicBezTo>
                    <a:pt x="747906" y="467782"/>
                    <a:pt x="538493" y="484100"/>
                    <a:pt x="291004" y="484100"/>
                  </a:cubicBezTo>
                  <a:cubicBezTo>
                    <a:pt x="291004" y="484100"/>
                    <a:pt x="326359" y="617363"/>
                    <a:pt x="497698" y="617363"/>
                  </a:cubicBezTo>
                  <a:cubicBezTo>
                    <a:pt x="669036" y="617363"/>
                    <a:pt x="712551" y="557530"/>
                    <a:pt x="712551" y="557530"/>
                  </a:cubicBezTo>
                  <a:cubicBezTo>
                    <a:pt x="712551" y="557530"/>
                    <a:pt x="696233" y="810458"/>
                    <a:pt x="388912" y="810458"/>
                  </a:cubicBezTo>
                  <a:cubicBezTo>
                    <a:pt x="212134" y="810458"/>
                    <a:pt x="0" y="677195"/>
                    <a:pt x="0" y="413389"/>
                  </a:cubicBezTo>
                  <a:cubicBezTo>
                    <a:pt x="0" y="176778"/>
                    <a:pt x="163180" y="0"/>
                    <a:pt x="386192" y="0"/>
                  </a:cubicBezTo>
                  <a:close/>
                </a:path>
              </a:pathLst>
            </a:custGeom>
            <a:solidFill>
              <a:srgbClr val="FFFFFF"/>
            </a:solidFill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6C3BCDA8-E0D6-47C2-A2AF-52151D12E9A8}"/>
                </a:ext>
              </a:extLst>
            </p:cNvPr>
            <p:cNvSpPr/>
            <p:nvPr/>
          </p:nvSpPr>
          <p:spPr>
            <a:xfrm>
              <a:off x="1987268" y="394079"/>
              <a:ext cx="220242" cy="238663"/>
            </a:xfrm>
            <a:custGeom>
              <a:avLst/>
              <a:gdLst>
                <a:gd name="connsiteX0" fmla="*/ 394818 w 747906"/>
                <a:gd name="connsiteY0" fmla="*/ 163222 h 810458"/>
                <a:gd name="connsiteX1" fmla="*/ 356275 w 747906"/>
                <a:gd name="connsiteY1" fmla="*/ 174058 h 810458"/>
                <a:gd name="connsiteX2" fmla="*/ 274685 w 747906"/>
                <a:gd name="connsiteY2" fmla="*/ 356275 h 810458"/>
                <a:gd name="connsiteX3" fmla="*/ 375313 w 747906"/>
                <a:gd name="connsiteY3" fmla="*/ 358994 h 810458"/>
                <a:gd name="connsiteX4" fmla="*/ 473220 w 747906"/>
                <a:gd name="connsiteY4" fmla="*/ 239329 h 810458"/>
                <a:gd name="connsiteX5" fmla="*/ 394818 w 747906"/>
                <a:gd name="connsiteY5" fmla="*/ 163222 h 810458"/>
                <a:gd name="connsiteX6" fmla="*/ 386192 w 747906"/>
                <a:gd name="connsiteY6" fmla="*/ 0 h 810458"/>
                <a:gd name="connsiteX7" fmla="*/ 747906 w 747906"/>
                <a:gd name="connsiteY7" fmla="*/ 266526 h 810458"/>
                <a:gd name="connsiteX8" fmla="*/ 291004 w 747906"/>
                <a:gd name="connsiteY8" fmla="*/ 484100 h 810458"/>
                <a:gd name="connsiteX9" fmla="*/ 497697 w 747906"/>
                <a:gd name="connsiteY9" fmla="*/ 617363 h 810458"/>
                <a:gd name="connsiteX10" fmla="*/ 712551 w 747906"/>
                <a:gd name="connsiteY10" fmla="*/ 557530 h 810458"/>
                <a:gd name="connsiteX11" fmla="*/ 388911 w 747906"/>
                <a:gd name="connsiteY11" fmla="*/ 810458 h 810458"/>
                <a:gd name="connsiteX12" fmla="*/ 0 w 747906"/>
                <a:gd name="connsiteY12" fmla="*/ 413389 h 810458"/>
                <a:gd name="connsiteX13" fmla="*/ 386192 w 747906"/>
                <a:gd name="connsiteY13" fmla="*/ 0 h 8104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747906" h="810458">
                  <a:moveTo>
                    <a:pt x="394818" y="163222"/>
                  </a:moveTo>
                  <a:cubicBezTo>
                    <a:pt x="381772" y="163179"/>
                    <a:pt x="368514" y="166579"/>
                    <a:pt x="356275" y="174058"/>
                  </a:cubicBezTo>
                  <a:cubicBezTo>
                    <a:pt x="299162" y="212133"/>
                    <a:pt x="282844" y="291003"/>
                    <a:pt x="274685" y="356275"/>
                  </a:cubicBezTo>
                  <a:cubicBezTo>
                    <a:pt x="274685" y="364434"/>
                    <a:pt x="369873" y="358994"/>
                    <a:pt x="375313" y="358994"/>
                  </a:cubicBezTo>
                  <a:cubicBezTo>
                    <a:pt x="432426" y="345396"/>
                    <a:pt x="473220" y="301881"/>
                    <a:pt x="473220" y="239329"/>
                  </a:cubicBezTo>
                  <a:cubicBezTo>
                    <a:pt x="471181" y="194455"/>
                    <a:pt x="433955" y="163349"/>
                    <a:pt x="394818" y="163222"/>
                  </a:cubicBezTo>
                  <a:close/>
                  <a:moveTo>
                    <a:pt x="386192" y="0"/>
                  </a:moveTo>
                  <a:cubicBezTo>
                    <a:pt x="519455" y="0"/>
                    <a:pt x="747906" y="65272"/>
                    <a:pt x="747906" y="266526"/>
                  </a:cubicBezTo>
                  <a:cubicBezTo>
                    <a:pt x="747906" y="467782"/>
                    <a:pt x="538492" y="484100"/>
                    <a:pt x="291004" y="484100"/>
                  </a:cubicBezTo>
                  <a:cubicBezTo>
                    <a:pt x="291004" y="484100"/>
                    <a:pt x="326359" y="617363"/>
                    <a:pt x="497697" y="617363"/>
                  </a:cubicBezTo>
                  <a:cubicBezTo>
                    <a:pt x="669036" y="617363"/>
                    <a:pt x="712551" y="557530"/>
                    <a:pt x="712551" y="557530"/>
                  </a:cubicBezTo>
                  <a:cubicBezTo>
                    <a:pt x="712551" y="557530"/>
                    <a:pt x="696233" y="810458"/>
                    <a:pt x="388911" y="810458"/>
                  </a:cubicBezTo>
                  <a:cubicBezTo>
                    <a:pt x="212133" y="810458"/>
                    <a:pt x="0" y="677195"/>
                    <a:pt x="0" y="413389"/>
                  </a:cubicBezTo>
                  <a:cubicBezTo>
                    <a:pt x="0" y="176778"/>
                    <a:pt x="163180" y="0"/>
                    <a:pt x="386192" y="0"/>
                  </a:cubicBezTo>
                  <a:close/>
                </a:path>
              </a:pathLst>
            </a:custGeom>
            <a:solidFill>
              <a:srgbClr val="FFFFFF"/>
            </a:solidFill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9F0CC119-4F7D-4E52-B14F-6D057AEF824D}"/>
                </a:ext>
              </a:extLst>
            </p:cNvPr>
            <p:cNvSpPr/>
            <p:nvPr/>
          </p:nvSpPr>
          <p:spPr>
            <a:xfrm>
              <a:off x="2191793" y="368137"/>
              <a:ext cx="264291" cy="280308"/>
            </a:xfrm>
            <a:custGeom>
              <a:avLst/>
              <a:gdLst>
                <a:gd name="connsiteX0" fmla="*/ 580988 w 897487"/>
                <a:gd name="connsiteY0" fmla="*/ 667381 h 951879"/>
                <a:gd name="connsiteX1" fmla="*/ 409649 w 897487"/>
                <a:gd name="connsiteY1" fmla="*/ 667381 h 951879"/>
                <a:gd name="connsiteX2" fmla="*/ 591866 w 897487"/>
                <a:gd name="connsiteY2" fmla="*/ 525959 h 951879"/>
                <a:gd name="connsiteX3" fmla="*/ 842075 w 897487"/>
                <a:gd name="connsiteY3" fmla="*/ 123450 h 951879"/>
                <a:gd name="connsiteX4" fmla="*/ 842075 w 897487"/>
                <a:gd name="connsiteY4" fmla="*/ 123450 h 951879"/>
                <a:gd name="connsiteX5" fmla="*/ 798560 w 897487"/>
                <a:gd name="connsiteY5" fmla="*/ 58178 h 951879"/>
                <a:gd name="connsiteX6" fmla="*/ 746887 w 897487"/>
                <a:gd name="connsiteY6" fmla="*/ 107132 h 951879"/>
                <a:gd name="connsiteX7" fmla="*/ 697933 w 897487"/>
                <a:gd name="connsiteY7" fmla="*/ 115291 h 951879"/>
                <a:gd name="connsiteX8" fmla="*/ 219273 w 897487"/>
                <a:gd name="connsiteY8" fmla="*/ 115291 h 951879"/>
                <a:gd name="connsiteX9" fmla="*/ 102328 w 897487"/>
                <a:gd name="connsiteY9" fmla="*/ 224077 h 951879"/>
                <a:gd name="connsiteX10" fmla="*/ 213834 w 897487"/>
                <a:gd name="connsiteY10" fmla="*/ 332863 h 951879"/>
                <a:gd name="connsiteX11" fmla="*/ 485800 w 897487"/>
                <a:gd name="connsiteY11" fmla="*/ 335583 h 951879"/>
                <a:gd name="connsiteX12" fmla="*/ 134964 w 897487"/>
                <a:gd name="connsiteY12" fmla="*/ 615708 h 951879"/>
                <a:gd name="connsiteX13" fmla="*/ 61533 w 897487"/>
                <a:gd name="connsiteY13" fmla="*/ 884953 h 951879"/>
                <a:gd name="connsiteX14" fmla="*/ 398771 w 897487"/>
                <a:gd name="connsiteY14" fmla="*/ 806083 h 951879"/>
                <a:gd name="connsiteX15" fmla="*/ 529314 w 897487"/>
                <a:gd name="connsiteY15" fmla="*/ 863196 h 951879"/>
                <a:gd name="connsiteX16" fmla="*/ 782242 w 897487"/>
                <a:gd name="connsiteY16" fmla="*/ 607549 h 951879"/>
                <a:gd name="connsiteX17" fmla="*/ 580988 w 897487"/>
                <a:gd name="connsiteY17" fmla="*/ 667381 h 9518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897487" h="951879">
                  <a:moveTo>
                    <a:pt x="580988" y="667381"/>
                  </a:moveTo>
                  <a:lnTo>
                    <a:pt x="409649" y="667381"/>
                  </a:lnTo>
                  <a:cubicBezTo>
                    <a:pt x="423248" y="667381"/>
                    <a:pt x="548352" y="561314"/>
                    <a:pt x="591866" y="525959"/>
                  </a:cubicBezTo>
                  <a:cubicBezTo>
                    <a:pt x="700653" y="433491"/>
                    <a:pt x="899188" y="297508"/>
                    <a:pt x="842075" y="123450"/>
                  </a:cubicBezTo>
                  <a:lnTo>
                    <a:pt x="842075" y="123450"/>
                  </a:lnTo>
                  <a:cubicBezTo>
                    <a:pt x="831197" y="82655"/>
                    <a:pt x="798560" y="58178"/>
                    <a:pt x="798560" y="58178"/>
                  </a:cubicBezTo>
                  <a:cubicBezTo>
                    <a:pt x="798560" y="58178"/>
                    <a:pt x="787682" y="90814"/>
                    <a:pt x="746887" y="107132"/>
                  </a:cubicBezTo>
                  <a:cubicBezTo>
                    <a:pt x="730569" y="109852"/>
                    <a:pt x="714251" y="115291"/>
                    <a:pt x="697933" y="115291"/>
                  </a:cubicBezTo>
                  <a:cubicBezTo>
                    <a:pt x="684334" y="115291"/>
                    <a:pt x="219273" y="115291"/>
                    <a:pt x="219273" y="115291"/>
                  </a:cubicBezTo>
                  <a:cubicBezTo>
                    <a:pt x="156721" y="115291"/>
                    <a:pt x="105048" y="166964"/>
                    <a:pt x="102328" y="224077"/>
                  </a:cubicBezTo>
                  <a:cubicBezTo>
                    <a:pt x="102328" y="283910"/>
                    <a:pt x="151282" y="332863"/>
                    <a:pt x="213834" y="332863"/>
                  </a:cubicBezTo>
                  <a:lnTo>
                    <a:pt x="485800" y="335583"/>
                  </a:lnTo>
                  <a:cubicBezTo>
                    <a:pt x="360695" y="406294"/>
                    <a:pt x="211114" y="487884"/>
                    <a:pt x="134964" y="615708"/>
                  </a:cubicBezTo>
                  <a:cubicBezTo>
                    <a:pt x="91449" y="689138"/>
                    <a:pt x="45215" y="800644"/>
                    <a:pt x="61533" y="884953"/>
                  </a:cubicBezTo>
                  <a:cubicBezTo>
                    <a:pt x="121366" y="830560"/>
                    <a:pt x="279106" y="778887"/>
                    <a:pt x="398771" y="806083"/>
                  </a:cubicBezTo>
                  <a:cubicBezTo>
                    <a:pt x="445005" y="814242"/>
                    <a:pt x="491239" y="838719"/>
                    <a:pt x="529314" y="863196"/>
                  </a:cubicBezTo>
                  <a:cubicBezTo>
                    <a:pt x="755046" y="1004618"/>
                    <a:pt x="891029" y="727213"/>
                    <a:pt x="782242" y="607549"/>
                  </a:cubicBezTo>
                  <a:cubicBezTo>
                    <a:pt x="784962" y="607549"/>
                    <a:pt x="722410" y="667381"/>
                    <a:pt x="580988" y="667381"/>
                  </a:cubicBezTo>
                </a:path>
              </a:pathLst>
            </a:custGeom>
            <a:solidFill>
              <a:srgbClr val="FFFFFF"/>
            </a:solidFill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036E956D-057B-4544-9B1F-6F10ED1D1D12}"/>
                </a:ext>
              </a:extLst>
            </p:cNvPr>
            <p:cNvSpPr/>
            <p:nvPr/>
          </p:nvSpPr>
          <p:spPr>
            <a:xfrm>
              <a:off x="407616" y="272031"/>
              <a:ext cx="560617" cy="464511"/>
            </a:xfrm>
            <a:custGeom>
              <a:avLst/>
              <a:gdLst>
                <a:gd name="connsiteX0" fmla="*/ 1559430 w 1903760"/>
                <a:gd name="connsiteY0" fmla="*/ 1165078 h 1577399"/>
                <a:gd name="connsiteX1" fmla="*/ 1369054 w 1903760"/>
                <a:gd name="connsiteY1" fmla="*/ 593950 h 1577399"/>
                <a:gd name="connsiteX2" fmla="*/ 1483279 w 1903760"/>
                <a:gd name="connsiteY2" fmla="*/ 126170 h 1577399"/>
                <a:gd name="connsiteX3" fmla="*/ 1311941 w 1903760"/>
                <a:gd name="connsiteY3" fmla="*/ 58178 h 1577399"/>
                <a:gd name="connsiteX4" fmla="*/ 1078050 w 1903760"/>
                <a:gd name="connsiteY4" fmla="*/ 205040 h 1577399"/>
                <a:gd name="connsiteX5" fmla="*/ 846879 w 1903760"/>
                <a:gd name="connsiteY5" fmla="*/ 523239 h 1577399"/>
                <a:gd name="connsiteX6" fmla="*/ 645624 w 1903760"/>
                <a:gd name="connsiteY6" fmla="*/ 210479 h 1577399"/>
                <a:gd name="connsiteX7" fmla="*/ 455248 w 1903760"/>
                <a:gd name="connsiteY7" fmla="*/ 63617 h 1577399"/>
                <a:gd name="connsiteX8" fmla="*/ 234956 w 1903760"/>
                <a:gd name="connsiteY8" fmla="*/ 137048 h 1577399"/>
                <a:gd name="connsiteX9" fmla="*/ 316546 w 1903760"/>
                <a:gd name="connsiteY9" fmla="*/ 588511 h 1577399"/>
                <a:gd name="connsiteX10" fmla="*/ 58178 w 1903760"/>
                <a:gd name="connsiteY10" fmla="*/ 1072610 h 1577399"/>
                <a:gd name="connsiteX11" fmla="*/ 474286 w 1903760"/>
                <a:gd name="connsiteY11" fmla="*/ 1020936 h 1577399"/>
                <a:gd name="connsiteX12" fmla="*/ 555876 w 1903760"/>
                <a:gd name="connsiteY12" fmla="*/ 572193 h 1577399"/>
                <a:gd name="connsiteX13" fmla="*/ 830561 w 1903760"/>
                <a:gd name="connsiteY13" fmla="*/ 993740 h 1577399"/>
                <a:gd name="connsiteX14" fmla="*/ 1140602 w 1903760"/>
                <a:gd name="connsiteY14" fmla="*/ 574913 h 1577399"/>
                <a:gd name="connsiteX15" fmla="*/ 1567589 w 1903760"/>
                <a:gd name="connsiteY15" fmla="*/ 1526792 h 1577399"/>
                <a:gd name="connsiteX16" fmla="*/ 1866751 w 1903760"/>
                <a:gd name="connsiteY16" fmla="*/ 1322818 h 1577399"/>
                <a:gd name="connsiteX17" fmla="*/ 1559430 w 1903760"/>
                <a:gd name="connsiteY17" fmla="*/ 1165078 h 15773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903760" h="1577399">
                  <a:moveTo>
                    <a:pt x="1559430" y="1165078"/>
                  </a:moveTo>
                  <a:cubicBezTo>
                    <a:pt x="1420727" y="1012777"/>
                    <a:pt x="1377213" y="762569"/>
                    <a:pt x="1369054" y="593950"/>
                  </a:cubicBezTo>
                  <a:cubicBezTo>
                    <a:pt x="1360895" y="449809"/>
                    <a:pt x="1369054" y="199600"/>
                    <a:pt x="1483279" y="126170"/>
                  </a:cubicBezTo>
                  <a:cubicBezTo>
                    <a:pt x="1445204" y="77216"/>
                    <a:pt x="1369054" y="58178"/>
                    <a:pt x="1311941" y="58178"/>
                  </a:cubicBezTo>
                  <a:cubicBezTo>
                    <a:pt x="1184117" y="58178"/>
                    <a:pt x="1121565" y="142488"/>
                    <a:pt x="1078050" y="205040"/>
                  </a:cubicBezTo>
                  <a:cubicBezTo>
                    <a:pt x="1064452" y="224077"/>
                    <a:pt x="846879" y="523239"/>
                    <a:pt x="846879" y="523239"/>
                  </a:cubicBezTo>
                  <a:cubicBezTo>
                    <a:pt x="846879" y="523239"/>
                    <a:pt x="667382" y="243115"/>
                    <a:pt x="645624" y="210479"/>
                  </a:cubicBezTo>
                  <a:cubicBezTo>
                    <a:pt x="615708" y="164245"/>
                    <a:pt x="555876" y="77216"/>
                    <a:pt x="455248" y="63617"/>
                  </a:cubicBezTo>
                  <a:cubicBezTo>
                    <a:pt x="411734" y="58178"/>
                    <a:pt x="297508" y="52739"/>
                    <a:pt x="234956" y="137048"/>
                  </a:cubicBezTo>
                  <a:cubicBezTo>
                    <a:pt x="341023" y="221357"/>
                    <a:pt x="338303" y="438930"/>
                    <a:pt x="316546" y="588511"/>
                  </a:cubicBezTo>
                  <a:cubicBezTo>
                    <a:pt x="248554" y="1031815"/>
                    <a:pt x="58178" y="1072610"/>
                    <a:pt x="58178" y="1072610"/>
                  </a:cubicBezTo>
                  <a:cubicBezTo>
                    <a:pt x="156086" y="1333696"/>
                    <a:pt x="403575" y="1230350"/>
                    <a:pt x="474286" y="1020936"/>
                  </a:cubicBezTo>
                  <a:cubicBezTo>
                    <a:pt x="520520" y="884953"/>
                    <a:pt x="550436" y="713615"/>
                    <a:pt x="555876" y="572193"/>
                  </a:cubicBezTo>
                  <a:lnTo>
                    <a:pt x="830561" y="993740"/>
                  </a:lnTo>
                  <a:cubicBezTo>
                    <a:pt x="830561" y="993740"/>
                    <a:pt x="1140602" y="574913"/>
                    <a:pt x="1140602" y="574913"/>
                  </a:cubicBezTo>
                  <a:cubicBezTo>
                    <a:pt x="1088929" y="1314659"/>
                    <a:pt x="1344577" y="1526792"/>
                    <a:pt x="1567589" y="1526792"/>
                  </a:cubicBezTo>
                  <a:cubicBezTo>
                    <a:pt x="1790601" y="1526792"/>
                    <a:pt x="1866751" y="1322818"/>
                    <a:pt x="1866751" y="1322818"/>
                  </a:cubicBezTo>
                  <a:cubicBezTo>
                    <a:pt x="1744367" y="1314659"/>
                    <a:pt x="1641019" y="1252107"/>
                    <a:pt x="1559430" y="1165078"/>
                  </a:cubicBezTo>
                </a:path>
              </a:pathLst>
            </a:custGeom>
            <a:solidFill>
              <a:srgbClr val="FFFFFF"/>
            </a:solidFill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38445FE2-B427-4746-8DF8-B635BF355D5E}"/>
                </a:ext>
              </a:extLst>
            </p:cNvPr>
            <p:cNvSpPr/>
            <p:nvPr/>
          </p:nvSpPr>
          <p:spPr>
            <a:xfrm>
              <a:off x="1045918" y="650848"/>
              <a:ext cx="80088" cy="192211"/>
            </a:xfrm>
            <a:custGeom>
              <a:avLst/>
              <a:gdLst>
                <a:gd name="connsiteX0" fmla="*/ 88095 w 271965"/>
                <a:gd name="connsiteY0" fmla="*/ 120730 h 652717"/>
                <a:gd name="connsiteX1" fmla="*/ 93534 w 271965"/>
                <a:gd name="connsiteY1" fmla="*/ 153366 h 652717"/>
                <a:gd name="connsiteX2" fmla="*/ 93534 w 271965"/>
                <a:gd name="connsiteY2" fmla="*/ 544997 h 652717"/>
                <a:gd name="connsiteX3" fmla="*/ 156086 w 271965"/>
                <a:gd name="connsiteY3" fmla="*/ 604829 h 652717"/>
                <a:gd name="connsiteX4" fmla="*/ 221358 w 271965"/>
                <a:gd name="connsiteY4" fmla="*/ 544997 h 652717"/>
                <a:gd name="connsiteX5" fmla="*/ 221358 w 271965"/>
                <a:gd name="connsiteY5" fmla="*/ 194161 h 652717"/>
                <a:gd name="connsiteX6" fmla="*/ 210479 w 271965"/>
                <a:gd name="connsiteY6" fmla="*/ 109852 h 652717"/>
                <a:gd name="connsiteX7" fmla="*/ 118011 w 271965"/>
                <a:gd name="connsiteY7" fmla="*/ 58178 h 652717"/>
                <a:gd name="connsiteX8" fmla="*/ 58178 w 271965"/>
                <a:gd name="connsiteY8" fmla="*/ 88094 h 652717"/>
                <a:gd name="connsiteX9" fmla="*/ 88095 w 271965"/>
                <a:gd name="connsiteY9" fmla="*/ 120730 h 6527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71965" h="652717">
                  <a:moveTo>
                    <a:pt x="88095" y="120730"/>
                  </a:moveTo>
                  <a:cubicBezTo>
                    <a:pt x="90814" y="131609"/>
                    <a:pt x="90814" y="142487"/>
                    <a:pt x="93534" y="153366"/>
                  </a:cubicBezTo>
                  <a:cubicBezTo>
                    <a:pt x="93534" y="156086"/>
                    <a:pt x="93534" y="542277"/>
                    <a:pt x="93534" y="544997"/>
                  </a:cubicBezTo>
                  <a:cubicBezTo>
                    <a:pt x="93534" y="577632"/>
                    <a:pt x="123450" y="604829"/>
                    <a:pt x="156086" y="604829"/>
                  </a:cubicBezTo>
                  <a:cubicBezTo>
                    <a:pt x="188722" y="607548"/>
                    <a:pt x="221358" y="577632"/>
                    <a:pt x="221358" y="544997"/>
                  </a:cubicBezTo>
                  <a:cubicBezTo>
                    <a:pt x="221358" y="539557"/>
                    <a:pt x="221358" y="194161"/>
                    <a:pt x="221358" y="194161"/>
                  </a:cubicBezTo>
                  <a:cubicBezTo>
                    <a:pt x="221358" y="164245"/>
                    <a:pt x="224078" y="134329"/>
                    <a:pt x="210479" y="109852"/>
                  </a:cubicBezTo>
                  <a:cubicBezTo>
                    <a:pt x="196881" y="79935"/>
                    <a:pt x="158806" y="58178"/>
                    <a:pt x="118011" y="58178"/>
                  </a:cubicBezTo>
                  <a:cubicBezTo>
                    <a:pt x="79936" y="58178"/>
                    <a:pt x="58178" y="88094"/>
                    <a:pt x="58178" y="88094"/>
                  </a:cubicBezTo>
                  <a:cubicBezTo>
                    <a:pt x="58178" y="88094"/>
                    <a:pt x="77216" y="93534"/>
                    <a:pt x="88095" y="120730"/>
                  </a:cubicBezTo>
                </a:path>
              </a:pathLst>
            </a:custGeom>
            <a:solidFill>
              <a:srgbClr val="FFFFFF"/>
            </a:solidFill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185F8DC5-F9D4-49E8-A475-459AA642E656}"/>
                </a:ext>
              </a:extLst>
            </p:cNvPr>
            <p:cNvSpPr/>
            <p:nvPr/>
          </p:nvSpPr>
          <p:spPr>
            <a:xfrm>
              <a:off x="2211937" y="650797"/>
              <a:ext cx="80088" cy="192211"/>
            </a:xfrm>
            <a:custGeom>
              <a:avLst/>
              <a:gdLst>
                <a:gd name="connsiteX0" fmla="*/ 191663 w 271965"/>
                <a:gd name="connsiteY0" fmla="*/ 542449 h 652717"/>
                <a:gd name="connsiteX1" fmla="*/ 186224 w 271965"/>
                <a:gd name="connsiteY1" fmla="*/ 509813 h 652717"/>
                <a:gd name="connsiteX2" fmla="*/ 186224 w 271965"/>
                <a:gd name="connsiteY2" fmla="*/ 118183 h 652717"/>
                <a:gd name="connsiteX3" fmla="*/ 123672 w 271965"/>
                <a:gd name="connsiteY3" fmla="*/ 58350 h 652717"/>
                <a:gd name="connsiteX4" fmla="*/ 58400 w 271965"/>
                <a:gd name="connsiteY4" fmla="*/ 118183 h 652717"/>
                <a:gd name="connsiteX5" fmla="*/ 58400 w 271965"/>
                <a:gd name="connsiteY5" fmla="*/ 469018 h 652717"/>
                <a:gd name="connsiteX6" fmla="*/ 69279 w 271965"/>
                <a:gd name="connsiteY6" fmla="*/ 553328 h 652717"/>
                <a:gd name="connsiteX7" fmla="*/ 161747 w 271965"/>
                <a:gd name="connsiteY7" fmla="*/ 605001 h 652717"/>
                <a:gd name="connsiteX8" fmla="*/ 221580 w 271965"/>
                <a:gd name="connsiteY8" fmla="*/ 575085 h 652717"/>
                <a:gd name="connsiteX9" fmla="*/ 191663 w 271965"/>
                <a:gd name="connsiteY9" fmla="*/ 542449 h 6527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71965" h="652717">
                  <a:moveTo>
                    <a:pt x="191663" y="542449"/>
                  </a:moveTo>
                  <a:cubicBezTo>
                    <a:pt x="188944" y="531570"/>
                    <a:pt x="186224" y="520692"/>
                    <a:pt x="186224" y="509813"/>
                  </a:cubicBezTo>
                  <a:cubicBezTo>
                    <a:pt x="186224" y="507093"/>
                    <a:pt x="186224" y="120902"/>
                    <a:pt x="186224" y="118183"/>
                  </a:cubicBezTo>
                  <a:cubicBezTo>
                    <a:pt x="186224" y="85547"/>
                    <a:pt x="156308" y="58350"/>
                    <a:pt x="123672" y="58350"/>
                  </a:cubicBezTo>
                  <a:cubicBezTo>
                    <a:pt x="91036" y="55631"/>
                    <a:pt x="58400" y="85547"/>
                    <a:pt x="58400" y="118183"/>
                  </a:cubicBezTo>
                  <a:cubicBezTo>
                    <a:pt x="58400" y="123622"/>
                    <a:pt x="58400" y="469018"/>
                    <a:pt x="58400" y="469018"/>
                  </a:cubicBezTo>
                  <a:cubicBezTo>
                    <a:pt x="58400" y="498934"/>
                    <a:pt x="55680" y="528851"/>
                    <a:pt x="69279" y="553328"/>
                  </a:cubicBezTo>
                  <a:cubicBezTo>
                    <a:pt x="82877" y="583244"/>
                    <a:pt x="120953" y="605001"/>
                    <a:pt x="161747" y="605001"/>
                  </a:cubicBezTo>
                  <a:cubicBezTo>
                    <a:pt x="199822" y="605001"/>
                    <a:pt x="221580" y="575085"/>
                    <a:pt x="221580" y="575085"/>
                  </a:cubicBezTo>
                  <a:cubicBezTo>
                    <a:pt x="221580" y="575085"/>
                    <a:pt x="202542" y="566926"/>
                    <a:pt x="191663" y="542449"/>
                  </a:cubicBezTo>
                </a:path>
              </a:pathLst>
            </a:custGeom>
            <a:solidFill>
              <a:srgbClr val="FFFFFF"/>
            </a:solidFill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73369137-60D0-454D-821D-42F23AEE3575}"/>
                </a:ext>
              </a:extLst>
            </p:cNvPr>
            <p:cNvSpPr/>
            <p:nvPr/>
          </p:nvSpPr>
          <p:spPr>
            <a:xfrm>
              <a:off x="1496014" y="704452"/>
              <a:ext cx="128141" cy="136150"/>
            </a:xfrm>
            <a:custGeom>
              <a:avLst/>
              <a:gdLst>
                <a:gd name="connsiteX0" fmla="*/ 302948 w 435145"/>
                <a:gd name="connsiteY0" fmla="*/ 74684 h 462341"/>
                <a:gd name="connsiteX1" fmla="*/ 186003 w 435145"/>
                <a:gd name="connsiteY1" fmla="*/ 148115 h 462341"/>
                <a:gd name="connsiteX2" fmla="*/ 186003 w 435145"/>
                <a:gd name="connsiteY2" fmla="*/ 148115 h 462341"/>
                <a:gd name="connsiteX3" fmla="*/ 186003 w 435145"/>
                <a:gd name="connsiteY3" fmla="*/ 115479 h 462341"/>
                <a:gd name="connsiteX4" fmla="*/ 123450 w 435145"/>
                <a:gd name="connsiteY4" fmla="*/ 58366 h 462341"/>
                <a:gd name="connsiteX5" fmla="*/ 58178 w 435145"/>
                <a:gd name="connsiteY5" fmla="*/ 115479 h 462341"/>
                <a:gd name="connsiteX6" fmla="*/ 58178 w 435145"/>
                <a:gd name="connsiteY6" fmla="*/ 362967 h 462341"/>
                <a:gd name="connsiteX7" fmla="*/ 120730 w 435145"/>
                <a:gd name="connsiteY7" fmla="*/ 422800 h 462341"/>
                <a:gd name="connsiteX8" fmla="*/ 186003 w 435145"/>
                <a:gd name="connsiteY8" fmla="*/ 362967 h 462341"/>
                <a:gd name="connsiteX9" fmla="*/ 186003 w 435145"/>
                <a:gd name="connsiteY9" fmla="*/ 213386 h 462341"/>
                <a:gd name="connsiteX10" fmla="*/ 186003 w 435145"/>
                <a:gd name="connsiteY10" fmla="*/ 213386 h 462341"/>
                <a:gd name="connsiteX11" fmla="*/ 229517 w 435145"/>
                <a:gd name="connsiteY11" fmla="*/ 161713 h 462341"/>
                <a:gd name="connsiteX12" fmla="*/ 259433 w 435145"/>
                <a:gd name="connsiteY12" fmla="*/ 194349 h 462341"/>
                <a:gd name="connsiteX13" fmla="*/ 259433 w 435145"/>
                <a:gd name="connsiteY13" fmla="*/ 362967 h 462341"/>
                <a:gd name="connsiteX14" fmla="*/ 321985 w 435145"/>
                <a:gd name="connsiteY14" fmla="*/ 422800 h 462341"/>
                <a:gd name="connsiteX15" fmla="*/ 387257 w 435145"/>
                <a:gd name="connsiteY15" fmla="*/ 362967 h 462341"/>
                <a:gd name="connsiteX16" fmla="*/ 387257 w 435145"/>
                <a:gd name="connsiteY16" fmla="*/ 273219 h 462341"/>
                <a:gd name="connsiteX17" fmla="*/ 302948 w 435145"/>
                <a:gd name="connsiteY17" fmla="*/ 74684 h 4623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435145" h="462341">
                  <a:moveTo>
                    <a:pt x="302948" y="74684"/>
                  </a:moveTo>
                  <a:cubicBezTo>
                    <a:pt x="234956" y="74684"/>
                    <a:pt x="196881" y="131797"/>
                    <a:pt x="186003" y="148115"/>
                  </a:cubicBezTo>
                  <a:lnTo>
                    <a:pt x="186003" y="148115"/>
                  </a:lnTo>
                  <a:cubicBezTo>
                    <a:pt x="186003" y="129077"/>
                    <a:pt x="186003" y="115479"/>
                    <a:pt x="186003" y="115479"/>
                  </a:cubicBezTo>
                  <a:cubicBezTo>
                    <a:pt x="186003" y="82843"/>
                    <a:pt x="156086" y="58366"/>
                    <a:pt x="123450" y="58366"/>
                  </a:cubicBezTo>
                  <a:cubicBezTo>
                    <a:pt x="90814" y="55646"/>
                    <a:pt x="58178" y="82843"/>
                    <a:pt x="58178" y="115479"/>
                  </a:cubicBezTo>
                  <a:cubicBezTo>
                    <a:pt x="58178" y="120918"/>
                    <a:pt x="58178" y="360248"/>
                    <a:pt x="58178" y="362967"/>
                  </a:cubicBezTo>
                  <a:cubicBezTo>
                    <a:pt x="58178" y="395603"/>
                    <a:pt x="88095" y="422800"/>
                    <a:pt x="120730" y="422800"/>
                  </a:cubicBezTo>
                  <a:cubicBezTo>
                    <a:pt x="153366" y="425519"/>
                    <a:pt x="186003" y="395603"/>
                    <a:pt x="186003" y="362967"/>
                  </a:cubicBezTo>
                  <a:cubicBezTo>
                    <a:pt x="186003" y="360248"/>
                    <a:pt x="186003" y="281378"/>
                    <a:pt x="186003" y="213386"/>
                  </a:cubicBezTo>
                  <a:lnTo>
                    <a:pt x="186003" y="213386"/>
                  </a:lnTo>
                  <a:cubicBezTo>
                    <a:pt x="191442" y="186190"/>
                    <a:pt x="205040" y="161713"/>
                    <a:pt x="229517" y="161713"/>
                  </a:cubicBezTo>
                  <a:cubicBezTo>
                    <a:pt x="259433" y="161713"/>
                    <a:pt x="259433" y="194349"/>
                    <a:pt x="259433" y="194349"/>
                  </a:cubicBezTo>
                  <a:lnTo>
                    <a:pt x="259433" y="362967"/>
                  </a:lnTo>
                  <a:cubicBezTo>
                    <a:pt x="259433" y="395603"/>
                    <a:pt x="289349" y="422800"/>
                    <a:pt x="321985" y="422800"/>
                  </a:cubicBezTo>
                  <a:cubicBezTo>
                    <a:pt x="354621" y="425519"/>
                    <a:pt x="387257" y="395603"/>
                    <a:pt x="387257" y="362967"/>
                  </a:cubicBezTo>
                  <a:lnTo>
                    <a:pt x="387257" y="273219"/>
                  </a:lnTo>
                  <a:cubicBezTo>
                    <a:pt x="387257" y="183470"/>
                    <a:pt x="395416" y="71964"/>
                    <a:pt x="302948" y="74684"/>
                  </a:cubicBezTo>
                </a:path>
              </a:pathLst>
            </a:custGeom>
            <a:solidFill>
              <a:srgbClr val="FFFFFF"/>
            </a:solidFill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69D35008-CF76-4804-A603-6C8130DF4BAC}"/>
                </a:ext>
              </a:extLst>
            </p:cNvPr>
            <p:cNvSpPr/>
            <p:nvPr/>
          </p:nvSpPr>
          <p:spPr>
            <a:xfrm>
              <a:off x="1978945" y="704452"/>
              <a:ext cx="128141" cy="136150"/>
            </a:xfrm>
            <a:custGeom>
              <a:avLst/>
              <a:gdLst>
                <a:gd name="connsiteX0" fmla="*/ 302948 w 435145"/>
                <a:gd name="connsiteY0" fmla="*/ 74684 h 462341"/>
                <a:gd name="connsiteX1" fmla="*/ 186002 w 435145"/>
                <a:gd name="connsiteY1" fmla="*/ 148115 h 462341"/>
                <a:gd name="connsiteX2" fmla="*/ 186002 w 435145"/>
                <a:gd name="connsiteY2" fmla="*/ 148115 h 462341"/>
                <a:gd name="connsiteX3" fmla="*/ 186002 w 435145"/>
                <a:gd name="connsiteY3" fmla="*/ 115479 h 462341"/>
                <a:gd name="connsiteX4" fmla="*/ 123450 w 435145"/>
                <a:gd name="connsiteY4" fmla="*/ 58366 h 462341"/>
                <a:gd name="connsiteX5" fmla="*/ 58178 w 435145"/>
                <a:gd name="connsiteY5" fmla="*/ 115479 h 462341"/>
                <a:gd name="connsiteX6" fmla="*/ 58178 w 435145"/>
                <a:gd name="connsiteY6" fmla="*/ 362967 h 462341"/>
                <a:gd name="connsiteX7" fmla="*/ 120730 w 435145"/>
                <a:gd name="connsiteY7" fmla="*/ 422800 h 462341"/>
                <a:gd name="connsiteX8" fmla="*/ 186002 w 435145"/>
                <a:gd name="connsiteY8" fmla="*/ 362967 h 462341"/>
                <a:gd name="connsiteX9" fmla="*/ 186002 w 435145"/>
                <a:gd name="connsiteY9" fmla="*/ 213386 h 462341"/>
                <a:gd name="connsiteX10" fmla="*/ 186002 w 435145"/>
                <a:gd name="connsiteY10" fmla="*/ 213386 h 462341"/>
                <a:gd name="connsiteX11" fmla="*/ 229517 w 435145"/>
                <a:gd name="connsiteY11" fmla="*/ 161713 h 462341"/>
                <a:gd name="connsiteX12" fmla="*/ 259433 w 435145"/>
                <a:gd name="connsiteY12" fmla="*/ 194349 h 462341"/>
                <a:gd name="connsiteX13" fmla="*/ 259433 w 435145"/>
                <a:gd name="connsiteY13" fmla="*/ 362967 h 462341"/>
                <a:gd name="connsiteX14" fmla="*/ 321985 w 435145"/>
                <a:gd name="connsiteY14" fmla="*/ 422800 h 462341"/>
                <a:gd name="connsiteX15" fmla="*/ 387257 w 435145"/>
                <a:gd name="connsiteY15" fmla="*/ 362967 h 462341"/>
                <a:gd name="connsiteX16" fmla="*/ 387257 w 435145"/>
                <a:gd name="connsiteY16" fmla="*/ 273219 h 462341"/>
                <a:gd name="connsiteX17" fmla="*/ 302948 w 435145"/>
                <a:gd name="connsiteY17" fmla="*/ 74684 h 4623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435145" h="462341">
                  <a:moveTo>
                    <a:pt x="302948" y="74684"/>
                  </a:moveTo>
                  <a:cubicBezTo>
                    <a:pt x="234956" y="74684"/>
                    <a:pt x="196881" y="131797"/>
                    <a:pt x="186002" y="148115"/>
                  </a:cubicBezTo>
                  <a:lnTo>
                    <a:pt x="186002" y="148115"/>
                  </a:lnTo>
                  <a:cubicBezTo>
                    <a:pt x="186002" y="129077"/>
                    <a:pt x="186002" y="115479"/>
                    <a:pt x="186002" y="115479"/>
                  </a:cubicBezTo>
                  <a:cubicBezTo>
                    <a:pt x="186002" y="82843"/>
                    <a:pt x="156086" y="58366"/>
                    <a:pt x="123450" y="58366"/>
                  </a:cubicBezTo>
                  <a:cubicBezTo>
                    <a:pt x="90814" y="55646"/>
                    <a:pt x="58178" y="82843"/>
                    <a:pt x="58178" y="115479"/>
                  </a:cubicBezTo>
                  <a:cubicBezTo>
                    <a:pt x="58178" y="120918"/>
                    <a:pt x="58178" y="360248"/>
                    <a:pt x="58178" y="362967"/>
                  </a:cubicBezTo>
                  <a:cubicBezTo>
                    <a:pt x="58178" y="395603"/>
                    <a:pt x="88095" y="422800"/>
                    <a:pt x="120730" y="422800"/>
                  </a:cubicBezTo>
                  <a:cubicBezTo>
                    <a:pt x="153366" y="425519"/>
                    <a:pt x="186002" y="395603"/>
                    <a:pt x="186002" y="362967"/>
                  </a:cubicBezTo>
                  <a:cubicBezTo>
                    <a:pt x="186002" y="360248"/>
                    <a:pt x="186002" y="281378"/>
                    <a:pt x="186002" y="213386"/>
                  </a:cubicBezTo>
                  <a:lnTo>
                    <a:pt x="186002" y="213386"/>
                  </a:lnTo>
                  <a:cubicBezTo>
                    <a:pt x="191442" y="186190"/>
                    <a:pt x="205040" y="161713"/>
                    <a:pt x="229517" y="161713"/>
                  </a:cubicBezTo>
                  <a:cubicBezTo>
                    <a:pt x="259433" y="161713"/>
                    <a:pt x="259433" y="194349"/>
                    <a:pt x="259433" y="194349"/>
                  </a:cubicBezTo>
                  <a:lnTo>
                    <a:pt x="259433" y="362967"/>
                  </a:lnTo>
                  <a:cubicBezTo>
                    <a:pt x="259433" y="395603"/>
                    <a:pt x="289349" y="422800"/>
                    <a:pt x="321985" y="422800"/>
                  </a:cubicBezTo>
                  <a:cubicBezTo>
                    <a:pt x="354621" y="425519"/>
                    <a:pt x="387257" y="395603"/>
                    <a:pt x="387257" y="362967"/>
                  </a:cubicBezTo>
                  <a:lnTo>
                    <a:pt x="387257" y="273219"/>
                  </a:lnTo>
                  <a:cubicBezTo>
                    <a:pt x="384537" y="183470"/>
                    <a:pt x="395416" y="71964"/>
                    <a:pt x="302948" y="74684"/>
                  </a:cubicBezTo>
                </a:path>
              </a:pathLst>
            </a:custGeom>
            <a:solidFill>
              <a:srgbClr val="FFFFFF"/>
            </a:solidFill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70ECA3BC-07C2-4B47-B5E2-312D7DA6E6C9}"/>
                </a:ext>
              </a:extLst>
            </p:cNvPr>
            <p:cNvSpPr/>
            <p:nvPr/>
          </p:nvSpPr>
          <p:spPr>
            <a:xfrm>
              <a:off x="1113192" y="704452"/>
              <a:ext cx="128141" cy="136150"/>
            </a:xfrm>
            <a:custGeom>
              <a:avLst/>
              <a:gdLst>
                <a:gd name="connsiteX0" fmla="*/ 302948 w 435145"/>
                <a:gd name="connsiteY0" fmla="*/ 74684 h 462341"/>
                <a:gd name="connsiteX1" fmla="*/ 186002 w 435145"/>
                <a:gd name="connsiteY1" fmla="*/ 148115 h 462341"/>
                <a:gd name="connsiteX2" fmla="*/ 186002 w 435145"/>
                <a:gd name="connsiteY2" fmla="*/ 148115 h 462341"/>
                <a:gd name="connsiteX3" fmla="*/ 186002 w 435145"/>
                <a:gd name="connsiteY3" fmla="*/ 115479 h 462341"/>
                <a:gd name="connsiteX4" fmla="*/ 123450 w 435145"/>
                <a:gd name="connsiteY4" fmla="*/ 58366 h 462341"/>
                <a:gd name="connsiteX5" fmla="*/ 58178 w 435145"/>
                <a:gd name="connsiteY5" fmla="*/ 115479 h 462341"/>
                <a:gd name="connsiteX6" fmla="*/ 58178 w 435145"/>
                <a:gd name="connsiteY6" fmla="*/ 362967 h 462341"/>
                <a:gd name="connsiteX7" fmla="*/ 120730 w 435145"/>
                <a:gd name="connsiteY7" fmla="*/ 422800 h 462341"/>
                <a:gd name="connsiteX8" fmla="*/ 186002 w 435145"/>
                <a:gd name="connsiteY8" fmla="*/ 362967 h 462341"/>
                <a:gd name="connsiteX9" fmla="*/ 186002 w 435145"/>
                <a:gd name="connsiteY9" fmla="*/ 213386 h 462341"/>
                <a:gd name="connsiteX10" fmla="*/ 186002 w 435145"/>
                <a:gd name="connsiteY10" fmla="*/ 213386 h 462341"/>
                <a:gd name="connsiteX11" fmla="*/ 229517 w 435145"/>
                <a:gd name="connsiteY11" fmla="*/ 161713 h 462341"/>
                <a:gd name="connsiteX12" fmla="*/ 259433 w 435145"/>
                <a:gd name="connsiteY12" fmla="*/ 194349 h 462341"/>
                <a:gd name="connsiteX13" fmla="*/ 259433 w 435145"/>
                <a:gd name="connsiteY13" fmla="*/ 362967 h 462341"/>
                <a:gd name="connsiteX14" fmla="*/ 321985 w 435145"/>
                <a:gd name="connsiteY14" fmla="*/ 422800 h 462341"/>
                <a:gd name="connsiteX15" fmla="*/ 387257 w 435145"/>
                <a:gd name="connsiteY15" fmla="*/ 362967 h 462341"/>
                <a:gd name="connsiteX16" fmla="*/ 387257 w 435145"/>
                <a:gd name="connsiteY16" fmla="*/ 273219 h 462341"/>
                <a:gd name="connsiteX17" fmla="*/ 302948 w 435145"/>
                <a:gd name="connsiteY17" fmla="*/ 74684 h 4623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435145" h="462341">
                  <a:moveTo>
                    <a:pt x="302948" y="74684"/>
                  </a:moveTo>
                  <a:cubicBezTo>
                    <a:pt x="234956" y="74684"/>
                    <a:pt x="196881" y="131797"/>
                    <a:pt x="186002" y="148115"/>
                  </a:cubicBezTo>
                  <a:lnTo>
                    <a:pt x="186002" y="148115"/>
                  </a:lnTo>
                  <a:cubicBezTo>
                    <a:pt x="186002" y="129077"/>
                    <a:pt x="186002" y="115479"/>
                    <a:pt x="186002" y="115479"/>
                  </a:cubicBezTo>
                  <a:cubicBezTo>
                    <a:pt x="186002" y="82843"/>
                    <a:pt x="156086" y="58366"/>
                    <a:pt x="123450" y="58366"/>
                  </a:cubicBezTo>
                  <a:cubicBezTo>
                    <a:pt x="90814" y="55646"/>
                    <a:pt x="58178" y="82843"/>
                    <a:pt x="58178" y="115479"/>
                  </a:cubicBezTo>
                  <a:cubicBezTo>
                    <a:pt x="58178" y="120918"/>
                    <a:pt x="58178" y="360248"/>
                    <a:pt x="58178" y="362967"/>
                  </a:cubicBezTo>
                  <a:cubicBezTo>
                    <a:pt x="58178" y="395603"/>
                    <a:pt x="88094" y="422800"/>
                    <a:pt x="120730" y="422800"/>
                  </a:cubicBezTo>
                  <a:cubicBezTo>
                    <a:pt x="153366" y="425519"/>
                    <a:pt x="186002" y="395603"/>
                    <a:pt x="186002" y="362967"/>
                  </a:cubicBezTo>
                  <a:cubicBezTo>
                    <a:pt x="186002" y="360248"/>
                    <a:pt x="186002" y="281378"/>
                    <a:pt x="186002" y="213386"/>
                  </a:cubicBezTo>
                  <a:lnTo>
                    <a:pt x="186002" y="213386"/>
                  </a:lnTo>
                  <a:cubicBezTo>
                    <a:pt x="191442" y="186190"/>
                    <a:pt x="205040" y="161713"/>
                    <a:pt x="229517" y="161713"/>
                  </a:cubicBezTo>
                  <a:cubicBezTo>
                    <a:pt x="259433" y="161713"/>
                    <a:pt x="259433" y="194349"/>
                    <a:pt x="259433" y="194349"/>
                  </a:cubicBezTo>
                  <a:lnTo>
                    <a:pt x="259433" y="362967"/>
                  </a:lnTo>
                  <a:cubicBezTo>
                    <a:pt x="259433" y="395603"/>
                    <a:pt x="289349" y="422800"/>
                    <a:pt x="321985" y="422800"/>
                  </a:cubicBezTo>
                  <a:cubicBezTo>
                    <a:pt x="354621" y="425519"/>
                    <a:pt x="387257" y="395603"/>
                    <a:pt x="387257" y="362967"/>
                  </a:cubicBezTo>
                  <a:lnTo>
                    <a:pt x="387257" y="273219"/>
                  </a:lnTo>
                  <a:cubicBezTo>
                    <a:pt x="384537" y="183470"/>
                    <a:pt x="395416" y="71964"/>
                    <a:pt x="302948" y="74684"/>
                  </a:cubicBezTo>
                </a:path>
              </a:pathLst>
            </a:custGeom>
            <a:solidFill>
              <a:srgbClr val="FFFFFF"/>
            </a:solidFill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E3964362-9201-4761-9A48-C0B87C180823}"/>
                </a:ext>
              </a:extLst>
            </p:cNvPr>
            <p:cNvSpPr/>
            <p:nvPr/>
          </p:nvSpPr>
          <p:spPr>
            <a:xfrm>
              <a:off x="1877547" y="721639"/>
              <a:ext cx="107319" cy="107318"/>
            </a:xfrm>
            <a:custGeom>
              <a:avLst/>
              <a:gdLst>
                <a:gd name="connsiteX0" fmla="*/ 182218 w 364436"/>
                <a:gd name="connsiteY0" fmla="*/ 73431 h 364434"/>
                <a:gd name="connsiteX1" fmla="*/ 130544 w 364436"/>
                <a:gd name="connsiteY1" fmla="*/ 179499 h 364434"/>
                <a:gd name="connsiteX2" fmla="*/ 182218 w 364436"/>
                <a:gd name="connsiteY2" fmla="*/ 285565 h 364434"/>
                <a:gd name="connsiteX3" fmla="*/ 233891 w 364436"/>
                <a:gd name="connsiteY3" fmla="*/ 179499 h 364434"/>
                <a:gd name="connsiteX4" fmla="*/ 182218 w 364436"/>
                <a:gd name="connsiteY4" fmla="*/ 73431 h 364434"/>
                <a:gd name="connsiteX5" fmla="*/ 182219 w 364436"/>
                <a:gd name="connsiteY5" fmla="*/ 0 h 364434"/>
                <a:gd name="connsiteX6" fmla="*/ 364436 w 364436"/>
                <a:gd name="connsiteY6" fmla="*/ 182217 h 364434"/>
                <a:gd name="connsiteX7" fmla="*/ 182219 w 364436"/>
                <a:gd name="connsiteY7" fmla="*/ 364434 h 364434"/>
                <a:gd name="connsiteX8" fmla="*/ 0 w 364436"/>
                <a:gd name="connsiteY8" fmla="*/ 182217 h 364434"/>
                <a:gd name="connsiteX9" fmla="*/ 182219 w 364436"/>
                <a:gd name="connsiteY9" fmla="*/ 0 h 3644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64436" h="364434">
                  <a:moveTo>
                    <a:pt x="182218" y="73431"/>
                  </a:moveTo>
                  <a:cubicBezTo>
                    <a:pt x="152302" y="76151"/>
                    <a:pt x="130544" y="114226"/>
                    <a:pt x="130544" y="179499"/>
                  </a:cubicBezTo>
                  <a:cubicBezTo>
                    <a:pt x="130544" y="244770"/>
                    <a:pt x="146862" y="285565"/>
                    <a:pt x="182218" y="285565"/>
                  </a:cubicBezTo>
                  <a:cubicBezTo>
                    <a:pt x="217573" y="285565"/>
                    <a:pt x="233891" y="247490"/>
                    <a:pt x="233891" y="179499"/>
                  </a:cubicBezTo>
                  <a:cubicBezTo>
                    <a:pt x="233891" y="114226"/>
                    <a:pt x="212134" y="73431"/>
                    <a:pt x="182218" y="73431"/>
                  </a:cubicBezTo>
                  <a:close/>
                  <a:moveTo>
                    <a:pt x="182219" y="0"/>
                  </a:moveTo>
                  <a:cubicBezTo>
                    <a:pt x="282846" y="0"/>
                    <a:pt x="364436" y="81590"/>
                    <a:pt x="364436" y="182217"/>
                  </a:cubicBezTo>
                  <a:cubicBezTo>
                    <a:pt x="364436" y="282844"/>
                    <a:pt x="282846" y="364434"/>
                    <a:pt x="182219" y="364434"/>
                  </a:cubicBezTo>
                  <a:cubicBezTo>
                    <a:pt x="81591" y="364434"/>
                    <a:pt x="0" y="282844"/>
                    <a:pt x="0" y="182217"/>
                  </a:cubicBezTo>
                  <a:cubicBezTo>
                    <a:pt x="0" y="81590"/>
                    <a:pt x="81591" y="0"/>
                    <a:pt x="182219" y="0"/>
                  </a:cubicBezTo>
                  <a:close/>
                </a:path>
              </a:pathLst>
            </a:custGeom>
            <a:solidFill>
              <a:srgbClr val="FFFFFF"/>
            </a:solidFill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73656213-9D5F-4892-9BAE-D1FBE4DD8417}"/>
                </a:ext>
              </a:extLst>
            </p:cNvPr>
            <p:cNvSpPr/>
            <p:nvPr/>
          </p:nvSpPr>
          <p:spPr>
            <a:xfrm>
              <a:off x="1620412" y="718385"/>
              <a:ext cx="109774" cy="110623"/>
            </a:xfrm>
            <a:custGeom>
              <a:avLst/>
              <a:gdLst>
                <a:gd name="connsiteX0" fmla="*/ 176958 w 372773"/>
                <a:gd name="connsiteY0" fmla="*/ 98080 h 375657"/>
                <a:gd name="connsiteX1" fmla="*/ 125284 w 372773"/>
                <a:gd name="connsiteY1" fmla="*/ 190548 h 375657"/>
                <a:gd name="connsiteX2" fmla="*/ 176958 w 372773"/>
                <a:gd name="connsiteY2" fmla="*/ 283017 h 375657"/>
                <a:gd name="connsiteX3" fmla="*/ 228631 w 372773"/>
                <a:gd name="connsiteY3" fmla="*/ 190548 h 375657"/>
                <a:gd name="connsiteX4" fmla="*/ 176958 w 372773"/>
                <a:gd name="connsiteY4" fmla="*/ 98080 h 375657"/>
                <a:gd name="connsiteX5" fmla="*/ 307501 w 372773"/>
                <a:gd name="connsiteY5" fmla="*/ 172 h 375657"/>
                <a:gd name="connsiteX6" fmla="*/ 372773 w 372773"/>
                <a:gd name="connsiteY6" fmla="*/ 62724 h 375657"/>
                <a:gd name="connsiteX7" fmla="*/ 372773 w 372773"/>
                <a:gd name="connsiteY7" fmla="*/ 312934 h 375657"/>
                <a:gd name="connsiteX8" fmla="*/ 302061 w 372773"/>
                <a:gd name="connsiteY8" fmla="*/ 375486 h 375657"/>
                <a:gd name="connsiteX9" fmla="*/ 239509 w 372773"/>
                <a:gd name="connsiteY9" fmla="*/ 326532 h 375657"/>
                <a:gd name="connsiteX10" fmla="*/ 179677 w 372773"/>
                <a:gd name="connsiteY10" fmla="*/ 370046 h 375657"/>
                <a:gd name="connsiteX11" fmla="*/ 70890 w 372773"/>
                <a:gd name="connsiteY11" fmla="*/ 353728 h 375657"/>
                <a:gd name="connsiteX12" fmla="*/ 128003 w 372773"/>
                <a:gd name="connsiteY12" fmla="*/ 11051 h 375657"/>
                <a:gd name="connsiteX13" fmla="*/ 236790 w 372773"/>
                <a:gd name="connsiteY13" fmla="*/ 70883 h 375657"/>
                <a:gd name="connsiteX14" fmla="*/ 236790 w 372773"/>
                <a:gd name="connsiteY14" fmla="*/ 62724 h 375657"/>
                <a:gd name="connsiteX15" fmla="*/ 307501 w 372773"/>
                <a:gd name="connsiteY15" fmla="*/ 172 h 3756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72773" h="375657">
                  <a:moveTo>
                    <a:pt x="176958" y="98080"/>
                  </a:moveTo>
                  <a:cubicBezTo>
                    <a:pt x="147042" y="100800"/>
                    <a:pt x="125284" y="133436"/>
                    <a:pt x="125284" y="190548"/>
                  </a:cubicBezTo>
                  <a:cubicBezTo>
                    <a:pt x="125284" y="247661"/>
                    <a:pt x="141602" y="283017"/>
                    <a:pt x="176958" y="283017"/>
                  </a:cubicBezTo>
                  <a:cubicBezTo>
                    <a:pt x="212314" y="283017"/>
                    <a:pt x="228631" y="247661"/>
                    <a:pt x="228631" y="190548"/>
                  </a:cubicBezTo>
                  <a:cubicBezTo>
                    <a:pt x="228631" y="133436"/>
                    <a:pt x="206874" y="98080"/>
                    <a:pt x="176958" y="98080"/>
                  </a:cubicBezTo>
                  <a:close/>
                  <a:moveTo>
                    <a:pt x="307501" y="172"/>
                  </a:moveTo>
                  <a:cubicBezTo>
                    <a:pt x="340137" y="172"/>
                    <a:pt x="372773" y="30088"/>
                    <a:pt x="372773" y="62724"/>
                  </a:cubicBezTo>
                  <a:cubicBezTo>
                    <a:pt x="372773" y="65444"/>
                    <a:pt x="372773" y="307494"/>
                    <a:pt x="372773" y="312934"/>
                  </a:cubicBezTo>
                  <a:cubicBezTo>
                    <a:pt x="370053" y="348289"/>
                    <a:pt x="337417" y="378205"/>
                    <a:pt x="302061" y="375486"/>
                  </a:cubicBezTo>
                  <a:cubicBezTo>
                    <a:pt x="274865" y="372766"/>
                    <a:pt x="247668" y="353728"/>
                    <a:pt x="239509" y="326532"/>
                  </a:cubicBezTo>
                  <a:cubicBezTo>
                    <a:pt x="225911" y="348289"/>
                    <a:pt x="198715" y="364607"/>
                    <a:pt x="179677" y="370046"/>
                  </a:cubicBezTo>
                  <a:cubicBezTo>
                    <a:pt x="147041" y="378205"/>
                    <a:pt x="100807" y="372766"/>
                    <a:pt x="70890" y="353728"/>
                  </a:cubicBezTo>
                  <a:cubicBezTo>
                    <a:pt x="-35177" y="285737"/>
                    <a:pt x="-27018" y="11051"/>
                    <a:pt x="128003" y="11051"/>
                  </a:cubicBezTo>
                  <a:cubicBezTo>
                    <a:pt x="185116" y="11051"/>
                    <a:pt x="220471" y="49126"/>
                    <a:pt x="236790" y="70883"/>
                  </a:cubicBezTo>
                  <a:cubicBezTo>
                    <a:pt x="236790" y="70883"/>
                    <a:pt x="236790" y="65444"/>
                    <a:pt x="236790" y="62724"/>
                  </a:cubicBezTo>
                  <a:cubicBezTo>
                    <a:pt x="239509" y="27369"/>
                    <a:pt x="272145" y="-2547"/>
                    <a:pt x="307501" y="172"/>
                  </a:cubicBezTo>
                  <a:close/>
                </a:path>
              </a:pathLst>
            </a:custGeom>
            <a:solidFill>
              <a:srgbClr val="FFFFFF"/>
            </a:solidFill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67920402-9F02-42D6-B93E-36B5E194A375}"/>
                </a:ext>
              </a:extLst>
            </p:cNvPr>
            <p:cNvSpPr/>
            <p:nvPr/>
          </p:nvSpPr>
          <p:spPr>
            <a:xfrm>
              <a:off x="2102542" y="718385"/>
              <a:ext cx="109773" cy="110623"/>
            </a:xfrm>
            <a:custGeom>
              <a:avLst/>
              <a:gdLst>
                <a:gd name="connsiteX0" fmla="*/ 176957 w 372772"/>
                <a:gd name="connsiteY0" fmla="*/ 98080 h 375657"/>
                <a:gd name="connsiteX1" fmla="*/ 125282 w 372772"/>
                <a:gd name="connsiteY1" fmla="*/ 190548 h 375657"/>
                <a:gd name="connsiteX2" fmla="*/ 176957 w 372772"/>
                <a:gd name="connsiteY2" fmla="*/ 283017 h 375657"/>
                <a:gd name="connsiteX3" fmla="*/ 228630 w 372772"/>
                <a:gd name="connsiteY3" fmla="*/ 190548 h 375657"/>
                <a:gd name="connsiteX4" fmla="*/ 176957 w 372772"/>
                <a:gd name="connsiteY4" fmla="*/ 98080 h 375657"/>
                <a:gd name="connsiteX5" fmla="*/ 307501 w 372772"/>
                <a:gd name="connsiteY5" fmla="*/ 172 h 375657"/>
                <a:gd name="connsiteX6" fmla="*/ 372772 w 372772"/>
                <a:gd name="connsiteY6" fmla="*/ 62724 h 375657"/>
                <a:gd name="connsiteX7" fmla="*/ 372772 w 372772"/>
                <a:gd name="connsiteY7" fmla="*/ 312934 h 375657"/>
                <a:gd name="connsiteX8" fmla="*/ 302062 w 372772"/>
                <a:gd name="connsiteY8" fmla="*/ 375486 h 375657"/>
                <a:gd name="connsiteX9" fmla="*/ 239509 w 372772"/>
                <a:gd name="connsiteY9" fmla="*/ 326532 h 375657"/>
                <a:gd name="connsiteX10" fmla="*/ 179677 w 372772"/>
                <a:gd name="connsiteY10" fmla="*/ 370046 h 375657"/>
                <a:gd name="connsiteX11" fmla="*/ 70890 w 372772"/>
                <a:gd name="connsiteY11" fmla="*/ 353728 h 375657"/>
                <a:gd name="connsiteX12" fmla="*/ 128002 w 372772"/>
                <a:gd name="connsiteY12" fmla="*/ 11051 h 375657"/>
                <a:gd name="connsiteX13" fmla="*/ 236790 w 372772"/>
                <a:gd name="connsiteY13" fmla="*/ 70883 h 375657"/>
                <a:gd name="connsiteX14" fmla="*/ 236790 w 372772"/>
                <a:gd name="connsiteY14" fmla="*/ 62724 h 375657"/>
                <a:gd name="connsiteX15" fmla="*/ 307501 w 372772"/>
                <a:gd name="connsiteY15" fmla="*/ 172 h 3756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72772" h="375657">
                  <a:moveTo>
                    <a:pt x="176957" y="98080"/>
                  </a:moveTo>
                  <a:cubicBezTo>
                    <a:pt x="147039" y="100800"/>
                    <a:pt x="125282" y="133436"/>
                    <a:pt x="125282" y="190548"/>
                  </a:cubicBezTo>
                  <a:cubicBezTo>
                    <a:pt x="125282" y="247661"/>
                    <a:pt x="141600" y="283017"/>
                    <a:pt x="176957" y="283017"/>
                  </a:cubicBezTo>
                  <a:cubicBezTo>
                    <a:pt x="212312" y="283017"/>
                    <a:pt x="228630" y="247661"/>
                    <a:pt x="228630" y="190548"/>
                  </a:cubicBezTo>
                  <a:cubicBezTo>
                    <a:pt x="228630" y="133436"/>
                    <a:pt x="206873" y="98080"/>
                    <a:pt x="176957" y="98080"/>
                  </a:cubicBezTo>
                  <a:close/>
                  <a:moveTo>
                    <a:pt x="307501" y="172"/>
                  </a:moveTo>
                  <a:cubicBezTo>
                    <a:pt x="340137" y="172"/>
                    <a:pt x="372772" y="30088"/>
                    <a:pt x="372772" y="62724"/>
                  </a:cubicBezTo>
                  <a:cubicBezTo>
                    <a:pt x="372772" y="65444"/>
                    <a:pt x="372772" y="307494"/>
                    <a:pt x="372772" y="312934"/>
                  </a:cubicBezTo>
                  <a:cubicBezTo>
                    <a:pt x="370053" y="348289"/>
                    <a:pt x="337417" y="378205"/>
                    <a:pt x="302062" y="375486"/>
                  </a:cubicBezTo>
                  <a:cubicBezTo>
                    <a:pt x="274865" y="372766"/>
                    <a:pt x="247668" y="353728"/>
                    <a:pt x="239509" y="326532"/>
                  </a:cubicBezTo>
                  <a:cubicBezTo>
                    <a:pt x="228630" y="348289"/>
                    <a:pt x="198714" y="364607"/>
                    <a:pt x="179677" y="370046"/>
                  </a:cubicBezTo>
                  <a:cubicBezTo>
                    <a:pt x="147040" y="378205"/>
                    <a:pt x="100806" y="372766"/>
                    <a:pt x="70890" y="353728"/>
                  </a:cubicBezTo>
                  <a:cubicBezTo>
                    <a:pt x="-35177" y="285737"/>
                    <a:pt x="-27018" y="11051"/>
                    <a:pt x="128002" y="11051"/>
                  </a:cubicBezTo>
                  <a:cubicBezTo>
                    <a:pt x="185116" y="11051"/>
                    <a:pt x="220472" y="49126"/>
                    <a:pt x="236790" y="70883"/>
                  </a:cubicBezTo>
                  <a:cubicBezTo>
                    <a:pt x="236790" y="70883"/>
                    <a:pt x="236790" y="65444"/>
                    <a:pt x="236790" y="62724"/>
                  </a:cubicBezTo>
                  <a:cubicBezTo>
                    <a:pt x="239509" y="27369"/>
                    <a:pt x="272145" y="-2547"/>
                    <a:pt x="307501" y="172"/>
                  </a:cubicBezTo>
                  <a:close/>
                </a:path>
              </a:pathLst>
            </a:custGeom>
            <a:solidFill>
              <a:srgbClr val="FFFFFF"/>
            </a:solidFill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49B87069-D313-4E85-AF3B-5104B787FDFE}"/>
                </a:ext>
              </a:extLst>
            </p:cNvPr>
            <p:cNvSpPr/>
            <p:nvPr/>
          </p:nvSpPr>
          <p:spPr>
            <a:xfrm>
              <a:off x="1810760" y="712516"/>
              <a:ext cx="64071" cy="128141"/>
            </a:xfrm>
            <a:custGeom>
              <a:avLst/>
              <a:gdLst>
                <a:gd name="connsiteX0" fmla="*/ 186002 w 217572"/>
                <a:gd name="connsiteY0" fmla="*/ 118011 h 435144"/>
                <a:gd name="connsiteX1" fmla="*/ 128890 w 217572"/>
                <a:gd name="connsiteY1" fmla="*/ 58178 h 435144"/>
                <a:gd name="connsiteX2" fmla="*/ 123450 w 217572"/>
                <a:gd name="connsiteY2" fmla="*/ 58178 h 435144"/>
                <a:gd name="connsiteX3" fmla="*/ 58178 w 217572"/>
                <a:gd name="connsiteY3" fmla="*/ 115291 h 435144"/>
                <a:gd name="connsiteX4" fmla="*/ 58178 w 217572"/>
                <a:gd name="connsiteY4" fmla="*/ 232236 h 435144"/>
                <a:gd name="connsiteX5" fmla="*/ 58178 w 217572"/>
                <a:gd name="connsiteY5" fmla="*/ 232236 h 435144"/>
                <a:gd name="connsiteX6" fmla="*/ 58178 w 217572"/>
                <a:gd name="connsiteY6" fmla="*/ 335583 h 435144"/>
                <a:gd name="connsiteX7" fmla="*/ 115291 w 217572"/>
                <a:gd name="connsiteY7" fmla="*/ 395415 h 435144"/>
                <a:gd name="connsiteX8" fmla="*/ 120730 w 217572"/>
                <a:gd name="connsiteY8" fmla="*/ 395415 h 435144"/>
                <a:gd name="connsiteX9" fmla="*/ 186002 w 217572"/>
                <a:gd name="connsiteY9" fmla="*/ 338303 h 435144"/>
                <a:gd name="connsiteX10" fmla="*/ 186002 w 217572"/>
                <a:gd name="connsiteY10" fmla="*/ 240395 h 435144"/>
                <a:gd name="connsiteX11" fmla="*/ 186002 w 217572"/>
                <a:gd name="connsiteY11" fmla="*/ 240395 h 435144"/>
                <a:gd name="connsiteX12" fmla="*/ 186002 w 217572"/>
                <a:gd name="connsiteY12" fmla="*/ 118011 h 4351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17572" h="435144">
                  <a:moveTo>
                    <a:pt x="186002" y="118011"/>
                  </a:moveTo>
                  <a:cubicBezTo>
                    <a:pt x="183283" y="85375"/>
                    <a:pt x="158806" y="60898"/>
                    <a:pt x="128890" y="58178"/>
                  </a:cubicBezTo>
                  <a:cubicBezTo>
                    <a:pt x="126170" y="58178"/>
                    <a:pt x="126170" y="58178"/>
                    <a:pt x="123450" y="58178"/>
                  </a:cubicBezTo>
                  <a:cubicBezTo>
                    <a:pt x="96254" y="58178"/>
                    <a:pt x="58178" y="82655"/>
                    <a:pt x="58178" y="115291"/>
                  </a:cubicBezTo>
                  <a:lnTo>
                    <a:pt x="58178" y="232236"/>
                  </a:lnTo>
                  <a:lnTo>
                    <a:pt x="58178" y="232236"/>
                  </a:lnTo>
                  <a:cubicBezTo>
                    <a:pt x="58178" y="270311"/>
                    <a:pt x="58178" y="335583"/>
                    <a:pt x="58178" y="335583"/>
                  </a:cubicBezTo>
                  <a:cubicBezTo>
                    <a:pt x="60898" y="368219"/>
                    <a:pt x="85375" y="392696"/>
                    <a:pt x="115291" y="395415"/>
                  </a:cubicBezTo>
                  <a:cubicBezTo>
                    <a:pt x="118011" y="395415"/>
                    <a:pt x="118011" y="395415"/>
                    <a:pt x="120730" y="395415"/>
                  </a:cubicBezTo>
                  <a:cubicBezTo>
                    <a:pt x="147927" y="395415"/>
                    <a:pt x="186002" y="370938"/>
                    <a:pt x="186002" y="338303"/>
                  </a:cubicBezTo>
                  <a:lnTo>
                    <a:pt x="186002" y="240395"/>
                  </a:lnTo>
                  <a:lnTo>
                    <a:pt x="186002" y="240395"/>
                  </a:lnTo>
                  <a:cubicBezTo>
                    <a:pt x="186002" y="202320"/>
                    <a:pt x="186002" y="118011"/>
                    <a:pt x="186002" y="118011"/>
                  </a:cubicBezTo>
                </a:path>
              </a:pathLst>
            </a:custGeom>
            <a:solidFill>
              <a:srgbClr val="FFFFFF"/>
            </a:solidFill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D8D7181F-2284-4A80-89F5-C8D0717B18E5}"/>
                </a:ext>
              </a:extLst>
            </p:cNvPr>
            <p:cNvSpPr/>
            <p:nvPr/>
          </p:nvSpPr>
          <p:spPr>
            <a:xfrm>
              <a:off x="1811561" y="664412"/>
              <a:ext cx="64071" cy="64070"/>
            </a:xfrm>
            <a:custGeom>
              <a:avLst/>
              <a:gdLst>
                <a:gd name="connsiteX0" fmla="*/ 183282 w 217572"/>
                <a:gd name="connsiteY0" fmla="*/ 120902 h 217572"/>
                <a:gd name="connsiteX1" fmla="*/ 120730 w 217572"/>
                <a:gd name="connsiteY1" fmla="*/ 183454 h 217572"/>
                <a:gd name="connsiteX2" fmla="*/ 58178 w 217572"/>
                <a:gd name="connsiteY2" fmla="*/ 120902 h 217572"/>
                <a:gd name="connsiteX3" fmla="*/ 120730 w 217572"/>
                <a:gd name="connsiteY3" fmla="*/ 58350 h 217572"/>
                <a:gd name="connsiteX4" fmla="*/ 183282 w 217572"/>
                <a:gd name="connsiteY4" fmla="*/ 120902 h 2175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17572" h="217572">
                  <a:moveTo>
                    <a:pt x="183282" y="120902"/>
                  </a:moveTo>
                  <a:cubicBezTo>
                    <a:pt x="183282" y="156258"/>
                    <a:pt x="156086" y="183454"/>
                    <a:pt x="120730" y="183454"/>
                  </a:cubicBezTo>
                  <a:cubicBezTo>
                    <a:pt x="85375" y="183454"/>
                    <a:pt x="58178" y="156258"/>
                    <a:pt x="58178" y="120902"/>
                  </a:cubicBezTo>
                  <a:cubicBezTo>
                    <a:pt x="58178" y="85547"/>
                    <a:pt x="85375" y="58350"/>
                    <a:pt x="120730" y="58350"/>
                  </a:cubicBezTo>
                  <a:cubicBezTo>
                    <a:pt x="153366" y="55630"/>
                    <a:pt x="183282" y="85547"/>
                    <a:pt x="183282" y="120902"/>
                  </a:cubicBezTo>
                </a:path>
              </a:pathLst>
            </a:custGeom>
            <a:solidFill>
              <a:srgbClr val="FFFFFF"/>
            </a:solidFill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E5C16C19-9C8C-4B42-AD26-3BEAA1810DE1}"/>
                </a:ext>
              </a:extLst>
            </p:cNvPr>
            <p:cNvSpPr/>
            <p:nvPr/>
          </p:nvSpPr>
          <p:spPr>
            <a:xfrm>
              <a:off x="1403112" y="704457"/>
              <a:ext cx="112123" cy="136150"/>
            </a:xfrm>
            <a:custGeom>
              <a:avLst/>
              <a:gdLst>
                <a:gd name="connsiteX0" fmla="*/ 270312 w 380752"/>
                <a:gd name="connsiteY0" fmla="*/ 69229 h 462341"/>
                <a:gd name="connsiteX1" fmla="*/ 188722 w 380752"/>
                <a:gd name="connsiteY1" fmla="*/ 134501 h 462341"/>
                <a:gd name="connsiteX2" fmla="*/ 188722 w 380752"/>
                <a:gd name="connsiteY2" fmla="*/ 118183 h 462341"/>
                <a:gd name="connsiteX3" fmla="*/ 126170 w 380752"/>
                <a:gd name="connsiteY3" fmla="*/ 58350 h 462341"/>
                <a:gd name="connsiteX4" fmla="*/ 58178 w 380752"/>
                <a:gd name="connsiteY4" fmla="*/ 118183 h 462341"/>
                <a:gd name="connsiteX5" fmla="*/ 58178 w 380752"/>
                <a:gd name="connsiteY5" fmla="*/ 210651 h 462341"/>
                <a:gd name="connsiteX6" fmla="*/ 58178 w 380752"/>
                <a:gd name="connsiteY6" fmla="*/ 365671 h 462341"/>
                <a:gd name="connsiteX7" fmla="*/ 58178 w 380752"/>
                <a:gd name="connsiteY7" fmla="*/ 365671 h 462341"/>
                <a:gd name="connsiteX8" fmla="*/ 120730 w 380752"/>
                <a:gd name="connsiteY8" fmla="*/ 425504 h 462341"/>
                <a:gd name="connsiteX9" fmla="*/ 186002 w 380752"/>
                <a:gd name="connsiteY9" fmla="*/ 365671 h 462341"/>
                <a:gd name="connsiteX10" fmla="*/ 186002 w 380752"/>
                <a:gd name="connsiteY10" fmla="*/ 365671 h 462341"/>
                <a:gd name="connsiteX11" fmla="*/ 186002 w 380752"/>
                <a:gd name="connsiteY11" fmla="*/ 210651 h 462341"/>
                <a:gd name="connsiteX12" fmla="*/ 215919 w 380752"/>
                <a:gd name="connsiteY12" fmla="*/ 158978 h 462341"/>
                <a:gd name="connsiteX13" fmla="*/ 275751 w 380752"/>
                <a:gd name="connsiteY13" fmla="*/ 221530 h 462341"/>
                <a:gd name="connsiteX14" fmla="*/ 270312 w 380752"/>
                <a:gd name="connsiteY14" fmla="*/ 69229 h 4623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80752" h="462341">
                  <a:moveTo>
                    <a:pt x="270312" y="69229"/>
                  </a:moveTo>
                  <a:cubicBezTo>
                    <a:pt x="232236" y="71949"/>
                    <a:pt x="213199" y="99145"/>
                    <a:pt x="188722" y="134501"/>
                  </a:cubicBezTo>
                  <a:cubicBezTo>
                    <a:pt x="188722" y="134501"/>
                    <a:pt x="188722" y="118183"/>
                    <a:pt x="188722" y="118183"/>
                  </a:cubicBezTo>
                  <a:cubicBezTo>
                    <a:pt x="188722" y="85547"/>
                    <a:pt x="158806" y="58350"/>
                    <a:pt x="126170" y="58350"/>
                  </a:cubicBezTo>
                  <a:cubicBezTo>
                    <a:pt x="93534" y="55631"/>
                    <a:pt x="60898" y="85547"/>
                    <a:pt x="58178" y="118183"/>
                  </a:cubicBezTo>
                  <a:lnTo>
                    <a:pt x="58178" y="210651"/>
                  </a:lnTo>
                  <a:lnTo>
                    <a:pt x="58178" y="365671"/>
                  </a:lnTo>
                  <a:lnTo>
                    <a:pt x="58178" y="365671"/>
                  </a:lnTo>
                  <a:cubicBezTo>
                    <a:pt x="58178" y="398307"/>
                    <a:pt x="88094" y="425504"/>
                    <a:pt x="120730" y="425504"/>
                  </a:cubicBezTo>
                  <a:cubicBezTo>
                    <a:pt x="153366" y="428224"/>
                    <a:pt x="186002" y="398307"/>
                    <a:pt x="186002" y="365671"/>
                  </a:cubicBezTo>
                  <a:lnTo>
                    <a:pt x="186002" y="365671"/>
                  </a:lnTo>
                  <a:lnTo>
                    <a:pt x="186002" y="210651"/>
                  </a:lnTo>
                  <a:cubicBezTo>
                    <a:pt x="188722" y="188894"/>
                    <a:pt x="196881" y="158978"/>
                    <a:pt x="215919" y="158978"/>
                  </a:cubicBezTo>
                  <a:cubicBezTo>
                    <a:pt x="243115" y="158978"/>
                    <a:pt x="215919" y="221530"/>
                    <a:pt x="275751" y="221530"/>
                  </a:cubicBezTo>
                  <a:cubicBezTo>
                    <a:pt x="362780" y="221530"/>
                    <a:pt x="373658" y="63790"/>
                    <a:pt x="270312" y="69229"/>
                  </a:cubicBezTo>
                </a:path>
              </a:pathLst>
            </a:custGeom>
            <a:solidFill>
              <a:srgbClr val="FFFFFF"/>
            </a:solidFill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7E54EE48-BDC8-4FC7-95E6-E6761E8E0BB2}"/>
                </a:ext>
              </a:extLst>
            </p:cNvPr>
            <p:cNvSpPr/>
            <p:nvPr/>
          </p:nvSpPr>
          <p:spPr>
            <a:xfrm>
              <a:off x="1311324" y="721639"/>
              <a:ext cx="99309" cy="107318"/>
            </a:xfrm>
            <a:custGeom>
              <a:avLst/>
              <a:gdLst>
                <a:gd name="connsiteX0" fmla="*/ 180433 w 337238"/>
                <a:gd name="connsiteY0" fmla="*/ 73984 h 364434"/>
                <a:gd name="connsiteX1" fmla="*/ 163180 w 337238"/>
                <a:gd name="connsiteY1" fmla="*/ 78870 h 364434"/>
                <a:gd name="connsiteX2" fmla="*/ 125105 w 337238"/>
                <a:gd name="connsiteY2" fmla="*/ 160461 h 364434"/>
                <a:gd name="connsiteX3" fmla="*/ 171339 w 337238"/>
                <a:gd name="connsiteY3" fmla="*/ 163180 h 364434"/>
                <a:gd name="connsiteX4" fmla="*/ 214854 w 337238"/>
                <a:gd name="connsiteY4" fmla="*/ 108787 h 364434"/>
                <a:gd name="connsiteX5" fmla="*/ 180433 w 337238"/>
                <a:gd name="connsiteY5" fmla="*/ 73984 h 364434"/>
                <a:gd name="connsiteX6" fmla="*/ 174059 w 337238"/>
                <a:gd name="connsiteY6" fmla="*/ 0 h 364434"/>
                <a:gd name="connsiteX7" fmla="*/ 337238 w 337238"/>
                <a:gd name="connsiteY7" fmla="*/ 119665 h 364434"/>
                <a:gd name="connsiteX8" fmla="*/ 133264 w 337238"/>
                <a:gd name="connsiteY8" fmla="*/ 217573 h 364434"/>
                <a:gd name="connsiteX9" fmla="*/ 225732 w 337238"/>
                <a:gd name="connsiteY9" fmla="*/ 277405 h 364434"/>
                <a:gd name="connsiteX10" fmla="*/ 320920 w 337238"/>
                <a:gd name="connsiteY10" fmla="*/ 250208 h 364434"/>
                <a:gd name="connsiteX11" fmla="*/ 174059 w 337238"/>
                <a:gd name="connsiteY11" fmla="*/ 364434 h 364434"/>
                <a:gd name="connsiteX12" fmla="*/ 0 w 337238"/>
                <a:gd name="connsiteY12" fmla="*/ 184937 h 364434"/>
                <a:gd name="connsiteX13" fmla="*/ 174059 w 337238"/>
                <a:gd name="connsiteY13" fmla="*/ 0 h 3644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37238" h="364434">
                  <a:moveTo>
                    <a:pt x="180433" y="73984"/>
                  </a:moveTo>
                  <a:cubicBezTo>
                    <a:pt x="174569" y="73941"/>
                    <a:pt x="168620" y="75471"/>
                    <a:pt x="163180" y="78870"/>
                  </a:cubicBezTo>
                  <a:cubicBezTo>
                    <a:pt x="135984" y="95189"/>
                    <a:pt x="127825" y="130544"/>
                    <a:pt x="125105" y="160461"/>
                  </a:cubicBezTo>
                  <a:cubicBezTo>
                    <a:pt x="125105" y="163180"/>
                    <a:pt x="168620" y="160461"/>
                    <a:pt x="171339" y="163180"/>
                  </a:cubicBezTo>
                  <a:cubicBezTo>
                    <a:pt x="195816" y="157741"/>
                    <a:pt x="214854" y="135984"/>
                    <a:pt x="214854" y="108787"/>
                  </a:cubicBezTo>
                  <a:cubicBezTo>
                    <a:pt x="214854" y="88389"/>
                    <a:pt x="198026" y="74111"/>
                    <a:pt x="180433" y="73984"/>
                  </a:cubicBezTo>
                  <a:close/>
                  <a:moveTo>
                    <a:pt x="174059" y="0"/>
                  </a:moveTo>
                  <a:cubicBezTo>
                    <a:pt x="233891" y="0"/>
                    <a:pt x="337238" y="29916"/>
                    <a:pt x="337238" y="119665"/>
                  </a:cubicBezTo>
                  <a:cubicBezTo>
                    <a:pt x="337238" y="209414"/>
                    <a:pt x="244770" y="217573"/>
                    <a:pt x="133264" y="217573"/>
                  </a:cubicBezTo>
                  <a:cubicBezTo>
                    <a:pt x="133264" y="217573"/>
                    <a:pt x="149581" y="277405"/>
                    <a:pt x="225732" y="277405"/>
                  </a:cubicBezTo>
                  <a:cubicBezTo>
                    <a:pt x="301883" y="277405"/>
                    <a:pt x="320920" y="250208"/>
                    <a:pt x="320920" y="250208"/>
                  </a:cubicBezTo>
                  <a:cubicBezTo>
                    <a:pt x="320920" y="250208"/>
                    <a:pt x="315481" y="364434"/>
                    <a:pt x="174059" y="364434"/>
                  </a:cubicBezTo>
                  <a:cubicBezTo>
                    <a:pt x="95188" y="364434"/>
                    <a:pt x="0" y="304602"/>
                    <a:pt x="0" y="184937"/>
                  </a:cubicBezTo>
                  <a:cubicBezTo>
                    <a:pt x="0" y="78870"/>
                    <a:pt x="73431" y="0"/>
                    <a:pt x="174059" y="0"/>
                  </a:cubicBezTo>
                  <a:close/>
                </a:path>
              </a:pathLst>
            </a:custGeom>
            <a:solidFill>
              <a:srgbClr val="FFFFFF"/>
            </a:solidFill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807FB7B5-29BD-4658-B0F4-3060DF3C6929}"/>
                </a:ext>
              </a:extLst>
            </p:cNvPr>
            <p:cNvSpPr/>
            <p:nvPr/>
          </p:nvSpPr>
          <p:spPr>
            <a:xfrm>
              <a:off x="1218108" y="681231"/>
              <a:ext cx="104115" cy="160176"/>
            </a:xfrm>
            <a:custGeom>
              <a:avLst/>
              <a:gdLst>
                <a:gd name="connsiteX0" fmla="*/ 311107 w 353555"/>
                <a:gd name="connsiteY0" fmla="*/ 433663 h 543931"/>
                <a:gd name="connsiteX1" fmla="*/ 215919 w 353555"/>
                <a:gd name="connsiteY1" fmla="*/ 501654 h 543931"/>
                <a:gd name="connsiteX2" fmla="*/ 98973 w 353555"/>
                <a:gd name="connsiteY2" fmla="*/ 392868 h 543931"/>
                <a:gd name="connsiteX3" fmla="*/ 98973 w 353555"/>
                <a:gd name="connsiteY3" fmla="*/ 221530 h 543931"/>
                <a:gd name="connsiteX4" fmla="*/ 82655 w 353555"/>
                <a:gd name="connsiteY4" fmla="*/ 221530 h 543931"/>
                <a:gd name="connsiteX5" fmla="*/ 58178 w 353555"/>
                <a:gd name="connsiteY5" fmla="*/ 191614 h 543931"/>
                <a:gd name="connsiteX6" fmla="*/ 85375 w 353555"/>
                <a:gd name="connsiteY6" fmla="*/ 164417 h 543931"/>
                <a:gd name="connsiteX7" fmla="*/ 101693 w 353555"/>
                <a:gd name="connsiteY7" fmla="*/ 164417 h 543931"/>
                <a:gd name="connsiteX8" fmla="*/ 101693 w 353555"/>
                <a:gd name="connsiteY8" fmla="*/ 118183 h 543931"/>
                <a:gd name="connsiteX9" fmla="*/ 166965 w 353555"/>
                <a:gd name="connsiteY9" fmla="*/ 58350 h 543931"/>
                <a:gd name="connsiteX10" fmla="*/ 229517 w 353555"/>
                <a:gd name="connsiteY10" fmla="*/ 118183 h 543931"/>
                <a:gd name="connsiteX11" fmla="*/ 229517 w 353555"/>
                <a:gd name="connsiteY11" fmla="*/ 118183 h 543931"/>
                <a:gd name="connsiteX12" fmla="*/ 229517 w 353555"/>
                <a:gd name="connsiteY12" fmla="*/ 164417 h 543931"/>
                <a:gd name="connsiteX13" fmla="*/ 283910 w 353555"/>
                <a:gd name="connsiteY13" fmla="*/ 164417 h 543931"/>
                <a:gd name="connsiteX14" fmla="*/ 308387 w 353555"/>
                <a:gd name="connsiteY14" fmla="*/ 194333 h 543931"/>
                <a:gd name="connsiteX15" fmla="*/ 281190 w 353555"/>
                <a:gd name="connsiteY15" fmla="*/ 221530 h 543931"/>
                <a:gd name="connsiteX16" fmla="*/ 229517 w 353555"/>
                <a:gd name="connsiteY16" fmla="*/ 221530 h 543931"/>
                <a:gd name="connsiteX17" fmla="*/ 229517 w 353555"/>
                <a:gd name="connsiteY17" fmla="*/ 365671 h 543931"/>
                <a:gd name="connsiteX18" fmla="*/ 311107 w 353555"/>
                <a:gd name="connsiteY18" fmla="*/ 433663 h 5439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353555" h="543931">
                  <a:moveTo>
                    <a:pt x="311107" y="433663"/>
                  </a:moveTo>
                  <a:cubicBezTo>
                    <a:pt x="311107" y="433663"/>
                    <a:pt x="278471" y="501654"/>
                    <a:pt x="215919" y="501654"/>
                  </a:cubicBezTo>
                  <a:cubicBezTo>
                    <a:pt x="164245" y="501654"/>
                    <a:pt x="101693" y="458140"/>
                    <a:pt x="98973" y="392868"/>
                  </a:cubicBezTo>
                  <a:cubicBezTo>
                    <a:pt x="98973" y="392868"/>
                    <a:pt x="98973" y="297680"/>
                    <a:pt x="98973" y="221530"/>
                  </a:cubicBezTo>
                  <a:lnTo>
                    <a:pt x="82655" y="221530"/>
                  </a:lnTo>
                  <a:cubicBezTo>
                    <a:pt x="74496" y="221530"/>
                    <a:pt x="58178" y="216090"/>
                    <a:pt x="58178" y="191614"/>
                  </a:cubicBezTo>
                  <a:cubicBezTo>
                    <a:pt x="58178" y="167137"/>
                    <a:pt x="77216" y="164417"/>
                    <a:pt x="85375" y="164417"/>
                  </a:cubicBezTo>
                  <a:lnTo>
                    <a:pt x="101693" y="164417"/>
                  </a:lnTo>
                  <a:cubicBezTo>
                    <a:pt x="101693" y="137220"/>
                    <a:pt x="101693" y="118183"/>
                    <a:pt x="101693" y="118183"/>
                  </a:cubicBezTo>
                  <a:cubicBezTo>
                    <a:pt x="104413" y="85547"/>
                    <a:pt x="134329" y="55631"/>
                    <a:pt x="166965" y="58350"/>
                  </a:cubicBezTo>
                  <a:cubicBezTo>
                    <a:pt x="196881" y="61070"/>
                    <a:pt x="229517" y="85547"/>
                    <a:pt x="229517" y="118183"/>
                  </a:cubicBezTo>
                  <a:lnTo>
                    <a:pt x="229517" y="118183"/>
                  </a:lnTo>
                  <a:lnTo>
                    <a:pt x="229517" y="164417"/>
                  </a:lnTo>
                  <a:lnTo>
                    <a:pt x="283910" y="164417"/>
                  </a:lnTo>
                  <a:cubicBezTo>
                    <a:pt x="292069" y="164417"/>
                    <a:pt x="308387" y="169856"/>
                    <a:pt x="308387" y="194333"/>
                  </a:cubicBezTo>
                  <a:cubicBezTo>
                    <a:pt x="308387" y="218810"/>
                    <a:pt x="292069" y="221530"/>
                    <a:pt x="281190" y="221530"/>
                  </a:cubicBezTo>
                  <a:lnTo>
                    <a:pt x="229517" y="221530"/>
                  </a:lnTo>
                  <a:lnTo>
                    <a:pt x="229517" y="365671"/>
                  </a:lnTo>
                  <a:cubicBezTo>
                    <a:pt x="226797" y="409186"/>
                    <a:pt x="267592" y="433663"/>
                    <a:pt x="311107" y="433663"/>
                  </a:cubicBezTo>
                </a:path>
              </a:pathLst>
            </a:custGeom>
            <a:solidFill>
              <a:srgbClr val="FFFFFF"/>
            </a:solidFill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B3D9ECEB-1AF5-494A-ABA9-58D2377DA5A4}"/>
                </a:ext>
              </a:extLst>
            </p:cNvPr>
            <p:cNvSpPr/>
            <p:nvPr/>
          </p:nvSpPr>
          <p:spPr>
            <a:xfrm>
              <a:off x="1722663" y="681231"/>
              <a:ext cx="104115" cy="160176"/>
            </a:xfrm>
            <a:custGeom>
              <a:avLst/>
              <a:gdLst>
                <a:gd name="connsiteX0" fmla="*/ 311107 w 353555"/>
                <a:gd name="connsiteY0" fmla="*/ 433663 h 543931"/>
                <a:gd name="connsiteX1" fmla="*/ 215919 w 353555"/>
                <a:gd name="connsiteY1" fmla="*/ 501654 h 543931"/>
                <a:gd name="connsiteX2" fmla="*/ 98973 w 353555"/>
                <a:gd name="connsiteY2" fmla="*/ 392868 h 543931"/>
                <a:gd name="connsiteX3" fmla="*/ 98973 w 353555"/>
                <a:gd name="connsiteY3" fmla="*/ 221530 h 543931"/>
                <a:gd name="connsiteX4" fmla="*/ 82655 w 353555"/>
                <a:gd name="connsiteY4" fmla="*/ 221530 h 543931"/>
                <a:gd name="connsiteX5" fmla="*/ 58178 w 353555"/>
                <a:gd name="connsiteY5" fmla="*/ 191614 h 543931"/>
                <a:gd name="connsiteX6" fmla="*/ 85375 w 353555"/>
                <a:gd name="connsiteY6" fmla="*/ 164417 h 543931"/>
                <a:gd name="connsiteX7" fmla="*/ 101693 w 353555"/>
                <a:gd name="connsiteY7" fmla="*/ 164417 h 543931"/>
                <a:gd name="connsiteX8" fmla="*/ 101693 w 353555"/>
                <a:gd name="connsiteY8" fmla="*/ 118183 h 543931"/>
                <a:gd name="connsiteX9" fmla="*/ 166965 w 353555"/>
                <a:gd name="connsiteY9" fmla="*/ 58350 h 543931"/>
                <a:gd name="connsiteX10" fmla="*/ 229517 w 353555"/>
                <a:gd name="connsiteY10" fmla="*/ 118183 h 543931"/>
                <a:gd name="connsiteX11" fmla="*/ 229517 w 353555"/>
                <a:gd name="connsiteY11" fmla="*/ 118183 h 543931"/>
                <a:gd name="connsiteX12" fmla="*/ 229517 w 353555"/>
                <a:gd name="connsiteY12" fmla="*/ 164417 h 543931"/>
                <a:gd name="connsiteX13" fmla="*/ 283910 w 353555"/>
                <a:gd name="connsiteY13" fmla="*/ 164417 h 543931"/>
                <a:gd name="connsiteX14" fmla="*/ 308387 w 353555"/>
                <a:gd name="connsiteY14" fmla="*/ 194333 h 543931"/>
                <a:gd name="connsiteX15" fmla="*/ 281190 w 353555"/>
                <a:gd name="connsiteY15" fmla="*/ 221530 h 543931"/>
                <a:gd name="connsiteX16" fmla="*/ 229517 w 353555"/>
                <a:gd name="connsiteY16" fmla="*/ 221530 h 543931"/>
                <a:gd name="connsiteX17" fmla="*/ 229517 w 353555"/>
                <a:gd name="connsiteY17" fmla="*/ 365671 h 543931"/>
                <a:gd name="connsiteX18" fmla="*/ 311107 w 353555"/>
                <a:gd name="connsiteY18" fmla="*/ 433663 h 5439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353555" h="543931">
                  <a:moveTo>
                    <a:pt x="311107" y="433663"/>
                  </a:moveTo>
                  <a:cubicBezTo>
                    <a:pt x="311107" y="433663"/>
                    <a:pt x="278471" y="501654"/>
                    <a:pt x="215919" y="501654"/>
                  </a:cubicBezTo>
                  <a:cubicBezTo>
                    <a:pt x="164245" y="501654"/>
                    <a:pt x="101693" y="458140"/>
                    <a:pt x="98973" y="392868"/>
                  </a:cubicBezTo>
                  <a:cubicBezTo>
                    <a:pt x="98973" y="392868"/>
                    <a:pt x="98973" y="297680"/>
                    <a:pt x="98973" y="221530"/>
                  </a:cubicBezTo>
                  <a:lnTo>
                    <a:pt x="82655" y="221530"/>
                  </a:lnTo>
                  <a:cubicBezTo>
                    <a:pt x="74496" y="221530"/>
                    <a:pt x="58178" y="216090"/>
                    <a:pt x="58178" y="191614"/>
                  </a:cubicBezTo>
                  <a:cubicBezTo>
                    <a:pt x="58178" y="167137"/>
                    <a:pt x="77216" y="164417"/>
                    <a:pt x="85375" y="164417"/>
                  </a:cubicBezTo>
                  <a:lnTo>
                    <a:pt x="101693" y="164417"/>
                  </a:lnTo>
                  <a:cubicBezTo>
                    <a:pt x="101693" y="137220"/>
                    <a:pt x="101693" y="118183"/>
                    <a:pt x="101693" y="118183"/>
                  </a:cubicBezTo>
                  <a:cubicBezTo>
                    <a:pt x="104412" y="85547"/>
                    <a:pt x="134329" y="55631"/>
                    <a:pt x="166965" y="58350"/>
                  </a:cubicBezTo>
                  <a:cubicBezTo>
                    <a:pt x="196881" y="61070"/>
                    <a:pt x="229517" y="85547"/>
                    <a:pt x="229517" y="118183"/>
                  </a:cubicBezTo>
                  <a:lnTo>
                    <a:pt x="229517" y="118183"/>
                  </a:lnTo>
                  <a:lnTo>
                    <a:pt x="229517" y="164417"/>
                  </a:lnTo>
                  <a:lnTo>
                    <a:pt x="283910" y="164417"/>
                  </a:lnTo>
                  <a:cubicBezTo>
                    <a:pt x="292069" y="164417"/>
                    <a:pt x="308387" y="169856"/>
                    <a:pt x="308387" y="194333"/>
                  </a:cubicBezTo>
                  <a:cubicBezTo>
                    <a:pt x="308387" y="218810"/>
                    <a:pt x="292069" y="221530"/>
                    <a:pt x="281190" y="221530"/>
                  </a:cubicBezTo>
                  <a:lnTo>
                    <a:pt x="229517" y="221530"/>
                  </a:lnTo>
                  <a:lnTo>
                    <a:pt x="229517" y="365671"/>
                  </a:lnTo>
                  <a:cubicBezTo>
                    <a:pt x="229517" y="409186"/>
                    <a:pt x="270312" y="433663"/>
                    <a:pt x="311107" y="433663"/>
                  </a:cubicBezTo>
                </a:path>
              </a:pathLst>
            </a:custGeom>
            <a:solidFill>
              <a:srgbClr val="FFFFFF"/>
            </a:solidFill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34" name="Content Placeholder 2">
            <a:extLst>
              <a:ext uri="{FF2B5EF4-FFF2-40B4-BE49-F238E27FC236}">
                <a16:creationId xmlns:a16="http://schemas.microsoft.com/office/drawing/2014/main" id="{E442ECE1-0628-4823-BE59-38ECBEA38F98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81000" y="1565269"/>
            <a:ext cx="11430000" cy="51054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 or choose an icon below to insert other conten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142522355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12EC308-A595-4731-81D6-E996B8DA199F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81001" y="914400"/>
            <a:ext cx="11430000" cy="51054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 or choose an icon below to insert other conten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B204747-4051-4C7A-B674-A1E64ACD02F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055389" y="6307159"/>
            <a:ext cx="914400" cy="158954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9DB6A6F-2612-48E0-B685-EE5FD0A1A4E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32534" y="6307159"/>
            <a:ext cx="7104770" cy="158954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BB2BD39-0025-4E14-A207-974EC0FD86D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5A54F4-DB31-4FC5-B748-3F06867349C3}" type="slidenum">
              <a:rPr lang="en-US"/>
              <a:t>‹N›</a:t>
            </a:fld>
            <a:endParaRPr lang="en-US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0A593348-F93D-4FEF-A9B9-1AEA4A21A64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1" y="152400"/>
            <a:ext cx="11430001" cy="485335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514682652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D7533635-B1C4-457F-B4C4-D0F7EFBF08C3}"/>
              </a:ext>
            </a:extLst>
          </p:cNvPr>
          <p:cNvSpPr/>
          <p:nvPr/>
        </p:nvSpPr>
        <p:spPr bwMode="ltGray">
          <a:xfrm>
            <a:off x="10462371" y="5974804"/>
            <a:ext cx="1585477" cy="883197"/>
          </a:xfrm>
          <a:custGeom>
            <a:avLst/>
            <a:gdLst>
              <a:gd name="connsiteX0" fmla="*/ 838774 w 1585477"/>
              <a:gd name="connsiteY0" fmla="*/ 14 h 883197"/>
              <a:gd name="connsiteX1" fmla="*/ 996107 w 1585477"/>
              <a:gd name="connsiteY1" fmla="*/ 18377 h 883197"/>
              <a:gd name="connsiteX2" fmla="*/ 1585477 w 1585477"/>
              <a:gd name="connsiteY2" fmla="*/ 746145 h 883197"/>
              <a:gd name="connsiteX3" fmla="*/ 1585202 w 1585477"/>
              <a:gd name="connsiteY3" fmla="*/ 883197 h 883197"/>
              <a:gd name="connsiteX4" fmla="*/ 695 w 1585477"/>
              <a:gd name="connsiteY4" fmla="*/ 883197 h 883197"/>
              <a:gd name="connsiteX5" fmla="*/ 294 w 1585477"/>
              <a:gd name="connsiteY5" fmla="*/ 879328 h 883197"/>
              <a:gd name="connsiteX6" fmla="*/ 20167 w 1585477"/>
              <a:gd name="connsiteY6" fmla="*/ 648487 h 883197"/>
              <a:gd name="connsiteX7" fmla="*/ 838774 w 1585477"/>
              <a:gd name="connsiteY7" fmla="*/ 14 h 8831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585477" h="883197">
                <a:moveTo>
                  <a:pt x="838774" y="14"/>
                </a:moveTo>
                <a:cubicBezTo>
                  <a:pt x="891699" y="335"/>
                  <a:pt x="944452" y="6288"/>
                  <a:pt x="996107" y="18377"/>
                </a:cubicBezTo>
                <a:cubicBezTo>
                  <a:pt x="1344865" y="100437"/>
                  <a:pt x="1558993" y="409128"/>
                  <a:pt x="1585477" y="746145"/>
                </a:cubicBezTo>
                <a:lnTo>
                  <a:pt x="1585202" y="883197"/>
                </a:lnTo>
                <a:lnTo>
                  <a:pt x="695" y="883197"/>
                </a:lnTo>
                <a:lnTo>
                  <a:pt x="294" y="879328"/>
                </a:lnTo>
                <a:cubicBezTo>
                  <a:pt x="-1813" y="797038"/>
                  <a:pt x="7712" y="718092"/>
                  <a:pt x="20167" y="648487"/>
                </a:cubicBezTo>
                <a:cubicBezTo>
                  <a:pt x="89408" y="271519"/>
                  <a:pt x="468297" y="-2229"/>
                  <a:pt x="838774" y="14"/>
                </a:cubicBezTo>
                <a:close/>
              </a:path>
            </a:pathLst>
          </a:custGeom>
          <a:solidFill>
            <a:srgbClr val="4F2170"/>
          </a:solidFill>
          <a:ln w="9525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>
              <a:lnSpc>
                <a:spcPct val="90000"/>
              </a:lnSpc>
            </a:pPr>
            <a:endParaRPr lang="en-US">
              <a:solidFill>
                <a:schemeClr val="bg1"/>
              </a:solidFill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49FD507-7645-49CA-AA88-72717BAD31E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5A54F4-DB31-4FC5-B748-3F06867349C3}" type="slidenum">
              <a:rPr lang="en-US"/>
              <a:pPr/>
              <a:t>‹N›</a:t>
            </a:fld>
            <a:endParaRPr lang="en-US"/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95A0AFF1-9E54-421B-AC34-EAFAF90112DD}"/>
              </a:ext>
            </a:extLst>
          </p:cNvPr>
          <p:cNvGrpSpPr>
            <a:grpSpLocks noChangeAspect="1"/>
          </p:cNvGrpSpPr>
          <p:nvPr/>
        </p:nvGrpSpPr>
        <p:grpSpPr>
          <a:xfrm>
            <a:off x="10676779" y="6205751"/>
            <a:ext cx="1143000" cy="440144"/>
            <a:chOff x="2078951" y="1888610"/>
            <a:chExt cx="8030200" cy="3092248"/>
          </a:xfrm>
          <a:solidFill>
            <a:srgbClr val="FFFFFF"/>
          </a:solidFill>
        </p:grpSpPr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0BFDC3F4-CA3C-4FC2-92DD-3CADF4989447}"/>
                </a:ext>
              </a:extLst>
            </p:cNvPr>
            <p:cNvSpPr/>
            <p:nvPr/>
          </p:nvSpPr>
          <p:spPr>
            <a:xfrm>
              <a:off x="2078951" y="2872694"/>
              <a:ext cx="951880" cy="652717"/>
            </a:xfrm>
            <a:custGeom>
              <a:avLst/>
              <a:gdLst>
                <a:gd name="connsiteX0" fmla="*/ 903041 w 951880"/>
                <a:gd name="connsiteY0" fmla="*/ 330574 h 652717"/>
                <a:gd name="connsiteX1" fmla="*/ 780656 w 951880"/>
                <a:gd name="connsiteY1" fmla="*/ 379528 h 652717"/>
                <a:gd name="connsiteX2" fmla="*/ 598439 w 951880"/>
                <a:gd name="connsiteY2" fmla="*/ 311537 h 652717"/>
                <a:gd name="connsiteX3" fmla="*/ 505970 w 951880"/>
                <a:gd name="connsiteY3" fmla="*/ 164675 h 652717"/>
                <a:gd name="connsiteX4" fmla="*/ 266640 w 951880"/>
                <a:gd name="connsiteY4" fmla="*/ 61329 h 652717"/>
                <a:gd name="connsiteX5" fmla="*/ 103461 w 951880"/>
                <a:gd name="connsiteY5" fmla="*/ 458398 h 652717"/>
                <a:gd name="connsiteX6" fmla="*/ 756179 w 951880"/>
                <a:gd name="connsiteY6" fmla="*/ 485595 h 652717"/>
                <a:gd name="connsiteX7" fmla="*/ 903041 w 951880"/>
                <a:gd name="connsiteY7" fmla="*/ 330574 h 6527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51880" h="652717">
                  <a:moveTo>
                    <a:pt x="903041" y="330574"/>
                  </a:moveTo>
                  <a:cubicBezTo>
                    <a:pt x="867685" y="363210"/>
                    <a:pt x="813292" y="374089"/>
                    <a:pt x="780656" y="379528"/>
                  </a:cubicBezTo>
                  <a:cubicBezTo>
                    <a:pt x="712664" y="387687"/>
                    <a:pt x="641953" y="365930"/>
                    <a:pt x="598439" y="311537"/>
                  </a:cubicBezTo>
                  <a:cubicBezTo>
                    <a:pt x="563083" y="268022"/>
                    <a:pt x="544046" y="210910"/>
                    <a:pt x="505970" y="164675"/>
                  </a:cubicBezTo>
                  <a:cubicBezTo>
                    <a:pt x="448858" y="93964"/>
                    <a:pt x="359109" y="45011"/>
                    <a:pt x="266640" y="61329"/>
                  </a:cubicBezTo>
                  <a:cubicBezTo>
                    <a:pt x="81704" y="93964"/>
                    <a:pt x="114" y="308817"/>
                    <a:pt x="103461" y="458398"/>
                  </a:cubicBezTo>
                  <a:cubicBezTo>
                    <a:pt x="253042" y="670531"/>
                    <a:pt x="584840" y="635176"/>
                    <a:pt x="756179" y="485595"/>
                  </a:cubicBezTo>
                  <a:cubicBezTo>
                    <a:pt x="813292" y="442080"/>
                    <a:pt x="862246" y="390407"/>
                    <a:pt x="903041" y="330574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637DBEEE-CF7F-4D1F-849D-928BA82EC93B}"/>
                </a:ext>
              </a:extLst>
            </p:cNvPr>
            <p:cNvSpPr/>
            <p:nvPr/>
          </p:nvSpPr>
          <p:spPr>
            <a:xfrm>
              <a:off x="9151831" y="2872694"/>
              <a:ext cx="951880" cy="652717"/>
            </a:xfrm>
            <a:custGeom>
              <a:avLst/>
              <a:gdLst>
                <a:gd name="connsiteX0" fmla="*/ 58178 w 951880"/>
                <a:gd name="connsiteY0" fmla="*/ 330574 h 652717"/>
                <a:gd name="connsiteX1" fmla="*/ 180563 w 951880"/>
                <a:gd name="connsiteY1" fmla="*/ 379528 h 652717"/>
                <a:gd name="connsiteX2" fmla="*/ 362780 w 951880"/>
                <a:gd name="connsiteY2" fmla="*/ 311537 h 652717"/>
                <a:gd name="connsiteX3" fmla="*/ 455249 w 951880"/>
                <a:gd name="connsiteY3" fmla="*/ 164675 h 652717"/>
                <a:gd name="connsiteX4" fmla="*/ 694578 w 951880"/>
                <a:gd name="connsiteY4" fmla="*/ 61329 h 652717"/>
                <a:gd name="connsiteX5" fmla="*/ 857758 w 951880"/>
                <a:gd name="connsiteY5" fmla="*/ 458398 h 652717"/>
                <a:gd name="connsiteX6" fmla="*/ 205040 w 951880"/>
                <a:gd name="connsiteY6" fmla="*/ 485595 h 652717"/>
                <a:gd name="connsiteX7" fmla="*/ 58178 w 951880"/>
                <a:gd name="connsiteY7" fmla="*/ 330574 h 6527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51880" h="652717">
                  <a:moveTo>
                    <a:pt x="58178" y="330574"/>
                  </a:moveTo>
                  <a:cubicBezTo>
                    <a:pt x="96253" y="363210"/>
                    <a:pt x="147927" y="374089"/>
                    <a:pt x="180563" y="379528"/>
                  </a:cubicBezTo>
                  <a:cubicBezTo>
                    <a:pt x="248554" y="387687"/>
                    <a:pt x="319266" y="365930"/>
                    <a:pt x="362780" y="311537"/>
                  </a:cubicBezTo>
                  <a:cubicBezTo>
                    <a:pt x="398136" y="268022"/>
                    <a:pt x="417174" y="210910"/>
                    <a:pt x="455249" y="164675"/>
                  </a:cubicBezTo>
                  <a:cubicBezTo>
                    <a:pt x="512362" y="93964"/>
                    <a:pt x="602110" y="45011"/>
                    <a:pt x="694578" y="61329"/>
                  </a:cubicBezTo>
                  <a:cubicBezTo>
                    <a:pt x="879515" y="93964"/>
                    <a:pt x="961105" y="308817"/>
                    <a:pt x="857758" y="458398"/>
                  </a:cubicBezTo>
                  <a:cubicBezTo>
                    <a:pt x="708176" y="670531"/>
                    <a:pt x="376379" y="635176"/>
                    <a:pt x="205040" y="485595"/>
                  </a:cubicBezTo>
                  <a:cubicBezTo>
                    <a:pt x="150646" y="442080"/>
                    <a:pt x="101693" y="390407"/>
                    <a:pt x="58178" y="330574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BB2F70EF-E943-4F09-9AF2-6BD9CAD5CB3A}"/>
                </a:ext>
              </a:extLst>
            </p:cNvPr>
            <p:cNvSpPr/>
            <p:nvPr/>
          </p:nvSpPr>
          <p:spPr>
            <a:xfrm>
              <a:off x="8001294" y="2010994"/>
              <a:ext cx="734308" cy="299162"/>
            </a:xfrm>
            <a:custGeom>
              <a:avLst/>
              <a:gdLst>
                <a:gd name="connsiteX0" fmla="*/ 596792 w 734307"/>
                <a:gd name="connsiteY0" fmla="*/ 58178 h 299162"/>
                <a:gd name="connsiteX1" fmla="*/ 148048 w 734307"/>
                <a:gd name="connsiteY1" fmla="*/ 58178 h 299162"/>
                <a:gd name="connsiteX2" fmla="*/ 58299 w 734307"/>
                <a:gd name="connsiteY2" fmla="*/ 150646 h 299162"/>
                <a:gd name="connsiteX3" fmla="*/ 148048 w 734307"/>
                <a:gd name="connsiteY3" fmla="*/ 251274 h 299162"/>
                <a:gd name="connsiteX4" fmla="*/ 596792 w 734307"/>
                <a:gd name="connsiteY4" fmla="*/ 251274 h 299162"/>
                <a:gd name="connsiteX5" fmla="*/ 686541 w 734307"/>
                <a:gd name="connsiteY5" fmla="*/ 158805 h 299162"/>
                <a:gd name="connsiteX6" fmla="*/ 596792 w 734307"/>
                <a:gd name="connsiteY6" fmla="*/ 58178 h 2991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34307" h="299162">
                  <a:moveTo>
                    <a:pt x="596792" y="58178"/>
                  </a:moveTo>
                  <a:cubicBezTo>
                    <a:pt x="591353" y="58178"/>
                    <a:pt x="153487" y="58178"/>
                    <a:pt x="148048" y="58178"/>
                  </a:cubicBezTo>
                  <a:cubicBezTo>
                    <a:pt x="99094" y="60898"/>
                    <a:pt x="61019" y="104412"/>
                    <a:pt x="58299" y="150646"/>
                  </a:cubicBezTo>
                  <a:cubicBezTo>
                    <a:pt x="55580" y="199600"/>
                    <a:pt x="99094" y="248554"/>
                    <a:pt x="148048" y="251274"/>
                  </a:cubicBezTo>
                  <a:cubicBezTo>
                    <a:pt x="153487" y="251274"/>
                    <a:pt x="591353" y="251274"/>
                    <a:pt x="596792" y="251274"/>
                  </a:cubicBezTo>
                  <a:cubicBezTo>
                    <a:pt x="645746" y="248554"/>
                    <a:pt x="683821" y="205040"/>
                    <a:pt x="686541" y="158805"/>
                  </a:cubicBezTo>
                  <a:cubicBezTo>
                    <a:pt x="689260" y="109852"/>
                    <a:pt x="648465" y="60898"/>
                    <a:pt x="596792" y="58178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87C3E69A-2B35-4A55-B991-C0C039AFB0CE}"/>
                </a:ext>
              </a:extLst>
            </p:cNvPr>
            <p:cNvSpPr/>
            <p:nvPr/>
          </p:nvSpPr>
          <p:spPr>
            <a:xfrm>
              <a:off x="4920042" y="2277520"/>
              <a:ext cx="1006274" cy="951879"/>
            </a:xfrm>
            <a:custGeom>
              <a:avLst/>
              <a:gdLst>
                <a:gd name="connsiteX0" fmla="*/ 884954 w 1006273"/>
                <a:gd name="connsiteY0" fmla="*/ 746251 h 951879"/>
                <a:gd name="connsiteX1" fmla="*/ 874076 w 1006273"/>
                <a:gd name="connsiteY1" fmla="*/ 670101 h 951879"/>
                <a:gd name="connsiteX2" fmla="*/ 874076 w 1006273"/>
                <a:gd name="connsiteY2" fmla="*/ 536837 h 951879"/>
                <a:gd name="connsiteX3" fmla="*/ 689139 w 1006273"/>
                <a:gd name="connsiteY3" fmla="*/ 88094 h 951879"/>
                <a:gd name="connsiteX4" fmla="*/ 428052 w 1006273"/>
                <a:gd name="connsiteY4" fmla="*/ 253993 h 951879"/>
                <a:gd name="connsiteX5" fmla="*/ 196881 w 1006273"/>
                <a:gd name="connsiteY5" fmla="*/ 58178 h 951879"/>
                <a:gd name="connsiteX6" fmla="*/ 58178 w 1006273"/>
                <a:gd name="connsiteY6" fmla="*/ 128889 h 951879"/>
                <a:gd name="connsiteX7" fmla="*/ 142488 w 1006273"/>
                <a:gd name="connsiteY7" fmla="*/ 273031 h 951879"/>
                <a:gd name="connsiteX8" fmla="*/ 142488 w 1006273"/>
                <a:gd name="connsiteY8" fmla="*/ 757130 h 951879"/>
                <a:gd name="connsiteX9" fmla="*/ 283910 w 1006273"/>
                <a:gd name="connsiteY9" fmla="*/ 895832 h 951879"/>
                <a:gd name="connsiteX10" fmla="*/ 428052 w 1006273"/>
                <a:gd name="connsiteY10" fmla="*/ 757130 h 951879"/>
                <a:gd name="connsiteX11" fmla="*/ 428052 w 1006273"/>
                <a:gd name="connsiteY11" fmla="*/ 400855 h 951879"/>
                <a:gd name="connsiteX12" fmla="*/ 523240 w 1006273"/>
                <a:gd name="connsiteY12" fmla="*/ 283910 h 951879"/>
                <a:gd name="connsiteX13" fmla="*/ 591231 w 1006273"/>
                <a:gd name="connsiteY13" fmla="*/ 354621 h 951879"/>
                <a:gd name="connsiteX14" fmla="*/ 591231 w 1006273"/>
                <a:gd name="connsiteY14" fmla="*/ 697297 h 951879"/>
                <a:gd name="connsiteX15" fmla="*/ 593951 w 1006273"/>
                <a:gd name="connsiteY15" fmla="*/ 729933 h 951879"/>
                <a:gd name="connsiteX16" fmla="*/ 610269 w 1006273"/>
                <a:gd name="connsiteY16" fmla="*/ 778887 h 951879"/>
                <a:gd name="connsiteX17" fmla="*/ 822402 w 1006273"/>
                <a:gd name="connsiteY17" fmla="*/ 893112 h 951879"/>
                <a:gd name="connsiteX18" fmla="*/ 961105 w 1006273"/>
                <a:gd name="connsiteY18" fmla="*/ 822401 h 951879"/>
                <a:gd name="connsiteX19" fmla="*/ 884954 w 1006273"/>
                <a:gd name="connsiteY19" fmla="*/ 746251 h 9518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006273" h="951879">
                  <a:moveTo>
                    <a:pt x="884954" y="746251"/>
                  </a:moveTo>
                  <a:cubicBezTo>
                    <a:pt x="879515" y="721774"/>
                    <a:pt x="876795" y="694578"/>
                    <a:pt x="874076" y="670101"/>
                  </a:cubicBezTo>
                  <a:cubicBezTo>
                    <a:pt x="874076" y="634745"/>
                    <a:pt x="874076" y="583072"/>
                    <a:pt x="874076" y="536837"/>
                  </a:cubicBezTo>
                  <a:cubicBezTo>
                    <a:pt x="879515" y="373658"/>
                    <a:pt x="909431" y="88094"/>
                    <a:pt x="689139" y="88094"/>
                  </a:cubicBezTo>
                  <a:cubicBezTo>
                    <a:pt x="539558" y="88094"/>
                    <a:pt x="452529" y="213199"/>
                    <a:pt x="428052" y="253993"/>
                  </a:cubicBezTo>
                  <a:cubicBezTo>
                    <a:pt x="425332" y="139768"/>
                    <a:pt x="335583" y="58178"/>
                    <a:pt x="196881" y="58178"/>
                  </a:cubicBezTo>
                  <a:cubicBezTo>
                    <a:pt x="109852" y="58178"/>
                    <a:pt x="58178" y="128889"/>
                    <a:pt x="58178" y="128889"/>
                  </a:cubicBezTo>
                  <a:cubicBezTo>
                    <a:pt x="58178" y="128889"/>
                    <a:pt x="142488" y="158805"/>
                    <a:pt x="142488" y="273031"/>
                  </a:cubicBezTo>
                  <a:cubicBezTo>
                    <a:pt x="142488" y="354621"/>
                    <a:pt x="142488" y="757130"/>
                    <a:pt x="142488" y="757130"/>
                  </a:cubicBezTo>
                  <a:cubicBezTo>
                    <a:pt x="145207" y="827841"/>
                    <a:pt x="194161" y="895832"/>
                    <a:pt x="283910" y="895832"/>
                  </a:cubicBezTo>
                  <a:cubicBezTo>
                    <a:pt x="373659" y="895832"/>
                    <a:pt x="428052" y="827841"/>
                    <a:pt x="428052" y="757130"/>
                  </a:cubicBezTo>
                  <a:lnTo>
                    <a:pt x="428052" y="400855"/>
                  </a:lnTo>
                  <a:cubicBezTo>
                    <a:pt x="441650" y="343742"/>
                    <a:pt x="474286" y="283910"/>
                    <a:pt x="523240" y="283910"/>
                  </a:cubicBezTo>
                  <a:cubicBezTo>
                    <a:pt x="585792" y="283910"/>
                    <a:pt x="591231" y="354621"/>
                    <a:pt x="591231" y="354621"/>
                  </a:cubicBezTo>
                  <a:lnTo>
                    <a:pt x="591231" y="697297"/>
                  </a:lnTo>
                  <a:cubicBezTo>
                    <a:pt x="591231" y="708176"/>
                    <a:pt x="593951" y="719054"/>
                    <a:pt x="593951" y="729933"/>
                  </a:cubicBezTo>
                  <a:cubicBezTo>
                    <a:pt x="596671" y="748971"/>
                    <a:pt x="602110" y="765289"/>
                    <a:pt x="610269" y="778887"/>
                  </a:cubicBezTo>
                  <a:cubicBezTo>
                    <a:pt x="645624" y="846878"/>
                    <a:pt x="719055" y="893112"/>
                    <a:pt x="822402" y="893112"/>
                  </a:cubicBezTo>
                  <a:cubicBezTo>
                    <a:pt x="909431" y="893112"/>
                    <a:pt x="961105" y="822401"/>
                    <a:pt x="961105" y="822401"/>
                  </a:cubicBezTo>
                  <a:cubicBezTo>
                    <a:pt x="961105" y="822401"/>
                    <a:pt x="909431" y="808803"/>
                    <a:pt x="884954" y="746251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11AF4A2B-A30E-4897-8EDC-C99DE54C2936}"/>
                </a:ext>
              </a:extLst>
            </p:cNvPr>
            <p:cNvSpPr/>
            <p:nvPr/>
          </p:nvSpPr>
          <p:spPr>
            <a:xfrm>
              <a:off x="7552331" y="1888610"/>
              <a:ext cx="489539" cy="1332631"/>
            </a:xfrm>
            <a:custGeom>
              <a:avLst/>
              <a:gdLst>
                <a:gd name="connsiteX0" fmla="*/ 368560 w 489538"/>
                <a:gd name="connsiteY0" fmla="*/ 1135162 h 1332630"/>
                <a:gd name="connsiteX1" fmla="*/ 357681 w 489538"/>
                <a:gd name="connsiteY1" fmla="*/ 1059011 h 1332630"/>
                <a:gd name="connsiteX2" fmla="*/ 357681 w 489538"/>
                <a:gd name="connsiteY2" fmla="*/ 207759 h 1332630"/>
                <a:gd name="connsiteX3" fmla="*/ 208099 w 489538"/>
                <a:gd name="connsiteY3" fmla="*/ 58178 h 1332630"/>
                <a:gd name="connsiteX4" fmla="*/ 58518 w 489538"/>
                <a:gd name="connsiteY4" fmla="*/ 207759 h 1332630"/>
                <a:gd name="connsiteX5" fmla="*/ 58518 w 489538"/>
                <a:gd name="connsiteY5" fmla="*/ 961104 h 1332630"/>
                <a:gd name="connsiteX6" fmla="*/ 85715 w 489538"/>
                <a:gd name="connsiteY6" fmla="*/ 1159639 h 1332630"/>
                <a:gd name="connsiteX7" fmla="*/ 306007 w 489538"/>
                <a:gd name="connsiteY7" fmla="*/ 1282023 h 1332630"/>
                <a:gd name="connsiteX8" fmla="*/ 444710 w 489538"/>
                <a:gd name="connsiteY8" fmla="*/ 1211312 h 1332630"/>
                <a:gd name="connsiteX9" fmla="*/ 368560 w 489538"/>
                <a:gd name="connsiteY9" fmla="*/ 1135162 h 13326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89538" h="1332630">
                  <a:moveTo>
                    <a:pt x="368560" y="1135162"/>
                  </a:moveTo>
                  <a:cubicBezTo>
                    <a:pt x="363120" y="1110685"/>
                    <a:pt x="357681" y="1083488"/>
                    <a:pt x="357681" y="1059011"/>
                  </a:cubicBezTo>
                  <a:lnTo>
                    <a:pt x="357681" y="207759"/>
                  </a:lnTo>
                  <a:cubicBezTo>
                    <a:pt x="357681" y="126170"/>
                    <a:pt x="289689" y="58178"/>
                    <a:pt x="208099" y="58178"/>
                  </a:cubicBezTo>
                  <a:cubicBezTo>
                    <a:pt x="126510" y="58178"/>
                    <a:pt x="58518" y="126170"/>
                    <a:pt x="58518" y="207759"/>
                  </a:cubicBezTo>
                  <a:lnTo>
                    <a:pt x="58518" y="961104"/>
                  </a:lnTo>
                  <a:cubicBezTo>
                    <a:pt x="58518" y="1029095"/>
                    <a:pt x="53079" y="1097086"/>
                    <a:pt x="85715" y="1159639"/>
                  </a:cubicBezTo>
                  <a:cubicBezTo>
                    <a:pt x="118351" y="1227630"/>
                    <a:pt x="202660" y="1282023"/>
                    <a:pt x="306007" y="1282023"/>
                  </a:cubicBezTo>
                  <a:cubicBezTo>
                    <a:pt x="393036" y="1282023"/>
                    <a:pt x="444710" y="1211312"/>
                    <a:pt x="444710" y="1211312"/>
                  </a:cubicBezTo>
                  <a:cubicBezTo>
                    <a:pt x="444710" y="1211312"/>
                    <a:pt x="393036" y="1197714"/>
                    <a:pt x="368560" y="1135162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B2DCAE65-6D6D-48D1-B28A-A058E3BC709E}"/>
                </a:ext>
              </a:extLst>
            </p:cNvPr>
            <p:cNvSpPr/>
            <p:nvPr/>
          </p:nvSpPr>
          <p:spPr>
            <a:xfrm>
              <a:off x="4162324" y="2357456"/>
              <a:ext cx="815899" cy="815898"/>
            </a:xfrm>
            <a:custGeom>
              <a:avLst/>
              <a:gdLst>
                <a:gd name="connsiteX0" fmla="*/ 407949 w 815899"/>
                <a:gd name="connsiteY0" fmla="*/ 174058 h 815898"/>
                <a:gd name="connsiteX1" fmla="*/ 293723 w 815899"/>
                <a:gd name="connsiteY1" fmla="*/ 407950 h 815898"/>
                <a:gd name="connsiteX2" fmla="*/ 410669 w 815899"/>
                <a:gd name="connsiteY2" fmla="*/ 641840 h 815898"/>
                <a:gd name="connsiteX3" fmla="*/ 522175 w 815899"/>
                <a:gd name="connsiteY3" fmla="*/ 407950 h 815898"/>
                <a:gd name="connsiteX4" fmla="*/ 407949 w 815899"/>
                <a:gd name="connsiteY4" fmla="*/ 174058 h 815898"/>
                <a:gd name="connsiteX5" fmla="*/ 407950 w 815899"/>
                <a:gd name="connsiteY5" fmla="*/ 0 h 815898"/>
                <a:gd name="connsiteX6" fmla="*/ 815899 w 815899"/>
                <a:gd name="connsiteY6" fmla="*/ 407949 h 815898"/>
                <a:gd name="connsiteX7" fmla="*/ 407950 w 815899"/>
                <a:gd name="connsiteY7" fmla="*/ 815898 h 815898"/>
                <a:gd name="connsiteX8" fmla="*/ 0 w 815899"/>
                <a:gd name="connsiteY8" fmla="*/ 407949 h 815898"/>
                <a:gd name="connsiteX9" fmla="*/ 407950 w 815899"/>
                <a:gd name="connsiteY9" fmla="*/ 0 h 815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15899" h="815898">
                  <a:moveTo>
                    <a:pt x="407949" y="174058"/>
                  </a:moveTo>
                  <a:cubicBezTo>
                    <a:pt x="342677" y="174058"/>
                    <a:pt x="293723" y="263807"/>
                    <a:pt x="293723" y="407950"/>
                  </a:cubicBezTo>
                  <a:cubicBezTo>
                    <a:pt x="293723" y="552091"/>
                    <a:pt x="331799" y="639120"/>
                    <a:pt x="410669" y="641840"/>
                  </a:cubicBezTo>
                  <a:cubicBezTo>
                    <a:pt x="489539" y="641840"/>
                    <a:pt x="527614" y="552091"/>
                    <a:pt x="522175" y="407950"/>
                  </a:cubicBezTo>
                  <a:cubicBezTo>
                    <a:pt x="522175" y="263807"/>
                    <a:pt x="473221" y="176778"/>
                    <a:pt x="407949" y="174058"/>
                  </a:cubicBezTo>
                  <a:close/>
                  <a:moveTo>
                    <a:pt x="407950" y="0"/>
                  </a:moveTo>
                  <a:cubicBezTo>
                    <a:pt x="633682" y="0"/>
                    <a:pt x="815899" y="182217"/>
                    <a:pt x="815899" y="407949"/>
                  </a:cubicBezTo>
                  <a:cubicBezTo>
                    <a:pt x="815899" y="633681"/>
                    <a:pt x="633682" y="815898"/>
                    <a:pt x="407950" y="815898"/>
                  </a:cubicBezTo>
                  <a:cubicBezTo>
                    <a:pt x="182218" y="815898"/>
                    <a:pt x="0" y="633681"/>
                    <a:pt x="0" y="407949"/>
                  </a:cubicBezTo>
                  <a:cubicBezTo>
                    <a:pt x="0" y="182217"/>
                    <a:pt x="182218" y="0"/>
                    <a:pt x="407950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395AFC10-7312-4BF8-A557-DA8678F962DA}"/>
                </a:ext>
              </a:extLst>
            </p:cNvPr>
            <p:cNvSpPr/>
            <p:nvPr/>
          </p:nvSpPr>
          <p:spPr>
            <a:xfrm>
              <a:off x="5884871" y="1946788"/>
              <a:ext cx="912802" cy="1223846"/>
            </a:xfrm>
            <a:custGeom>
              <a:avLst/>
              <a:gdLst>
                <a:gd name="connsiteX0" fmla="*/ 387907 w 912802"/>
                <a:gd name="connsiteY0" fmla="*/ 620081 h 1223846"/>
                <a:gd name="connsiteX1" fmla="*/ 273681 w 912802"/>
                <a:gd name="connsiteY1" fmla="*/ 824055 h 1223846"/>
                <a:gd name="connsiteX2" fmla="*/ 390627 w 912802"/>
                <a:gd name="connsiteY2" fmla="*/ 1028029 h 1223846"/>
                <a:gd name="connsiteX3" fmla="*/ 502132 w 912802"/>
                <a:gd name="connsiteY3" fmla="*/ 824055 h 1223846"/>
                <a:gd name="connsiteX4" fmla="*/ 387907 w 912802"/>
                <a:gd name="connsiteY4" fmla="*/ 620081 h 1223846"/>
                <a:gd name="connsiteX5" fmla="*/ 676192 w 912802"/>
                <a:gd name="connsiteY5" fmla="*/ 0 h 1223846"/>
                <a:gd name="connsiteX6" fmla="*/ 825773 w 912802"/>
                <a:gd name="connsiteY6" fmla="*/ 149581 h 1223846"/>
                <a:gd name="connsiteX7" fmla="*/ 825773 w 912802"/>
                <a:gd name="connsiteY7" fmla="*/ 1000834 h 1223846"/>
                <a:gd name="connsiteX8" fmla="*/ 836651 w 912802"/>
                <a:gd name="connsiteY8" fmla="*/ 1076985 h 1223846"/>
                <a:gd name="connsiteX9" fmla="*/ 912802 w 912802"/>
                <a:gd name="connsiteY9" fmla="*/ 1150415 h 1223846"/>
                <a:gd name="connsiteX10" fmla="*/ 774099 w 912802"/>
                <a:gd name="connsiteY10" fmla="*/ 1221126 h 1223846"/>
                <a:gd name="connsiteX11" fmla="*/ 553807 w 912802"/>
                <a:gd name="connsiteY11" fmla="*/ 1098742 h 1223846"/>
                <a:gd name="connsiteX12" fmla="*/ 548367 w 912802"/>
                <a:gd name="connsiteY12" fmla="*/ 1085144 h 1223846"/>
                <a:gd name="connsiteX13" fmla="*/ 398786 w 912802"/>
                <a:gd name="connsiteY13" fmla="*/ 1212967 h 1223846"/>
                <a:gd name="connsiteX14" fmla="*/ 156736 w 912802"/>
                <a:gd name="connsiteY14" fmla="*/ 1180332 h 1223846"/>
                <a:gd name="connsiteX15" fmla="*/ 287280 w 912802"/>
                <a:gd name="connsiteY15" fmla="*/ 416107 h 1223846"/>
                <a:gd name="connsiteX16" fmla="*/ 526611 w 912802"/>
                <a:gd name="connsiteY16" fmla="*/ 552091 h 1223846"/>
                <a:gd name="connsiteX17" fmla="*/ 526611 w 912802"/>
                <a:gd name="connsiteY17" fmla="*/ 149581 h 1223846"/>
                <a:gd name="connsiteX18" fmla="*/ 676192 w 912802"/>
                <a:gd name="connsiteY18" fmla="*/ 0 h 1223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912802" h="1223846">
                  <a:moveTo>
                    <a:pt x="387907" y="620081"/>
                  </a:moveTo>
                  <a:cubicBezTo>
                    <a:pt x="322635" y="620081"/>
                    <a:pt x="273681" y="698951"/>
                    <a:pt x="273681" y="824055"/>
                  </a:cubicBezTo>
                  <a:cubicBezTo>
                    <a:pt x="273681" y="949160"/>
                    <a:pt x="311756" y="1028029"/>
                    <a:pt x="390627" y="1028029"/>
                  </a:cubicBezTo>
                  <a:cubicBezTo>
                    <a:pt x="466777" y="1025310"/>
                    <a:pt x="504852" y="949160"/>
                    <a:pt x="502132" y="824055"/>
                  </a:cubicBezTo>
                  <a:cubicBezTo>
                    <a:pt x="502132" y="698951"/>
                    <a:pt x="455898" y="622801"/>
                    <a:pt x="387907" y="620081"/>
                  </a:cubicBezTo>
                  <a:close/>
                  <a:moveTo>
                    <a:pt x="676192" y="0"/>
                  </a:moveTo>
                  <a:cubicBezTo>
                    <a:pt x="757781" y="0"/>
                    <a:pt x="825773" y="67992"/>
                    <a:pt x="825773" y="149581"/>
                  </a:cubicBezTo>
                  <a:lnTo>
                    <a:pt x="825773" y="1000834"/>
                  </a:lnTo>
                  <a:cubicBezTo>
                    <a:pt x="828492" y="1025311"/>
                    <a:pt x="831212" y="1052508"/>
                    <a:pt x="836651" y="1076985"/>
                  </a:cubicBezTo>
                  <a:cubicBezTo>
                    <a:pt x="861128" y="1139537"/>
                    <a:pt x="912802" y="1150415"/>
                    <a:pt x="912802" y="1150415"/>
                  </a:cubicBezTo>
                  <a:cubicBezTo>
                    <a:pt x="912802" y="1150415"/>
                    <a:pt x="861128" y="1221126"/>
                    <a:pt x="774099" y="1221126"/>
                  </a:cubicBezTo>
                  <a:cubicBezTo>
                    <a:pt x="670752" y="1221126"/>
                    <a:pt x="589162" y="1166733"/>
                    <a:pt x="553807" y="1098742"/>
                  </a:cubicBezTo>
                  <a:cubicBezTo>
                    <a:pt x="551087" y="1093303"/>
                    <a:pt x="551087" y="1090583"/>
                    <a:pt x="548367" y="1085144"/>
                  </a:cubicBezTo>
                  <a:cubicBezTo>
                    <a:pt x="534769" y="1147696"/>
                    <a:pt x="450460" y="1199369"/>
                    <a:pt x="398786" y="1212967"/>
                  </a:cubicBezTo>
                  <a:cubicBezTo>
                    <a:pt x="322636" y="1234725"/>
                    <a:pt x="222008" y="1223846"/>
                    <a:pt x="156736" y="1180332"/>
                  </a:cubicBezTo>
                  <a:cubicBezTo>
                    <a:pt x="-79874" y="1028031"/>
                    <a:pt x="-58117" y="416107"/>
                    <a:pt x="287280" y="416107"/>
                  </a:cubicBezTo>
                  <a:cubicBezTo>
                    <a:pt x="412385" y="416107"/>
                    <a:pt x="491255" y="503137"/>
                    <a:pt x="526611" y="552091"/>
                  </a:cubicBezTo>
                  <a:lnTo>
                    <a:pt x="526611" y="149581"/>
                  </a:lnTo>
                  <a:cubicBezTo>
                    <a:pt x="526611" y="67992"/>
                    <a:pt x="594602" y="0"/>
                    <a:pt x="676192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2F36A6C7-D0EE-46D0-A334-73B13AC9039B}"/>
                </a:ext>
              </a:extLst>
            </p:cNvPr>
            <p:cNvSpPr/>
            <p:nvPr/>
          </p:nvSpPr>
          <p:spPr>
            <a:xfrm>
              <a:off x="6789513" y="2362895"/>
              <a:ext cx="747906" cy="810458"/>
            </a:xfrm>
            <a:custGeom>
              <a:avLst/>
              <a:gdLst>
                <a:gd name="connsiteX0" fmla="*/ 394818 w 747906"/>
                <a:gd name="connsiteY0" fmla="*/ 163222 h 810458"/>
                <a:gd name="connsiteX1" fmla="*/ 356275 w 747906"/>
                <a:gd name="connsiteY1" fmla="*/ 174058 h 810458"/>
                <a:gd name="connsiteX2" fmla="*/ 274685 w 747906"/>
                <a:gd name="connsiteY2" fmla="*/ 356275 h 810458"/>
                <a:gd name="connsiteX3" fmla="*/ 375313 w 747906"/>
                <a:gd name="connsiteY3" fmla="*/ 358994 h 810458"/>
                <a:gd name="connsiteX4" fmla="*/ 473220 w 747906"/>
                <a:gd name="connsiteY4" fmla="*/ 239329 h 810458"/>
                <a:gd name="connsiteX5" fmla="*/ 394818 w 747906"/>
                <a:gd name="connsiteY5" fmla="*/ 163222 h 810458"/>
                <a:gd name="connsiteX6" fmla="*/ 386192 w 747906"/>
                <a:gd name="connsiteY6" fmla="*/ 0 h 810458"/>
                <a:gd name="connsiteX7" fmla="*/ 747906 w 747906"/>
                <a:gd name="connsiteY7" fmla="*/ 266526 h 810458"/>
                <a:gd name="connsiteX8" fmla="*/ 291004 w 747906"/>
                <a:gd name="connsiteY8" fmla="*/ 484100 h 810458"/>
                <a:gd name="connsiteX9" fmla="*/ 497698 w 747906"/>
                <a:gd name="connsiteY9" fmla="*/ 617363 h 810458"/>
                <a:gd name="connsiteX10" fmla="*/ 712551 w 747906"/>
                <a:gd name="connsiteY10" fmla="*/ 557530 h 810458"/>
                <a:gd name="connsiteX11" fmla="*/ 388912 w 747906"/>
                <a:gd name="connsiteY11" fmla="*/ 810458 h 810458"/>
                <a:gd name="connsiteX12" fmla="*/ 0 w 747906"/>
                <a:gd name="connsiteY12" fmla="*/ 413389 h 810458"/>
                <a:gd name="connsiteX13" fmla="*/ 386192 w 747906"/>
                <a:gd name="connsiteY13" fmla="*/ 0 h 8104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747906" h="810458">
                  <a:moveTo>
                    <a:pt x="394818" y="163222"/>
                  </a:moveTo>
                  <a:cubicBezTo>
                    <a:pt x="381772" y="163179"/>
                    <a:pt x="368514" y="166579"/>
                    <a:pt x="356275" y="174058"/>
                  </a:cubicBezTo>
                  <a:cubicBezTo>
                    <a:pt x="299162" y="212133"/>
                    <a:pt x="282844" y="291003"/>
                    <a:pt x="274685" y="356275"/>
                  </a:cubicBezTo>
                  <a:cubicBezTo>
                    <a:pt x="274685" y="364434"/>
                    <a:pt x="369873" y="358994"/>
                    <a:pt x="375313" y="358994"/>
                  </a:cubicBezTo>
                  <a:cubicBezTo>
                    <a:pt x="432425" y="345396"/>
                    <a:pt x="473220" y="301881"/>
                    <a:pt x="473220" y="239329"/>
                  </a:cubicBezTo>
                  <a:cubicBezTo>
                    <a:pt x="471181" y="194455"/>
                    <a:pt x="433956" y="163349"/>
                    <a:pt x="394818" y="163222"/>
                  </a:cubicBezTo>
                  <a:close/>
                  <a:moveTo>
                    <a:pt x="386192" y="0"/>
                  </a:moveTo>
                  <a:cubicBezTo>
                    <a:pt x="519455" y="0"/>
                    <a:pt x="747906" y="65272"/>
                    <a:pt x="747906" y="266526"/>
                  </a:cubicBezTo>
                  <a:cubicBezTo>
                    <a:pt x="747906" y="467782"/>
                    <a:pt x="538493" y="484100"/>
                    <a:pt x="291004" y="484100"/>
                  </a:cubicBezTo>
                  <a:cubicBezTo>
                    <a:pt x="291004" y="484100"/>
                    <a:pt x="326359" y="617363"/>
                    <a:pt x="497698" y="617363"/>
                  </a:cubicBezTo>
                  <a:cubicBezTo>
                    <a:pt x="669036" y="617363"/>
                    <a:pt x="712551" y="557530"/>
                    <a:pt x="712551" y="557530"/>
                  </a:cubicBezTo>
                  <a:cubicBezTo>
                    <a:pt x="712551" y="557530"/>
                    <a:pt x="696233" y="810458"/>
                    <a:pt x="388912" y="810458"/>
                  </a:cubicBezTo>
                  <a:cubicBezTo>
                    <a:pt x="212134" y="810458"/>
                    <a:pt x="0" y="677195"/>
                    <a:pt x="0" y="413389"/>
                  </a:cubicBezTo>
                  <a:cubicBezTo>
                    <a:pt x="0" y="176778"/>
                    <a:pt x="163180" y="0"/>
                    <a:pt x="386192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CA99400B-701C-434B-A9DF-407DAC516AB5}"/>
                </a:ext>
              </a:extLst>
            </p:cNvPr>
            <p:cNvSpPr/>
            <p:nvPr/>
          </p:nvSpPr>
          <p:spPr>
            <a:xfrm>
              <a:off x="7988882" y="2362895"/>
              <a:ext cx="747906" cy="810458"/>
            </a:xfrm>
            <a:custGeom>
              <a:avLst/>
              <a:gdLst>
                <a:gd name="connsiteX0" fmla="*/ 394818 w 747906"/>
                <a:gd name="connsiteY0" fmla="*/ 163222 h 810458"/>
                <a:gd name="connsiteX1" fmla="*/ 356275 w 747906"/>
                <a:gd name="connsiteY1" fmla="*/ 174058 h 810458"/>
                <a:gd name="connsiteX2" fmla="*/ 274685 w 747906"/>
                <a:gd name="connsiteY2" fmla="*/ 356275 h 810458"/>
                <a:gd name="connsiteX3" fmla="*/ 375313 w 747906"/>
                <a:gd name="connsiteY3" fmla="*/ 358994 h 810458"/>
                <a:gd name="connsiteX4" fmla="*/ 473220 w 747906"/>
                <a:gd name="connsiteY4" fmla="*/ 239329 h 810458"/>
                <a:gd name="connsiteX5" fmla="*/ 394818 w 747906"/>
                <a:gd name="connsiteY5" fmla="*/ 163222 h 810458"/>
                <a:gd name="connsiteX6" fmla="*/ 386192 w 747906"/>
                <a:gd name="connsiteY6" fmla="*/ 0 h 810458"/>
                <a:gd name="connsiteX7" fmla="*/ 747906 w 747906"/>
                <a:gd name="connsiteY7" fmla="*/ 266526 h 810458"/>
                <a:gd name="connsiteX8" fmla="*/ 291004 w 747906"/>
                <a:gd name="connsiteY8" fmla="*/ 484100 h 810458"/>
                <a:gd name="connsiteX9" fmla="*/ 497697 w 747906"/>
                <a:gd name="connsiteY9" fmla="*/ 617363 h 810458"/>
                <a:gd name="connsiteX10" fmla="*/ 712551 w 747906"/>
                <a:gd name="connsiteY10" fmla="*/ 557530 h 810458"/>
                <a:gd name="connsiteX11" fmla="*/ 388911 w 747906"/>
                <a:gd name="connsiteY11" fmla="*/ 810458 h 810458"/>
                <a:gd name="connsiteX12" fmla="*/ 0 w 747906"/>
                <a:gd name="connsiteY12" fmla="*/ 413389 h 810458"/>
                <a:gd name="connsiteX13" fmla="*/ 386192 w 747906"/>
                <a:gd name="connsiteY13" fmla="*/ 0 h 8104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747906" h="810458">
                  <a:moveTo>
                    <a:pt x="394818" y="163222"/>
                  </a:moveTo>
                  <a:cubicBezTo>
                    <a:pt x="381772" y="163179"/>
                    <a:pt x="368514" y="166579"/>
                    <a:pt x="356275" y="174058"/>
                  </a:cubicBezTo>
                  <a:cubicBezTo>
                    <a:pt x="299162" y="212133"/>
                    <a:pt x="282844" y="291003"/>
                    <a:pt x="274685" y="356275"/>
                  </a:cubicBezTo>
                  <a:cubicBezTo>
                    <a:pt x="274685" y="364434"/>
                    <a:pt x="369873" y="358994"/>
                    <a:pt x="375313" y="358994"/>
                  </a:cubicBezTo>
                  <a:cubicBezTo>
                    <a:pt x="432426" y="345396"/>
                    <a:pt x="473220" y="301881"/>
                    <a:pt x="473220" y="239329"/>
                  </a:cubicBezTo>
                  <a:cubicBezTo>
                    <a:pt x="471181" y="194455"/>
                    <a:pt x="433955" y="163349"/>
                    <a:pt x="394818" y="163222"/>
                  </a:cubicBezTo>
                  <a:close/>
                  <a:moveTo>
                    <a:pt x="386192" y="0"/>
                  </a:moveTo>
                  <a:cubicBezTo>
                    <a:pt x="519455" y="0"/>
                    <a:pt x="747906" y="65272"/>
                    <a:pt x="747906" y="266526"/>
                  </a:cubicBezTo>
                  <a:cubicBezTo>
                    <a:pt x="747906" y="467782"/>
                    <a:pt x="538492" y="484100"/>
                    <a:pt x="291004" y="484100"/>
                  </a:cubicBezTo>
                  <a:cubicBezTo>
                    <a:pt x="291004" y="484100"/>
                    <a:pt x="326359" y="617363"/>
                    <a:pt x="497697" y="617363"/>
                  </a:cubicBezTo>
                  <a:cubicBezTo>
                    <a:pt x="669036" y="617363"/>
                    <a:pt x="712551" y="557530"/>
                    <a:pt x="712551" y="557530"/>
                  </a:cubicBezTo>
                  <a:cubicBezTo>
                    <a:pt x="712551" y="557530"/>
                    <a:pt x="696233" y="810458"/>
                    <a:pt x="388911" y="810458"/>
                  </a:cubicBezTo>
                  <a:cubicBezTo>
                    <a:pt x="212133" y="810458"/>
                    <a:pt x="0" y="677195"/>
                    <a:pt x="0" y="413389"/>
                  </a:cubicBezTo>
                  <a:cubicBezTo>
                    <a:pt x="0" y="176778"/>
                    <a:pt x="163180" y="0"/>
                    <a:pt x="386192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B2D1B86A-33BB-46AB-8000-A26581AE547C}"/>
                </a:ext>
              </a:extLst>
            </p:cNvPr>
            <p:cNvSpPr/>
            <p:nvPr/>
          </p:nvSpPr>
          <p:spPr>
            <a:xfrm>
              <a:off x="8683414" y="2274801"/>
              <a:ext cx="897487" cy="951879"/>
            </a:xfrm>
            <a:custGeom>
              <a:avLst/>
              <a:gdLst>
                <a:gd name="connsiteX0" fmla="*/ 580988 w 897487"/>
                <a:gd name="connsiteY0" fmla="*/ 667381 h 951879"/>
                <a:gd name="connsiteX1" fmla="*/ 409649 w 897487"/>
                <a:gd name="connsiteY1" fmla="*/ 667381 h 951879"/>
                <a:gd name="connsiteX2" fmla="*/ 591866 w 897487"/>
                <a:gd name="connsiteY2" fmla="*/ 525959 h 951879"/>
                <a:gd name="connsiteX3" fmla="*/ 842075 w 897487"/>
                <a:gd name="connsiteY3" fmla="*/ 123450 h 951879"/>
                <a:gd name="connsiteX4" fmla="*/ 842075 w 897487"/>
                <a:gd name="connsiteY4" fmla="*/ 123450 h 951879"/>
                <a:gd name="connsiteX5" fmla="*/ 798560 w 897487"/>
                <a:gd name="connsiteY5" fmla="*/ 58178 h 951879"/>
                <a:gd name="connsiteX6" fmla="*/ 746887 w 897487"/>
                <a:gd name="connsiteY6" fmla="*/ 107132 h 951879"/>
                <a:gd name="connsiteX7" fmla="*/ 697933 w 897487"/>
                <a:gd name="connsiteY7" fmla="*/ 115291 h 951879"/>
                <a:gd name="connsiteX8" fmla="*/ 219273 w 897487"/>
                <a:gd name="connsiteY8" fmla="*/ 115291 h 951879"/>
                <a:gd name="connsiteX9" fmla="*/ 102328 w 897487"/>
                <a:gd name="connsiteY9" fmla="*/ 224077 h 951879"/>
                <a:gd name="connsiteX10" fmla="*/ 213834 w 897487"/>
                <a:gd name="connsiteY10" fmla="*/ 332863 h 951879"/>
                <a:gd name="connsiteX11" fmla="*/ 485800 w 897487"/>
                <a:gd name="connsiteY11" fmla="*/ 335583 h 951879"/>
                <a:gd name="connsiteX12" fmla="*/ 134964 w 897487"/>
                <a:gd name="connsiteY12" fmla="*/ 615708 h 951879"/>
                <a:gd name="connsiteX13" fmla="*/ 61533 w 897487"/>
                <a:gd name="connsiteY13" fmla="*/ 884953 h 951879"/>
                <a:gd name="connsiteX14" fmla="*/ 398771 w 897487"/>
                <a:gd name="connsiteY14" fmla="*/ 806083 h 951879"/>
                <a:gd name="connsiteX15" fmla="*/ 529314 w 897487"/>
                <a:gd name="connsiteY15" fmla="*/ 863196 h 951879"/>
                <a:gd name="connsiteX16" fmla="*/ 782242 w 897487"/>
                <a:gd name="connsiteY16" fmla="*/ 607549 h 951879"/>
                <a:gd name="connsiteX17" fmla="*/ 580988 w 897487"/>
                <a:gd name="connsiteY17" fmla="*/ 667381 h 9518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897487" h="951879">
                  <a:moveTo>
                    <a:pt x="580988" y="667381"/>
                  </a:moveTo>
                  <a:lnTo>
                    <a:pt x="409649" y="667381"/>
                  </a:lnTo>
                  <a:cubicBezTo>
                    <a:pt x="423248" y="667381"/>
                    <a:pt x="548352" y="561314"/>
                    <a:pt x="591866" y="525959"/>
                  </a:cubicBezTo>
                  <a:cubicBezTo>
                    <a:pt x="700653" y="433491"/>
                    <a:pt x="899188" y="297508"/>
                    <a:pt x="842075" y="123450"/>
                  </a:cubicBezTo>
                  <a:lnTo>
                    <a:pt x="842075" y="123450"/>
                  </a:lnTo>
                  <a:cubicBezTo>
                    <a:pt x="831197" y="82655"/>
                    <a:pt x="798560" y="58178"/>
                    <a:pt x="798560" y="58178"/>
                  </a:cubicBezTo>
                  <a:cubicBezTo>
                    <a:pt x="798560" y="58178"/>
                    <a:pt x="787682" y="90814"/>
                    <a:pt x="746887" y="107132"/>
                  </a:cubicBezTo>
                  <a:cubicBezTo>
                    <a:pt x="730569" y="109852"/>
                    <a:pt x="714251" y="115291"/>
                    <a:pt x="697933" y="115291"/>
                  </a:cubicBezTo>
                  <a:cubicBezTo>
                    <a:pt x="684334" y="115291"/>
                    <a:pt x="219273" y="115291"/>
                    <a:pt x="219273" y="115291"/>
                  </a:cubicBezTo>
                  <a:cubicBezTo>
                    <a:pt x="156721" y="115291"/>
                    <a:pt x="105048" y="166964"/>
                    <a:pt x="102328" y="224077"/>
                  </a:cubicBezTo>
                  <a:cubicBezTo>
                    <a:pt x="102328" y="283910"/>
                    <a:pt x="151282" y="332863"/>
                    <a:pt x="213834" y="332863"/>
                  </a:cubicBezTo>
                  <a:lnTo>
                    <a:pt x="485800" y="335583"/>
                  </a:lnTo>
                  <a:cubicBezTo>
                    <a:pt x="360695" y="406294"/>
                    <a:pt x="211114" y="487884"/>
                    <a:pt x="134964" y="615708"/>
                  </a:cubicBezTo>
                  <a:cubicBezTo>
                    <a:pt x="91449" y="689138"/>
                    <a:pt x="45215" y="800644"/>
                    <a:pt x="61533" y="884953"/>
                  </a:cubicBezTo>
                  <a:cubicBezTo>
                    <a:pt x="121366" y="830560"/>
                    <a:pt x="279106" y="778887"/>
                    <a:pt x="398771" y="806083"/>
                  </a:cubicBezTo>
                  <a:cubicBezTo>
                    <a:pt x="445005" y="814242"/>
                    <a:pt x="491239" y="838719"/>
                    <a:pt x="529314" y="863196"/>
                  </a:cubicBezTo>
                  <a:cubicBezTo>
                    <a:pt x="755046" y="1004618"/>
                    <a:pt x="891029" y="727213"/>
                    <a:pt x="782242" y="607549"/>
                  </a:cubicBezTo>
                  <a:cubicBezTo>
                    <a:pt x="784962" y="607549"/>
                    <a:pt x="722410" y="667381"/>
                    <a:pt x="580988" y="667381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76F0D372-8C1C-4BBA-8C19-5C5D50CB40D3}"/>
                </a:ext>
              </a:extLst>
            </p:cNvPr>
            <p:cNvSpPr/>
            <p:nvPr/>
          </p:nvSpPr>
          <p:spPr>
            <a:xfrm>
              <a:off x="2624650" y="1948442"/>
              <a:ext cx="1903761" cy="1577400"/>
            </a:xfrm>
            <a:custGeom>
              <a:avLst/>
              <a:gdLst>
                <a:gd name="connsiteX0" fmla="*/ 1559430 w 1903760"/>
                <a:gd name="connsiteY0" fmla="*/ 1165078 h 1577399"/>
                <a:gd name="connsiteX1" fmla="*/ 1369054 w 1903760"/>
                <a:gd name="connsiteY1" fmla="*/ 593950 h 1577399"/>
                <a:gd name="connsiteX2" fmla="*/ 1483279 w 1903760"/>
                <a:gd name="connsiteY2" fmla="*/ 126170 h 1577399"/>
                <a:gd name="connsiteX3" fmla="*/ 1311941 w 1903760"/>
                <a:gd name="connsiteY3" fmla="*/ 58178 h 1577399"/>
                <a:gd name="connsiteX4" fmla="*/ 1078050 w 1903760"/>
                <a:gd name="connsiteY4" fmla="*/ 205040 h 1577399"/>
                <a:gd name="connsiteX5" fmla="*/ 846879 w 1903760"/>
                <a:gd name="connsiteY5" fmla="*/ 523239 h 1577399"/>
                <a:gd name="connsiteX6" fmla="*/ 645624 w 1903760"/>
                <a:gd name="connsiteY6" fmla="*/ 210479 h 1577399"/>
                <a:gd name="connsiteX7" fmla="*/ 455248 w 1903760"/>
                <a:gd name="connsiteY7" fmla="*/ 63617 h 1577399"/>
                <a:gd name="connsiteX8" fmla="*/ 234956 w 1903760"/>
                <a:gd name="connsiteY8" fmla="*/ 137048 h 1577399"/>
                <a:gd name="connsiteX9" fmla="*/ 316546 w 1903760"/>
                <a:gd name="connsiteY9" fmla="*/ 588511 h 1577399"/>
                <a:gd name="connsiteX10" fmla="*/ 58178 w 1903760"/>
                <a:gd name="connsiteY10" fmla="*/ 1072610 h 1577399"/>
                <a:gd name="connsiteX11" fmla="*/ 474286 w 1903760"/>
                <a:gd name="connsiteY11" fmla="*/ 1020936 h 1577399"/>
                <a:gd name="connsiteX12" fmla="*/ 555876 w 1903760"/>
                <a:gd name="connsiteY12" fmla="*/ 572193 h 1577399"/>
                <a:gd name="connsiteX13" fmla="*/ 830561 w 1903760"/>
                <a:gd name="connsiteY13" fmla="*/ 993740 h 1577399"/>
                <a:gd name="connsiteX14" fmla="*/ 1140602 w 1903760"/>
                <a:gd name="connsiteY14" fmla="*/ 574913 h 1577399"/>
                <a:gd name="connsiteX15" fmla="*/ 1567589 w 1903760"/>
                <a:gd name="connsiteY15" fmla="*/ 1526792 h 1577399"/>
                <a:gd name="connsiteX16" fmla="*/ 1866751 w 1903760"/>
                <a:gd name="connsiteY16" fmla="*/ 1322818 h 1577399"/>
                <a:gd name="connsiteX17" fmla="*/ 1559430 w 1903760"/>
                <a:gd name="connsiteY17" fmla="*/ 1165078 h 15773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903760" h="1577399">
                  <a:moveTo>
                    <a:pt x="1559430" y="1165078"/>
                  </a:moveTo>
                  <a:cubicBezTo>
                    <a:pt x="1420727" y="1012777"/>
                    <a:pt x="1377213" y="762569"/>
                    <a:pt x="1369054" y="593950"/>
                  </a:cubicBezTo>
                  <a:cubicBezTo>
                    <a:pt x="1360895" y="449809"/>
                    <a:pt x="1369054" y="199600"/>
                    <a:pt x="1483279" y="126170"/>
                  </a:cubicBezTo>
                  <a:cubicBezTo>
                    <a:pt x="1445204" y="77216"/>
                    <a:pt x="1369054" y="58178"/>
                    <a:pt x="1311941" y="58178"/>
                  </a:cubicBezTo>
                  <a:cubicBezTo>
                    <a:pt x="1184117" y="58178"/>
                    <a:pt x="1121565" y="142488"/>
                    <a:pt x="1078050" y="205040"/>
                  </a:cubicBezTo>
                  <a:cubicBezTo>
                    <a:pt x="1064452" y="224077"/>
                    <a:pt x="846879" y="523239"/>
                    <a:pt x="846879" y="523239"/>
                  </a:cubicBezTo>
                  <a:cubicBezTo>
                    <a:pt x="846879" y="523239"/>
                    <a:pt x="667382" y="243115"/>
                    <a:pt x="645624" y="210479"/>
                  </a:cubicBezTo>
                  <a:cubicBezTo>
                    <a:pt x="615708" y="164245"/>
                    <a:pt x="555876" y="77216"/>
                    <a:pt x="455248" y="63617"/>
                  </a:cubicBezTo>
                  <a:cubicBezTo>
                    <a:pt x="411734" y="58178"/>
                    <a:pt x="297508" y="52739"/>
                    <a:pt x="234956" y="137048"/>
                  </a:cubicBezTo>
                  <a:cubicBezTo>
                    <a:pt x="341023" y="221357"/>
                    <a:pt x="338303" y="438930"/>
                    <a:pt x="316546" y="588511"/>
                  </a:cubicBezTo>
                  <a:cubicBezTo>
                    <a:pt x="248554" y="1031815"/>
                    <a:pt x="58178" y="1072610"/>
                    <a:pt x="58178" y="1072610"/>
                  </a:cubicBezTo>
                  <a:cubicBezTo>
                    <a:pt x="156086" y="1333696"/>
                    <a:pt x="403575" y="1230350"/>
                    <a:pt x="474286" y="1020936"/>
                  </a:cubicBezTo>
                  <a:cubicBezTo>
                    <a:pt x="520520" y="884953"/>
                    <a:pt x="550436" y="713615"/>
                    <a:pt x="555876" y="572193"/>
                  </a:cubicBezTo>
                  <a:lnTo>
                    <a:pt x="830561" y="993740"/>
                  </a:lnTo>
                  <a:cubicBezTo>
                    <a:pt x="830561" y="993740"/>
                    <a:pt x="1140602" y="574913"/>
                    <a:pt x="1140602" y="574913"/>
                  </a:cubicBezTo>
                  <a:cubicBezTo>
                    <a:pt x="1088929" y="1314659"/>
                    <a:pt x="1344577" y="1526792"/>
                    <a:pt x="1567589" y="1526792"/>
                  </a:cubicBezTo>
                  <a:cubicBezTo>
                    <a:pt x="1790601" y="1526792"/>
                    <a:pt x="1866751" y="1322818"/>
                    <a:pt x="1866751" y="1322818"/>
                  </a:cubicBezTo>
                  <a:cubicBezTo>
                    <a:pt x="1744367" y="1314659"/>
                    <a:pt x="1641019" y="1252107"/>
                    <a:pt x="1559430" y="1165078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BEF4B029-DDF1-4096-896A-C4F8417BFF1E}"/>
                </a:ext>
              </a:extLst>
            </p:cNvPr>
            <p:cNvSpPr/>
            <p:nvPr/>
          </p:nvSpPr>
          <p:spPr>
            <a:xfrm>
              <a:off x="4792218" y="3234839"/>
              <a:ext cx="271966" cy="652717"/>
            </a:xfrm>
            <a:custGeom>
              <a:avLst/>
              <a:gdLst>
                <a:gd name="connsiteX0" fmla="*/ 88095 w 271965"/>
                <a:gd name="connsiteY0" fmla="*/ 120730 h 652717"/>
                <a:gd name="connsiteX1" fmla="*/ 93534 w 271965"/>
                <a:gd name="connsiteY1" fmla="*/ 153366 h 652717"/>
                <a:gd name="connsiteX2" fmla="*/ 93534 w 271965"/>
                <a:gd name="connsiteY2" fmla="*/ 544997 h 652717"/>
                <a:gd name="connsiteX3" fmla="*/ 156086 w 271965"/>
                <a:gd name="connsiteY3" fmla="*/ 604829 h 652717"/>
                <a:gd name="connsiteX4" fmla="*/ 221358 w 271965"/>
                <a:gd name="connsiteY4" fmla="*/ 544997 h 652717"/>
                <a:gd name="connsiteX5" fmla="*/ 221358 w 271965"/>
                <a:gd name="connsiteY5" fmla="*/ 194161 h 652717"/>
                <a:gd name="connsiteX6" fmla="*/ 210479 w 271965"/>
                <a:gd name="connsiteY6" fmla="*/ 109852 h 652717"/>
                <a:gd name="connsiteX7" fmla="*/ 118011 w 271965"/>
                <a:gd name="connsiteY7" fmla="*/ 58178 h 652717"/>
                <a:gd name="connsiteX8" fmla="*/ 58178 w 271965"/>
                <a:gd name="connsiteY8" fmla="*/ 88094 h 652717"/>
                <a:gd name="connsiteX9" fmla="*/ 88095 w 271965"/>
                <a:gd name="connsiteY9" fmla="*/ 120730 h 6527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71965" h="652717">
                  <a:moveTo>
                    <a:pt x="88095" y="120730"/>
                  </a:moveTo>
                  <a:cubicBezTo>
                    <a:pt x="90814" y="131609"/>
                    <a:pt x="90814" y="142487"/>
                    <a:pt x="93534" y="153366"/>
                  </a:cubicBezTo>
                  <a:cubicBezTo>
                    <a:pt x="93534" y="156086"/>
                    <a:pt x="93534" y="542277"/>
                    <a:pt x="93534" y="544997"/>
                  </a:cubicBezTo>
                  <a:cubicBezTo>
                    <a:pt x="93534" y="577632"/>
                    <a:pt x="123450" y="604829"/>
                    <a:pt x="156086" y="604829"/>
                  </a:cubicBezTo>
                  <a:cubicBezTo>
                    <a:pt x="188722" y="607548"/>
                    <a:pt x="221358" y="577632"/>
                    <a:pt x="221358" y="544997"/>
                  </a:cubicBezTo>
                  <a:cubicBezTo>
                    <a:pt x="221358" y="539557"/>
                    <a:pt x="221358" y="194161"/>
                    <a:pt x="221358" y="194161"/>
                  </a:cubicBezTo>
                  <a:cubicBezTo>
                    <a:pt x="221358" y="164245"/>
                    <a:pt x="224078" y="134329"/>
                    <a:pt x="210479" y="109852"/>
                  </a:cubicBezTo>
                  <a:cubicBezTo>
                    <a:pt x="196881" y="79935"/>
                    <a:pt x="158806" y="58178"/>
                    <a:pt x="118011" y="58178"/>
                  </a:cubicBezTo>
                  <a:cubicBezTo>
                    <a:pt x="79936" y="58178"/>
                    <a:pt x="58178" y="88094"/>
                    <a:pt x="58178" y="88094"/>
                  </a:cubicBezTo>
                  <a:cubicBezTo>
                    <a:pt x="58178" y="88094"/>
                    <a:pt x="77216" y="93534"/>
                    <a:pt x="88095" y="120730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E3742297-9C6A-4599-8768-0BDB13B1FCEF}"/>
                </a:ext>
              </a:extLst>
            </p:cNvPr>
            <p:cNvSpPr/>
            <p:nvPr/>
          </p:nvSpPr>
          <p:spPr>
            <a:xfrm>
              <a:off x="8751819" y="3234667"/>
              <a:ext cx="271966" cy="652717"/>
            </a:xfrm>
            <a:custGeom>
              <a:avLst/>
              <a:gdLst>
                <a:gd name="connsiteX0" fmla="*/ 191663 w 271965"/>
                <a:gd name="connsiteY0" fmla="*/ 542449 h 652717"/>
                <a:gd name="connsiteX1" fmla="*/ 186224 w 271965"/>
                <a:gd name="connsiteY1" fmla="*/ 509813 h 652717"/>
                <a:gd name="connsiteX2" fmla="*/ 186224 w 271965"/>
                <a:gd name="connsiteY2" fmla="*/ 118183 h 652717"/>
                <a:gd name="connsiteX3" fmla="*/ 123672 w 271965"/>
                <a:gd name="connsiteY3" fmla="*/ 58350 h 652717"/>
                <a:gd name="connsiteX4" fmla="*/ 58400 w 271965"/>
                <a:gd name="connsiteY4" fmla="*/ 118183 h 652717"/>
                <a:gd name="connsiteX5" fmla="*/ 58400 w 271965"/>
                <a:gd name="connsiteY5" fmla="*/ 469018 h 652717"/>
                <a:gd name="connsiteX6" fmla="*/ 69279 w 271965"/>
                <a:gd name="connsiteY6" fmla="*/ 553328 h 652717"/>
                <a:gd name="connsiteX7" fmla="*/ 161747 w 271965"/>
                <a:gd name="connsiteY7" fmla="*/ 605001 h 652717"/>
                <a:gd name="connsiteX8" fmla="*/ 221580 w 271965"/>
                <a:gd name="connsiteY8" fmla="*/ 575085 h 652717"/>
                <a:gd name="connsiteX9" fmla="*/ 191663 w 271965"/>
                <a:gd name="connsiteY9" fmla="*/ 542449 h 6527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71965" h="652717">
                  <a:moveTo>
                    <a:pt x="191663" y="542449"/>
                  </a:moveTo>
                  <a:cubicBezTo>
                    <a:pt x="188944" y="531570"/>
                    <a:pt x="186224" y="520692"/>
                    <a:pt x="186224" y="509813"/>
                  </a:cubicBezTo>
                  <a:cubicBezTo>
                    <a:pt x="186224" y="507093"/>
                    <a:pt x="186224" y="120902"/>
                    <a:pt x="186224" y="118183"/>
                  </a:cubicBezTo>
                  <a:cubicBezTo>
                    <a:pt x="186224" y="85547"/>
                    <a:pt x="156308" y="58350"/>
                    <a:pt x="123672" y="58350"/>
                  </a:cubicBezTo>
                  <a:cubicBezTo>
                    <a:pt x="91036" y="55631"/>
                    <a:pt x="58400" y="85547"/>
                    <a:pt x="58400" y="118183"/>
                  </a:cubicBezTo>
                  <a:cubicBezTo>
                    <a:pt x="58400" y="123622"/>
                    <a:pt x="58400" y="469018"/>
                    <a:pt x="58400" y="469018"/>
                  </a:cubicBezTo>
                  <a:cubicBezTo>
                    <a:pt x="58400" y="498934"/>
                    <a:pt x="55680" y="528851"/>
                    <a:pt x="69279" y="553328"/>
                  </a:cubicBezTo>
                  <a:cubicBezTo>
                    <a:pt x="82877" y="583244"/>
                    <a:pt x="120953" y="605001"/>
                    <a:pt x="161747" y="605001"/>
                  </a:cubicBezTo>
                  <a:cubicBezTo>
                    <a:pt x="199822" y="605001"/>
                    <a:pt x="221580" y="575085"/>
                    <a:pt x="221580" y="575085"/>
                  </a:cubicBezTo>
                  <a:cubicBezTo>
                    <a:pt x="221580" y="575085"/>
                    <a:pt x="202542" y="566926"/>
                    <a:pt x="191663" y="542449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0253335F-845B-4DB3-A9A0-46D3B34CD5DB}"/>
                </a:ext>
              </a:extLst>
            </p:cNvPr>
            <p:cNvSpPr/>
            <p:nvPr/>
          </p:nvSpPr>
          <p:spPr>
            <a:xfrm>
              <a:off x="6320666" y="3416868"/>
              <a:ext cx="435145" cy="462341"/>
            </a:xfrm>
            <a:custGeom>
              <a:avLst/>
              <a:gdLst>
                <a:gd name="connsiteX0" fmla="*/ 302948 w 435145"/>
                <a:gd name="connsiteY0" fmla="*/ 74684 h 462341"/>
                <a:gd name="connsiteX1" fmla="*/ 186003 w 435145"/>
                <a:gd name="connsiteY1" fmla="*/ 148115 h 462341"/>
                <a:gd name="connsiteX2" fmla="*/ 186003 w 435145"/>
                <a:gd name="connsiteY2" fmla="*/ 148115 h 462341"/>
                <a:gd name="connsiteX3" fmla="*/ 186003 w 435145"/>
                <a:gd name="connsiteY3" fmla="*/ 115479 h 462341"/>
                <a:gd name="connsiteX4" fmla="*/ 123450 w 435145"/>
                <a:gd name="connsiteY4" fmla="*/ 58366 h 462341"/>
                <a:gd name="connsiteX5" fmla="*/ 58178 w 435145"/>
                <a:gd name="connsiteY5" fmla="*/ 115479 h 462341"/>
                <a:gd name="connsiteX6" fmla="*/ 58178 w 435145"/>
                <a:gd name="connsiteY6" fmla="*/ 362967 h 462341"/>
                <a:gd name="connsiteX7" fmla="*/ 120730 w 435145"/>
                <a:gd name="connsiteY7" fmla="*/ 422800 h 462341"/>
                <a:gd name="connsiteX8" fmla="*/ 186003 w 435145"/>
                <a:gd name="connsiteY8" fmla="*/ 362967 h 462341"/>
                <a:gd name="connsiteX9" fmla="*/ 186003 w 435145"/>
                <a:gd name="connsiteY9" fmla="*/ 213386 h 462341"/>
                <a:gd name="connsiteX10" fmla="*/ 186003 w 435145"/>
                <a:gd name="connsiteY10" fmla="*/ 213386 h 462341"/>
                <a:gd name="connsiteX11" fmla="*/ 229517 w 435145"/>
                <a:gd name="connsiteY11" fmla="*/ 161713 h 462341"/>
                <a:gd name="connsiteX12" fmla="*/ 259433 w 435145"/>
                <a:gd name="connsiteY12" fmla="*/ 194349 h 462341"/>
                <a:gd name="connsiteX13" fmla="*/ 259433 w 435145"/>
                <a:gd name="connsiteY13" fmla="*/ 362967 h 462341"/>
                <a:gd name="connsiteX14" fmla="*/ 321985 w 435145"/>
                <a:gd name="connsiteY14" fmla="*/ 422800 h 462341"/>
                <a:gd name="connsiteX15" fmla="*/ 387257 w 435145"/>
                <a:gd name="connsiteY15" fmla="*/ 362967 h 462341"/>
                <a:gd name="connsiteX16" fmla="*/ 387257 w 435145"/>
                <a:gd name="connsiteY16" fmla="*/ 273219 h 462341"/>
                <a:gd name="connsiteX17" fmla="*/ 302948 w 435145"/>
                <a:gd name="connsiteY17" fmla="*/ 74684 h 4623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435145" h="462341">
                  <a:moveTo>
                    <a:pt x="302948" y="74684"/>
                  </a:moveTo>
                  <a:cubicBezTo>
                    <a:pt x="234956" y="74684"/>
                    <a:pt x="196881" y="131797"/>
                    <a:pt x="186003" y="148115"/>
                  </a:cubicBezTo>
                  <a:lnTo>
                    <a:pt x="186003" y="148115"/>
                  </a:lnTo>
                  <a:cubicBezTo>
                    <a:pt x="186003" y="129077"/>
                    <a:pt x="186003" y="115479"/>
                    <a:pt x="186003" y="115479"/>
                  </a:cubicBezTo>
                  <a:cubicBezTo>
                    <a:pt x="186003" y="82843"/>
                    <a:pt x="156086" y="58366"/>
                    <a:pt x="123450" y="58366"/>
                  </a:cubicBezTo>
                  <a:cubicBezTo>
                    <a:pt x="90814" y="55646"/>
                    <a:pt x="58178" y="82843"/>
                    <a:pt x="58178" y="115479"/>
                  </a:cubicBezTo>
                  <a:cubicBezTo>
                    <a:pt x="58178" y="120918"/>
                    <a:pt x="58178" y="360248"/>
                    <a:pt x="58178" y="362967"/>
                  </a:cubicBezTo>
                  <a:cubicBezTo>
                    <a:pt x="58178" y="395603"/>
                    <a:pt x="88095" y="422800"/>
                    <a:pt x="120730" y="422800"/>
                  </a:cubicBezTo>
                  <a:cubicBezTo>
                    <a:pt x="153366" y="425519"/>
                    <a:pt x="186003" y="395603"/>
                    <a:pt x="186003" y="362967"/>
                  </a:cubicBezTo>
                  <a:cubicBezTo>
                    <a:pt x="186003" y="360248"/>
                    <a:pt x="186003" y="281378"/>
                    <a:pt x="186003" y="213386"/>
                  </a:cubicBezTo>
                  <a:lnTo>
                    <a:pt x="186003" y="213386"/>
                  </a:lnTo>
                  <a:cubicBezTo>
                    <a:pt x="191442" y="186190"/>
                    <a:pt x="205040" y="161713"/>
                    <a:pt x="229517" y="161713"/>
                  </a:cubicBezTo>
                  <a:cubicBezTo>
                    <a:pt x="259433" y="161713"/>
                    <a:pt x="259433" y="194349"/>
                    <a:pt x="259433" y="194349"/>
                  </a:cubicBezTo>
                  <a:lnTo>
                    <a:pt x="259433" y="362967"/>
                  </a:lnTo>
                  <a:cubicBezTo>
                    <a:pt x="259433" y="395603"/>
                    <a:pt x="289349" y="422800"/>
                    <a:pt x="321985" y="422800"/>
                  </a:cubicBezTo>
                  <a:cubicBezTo>
                    <a:pt x="354621" y="425519"/>
                    <a:pt x="387257" y="395603"/>
                    <a:pt x="387257" y="362967"/>
                  </a:cubicBezTo>
                  <a:lnTo>
                    <a:pt x="387257" y="273219"/>
                  </a:lnTo>
                  <a:cubicBezTo>
                    <a:pt x="387257" y="183470"/>
                    <a:pt x="395416" y="71964"/>
                    <a:pt x="302948" y="74684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599992C4-BDD7-4BA0-95D9-C32B47D580A5}"/>
                </a:ext>
              </a:extLst>
            </p:cNvPr>
            <p:cNvSpPr/>
            <p:nvPr/>
          </p:nvSpPr>
          <p:spPr>
            <a:xfrm>
              <a:off x="7960620" y="3416868"/>
              <a:ext cx="435145" cy="462341"/>
            </a:xfrm>
            <a:custGeom>
              <a:avLst/>
              <a:gdLst>
                <a:gd name="connsiteX0" fmla="*/ 302948 w 435145"/>
                <a:gd name="connsiteY0" fmla="*/ 74684 h 462341"/>
                <a:gd name="connsiteX1" fmla="*/ 186002 w 435145"/>
                <a:gd name="connsiteY1" fmla="*/ 148115 h 462341"/>
                <a:gd name="connsiteX2" fmla="*/ 186002 w 435145"/>
                <a:gd name="connsiteY2" fmla="*/ 148115 h 462341"/>
                <a:gd name="connsiteX3" fmla="*/ 186002 w 435145"/>
                <a:gd name="connsiteY3" fmla="*/ 115479 h 462341"/>
                <a:gd name="connsiteX4" fmla="*/ 123450 w 435145"/>
                <a:gd name="connsiteY4" fmla="*/ 58366 h 462341"/>
                <a:gd name="connsiteX5" fmla="*/ 58178 w 435145"/>
                <a:gd name="connsiteY5" fmla="*/ 115479 h 462341"/>
                <a:gd name="connsiteX6" fmla="*/ 58178 w 435145"/>
                <a:gd name="connsiteY6" fmla="*/ 362967 h 462341"/>
                <a:gd name="connsiteX7" fmla="*/ 120730 w 435145"/>
                <a:gd name="connsiteY7" fmla="*/ 422800 h 462341"/>
                <a:gd name="connsiteX8" fmla="*/ 186002 w 435145"/>
                <a:gd name="connsiteY8" fmla="*/ 362967 h 462341"/>
                <a:gd name="connsiteX9" fmla="*/ 186002 w 435145"/>
                <a:gd name="connsiteY9" fmla="*/ 213386 h 462341"/>
                <a:gd name="connsiteX10" fmla="*/ 186002 w 435145"/>
                <a:gd name="connsiteY10" fmla="*/ 213386 h 462341"/>
                <a:gd name="connsiteX11" fmla="*/ 229517 w 435145"/>
                <a:gd name="connsiteY11" fmla="*/ 161713 h 462341"/>
                <a:gd name="connsiteX12" fmla="*/ 259433 w 435145"/>
                <a:gd name="connsiteY12" fmla="*/ 194349 h 462341"/>
                <a:gd name="connsiteX13" fmla="*/ 259433 w 435145"/>
                <a:gd name="connsiteY13" fmla="*/ 362967 h 462341"/>
                <a:gd name="connsiteX14" fmla="*/ 321985 w 435145"/>
                <a:gd name="connsiteY14" fmla="*/ 422800 h 462341"/>
                <a:gd name="connsiteX15" fmla="*/ 387257 w 435145"/>
                <a:gd name="connsiteY15" fmla="*/ 362967 h 462341"/>
                <a:gd name="connsiteX16" fmla="*/ 387257 w 435145"/>
                <a:gd name="connsiteY16" fmla="*/ 273219 h 462341"/>
                <a:gd name="connsiteX17" fmla="*/ 302948 w 435145"/>
                <a:gd name="connsiteY17" fmla="*/ 74684 h 4623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435145" h="462341">
                  <a:moveTo>
                    <a:pt x="302948" y="74684"/>
                  </a:moveTo>
                  <a:cubicBezTo>
                    <a:pt x="234956" y="74684"/>
                    <a:pt x="196881" y="131797"/>
                    <a:pt x="186002" y="148115"/>
                  </a:cubicBezTo>
                  <a:lnTo>
                    <a:pt x="186002" y="148115"/>
                  </a:lnTo>
                  <a:cubicBezTo>
                    <a:pt x="186002" y="129077"/>
                    <a:pt x="186002" y="115479"/>
                    <a:pt x="186002" y="115479"/>
                  </a:cubicBezTo>
                  <a:cubicBezTo>
                    <a:pt x="186002" y="82843"/>
                    <a:pt x="156086" y="58366"/>
                    <a:pt x="123450" y="58366"/>
                  </a:cubicBezTo>
                  <a:cubicBezTo>
                    <a:pt x="90814" y="55646"/>
                    <a:pt x="58178" y="82843"/>
                    <a:pt x="58178" y="115479"/>
                  </a:cubicBezTo>
                  <a:cubicBezTo>
                    <a:pt x="58178" y="120918"/>
                    <a:pt x="58178" y="360248"/>
                    <a:pt x="58178" y="362967"/>
                  </a:cubicBezTo>
                  <a:cubicBezTo>
                    <a:pt x="58178" y="395603"/>
                    <a:pt x="88095" y="422800"/>
                    <a:pt x="120730" y="422800"/>
                  </a:cubicBezTo>
                  <a:cubicBezTo>
                    <a:pt x="153366" y="425519"/>
                    <a:pt x="186002" y="395603"/>
                    <a:pt x="186002" y="362967"/>
                  </a:cubicBezTo>
                  <a:cubicBezTo>
                    <a:pt x="186002" y="360248"/>
                    <a:pt x="186002" y="281378"/>
                    <a:pt x="186002" y="213386"/>
                  </a:cubicBezTo>
                  <a:lnTo>
                    <a:pt x="186002" y="213386"/>
                  </a:lnTo>
                  <a:cubicBezTo>
                    <a:pt x="191442" y="186190"/>
                    <a:pt x="205040" y="161713"/>
                    <a:pt x="229517" y="161713"/>
                  </a:cubicBezTo>
                  <a:cubicBezTo>
                    <a:pt x="259433" y="161713"/>
                    <a:pt x="259433" y="194349"/>
                    <a:pt x="259433" y="194349"/>
                  </a:cubicBezTo>
                  <a:lnTo>
                    <a:pt x="259433" y="362967"/>
                  </a:lnTo>
                  <a:cubicBezTo>
                    <a:pt x="259433" y="395603"/>
                    <a:pt x="289349" y="422800"/>
                    <a:pt x="321985" y="422800"/>
                  </a:cubicBezTo>
                  <a:cubicBezTo>
                    <a:pt x="354621" y="425519"/>
                    <a:pt x="387257" y="395603"/>
                    <a:pt x="387257" y="362967"/>
                  </a:cubicBezTo>
                  <a:lnTo>
                    <a:pt x="387257" y="273219"/>
                  </a:lnTo>
                  <a:cubicBezTo>
                    <a:pt x="384537" y="183470"/>
                    <a:pt x="395416" y="71964"/>
                    <a:pt x="302948" y="74684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BBA1C7DC-6309-4E4F-B5A5-1E32C5ABFC1A}"/>
                </a:ext>
              </a:extLst>
            </p:cNvPr>
            <p:cNvSpPr/>
            <p:nvPr/>
          </p:nvSpPr>
          <p:spPr>
            <a:xfrm>
              <a:off x="5020669" y="3416868"/>
              <a:ext cx="435145" cy="462341"/>
            </a:xfrm>
            <a:custGeom>
              <a:avLst/>
              <a:gdLst>
                <a:gd name="connsiteX0" fmla="*/ 302948 w 435145"/>
                <a:gd name="connsiteY0" fmla="*/ 74684 h 462341"/>
                <a:gd name="connsiteX1" fmla="*/ 186002 w 435145"/>
                <a:gd name="connsiteY1" fmla="*/ 148115 h 462341"/>
                <a:gd name="connsiteX2" fmla="*/ 186002 w 435145"/>
                <a:gd name="connsiteY2" fmla="*/ 148115 h 462341"/>
                <a:gd name="connsiteX3" fmla="*/ 186002 w 435145"/>
                <a:gd name="connsiteY3" fmla="*/ 115479 h 462341"/>
                <a:gd name="connsiteX4" fmla="*/ 123450 w 435145"/>
                <a:gd name="connsiteY4" fmla="*/ 58366 h 462341"/>
                <a:gd name="connsiteX5" fmla="*/ 58178 w 435145"/>
                <a:gd name="connsiteY5" fmla="*/ 115479 h 462341"/>
                <a:gd name="connsiteX6" fmla="*/ 58178 w 435145"/>
                <a:gd name="connsiteY6" fmla="*/ 362967 h 462341"/>
                <a:gd name="connsiteX7" fmla="*/ 120730 w 435145"/>
                <a:gd name="connsiteY7" fmla="*/ 422800 h 462341"/>
                <a:gd name="connsiteX8" fmla="*/ 186002 w 435145"/>
                <a:gd name="connsiteY8" fmla="*/ 362967 h 462341"/>
                <a:gd name="connsiteX9" fmla="*/ 186002 w 435145"/>
                <a:gd name="connsiteY9" fmla="*/ 213386 h 462341"/>
                <a:gd name="connsiteX10" fmla="*/ 186002 w 435145"/>
                <a:gd name="connsiteY10" fmla="*/ 213386 h 462341"/>
                <a:gd name="connsiteX11" fmla="*/ 229517 w 435145"/>
                <a:gd name="connsiteY11" fmla="*/ 161713 h 462341"/>
                <a:gd name="connsiteX12" fmla="*/ 259433 w 435145"/>
                <a:gd name="connsiteY12" fmla="*/ 194349 h 462341"/>
                <a:gd name="connsiteX13" fmla="*/ 259433 w 435145"/>
                <a:gd name="connsiteY13" fmla="*/ 362967 h 462341"/>
                <a:gd name="connsiteX14" fmla="*/ 321985 w 435145"/>
                <a:gd name="connsiteY14" fmla="*/ 422800 h 462341"/>
                <a:gd name="connsiteX15" fmla="*/ 387257 w 435145"/>
                <a:gd name="connsiteY15" fmla="*/ 362967 h 462341"/>
                <a:gd name="connsiteX16" fmla="*/ 387257 w 435145"/>
                <a:gd name="connsiteY16" fmla="*/ 273219 h 462341"/>
                <a:gd name="connsiteX17" fmla="*/ 302948 w 435145"/>
                <a:gd name="connsiteY17" fmla="*/ 74684 h 4623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435145" h="462341">
                  <a:moveTo>
                    <a:pt x="302948" y="74684"/>
                  </a:moveTo>
                  <a:cubicBezTo>
                    <a:pt x="234956" y="74684"/>
                    <a:pt x="196881" y="131797"/>
                    <a:pt x="186002" y="148115"/>
                  </a:cubicBezTo>
                  <a:lnTo>
                    <a:pt x="186002" y="148115"/>
                  </a:lnTo>
                  <a:cubicBezTo>
                    <a:pt x="186002" y="129077"/>
                    <a:pt x="186002" y="115479"/>
                    <a:pt x="186002" y="115479"/>
                  </a:cubicBezTo>
                  <a:cubicBezTo>
                    <a:pt x="186002" y="82843"/>
                    <a:pt x="156086" y="58366"/>
                    <a:pt x="123450" y="58366"/>
                  </a:cubicBezTo>
                  <a:cubicBezTo>
                    <a:pt x="90814" y="55646"/>
                    <a:pt x="58178" y="82843"/>
                    <a:pt x="58178" y="115479"/>
                  </a:cubicBezTo>
                  <a:cubicBezTo>
                    <a:pt x="58178" y="120918"/>
                    <a:pt x="58178" y="360248"/>
                    <a:pt x="58178" y="362967"/>
                  </a:cubicBezTo>
                  <a:cubicBezTo>
                    <a:pt x="58178" y="395603"/>
                    <a:pt x="88094" y="422800"/>
                    <a:pt x="120730" y="422800"/>
                  </a:cubicBezTo>
                  <a:cubicBezTo>
                    <a:pt x="153366" y="425519"/>
                    <a:pt x="186002" y="395603"/>
                    <a:pt x="186002" y="362967"/>
                  </a:cubicBezTo>
                  <a:cubicBezTo>
                    <a:pt x="186002" y="360248"/>
                    <a:pt x="186002" y="281378"/>
                    <a:pt x="186002" y="213386"/>
                  </a:cubicBezTo>
                  <a:lnTo>
                    <a:pt x="186002" y="213386"/>
                  </a:lnTo>
                  <a:cubicBezTo>
                    <a:pt x="191442" y="186190"/>
                    <a:pt x="205040" y="161713"/>
                    <a:pt x="229517" y="161713"/>
                  </a:cubicBezTo>
                  <a:cubicBezTo>
                    <a:pt x="259433" y="161713"/>
                    <a:pt x="259433" y="194349"/>
                    <a:pt x="259433" y="194349"/>
                  </a:cubicBezTo>
                  <a:lnTo>
                    <a:pt x="259433" y="362967"/>
                  </a:lnTo>
                  <a:cubicBezTo>
                    <a:pt x="259433" y="395603"/>
                    <a:pt x="289349" y="422800"/>
                    <a:pt x="321985" y="422800"/>
                  </a:cubicBezTo>
                  <a:cubicBezTo>
                    <a:pt x="354621" y="425519"/>
                    <a:pt x="387257" y="395603"/>
                    <a:pt x="387257" y="362967"/>
                  </a:cubicBezTo>
                  <a:lnTo>
                    <a:pt x="387257" y="273219"/>
                  </a:lnTo>
                  <a:cubicBezTo>
                    <a:pt x="384537" y="183470"/>
                    <a:pt x="395416" y="71964"/>
                    <a:pt x="302948" y="74684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F248CF09-AD3B-4C85-B535-3B9F24457F3F}"/>
                </a:ext>
              </a:extLst>
            </p:cNvPr>
            <p:cNvSpPr/>
            <p:nvPr/>
          </p:nvSpPr>
          <p:spPr>
            <a:xfrm>
              <a:off x="7616289" y="3475234"/>
              <a:ext cx="364436" cy="364434"/>
            </a:xfrm>
            <a:custGeom>
              <a:avLst/>
              <a:gdLst>
                <a:gd name="connsiteX0" fmla="*/ 182218 w 364436"/>
                <a:gd name="connsiteY0" fmla="*/ 73431 h 364434"/>
                <a:gd name="connsiteX1" fmla="*/ 130544 w 364436"/>
                <a:gd name="connsiteY1" fmla="*/ 179499 h 364434"/>
                <a:gd name="connsiteX2" fmla="*/ 182218 w 364436"/>
                <a:gd name="connsiteY2" fmla="*/ 285565 h 364434"/>
                <a:gd name="connsiteX3" fmla="*/ 233891 w 364436"/>
                <a:gd name="connsiteY3" fmla="*/ 179499 h 364434"/>
                <a:gd name="connsiteX4" fmla="*/ 182218 w 364436"/>
                <a:gd name="connsiteY4" fmla="*/ 73431 h 364434"/>
                <a:gd name="connsiteX5" fmla="*/ 182219 w 364436"/>
                <a:gd name="connsiteY5" fmla="*/ 0 h 364434"/>
                <a:gd name="connsiteX6" fmla="*/ 364436 w 364436"/>
                <a:gd name="connsiteY6" fmla="*/ 182217 h 364434"/>
                <a:gd name="connsiteX7" fmla="*/ 182219 w 364436"/>
                <a:gd name="connsiteY7" fmla="*/ 364434 h 364434"/>
                <a:gd name="connsiteX8" fmla="*/ 0 w 364436"/>
                <a:gd name="connsiteY8" fmla="*/ 182217 h 364434"/>
                <a:gd name="connsiteX9" fmla="*/ 182219 w 364436"/>
                <a:gd name="connsiteY9" fmla="*/ 0 h 3644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64436" h="364434">
                  <a:moveTo>
                    <a:pt x="182218" y="73431"/>
                  </a:moveTo>
                  <a:cubicBezTo>
                    <a:pt x="152302" y="76151"/>
                    <a:pt x="130544" y="114226"/>
                    <a:pt x="130544" y="179499"/>
                  </a:cubicBezTo>
                  <a:cubicBezTo>
                    <a:pt x="130544" y="244770"/>
                    <a:pt x="146862" y="285565"/>
                    <a:pt x="182218" y="285565"/>
                  </a:cubicBezTo>
                  <a:cubicBezTo>
                    <a:pt x="217573" y="285565"/>
                    <a:pt x="233891" y="247490"/>
                    <a:pt x="233891" y="179499"/>
                  </a:cubicBezTo>
                  <a:cubicBezTo>
                    <a:pt x="233891" y="114226"/>
                    <a:pt x="212134" y="73431"/>
                    <a:pt x="182218" y="73431"/>
                  </a:cubicBezTo>
                  <a:close/>
                  <a:moveTo>
                    <a:pt x="182219" y="0"/>
                  </a:moveTo>
                  <a:cubicBezTo>
                    <a:pt x="282846" y="0"/>
                    <a:pt x="364436" y="81590"/>
                    <a:pt x="364436" y="182217"/>
                  </a:cubicBezTo>
                  <a:cubicBezTo>
                    <a:pt x="364436" y="282844"/>
                    <a:pt x="282846" y="364434"/>
                    <a:pt x="182219" y="364434"/>
                  </a:cubicBezTo>
                  <a:cubicBezTo>
                    <a:pt x="81591" y="364434"/>
                    <a:pt x="0" y="282844"/>
                    <a:pt x="0" y="182217"/>
                  </a:cubicBezTo>
                  <a:cubicBezTo>
                    <a:pt x="0" y="81590"/>
                    <a:pt x="81591" y="0"/>
                    <a:pt x="182219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E974E943-15A7-4D05-B2E8-5041FD49AFD8}"/>
                </a:ext>
              </a:extLst>
            </p:cNvPr>
            <p:cNvSpPr/>
            <p:nvPr/>
          </p:nvSpPr>
          <p:spPr>
            <a:xfrm>
              <a:off x="6743101" y="3464184"/>
              <a:ext cx="372773" cy="375657"/>
            </a:xfrm>
            <a:custGeom>
              <a:avLst/>
              <a:gdLst>
                <a:gd name="connsiteX0" fmla="*/ 176958 w 372773"/>
                <a:gd name="connsiteY0" fmla="*/ 98080 h 375657"/>
                <a:gd name="connsiteX1" fmla="*/ 125284 w 372773"/>
                <a:gd name="connsiteY1" fmla="*/ 190548 h 375657"/>
                <a:gd name="connsiteX2" fmla="*/ 176958 w 372773"/>
                <a:gd name="connsiteY2" fmla="*/ 283017 h 375657"/>
                <a:gd name="connsiteX3" fmla="*/ 228631 w 372773"/>
                <a:gd name="connsiteY3" fmla="*/ 190548 h 375657"/>
                <a:gd name="connsiteX4" fmla="*/ 176958 w 372773"/>
                <a:gd name="connsiteY4" fmla="*/ 98080 h 375657"/>
                <a:gd name="connsiteX5" fmla="*/ 307501 w 372773"/>
                <a:gd name="connsiteY5" fmla="*/ 172 h 375657"/>
                <a:gd name="connsiteX6" fmla="*/ 372773 w 372773"/>
                <a:gd name="connsiteY6" fmla="*/ 62724 h 375657"/>
                <a:gd name="connsiteX7" fmla="*/ 372773 w 372773"/>
                <a:gd name="connsiteY7" fmla="*/ 312934 h 375657"/>
                <a:gd name="connsiteX8" fmla="*/ 302061 w 372773"/>
                <a:gd name="connsiteY8" fmla="*/ 375486 h 375657"/>
                <a:gd name="connsiteX9" fmla="*/ 239509 w 372773"/>
                <a:gd name="connsiteY9" fmla="*/ 326532 h 375657"/>
                <a:gd name="connsiteX10" fmla="*/ 179677 w 372773"/>
                <a:gd name="connsiteY10" fmla="*/ 370046 h 375657"/>
                <a:gd name="connsiteX11" fmla="*/ 70890 w 372773"/>
                <a:gd name="connsiteY11" fmla="*/ 353728 h 375657"/>
                <a:gd name="connsiteX12" fmla="*/ 128003 w 372773"/>
                <a:gd name="connsiteY12" fmla="*/ 11051 h 375657"/>
                <a:gd name="connsiteX13" fmla="*/ 236790 w 372773"/>
                <a:gd name="connsiteY13" fmla="*/ 70883 h 375657"/>
                <a:gd name="connsiteX14" fmla="*/ 236790 w 372773"/>
                <a:gd name="connsiteY14" fmla="*/ 62724 h 375657"/>
                <a:gd name="connsiteX15" fmla="*/ 307501 w 372773"/>
                <a:gd name="connsiteY15" fmla="*/ 172 h 3756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72773" h="375657">
                  <a:moveTo>
                    <a:pt x="176958" y="98080"/>
                  </a:moveTo>
                  <a:cubicBezTo>
                    <a:pt x="147042" y="100800"/>
                    <a:pt x="125284" y="133436"/>
                    <a:pt x="125284" y="190548"/>
                  </a:cubicBezTo>
                  <a:cubicBezTo>
                    <a:pt x="125284" y="247661"/>
                    <a:pt x="141602" y="283017"/>
                    <a:pt x="176958" y="283017"/>
                  </a:cubicBezTo>
                  <a:cubicBezTo>
                    <a:pt x="212314" y="283017"/>
                    <a:pt x="228631" y="247661"/>
                    <a:pt x="228631" y="190548"/>
                  </a:cubicBezTo>
                  <a:cubicBezTo>
                    <a:pt x="228631" y="133436"/>
                    <a:pt x="206874" y="98080"/>
                    <a:pt x="176958" y="98080"/>
                  </a:cubicBezTo>
                  <a:close/>
                  <a:moveTo>
                    <a:pt x="307501" y="172"/>
                  </a:moveTo>
                  <a:cubicBezTo>
                    <a:pt x="340137" y="172"/>
                    <a:pt x="372773" y="30088"/>
                    <a:pt x="372773" y="62724"/>
                  </a:cubicBezTo>
                  <a:cubicBezTo>
                    <a:pt x="372773" y="65444"/>
                    <a:pt x="372773" y="307494"/>
                    <a:pt x="372773" y="312934"/>
                  </a:cubicBezTo>
                  <a:cubicBezTo>
                    <a:pt x="370053" y="348289"/>
                    <a:pt x="337417" y="378205"/>
                    <a:pt x="302061" y="375486"/>
                  </a:cubicBezTo>
                  <a:cubicBezTo>
                    <a:pt x="274865" y="372766"/>
                    <a:pt x="247668" y="353728"/>
                    <a:pt x="239509" y="326532"/>
                  </a:cubicBezTo>
                  <a:cubicBezTo>
                    <a:pt x="225911" y="348289"/>
                    <a:pt x="198715" y="364607"/>
                    <a:pt x="179677" y="370046"/>
                  </a:cubicBezTo>
                  <a:cubicBezTo>
                    <a:pt x="147041" y="378205"/>
                    <a:pt x="100807" y="372766"/>
                    <a:pt x="70890" y="353728"/>
                  </a:cubicBezTo>
                  <a:cubicBezTo>
                    <a:pt x="-35177" y="285737"/>
                    <a:pt x="-27018" y="11051"/>
                    <a:pt x="128003" y="11051"/>
                  </a:cubicBezTo>
                  <a:cubicBezTo>
                    <a:pt x="185116" y="11051"/>
                    <a:pt x="220471" y="49126"/>
                    <a:pt x="236790" y="70883"/>
                  </a:cubicBezTo>
                  <a:cubicBezTo>
                    <a:pt x="236790" y="70883"/>
                    <a:pt x="236790" y="65444"/>
                    <a:pt x="236790" y="62724"/>
                  </a:cubicBezTo>
                  <a:cubicBezTo>
                    <a:pt x="239509" y="27369"/>
                    <a:pt x="272145" y="-2547"/>
                    <a:pt x="307501" y="172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55FFAEB3-1B3E-4C78-9313-BD977A48C24D}"/>
                </a:ext>
              </a:extLst>
            </p:cNvPr>
            <p:cNvSpPr/>
            <p:nvPr/>
          </p:nvSpPr>
          <p:spPr>
            <a:xfrm>
              <a:off x="8380335" y="3464184"/>
              <a:ext cx="372772" cy="375657"/>
            </a:xfrm>
            <a:custGeom>
              <a:avLst/>
              <a:gdLst>
                <a:gd name="connsiteX0" fmla="*/ 176957 w 372772"/>
                <a:gd name="connsiteY0" fmla="*/ 98080 h 375657"/>
                <a:gd name="connsiteX1" fmla="*/ 125282 w 372772"/>
                <a:gd name="connsiteY1" fmla="*/ 190548 h 375657"/>
                <a:gd name="connsiteX2" fmla="*/ 176957 w 372772"/>
                <a:gd name="connsiteY2" fmla="*/ 283017 h 375657"/>
                <a:gd name="connsiteX3" fmla="*/ 228630 w 372772"/>
                <a:gd name="connsiteY3" fmla="*/ 190548 h 375657"/>
                <a:gd name="connsiteX4" fmla="*/ 176957 w 372772"/>
                <a:gd name="connsiteY4" fmla="*/ 98080 h 375657"/>
                <a:gd name="connsiteX5" fmla="*/ 307501 w 372772"/>
                <a:gd name="connsiteY5" fmla="*/ 172 h 375657"/>
                <a:gd name="connsiteX6" fmla="*/ 372772 w 372772"/>
                <a:gd name="connsiteY6" fmla="*/ 62724 h 375657"/>
                <a:gd name="connsiteX7" fmla="*/ 372772 w 372772"/>
                <a:gd name="connsiteY7" fmla="*/ 312934 h 375657"/>
                <a:gd name="connsiteX8" fmla="*/ 302062 w 372772"/>
                <a:gd name="connsiteY8" fmla="*/ 375486 h 375657"/>
                <a:gd name="connsiteX9" fmla="*/ 239509 w 372772"/>
                <a:gd name="connsiteY9" fmla="*/ 326532 h 375657"/>
                <a:gd name="connsiteX10" fmla="*/ 179677 w 372772"/>
                <a:gd name="connsiteY10" fmla="*/ 370046 h 375657"/>
                <a:gd name="connsiteX11" fmla="*/ 70890 w 372772"/>
                <a:gd name="connsiteY11" fmla="*/ 353728 h 375657"/>
                <a:gd name="connsiteX12" fmla="*/ 128002 w 372772"/>
                <a:gd name="connsiteY12" fmla="*/ 11051 h 375657"/>
                <a:gd name="connsiteX13" fmla="*/ 236790 w 372772"/>
                <a:gd name="connsiteY13" fmla="*/ 70883 h 375657"/>
                <a:gd name="connsiteX14" fmla="*/ 236790 w 372772"/>
                <a:gd name="connsiteY14" fmla="*/ 62724 h 375657"/>
                <a:gd name="connsiteX15" fmla="*/ 307501 w 372772"/>
                <a:gd name="connsiteY15" fmla="*/ 172 h 3756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72772" h="375657">
                  <a:moveTo>
                    <a:pt x="176957" y="98080"/>
                  </a:moveTo>
                  <a:cubicBezTo>
                    <a:pt x="147039" y="100800"/>
                    <a:pt x="125282" y="133436"/>
                    <a:pt x="125282" y="190548"/>
                  </a:cubicBezTo>
                  <a:cubicBezTo>
                    <a:pt x="125282" y="247661"/>
                    <a:pt x="141600" y="283017"/>
                    <a:pt x="176957" y="283017"/>
                  </a:cubicBezTo>
                  <a:cubicBezTo>
                    <a:pt x="212312" y="283017"/>
                    <a:pt x="228630" y="247661"/>
                    <a:pt x="228630" y="190548"/>
                  </a:cubicBezTo>
                  <a:cubicBezTo>
                    <a:pt x="228630" y="133436"/>
                    <a:pt x="206873" y="98080"/>
                    <a:pt x="176957" y="98080"/>
                  </a:cubicBezTo>
                  <a:close/>
                  <a:moveTo>
                    <a:pt x="307501" y="172"/>
                  </a:moveTo>
                  <a:cubicBezTo>
                    <a:pt x="340137" y="172"/>
                    <a:pt x="372772" y="30088"/>
                    <a:pt x="372772" y="62724"/>
                  </a:cubicBezTo>
                  <a:cubicBezTo>
                    <a:pt x="372772" y="65444"/>
                    <a:pt x="372772" y="307494"/>
                    <a:pt x="372772" y="312934"/>
                  </a:cubicBezTo>
                  <a:cubicBezTo>
                    <a:pt x="370053" y="348289"/>
                    <a:pt x="337417" y="378205"/>
                    <a:pt x="302062" y="375486"/>
                  </a:cubicBezTo>
                  <a:cubicBezTo>
                    <a:pt x="274865" y="372766"/>
                    <a:pt x="247668" y="353728"/>
                    <a:pt x="239509" y="326532"/>
                  </a:cubicBezTo>
                  <a:cubicBezTo>
                    <a:pt x="228630" y="348289"/>
                    <a:pt x="198714" y="364607"/>
                    <a:pt x="179677" y="370046"/>
                  </a:cubicBezTo>
                  <a:cubicBezTo>
                    <a:pt x="147040" y="378205"/>
                    <a:pt x="100806" y="372766"/>
                    <a:pt x="70890" y="353728"/>
                  </a:cubicBezTo>
                  <a:cubicBezTo>
                    <a:pt x="-35177" y="285737"/>
                    <a:pt x="-27018" y="11051"/>
                    <a:pt x="128002" y="11051"/>
                  </a:cubicBezTo>
                  <a:cubicBezTo>
                    <a:pt x="185116" y="11051"/>
                    <a:pt x="220472" y="49126"/>
                    <a:pt x="236790" y="70883"/>
                  </a:cubicBezTo>
                  <a:cubicBezTo>
                    <a:pt x="236790" y="70883"/>
                    <a:pt x="236790" y="65444"/>
                    <a:pt x="236790" y="62724"/>
                  </a:cubicBezTo>
                  <a:cubicBezTo>
                    <a:pt x="239509" y="27369"/>
                    <a:pt x="272145" y="-2547"/>
                    <a:pt x="307501" y="172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7013A6C2-7D68-4911-9BB2-76B931A0840C}"/>
                </a:ext>
              </a:extLst>
            </p:cNvPr>
            <p:cNvSpPr/>
            <p:nvPr/>
          </p:nvSpPr>
          <p:spPr>
            <a:xfrm>
              <a:off x="7389492" y="3444253"/>
              <a:ext cx="217573" cy="435145"/>
            </a:xfrm>
            <a:custGeom>
              <a:avLst/>
              <a:gdLst>
                <a:gd name="connsiteX0" fmla="*/ 186002 w 217572"/>
                <a:gd name="connsiteY0" fmla="*/ 118011 h 435144"/>
                <a:gd name="connsiteX1" fmla="*/ 128890 w 217572"/>
                <a:gd name="connsiteY1" fmla="*/ 58178 h 435144"/>
                <a:gd name="connsiteX2" fmla="*/ 123450 w 217572"/>
                <a:gd name="connsiteY2" fmla="*/ 58178 h 435144"/>
                <a:gd name="connsiteX3" fmla="*/ 58178 w 217572"/>
                <a:gd name="connsiteY3" fmla="*/ 115291 h 435144"/>
                <a:gd name="connsiteX4" fmla="*/ 58178 w 217572"/>
                <a:gd name="connsiteY4" fmla="*/ 232236 h 435144"/>
                <a:gd name="connsiteX5" fmla="*/ 58178 w 217572"/>
                <a:gd name="connsiteY5" fmla="*/ 232236 h 435144"/>
                <a:gd name="connsiteX6" fmla="*/ 58178 w 217572"/>
                <a:gd name="connsiteY6" fmla="*/ 335583 h 435144"/>
                <a:gd name="connsiteX7" fmla="*/ 115291 w 217572"/>
                <a:gd name="connsiteY7" fmla="*/ 395415 h 435144"/>
                <a:gd name="connsiteX8" fmla="*/ 120730 w 217572"/>
                <a:gd name="connsiteY8" fmla="*/ 395415 h 435144"/>
                <a:gd name="connsiteX9" fmla="*/ 186002 w 217572"/>
                <a:gd name="connsiteY9" fmla="*/ 338303 h 435144"/>
                <a:gd name="connsiteX10" fmla="*/ 186002 w 217572"/>
                <a:gd name="connsiteY10" fmla="*/ 240395 h 435144"/>
                <a:gd name="connsiteX11" fmla="*/ 186002 w 217572"/>
                <a:gd name="connsiteY11" fmla="*/ 240395 h 435144"/>
                <a:gd name="connsiteX12" fmla="*/ 186002 w 217572"/>
                <a:gd name="connsiteY12" fmla="*/ 118011 h 4351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17572" h="435144">
                  <a:moveTo>
                    <a:pt x="186002" y="118011"/>
                  </a:moveTo>
                  <a:cubicBezTo>
                    <a:pt x="183283" y="85375"/>
                    <a:pt x="158806" y="60898"/>
                    <a:pt x="128890" y="58178"/>
                  </a:cubicBezTo>
                  <a:cubicBezTo>
                    <a:pt x="126170" y="58178"/>
                    <a:pt x="126170" y="58178"/>
                    <a:pt x="123450" y="58178"/>
                  </a:cubicBezTo>
                  <a:cubicBezTo>
                    <a:pt x="96254" y="58178"/>
                    <a:pt x="58178" y="82655"/>
                    <a:pt x="58178" y="115291"/>
                  </a:cubicBezTo>
                  <a:lnTo>
                    <a:pt x="58178" y="232236"/>
                  </a:lnTo>
                  <a:lnTo>
                    <a:pt x="58178" y="232236"/>
                  </a:lnTo>
                  <a:cubicBezTo>
                    <a:pt x="58178" y="270311"/>
                    <a:pt x="58178" y="335583"/>
                    <a:pt x="58178" y="335583"/>
                  </a:cubicBezTo>
                  <a:cubicBezTo>
                    <a:pt x="60898" y="368219"/>
                    <a:pt x="85375" y="392696"/>
                    <a:pt x="115291" y="395415"/>
                  </a:cubicBezTo>
                  <a:cubicBezTo>
                    <a:pt x="118011" y="395415"/>
                    <a:pt x="118011" y="395415"/>
                    <a:pt x="120730" y="395415"/>
                  </a:cubicBezTo>
                  <a:cubicBezTo>
                    <a:pt x="147927" y="395415"/>
                    <a:pt x="186002" y="370938"/>
                    <a:pt x="186002" y="338303"/>
                  </a:cubicBezTo>
                  <a:lnTo>
                    <a:pt x="186002" y="240395"/>
                  </a:lnTo>
                  <a:lnTo>
                    <a:pt x="186002" y="240395"/>
                  </a:lnTo>
                  <a:cubicBezTo>
                    <a:pt x="186002" y="202320"/>
                    <a:pt x="186002" y="118011"/>
                    <a:pt x="186002" y="118011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43A0FC2E-1696-4E5D-8740-0173FEC0C940}"/>
                </a:ext>
              </a:extLst>
            </p:cNvPr>
            <p:cNvSpPr/>
            <p:nvPr/>
          </p:nvSpPr>
          <p:spPr>
            <a:xfrm>
              <a:off x="7392212" y="3280901"/>
              <a:ext cx="217573" cy="217572"/>
            </a:xfrm>
            <a:custGeom>
              <a:avLst/>
              <a:gdLst>
                <a:gd name="connsiteX0" fmla="*/ 183282 w 217572"/>
                <a:gd name="connsiteY0" fmla="*/ 120902 h 217572"/>
                <a:gd name="connsiteX1" fmla="*/ 120730 w 217572"/>
                <a:gd name="connsiteY1" fmla="*/ 183454 h 217572"/>
                <a:gd name="connsiteX2" fmla="*/ 58178 w 217572"/>
                <a:gd name="connsiteY2" fmla="*/ 120902 h 217572"/>
                <a:gd name="connsiteX3" fmla="*/ 120730 w 217572"/>
                <a:gd name="connsiteY3" fmla="*/ 58350 h 217572"/>
                <a:gd name="connsiteX4" fmla="*/ 183282 w 217572"/>
                <a:gd name="connsiteY4" fmla="*/ 120902 h 2175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17572" h="217572">
                  <a:moveTo>
                    <a:pt x="183282" y="120902"/>
                  </a:moveTo>
                  <a:cubicBezTo>
                    <a:pt x="183282" y="156258"/>
                    <a:pt x="156086" y="183454"/>
                    <a:pt x="120730" y="183454"/>
                  </a:cubicBezTo>
                  <a:cubicBezTo>
                    <a:pt x="85375" y="183454"/>
                    <a:pt x="58178" y="156258"/>
                    <a:pt x="58178" y="120902"/>
                  </a:cubicBezTo>
                  <a:cubicBezTo>
                    <a:pt x="58178" y="85547"/>
                    <a:pt x="85375" y="58350"/>
                    <a:pt x="120730" y="58350"/>
                  </a:cubicBezTo>
                  <a:cubicBezTo>
                    <a:pt x="153366" y="55630"/>
                    <a:pt x="183282" y="85547"/>
                    <a:pt x="183282" y="120902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FA6C3BEF-B959-4A63-9972-3910916B1FB5}"/>
                </a:ext>
              </a:extLst>
            </p:cNvPr>
            <p:cNvSpPr/>
            <p:nvPr/>
          </p:nvSpPr>
          <p:spPr>
            <a:xfrm>
              <a:off x="6005186" y="3416884"/>
              <a:ext cx="380752" cy="462341"/>
            </a:xfrm>
            <a:custGeom>
              <a:avLst/>
              <a:gdLst>
                <a:gd name="connsiteX0" fmla="*/ 270312 w 380752"/>
                <a:gd name="connsiteY0" fmla="*/ 69229 h 462341"/>
                <a:gd name="connsiteX1" fmla="*/ 188722 w 380752"/>
                <a:gd name="connsiteY1" fmla="*/ 134501 h 462341"/>
                <a:gd name="connsiteX2" fmla="*/ 188722 w 380752"/>
                <a:gd name="connsiteY2" fmla="*/ 118183 h 462341"/>
                <a:gd name="connsiteX3" fmla="*/ 126170 w 380752"/>
                <a:gd name="connsiteY3" fmla="*/ 58350 h 462341"/>
                <a:gd name="connsiteX4" fmla="*/ 58178 w 380752"/>
                <a:gd name="connsiteY4" fmla="*/ 118183 h 462341"/>
                <a:gd name="connsiteX5" fmla="*/ 58178 w 380752"/>
                <a:gd name="connsiteY5" fmla="*/ 210651 h 462341"/>
                <a:gd name="connsiteX6" fmla="*/ 58178 w 380752"/>
                <a:gd name="connsiteY6" fmla="*/ 365671 h 462341"/>
                <a:gd name="connsiteX7" fmla="*/ 58178 w 380752"/>
                <a:gd name="connsiteY7" fmla="*/ 365671 h 462341"/>
                <a:gd name="connsiteX8" fmla="*/ 120730 w 380752"/>
                <a:gd name="connsiteY8" fmla="*/ 425504 h 462341"/>
                <a:gd name="connsiteX9" fmla="*/ 186002 w 380752"/>
                <a:gd name="connsiteY9" fmla="*/ 365671 h 462341"/>
                <a:gd name="connsiteX10" fmla="*/ 186002 w 380752"/>
                <a:gd name="connsiteY10" fmla="*/ 365671 h 462341"/>
                <a:gd name="connsiteX11" fmla="*/ 186002 w 380752"/>
                <a:gd name="connsiteY11" fmla="*/ 210651 h 462341"/>
                <a:gd name="connsiteX12" fmla="*/ 215919 w 380752"/>
                <a:gd name="connsiteY12" fmla="*/ 158978 h 462341"/>
                <a:gd name="connsiteX13" fmla="*/ 275751 w 380752"/>
                <a:gd name="connsiteY13" fmla="*/ 221530 h 462341"/>
                <a:gd name="connsiteX14" fmla="*/ 270312 w 380752"/>
                <a:gd name="connsiteY14" fmla="*/ 69229 h 4623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80752" h="462341">
                  <a:moveTo>
                    <a:pt x="270312" y="69229"/>
                  </a:moveTo>
                  <a:cubicBezTo>
                    <a:pt x="232236" y="71949"/>
                    <a:pt x="213199" y="99145"/>
                    <a:pt x="188722" y="134501"/>
                  </a:cubicBezTo>
                  <a:cubicBezTo>
                    <a:pt x="188722" y="134501"/>
                    <a:pt x="188722" y="118183"/>
                    <a:pt x="188722" y="118183"/>
                  </a:cubicBezTo>
                  <a:cubicBezTo>
                    <a:pt x="188722" y="85547"/>
                    <a:pt x="158806" y="58350"/>
                    <a:pt x="126170" y="58350"/>
                  </a:cubicBezTo>
                  <a:cubicBezTo>
                    <a:pt x="93534" y="55631"/>
                    <a:pt x="60898" y="85547"/>
                    <a:pt x="58178" y="118183"/>
                  </a:cubicBezTo>
                  <a:lnTo>
                    <a:pt x="58178" y="210651"/>
                  </a:lnTo>
                  <a:lnTo>
                    <a:pt x="58178" y="365671"/>
                  </a:lnTo>
                  <a:lnTo>
                    <a:pt x="58178" y="365671"/>
                  </a:lnTo>
                  <a:cubicBezTo>
                    <a:pt x="58178" y="398307"/>
                    <a:pt x="88094" y="425504"/>
                    <a:pt x="120730" y="425504"/>
                  </a:cubicBezTo>
                  <a:cubicBezTo>
                    <a:pt x="153366" y="428224"/>
                    <a:pt x="186002" y="398307"/>
                    <a:pt x="186002" y="365671"/>
                  </a:cubicBezTo>
                  <a:lnTo>
                    <a:pt x="186002" y="365671"/>
                  </a:lnTo>
                  <a:lnTo>
                    <a:pt x="186002" y="210651"/>
                  </a:lnTo>
                  <a:cubicBezTo>
                    <a:pt x="188722" y="188894"/>
                    <a:pt x="196881" y="158978"/>
                    <a:pt x="215919" y="158978"/>
                  </a:cubicBezTo>
                  <a:cubicBezTo>
                    <a:pt x="243115" y="158978"/>
                    <a:pt x="215919" y="221530"/>
                    <a:pt x="275751" y="221530"/>
                  </a:cubicBezTo>
                  <a:cubicBezTo>
                    <a:pt x="362780" y="221530"/>
                    <a:pt x="373658" y="63790"/>
                    <a:pt x="270312" y="69229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id="{95A684EE-FC6F-42C2-A395-8D903D7DA553}"/>
                </a:ext>
              </a:extLst>
            </p:cNvPr>
            <p:cNvSpPr/>
            <p:nvPr/>
          </p:nvSpPr>
          <p:spPr>
            <a:xfrm>
              <a:off x="5693490" y="3475234"/>
              <a:ext cx="337238" cy="364434"/>
            </a:xfrm>
            <a:custGeom>
              <a:avLst/>
              <a:gdLst>
                <a:gd name="connsiteX0" fmla="*/ 180433 w 337238"/>
                <a:gd name="connsiteY0" fmla="*/ 73984 h 364434"/>
                <a:gd name="connsiteX1" fmla="*/ 163180 w 337238"/>
                <a:gd name="connsiteY1" fmla="*/ 78870 h 364434"/>
                <a:gd name="connsiteX2" fmla="*/ 125105 w 337238"/>
                <a:gd name="connsiteY2" fmla="*/ 160461 h 364434"/>
                <a:gd name="connsiteX3" fmla="*/ 171339 w 337238"/>
                <a:gd name="connsiteY3" fmla="*/ 163180 h 364434"/>
                <a:gd name="connsiteX4" fmla="*/ 214854 w 337238"/>
                <a:gd name="connsiteY4" fmla="*/ 108787 h 364434"/>
                <a:gd name="connsiteX5" fmla="*/ 180433 w 337238"/>
                <a:gd name="connsiteY5" fmla="*/ 73984 h 364434"/>
                <a:gd name="connsiteX6" fmla="*/ 174059 w 337238"/>
                <a:gd name="connsiteY6" fmla="*/ 0 h 364434"/>
                <a:gd name="connsiteX7" fmla="*/ 337238 w 337238"/>
                <a:gd name="connsiteY7" fmla="*/ 119665 h 364434"/>
                <a:gd name="connsiteX8" fmla="*/ 133264 w 337238"/>
                <a:gd name="connsiteY8" fmla="*/ 217573 h 364434"/>
                <a:gd name="connsiteX9" fmla="*/ 225732 w 337238"/>
                <a:gd name="connsiteY9" fmla="*/ 277405 h 364434"/>
                <a:gd name="connsiteX10" fmla="*/ 320920 w 337238"/>
                <a:gd name="connsiteY10" fmla="*/ 250208 h 364434"/>
                <a:gd name="connsiteX11" fmla="*/ 174059 w 337238"/>
                <a:gd name="connsiteY11" fmla="*/ 364434 h 364434"/>
                <a:gd name="connsiteX12" fmla="*/ 0 w 337238"/>
                <a:gd name="connsiteY12" fmla="*/ 184937 h 364434"/>
                <a:gd name="connsiteX13" fmla="*/ 174059 w 337238"/>
                <a:gd name="connsiteY13" fmla="*/ 0 h 3644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37238" h="364434">
                  <a:moveTo>
                    <a:pt x="180433" y="73984"/>
                  </a:moveTo>
                  <a:cubicBezTo>
                    <a:pt x="174569" y="73941"/>
                    <a:pt x="168620" y="75471"/>
                    <a:pt x="163180" y="78870"/>
                  </a:cubicBezTo>
                  <a:cubicBezTo>
                    <a:pt x="135984" y="95189"/>
                    <a:pt x="127825" y="130544"/>
                    <a:pt x="125105" y="160461"/>
                  </a:cubicBezTo>
                  <a:cubicBezTo>
                    <a:pt x="125105" y="163180"/>
                    <a:pt x="168620" y="160461"/>
                    <a:pt x="171339" y="163180"/>
                  </a:cubicBezTo>
                  <a:cubicBezTo>
                    <a:pt x="195816" y="157741"/>
                    <a:pt x="214854" y="135984"/>
                    <a:pt x="214854" y="108787"/>
                  </a:cubicBezTo>
                  <a:cubicBezTo>
                    <a:pt x="214854" y="88389"/>
                    <a:pt x="198026" y="74111"/>
                    <a:pt x="180433" y="73984"/>
                  </a:cubicBezTo>
                  <a:close/>
                  <a:moveTo>
                    <a:pt x="174059" y="0"/>
                  </a:moveTo>
                  <a:cubicBezTo>
                    <a:pt x="233891" y="0"/>
                    <a:pt x="337238" y="29916"/>
                    <a:pt x="337238" y="119665"/>
                  </a:cubicBezTo>
                  <a:cubicBezTo>
                    <a:pt x="337238" y="209414"/>
                    <a:pt x="244770" y="217573"/>
                    <a:pt x="133264" y="217573"/>
                  </a:cubicBezTo>
                  <a:cubicBezTo>
                    <a:pt x="133264" y="217573"/>
                    <a:pt x="149581" y="277405"/>
                    <a:pt x="225732" y="277405"/>
                  </a:cubicBezTo>
                  <a:cubicBezTo>
                    <a:pt x="301883" y="277405"/>
                    <a:pt x="320920" y="250208"/>
                    <a:pt x="320920" y="250208"/>
                  </a:cubicBezTo>
                  <a:cubicBezTo>
                    <a:pt x="320920" y="250208"/>
                    <a:pt x="315481" y="364434"/>
                    <a:pt x="174059" y="364434"/>
                  </a:cubicBezTo>
                  <a:cubicBezTo>
                    <a:pt x="95188" y="364434"/>
                    <a:pt x="0" y="304602"/>
                    <a:pt x="0" y="184937"/>
                  </a:cubicBezTo>
                  <a:cubicBezTo>
                    <a:pt x="0" y="78870"/>
                    <a:pt x="73431" y="0"/>
                    <a:pt x="174059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5" name="Freeform: Shape 34">
              <a:extLst>
                <a:ext uri="{FF2B5EF4-FFF2-40B4-BE49-F238E27FC236}">
                  <a16:creationId xmlns:a16="http://schemas.microsoft.com/office/drawing/2014/main" id="{FFA0438A-6980-45CF-B8F0-FB53943DAB08}"/>
                </a:ext>
              </a:extLst>
            </p:cNvPr>
            <p:cNvSpPr/>
            <p:nvPr/>
          </p:nvSpPr>
          <p:spPr>
            <a:xfrm>
              <a:off x="5376945" y="3338014"/>
              <a:ext cx="353556" cy="543931"/>
            </a:xfrm>
            <a:custGeom>
              <a:avLst/>
              <a:gdLst>
                <a:gd name="connsiteX0" fmla="*/ 311107 w 353555"/>
                <a:gd name="connsiteY0" fmla="*/ 433663 h 543931"/>
                <a:gd name="connsiteX1" fmla="*/ 215919 w 353555"/>
                <a:gd name="connsiteY1" fmla="*/ 501654 h 543931"/>
                <a:gd name="connsiteX2" fmla="*/ 98973 w 353555"/>
                <a:gd name="connsiteY2" fmla="*/ 392868 h 543931"/>
                <a:gd name="connsiteX3" fmla="*/ 98973 w 353555"/>
                <a:gd name="connsiteY3" fmla="*/ 221530 h 543931"/>
                <a:gd name="connsiteX4" fmla="*/ 82655 w 353555"/>
                <a:gd name="connsiteY4" fmla="*/ 221530 h 543931"/>
                <a:gd name="connsiteX5" fmla="*/ 58178 w 353555"/>
                <a:gd name="connsiteY5" fmla="*/ 191614 h 543931"/>
                <a:gd name="connsiteX6" fmla="*/ 85375 w 353555"/>
                <a:gd name="connsiteY6" fmla="*/ 164417 h 543931"/>
                <a:gd name="connsiteX7" fmla="*/ 101693 w 353555"/>
                <a:gd name="connsiteY7" fmla="*/ 164417 h 543931"/>
                <a:gd name="connsiteX8" fmla="*/ 101693 w 353555"/>
                <a:gd name="connsiteY8" fmla="*/ 118183 h 543931"/>
                <a:gd name="connsiteX9" fmla="*/ 166965 w 353555"/>
                <a:gd name="connsiteY9" fmla="*/ 58350 h 543931"/>
                <a:gd name="connsiteX10" fmla="*/ 229517 w 353555"/>
                <a:gd name="connsiteY10" fmla="*/ 118183 h 543931"/>
                <a:gd name="connsiteX11" fmla="*/ 229517 w 353555"/>
                <a:gd name="connsiteY11" fmla="*/ 118183 h 543931"/>
                <a:gd name="connsiteX12" fmla="*/ 229517 w 353555"/>
                <a:gd name="connsiteY12" fmla="*/ 164417 h 543931"/>
                <a:gd name="connsiteX13" fmla="*/ 283910 w 353555"/>
                <a:gd name="connsiteY13" fmla="*/ 164417 h 543931"/>
                <a:gd name="connsiteX14" fmla="*/ 308387 w 353555"/>
                <a:gd name="connsiteY14" fmla="*/ 194333 h 543931"/>
                <a:gd name="connsiteX15" fmla="*/ 281190 w 353555"/>
                <a:gd name="connsiteY15" fmla="*/ 221530 h 543931"/>
                <a:gd name="connsiteX16" fmla="*/ 229517 w 353555"/>
                <a:gd name="connsiteY16" fmla="*/ 221530 h 543931"/>
                <a:gd name="connsiteX17" fmla="*/ 229517 w 353555"/>
                <a:gd name="connsiteY17" fmla="*/ 365671 h 543931"/>
                <a:gd name="connsiteX18" fmla="*/ 311107 w 353555"/>
                <a:gd name="connsiteY18" fmla="*/ 433663 h 5439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353555" h="543931">
                  <a:moveTo>
                    <a:pt x="311107" y="433663"/>
                  </a:moveTo>
                  <a:cubicBezTo>
                    <a:pt x="311107" y="433663"/>
                    <a:pt x="278471" y="501654"/>
                    <a:pt x="215919" y="501654"/>
                  </a:cubicBezTo>
                  <a:cubicBezTo>
                    <a:pt x="164245" y="501654"/>
                    <a:pt x="101693" y="458140"/>
                    <a:pt x="98973" y="392868"/>
                  </a:cubicBezTo>
                  <a:cubicBezTo>
                    <a:pt x="98973" y="392868"/>
                    <a:pt x="98973" y="297680"/>
                    <a:pt x="98973" y="221530"/>
                  </a:cubicBezTo>
                  <a:lnTo>
                    <a:pt x="82655" y="221530"/>
                  </a:lnTo>
                  <a:cubicBezTo>
                    <a:pt x="74496" y="221530"/>
                    <a:pt x="58178" y="216090"/>
                    <a:pt x="58178" y="191614"/>
                  </a:cubicBezTo>
                  <a:cubicBezTo>
                    <a:pt x="58178" y="167137"/>
                    <a:pt x="77216" y="164417"/>
                    <a:pt x="85375" y="164417"/>
                  </a:cubicBezTo>
                  <a:lnTo>
                    <a:pt x="101693" y="164417"/>
                  </a:lnTo>
                  <a:cubicBezTo>
                    <a:pt x="101693" y="137220"/>
                    <a:pt x="101693" y="118183"/>
                    <a:pt x="101693" y="118183"/>
                  </a:cubicBezTo>
                  <a:cubicBezTo>
                    <a:pt x="104413" y="85547"/>
                    <a:pt x="134329" y="55631"/>
                    <a:pt x="166965" y="58350"/>
                  </a:cubicBezTo>
                  <a:cubicBezTo>
                    <a:pt x="196881" y="61070"/>
                    <a:pt x="229517" y="85547"/>
                    <a:pt x="229517" y="118183"/>
                  </a:cubicBezTo>
                  <a:lnTo>
                    <a:pt x="229517" y="118183"/>
                  </a:lnTo>
                  <a:lnTo>
                    <a:pt x="229517" y="164417"/>
                  </a:lnTo>
                  <a:lnTo>
                    <a:pt x="283910" y="164417"/>
                  </a:lnTo>
                  <a:cubicBezTo>
                    <a:pt x="292069" y="164417"/>
                    <a:pt x="308387" y="169856"/>
                    <a:pt x="308387" y="194333"/>
                  </a:cubicBezTo>
                  <a:cubicBezTo>
                    <a:pt x="308387" y="218810"/>
                    <a:pt x="292069" y="221530"/>
                    <a:pt x="281190" y="221530"/>
                  </a:cubicBezTo>
                  <a:lnTo>
                    <a:pt x="229517" y="221530"/>
                  </a:lnTo>
                  <a:lnTo>
                    <a:pt x="229517" y="365671"/>
                  </a:lnTo>
                  <a:cubicBezTo>
                    <a:pt x="226797" y="409186"/>
                    <a:pt x="267592" y="433663"/>
                    <a:pt x="311107" y="433663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6" name="Freeform: Shape 35">
              <a:extLst>
                <a:ext uri="{FF2B5EF4-FFF2-40B4-BE49-F238E27FC236}">
                  <a16:creationId xmlns:a16="http://schemas.microsoft.com/office/drawing/2014/main" id="{1FC20C9B-4BB9-46A9-9696-DAAC441E835C}"/>
                </a:ext>
              </a:extLst>
            </p:cNvPr>
            <p:cNvSpPr/>
            <p:nvPr/>
          </p:nvSpPr>
          <p:spPr>
            <a:xfrm>
              <a:off x="7090329" y="3338014"/>
              <a:ext cx="353556" cy="543931"/>
            </a:xfrm>
            <a:custGeom>
              <a:avLst/>
              <a:gdLst>
                <a:gd name="connsiteX0" fmla="*/ 311107 w 353555"/>
                <a:gd name="connsiteY0" fmla="*/ 433663 h 543931"/>
                <a:gd name="connsiteX1" fmla="*/ 215919 w 353555"/>
                <a:gd name="connsiteY1" fmla="*/ 501654 h 543931"/>
                <a:gd name="connsiteX2" fmla="*/ 98973 w 353555"/>
                <a:gd name="connsiteY2" fmla="*/ 392868 h 543931"/>
                <a:gd name="connsiteX3" fmla="*/ 98973 w 353555"/>
                <a:gd name="connsiteY3" fmla="*/ 221530 h 543931"/>
                <a:gd name="connsiteX4" fmla="*/ 82655 w 353555"/>
                <a:gd name="connsiteY4" fmla="*/ 221530 h 543931"/>
                <a:gd name="connsiteX5" fmla="*/ 58178 w 353555"/>
                <a:gd name="connsiteY5" fmla="*/ 191614 h 543931"/>
                <a:gd name="connsiteX6" fmla="*/ 85375 w 353555"/>
                <a:gd name="connsiteY6" fmla="*/ 164417 h 543931"/>
                <a:gd name="connsiteX7" fmla="*/ 101693 w 353555"/>
                <a:gd name="connsiteY7" fmla="*/ 164417 h 543931"/>
                <a:gd name="connsiteX8" fmla="*/ 101693 w 353555"/>
                <a:gd name="connsiteY8" fmla="*/ 118183 h 543931"/>
                <a:gd name="connsiteX9" fmla="*/ 166965 w 353555"/>
                <a:gd name="connsiteY9" fmla="*/ 58350 h 543931"/>
                <a:gd name="connsiteX10" fmla="*/ 229517 w 353555"/>
                <a:gd name="connsiteY10" fmla="*/ 118183 h 543931"/>
                <a:gd name="connsiteX11" fmla="*/ 229517 w 353555"/>
                <a:gd name="connsiteY11" fmla="*/ 118183 h 543931"/>
                <a:gd name="connsiteX12" fmla="*/ 229517 w 353555"/>
                <a:gd name="connsiteY12" fmla="*/ 164417 h 543931"/>
                <a:gd name="connsiteX13" fmla="*/ 283910 w 353555"/>
                <a:gd name="connsiteY13" fmla="*/ 164417 h 543931"/>
                <a:gd name="connsiteX14" fmla="*/ 308387 w 353555"/>
                <a:gd name="connsiteY14" fmla="*/ 194333 h 543931"/>
                <a:gd name="connsiteX15" fmla="*/ 281190 w 353555"/>
                <a:gd name="connsiteY15" fmla="*/ 221530 h 543931"/>
                <a:gd name="connsiteX16" fmla="*/ 229517 w 353555"/>
                <a:gd name="connsiteY16" fmla="*/ 221530 h 543931"/>
                <a:gd name="connsiteX17" fmla="*/ 229517 w 353555"/>
                <a:gd name="connsiteY17" fmla="*/ 365671 h 543931"/>
                <a:gd name="connsiteX18" fmla="*/ 311107 w 353555"/>
                <a:gd name="connsiteY18" fmla="*/ 433663 h 5439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353555" h="543931">
                  <a:moveTo>
                    <a:pt x="311107" y="433663"/>
                  </a:moveTo>
                  <a:cubicBezTo>
                    <a:pt x="311107" y="433663"/>
                    <a:pt x="278471" y="501654"/>
                    <a:pt x="215919" y="501654"/>
                  </a:cubicBezTo>
                  <a:cubicBezTo>
                    <a:pt x="164245" y="501654"/>
                    <a:pt x="101693" y="458140"/>
                    <a:pt x="98973" y="392868"/>
                  </a:cubicBezTo>
                  <a:cubicBezTo>
                    <a:pt x="98973" y="392868"/>
                    <a:pt x="98973" y="297680"/>
                    <a:pt x="98973" y="221530"/>
                  </a:cubicBezTo>
                  <a:lnTo>
                    <a:pt x="82655" y="221530"/>
                  </a:lnTo>
                  <a:cubicBezTo>
                    <a:pt x="74496" y="221530"/>
                    <a:pt x="58178" y="216090"/>
                    <a:pt x="58178" y="191614"/>
                  </a:cubicBezTo>
                  <a:cubicBezTo>
                    <a:pt x="58178" y="167137"/>
                    <a:pt x="77216" y="164417"/>
                    <a:pt x="85375" y="164417"/>
                  </a:cubicBezTo>
                  <a:lnTo>
                    <a:pt x="101693" y="164417"/>
                  </a:lnTo>
                  <a:cubicBezTo>
                    <a:pt x="101693" y="137220"/>
                    <a:pt x="101693" y="118183"/>
                    <a:pt x="101693" y="118183"/>
                  </a:cubicBezTo>
                  <a:cubicBezTo>
                    <a:pt x="104412" y="85547"/>
                    <a:pt x="134329" y="55631"/>
                    <a:pt x="166965" y="58350"/>
                  </a:cubicBezTo>
                  <a:cubicBezTo>
                    <a:pt x="196881" y="61070"/>
                    <a:pt x="229517" y="85547"/>
                    <a:pt x="229517" y="118183"/>
                  </a:cubicBezTo>
                  <a:lnTo>
                    <a:pt x="229517" y="118183"/>
                  </a:lnTo>
                  <a:lnTo>
                    <a:pt x="229517" y="164417"/>
                  </a:lnTo>
                  <a:lnTo>
                    <a:pt x="283910" y="164417"/>
                  </a:lnTo>
                  <a:cubicBezTo>
                    <a:pt x="292069" y="164417"/>
                    <a:pt x="308387" y="169856"/>
                    <a:pt x="308387" y="194333"/>
                  </a:cubicBezTo>
                  <a:cubicBezTo>
                    <a:pt x="308387" y="218810"/>
                    <a:pt x="292069" y="221530"/>
                    <a:pt x="281190" y="221530"/>
                  </a:cubicBezTo>
                  <a:lnTo>
                    <a:pt x="229517" y="221530"/>
                  </a:lnTo>
                  <a:lnTo>
                    <a:pt x="229517" y="365671"/>
                  </a:lnTo>
                  <a:cubicBezTo>
                    <a:pt x="229517" y="409186"/>
                    <a:pt x="270312" y="433663"/>
                    <a:pt x="311107" y="433663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7" name="Freeform: Shape 36">
              <a:extLst>
                <a:ext uri="{FF2B5EF4-FFF2-40B4-BE49-F238E27FC236}">
                  <a16:creationId xmlns:a16="http://schemas.microsoft.com/office/drawing/2014/main" id="{F19D53DE-A4DA-4AE7-BA92-608B7F6E88D3}"/>
                </a:ext>
              </a:extLst>
            </p:cNvPr>
            <p:cNvSpPr/>
            <p:nvPr/>
          </p:nvSpPr>
          <p:spPr>
            <a:xfrm>
              <a:off x="2080719" y="4178559"/>
              <a:ext cx="462342" cy="788700"/>
            </a:xfrm>
            <a:custGeom>
              <a:avLst/>
              <a:gdLst>
                <a:gd name="connsiteX0" fmla="*/ 403575 w 462341"/>
                <a:gd name="connsiteY0" fmla="*/ 583072 h 788699"/>
                <a:gd name="connsiteX1" fmla="*/ 406295 w 462341"/>
                <a:gd name="connsiteY1" fmla="*/ 596670 h 788699"/>
                <a:gd name="connsiteX2" fmla="*/ 400855 w 462341"/>
                <a:gd name="connsiteY2" fmla="*/ 610268 h 788699"/>
                <a:gd name="connsiteX3" fmla="*/ 389977 w 462341"/>
                <a:gd name="connsiteY3" fmla="*/ 626586 h 788699"/>
                <a:gd name="connsiteX4" fmla="*/ 354621 w 462341"/>
                <a:gd name="connsiteY4" fmla="*/ 675540 h 788699"/>
                <a:gd name="connsiteX5" fmla="*/ 327424 w 462341"/>
                <a:gd name="connsiteY5" fmla="*/ 691858 h 788699"/>
                <a:gd name="connsiteX6" fmla="*/ 292069 w 462341"/>
                <a:gd name="connsiteY6" fmla="*/ 713615 h 788699"/>
                <a:gd name="connsiteX7" fmla="*/ 251274 w 462341"/>
                <a:gd name="connsiteY7" fmla="*/ 724494 h 788699"/>
                <a:gd name="connsiteX8" fmla="*/ 221358 w 462341"/>
                <a:gd name="connsiteY8" fmla="*/ 721774 h 788699"/>
                <a:gd name="connsiteX9" fmla="*/ 191442 w 462341"/>
                <a:gd name="connsiteY9" fmla="*/ 721774 h 788699"/>
                <a:gd name="connsiteX10" fmla="*/ 153366 w 462341"/>
                <a:gd name="connsiteY10" fmla="*/ 713615 h 788699"/>
                <a:gd name="connsiteX11" fmla="*/ 104412 w 462341"/>
                <a:gd name="connsiteY11" fmla="*/ 675540 h 788699"/>
                <a:gd name="connsiteX12" fmla="*/ 104412 w 462341"/>
                <a:gd name="connsiteY12" fmla="*/ 689138 h 788699"/>
                <a:gd name="connsiteX13" fmla="*/ 101693 w 462341"/>
                <a:gd name="connsiteY13" fmla="*/ 710895 h 788699"/>
                <a:gd name="connsiteX14" fmla="*/ 85375 w 462341"/>
                <a:gd name="connsiteY14" fmla="*/ 732653 h 788699"/>
                <a:gd name="connsiteX15" fmla="*/ 69057 w 462341"/>
                <a:gd name="connsiteY15" fmla="*/ 727214 h 788699"/>
                <a:gd name="connsiteX16" fmla="*/ 60898 w 462341"/>
                <a:gd name="connsiteY16" fmla="*/ 710895 h 788699"/>
                <a:gd name="connsiteX17" fmla="*/ 58178 w 462341"/>
                <a:gd name="connsiteY17" fmla="*/ 691858 h 788699"/>
                <a:gd name="connsiteX18" fmla="*/ 60898 w 462341"/>
                <a:gd name="connsiteY18" fmla="*/ 664661 h 788699"/>
                <a:gd name="connsiteX19" fmla="*/ 60898 w 462341"/>
                <a:gd name="connsiteY19" fmla="*/ 607549 h 788699"/>
                <a:gd name="connsiteX20" fmla="*/ 63618 w 462341"/>
                <a:gd name="connsiteY20" fmla="*/ 528679 h 788699"/>
                <a:gd name="connsiteX21" fmla="*/ 69057 w 462341"/>
                <a:gd name="connsiteY21" fmla="*/ 504202 h 788699"/>
                <a:gd name="connsiteX22" fmla="*/ 74496 w 462341"/>
                <a:gd name="connsiteY22" fmla="*/ 493323 h 788699"/>
                <a:gd name="connsiteX23" fmla="*/ 82655 w 462341"/>
                <a:gd name="connsiteY23" fmla="*/ 487884 h 788699"/>
                <a:gd name="connsiteX24" fmla="*/ 90814 w 462341"/>
                <a:gd name="connsiteY24" fmla="*/ 493323 h 788699"/>
                <a:gd name="connsiteX25" fmla="*/ 98973 w 462341"/>
                <a:gd name="connsiteY25" fmla="*/ 512361 h 788699"/>
                <a:gd name="connsiteX26" fmla="*/ 101693 w 462341"/>
                <a:gd name="connsiteY26" fmla="*/ 555875 h 788699"/>
                <a:gd name="connsiteX27" fmla="*/ 101693 w 462341"/>
                <a:gd name="connsiteY27" fmla="*/ 596670 h 788699"/>
                <a:gd name="connsiteX28" fmla="*/ 109852 w 462341"/>
                <a:gd name="connsiteY28" fmla="*/ 626586 h 788699"/>
                <a:gd name="connsiteX29" fmla="*/ 128889 w 462341"/>
                <a:gd name="connsiteY29" fmla="*/ 651063 h 788699"/>
                <a:gd name="connsiteX30" fmla="*/ 153366 w 462341"/>
                <a:gd name="connsiteY30" fmla="*/ 670101 h 788699"/>
                <a:gd name="connsiteX31" fmla="*/ 196881 w 462341"/>
                <a:gd name="connsiteY31" fmla="*/ 678260 h 788699"/>
                <a:gd name="connsiteX32" fmla="*/ 221358 w 462341"/>
                <a:gd name="connsiteY32" fmla="*/ 667381 h 788699"/>
                <a:gd name="connsiteX33" fmla="*/ 253994 w 462341"/>
                <a:gd name="connsiteY33" fmla="*/ 659222 h 788699"/>
                <a:gd name="connsiteX34" fmla="*/ 275751 w 462341"/>
                <a:gd name="connsiteY34" fmla="*/ 637465 h 788699"/>
                <a:gd name="connsiteX35" fmla="*/ 281190 w 462341"/>
                <a:gd name="connsiteY35" fmla="*/ 615708 h 788699"/>
                <a:gd name="connsiteX36" fmla="*/ 278471 w 462341"/>
                <a:gd name="connsiteY36" fmla="*/ 602109 h 788699"/>
                <a:gd name="connsiteX37" fmla="*/ 262153 w 462341"/>
                <a:gd name="connsiteY37" fmla="*/ 572193 h 788699"/>
                <a:gd name="connsiteX38" fmla="*/ 245835 w 462341"/>
                <a:gd name="connsiteY38" fmla="*/ 536838 h 788699"/>
                <a:gd name="connsiteX39" fmla="*/ 196881 w 462341"/>
                <a:gd name="connsiteY39" fmla="*/ 477005 h 788699"/>
                <a:gd name="connsiteX40" fmla="*/ 145207 w 462341"/>
                <a:gd name="connsiteY40" fmla="*/ 419892 h 788699"/>
                <a:gd name="connsiteX41" fmla="*/ 93534 w 462341"/>
                <a:gd name="connsiteY41" fmla="*/ 357340 h 788699"/>
                <a:gd name="connsiteX42" fmla="*/ 66337 w 462341"/>
                <a:gd name="connsiteY42" fmla="*/ 283910 h 788699"/>
                <a:gd name="connsiteX43" fmla="*/ 58178 w 462341"/>
                <a:gd name="connsiteY43" fmla="*/ 224077 h 788699"/>
                <a:gd name="connsiteX44" fmla="*/ 82655 w 462341"/>
                <a:gd name="connsiteY44" fmla="*/ 150647 h 788699"/>
                <a:gd name="connsiteX45" fmla="*/ 137048 w 462341"/>
                <a:gd name="connsiteY45" fmla="*/ 96253 h 788699"/>
                <a:gd name="connsiteX46" fmla="*/ 196881 w 462341"/>
                <a:gd name="connsiteY46" fmla="*/ 77216 h 788699"/>
                <a:gd name="connsiteX47" fmla="*/ 232236 w 462341"/>
                <a:gd name="connsiteY47" fmla="*/ 69057 h 788699"/>
                <a:gd name="connsiteX48" fmla="*/ 262153 w 462341"/>
                <a:gd name="connsiteY48" fmla="*/ 74496 h 788699"/>
                <a:gd name="connsiteX49" fmla="*/ 294789 w 462341"/>
                <a:gd name="connsiteY49" fmla="*/ 85375 h 788699"/>
                <a:gd name="connsiteX50" fmla="*/ 327424 w 462341"/>
                <a:gd name="connsiteY50" fmla="*/ 104412 h 788699"/>
                <a:gd name="connsiteX51" fmla="*/ 332864 w 462341"/>
                <a:gd name="connsiteY51" fmla="*/ 74496 h 788699"/>
                <a:gd name="connsiteX52" fmla="*/ 338303 w 462341"/>
                <a:gd name="connsiteY52" fmla="*/ 63618 h 788699"/>
                <a:gd name="connsiteX53" fmla="*/ 349182 w 462341"/>
                <a:gd name="connsiteY53" fmla="*/ 58178 h 788699"/>
                <a:gd name="connsiteX54" fmla="*/ 357341 w 462341"/>
                <a:gd name="connsiteY54" fmla="*/ 63618 h 788699"/>
                <a:gd name="connsiteX55" fmla="*/ 365500 w 462341"/>
                <a:gd name="connsiteY55" fmla="*/ 82655 h 788699"/>
                <a:gd name="connsiteX56" fmla="*/ 368219 w 462341"/>
                <a:gd name="connsiteY56" fmla="*/ 142488 h 788699"/>
                <a:gd name="connsiteX57" fmla="*/ 368219 w 462341"/>
                <a:gd name="connsiteY57" fmla="*/ 188722 h 788699"/>
                <a:gd name="connsiteX58" fmla="*/ 370939 w 462341"/>
                <a:gd name="connsiteY58" fmla="*/ 245834 h 788699"/>
                <a:gd name="connsiteX59" fmla="*/ 354621 w 462341"/>
                <a:gd name="connsiteY59" fmla="*/ 286629 h 788699"/>
                <a:gd name="connsiteX60" fmla="*/ 338303 w 462341"/>
                <a:gd name="connsiteY60" fmla="*/ 281190 h 788699"/>
                <a:gd name="connsiteX61" fmla="*/ 330144 w 462341"/>
                <a:gd name="connsiteY61" fmla="*/ 264872 h 788699"/>
                <a:gd name="connsiteX62" fmla="*/ 327424 w 462341"/>
                <a:gd name="connsiteY62" fmla="*/ 248554 h 788699"/>
                <a:gd name="connsiteX63" fmla="*/ 330144 w 462341"/>
                <a:gd name="connsiteY63" fmla="*/ 221357 h 788699"/>
                <a:gd name="connsiteX64" fmla="*/ 330144 w 462341"/>
                <a:gd name="connsiteY64" fmla="*/ 188722 h 788699"/>
                <a:gd name="connsiteX65" fmla="*/ 327424 w 462341"/>
                <a:gd name="connsiteY65" fmla="*/ 164245 h 788699"/>
                <a:gd name="connsiteX66" fmla="*/ 311107 w 462341"/>
                <a:gd name="connsiteY66" fmla="*/ 134329 h 788699"/>
                <a:gd name="connsiteX67" fmla="*/ 283910 w 462341"/>
                <a:gd name="connsiteY67" fmla="*/ 118011 h 788699"/>
                <a:gd name="connsiteX68" fmla="*/ 251274 w 462341"/>
                <a:gd name="connsiteY68" fmla="*/ 112571 h 788699"/>
                <a:gd name="connsiteX69" fmla="*/ 215918 w 462341"/>
                <a:gd name="connsiteY69" fmla="*/ 123450 h 788699"/>
                <a:gd name="connsiteX70" fmla="*/ 202320 w 462341"/>
                <a:gd name="connsiteY70" fmla="*/ 147927 h 788699"/>
                <a:gd name="connsiteX71" fmla="*/ 188722 w 462341"/>
                <a:gd name="connsiteY71" fmla="*/ 180563 h 788699"/>
                <a:gd name="connsiteX72" fmla="*/ 183283 w 462341"/>
                <a:gd name="connsiteY72" fmla="*/ 210479 h 788699"/>
                <a:gd name="connsiteX73" fmla="*/ 188722 w 462341"/>
                <a:gd name="connsiteY73" fmla="*/ 226797 h 788699"/>
                <a:gd name="connsiteX74" fmla="*/ 188722 w 462341"/>
                <a:gd name="connsiteY74" fmla="*/ 248554 h 788699"/>
                <a:gd name="connsiteX75" fmla="*/ 210479 w 462341"/>
                <a:gd name="connsiteY75" fmla="*/ 273031 h 788699"/>
                <a:gd name="connsiteX76" fmla="*/ 226797 w 462341"/>
                <a:gd name="connsiteY76" fmla="*/ 300228 h 788699"/>
                <a:gd name="connsiteX77" fmla="*/ 256713 w 462341"/>
                <a:gd name="connsiteY77" fmla="*/ 332864 h 788699"/>
                <a:gd name="connsiteX78" fmla="*/ 275751 w 462341"/>
                <a:gd name="connsiteY78" fmla="*/ 351901 h 788699"/>
                <a:gd name="connsiteX79" fmla="*/ 324705 w 462341"/>
                <a:gd name="connsiteY79" fmla="*/ 400855 h 788699"/>
                <a:gd name="connsiteX80" fmla="*/ 343742 w 462341"/>
                <a:gd name="connsiteY80" fmla="*/ 428051 h 788699"/>
                <a:gd name="connsiteX81" fmla="*/ 351901 w 462341"/>
                <a:gd name="connsiteY81" fmla="*/ 433491 h 788699"/>
                <a:gd name="connsiteX82" fmla="*/ 360060 w 462341"/>
                <a:gd name="connsiteY82" fmla="*/ 447089 h 788699"/>
                <a:gd name="connsiteX83" fmla="*/ 384537 w 462341"/>
                <a:gd name="connsiteY83" fmla="*/ 474286 h 788699"/>
                <a:gd name="connsiteX84" fmla="*/ 395416 w 462341"/>
                <a:gd name="connsiteY84" fmla="*/ 506921 h 788699"/>
                <a:gd name="connsiteX85" fmla="*/ 406295 w 462341"/>
                <a:gd name="connsiteY85" fmla="*/ 536838 h 788699"/>
                <a:gd name="connsiteX86" fmla="*/ 409014 w 462341"/>
                <a:gd name="connsiteY86" fmla="*/ 547716 h 788699"/>
                <a:gd name="connsiteX87" fmla="*/ 406295 w 462341"/>
                <a:gd name="connsiteY87" fmla="*/ 569473 h 788699"/>
                <a:gd name="connsiteX88" fmla="*/ 403575 w 462341"/>
                <a:gd name="connsiteY88" fmla="*/ 583072 h 788699"/>
                <a:gd name="connsiteX89" fmla="*/ 403575 w 462341"/>
                <a:gd name="connsiteY89" fmla="*/ 583072 h 7886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</a:cxnLst>
              <a:rect l="l" t="t" r="r" b="b"/>
              <a:pathLst>
                <a:path w="462341" h="788699">
                  <a:moveTo>
                    <a:pt x="403575" y="583072"/>
                  </a:moveTo>
                  <a:cubicBezTo>
                    <a:pt x="403575" y="588511"/>
                    <a:pt x="406295" y="591231"/>
                    <a:pt x="406295" y="596670"/>
                  </a:cubicBezTo>
                  <a:cubicBezTo>
                    <a:pt x="406295" y="602109"/>
                    <a:pt x="403575" y="604829"/>
                    <a:pt x="400855" y="610268"/>
                  </a:cubicBezTo>
                  <a:cubicBezTo>
                    <a:pt x="398136" y="615708"/>
                    <a:pt x="392696" y="621147"/>
                    <a:pt x="389977" y="626586"/>
                  </a:cubicBezTo>
                  <a:cubicBezTo>
                    <a:pt x="381818" y="645624"/>
                    <a:pt x="368219" y="661942"/>
                    <a:pt x="354621" y="675540"/>
                  </a:cubicBezTo>
                  <a:cubicBezTo>
                    <a:pt x="346462" y="683699"/>
                    <a:pt x="338303" y="686419"/>
                    <a:pt x="327424" y="691858"/>
                  </a:cubicBezTo>
                  <a:cubicBezTo>
                    <a:pt x="316546" y="700017"/>
                    <a:pt x="302948" y="708176"/>
                    <a:pt x="292069" y="713615"/>
                  </a:cubicBezTo>
                  <a:cubicBezTo>
                    <a:pt x="281190" y="719054"/>
                    <a:pt x="264872" y="724494"/>
                    <a:pt x="251274" y="724494"/>
                  </a:cubicBezTo>
                  <a:cubicBezTo>
                    <a:pt x="240395" y="724494"/>
                    <a:pt x="229517" y="721774"/>
                    <a:pt x="221358" y="721774"/>
                  </a:cubicBezTo>
                  <a:cubicBezTo>
                    <a:pt x="213199" y="721774"/>
                    <a:pt x="202320" y="721774"/>
                    <a:pt x="191442" y="721774"/>
                  </a:cubicBezTo>
                  <a:cubicBezTo>
                    <a:pt x="172404" y="721774"/>
                    <a:pt x="172404" y="721774"/>
                    <a:pt x="153366" y="713615"/>
                  </a:cubicBezTo>
                  <a:cubicBezTo>
                    <a:pt x="134329" y="708176"/>
                    <a:pt x="118011" y="691858"/>
                    <a:pt x="104412" y="675540"/>
                  </a:cubicBezTo>
                  <a:cubicBezTo>
                    <a:pt x="104412" y="678260"/>
                    <a:pt x="104412" y="680979"/>
                    <a:pt x="104412" y="689138"/>
                  </a:cubicBezTo>
                  <a:cubicBezTo>
                    <a:pt x="104412" y="694578"/>
                    <a:pt x="104412" y="702737"/>
                    <a:pt x="101693" y="710895"/>
                  </a:cubicBezTo>
                  <a:cubicBezTo>
                    <a:pt x="101693" y="721774"/>
                    <a:pt x="96253" y="732653"/>
                    <a:pt x="85375" y="732653"/>
                  </a:cubicBezTo>
                  <a:cubicBezTo>
                    <a:pt x="77216" y="732653"/>
                    <a:pt x="74496" y="729933"/>
                    <a:pt x="69057" y="727214"/>
                  </a:cubicBezTo>
                  <a:cubicBezTo>
                    <a:pt x="63618" y="724494"/>
                    <a:pt x="60898" y="716335"/>
                    <a:pt x="60898" y="710895"/>
                  </a:cubicBezTo>
                  <a:cubicBezTo>
                    <a:pt x="58178" y="702737"/>
                    <a:pt x="58178" y="697297"/>
                    <a:pt x="58178" y="691858"/>
                  </a:cubicBezTo>
                  <a:cubicBezTo>
                    <a:pt x="58178" y="683699"/>
                    <a:pt x="60898" y="678260"/>
                    <a:pt x="60898" y="664661"/>
                  </a:cubicBezTo>
                  <a:cubicBezTo>
                    <a:pt x="60898" y="656502"/>
                    <a:pt x="60898" y="632026"/>
                    <a:pt x="60898" y="607549"/>
                  </a:cubicBezTo>
                  <a:cubicBezTo>
                    <a:pt x="60898" y="574913"/>
                    <a:pt x="60898" y="542277"/>
                    <a:pt x="63618" y="528679"/>
                  </a:cubicBezTo>
                  <a:cubicBezTo>
                    <a:pt x="63618" y="520520"/>
                    <a:pt x="63618" y="509641"/>
                    <a:pt x="69057" y="504202"/>
                  </a:cubicBezTo>
                  <a:cubicBezTo>
                    <a:pt x="71777" y="501482"/>
                    <a:pt x="71777" y="498762"/>
                    <a:pt x="74496" y="493323"/>
                  </a:cubicBezTo>
                  <a:cubicBezTo>
                    <a:pt x="77216" y="490603"/>
                    <a:pt x="79936" y="487884"/>
                    <a:pt x="82655" y="487884"/>
                  </a:cubicBezTo>
                  <a:cubicBezTo>
                    <a:pt x="85375" y="487884"/>
                    <a:pt x="90814" y="490603"/>
                    <a:pt x="90814" y="493323"/>
                  </a:cubicBezTo>
                  <a:cubicBezTo>
                    <a:pt x="93534" y="498762"/>
                    <a:pt x="98973" y="506921"/>
                    <a:pt x="98973" y="512361"/>
                  </a:cubicBezTo>
                  <a:cubicBezTo>
                    <a:pt x="98973" y="520520"/>
                    <a:pt x="101693" y="536838"/>
                    <a:pt x="101693" y="555875"/>
                  </a:cubicBezTo>
                  <a:cubicBezTo>
                    <a:pt x="101693" y="569473"/>
                    <a:pt x="101693" y="583072"/>
                    <a:pt x="101693" y="596670"/>
                  </a:cubicBezTo>
                  <a:cubicBezTo>
                    <a:pt x="101693" y="607549"/>
                    <a:pt x="104412" y="618427"/>
                    <a:pt x="109852" y="626586"/>
                  </a:cubicBezTo>
                  <a:cubicBezTo>
                    <a:pt x="115291" y="637465"/>
                    <a:pt x="123450" y="642904"/>
                    <a:pt x="128889" y="651063"/>
                  </a:cubicBezTo>
                  <a:cubicBezTo>
                    <a:pt x="137048" y="661942"/>
                    <a:pt x="139768" y="667381"/>
                    <a:pt x="153366" y="670101"/>
                  </a:cubicBezTo>
                  <a:cubicBezTo>
                    <a:pt x="161525" y="670101"/>
                    <a:pt x="183283" y="678260"/>
                    <a:pt x="196881" y="678260"/>
                  </a:cubicBezTo>
                  <a:cubicBezTo>
                    <a:pt x="207759" y="678260"/>
                    <a:pt x="210479" y="672820"/>
                    <a:pt x="221358" y="667381"/>
                  </a:cubicBezTo>
                  <a:cubicBezTo>
                    <a:pt x="232236" y="661942"/>
                    <a:pt x="245835" y="664661"/>
                    <a:pt x="253994" y="659222"/>
                  </a:cubicBezTo>
                  <a:cubicBezTo>
                    <a:pt x="262153" y="653783"/>
                    <a:pt x="273031" y="645624"/>
                    <a:pt x="275751" y="637465"/>
                  </a:cubicBezTo>
                  <a:cubicBezTo>
                    <a:pt x="281190" y="629306"/>
                    <a:pt x="281190" y="621147"/>
                    <a:pt x="281190" y="615708"/>
                  </a:cubicBezTo>
                  <a:cubicBezTo>
                    <a:pt x="281190" y="610268"/>
                    <a:pt x="281190" y="607549"/>
                    <a:pt x="278471" y="602109"/>
                  </a:cubicBezTo>
                  <a:cubicBezTo>
                    <a:pt x="275751" y="591231"/>
                    <a:pt x="267592" y="583072"/>
                    <a:pt x="262153" y="572193"/>
                  </a:cubicBezTo>
                  <a:cubicBezTo>
                    <a:pt x="256713" y="561314"/>
                    <a:pt x="253994" y="547716"/>
                    <a:pt x="245835" y="536838"/>
                  </a:cubicBezTo>
                  <a:cubicBezTo>
                    <a:pt x="232236" y="515080"/>
                    <a:pt x="213199" y="498762"/>
                    <a:pt x="196881" y="477005"/>
                  </a:cubicBezTo>
                  <a:cubicBezTo>
                    <a:pt x="180563" y="457968"/>
                    <a:pt x="164245" y="438930"/>
                    <a:pt x="145207" y="419892"/>
                  </a:cubicBezTo>
                  <a:cubicBezTo>
                    <a:pt x="126170" y="400855"/>
                    <a:pt x="109852" y="379098"/>
                    <a:pt x="93534" y="357340"/>
                  </a:cubicBezTo>
                  <a:cubicBezTo>
                    <a:pt x="77216" y="335583"/>
                    <a:pt x="71777" y="308387"/>
                    <a:pt x="66337" y="283910"/>
                  </a:cubicBezTo>
                  <a:cubicBezTo>
                    <a:pt x="63618" y="267592"/>
                    <a:pt x="58178" y="245834"/>
                    <a:pt x="58178" y="224077"/>
                  </a:cubicBezTo>
                  <a:cubicBezTo>
                    <a:pt x="58178" y="194161"/>
                    <a:pt x="69057" y="175123"/>
                    <a:pt x="82655" y="150647"/>
                  </a:cubicBezTo>
                  <a:cubicBezTo>
                    <a:pt x="96253" y="128889"/>
                    <a:pt x="115291" y="109852"/>
                    <a:pt x="137048" y="96253"/>
                  </a:cubicBezTo>
                  <a:cubicBezTo>
                    <a:pt x="158806" y="82655"/>
                    <a:pt x="172404" y="79936"/>
                    <a:pt x="196881" y="77216"/>
                  </a:cubicBezTo>
                  <a:cubicBezTo>
                    <a:pt x="210479" y="77216"/>
                    <a:pt x="215918" y="69057"/>
                    <a:pt x="232236" y="69057"/>
                  </a:cubicBezTo>
                  <a:cubicBezTo>
                    <a:pt x="243115" y="69057"/>
                    <a:pt x="251274" y="71776"/>
                    <a:pt x="262153" y="74496"/>
                  </a:cubicBezTo>
                  <a:cubicBezTo>
                    <a:pt x="273031" y="77216"/>
                    <a:pt x="283910" y="82655"/>
                    <a:pt x="294789" y="85375"/>
                  </a:cubicBezTo>
                  <a:cubicBezTo>
                    <a:pt x="308387" y="90814"/>
                    <a:pt x="319265" y="96253"/>
                    <a:pt x="327424" y="104412"/>
                  </a:cubicBezTo>
                  <a:cubicBezTo>
                    <a:pt x="327424" y="90814"/>
                    <a:pt x="327424" y="79936"/>
                    <a:pt x="332864" y="74496"/>
                  </a:cubicBezTo>
                  <a:cubicBezTo>
                    <a:pt x="335583" y="71776"/>
                    <a:pt x="335583" y="69057"/>
                    <a:pt x="338303" y="63618"/>
                  </a:cubicBezTo>
                  <a:cubicBezTo>
                    <a:pt x="341023" y="60898"/>
                    <a:pt x="346462" y="58178"/>
                    <a:pt x="349182" y="58178"/>
                  </a:cubicBezTo>
                  <a:cubicBezTo>
                    <a:pt x="351901" y="58178"/>
                    <a:pt x="357341" y="60898"/>
                    <a:pt x="357341" y="63618"/>
                  </a:cubicBezTo>
                  <a:cubicBezTo>
                    <a:pt x="360060" y="69057"/>
                    <a:pt x="365500" y="77216"/>
                    <a:pt x="365500" y="82655"/>
                  </a:cubicBezTo>
                  <a:cubicBezTo>
                    <a:pt x="365500" y="90814"/>
                    <a:pt x="368219" y="123450"/>
                    <a:pt x="368219" y="142488"/>
                  </a:cubicBezTo>
                  <a:cubicBezTo>
                    <a:pt x="368219" y="158806"/>
                    <a:pt x="368219" y="177843"/>
                    <a:pt x="368219" y="188722"/>
                  </a:cubicBezTo>
                  <a:cubicBezTo>
                    <a:pt x="368219" y="213199"/>
                    <a:pt x="370939" y="224077"/>
                    <a:pt x="370939" y="245834"/>
                  </a:cubicBezTo>
                  <a:cubicBezTo>
                    <a:pt x="370939" y="256713"/>
                    <a:pt x="370939" y="286629"/>
                    <a:pt x="354621" y="286629"/>
                  </a:cubicBezTo>
                  <a:cubicBezTo>
                    <a:pt x="346462" y="286629"/>
                    <a:pt x="343742" y="283910"/>
                    <a:pt x="338303" y="281190"/>
                  </a:cubicBezTo>
                  <a:cubicBezTo>
                    <a:pt x="332864" y="278470"/>
                    <a:pt x="330144" y="270311"/>
                    <a:pt x="330144" y="264872"/>
                  </a:cubicBezTo>
                  <a:cubicBezTo>
                    <a:pt x="327424" y="256713"/>
                    <a:pt x="327424" y="251274"/>
                    <a:pt x="327424" y="248554"/>
                  </a:cubicBezTo>
                  <a:cubicBezTo>
                    <a:pt x="327424" y="240395"/>
                    <a:pt x="330144" y="234956"/>
                    <a:pt x="330144" y="221357"/>
                  </a:cubicBezTo>
                  <a:cubicBezTo>
                    <a:pt x="330144" y="213199"/>
                    <a:pt x="330144" y="202320"/>
                    <a:pt x="330144" y="188722"/>
                  </a:cubicBezTo>
                  <a:cubicBezTo>
                    <a:pt x="330144" y="180563"/>
                    <a:pt x="327424" y="172404"/>
                    <a:pt x="327424" y="164245"/>
                  </a:cubicBezTo>
                  <a:cubicBezTo>
                    <a:pt x="324705" y="153366"/>
                    <a:pt x="319265" y="142488"/>
                    <a:pt x="311107" y="134329"/>
                  </a:cubicBezTo>
                  <a:cubicBezTo>
                    <a:pt x="302948" y="126170"/>
                    <a:pt x="294789" y="120730"/>
                    <a:pt x="283910" y="118011"/>
                  </a:cubicBezTo>
                  <a:cubicBezTo>
                    <a:pt x="275751" y="115291"/>
                    <a:pt x="262153" y="112571"/>
                    <a:pt x="251274" y="112571"/>
                  </a:cubicBezTo>
                  <a:cubicBezTo>
                    <a:pt x="237676" y="112571"/>
                    <a:pt x="224077" y="115291"/>
                    <a:pt x="215918" y="123450"/>
                  </a:cubicBezTo>
                  <a:cubicBezTo>
                    <a:pt x="207759" y="128889"/>
                    <a:pt x="205040" y="139768"/>
                    <a:pt x="202320" y="147927"/>
                  </a:cubicBezTo>
                  <a:cubicBezTo>
                    <a:pt x="196881" y="158806"/>
                    <a:pt x="191442" y="166964"/>
                    <a:pt x="188722" y="180563"/>
                  </a:cubicBezTo>
                  <a:cubicBezTo>
                    <a:pt x="186002" y="191441"/>
                    <a:pt x="183283" y="199600"/>
                    <a:pt x="183283" y="210479"/>
                  </a:cubicBezTo>
                  <a:cubicBezTo>
                    <a:pt x="183283" y="215918"/>
                    <a:pt x="186002" y="221357"/>
                    <a:pt x="188722" y="226797"/>
                  </a:cubicBezTo>
                  <a:cubicBezTo>
                    <a:pt x="191442" y="234956"/>
                    <a:pt x="188722" y="243115"/>
                    <a:pt x="188722" y="248554"/>
                  </a:cubicBezTo>
                  <a:cubicBezTo>
                    <a:pt x="191442" y="259433"/>
                    <a:pt x="202320" y="264872"/>
                    <a:pt x="210479" y="273031"/>
                  </a:cubicBezTo>
                  <a:cubicBezTo>
                    <a:pt x="218638" y="281190"/>
                    <a:pt x="221358" y="292069"/>
                    <a:pt x="226797" y="300228"/>
                  </a:cubicBezTo>
                  <a:cubicBezTo>
                    <a:pt x="234956" y="311106"/>
                    <a:pt x="245835" y="321985"/>
                    <a:pt x="256713" y="332864"/>
                  </a:cubicBezTo>
                  <a:cubicBezTo>
                    <a:pt x="259433" y="338303"/>
                    <a:pt x="267592" y="343742"/>
                    <a:pt x="275751" y="351901"/>
                  </a:cubicBezTo>
                  <a:cubicBezTo>
                    <a:pt x="292069" y="368219"/>
                    <a:pt x="311107" y="384537"/>
                    <a:pt x="324705" y="400855"/>
                  </a:cubicBezTo>
                  <a:cubicBezTo>
                    <a:pt x="332864" y="409014"/>
                    <a:pt x="335583" y="419892"/>
                    <a:pt x="343742" y="428051"/>
                  </a:cubicBezTo>
                  <a:cubicBezTo>
                    <a:pt x="346462" y="430771"/>
                    <a:pt x="349182" y="430771"/>
                    <a:pt x="351901" y="433491"/>
                  </a:cubicBezTo>
                  <a:cubicBezTo>
                    <a:pt x="354621" y="436210"/>
                    <a:pt x="357341" y="441650"/>
                    <a:pt x="360060" y="447089"/>
                  </a:cubicBezTo>
                  <a:cubicBezTo>
                    <a:pt x="368219" y="455248"/>
                    <a:pt x="376378" y="463407"/>
                    <a:pt x="384537" y="474286"/>
                  </a:cubicBezTo>
                  <a:cubicBezTo>
                    <a:pt x="389977" y="482445"/>
                    <a:pt x="392696" y="496043"/>
                    <a:pt x="395416" y="506921"/>
                  </a:cubicBezTo>
                  <a:cubicBezTo>
                    <a:pt x="400855" y="517800"/>
                    <a:pt x="400855" y="528679"/>
                    <a:pt x="406295" y="536838"/>
                  </a:cubicBezTo>
                  <a:cubicBezTo>
                    <a:pt x="409014" y="539557"/>
                    <a:pt x="409014" y="544997"/>
                    <a:pt x="409014" y="547716"/>
                  </a:cubicBezTo>
                  <a:cubicBezTo>
                    <a:pt x="409014" y="555875"/>
                    <a:pt x="406295" y="561314"/>
                    <a:pt x="406295" y="569473"/>
                  </a:cubicBezTo>
                  <a:cubicBezTo>
                    <a:pt x="406295" y="574913"/>
                    <a:pt x="403575" y="577632"/>
                    <a:pt x="403575" y="583072"/>
                  </a:cubicBezTo>
                  <a:lnTo>
                    <a:pt x="403575" y="583072"/>
                  </a:ln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8" name="Freeform: Shape 37">
              <a:extLst>
                <a:ext uri="{FF2B5EF4-FFF2-40B4-BE49-F238E27FC236}">
                  <a16:creationId xmlns:a16="http://schemas.microsoft.com/office/drawing/2014/main" id="{B625ED8A-D3D4-4154-B0B3-EF43EBC3C6D3}"/>
                </a:ext>
              </a:extLst>
            </p:cNvPr>
            <p:cNvSpPr/>
            <p:nvPr/>
          </p:nvSpPr>
          <p:spPr>
            <a:xfrm>
              <a:off x="2456032" y="4192158"/>
              <a:ext cx="571128" cy="761503"/>
            </a:xfrm>
            <a:custGeom>
              <a:avLst/>
              <a:gdLst>
                <a:gd name="connsiteX0" fmla="*/ 512361 w 571128"/>
                <a:gd name="connsiteY0" fmla="*/ 79936 h 761503"/>
                <a:gd name="connsiteX1" fmla="*/ 539558 w 571128"/>
                <a:gd name="connsiteY1" fmla="*/ 96253 h 761503"/>
                <a:gd name="connsiteX2" fmla="*/ 534118 w 571128"/>
                <a:gd name="connsiteY2" fmla="*/ 112571 h 761503"/>
                <a:gd name="connsiteX3" fmla="*/ 523240 w 571128"/>
                <a:gd name="connsiteY3" fmla="*/ 120730 h 761503"/>
                <a:gd name="connsiteX4" fmla="*/ 506922 w 571128"/>
                <a:gd name="connsiteY4" fmla="*/ 123450 h 761503"/>
                <a:gd name="connsiteX5" fmla="*/ 477006 w 571128"/>
                <a:gd name="connsiteY5" fmla="*/ 123450 h 761503"/>
                <a:gd name="connsiteX6" fmla="*/ 479725 w 571128"/>
                <a:gd name="connsiteY6" fmla="*/ 145207 h 761503"/>
                <a:gd name="connsiteX7" fmla="*/ 477006 w 571128"/>
                <a:gd name="connsiteY7" fmla="*/ 180563 h 761503"/>
                <a:gd name="connsiteX8" fmla="*/ 482445 w 571128"/>
                <a:gd name="connsiteY8" fmla="*/ 232236 h 761503"/>
                <a:gd name="connsiteX9" fmla="*/ 485165 w 571128"/>
                <a:gd name="connsiteY9" fmla="*/ 283910 h 761503"/>
                <a:gd name="connsiteX10" fmla="*/ 485165 w 571128"/>
                <a:gd name="connsiteY10" fmla="*/ 327424 h 761503"/>
                <a:gd name="connsiteX11" fmla="*/ 487884 w 571128"/>
                <a:gd name="connsiteY11" fmla="*/ 373658 h 761503"/>
                <a:gd name="connsiteX12" fmla="*/ 485165 w 571128"/>
                <a:gd name="connsiteY12" fmla="*/ 419892 h 761503"/>
                <a:gd name="connsiteX13" fmla="*/ 485165 w 571128"/>
                <a:gd name="connsiteY13" fmla="*/ 463407 h 761503"/>
                <a:gd name="connsiteX14" fmla="*/ 482445 w 571128"/>
                <a:gd name="connsiteY14" fmla="*/ 515080 h 761503"/>
                <a:gd name="connsiteX15" fmla="*/ 482445 w 571128"/>
                <a:gd name="connsiteY15" fmla="*/ 558595 h 761503"/>
                <a:gd name="connsiteX16" fmla="*/ 479725 w 571128"/>
                <a:gd name="connsiteY16" fmla="*/ 602109 h 761503"/>
                <a:gd name="connsiteX17" fmla="*/ 485165 w 571128"/>
                <a:gd name="connsiteY17" fmla="*/ 648343 h 761503"/>
                <a:gd name="connsiteX18" fmla="*/ 474286 w 571128"/>
                <a:gd name="connsiteY18" fmla="*/ 675540 h 761503"/>
                <a:gd name="connsiteX19" fmla="*/ 428052 w 571128"/>
                <a:gd name="connsiteY19" fmla="*/ 691858 h 761503"/>
                <a:gd name="connsiteX20" fmla="*/ 387257 w 571128"/>
                <a:gd name="connsiteY20" fmla="*/ 683699 h 761503"/>
                <a:gd name="connsiteX21" fmla="*/ 351901 w 571128"/>
                <a:gd name="connsiteY21" fmla="*/ 664661 h 761503"/>
                <a:gd name="connsiteX22" fmla="*/ 305667 w 571128"/>
                <a:gd name="connsiteY22" fmla="*/ 596670 h 761503"/>
                <a:gd name="connsiteX23" fmla="*/ 270312 w 571128"/>
                <a:gd name="connsiteY23" fmla="*/ 509641 h 761503"/>
                <a:gd name="connsiteX24" fmla="*/ 251274 w 571128"/>
                <a:gd name="connsiteY24" fmla="*/ 460687 h 761503"/>
                <a:gd name="connsiteX25" fmla="*/ 224077 w 571128"/>
                <a:gd name="connsiteY25" fmla="*/ 381817 h 761503"/>
                <a:gd name="connsiteX26" fmla="*/ 207759 w 571128"/>
                <a:gd name="connsiteY26" fmla="*/ 330144 h 761503"/>
                <a:gd name="connsiteX27" fmla="*/ 191442 w 571128"/>
                <a:gd name="connsiteY27" fmla="*/ 286629 h 761503"/>
                <a:gd name="connsiteX28" fmla="*/ 183283 w 571128"/>
                <a:gd name="connsiteY28" fmla="*/ 278470 h 761503"/>
                <a:gd name="connsiteX29" fmla="*/ 180563 w 571128"/>
                <a:gd name="connsiteY29" fmla="*/ 292069 h 761503"/>
                <a:gd name="connsiteX30" fmla="*/ 180563 w 571128"/>
                <a:gd name="connsiteY30" fmla="*/ 305667 h 761503"/>
                <a:gd name="connsiteX31" fmla="*/ 183283 w 571128"/>
                <a:gd name="connsiteY31" fmla="*/ 354621 h 761503"/>
                <a:gd name="connsiteX32" fmla="*/ 188722 w 571128"/>
                <a:gd name="connsiteY32" fmla="*/ 449809 h 761503"/>
                <a:gd name="connsiteX33" fmla="*/ 188722 w 571128"/>
                <a:gd name="connsiteY33" fmla="*/ 479725 h 761503"/>
                <a:gd name="connsiteX34" fmla="*/ 188722 w 571128"/>
                <a:gd name="connsiteY34" fmla="*/ 542277 h 761503"/>
                <a:gd name="connsiteX35" fmla="*/ 186002 w 571128"/>
                <a:gd name="connsiteY35" fmla="*/ 615708 h 761503"/>
                <a:gd name="connsiteX36" fmla="*/ 186002 w 571128"/>
                <a:gd name="connsiteY36" fmla="*/ 637465 h 761503"/>
                <a:gd name="connsiteX37" fmla="*/ 183283 w 571128"/>
                <a:gd name="connsiteY37" fmla="*/ 664661 h 761503"/>
                <a:gd name="connsiteX38" fmla="*/ 226797 w 571128"/>
                <a:gd name="connsiteY38" fmla="*/ 664661 h 761503"/>
                <a:gd name="connsiteX39" fmla="*/ 253994 w 571128"/>
                <a:gd name="connsiteY39" fmla="*/ 680979 h 761503"/>
                <a:gd name="connsiteX40" fmla="*/ 248554 w 571128"/>
                <a:gd name="connsiteY40" fmla="*/ 697297 h 761503"/>
                <a:gd name="connsiteX41" fmla="*/ 234956 w 571128"/>
                <a:gd name="connsiteY41" fmla="*/ 705456 h 761503"/>
                <a:gd name="connsiteX42" fmla="*/ 218638 w 571128"/>
                <a:gd name="connsiteY42" fmla="*/ 708176 h 761503"/>
                <a:gd name="connsiteX43" fmla="*/ 183283 w 571128"/>
                <a:gd name="connsiteY43" fmla="*/ 708176 h 761503"/>
                <a:gd name="connsiteX44" fmla="*/ 150647 w 571128"/>
                <a:gd name="connsiteY44" fmla="*/ 708176 h 761503"/>
                <a:gd name="connsiteX45" fmla="*/ 107132 w 571128"/>
                <a:gd name="connsiteY45" fmla="*/ 708176 h 761503"/>
                <a:gd name="connsiteX46" fmla="*/ 88094 w 571128"/>
                <a:gd name="connsiteY46" fmla="*/ 708176 h 761503"/>
                <a:gd name="connsiteX47" fmla="*/ 69057 w 571128"/>
                <a:gd name="connsiteY47" fmla="*/ 702737 h 761503"/>
                <a:gd name="connsiteX48" fmla="*/ 58178 w 571128"/>
                <a:gd name="connsiteY48" fmla="*/ 686419 h 761503"/>
                <a:gd name="connsiteX49" fmla="*/ 60898 w 571128"/>
                <a:gd name="connsiteY49" fmla="*/ 678260 h 761503"/>
                <a:gd name="connsiteX50" fmla="*/ 77216 w 571128"/>
                <a:gd name="connsiteY50" fmla="*/ 670101 h 761503"/>
                <a:gd name="connsiteX51" fmla="*/ 120730 w 571128"/>
                <a:gd name="connsiteY51" fmla="*/ 664661 h 761503"/>
                <a:gd name="connsiteX52" fmla="*/ 131609 w 571128"/>
                <a:gd name="connsiteY52" fmla="*/ 664661 h 761503"/>
                <a:gd name="connsiteX53" fmla="*/ 134329 w 571128"/>
                <a:gd name="connsiteY53" fmla="*/ 539557 h 761503"/>
                <a:gd name="connsiteX54" fmla="*/ 134329 w 571128"/>
                <a:gd name="connsiteY54" fmla="*/ 504202 h 761503"/>
                <a:gd name="connsiteX55" fmla="*/ 131609 w 571128"/>
                <a:gd name="connsiteY55" fmla="*/ 376378 h 761503"/>
                <a:gd name="connsiteX56" fmla="*/ 131609 w 571128"/>
                <a:gd name="connsiteY56" fmla="*/ 302947 h 761503"/>
                <a:gd name="connsiteX57" fmla="*/ 134329 w 571128"/>
                <a:gd name="connsiteY57" fmla="*/ 221357 h 761503"/>
                <a:gd name="connsiteX58" fmla="*/ 137048 w 571128"/>
                <a:gd name="connsiteY58" fmla="*/ 123450 h 761503"/>
                <a:gd name="connsiteX59" fmla="*/ 107132 w 571128"/>
                <a:gd name="connsiteY59" fmla="*/ 123450 h 761503"/>
                <a:gd name="connsiteX60" fmla="*/ 88094 w 571128"/>
                <a:gd name="connsiteY60" fmla="*/ 123450 h 761503"/>
                <a:gd name="connsiteX61" fmla="*/ 69057 w 571128"/>
                <a:gd name="connsiteY61" fmla="*/ 118011 h 761503"/>
                <a:gd name="connsiteX62" fmla="*/ 58178 w 571128"/>
                <a:gd name="connsiteY62" fmla="*/ 101693 h 761503"/>
                <a:gd name="connsiteX63" fmla="*/ 60898 w 571128"/>
                <a:gd name="connsiteY63" fmla="*/ 93534 h 761503"/>
                <a:gd name="connsiteX64" fmla="*/ 77216 w 571128"/>
                <a:gd name="connsiteY64" fmla="*/ 85375 h 761503"/>
                <a:gd name="connsiteX65" fmla="*/ 131609 w 571128"/>
                <a:gd name="connsiteY65" fmla="*/ 79936 h 761503"/>
                <a:gd name="connsiteX66" fmla="*/ 161525 w 571128"/>
                <a:gd name="connsiteY66" fmla="*/ 79936 h 761503"/>
                <a:gd name="connsiteX67" fmla="*/ 177843 w 571128"/>
                <a:gd name="connsiteY67" fmla="*/ 66337 h 761503"/>
                <a:gd name="connsiteX68" fmla="*/ 202320 w 571128"/>
                <a:gd name="connsiteY68" fmla="*/ 58178 h 761503"/>
                <a:gd name="connsiteX69" fmla="*/ 234956 w 571128"/>
                <a:gd name="connsiteY69" fmla="*/ 77216 h 761503"/>
                <a:gd name="connsiteX70" fmla="*/ 251274 w 571128"/>
                <a:gd name="connsiteY70" fmla="*/ 107132 h 761503"/>
                <a:gd name="connsiteX71" fmla="*/ 267592 w 571128"/>
                <a:gd name="connsiteY71" fmla="*/ 147927 h 761503"/>
                <a:gd name="connsiteX72" fmla="*/ 281190 w 571128"/>
                <a:gd name="connsiteY72" fmla="*/ 183282 h 761503"/>
                <a:gd name="connsiteX73" fmla="*/ 297508 w 571128"/>
                <a:gd name="connsiteY73" fmla="*/ 224077 h 761503"/>
                <a:gd name="connsiteX74" fmla="*/ 308387 w 571128"/>
                <a:gd name="connsiteY74" fmla="*/ 264872 h 761503"/>
                <a:gd name="connsiteX75" fmla="*/ 319265 w 571128"/>
                <a:gd name="connsiteY75" fmla="*/ 300228 h 761503"/>
                <a:gd name="connsiteX76" fmla="*/ 351901 w 571128"/>
                <a:gd name="connsiteY76" fmla="*/ 379098 h 761503"/>
                <a:gd name="connsiteX77" fmla="*/ 365500 w 571128"/>
                <a:gd name="connsiteY77" fmla="*/ 417173 h 761503"/>
                <a:gd name="connsiteX78" fmla="*/ 379098 w 571128"/>
                <a:gd name="connsiteY78" fmla="*/ 457968 h 761503"/>
                <a:gd name="connsiteX79" fmla="*/ 395416 w 571128"/>
                <a:gd name="connsiteY79" fmla="*/ 496043 h 761503"/>
                <a:gd name="connsiteX80" fmla="*/ 406295 w 571128"/>
                <a:gd name="connsiteY80" fmla="*/ 512361 h 761503"/>
                <a:gd name="connsiteX81" fmla="*/ 411734 w 571128"/>
                <a:gd name="connsiteY81" fmla="*/ 531398 h 761503"/>
                <a:gd name="connsiteX82" fmla="*/ 419893 w 571128"/>
                <a:gd name="connsiteY82" fmla="*/ 558595 h 761503"/>
                <a:gd name="connsiteX83" fmla="*/ 425332 w 571128"/>
                <a:gd name="connsiteY83" fmla="*/ 564034 h 761503"/>
                <a:gd name="connsiteX84" fmla="*/ 430771 w 571128"/>
                <a:gd name="connsiteY84" fmla="*/ 558595 h 761503"/>
                <a:gd name="connsiteX85" fmla="*/ 430771 w 571128"/>
                <a:gd name="connsiteY85" fmla="*/ 550436 h 761503"/>
                <a:gd name="connsiteX86" fmla="*/ 430771 w 571128"/>
                <a:gd name="connsiteY86" fmla="*/ 501482 h 761503"/>
                <a:gd name="connsiteX87" fmla="*/ 430771 w 571128"/>
                <a:gd name="connsiteY87" fmla="*/ 403575 h 761503"/>
                <a:gd name="connsiteX88" fmla="*/ 425332 w 571128"/>
                <a:gd name="connsiteY88" fmla="*/ 313826 h 761503"/>
                <a:gd name="connsiteX89" fmla="*/ 425332 w 571128"/>
                <a:gd name="connsiteY89" fmla="*/ 248554 h 761503"/>
                <a:gd name="connsiteX90" fmla="*/ 425332 w 571128"/>
                <a:gd name="connsiteY90" fmla="*/ 210479 h 761503"/>
                <a:gd name="connsiteX91" fmla="*/ 422613 w 571128"/>
                <a:gd name="connsiteY91" fmla="*/ 153366 h 761503"/>
                <a:gd name="connsiteX92" fmla="*/ 425332 w 571128"/>
                <a:gd name="connsiteY92" fmla="*/ 123450 h 761503"/>
                <a:gd name="connsiteX93" fmla="*/ 398136 w 571128"/>
                <a:gd name="connsiteY93" fmla="*/ 123450 h 761503"/>
                <a:gd name="connsiteX94" fmla="*/ 379098 w 571128"/>
                <a:gd name="connsiteY94" fmla="*/ 123450 h 761503"/>
                <a:gd name="connsiteX95" fmla="*/ 360060 w 571128"/>
                <a:gd name="connsiteY95" fmla="*/ 118011 h 761503"/>
                <a:gd name="connsiteX96" fmla="*/ 349182 w 571128"/>
                <a:gd name="connsiteY96" fmla="*/ 101693 h 761503"/>
                <a:gd name="connsiteX97" fmla="*/ 351901 w 571128"/>
                <a:gd name="connsiteY97" fmla="*/ 93534 h 761503"/>
                <a:gd name="connsiteX98" fmla="*/ 368219 w 571128"/>
                <a:gd name="connsiteY98" fmla="*/ 85375 h 761503"/>
                <a:gd name="connsiteX99" fmla="*/ 422613 w 571128"/>
                <a:gd name="connsiteY99" fmla="*/ 79936 h 761503"/>
                <a:gd name="connsiteX100" fmla="*/ 444370 w 571128"/>
                <a:gd name="connsiteY100" fmla="*/ 79936 h 761503"/>
                <a:gd name="connsiteX101" fmla="*/ 463407 w 571128"/>
                <a:gd name="connsiteY101" fmla="*/ 71776 h 761503"/>
                <a:gd name="connsiteX102" fmla="*/ 477006 w 571128"/>
                <a:gd name="connsiteY102" fmla="*/ 79936 h 761503"/>
                <a:gd name="connsiteX103" fmla="*/ 512361 w 571128"/>
                <a:gd name="connsiteY103" fmla="*/ 79936 h 761503"/>
                <a:gd name="connsiteX104" fmla="*/ 512361 w 571128"/>
                <a:gd name="connsiteY104" fmla="*/ 79936 h 761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</a:cxnLst>
              <a:rect l="l" t="t" r="r" b="b"/>
              <a:pathLst>
                <a:path w="571128" h="761503">
                  <a:moveTo>
                    <a:pt x="512361" y="79936"/>
                  </a:moveTo>
                  <a:cubicBezTo>
                    <a:pt x="520520" y="79936"/>
                    <a:pt x="539558" y="79936"/>
                    <a:pt x="539558" y="96253"/>
                  </a:cubicBezTo>
                  <a:cubicBezTo>
                    <a:pt x="539558" y="104412"/>
                    <a:pt x="539558" y="107132"/>
                    <a:pt x="534118" y="112571"/>
                  </a:cubicBezTo>
                  <a:cubicBezTo>
                    <a:pt x="531399" y="118011"/>
                    <a:pt x="525960" y="120730"/>
                    <a:pt x="523240" y="120730"/>
                  </a:cubicBezTo>
                  <a:cubicBezTo>
                    <a:pt x="515081" y="123450"/>
                    <a:pt x="512361" y="123450"/>
                    <a:pt x="506922" y="123450"/>
                  </a:cubicBezTo>
                  <a:cubicBezTo>
                    <a:pt x="504202" y="123450"/>
                    <a:pt x="490604" y="123450"/>
                    <a:pt x="477006" y="123450"/>
                  </a:cubicBezTo>
                  <a:cubicBezTo>
                    <a:pt x="477006" y="131609"/>
                    <a:pt x="479725" y="137048"/>
                    <a:pt x="479725" y="145207"/>
                  </a:cubicBezTo>
                  <a:cubicBezTo>
                    <a:pt x="479725" y="156086"/>
                    <a:pt x="477006" y="166964"/>
                    <a:pt x="477006" y="180563"/>
                  </a:cubicBezTo>
                  <a:cubicBezTo>
                    <a:pt x="477006" y="196881"/>
                    <a:pt x="479725" y="215918"/>
                    <a:pt x="482445" y="232236"/>
                  </a:cubicBezTo>
                  <a:cubicBezTo>
                    <a:pt x="485165" y="248554"/>
                    <a:pt x="485165" y="267592"/>
                    <a:pt x="485165" y="283910"/>
                  </a:cubicBezTo>
                  <a:cubicBezTo>
                    <a:pt x="485165" y="297508"/>
                    <a:pt x="485165" y="313826"/>
                    <a:pt x="485165" y="327424"/>
                  </a:cubicBezTo>
                  <a:cubicBezTo>
                    <a:pt x="485165" y="343742"/>
                    <a:pt x="487884" y="357340"/>
                    <a:pt x="487884" y="373658"/>
                  </a:cubicBezTo>
                  <a:cubicBezTo>
                    <a:pt x="487884" y="389976"/>
                    <a:pt x="485165" y="403575"/>
                    <a:pt x="485165" y="419892"/>
                  </a:cubicBezTo>
                  <a:cubicBezTo>
                    <a:pt x="485165" y="436210"/>
                    <a:pt x="485165" y="449809"/>
                    <a:pt x="485165" y="463407"/>
                  </a:cubicBezTo>
                  <a:cubicBezTo>
                    <a:pt x="485165" y="479725"/>
                    <a:pt x="485165" y="498762"/>
                    <a:pt x="482445" y="515080"/>
                  </a:cubicBezTo>
                  <a:cubicBezTo>
                    <a:pt x="482445" y="528679"/>
                    <a:pt x="482445" y="542277"/>
                    <a:pt x="482445" y="558595"/>
                  </a:cubicBezTo>
                  <a:cubicBezTo>
                    <a:pt x="482445" y="572193"/>
                    <a:pt x="479725" y="588511"/>
                    <a:pt x="479725" y="602109"/>
                  </a:cubicBezTo>
                  <a:cubicBezTo>
                    <a:pt x="479725" y="615708"/>
                    <a:pt x="485165" y="632026"/>
                    <a:pt x="485165" y="648343"/>
                  </a:cubicBezTo>
                  <a:cubicBezTo>
                    <a:pt x="485165" y="659222"/>
                    <a:pt x="482445" y="670101"/>
                    <a:pt x="474286" y="675540"/>
                  </a:cubicBezTo>
                  <a:cubicBezTo>
                    <a:pt x="460688" y="686419"/>
                    <a:pt x="444370" y="691858"/>
                    <a:pt x="428052" y="691858"/>
                  </a:cubicBezTo>
                  <a:cubicBezTo>
                    <a:pt x="414454" y="691858"/>
                    <a:pt x="400855" y="689138"/>
                    <a:pt x="387257" y="683699"/>
                  </a:cubicBezTo>
                  <a:cubicBezTo>
                    <a:pt x="373659" y="678260"/>
                    <a:pt x="360060" y="672820"/>
                    <a:pt x="351901" y="664661"/>
                  </a:cubicBezTo>
                  <a:cubicBezTo>
                    <a:pt x="330144" y="645624"/>
                    <a:pt x="316546" y="621147"/>
                    <a:pt x="305667" y="596670"/>
                  </a:cubicBezTo>
                  <a:cubicBezTo>
                    <a:pt x="292069" y="569473"/>
                    <a:pt x="281190" y="539557"/>
                    <a:pt x="270312" y="509641"/>
                  </a:cubicBezTo>
                  <a:cubicBezTo>
                    <a:pt x="264872" y="493323"/>
                    <a:pt x="256713" y="477005"/>
                    <a:pt x="251274" y="460687"/>
                  </a:cubicBezTo>
                  <a:cubicBezTo>
                    <a:pt x="240395" y="433491"/>
                    <a:pt x="232236" y="409014"/>
                    <a:pt x="224077" y="381817"/>
                  </a:cubicBezTo>
                  <a:cubicBezTo>
                    <a:pt x="218638" y="365499"/>
                    <a:pt x="213199" y="346462"/>
                    <a:pt x="207759" y="330144"/>
                  </a:cubicBezTo>
                  <a:cubicBezTo>
                    <a:pt x="202320" y="316545"/>
                    <a:pt x="196881" y="300228"/>
                    <a:pt x="191442" y="286629"/>
                  </a:cubicBezTo>
                  <a:cubicBezTo>
                    <a:pt x="188722" y="281190"/>
                    <a:pt x="186002" y="278470"/>
                    <a:pt x="183283" y="278470"/>
                  </a:cubicBezTo>
                  <a:cubicBezTo>
                    <a:pt x="180563" y="278470"/>
                    <a:pt x="180563" y="286629"/>
                    <a:pt x="180563" y="292069"/>
                  </a:cubicBezTo>
                  <a:cubicBezTo>
                    <a:pt x="180563" y="297508"/>
                    <a:pt x="180563" y="302947"/>
                    <a:pt x="180563" y="305667"/>
                  </a:cubicBezTo>
                  <a:cubicBezTo>
                    <a:pt x="180563" y="321985"/>
                    <a:pt x="183283" y="338303"/>
                    <a:pt x="183283" y="354621"/>
                  </a:cubicBezTo>
                  <a:cubicBezTo>
                    <a:pt x="183283" y="387257"/>
                    <a:pt x="186002" y="417173"/>
                    <a:pt x="188722" y="449809"/>
                  </a:cubicBezTo>
                  <a:cubicBezTo>
                    <a:pt x="188722" y="460687"/>
                    <a:pt x="188722" y="468846"/>
                    <a:pt x="188722" y="479725"/>
                  </a:cubicBezTo>
                  <a:cubicBezTo>
                    <a:pt x="188722" y="501482"/>
                    <a:pt x="188722" y="523239"/>
                    <a:pt x="188722" y="542277"/>
                  </a:cubicBezTo>
                  <a:cubicBezTo>
                    <a:pt x="188722" y="566754"/>
                    <a:pt x="186002" y="591231"/>
                    <a:pt x="186002" y="615708"/>
                  </a:cubicBezTo>
                  <a:cubicBezTo>
                    <a:pt x="186002" y="623867"/>
                    <a:pt x="186002" y="632026"/>
                    <a:pt x="186002" y="637465"/>
                  </a:cubicBezTo>
                  <a:cubicBezTo>
                    <a:pt x="186002" y="645624"/>
                    <a:pt x="183283" y="656502"/>
                    <a:pt x="183283" y="664661"/>
                  </a:cubicBezTo>
                  <a:cubicBezTo>
                    <a:pt x="202320" y="664661"/>
                    <a:pt x="218638" y="664661"/>
                    <a:pt x="226797" y="664661"/>
                  </a:cubicBezTo>
                  <a:cubicBezTo>
                    <a:pt x="234956" y="664661"/>
                    <a:pt x="253994" y="664661"/>
                    <a:pt x="253994" y="680979"/>
                  </a:cubicBezTo>
                  <a:cubicBezTo>
                    <a:pt x="253994" y="689138"/>
                    <a:pt x="253994" y="691858"/>
                    <a:pt x="248554" y="697297"/>
                  </a:cubicBezTo>
                  <a:cubicBezTo>
                    <a:pt x="245835" y="702737"/>
                    <a:pt x="240395" y="705456"/>
                    <a:pt x="234956" y="705456"/>
                  </a:cubicBezTo>
                  <a:cubicBezTo>
                    <a:pt x="226797" y="708176"/>
                    <a:pt x="224077" y="708176"/>
                    <a:pt x="218638" y="708176"/>
                  </a:cubicBezTo>
                  <a:cubicBezTo>
                    <a:pt x="215918" y="708176"/>
                    <a:pt x="199600" y="708176"/>
                    <a:pt x="183283" y="708176"/>
                  </a:cubicBezTo>
                  <a:cubicBezTo>
                    <a:pt x="166965" y="708176"/>
                    <a:pt x="153366" y="708176"/>
                    <a:pt x="150647" y="708176"/>
                  </a:cubicBezTo>
                  <a:cubicBezTo>
                    <a:pt x="139768" y="708176"/>
                    <a:pt x="120730" y="708176"/>
                    <a:pt x="107132" y="708176"/>
                  </a:cubicBezTo>
                  <a:cubicBezTo>
                    <a:pt x="101693" y="708176"/>
                    <a:pt x="96253" y="708176"/>
                    <a:pt x="88094" y="708176"/>
                  </a:cubicBezTo>
                  <a:cubicBezTo>
                    <a:pt x="82655" y="708176"/>
                    <a:pt x="74496" y="708176"/>
                    <a:pt x="69057" y="702737"/>
                  </a:cubicBezTo>
                  <a:cubicBezTo>
                    <a:pt x="63618" y="700017"/>
                    <a:pt x="58178" y="691858"/>
                    <a:pt x="58178" y="686419"/>
                  </a:cubicBezTo>
                  <a:cubicBezTo>
                    <a:pt x="58178" y="683699"/>
                    <a:pt x="58178" y="680979"/>
                    <a:pt x="60898" y="678260"/>
                  </a:cubicBezTo>
                  <a:cubicBezTo>
                    <a:pt x="63618" y="675540"/>
                    <a:pt x="71777" y="672820"/>
                    <a:pt x="77216" y="670101"/>
                  </a:cubicBezTo>
                  <a:cubicBezTo>
                    <a:pt x="90814" y="667381"/>
                    <a:pt x="115291" y="664661"/>
                    <a:pt x="120730" y="664661"/>
                  </a:cubicBezTo>
                  <a:cubicBezTo>
                    <a:pt x="123450" y="664661"/>
                    <a:pt x="126170" y="664661"/>
                    <a:pt x="131609" y="664661"/>
                  </a:cubicBezTo>
                  <a:cubicBezTo>
                    <a:pt x="131609" y="623867"/>
                    <a:pt x="134329" y="583072"/>
                    <a:pt x="134329" y="539557"/>
                  </a:cubicBezTo>
                  <a:cubicBezTo>
                    <a:pt x="134329" y="528679"/>
                    <a:pt x="134329" y="515080"/>
                    <a:pt x="134329" y="504202"/>
                  </a:cubicBezTo>
                  <a:cubicBezTo>
                    <a:pt x="131609" y="460687"/>
                    <a:pt x="131609" y="417173"/>
                    <a:pt x="131609" y="376378"/>
                  </a:cubicBezTo>
                  <a:cubicBezTo>
                    <a:pt x="131609" y="351901"/>
                    <a:pt x="131609" y="327424"/>
                    <a:pt x="131609" y="302947"/>
                  </a:cubicBezTo>
                  <a:cubicBezTo>
                    <a:pt x="131609" y="275751"/>
                    <a:pt x="131609" y="248554"/>
                    <a:pt x="134329" y="221357"/>
                  </a:cubicBezTo>
                  <a:cubicBezTo>
                    <a:pt x="134329" y="188722"/>
                    <a:pt x="137048" y="156086"/>
                    <a:pt x="137048" y="123450"/>
                  </a:cubicBezTo>
                  <a:cubicBezTo>
                    <a:pt x="126170" y="123450"/>
                    <a:pt x="115291" y="123450"/>
                    <a:pt x="107132" y="123450"/>
                  </a:cubicBezTo>
                  <a:cubicBezTo>
                    <a:pt x="101693" y="123450"/>
                    <a:pt x="96253" y="123450"/>
                    <a:pt x="88094" y="123450"/>
                  </a:cubicBezTo>
                  <a:cubicBezTo>
                    <a:pt x="82655" y="123450"/>
                    <a:pt x="74496" y="120730"/>
                    <a:pt x="69057" y="118011"/>
                  </a:cubicBezTo>
                  <a:cubicBezTo>
                    <a:pt x="63618" y="115291"/>
                    <a:pt x="58178" y="107132"/>
                    <a:pt x="58178" y="101693"/>
                  </a:cubicBezTo>
                  <a:cubicBezTo>
                    <a:pt x="58178" y="98973"/>
                    <a:pt x="58178" y="96253"/>
                    <a:pt x="60898" y="93534"/>
                  </a:cubicBezTo>
                  <a:cubicBezTo>
                    <a:pt x="63618" y="90814"/>
                    <a:pt x="71777" y="88095"/>
                    <a:pt x="77216" y="85375"/>
                  </a:cubicBezTo>
                  <a:cubicBezTo>
                    <a:pt x="90814" y="82655"/>
                    <a:pt x="126170" y="79936"/>
                    <a:pt x="131609" y="79936"/>
                  </a:cubicBezTo>
                  <a:cubicBezTo>
                    <a:pt x="137048" y="79936"/>
                    <a:pt x="147927" y="79936"/>
                    <a:pt x="161525" y="79936"/>
                  </a:cubicBezTo>
                  <a:cubicBezTo>
                    <a:pt x="166965" y="74496"/>
                    <a:pt x="172404" y="71776"/>
                    <a:pt x="177843" y="66337"/>
                  </a:cubicBezTo>
                  <a:cubicBezTo>
                    <a:pt x="186002" y="60898"/>
                    <a:pt x="194161" y="58178"/>
                    <a:pt x="202320" y="58178"/>
                  </a:cubicBezTo>
                  <a:cubicBezTo>
                    <a:pt x="215918" y="58178"/>
                    <a:pt x="226797" y="63618"/>
                    <a:pt x="234956" y="77216"/>
                  </a:cubicBezTo>
                  <a:cubicBezTo>
                    <a:pt x="240395" y="88095"/>
                    <a:pt x="248554" y="96253"/>
                    <a:pt x="251274" y="107132"/>
                  </a:cubicBezTo>
                  <a:cubicBezTo>
                    <a:pt x="256713" y="120730"/>
                    <a:pt x="259433" y="134329"/>
                    <a:pt x="267592" y="147927"/>
                  </a:cubicBezTo>
                  <a:cubicBezTo>
                    <a:pt x="273031" y="158806"/>
                    <a:pt x="275751" y="172404"/>
                    <a:pt x="281190" y="183282"/>
                  </a:cubicBezTo>
                  <a:cubicBezTo>
                    <a:pt x="286630" y="196881"/>
                    <a:pt x="292069" y="210479"/>
                    <a:pt x="297508" y="224077"/>
                  </a:cubicBezTo>
                  <a:cubicBezTo>
                    <a:pt x="300228" y="237676"/>
                    <a:pt x="305667" y="251274"/>
                    <a:pt x="308387" y="264872"/>
                  </a:cubicBezTo>
                  <a:cubicBezTo>
                    <a:pt x="311107" y="278470"/>
                    <a:pt x="311107" y="289349"/>
                    <a:pt x="319265" y="300228"/>
                  </a:cubicBezTo>
                  <a:cubicBezTo>
                    <a:pt x="332864" y="324704"/>
                    <a:pt x="346462" y="351901"/>
                    <a:pt x="351901" y="379098"/>
                  </a:cubicBezTo>
                  <a:cubicBezTo>
                    <a:pt x="354621" y="392696"/>
                    <a:pt x="360060" y="403575"/>
                    <a:pt x="365500" y="417173"/>
                  </a:cubicBezTo>
                  <a:cubicBezTo>
                    <a:pt x="373659" y="430771"/>
                    <a:pt x="373659" y="444369"/>
                    <a:pt x="379098" y="457968"/>
                  </a:cubicBezTo>
                  <a:cubicBezTo>
                    <a:pt x="381818" y="471566"/>
                    <a:pt x="387257" y="482445"/>
                    <a:pt x="395416" y="496043"/>
                  </a:cubicBezTo>
                  <a:cubicBezTo>
                    <a:pt x="398136" y="501482"/>
                    <a:pt x="403575" y="506921"/>
                    <a:pt x="406295" y="512361"/>
                  </a:cubicBezTo>
                  <a:cubicBezTo>
                    <a:pt x="409014" y="517800"/>
                    <a:pt x="409014" y="525959"/>
                    <a:pt x="411734" y="531398"/>
                  </a:cubicBezTo>
                  <a:cubicBezTo>
                    <a:pt x="414454" y="539557"/>
                    <a:pt x="417173" y="550436"/>
                    <a:pt x="419893" y="558595"/>
                  </a:cubicBezTo>
                  <a:cubicBezTo>
                    <a:pt x="422613" y="561314"/>
                    <a:pt x="422613" y="564034"/>
                    <a:pt x="425332" y="564034"/>
                  </a:cubicBezTo>
                  <a:cubicBezTo>
                    <a:pt x="428052" y="564034"/>
                    <a:pt x="428052" y="561314"/>
                    <a:pt x="430771" y="558595"/>
                  </a:cubicBezTo>
                  <a:cubicBezTo>
                    <a:pt x="430771" y="555875"/>
                    <a:pt x="430771" y="553156"/>
                    <a:pt x="430771" y="550436"/>
                  </a:cubicBezTo>
                  <a:cubicBezTo>
                    <a:pt x="430771" y="534118"/>
                    <a:pt x="430771" y="517800"/>
                    <a:pt x="430771" y="501482"/>
                  </a:cubicBezTo>
                  <a:cubicBezTo>
                    <a:pt x="430771" y="468846"/>
                    <a:pt x="433491" y="436210"/>
                    <a:pt x="430771" y="403575"/>
                  </a:cubicBezTo>
                  <a:cubicBezTo>
                    <a:pt x="430771" y="373658"/>
                    <a:pt x="425332" y="343742"/>
                    <a:pt x="425332" y="313826"/>
                  </a:cubicBezTo>
                  <a:cubicBezTo>
                    <a:pt x="425332" y="292069"/>
                    <a:pt x="425332" y="270311"/>
                    <a:pt x="425332" y="248554"/>
                  </a:cubicBezTo>
                  <a:cubicBezTo>
                    <a:pt x="425332" y="234956"/>
                    <a:pt x="425332" y="224077"/>
                    <a:pt x="425332" y="210479"/>
                  </a:cubicBezTo>
                  <a:cubicBezTo>
                    <a:pt x="425332" y="191441"/>
                    <a:pt x="422613" y="172404"/>
                    <a:pt x="422613" y="153366"/>
                  </a:cubicBezTo>
                  <a:cubicBezTo>
                    <a:pt x="422613" y="142488"/>
                    <a:pt x="422613" y="134329"/>
                    <a:pt x="425332" y="123450"/>
                  </a:cubicBezTo>
                  <a:cubicBezTo>
                    <a:pt x="417173" y="123450"/>
                    <a:pt x="406295" y="123450"/>
                    <a:pt x="398136" y="123450"/>
                  </a:cubicBezTo>
                  <a:cubicBezTo>
                    <a:pt x="392696" y="123450"/>
                    <a:pt x="387257" y="123450"/>
                    <a:pt x="379098" y="123450"/>
                  </a:cubicBezTo>
                  <a:cubicBezTo>
                    <a:pt x="373659" y="123450"/>
                    <a:pt x="365500" y="120730"/>
                    <a:pt x="360060" y="118011"/>
                  </a:cubicBezTo>
                  <a:cubicBezTo>
                    <a:pt x="354621" y="115291"/>
                    <a:pt x="349182" y="107132"/>
                    <a:pt x="349182" y="101693"/>
                  </a:cubicBezTo>
                  <a:cubicBezTo>
                    <a:pt x="349182" y="98973"/>
                    <a:pt x="349182" y="96253"/>
                    <a:pt x="351901" y="93534"/>
                  </a:cubicBezTo>
                  <a:cubicBezTo>
                    <a:pt x="354621" y="90814"/>
                    <a:pt x="362780" y="88095"/>
                    <a:pt x="368219" y="85375"/>
                  </a:cubicBezTo>
                  <a:cubicBezTo>
                    <a:pt x="381818" y="82655"/>
                    <a:pt x="417173" y="79936"/>
                    <a:pt x="422613" y="79936"/>
                  </a:cubicBezTo>
                  <a:cubicBezTo>
                    <a:pt x="428052" y="79936"/>
                    <a:pt x="433491" y="79936"/>
                    <a:pt x="444370" y="79936"/>
                  </a:cubicBezTo>
                  <a:cubicBezTo>
                    <a:pt x="449809" y="74496"/>
                    <a:pt x="455248" y="71776"/>
                    <a:pt x="463407" y="71776"/>
                  </a:cubicBezTo>
                  <a:cubicBezTo>
                    <a:pt x="471566" y="71776"/>
                    <a:pt x="477006" y="74496"/>
                    <a:pt x="477006" y="79936"/>
                  </a:cubicBezTo>
                  <a:cubicBezTo>
                    <a:pt x="490604" y="82655"/>
                    <a:pt x="504202" y="79936"/>
                    <a:pt x="512361" y="79936"/>
                  </a:cubicBezTo>
                  <a:lnTo>
                    <a:pt x="512361" y="79936"/>
                  </a:ln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: Shape 38">
              <a:extLst>
                <a:ext uri="{FF2B5EF4-FFF2-40B4-BE49-F238E27FC236}">
                  <a16:creationId xmlns:a16="http://schemas.microsoft.com/office/drawing/2014/main" id="{9B1C02FF-90CC-4831-BAE5-A86D10791FC1}"/>
                </a:ext>
              </a:extLst>
            </p:cNvPr>
            <p:cNvSpPr/>
            <p:nvPr/>
          </p:nvSpPr>
          <p:spPr>
            <a:xfrm>
              <a:off x="2987430" y="4242177"/>
              <a:ext cx="494979" cy="674476"/>
            </a:xfrm>
            <a:custGeom>
              <a:avLst/>
              <a:gdLst>
                <a:gd name="connsiteX0" fmla="*/ 228453 w 494979"/>
                <a:gd name="connsiteY0" fmla="*/ 97907 h 674476"/>
                <a:gd name="connsiteX1" fmla="*/ 212135 w 494979"/>
                <a:gd name="connsiteY1" fmla="*/ 119665 h 674476"/>
                <a:gd name="connsiteX2" fmla="*/ 203976 w 494979"/>
                <a:gd name="connsiteY2" fmla="*/ 152300 h 674476"/>
                <a:gd name="connsiteX3" fmla="*/ 201256 w 494979"/>
                <a:gd name="connsiteY3" fmla="*/ 168618 h 674476"/>
                <a:gd name="connsiteX4" fmla="*/ 198537 w 494979"/>
                <a:gd name="connsiteY4" fmla="*/ 184936 h 674476"/>
                <a:gd name="connsiteX5" fmla="*/ 190378 w 494979"/>
                <a:gd name="connsiteY5" fmla="*/ 220292 h 674476"/>
                <a:gd name="connsiteX6" fmla="*/ 171340 w 494979"/>
                <a:gd name="connsiteY6" fmla="*/ 291003 h 674476"/>
                <a:gd name="connsiteX7" fmla="*/ 163180 w 494979"/>
                <a:gd name="connsiteY7" fmla="*/ 323639 h 674476"/>
                <a:gd name="connsiteX8" fmla="*/ 152302 w 494979"/>
                <a:gd name="connsiteY8" fmla="*/ 361714 h 674476"/>
                <a:gd name="connsiteX9" fmla="*/ 146862 w 494979"/>
                <a:gd name="connsiteY9" fmla="*/ 388910 h 674476"/>
                <a:gd name="connsiteX10" fmla="*/ 152302 w 494979"/>
                <a:gd name="connsiteY10" fmla="*/ 391630 h 674476"/>
                <a:gd name="connsiteX11" fmla="*/ 174060 w 494979"/>
                <a:gd name="connsiteY11" fmla="*/ 391630 h 674476"/>
                <a:gd name="connsiteX12" fmla="*/ 195817 w 494979"/>
                <a:gd name="connsiteY12" fmla="*/ 388910 h 674476"/>
                <a:gd name="connsiteX13" fmla="*/ 214855 w 494979"/>
                <a:gd name="connsiteY13" fmla="*/ 388910 h 674476"/>
                <a:gd name="connsiteX14" fmla="*/ 239332 w 494979"/>
                <a:gd name="connsiteY14" fmla="*/ 388910 h 674476"/>
                <a:gd name="connsiteX15" fmla="*/ 252930 w 494979"/>
                <a:gd name="connsiteY15" fmla="*/ 386191 h 674476"/>
                <a:gd name="connsiteX16" fmla="*/ 261089 w 494979"/>
                <a:gd name="connsiteY16" fmla="*/ 386191 h 674476"/>
                <a:gd name="connsiteX17" fmla="*/ 258369 w 494979"/>
                <a:gd name="connsiteY17" fmla="*/ 367153 h 674476"/>
                <a:gd name="connsiteX18" fmla="*/ 252930 w 494979"/>
                <a:gd name="connsiteY18" fmla="*/ 331797 h 674476"/>
                <a:gd name="connsiteX19" fmla="*/ 250210 w 494979"/>
                <a:gd name="connsiteY19" fmla="*/ 244769 h 674476"/>
                <a:gd name="connsiteX20" fmla="*/ 244771 w 494979"/>
                <a:gd name="connsiteY20" fmla="*/ 203974 h 674476"/>
                <a:gd name="connsiteX21" fmla="*/ 239332 w 494979"/>
                <a:gd name="connsiteY21" fmla="*/ 157740 h 674476"/>
                <a:gd name="connsiteX22" fmla="*/ 236612 w 494979"/>
                <a:gd name="connsiteY22" fmla="*/ 119665 h 674476"/>
                <a:gd name="connsiteX23" fmla="*/ 228453 w 494979"/>
                <a:gd name="connsiteY23" fmla="*/ 97907 h 674476"/>
                <a:gd name="connsiteX24" fmla="*/ 274687 w 494979"/>
                <a:gd name="connsiteY24" fmla="*/ 0 h 674476"/>
                <a:gd name="connsiteX25" fmla="*/ 304603 w 494979"/>
                <a:gd name="connsiteY25" fmla="*/ 5439 h 674476"/>
                <a:gd name="connsiteX26" fmla="*/ 320921 w 494979"/>
                <a:gd name="connsiteY26" fmla="*/ 24477 h 674476"/>
                <a:gd name="connsiteX27" fmla="*/ 334519 w 494979"/>
                <a:gd name="connsiteY27" fmla="*/ 43515 h 674476"/>
                <a:gd name="connsiteX28" fmla="*/ 339959 w 494979"/>
                <a:gd name="connsiteY28" fmla="*/ 65272 h 674476"/>
                <a:gd name="connsiteX29" fmla="*/ 348118 w 494979"/>
                <a:gd name="connsiteY29" fmla="*/ 114226 h 674476"/>
                <a:gd name="connsiteX30" fmla="*/ 361716 w 494979"/>
                <a:gd name="connsiteY30" fmla="*/ 163180 h 674476"/>
                <a:gd name="connsiteX31" fmla="*/ 369875 w 494979"/>
                <a:gd name="connsiteY31" fmla="*/ 220293 h 674476"/>
                <a:gd name="connsiteX32" fmla="*/ 378034 w 494979"/>
                <a:gd name="connsiteY32" fmla="*/ 274686 h 674476"/>
                <a:gd name="connsiteX33" fmla="*/ 383473 w 494979"/>
                <a:gd name="connsiteY33" fmla="*/ 301883 h 674476"/>
                <a:gd name="connsiteX34" fmla="*/ 391632 w 494979"/>
                <a:gd name="connsiteY34" fmla="*/ 337238 h 674476"/>
                <a:gd name="connsiteX35" fmla="*/ 397071 w 494979"/>
                <a:gd name="connsiteY35" fmla="*/ 364435 h 674476"/>
                <a:gd name="connsiteX36" fmla="*/ 405230 w 494979"/>
                <a:gd name="connsiteY36" fmla="*/ 383473 h 674476"/>
                <a:gd name="connsiteX37" fmla="*/ 416109 w 494979"/>
                <a:gd name="connsiteY37" fmla="*/ 386192 h 674476"/>
                <a:gd name="connsiteX38" fmla="*/ 426988 w 494979"/>
                <a:gd name="connsiteY38" fmla="*/ 386192 h 674476"/>
                <a:gd name="connsiteX39" fmla="*/ 454184 w 494979"/>
                <a:gd name="connsiteY39" fmla="*/ 397071 h 674476"/>
                <a:gd name="connsiteX40" fmla="*/ 456904 w 494979"/>
                <a:gd name="connsiteY40" fmla="*/ 405230 h 674476"/>
                <a:gd name="connsiteX41" fmla="*/ 451465 w 494979"/>
                <a:gd name="connsiteY41" fmla="*/ 416108 h 674476"/>
                <a:gd name="connsiteX42" fmla="*/ 432427 w 494979"/>
                <a:gd name="connsiteY42" fmla="*/ 429707 h 674476"/>
                <a:gd name="connsiteX43" fmla="*/ 421548 w 494979"/>
                <a:gd name="connsiteY43" fmla="*/ 432426 h 674476"/>
                <a:gd name="connsiteX44" fmla="*/ 413389 w 494979"/>
                <a:gd name="connsiteY44" fmla="*/ 435146 h 674476"/>
                <a:gd name="connsiteX45" fmla="*/ 413389 w 494979"/>
                <a:gd name="connsiteY45" fmla="*/ 440585 h 674476"/>
                <a:gd name="connsiteX46" fmla="*/ 416109 w 494979"/>
                <a:gd name="connsiteY46" fmla="*/ 451464 h 674476"/>
                <a:gd name="connsiteX47" fmla="*/ 418829 w 494979"/>
                <a:gd name="connsiteY47" fmla="*/ 465062 h 674476"/>
                <a:gd name="connsiteX48" fmla="*/ 418829 w 494979"/>
                <a:gd name="connsiteY48" fmla="*/ 475941 h 674476"/>
                <a:gd name="connsiteX49" fmla="*/ 418829 w 494979"/>
                <a:gd name="connsiteY49" fmla="*/ 486820 h 674476"/>
                <a:gd name="connsiteX50" fmla="*/ 426988 w 494979"/>
                <a:gd name="connsiteY50" fmla="*/ 516736 h 674476"/>
                <a:gd name="connsiteX51" fmla="*/ 432427 w 494979"/>
                <a:gd name="connsiteY51" fmla="*/ 543932 h 674476"/>
                <a:gd name="connsiteX52" fmla="*/ 437866 w 494979"/>
                <a:gd name="connsiteY52" fmla="*/ 573848 h 674476"/>
                <a:gd name="connsiteX53" fmla="*/ 443306 w 494979"/>
                <a:gd name="connsiteY53" fmla="*/ 606484 h 674476"/>
                <a:gd name="connsiteX54" fmla="*/ 446025 w 494979"/>
                <a:gd name="connsiteY54" fmla="*/ 617363 h 674476"/>
                <a:gd name="connsiteX55" fmla="*/ 470502 w 494979"/>
                <a:gd name="connsiteY55" fmla="*/ 617363 h 674476"/>
                <a:gd name="connsiteX56" fmla="*/ 494979 w 494979"/>
                <a:gd name="connsiteY56" fmla="*/ 641840 h 674476"/>
                <a:gd name="connsiteX57" fmla="*/ 486820 w 494979"/>
                <a:gd name="connsiteY57" fmla="*/ 655438 h 674476"/>
                <a:gd name="connsiteX58" fmla="*/ 470502 w 494979"/>
                <a:gd name="connsiteY58" fmla="*/ 663597 h 674476"/>
                <a:gd name="connsiteX59" fmla="*/ 446025 w 494979"/>
                <a:gd name="connsiteY59" fmla="*/ 666317 h 674476"/>
                <a:gd name="connsiteX60" fmla="*/ 424268 w 494979"/>
                <a:gd name="connsiteY60" fmla="*/ 666317 h 674476"/>
                <a:gd name="connsiteX61" fmla="*/ 416109 w 494979"/>
                <a:gd name="connsiteY61" fmla="*/ 666317 h 674476"/>
                <a:gd name="connsiteX62" fmla="*/ 402511 w 494979"/>
                <a:gd name="connsiteY62" fmla="*/ 671756 h 674476"/>
                <a:gd name="connsiteX63" fmla="*/ 386193 w 494979"/>
                <a:gd name="connsiteY63" fmla="*/ 674476 h 674476"/>
                <a:gd name="connsiteX64" fmla="*/ 350837 w 494979"/>
                <a:gd name="connsiteY64" fmla="*/ 669036 h 674476"/>
                <a:gd name="connsiteX65" fmla="*/ 329080 w 494979"/>
                <a:gd name="connsiteY65" fmla="*/ 669036 h 674476"/>
                <a:gd name="connsiteX66" fmla="*/ 280126 w 494979"/>
                <a:gd name="connsiteY66" fmla="*/ 669036 h 674476"/>
                <a:gd name="connsiteX67" fmla="*/ 255649 w 494979"/>
                <a:gd name="connsiteY67" fmla="*/ 663597 h 674476"/>
                <a:gd name="connsiteX68" fmla="*/ 239331 w 494979"/>
                <a:gd name="connsiteY68" fmla="*/ 647279 h 674476"/>
                <a:gd name="connsiteX69" fmla="*/ 263808 w 494979"/>
                <a:gd name="connsiteY69" fmla="*/ 630961 h 674476"/>
                <a:gd name="connsiteX70" fmla="*/ 291005 w 494979"/>
                <a:gd name="connsiteY70" fmla="*/ 628241 h 674476"/>
                <a:gd name="connsiteX71" fmla="*/ 288285 w 494979"/>
                <a:gd name="connsiteY71" fmla="*/ 609204 h 674476"/>
                <a:gd name="connsiteX72" fmla="*/ 285565 w 494979"/>
                <a:gd name="connsiteY72" fmla="*/ 582007 h 674476"/>
                <a:gd name="connsiteX73" fmla="*/ 282846 w 494979"/>
                <a:gd name="connsiteY73" fmla="*/ 568409 h 674476"/>
                <a:gd name="connsiteX74" fmla="*/ 285565 w 494979"/>
                <a:gd name="connsiteY74" fmla="*/ 554811 h 674476"/>
                <a:gd name="connsiteX75" fmla="*/ 280126 w 494979"/>
                <a:gd name="connsiteY75" fmla="*/ 538493 h 674476"/>
                <a:gd name="connsiteX76" fmla="*/ 274687 w 494979"/>
                <a:gd name="connsiteY76" fmla="*/ 505857 h 674476"/>
                <a:gd name="connsiteX77" fmla="*/ 271967 w 494979"/>
                <a:gd name="connsiteY77" fmla="*/ 478660 h 674476"/>
                <a:gd name="connsiteX78" fmla="*/ 269247 w 494979"/>
                <a:gd name="connsiteY78" fmla="*/ 446025 h 674476"/>
                <a:gd name="connsiteX79" fmla="*/ 263808 w 494979"/>
                <a:gd name="connsiteY79" fmla="*/ 437866 h 674476"/>
                <a:gd name="connsiteX80" fmla="*/ 252929 w 494979"/>
                <a:gd name="connsiteY80" fmla="*/ 437866 h 674476"/>
                <a:gd name="connsiteX81" fmla="*/ 223013 w 494979"/>
                <a:gd name="connsiteY81" fmla="*/ 440585 h 674476"/>
                <a:gd name="connsiteX82" fmla="*/ 193097 w 494979"/>
                <a:gd name="connsiteY82" fmla="*/ 443305 h 674476"/>
                <a:gd name="connsiteX83" fmla="*/ 168620 w 494979"/>
                <a:gd name="connsiteY83" fmla="*/ 443305 h 674476"/>
                <a:gd name="connsiteX84" fmla="*/ 146862 w 494979"/>
                <a:gd name="connsiteY84" fmla="*/ 440585 h 674476"/>
                <a:gd name="connsiteX85" fmla="*/ 138703 w 494979"/>
                <a:gd name="connsiteY85" fmla="*/ 454184 h 674476"/>
                <a:gd name="connsiteX86" fmla="*/ 133263 w 494979"/>
                <a:gd name="connsiteY86" fmla="*/ 486820 h 674476"/>
                <a:gd name="connsiteX87" fmla="*/ 122385 w 494979"/>
                <a:gd name="connsiteY87" fmla="*/ 541213 h 674476"/>
                <a:gd name="connsiteX88" fmla="*/ 106067 w 494979"/>
                <a:gd name="connsiteY88" fmla="*/ 614643 h 674476"/>
                <a:gd name="connsiteX89" fmla="*/ 135983 w 494979"/>
                <a:gd name="connsiteY89" fmla="*/ 614643 h 674476"/>
                <a:gd name="connsiteX90" fmla="*/ 171340 w 494979"/>
                <a:gd name="connsiteY90" fmla="*/ 630961 h 674476"/>
                <a:gd name="connsiteX91" fmla="*/ 165900 w 494979"/>
                <a:gd name="connsiteY91" fmla="*/ 647279 h 674476"/>
                <a:gd name="connsiteX92" fmla="*/ 149581 w 494979"/>
                <a:gd name="connsiteY92" fmla="*/ 655438 h 674476"/>
                <a:gd name="connsiteX93" fmla="*/ 127824 w 494979"/>
                <a:gd name="connsiteY93" fmla="*/ 658158 h 674476"/>
                <a:gd name="connsiteX94" fmla="*/ 106067 w 494979"/>
                <a:gd name="connsiteY94" fmla="*/ 658158 h 674476"/>
                <a:gd name="connsiteX95" fmla="*/ 62552 w 494979"/>
                <a:gd name="connsiteY95" fmla="*/ 658158 h 674476"/>
                <a:gd name="connsiteX96" fmla="*/ 40795 w 494979"/>
                <a:gd name="connsiteY96" fmla="*/ 658158 h 674476"/>
                <a:gd name="connsiteX97" fmla="*/ 16318 w 494979"/>
                <a:gd name="connsiteY97" fmla="*/ 652718 h 674476"/>
                <a:gd name="connsiteX98" fmla="*/ 0 w 494979"/>
                <a:gd name="connsiteY98" fmla="*/ 636401 h 674476"/>
                <a:gd name="connsiteX99" fmla="*/ 2720 w 494979"/>
                <a:gd name="connsiteY99" fmla="*/ 628241 h 674476"/>
                <a:gd name="connsiteX100" fmla="*/ 24477 w 494979"/>
                <a:gd name="connsiteY100" fmla="*/ 620082 h 674476"/>
                <a:gd name="connsiteX101" fmla="*/ 62552 w 494979"/>
                <a:gd name="connsiteY101" fmla="*/ 617363 h 674476"/>
                <a:gd name="connsiteX102" fmla="*/ 62552 w 494979"/>
                <a:gd name="connsiteY102" fmla="*/ 614643 h 674476"/>
                <a:gd name="connsiteX103" fmla="*/ 65272 w 494979"/>
                <a:gd name="connsiteY103" fmla="*/ 587447 h 674476"/>
                <a:gd name="connsiteX104" fmla="*/ 76151 w 494979"/>
                <a:gd name="connsiteY104" fmla="*/ 522175 h 674476"/>
                <a:gd name="connsiteX105" fmla="*/ 87029 w 494979"/>
                <a:gd name="connsiteY105" fmla="*/ 470501 h 674476"/>
                <a:gd name="connsiteX106" fmla="*/ 92469 w 494979"/>
                <a:gd name="connsiteY106" fmla="*/ 446025 h 674476"/>
                <a:gd name="connsiteX107" fmla="*/ 65272 w 494979"/>
                <a:gd name="connsiteY107" fmla="*/ 432426 h 674476"/>
                <a:gd name="connsiteX108" fmla="*/ 54393 w 494979"/>
                <a:gd name="connsiteY108" fmla="*/ 421548 h 674476"/>
                <a:gd name="connsiteX109" fmla="*/ 73431 w 494979"/>
                <a:gd name="connsiteY109" fmla="*/ 407949 h 674476"/>
                <a:gd name="connsiteX110" fmla="*/ 100628 w 494979"/>
                <a:gd name="connsiteY110" fmla="*/ 399790 h 674476"/>
                <a:gd name="connsiteX111" fmla="*/ 108787 w 494979"/>
                <a:gd name="connsiteY111" fmla="*/ 369874 h 674476"/>
                <a:gd name="connsiteX112" fmla="*/ 125105 w 494979"/>
                <a:gd name="connsiteY112" fmla="*/ 307322 h 674476"/>
                <a:gd name="connsiteX113" fmla="*/ 141423 w 494979"/>
                <a:gd name="connsiteY113" fmla="*/ 242051 h 674476"/>
                <a:gd name="connsiteX114" fmla="*/ 155021 w 494979"/>
                <a:gd name="connsiteY114" fmla="*/ 179498 h 674476"/>
                <a:gd name="connsiteX115" fmla="*/ 168620 w 494979"/>
                <a:gd name="connsiteY115" fmla="*/ 119665 h 674476"/>
                <a:gd name="connsiteX116" fmla="*/ 193097 w 494979"/>
                <a:gd name="connsiteY116" fmla="*/ 57113 h 674476"/>
                <a:gd name="connsiteX117" fmla="*/ 201256 w 494979"/>
                <a:gd name="connsiteY117" fmla="*/ 38075 h 674476"/>
                <a:gd name="connsiteX118" fmla="*/ 217574 w 494979"/>
                <a:gd name="connsiteY118" fmla="*/ 13598 h 674476"/>
                <a:gd name="connsiteX119" fmla="*/ 274687 w 494979"/>
                <a:gd name="connsiteY119" fmla="*/ 0 h 6744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</a:cxnLst>
              <a:rect l="l" t="t" r="r" b="b"/>
              <a:pathLst>
                <a:path w="494979" h="674476">
                  <a:moveTo>
                    <a:pt x="228453" y="97907"/>
                  </a:moveTo>
                  <a:cubicBezTo>
                    <a:pt x="220294" y="97907"/>
                    <a:pt x="212135" y="114225"/>
                    <a:pt x="212135" y="119665"/>
                  </a:cubicBezTo>
                  <a:cubicBezTo>
                    <a:pt x="209415" y="130543"/>
                    <a:pt x="206696" y="144141"/>
                    <a:pt x="203976" y="152300"/>
                  </a:cubicBezTo>
                  <a:cubicBezTo>
                    <a:pt x="201256" y="157740"/>
                    <a:pt x="201256" y="163179"/>
                    <a:pt x="201256" y="168618"/>
                  </a:cubicBezTo>
                  <a:cubicBezTo>
                    <a:pt x="201256" y="174058"/>
                    <a:pt x="198537" y="179497"/>
                    <a:pt x="198537" y="184936"/>
                  </a:cubicBezTo>
                  <a:cubicBezTo>
                    <a:pt x="195817" y="195815"/>
                    <a:pt x="193097" y="209413"/>
                    <a:pt x="190378" y="220292"/>
                  </a:cubicBezTo>
                  <a:cubicBezTo>
                    <a:pt x="187658" y="244769"/>
                    <a:pt x="179499" y="269246"/>
                    <a:pt x="171340" y="291003"/>
                  </a:cubicBezTo>
                  <a:cubicBezTo>
                    <a:pt x="168620" y="301881"/>
                    <a:pt x="165900" y="312760"/>
                    <a:pt x="163180" y="323639"/>
                  </a:cubicBezTo>
                  <a:cubicBezTo>
                    <a:pt x="160461" y="337237"/>
                    <a:pt x="157741" y="348115"/>
                    <a:pt x="152302" y="361714"/>
                  </a:cubicBezTo>
                  <a:cubicBezTo>
                    <a:pt x="149582" y="367153"/>
                    <a:pt x="146862" y="383471"/>
                    <a:pt x="146862" y="388910"/>
                  </a:cubicBezTo>
                  <a:cubicBezTo>
                    <a:pt x="146862" y="391630"/>
                    <a:pt x="149582" y="391630"/>
                    <a:pt x="152302" y="391630"/>
                  </a:cubicBezTo>
                  <a:cubicBezTo>
                    <a:pt x="157741" y="391630"/>
                    <a:pt x="171340" y="391630"/>
                    <a:pt x="174060" y="391630"/>
                  </a:cubicBezTo>
                  <a:cubicBezTo>
                    <a:pt x="182219" y="391630"/>
                    <a:pt x="190378" y="391630"/>
                    <a:pt x="195817" y="388910"/>
                  </a:cubicBezTo>
                  <a:cubicBezTo>
                    <a:pt x="201256" y="388910"/>
                    <a:pt x="206696" y="388910"/>
                    <a:pt x="214855" y="388910"/>
                  </a:cubicBezTo>
                  <a:cubicBezTo>
                    <a:pt x="220294" y="388910"/>
                    <a:pt x="228453" y="388910"/>
                    <a:pt x="239332" y="388910"/>
                  </a:cubicBezTo>
                  <a:cubicBezTo>
                    <a:pt x="244771" y="388910"/>
                    <a:pt x="250210" y="388910"/>
                    <a:pt x="252930" y="386191"/>
                  </a:cubicBezTo>
                  <a:cubicBezTo>
                    <a:pt x="258369" y="391630"/>
                    <a:pt x="261089" y="388910"/>
                    <a:pt x="261089" y="386191"/>
                  </a:cubicBezTo>
                  <a:cubicBezTo>
                    <a:pt x="261089" y="380751"/>
                    <a:pt x="258369" y="372592"/>
                    <a:pt x="258369" y="367153"/>
                  </a:cubicBezTo>
                  <a:cubicBezTo>
                    <a:pt x="255650" y="353555"/>
                    <a:pt x="252930" y="342676"/>
                    <a:pt x="252930" y="331797"/>
                  </a:cubicBezTo>
                  <a:cubicBezTo>
                    <a:pt x="252930" y="301881"/>
                    <a:pt x="252930" y="274685"/>
                    <a:pt x="250210" y="244769"/>
                  </a:cubicBezTo>
                  <a:cubicBezTo>
                    <a:pt x="250210" y="231170"/>
                    <a:pt x="247491" y="217572"/>
                    <a:pt x="244771" y="203974"/>
                  </a:cubicBezTo>
                  <a:cubicBezTo>
                    <a:pt x="242051" y="187656"/>
                    <a:pt x="239332" y="174058"/>
                    <a:pt x="239332" y="157740"/>
                  </a:cubicBezTo>
                  <a:cubicBezTo>
                    <a:pt x="239332" y="152300"/>
                    <a:pt x="239332" y="133263"/>
                    <a:pt x="236612" y="119665"/>
                  </a:cubicBezTo>
                  <a:cubicBezTo>
                    <a:pt x="236612" y="106066"/>
                    <a:pt x="233892" y="97907"/>
                    <a:pt x="228453" y="97907"/>
                  </a:cubicBezTo>
                  <a:close/>
                  <a:moveTo>
                    <a:pt x="274687" y="0"/>
                  </a:moveTo>
                  <a:cubicBezTo>
                    <a:pt x="288285" y="0"/>
                    <a:pt x="293724" y="2720"/>
                    <a:pt x="304603" y="5439"/>
                  </a:cubicBezTo>
                  <a:cubicBezTo>
                    <a:pt x="315482" y="10879"/>
                    <a:pt x="315482" y="16318"/>
                    <a:pt x="320921" y="24477"/>
                  </a:cubicBezTo>
                  <a:cubicBezTo>
                    <a:pt x="326360" y="29916"/>
                    <a:pt x="331800" y="35356"/>
                    <a:pt x="334519" y="43515"/>
                  </a:cubicBezTo>
                  <a:cubicBezTo>
                    <a:pt x="337239" y="51674"/>
                    <a:pt x="337239" y="57113"/>
                    <a:pt x="339959" y="65272"/>
                  </a:cubicBezTo>
                  <a:cubicBezTo>
                    <a:pt x="345398" y="78870"/>
                    <a:pt x="342678" y="97908"/>
                    <a:pt x="348118" y="114226"/>
                  </a:cubicBezTo>
                  <a:cubicBezTo>
                    <a:pt x="350837" y="130544"/>
                    <a:pt x="358996" y="146863"/>
                    <a:pt x="361716" y="163180"/>
                  </a:cubicBezTo>
                  <a:cubicBezTo>
                    <a:pt x="364435" y="182218"/>
                    <a:pt x="364435" y="201256"/>
                    <a:pt x="369875" y="220293"/>
                  </a:cubicBezTo>
                  <a:cubicBezTo>
                    <a:pt x="375314" y="239331"/>
                    <a:pt x="378034" y="255649"/>
                    <a:pt x="378034" y="274686"/>
                  </a:cubicBezTo>
                  <a:cubicBezTo>
                    <a:pt x="378034" y="282845"/>
                    <a:pt x="380753" y="293724"/>
                    <a:pt x="383473" y="301883"/>
                  </a:cubicBezTo>
                  <a:cubicBezTo>
                    <a:pt x="386193" y="312762"/>
                    <a:pt x="388912" y="326360"/>
                    <a:pt x="391632" y="337238"/>
                  </a:cubicBezTo>
                  <a:cubicBezTo>
                    <a:pt x="391632" y="342678"/>
                    <a:pt x="394352" y="353556"/>
                    <a:pt x="397071" y="364435"/>
                  </a:cubicBezTo>
                  <a:cubicBezTo>
                    <a:pt x="399791" y="372594"/>
                    <a:pt x="402511" y="380753"/>
                    <a:pt x="405230" y="383473"/>
                  </a:cubicBezTo>
                  <a:cubicBezTo>
                    <a:pt x="407950" y="386192"/>
                    <a:pt x="413389" y="386192"/>
                    <a:pt x="416109" y="386192"/>
                  </a:cubicBezTo>
                  <a:cubicBezTo>
                    <a:pt x="418829" y="386192"/>
                    <a:pt x="424268" y="386192"/>
                    <a:pt x="426988" y="386192"/>
                  </a:cubicBezTo>
                  <a:cubicBezTo>
                    <a:pt x="437866" y="386192"/>
                    <a:pt x="448745" y="388912"/>
                    <a:pt x="454184" y="397071"/>
                  </a:cubicBezTo>
                  <a:cubicBezTo>
                    <a:pt x="456904" y="399790"/>
                    <a:pt x="456904" y="402510"/>
                    <a:pt x="456904" y="405230"/>
                  </a:cubicBezTo>
                  <a:cubicBezTo>
                    <a:pt x="456904" y="407949"/>
                    <a:pt x="454184" y="410669"/>
                    <a:pt x="451465" y="416108"/>
                  </a:cubicBezTo>
                  <a:cubicBezTo>
                    <a:pt x="446025" y="421548"/>
                    <a:pt x="440586" y="426987"/>
                    <a:pt x="432427" y="429707"/>
                  </a:cubicBezTo>
                  <a:cubicBezTo>
                    <a:pt x="429707" y="429707"/>
                    <a:pt x="426988" y="432426"/>
                    <a:pt x="421548" y="432426"/>
                  </a:cubicBezTo>
                  <a:cubicBezTo>
                    <a:pt x="418829" y="432426"/>
                    <a:pt x="416109" y="432426"/>
                    <a:pt x="413389" y="435146"/>
                  </a:cubicBezTo>
                  <a:cubicBezTo>
                    <a:pt x="413389" y="435146"/>
                    <a:pt x="413389" y="437866"/>
                    <a:pt x="413389" y="440585"/>
                  </a:cubicBezTo>
                  <a:cubicBezTo>
                    <a:pt x="413389" y="443305"/>
                    <a:pt x="413389" y="448744"/>
                    <a:pt x="416109" y="451464"/>
                  </a:cubicBezTo>
                  <a:cubicBezTo>
                    <a:pt x="416109" y="456903"/>
                    <a:pt x="418829" y="462343"/>
                    <a:pt x="418829" y="465062"/>
                  </a:cubicBezTo>
                  <a:lnTo>
                    <a:pt x="418829" y="475941"/>
                  </a:lnTo>
                  <a:cubicBezTo>
                    <a:pt x="418829" y="481380"/>
                    <a:pt x="418829" y="484100"/>
                    <a:pt x="418829" y="486820"/>
                  </a:cubicBezTo>
                  <a:cubicBezTo>
                    <a:pt x="421548" y="497698"/>
                    <a:pt x="424268" y="505857"/>
                    <a:pt x="426988" y="516736"/>
                  </a:cubicBezTo>
                  <a:cubicBezTo>
                    <a:pt x="426988" y="524895"/>
                    <a:pt x="429707" y="535773"/>
                    <a:pt x="432427" y="543932"/>
                  </a:cubicBezTo>
                  <a:cubicBezTo>
                    <a:pt x="435147" y="554811"/>
                    <a:pt x="437866" y="562970"/>
                    <a:pt x="437866" y="573848"/>
                  </a:cubicBezTo>
                  <a:cubicBezTo>
                    <a:pt x="437866" y="587447"/>
                    <a:pt x="440586" y="595606"/>
                    <a:pt x="443306" y="606484"/>
                  </a:cubicBezTo>
                  <a:cubicBezTo>
                    <a:pt x="443306" y="609204"/>
                    <a:pt x="446025" y="614643"/>
                    <a:pt x="446025" y="617363"/>
                  </a:cubicBezTo>
                  <a:cubicBezTo>
                    <a:pt x="454184" y="617363"/>
                    <a:pt x="462343" y="617363"/>
                    <a:pt x="470502" y="617363"/>
                  </a:cubicBezTo>
                  <a:cubicBezTo>
                    <a:pt x="478661" y="625522"/>
                    <a:pt x="492259" y="630961"/>
                    <a:pt x="494979" y="641840"/>
                  </a:cubicBezTo>
                  <a:cubicBezTo>
                    <a:pt x="494979" y="647279"/>
                    <a:pt x="489540" y="649999"/>
                    <a:pt x="486820" y="655438"/>
                  </a:cubicBezTo>
                  <a:cubicBezTo>
                    <a:pt x="484100" y="660877"/>
                    <a:pt x="475942" y="663597"/>
                    <a:pt x="470502" y="663597"/>
                  </a:cubicBezTo>
                  <a:cubicBezTo>
                    <a:pt x="459623" y="666317"/>
                    <a:pt x="454184" y="666317"/>
                    <a:pt x="446025" y="666317"/>
                  </a:cubicBezTo>
                  <a:cubicBezTo>
                    <a:pt x="440586" y="666317"/>
                    <a:pt x="432427" y="666317"/>
                    <a:pt x="424268" y="666317"/>
                  </a:cubicBezTo>
                  <a:cubicBezTo>
                    <a:pt x="421548" y="666317"/>
                    <a:pt x="418829" y="666317"/>
                    <a:pt x="416109" y="666317"/>
                  </a:cubicBezTo>
                  <a:cubicBezTo>
                    <a:pt x="410670" y="669036"/>
                    <a:pt x="407950" y="669036"/>
                    <a:pt x="402511" y="671756"/>
                  </a:cubicBezTo>
                  <a:cubicBezTo>
                    <a:pt x="397071" y="671756"/>
                    <a:pt x="391632" y="674476"/>
                    <a:pt x="386193" y="674476"/>
                  </a:cubicBezTo>
                  <a:cubicBezTo>
                    <a:pt x="375314" y="674476"/>
                    <a:pt x="361716" y="671756"/>
                    <a:pt x="350837" y="669036"/>
                  </a:cubicBezTo>
                  <a:cubicBezTo>
                    <a:pt x="342678" y="669036"/>
                    <a:pt x="334519" y="669036"/>
                    <a:pt x="329080" y="669036"/>
                  </a:cubicBezTo>
                  <a:cubicBezTo>
                    <a:pt x="307323" y="669036"/>
                    <a:pt x="288285" y="669036"/>
                    <a:pt x="280126" y="669036"/>
                  </a:cubicBezTo>
                  <a:cubicBezTo>
                    <a:pt x="271967" y="669036"/>
                    <a:pt x="261088" y="669036"/>
                    <a:pt x="255649" y="663597"/>
                  </a:cubicBezTo>
                  <a:cubicBezTo>
                    <a:pt x="250210" y="660877"/>
                    <a:pt x="239331" y="655438"/>
                    <a:pt x="239331" y="647279"/>
                  </a:cubicBezTo>
                  <a:cubicBezTo>
                    <a:pt x="239331" y="636401"/>
                    <a:pt x="255649" y="633681"/>
                    <a:pt x="263808" y="630961"/>
                  </a:cubicBezTo>
                  <a:cubicBezTo>
                    <a:pt x="269247" y="630961"/>
                    <a:pt x="277406" y="630961"/>
                    <a:pt x="291005" y="628241"/>
                  </a:cubicBezTo>
                  <a:cubicBezTo>
                    <a:pt x="291005" y="620082"/>
                    <a:pt x="291005" y="614643"/>
                    <a:pt x="288285" y="609204"/>
                  </a:cubicBezTo>
                  <a:cubicBezTo>
                    <a:pt x="288285" y="601045"/>
                    <a:pt x="285565" y="590166"/>
                    <a:pt x="285565" y="582007"/>
                  </a:cubicBezTo>
                  <a:cubicBezTo>
                    <a:pt x="285565" y="576568"/>
                    <a:pt x="282846" y="573848"/>
                    <a:pt x="282846" y="568409"/>
                  </a:cubicBezTo>
                  <a:cubicBezTo>
                    <a:pt x="282846" y="562970"/>
                    <a:pt x="285565" y="557531"/>
                    <a:pt x="285565" y="554811"/>
                  </a:cubicBezTo>
                  <a:cubicBezTo>
                    <a:pt x="285565" y="549371"/>
                    <a:pt x="282846" y="546652"/>
                    <a:pt x="280126" y="538493"/>
                  </a:cubicBezTo>
                  <a:cubicBezTo>
                    <a:pt x="280126" y="527614"/>
                    <a:pt x="274687" y="516736"/>
                    <a:pt x="274687" y="505857"/>
                  </a:cubicBezTo>
                  <a:cubicBezTo>
                    <a:pt x="274687" y="494978"/>
                    <a:pt x="274687" y="486820"/>
                    <a:pt x="271967" y="478660"/>
                  </a:cubicBezTo>
                  <a:cubicBezTo>
                    <a:pt x="269247" y="467782"/>
                    <a:pt x="269247" y="456903"/>
                    <a:pt x="269247" y="446025"/>
                  </a:cubicBezTo>
                  <a:cubicBezTo>
                    <a:pt x="269247" y="440585"/>
                    <a:pt x="266528" y="437866"/>
                    <a:pt x="263808" y="437866"/>
                  </a:cubicBezTo>
                  <a:cubicBezTo>
                    <a:pt x="261088" y="437866"/>
                    <a:pt x="258369" y="437866"/>
                    <a:pt x="252929" y="437866"/>
                  </a:cubicBezTo>
                  <a:cubicBezTo>
                    <a:pt x="242051" y="437866"/>
                    <a:pt x="231172" y="437866"/>
                    <a:pt x="223013" y="440585"/>
                  </a:cubicBezTo>
                  <a:cubicBezTo>
                    <a:pt x="212135" y="440585"/>
                    <a:pt x="203976" y="443305"/>
                    <a:pt x="193097" y="443305"/>
                  </a:cubicBezTo>
                  <a:cubicBezTo>
                    <a:pt x="184938" y="443305"/>
                    <a:pt x="176779" y="443305"/>
                    <a:pt x="168620" y="443305"/>
                  </a:cubicBezTo>
                  <a:cubicBezTo>
                    <a:pt x="165900" y="443305"/>
                    <a:pt x="155021" y="440585"/>
                    <a:pt x="146862" y="440585"/>
                  </a:cubicBezTo>
                  <a:cubicBezTo>
                    <a:pt x="138703" y="440585"/>
                    <a:pt x="138703" y="448744"/>
                    <a:pt x="138703" y="454184"/>
                  </a:cubicBezTo>
                  <a:cubicBezTo>
                    <a:pt x="138703" y="465062"/>
                    <a:pt x="135983" y="475941"/>
                    <a:pt x="133263" y="486820"/>
                  </a:cubicBezTo>
                  <a:cubicBezTo>
                    <a:pt x="130544" y="505857"/>
                    <a:pt x="125105" y="522175"/>
                    <a:pt x="122385" y="541213"/>
                  </a:cubicBezTo>
                  <a:cubicBezTo>
                    <a:pt x="119665" y="560250"/>
                    <a:pt x="111506" y="595606"/>
                    <a:pt x="106067" y="614643"/>
                  </a:cubicBezTo>
                  <a:cubicBezTo>
                    <a:pt x="114226" y="614643"/>
                    <a:pt x="125105" y="614643"/>
                    <a:pt x="135983" y="614643"/>
                  </a:cubicBezTo>
                  <a:cubicBezTo>
                    <a:pt x="149581" y="614643"/>
                    <a:pt x="171340" y="614643"/>
                    <a:pt x="171340" y="630961"/>
                  </a:cubicBezTo>
                  <a:cubicBezTo>
                    <a:pt x="171340" y="639120"/>
                    <a:pt x="168620" y="639120"/>
                    <a:pt x="165900" y="647279"/>
                  </a:cubicBezTo>
                  <a:cubicBezTo>
                    <a:pt x="163181" y="652718"/>
                    <a:pt x="155021" y="655438"/>
                    <a:pt x="149581" y="655438"/>
                  </a:cubicBezTo>
                  <a:cubicBezTo>
                    <a:pt x="141423" y="658158"/>
                    <a:pt x="135983" y="658158"/>
                    <a:pt x="127824" y="658158"/>
                  </a:cubicBezTo>
                  <a:cubicBezTo>
                    <a:pt x="122385" y="658158"/>
                    <a:pt x="116946" y="658158"/>
                    <a:pt x="106067" y="658158"/>
                  </a:cubicBezTo>
                  <a:cubicBezTo>
                    <a:pt x="92469" y="658158"/>
                    <a:pt x="78870" y="658158"/>
                    <a:pt x="62552" y="658158"/>
                  </a:cubicBezTo>
                  <a:cubicBezTo>
                    <a:pt x="54393" y="658158"/>
                    <a:pt x="46234" y="658158"/>
                    <a:pt x="40795" y="658158"/>
                  </a:cubicBezTo>
                  <a:cubicBezTo>
                    <a:pt x="32636" y="658158"/>
                    <a:pt x="21758" y="658158"/>
                    <a:pt x="16318" y="652718"/>
                  </a:cubicBezTo>
                  <a:cubicBezTo>
                    <a:pt x="8159" y="649999"/>
                    <a:pt x="0" y="641840"/>
                    <a:pt x="0" y="636401"/>
                  </a:cubicBezTo>
                  <a:cubicBezTo>
                    <a:pt x="0" y="633681"/>
                    <a:pt x="0" y="630961"/>
                    <a:pt x="2720" y="628241"/>
                  </a:cubicBezTo>
                  <a:cubicBezTo>
                    <a:pt x="8159" y="625522"/>
                    <a:pt x="16318" y="622802"/>
                    <a:pt x="24477" y="620082"/>
                  </a:cubicBezTo>
                  <a:cubicBezTo>
                    <a:pt x="38075" y="617363"/>
                    <a:pt x="48954" y="617363"/>
                    <a:pt x="62552" y="617363"/>
                  </a:cubicBezTo>
                  <a:cubicBezTo>
                    <a:pt x="62552" y="617363"/>
                    <a:pt x="62552" y="614643"/>
                    <a:pt x="62552" y="614643"/>
                  </a:cubicBezTo>
                  <a:cubicBezTo>
                    <a:pt x="62552" y="603765"/>
                    <a:pt x="65272" y="590166"/>
                    <a:pt x="65272" y="587447"/>
                  </a:cubicBezTo>
                  <a:cubicBezTo>
                    <a:pt x="67992" y="565689"/>
                    <a:pt x="73431" y="543932"/>
                    <a:pt x="76151" y="522175"/>
                  </a:cubicBezTo>
                  <a:cubicBezTo>
                    <a:pt x="78870" y="505857"/>
                    <a:pt x="81590" y="486820"/>
                    <a:pt x="87029" y="470501"/>
                  </a:cubicBezTo>
                  <a:cubicBezTo>
                    <a:pt x="87029" y="465062"/>
                    <a:pt x="92469" y="451464"/>
                    <a:pt x="92469" y="446025"/>
                  </a:cubicBezTo>
                  <a:cubicBezTo>
                    <a:pt x="92469" y="437866"/>
                    <a:pt x="73431" y="437866"/>
                    <a:pt x="65272" y="432426"/>
                  </a:cubicBezTo>
                  <a:cubicBezTo>
                    <a:pt x="59833" y="429707"/>
                    <a:pt x="54393" y="426987"/>
                    <a:pt x="54393" y="421548"/>
                  </a:cubicBezTo>
                  <a:cubicBezTo>
                    <a:pt x="54393" y="413389"/>
                    <a:pt x="62552" y="410669"/>
                    <a:pt x="73431" y="407949"/>
                  </a:cubicBezTo>
                  <a:cubicBezTo>
                    <a:pt x="78870" y="407949"/>
                    <a:pt x="92469" y="405230"/>
                    <a:pt x="100628" y="399790"/>
                  </a:cubicBezTo>
                  <a:cubicBezTo>
                    <a:pt x="106067" y="394351"/>
                    <a:pt x="106067" y="378033"/>
                    <a:pt x="108787" y="369874"/>
                  </a:cubicBezTo>
                  <a:cubicBezTo>
                    <a:pt x="114226" y="348117"/>
                    <a:pt x="119665" y="326360"/>
                    <a:pt x="125105" y="307322"/>
                  </a:cubicBezTo>
                  <a:cubicBezTo>
                    <a:pt x="130544" y="285565"/>
                    <a:pt x="135983" y="263808"/>
                    <a:pt x="141423" y="242051"/>
                  </a:cubicBezTo>
                  <a:cubicBezTo>
                    <a:pt x="146862" y="220293"/>
                    <a:pt x="152301" y="198536"/>
                    <a:pt x="155021" y="179498"/>
                  </a:cubicBezTo>
                  <a:cubicBezTo>
                    <a:pt x="157740" y="160461"/>
                    <a:pt x="163181" y="138703"/>
                    <a:pt x="168620" y="119665"/>
                  </a:cubicBezTo>
                  <a:cubicBezTo>
                    <a:pt x="176779" y="100627"/>
                    <a:pt x="182218" y="76150"/>
                    <a:pt x="193097" y="57113"/>
                  </a:cubicBezTo>
                  <a:lnTo>
                    <a:pt x="201256" y="38075"/>
                  </a:lnTo>
                  <a:cubicBezTo>
                    <a:pt x="206695" y="29916"/>
                    <a:pt x="209415" y="19038"/>
                    <a:pt x="217574" y="13598"/>
                  </a:cubicBezTo>
                  <a:cubicBezTo>
                    <a:pt x="231172" y="2720"/>
                    <a:pt x="255649" y="0"/>
                    <a:pt x="274687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0" name="Freeform: Shape 39">
              <a:extLst>
                <a:ext uri="{FF2B5EF4-FFF2-40B4-BE49-F238E27FC236}">
                  <a16:creationId xmlns:a16="http://schemas.microsoft.com/office/drawing/2014/main" id="{F82A0DB8-0ECB-4944-9468-4B85E60D809E}"/>
                </a:ext>
              </a:extLst>
            </p:cNvPr>
            <p:cNvSpPr/>
            <p:nvPr/>
          </p:nvSpPr>
          <p:spPr>
            <a:xfrm>
              <a:off x="3443268" y="4186718"/>
              <a:ext cx="435145" cy="761503"/>
            </a:xfrm>
            <a:custGeom>
              <a:avLst/>
              <a:gdLst>
                <a:gd name="connsiteX0" fmla="*/ 400855 w 435145"/>
                <a:gd name="connsiteY0" fmla="*/ 678260 h 761503"/>
                <a:gd name="connsiteX1" fmla="*/ 384537 w 435145"/>
                <a:gd name="connsiteY1" fmla="*/ 719054 h 761503"/>
                <a:gd name="connsiteX2" fmla="*/ 368219 w 435145"/>
                <a:gd name="connsiteY2" fmla="*/ 713615 h 761503"/>
                <a:gd name="connsiteX3" fmla="*/ 360060 w 435145"/>
                <a:gd name="connsiteY3" fmla="*/ 697297 h 761503"/>
                <a:gd name="connsiteX4" fmla="*/ 360060 w 435145"/>
                <a:gd name="connsiteY4" fmla="*/ 651063 h 761503"/>
                <a:gd name="connsiteX5" fmla="*/ 332864 w 435145"/>
                <a:gd name="connsiteY5" fmla="*/ 686418 h 761503"/>
                <a:gd name="connsiteX6" fmla="*/ 251274 w 435145"/>
                <a:gd name="connsiteY6" fmla="*/ 721774 h 761503"/>
                <a:gd name="connsiteX7" fmla="*/ 229517 w 435145"/>
                <a:gd name="connsiteY7" fmla="*/ 719054 h 761503"/>
                <a:gd name="connsiteX8" fmla="*/ 158806 w 435145"/>
                <a:gd name="connsiteY8" fmla="*/ 694578 h 761503"/>
                <a:gd name="connsiteX9" fmla="*/ 112571 w 435145"/>
                <a:gd name="connsiteY9" fmla="*/ 659222 h 761503"/>
                <a:gd name="connsiteX10" fmla="*/ 79936 w 435145"/>
                <a:gd name="connsiteY10" fmla="*/ 607548 h 761503"/>
                <a:gd name="connsiteX11" fmla="*/ 63618 w 435145"/>
                <a:gd name="connsiteY11" fmla="*/ 542277 h 761503"/>
                <a:gd name="connsiteX12" fmla="*/ 58178 w 435145"/>
                <a:gd name="connsiteY12" fmla="*/ 471566 h 761503"/>
                <a:gd name="connsiteX13" fmla="*/ 60898 w 435145"/>
                <a:gd name="connsiteY13" fmla="*/ 400855 h 761503"/>
                <a:gd name="connsiteX14" fmla="*/ 66337 w 435145"/>
                <a:gd name="connsiteY14" fmla="*/ 335583 h 761503"/>
                <a:gd name="connsiteX15" fmla="*/ 85375 w 435145"/>
                <a:gd name="connsiteY15" fmla="*/ 267592 h 761503"/>
                <a:gd name="connsiteX16" fmla="*/ 109852 w 435145"/>
                <a:gd name="connsiteY16" fmla="*/ 199600 h 761503"/>
                <a:gd name="connsiteX17" fmla="*/ 145207 w 435145"/>
                <a:gd name="connsiteY17" fmla="*/ 145207 h 761503"/>
                <a:gd name="connsiteX18" fmla="*/ 188722 w 435145"/>
                <a:gd name="connsiteY18" fmla="*/ 96253 h 761503"/>
                <a:gd name="connsiteX19" fmla="*/ 243115 w 435145"/>
                <a:gd name="connsiteY19" fmla="*/ 71776 h 761503"/>
                <a:gd name="connsiteX20" fmla="*/ 286630 w 435145"/>
                <a:gd name="connsiteY20" fmla="*/ 63617 h 761503"/>
                <a:gd name="connsiteX21" fmla="*/ 305667 w 435145"/>
                <a:gd name="connsiteY21" fmla="*/ 66337 h 761503"/>
                <a:gd name="connsiteX22" fmla="*/ 324705 w 435145"/>
                <a:gd name="connsiteY22" fmla="*/ 79936 h 761503"/>
                <a:gd name="connsiteX23" fmla="*/ 341023 w 435145"/>
                <a:gd name="connsiteY23" fmla="*/ 101693 h 761503"/>
                <a:gd name="connsiteX24" fmla="*/ 354621 w 435145"/>
                <a:gd name="connsiteY24" fmla="*/ 123450 h 761503"/>
                <a:gd name="connsiteX25" fmla="*/ 354621 w 435145"/>
                <a:gd name="connsiteY25" fmla="*/ 98973 h 761503"/>
                <a:gd name="connsiteX26" fmla="*/ 360060 w 435145"/>
                <a:gd name="connsiteY26" fmla="*/ 74496 h 761503"/>
                <a:gd name="connsiteX27" fmla="*/ 365500 w 435145"/>
                <a:gd name="connsiteY27" fmla="*/ 63617 h 761503"/>
                <a:gd name="connsiteX28" fmla="*/ 373659 w 435145"/>
                <a:gd name="connsiteY28" fmla="*/ 58178 h 761503"/>
                <a:gd name="connsiteX29" fmla="*/ 381818 w 435145"/>
                <a:gd name="connsiteY29" fmla="*/ 63617 h 761503"/>
                <a:gd name="connsiteX30" fmla="*/ 389977 w 435145"/>
                <a:gd name="connsiteY30" fmla="*/ 82655 h 761503"/>
                <a:gd name="connsiteX31" fmla="*/ 392696 w 435145"/>
                <a:gd name="connsiteY31" fmla="*/ 126170 h 761503"/>
                <a:gd name="connsiteX32" fmla="*/ 395416 w 435145"/>
                <a:gd name="connsiteY32" fmla="*/ 186002 h 761503"/>
                <a:gd name="connsiteX33" fmla="*/ 398136 w 435145"/>
                <a:gd name="connsiteY33" fmla="*/ 237675 h 761503"/>
                <a:gd name="connsiteX34" fmla="*/ 398136 w 435145"/>
                <a:gd name="connsiteY34" fmla="*/ 243115 h 761503"/>
                <a:gd name="connsiteX35" fmla="*/ 395416 w 435145"/>
                <a:gd name="connsiteY35" fmla="*/ 256713 h 761503"/>
                <a:gd name="connsiteX36" fmla="*/ 379098 w 435145"/>
                <a:gd name="connsiteY36" fmla="*/ 278470 h 761503"/>
                <a:gd name="connsiteX37" fmla="*/ 362780 w 435145"/>
                <a:gd name="connsiteY37" fmla="*/ 273031 h 761503"/>
                <a:gd name="connsiteX38" fmla="*/ 354621 w 435145"/>
                <a:gd name="connsiteY38" fmla="*/ 256713 h 761503"/>
                <a:gd name="connsiteX39" fmla="*/ 354621 w 435145"/>
                <a:gd name="connsiteY39" fmla="*/ 213198 h 761503"/>
                <a:gd name="connsiteX40" fmla="*/ 354621 w 435145"/>
                <a:gd name="connsiteY40" fmla="*/ 205040 h 761503"/>
                <a:gd name="connsiteX41" fmla="*/ 338303 w 435145"/>
                <a:gd name="connsiteY41" fmla="*/ 147927 h 761503"/>
                <a:gd name="connsiteX42" fmla="*/ 292069 w 435145"/>
                <a:gd name="connsiteY42" fmla="*/ 107132 h 761503"/>
                <a:gd name="connsiteX43" fmla="*/ 262153 w 435145"/>
                <a:gd name="connsiteY43" fmla="*/ 120730 h 761503"/>
                <a:gd name="connsiteX44" fmla="*/ 251274 w 435145"/>
                <a:gd name="connsiteY44" fmla="*/ 131609 h 761503"/>
                <a:gd name="connsiteX45" fmla="*/ 240395 w 435145"/>
                <a:gd name="connsiteY45" fmla="*/ 139768 h 761503"/>
                <a:gd name="connsiteX46" fmla="*/ 237676 w 435145"/>
                <a:gd name="connsiteY46" fmla="*/ 164245 h 761503"/>
                <a:gd name="connsiteX47" fmla="*/ 226797 w 435145"/>
                <a:gd name="connsiteY47" fmla="*/ 196881 h 761503"/>
                <a:gd name="connsiteX48" fmla="*/ 213199 w 435145"/>
                <a:gd name="connsiteY48" fmla="*/ 259433 h 761503"/>
                <a:gd name="connsiteX49" fmla="*/ 207759 w 435145"/>
                <a:gd name="connsiteY49" fmla="*/ 324704 h 761503"/>
                <a:gd name="connsiteX50" fmla="*/ 207759 w 435145"/>
                <a:gd name="connsiteY50" fmla="*/ 335583 h 761503"/>
                <a:gd name="connsiteX51" fmla="*/ 205040 w 435145"/>
                <a:gd name="connsiteY51" fmla="*/ 349181 h 761503"/>
                <a:gd name="connsiteX52" fmla="*/ 207759 w 435145"/>
                <a:gd name="connsiteY52" fmla="*/ 368219 h 761503"/>
                <a:gd name="connsiteX53" fmla="*/ 207759 w 435145"/>
                <a:gd name="connsiteY53" fmla="*/ 376378 h 761503"/>
                <a:gd name="connsiteX54" fmla="*/ 205040 w 435145"/>
                <a:gd name="connsiteY54" fmla="*/ 387256 h 761503"/>
                <a:gd name="connsiteX55" fmla="*/ 205040 w 435145"/>
                <a:gd name="connsiteY55" fmla="*/ 395415 h 761503"/>
                <a:gd name="connsiteX56" fmla="*/ 205040 w 435145"/>
                <a:gd name="connsiteY56" fmla="*/ 406294 h 761503"/>
                <a:gd name="connsiteX57" fmla="*/ 205040 w 435145"/>
                <a:gd name="connsiteY57" fmla="*/ 425332 h 761503"/>
                <a:gd name="connsiteX58" fmla="*/ 213199 w 435145"/>
                <a:gd name="connsiteY58" fmla="*/ 493323 h 761503"/>
                <a:gd name="connsiteX59" fmla="*/ 221358 w 435145"/>
                <a:gd name="connsiteY59" fmla="*/ 561314 h 761503"/>
                <a:gd name="connsiteX60" fmla="*/ 226797 w 435145"/>
                <a:gd name="connsiteY60" fmla="*/ 591231 h 761503"/>
                <a:gd name="connsiteX61" fmla="*/ 240395 w 435145"/>
                <a:gd name="connsiteY61" fmla="*/ 618427 h 761503"/>
                <a:gd name="connsiteX62" fmla="*/ 283910 w 435145"/>
                <a:gd name="connsiteY62" fmla="*/ 651063 h 761503"/>
                <a:gd name="connsiteX63" fmla="*/ 338303 w 435145"/>
                <a:gd name="connsiteY63" fmla="*/ 612988 h 761503"/>
                <a:gd name="connsiteX64" fmla="*/ 354621 w 435145"/>
                <a:gd name="connsiteY64" fmla="*/ 577632 h 761503"/>
                <a:gd name="connsiteX65" fmla="*/ 357341 w 435145"/>
                <a:gd name="connsiteY65" fmla="*/ 509641 h 761503"/>
                <a:gd name="connsiteX66" fmla="*/ 362780 w 435145"/>
                <a:gd name="connsiteY66" fmla="*/ 485164 h 761503"/>
                <a:gd name="connsiteX67" fmla="*/ 368219 w 435145"/>
                <a:gd name="connsiteY67" fmla="*/ 474286 h 761503"/>
                <a:gd name="connsiteX68" fmla="*/ 376378 w 435145"/>
                <a:gd name="connsiteY68" fmla="*/ 468846 h 761503"/>
                <a:gd name="connsiteX69" fmla="*/ 384537 w 435145"/>
                <a:gd name="connsiteY69" fmla="*/ 474286 h 761503"/>
                <a:gd name="connsiteX70" fmla="*/ 392696 w 435145"/>
                <a:gd name="connsiteY70" fmla="*/ 493323 h 761503"/>
                <a:gd name="connsiteX71" fmla="*/ 395416 w 435145"/>
                <a:gd name="connsiteY71" fmla="*/ 558595 h 761503"/>
                <a:gd name="connsiteX72" fmla="*/ 398136 w 435145"/>
                <a:gd name="connsiteY72" fmla="*/ 618427 h 761503"/>
                <a:gd name="connsiteX73" fmla="*/ 400855 w 435145"/>
                <a:gd name="connsiteY73" fmla="*/ 678260 h 761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</a:cxnLst>
              <a:rect l="l" t="t" r="r" b="b"/>
              <a:pathLst>
                <a:path w="435145" h="761503">
                  <a:moveTo>
                    <a:pt x="400855" y="678260"/>
                  </a:moveTo>
                  <a:cubicBezTo>
                    <a:pt x="400855" y="689138"/>
                    <a:pt x="400855" y="719054"/>
                    <a:pt x="384537" y="719054"/>
                  </a:cubicBezTo>
                  <a:cubicBezTo>
                    <a:pt x="376378" y="719054"/>
                    <a:pt x="373659" y="716335"/>
                    <a:pt x="368219" y="713615"/>
                  </a:cubicBezTo>
                  <a:cubicBezTo>
                    <a:pt x="362780" y="710895"/>
                    <a:pt x="360060" y="702736"/>
                    <a:pt x="360060" y="697297"/>
                  </a:cubicBezTo>
                  <a:cubicBezTo>
                    <a:pt x="357341" y="680979"/>
                    <a:pt x="357341" y="664661"/>
                    <a:pt x="360060" y="651063"/>
                  </a:cubicBezTo>
                  <a:cubicBezTo>
                    <a:pt x="354621" y="659222"/>
                    <a:pt x="341023" y="678260"/>
                    <a:pt x="332864" y="686418"/>
                  </a:cubicBezTo>
                  <a:cubicBezTo>
                    <a:pt x="311107" y="708176"/>
                    <a:pt x="283910" y="721774"/>
                    <a:pt x="251274" y="721774"/>
                  </a:cubicBezTo>
                  <a:cubicBezTo>
                    <a:pt x="243115" y="721774"/>
                    <a:pt x="237676" y="721774"/>
                    <a:pt x="229517" y="719054"/>
                  </a:cubicBezTo>
                  <a:cubicBezTo>
                    <a:pt x="207759" y="716335"/>
                    <a:pt x="183283" y="708176"/>
                    <a:pt x="158806" y="694578"/>
                  </a:cubicBezTo>
                  <a:cubicBezTo>
                    <a:pt x="142488" y="686418"/>
                    <a:pt x="126170" y="672820"/>
                    <a:pt x="112571" y="659222"/>
                  </a:cubicBezTo>
                  <a:cubicBezTo>
                    <a:pt x="98973" y="642904"/>
                    <a:pt x="88095" y="626586"/>
                    <a:pt x="79936" y="607548"/>
                  </a:cubicBezTo>
                  <a:cubicBezTo>
                    <a:pt x="71777" y="585791"/>
                    <a:pt x="66337" y="566754"/>
                    <a:pt x="63618" y="542277"/>
                  </a:cubicBezTo>
                  <a:cubicBezTo>
                    <a:pt x="60898" y="517800"/>
                    <a:pt x="58178" y="493323"/>
                    <a:pt x="58178" y="471566"/>
                  </a:cubicBezTo>
                  <a:cubicBezTo>
                    <a:pt x="58178" y="447089"/>
                    <a:pt x="58178" y="425332"/>
                    <a:pt x="60898" y="400855"/>
                  </a:cubicBezTo>
                  <a:cubicBezTo>
                    <a:pt x="63618" y="379098"/>
                    <a:pt x="60898" y="357340"/>
                    <a:pt x="66337" y="335583"/>
                  </a:cubicBezTo>
                  <a:cubicBezTo>
                    <a:pt x="69057" y="313826"/>
                    <a:pt x="77216" y="289349"/>
                    <a:pt x="85375" y="267592"/>
                  </a:cubicBezTo>
                  <a:cubicBezTo>
                    <a:pt x="93534" y="243115"/>
                    <a:pt x="98973" y="221357"/>
                    <a:pt x="109852" y="199600"/>
                  </a:cubicBezTo>
                  <a:cubicBezTo>
                    <a:pt x="118011" y="177843"/>
                    <a:pt x="131609" y="161525"/>
                    <a:pt x="145207" y="145207"/>
                  </a:cubicBezTo>
                  <a:cubicBezTo>
                    <a:pt x="158806" y="128889"/>
                    <a:pt x="172404" y="109852"/>
                    <a:pt x="188722" y="96253"/>
                  </a:cubicBezTo>
                  <a:cubicBezTo>
                    <a:pt x="205040" y="82655"/>
                    <a:pt x="224077" y="77216"/>
                    <a:pt x="243115" y="71776"/>
                  </a:cubicBezTo>
                  <a:cubicBezTo>
                    <a:pt x="256713" y="69057"/>
                    <a:pt x="273031" y="63617"/>
                    <a:pt x="286630" y="63617"/>
                  </a:cubicBezTo>
                  <a:cubicBezTo>
                    <a:pt x="292069" y="63617"/>
                    <a:pt x="297508" y="63617"/>
                    <a:pt x="305667" y="66337"/>
                  </a:cubicBezTo>
                  <a:cubicBezTo>
                    <a:pt x="313826" y="69057"/>
                    <a:pt x="319266" y="74496"/>
                    <a:pt x="324705" y="79936"/>
                  </a:cubicBezTo>
                  <a:cubicBezTo>
                    <a:pt x="332864" y="85375"/>
                    <a:pt x="332864" y="93534"/>
                    <a:pt x="341023" y="101693"/>
                  </a:cubicBezTo>
                  <a:cubicBezTo>
                    <a:pt x="346462" y="107132"/>
                    <a:pt x="349182" y="118011"/>
                    <a:pt x="354621" y="123450"/>
                  </a:cubicBezTo>
                  <a:cubicBezTo>
                    <a:pt x="354621" y="115291"/>
                    <a:pt x="354621" y="101693"/>
                    <a:pt x="354621" y="98973"/>
                  </a:cubicBezTo>
                  <a:cubicBezTo>
                    <a:pt x="354621" y="90814"/>
                    <a:pt x="354621" y="79936"/>
                    <a:pt x="360060" y="74496"/>
                  </a:cubicBezTo>
                  <a:cubicBezTo>
                    <a:pt x="362780" y="71776"/>
                    <a:pt x="362780" y="69057"/>
                    <a:pt x="365500" y="63617"/>
                  </a:cubicBezTo>
                  <a:cubicBezTo>
                    <a:pt x="368219" y="60898"/>
                    <a:pt x="370939" y="58178"/>
                    <a:pt x="373659" y="58178"/>
                  </a:cubicBezTo>
                  <a:cubicBezTo>
                    <a:pt x="376378" y="58178"/>
                    <a:pt x="379098" y="60898"/>
                    <a:pt x="381818" y="63617"/>
                  </a:cubicBezTo>
                  <a:cubicBezTo>
                    <a:pt x="384537" y="69057"/>
                    <a:pt x="387257" y="77216"/>
                    <a:pt x="389977" y="82655"/>
                  </a:cubicBezTo>
                  <a:cubicBezTo>
                    <a:pt x="389977" y="90814"/>
                    <a:pt x="392696" y="107132"/>
                    <a:pt x="392696" y="126170"/>
                  </a:cubicBezTo>
                  <a:cubicBezTo>
                    <a:pt x="392696" y="150647"/>
                    <a:pt x="392696" y="177843"/>
                    <a:pt x="395416" y="186002"/>
                  </a:cubicBezTo>
                  <a:cubicBezTo>
                    <a:pt x="398136" y="205040"/>
                    <a:pt x="398136" y="215918"/>
                    <a:pt x="398136" y="237675"/>
                  </a:cubicBezTo>
                  <a:cubicBezTo>
                    <a:pt x="398136" y="240395"/>
                    <a:pt x="398136" y="243115"/>
                    <a:pt x="398136" y="243115"/>
                  </a:cubicBezTo>
                  <a:cubicBezTo>
                    <a:pt x="398136" y="248554"/>
                    <a:pt x="398136" y="251274"/>
                    <a:pt x="395416" y="256713"/>
                  </a:cubicBezTo>
                  <a:cubicBezTo>
                    <a:pt x="392696" y="267592"/>
                    <a:pt x="389977" y="278470"/>
                    <a:pt x="379098" y="278470"/>
                  </a:cubicBezTo>
                  <a:cubicBezTo>
                    <a:pt x="370939" y="278470"/>
                    <a:pt x="368219" y="275751"/>
                    <a:pt x="362780" y="273031"/>
                  </a:cubicBezTo>
                  <a:cubicBezTo>
                    <a:pt x="357341" y="270311"/>
                    <a:pt x="354621" y="262152"/>
                    <a:pt x="354621" y="256713"/>
                  </a:cubicBezTo>
                  <a:cubicBezTo>
                    <a:pt x="349182" y="237675"/>
                    <a:pt x="354621" y="232236"/>
                    <a:pt x="354621" y="213198"/>
                  </a:cubicBezTo>
                  <a:cubicBezTo>
                    <a:pt x="354621" y="210479"/>
                    <a:pt x="354621" y="207759"/>
                    <a:pt x="354621" y="205040"/>
                  </a:cubicBezTo>
                  <a:cubicBezTo>
                    <a:pt x="349182" y="186002"/>
                    <a:pt x="343742" y="169684"/>
                    <a:pt x="338303" y="147927"/>
                  </a:cubicBezTo>
                  <a:cubicBezTo>
                    <a:pt x="332864" y="131609"/>
                    <a:pt x="311107" y="107132"/>
                    <a:pt x="292069" y="107132"/>
                  </a:cubicBezTo>
                  <a:cubicBezTo>
                    <a:pt x="281190" y="107132"/>
                    <a:pt x="270312" y="115291"/>
                    <a:pt x="262153" y="120730"/>
                  </a:cubicBezTo>
                  <a:cubicBezTo>
                    <a:pt x="259433" y="123450"/>
                    <a:pt x="256713" y="126170"/>
                    <a:pt x="251274" y="131609"/>
                  </a:cubicBezTo>
                  <a:cubicBezTo>
                    <a:pt x="248554" y="134329"/>
                    <a:pt x="243115" y="137048"/>
                    <a:pt x="240395" y="139768"/>
                  </a:cubicBezTo>
                  <a:cubicBezTo>
                    <a:pt x="237676" y="145207"/>
                    <a:pt x="240395" y="156086"/>
                    <a:pt x="237676" y="164245"/>
                  </a:cubicBezTo>
                  <a:cubicBezTo>
                    <a:pt x="232236" y="175123"/>
                    <a:pt x="229517" y="186002"/>
                    <a:pt x="226797" y="196881"/>
                  </a:cubicBezTo>
                  <a:cubicBezTo>
                    <a:pt x="221358" y="218638"/>
                    <a:pt x="218638" y="237675"/>
                    <a:pt x="213199" y="259433"/>
                  </a:cubicBezTo>
                  <a:cubicBezTo>
                    <a:pt x="210479" y="281190"/>
                    <a:pt x="207759" y="302947"/>
                    <a:pt x="207759" y="324704"/>
                  </a:cubicBezTo>
                  <a:cubicBezTo>
                    <a:pt x="207759" y="327424"/>
                    <a:pt x="207759" y="332863"/>
                    <a:pt x="207759" y="335583"/>
                  </a:cubicBezTo>
                  <a:cubicBezTo>
                    <a:pt x="207759" y="341022"/>
                    <a:pt x="205040" y="343742"/>
                    <a:pt x="205040" y="349181"/>
                  </a:cubicBezTo>
                  <a:cubicBezTo>
                    <a:pt x="205040" y="354621"/>
                    <a:pt x="207759" y="362779"/>
                    <a:pt x="207759" y="368219"/>
                  </a:cubicBezTo>
                  <a:cubicBezTo>
                    <a:pt x="207759" y="370939"/>
                    <a:pt x="207759" y="373658"/>
                    <a:pt x="207759" y="376378"/>
                  </a:cubicBezTo>
                  <a:cubicBezTo>
                    <a:pt x="205040" y="381817"/>
                    <a:pt x="205040" y="384537"/>
                    <a:pt x="205040" y="387256"/>
                  </a:cubicBezTo>
                  <a:cubicBezTo>
                    <a:pt x="205040" y="389976"/>
                    <a:pt x="205040" y="392696"/>
                    <a:pt x="205040" y="395415"/>
                  </a:cubicBezTo>
                  <a:cubicBezTo>
                    <a:pt x="205040" y="398135"/>
                    <a:pt x="205040" y="403574"/>
                    <a:pt x="205040" y="406294"/>
                  </a:cubicBezTo>
                  <a:cubicBezTo>
                    <a:pt x="205040" y="411733"/>
                    <a:pt x="205040" y="417173"/>
                    <a:pt x="205040" y="425332"/>
                  </a:cubicBezTo>
                  <a:cubicBezTo>
                    <a:pt x="205040" y="449809"/>
                    <a:pt x="213199" y="471566"/>
                    <a:pt x="213199" y="493323"/>
                  </a:cubicBezTo>
                  <a:cubicBezTo>
                    <a:pt x="213199" y="517800"/>
                    <a:pt x="215919" y="539557"/>
                    <a:pt x="221358" y="561314"/>
                  </a:cubicBezTo>
                  <a:cubicBezTo>
                    <a:pt x="224077" y="572193"/>
                    <a:pt x="224077" y="580352"/>
                    <a:pt x="226797" y="591231"/>
                  </a:cubicBezTo>
                  <a:cubicBezTo>
                    <a:pt x="229517" y="599390"/>
                    <a:pt x="237676" y="607548"/>
                    <a:pt x="240395" y="618427"/>
                  </a:cubicBezTo>
                  <a:cubicBezTo>
                    <a:pt x="248554" y="637465"/>
                    <a:pt x="262153" y="651063"/>
                    <a:pt x="283910" y="651063"/>
                  </a:cubicBezTo>
                  <a:cubicBezTo>
                    <a:pt x="302948" y="651063"/>
                    <a:pt x="330144" y="629306"/>
                    <a:pt x="338303" y="612988"/>
                  </a:cubicBezTo>
                  <a:cubicBezTo>
                    <a:pt x="346462" y="599390"/>
                    <a:pt x="351901" y="591231"/>
                    <a:pt x="354621" y="577632"/>
                  </a:cubicBezTo>
                  <a:cubicBezTo>
                    <a:pt x="354621" y="550436"/>
                    <a:pt x="354621" y="517800"/>
                    <a:pt x="357341" y="509641"/>
                  </a:cubicBezTo>
                  <a:cubicBezTo>
                    <a:pt x="357341" y="501482"/>
                    <a:pt x="357341" y="490603"/>
                    <a:pt x="362780" y="485164"/>
                  </a:cubicBezTo>
                  <a:cubicBezTo>
                    <a:pt x="365500" y="482444"/>
                    <a:pt x="365500" y="479725"/>
                    <a:pt x="368219" y="474286"/>
                  </a:cubicBezTo>
                  <a:cubicBezTo>
                    <a:pt x="370939" y="471566"/>
                    <a:pt x="373659" y="468846"/>
                    <a:pt x="376378" y="468846"/>
                  </a:cubicBezTo>
                  <a:cubicBezTo>
                    <a:pt x="379098" y="468846"/>
                    <a:pt x="381818" y="471566"/>
                    <a:pt x="384537" y="474286"/>
                  </a:cubicBezTo>
                  <a:cubicBezTo>
                    <a:pt x="387257" y="479725"/>
                    <a:pt x="389977" y="487884"/>
                    <a:pt x="392696" y="493323"/>
                  </a:cubicBezTo>
                  <a:cubicBezTo>
                    <a:pt x="392696" y="501482"/>
                    <a:pt x="395416" y="539557"/>
                    <a:pt x="395416" y="558595"/>
                  </a:cubicBezTo>
                  <a:cubicBezTo>
                    <a:pt x="395416" y="583072"/>
                    <a:pt x="395416" y="610268"/>
                    <a:pt x="398136" y="618427"/>
                  </a:cubicBezTo>
                  <a:cubicBezTo>
                    <a:pt x="398136" y="648343"/>
                    <a:pt x="400855" y="659222"/>
                    <a:pt x="400855" y="678260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1" name="Freeform: Shape 40">
              <a:extLst>
                <a:ext uri="{FF2B5EF4-FFF2-40B4-BE49-F238E27FC236}">
                  <a16:creationId xmlns:a16="http://schemas.microsoft.com/office/drawing/2014/main" id="{DA4A0440-EB6E-4064-A01C-1781BC03A876}"/>
                </a:ext>
              </a:extLst>
            </p:cNvPr>
            <p:cNvSpPr/>
            <p:nvPr/>
          </p:nvSpPr>
          <p:spPr>
            <a:xfrm>
              <a:off x="3829459" y="4200317"/>
              <a:ext cx="598325" cy="761503"/>
            </a:xfrm>
            <a:custGeom>
              <a:avLst/>
              <a:gdLst>
                <a:gd name="connsiteX0" fmla="*/ 360060 w 598324"/>
                <a:gd name="connsiteY0" fmla="*/ 332863 h 761503"/>
                <a:gd name="connsiteX1" fmla="*/ 341023 w 598324"/>
                <a:gd name="connsiteY1" fmla="*/ 370939 h 761503"/>
                <a:gd name="connsiteX2" fmla="*/ 376378 w 598324"/>
                <a:gd name="connsiteY2" fmla="*/ 389976 h 761503"/>
                <a:gd name="connsiteX3" fmla="*/ 425332 w 598324"/>
                <a:gd name="connsiteY3" fmla="*/ 433491 h 761503"/>
                <a:gd name="connsiteX4" fmla="*/ 438930 w 598324"/>
                <a:gd name="connsiteY4" fmla="*/ 463407 h 761503"/>
                <a:gd name="connsiteX5" fmla="*/ 449809 w 598324"/>
                <a:gd name="connsiteY5" fmla="*/ 498762 h 761503"/>
                <a:gd name="connsiteX6" fmla="*/ 457968 w 598324"/>
                <a:gd name="connsiteY6" fmla="*/ 528679 h 761503"/>
                <a:gd name="connsiteX7" fmla="*/ 466127 w 598324"/>
                <a:gd name="connsiteY7" fmla="*/ 564034 h 761503"/>
                <a:gd name="connsiteX8" fmla="*/ 471566 w 598324"/>
                <a:gd name="connsiteY8" fmla="*/ 593950 h 761503"/>
                <a:gd name="connsiteX9" fmla="*/ 479725 w 598324"/>
                <a:gd name="connsiteY9" fmla="*/ 607548 h 761503"/>
                <a:gd name="connsiteX10" fmla="*/ 487884 w 598324"/>
                <a:gd name="connsiteY10" fmla="*/ 623867 h 761503"/>
                <a:gd name="connsiteX11" fmla="*/ 501482 w 598324"/>
                <a:gd name="connsiteY11" fmla="*/ 651063 h 761503"/>
                <a:gd name="connsiteX12" fmla="*/ 523240 w 598324"/>
                <a:gd name="connsiteY12" fmla="*/ 670101 h 761503"/>
                <a:gd name="connsiteX13" fmla="*/ 534119 w 598324"/>
                <a:gd name="connsiteY13" fmla="*/ 686418 h 761503"/>
                <a:gd name="connsiteX14" fmla="*/ 531399 w 598324"/>
                <a:gd name="connsiteY14" fmla="*/ 694578 h 761503"/>
                <a:gd name="connsiteX15" fmla="*/ 498763 w 598324"/>
                <a:gd name="connsiteY15" fmla="*/ 708176 h 761503"/>
                <a:gd name="connsiteX16" fmla="*/ 449809 w 598324"/>
                <a:gd name="connsiteY16" fmla="*/ 700017 h 761503"/>
                <a:gd name="connsiteX17" fmla="*/ 400855 w 598324"/>
                <a:gd name="connsiteY17" fmla="*/ 667381 h 761503"/>
                <a:gd name="connsiteX18" fmla="*/ 381817 w 598324"/>
                <a:gd name="connsiteY18" fmla="*/ 642904 h 761503"/>
                <a:gd name="connsiteX19" fmla="*/ 368219 w 598324"/>
                <a:gd name="connsiteY19" fmla="*/ 610268 h 761503"/>
                <a:gd name="connsiteX20" fmla="*/ 349182 w 598324"/>
                <a:gd name="connsiteY20" fmla="*/ 550436 h 761503"/>
                <a:gd name="connsiteX21" fmla="*/ 338303 w 598324"/>
                <a:gd name="connsiteY21" fmla="*/ 504202 h 761503"/>
                <a:gd name="connsiteX22" fmla="*/ 330144 w 598324"/>
                <a:gd name="connsiteY22" fmla="*/ 477005 h 761503"/>
                <a:gd name="connsiteX23" fmla="*/ 321985 w 598324"/>
                <a:gd name="connsiteY23" fmla="*/ 455248 h 761503"/>
                <a:gd name="connsiteX24" fmla="*/ 305667 w 598324"/>
                <a:gd name="connsiteY24" fmla="*/ 436210 h 761503"/>
                <a:gd name="connsiteX25" fmla="*/ 294788 w 598324"/>
                <a:gd name="connsiteY25" fmla="*/ 441650 h 761503"/>
                <a:gd name="connsiteX26" fmla="*/ 278471 w 598324"/>
                <a:gd name="connsiteY26" fmla="*/ 463407 h 761503"/>
                <a:gd name="connsiteX27" fmla="*/ 264872 w 598324"/>
                <a:gd name="connsiteY27" fmla="*/ 496043 h 761503"/>
                <a:gd name="connsiteX28" fmla="*/ 262153 w 598324"/>
                <a:gd name="connsiteY28" fmla="*/ 517800 h 761503"/>
                <a:gd name="connsiteX29" fmla="*/ 262153 w 598324"/>
                <a:gd name="connsiteY29" fmla="*/ 523239 h 761503"/>
                <a:gd name="connsiteX30" fmla="*/ 262153 w 598324"/>
                <a:gd name="connsiteY30" fmla="*/ 553155 h 761503"/>
                <a:gd name="connsiteX31" fmla="*/ 262153 w 598324"/>
                <a:gd name="connsiteY31" fmla="*/ 629306 h 761503"/>
                <a:gd name="connsiteX32" fmla="*/ 259433 w 598324"/>
                <a:gd name="connsiteY32" fmla="*/ 659222 h 761503"/>
                <a:gd name="connsiteX33" fmla="*/ 283910 w 598324"/>
                <a:gd name="connsiteY33" fmla="*/ 659222 h 761503"/>
                <a:gd name="connsiteX34" fmla="*/ 321985 w 598324"/>
                <a:gd name="connsiteY34" fmla="*/ 675540 h 761503"/>
                <a:gd name="connsiteX35" fmla="*/ 316546 w 598324"/>
                <a:gd name="connsiteY35" fmla="*/ 691858 h 761503"/>
                <a:gd name="connsiteX36" fmla="*/ 300228 w 598324"/>
                <a:gd name="connsiteY36" fmla="*/ 700017 h 761503"/>
                <a:gd name="connsiteX37" fmla="*/ 278471 w 598324"/>
                <a:gd name="connsiteY37" fmla="*/ 702736 h 761503"/>
                <a:gd name="connsiteX38" fmla="*/ 243115 w 598324"/>
                <a:gd name="connsiteY38" fmla="*/ 702736 h 761503"/>
                <a:gd name="connsiteX39" fmla="*/ 221358 w 598324"/>
                <a:gd name="connsiteY39" fmla="*/ 710895 h 761503"/>
                <a:gd name="connsiteX40" fmla="*/ 194161 w 598324"/>
                <a:gd name="connsiteY40" fmla="*/ 702736 h 761503"/>
                <a:gd name="connsiteX41" fmla="*/ 177843 w 598324"/>
                <a:gd name="connsiteY41" fmla="*/ 702736 h 761503"/>
                <a:gd name="connsiteX42" fmla="*/ 126170 w 598324"/>
                <a:gd name="connsiteY42" fmla="*/ 702736 h 761503"/>
                <a:gd name="connsiteX43" fmla="*/ 101693 w 598324"/>
                <a:gd name="connsiteY43" fmla="*/ 702736 h 761503"/>
                <a:gd name="connsiteX44" fmla="*/ 74496 w 598324"/>
                <a:gd name="connsiteY44" fmla="*/ 697297 h 761503"/>
                <a:gd name="connsiteX45" fmla="*/ 58178 w 598324"/>
                <a:gd name="connsiteY45" fmla="*/ 680979 h 761503"/>
                <a:gd name="connsiteX46" fmla="*/ 63617 w 598324"/>
                <a:gd name="connsiteY46" fmla="*/ 672820 h 761503"/>
                <a:gd name="connsiteX47" fmla="*/ 85375 w 598324"/>
                <a:gd name="connsiteY47" fmla="*/ 664661 h 761503"/>
                <a:gd name="connsiteX48" fmla="*/ 128889 w 598324"/>
                <a:gd name="connsiteY48" fmla="*/ 659222 h 761503"/>
                <a:gd name="connsiteX49" fmla="*/ 147927 w 598324"/>
                <a:gd name="connsiteY49" fmla="*/ 659222 h 761503"/>
                <a:gd name="connsiteX50" fmla="*/ 145207 w 598324"/>
                <a:gd name="connsiteY50" fmla="*/ 653783 h 761503"/>
                <a:gd name="connsiteX51" fmla="*/ 131609 w 598324"/>
                <a:gd name="connsiteY51" fmla="*/ 585791 h 761503"/>
                <a:gd name="connsiteX52" fmla="*/ 134329 w 598324"/>
                <a:gd name="connsiteY52" fmla="*/ 498762 h 761503"/>
                <a:gd name="connsiteX53" fmla="*/ 137048 w 598324"/>
                <a:gd name="connsiteY53" fmla="*/ 406294 h 761503"/>
                <a:gd name="connsiteX54" fmla="*/ 134329 w 598324"/>
                <a:gd name="connsiteY54" fmla="*/ 327424 h 761503"/>
                <a:gd name="connsiteX55" fmla="*/ 137048 w 598324"/>
                <a:gd name="connsiteY55" fmla="*/ 253993 h 761503"/>
                <a:gd name="connsiteX56" fmla="*/ 139768 w 598324"/>
                <a:gd name="connsiteY56" fmla="*/ 207759 h 761503"/>
                <a:gd name="connsiteX57" fmla="*/ 137048 w 598324"/>
                <a:gd name="connsiteY57" fmla="*/ 172404 h 761503"/>
                <a:gd name="connsiteX58" fmla="*/ 137048 w 598324"/>
                <a:gd name="connsiteY58" fmla="*/ 112571 h 761503"/>
                <a:gd name="connsiteX59" fmla="*/ 126170 w 598324"/>
                <a:gd name="connsiteY59" fmla="*/ 112571 h 761503"/>
                <a:gd name="connsiteX60" fmla="*/ 101693 w 598324"/>
                <a:gd name="connsiteY60" fmla="*/ 112571 h 761503"/>
                <a:gd name="connsiteX61" fmla="*/ 74496 w 598324"/>
                <a:gd name="connsiteY61" fmla="*/ 107132 h 761503"/>
                <a:gd name="connsiteX62" fmla="*/ 58178 w 598324"/>
                <a:gd name="connsiteY62" fmla="*/ 90814 h 761503"/>
                <a:gd name="connsiteX63" fmla="*/ 63617 w 598324"/>
                <a:gd name="connsiteY63" fmla="*/ 82655 h 761503"/>
                <a:gd name="connsiteX64" fmla="*/ 85375 w 598324"/>
                <a:gd name="connsiteY64" fmla="*/ 74496 h 761503"/>
                <a:gd name="connsiteX65" fmla="*/ 137048 w 598324"/>
                <a:gd name="connsiteY65" fmla="*/ 69057 h 761503"/>
                <a:gd name="connsiteX66" fmla="*/ 145207 w 598324"/>
                <a:gd name="connsiteY66" fmla="*/ 69057 h 761503"/>
                <a:gd name="connsiteX67" fmla="*/ 169684 w 598324"/>
                <a:gd name="connsiteY67" fmla="*/ 58178 h 761503"/>
                <a:gd name="connsiteX68" fmla="*/ 177843 w 598324"/>
                <a:gd name="connsiteY68" fmla="*/ 58178 h 761503"/>
                <a:gd name="connsiteX69" fmla="*/ 205040 w 598324"/>
                <a:gd name="connsiteY69" fmla="*/ 66337 h 761503"/>
                <a:gd name="connsiteX70" fmla="*/ 286629 w 598324"/>
                <a:gd name="connsiteY70" fmla="*/ 63617 h 761503"/>
                <a:gd name="connsiteX71" fmla="*/ 324705 w 598324"/>
                <a:gd name="connsiteY71" fmla="*/ 79936 h 761503"/>
                <a:gd name="connsiteX72" fmla="*/ 319265 w 598324"/>
                <a:gd name="connsiteY72" fmla="*/ 96253 h 761503"/>
                <a:gd name="connsiteX73" fmla="*/ 302948 w 598324"/>
                <a:gd name="connsiteY73" fmla="*/ 104412 h 761503"/>
                <a:gd name="connsiteX74" fmla="*/ 278471 w 598324"/>
                <a:gd name="connsiteY74" fmla="*/ 112571 h 761503"/>
                <a:gd name="connsiteX75" fmla="*/ 232236 w 598324"/>
                <a:gd name="connsiteY75" fmla="*/ 112571 h 761503"/>
                <a:gd name="connsiteX76" fmla="*/ 240395 w 598324"/>
                <a:gd name="connsiteY76" fmla="*/ 137048 h 761503"/>
                <a:gd name="connsiteX77" fmla="*/ 240395 w 598324"/>
                <a:gd name="connsiteY77" fmla="*/ 150647 h 761503"/>
                <a:gd name="connsiteX78" fmla="*/ 243115 w 598324"/>
                <a:gd name="connsiteY78" fmla="*/ 158805 h 761503"/>
                <a:gd name="connsiteX79" fmla="*/ 248554 w 598324"/>
                <a:gd name="connsiteY79" fmla="*/ 188722 h 761503"/>
                <a:gd name="connsiteX80" fmla="*/ 248554 w 598324"/>
                <a:gd name="connsiteY80" fmla="*/ 199600 h 761503"/>
                <a:gd name="connsiteX81" fmla="*/ 248554 w 598324"/>
                <a:gd name="connsiteY81" fmla="*/ 221357 h 761503"/>
                <a:gd name="connsiteX82" fmla="*/ 253994 w 598324"/>
                <a:gd name="connsiteY82" fmla="*/ 264872 h 761503"/>
                <a:gd name="connsiteX83" fmla="*/ 262153 w 598324"/>
                <a:gd name="connsiteY83" fmla="*/ 297508 h 761503"/>
                <a:gd name="connsiteX84" fmla="*/ 264872 w 598324"/>
                <a:gd name="connsiteY84" fmla="*/ 324704 h 761503"/>
                <a:gd name="connsiteX85" fmla="*/ 264872 w 598324"/>
                <a:gd name="connsiteY85" fmla="*/ 332863 h 761503"/>
                <a:gd name="connsiteX86" fmla="*/ 264872 w 598324"/>
                <a:gd name="connsiteY86" fmla="*/ 351901 h 761503"/>
                <a:gd name="connsiteX87" fmla="*/ 262153 w 598324"/>
                <a:gd name="connsiteY87" fmla="*/ 370939 h 761503"/>
                <a:gd name="connsiteX88" fmla="*/ 267592 w 598324"/>
                <a:gd name="connsiteY88" fmla="*/ 384537 h 761503"/>
                <a:gd name="connsiteX89" fmla="*/ 278471 w 598324"/>
                <a:gd name="connsiteY89" fmla="*/ 370939 h 761503"/>
                <a:gd name="connsiteX90" fmla="*/ 297508 w 598324"/>
                <a:gd name="connsiteY90" fmla="*/ 332863 h 761503"/>
                <a:gd name="connsiteX91" fmla="*/ 311106 w 598324"/>
                <a:gd name="connsiteY91" fmla="*/ 305667 h 761503"/>
                <a:gd name="connsiteX92" fmla="*/ 335583 w 598324"/>
                <a:gd name="connsiteY92" fmla="*/ 259433 h 761503"/>
                <a:gd name="connsiteX93" fmla="*/ 354621 w 598324"/>
                <a:gd name="connsiteY93" fmla="*/ 224077 h 761503"/>
                <a:gd name="connsiteX94" fmla="*/ 381817 w 598324"/>
                <a:gd name="connsiteY94" fmla="*/ 172404 h 761503"/>
                <a:gd name="connsiteX95" fmla="*/ 409014 w 598324"/>
                <a:gd name="connsiteY95" fmla="*/ 118011 h 761503"/>
                <a:gd name="connsiteX96" fmla="*/ 411734 w 598324"/>
                <a:gd name="connsiteY96" fmla="*/ 115291 h 761503"/>
                <a:gd name="connsiteX97" fmla="*/ 398136 w 598324"/>
                <a:gd name="connsiteY97" fmla="*/ 115291 h 761503"/>
                <a:gd name="connsiteX98" fmla="*/ 379098 w 598324"/>
                <a:gd name="connsiteY98" fmla="*/ 109852 h 761503"/>
                <a:gd name="connsiteX99" fmla="*/ 368219 w 598324"/>
                <a:gd name="connsiteY99" fmla="*/ 93534 h 761503"/>
                <a:gd name="connsiteX100" fmla="*/ 370939 w 598324"/>
                <a:gd name="connsiteY100" fmla="*/ 85375 h 761503"/>
                <a:gd name="connsiteX101" fmla="*/ 387257 w 598324"/>
                <a:gd name="connsiteY101" fmla="*/ 77216 h 761503"/>
                <a:gd name="connsiteX102" fmla="*/ 422612 w 598324"/>
                <a:gd name="connsiteY102" fmla="*/ 71776 h 761503"/>
                <a:gd name="connsiteX103" fmla="*/ 436211 w 598324"/>
                <a:gd name="connsiteY103" fmla="*/ 71776 h 761503"/>
                <a:gd name="connsiteX104" fmla="*/ 438930 w 598324"/>
                <a:gd name="connsiteY104" fmla="*/ 69057 h 761503"/>
                <a:gd name="connsiteX105" fmla="*/ 452529 w 598324"/>
                <a:gd name="connsiteY105" fmla="*/ 66337 h 761503"/>
                <a:gd name="connsiteX106" fmla="*/ 466127 w 598324"/>
                <a:gd name="connsiteY106" fmla="*/ 69057 h 761503"/>
                <a:gd name="connsiteX107" fmla="*/ 471566 w 598324"/>
                <a:gd name="connsiteY107" fmla="*/ 71776 h 761503"/>
                <a:gd name="connsiteX108" fmla="*/ 515081 w 598324"/>
                <a:gd name="connsiteY108" fmla="*/ 71776 h 761503"/>
                <a:gd name="connsiteX109" fmla="*/ 542277 w 598324"/>
                <a:gd name="connsiteY109" fmla="*/ 88094 h 761503"/>
                <a:gd name="connsiteX110" fmla="*/ 536838 w 598324"/>
                <a:gd name="connsiteY110" fmla="*/ 104412 h 761503"/>
                <a:gd name="connsiteX111" fmla="*/ 525959 w 598324"/>
                <a:gd name="connsiteY111" fmla="*/ 112571 h 761503"/>
                <a:gd name="connsiteX112" fmla="*/ 509642 w 598324"/>
                <a:gd name="connsiteY112" fmla="*/ 115291 h 761503"/>
                <a:gd name="connsiteX113" fmla="*/ 468847 w 598324"/>
                <a:gd name="connsiteY113" fmla="*/ 115291 h 761503"/>
                <a:gd name="connsiteX114" fmla="*/ 457968 w 598324"/>
                <a:gd name="connsiteY114" fmla="*/ 137048 h 761503"/>
                <a:gd name="connsiteX115" fmla="*/ 430771 w 598324"/>
                <a:gd name="connsiteY115" fmla="*/ 194161 h 761503"/>
                <a:gd name="connsiteX116" fmla="*/ 400855 w 598324"/>
                <a:gd name="connsiteY116" fmla="*/ 262152 h 761503"/>
                <a:gd name="connsiteX117" fmla="*/ 360060 w 598324"/>
                <a:gd name="connsiteY117" fmla="*/ 332863 h 761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</a:cxnLst>
              <a:rect l="l" t="t" r="r" b="b"/>
              <a:pathLst>
                <a:path w="598324" h="761503">
                  <a:moveTo>
                    <a:pt x="360060" y="332863"/>
                  </a:moveTo>
                  <a:cubicBezTo>
                    <a:pt x="351901" y="343742"/>
                    <a:pt x="341023" y="357340"/>
                    <a:pt x="341023" y="370939"/>
                  </a:cubicBezTo>
                  <a:cubicBezTo>
                    <a:pt x="341023" y="379098"/>
                    <a:pt x="357341" y="381817"/>
                    <a:pt x="376378" y="389976"/>
                  </a:cubicBezTo>
                  <a:cubicBezTo>
                    <a:pt x="395416" y="398135"/>
                    <a:pt x="417173" y="417173"/>
                    <a:pt x="425332" y="433491"/>
                  </a:cubicBezTo>
                  <a:cubicBezTo>
                    <a:pt x="430771" y="444369"/>
                    <a:pt x="436211" y="452528"/>
                    <a:pt x="438930" y="463407"/>
                  </a:cubicBezTo>
                  <a:cubicBezTo>
                    <a:pt x="444370" y="474286"/>
                    <a:pt x="447089" y="487884"/>
                    <a:pt x="449809" y="498762"/>
                  </a:cubicBezTo>
                  <a:cubicBezTo>
                    <a:pt x="452529" y="512361"/>
                    <a:pt x="452529" y="517800"/>
                    <a:pt x="457968" y="528679"/>
                  </a:cubicBezTo>
                  <a:cubicBezTo>
                    <a:pt x="463407" y="539557"/>
                    <a:pt x="463407" y="553155"/>
                    <a:pt x="466127" y="564034"/>
                  </a:cubicBezTo>
                  <a:cubicBezTo>
                    <a:pt x="468847" y="572193"/>
                    <a:pt x="468847" y="585791"/>
                    <a:pt x="471566" y="593950"/>
                  </a:cubicBezTo>
                  <a:cubicBezTo>
                    <a:pt x="474286" y="599390"/>
                    <a:pt x="477006" y="602109"/>
                    <a:pt x="479725" y="607548"/>
                  </a:cubicBezTo>
                  <a:cubicBezTo>
                    <a:pt x="482445" y="612988"/>
                    <a:pt x="487884" y="618427"/>
                    <a:pt x="487884" y="623867"/>
                  </a:cubicBezTo>
                  <a:cubicBezTo>
                    <a:pt x="490604" y="634745"/>
                    <a:pt x="496043" y="642904"/>
                    <a:pt x="501482" y="651063"/>
                  </a:cubicBezTo>
                  <a:cubicBezTo>
                    <a:pt x="506922" y="661942"/>
                    <a:pt x="512361" y="664661"/>
                    <a:pt x="523240" y="670101"/>
                  </a:cubicBezTo>
                  <a:cubicBezTo>
                    <a:pt x="528679" y="672820"/>
                    <a:pt x="534119" y="680979"/>
                    <a:pt x="534119" y="686418"/>
                  </a:cubicBezTo>
                  <a:cubicBezTo>
                    <a:pt x="534119" y="689138"/>
                    <a:pt x="534119" y="691858"/>
                    <a:pt x="531399" y="694578"/>
                  </a:cubicBezTo>
                  <a:cubicBezTo>
                    <a:pt x="525959" y="702736"/>
                    <a:pt x="512361" y="708176"/>
                    <a:pt x="498763" y="708176"/>
                  </a:cubicBezTo>
                  <a:cubicBezTo>
                    <a:pt x="485165" y="708176"/>
                    <a:pt x="466127" y="705456"/>
                    <a:pt x="449809" y="700017"/>
                  </a:cubicBezTo>
                  <a:cubicBezTo>
                    <a:pt x="430771" y="694578"/>
                    <a:pt x="409014" y="675540"/>
                    <a:pt x="400855" y="667381"/>
                  </a:cubicBezTo>
                  <a:cubicBezTo>
                    <a:pt x="392696" y="659222"/>
                    <a:pt x="387257" y="651063"/>
                    <a:pt x="381817" y="642904"/>
                  </a:cubicBezTo>
                  <a:cubicBezTo>
                    <a:pt x="376378" y="632025"/>
                    <a:pt x="370939" y="623867"/>
                    <a:pt x="368219" y="610268"/>
                  </a:cubicBezTo>
                  <a:cubicBezTo>
                    <a:pt x="360060" y="588511"/>
                    <a:pt x="357341" y="574913"/>
                    <a:pt x="349182" y="550436"/>
                  </a:cubicBezTo>
                  <a:cubicBezTo>
                    <a:pt x="343742" y="534118"/>
                    <a:pt x="341023" y="520520"/>
                    <a:pt x="338303" y="504202"/>
                  </a:cubicBezTo>
                  <a:cubicBezTo>
                    <a:pt x="335583" y="493323"/>
                    <a:pt x="332864" y="485164"/>
                    <a:pt x="330144" y="477005"/>
                  </a:cubicBezTo>
                  <a:cubicBezTo>
                    <a:pt x="327424" y="471566"/>
                    <a:pt x="324705" y="463407"/>
                    <a:pt x="321985" y="455248"/>
                  </a:cubicBezTo>
                  <a:cubicBezTo>
                    <a:pt x="316546" y="444369"/>
                    <a:pt x="311106" y="436210"/>
                    <a:pt x="305667" y="436210"/>
                  </a:cubicBezTo>
                  <a:cubicBezTo>
                    <a:pt x="302948" y="436210"/>
                    <a:pt x="300228" y="438930"/>
                    <a:pt x="294788" y="441650"/>
                  </a:cubicBezTo>
                  <a:cubicBezTo>
                    <a:pt x="289349" y="447089"/>
                    <a:pt x="283910" y="455248"/>
                    <a:pt x="278471" y="463407"/>
                  </a:cubicBezTo>
                  <a:cubicBezTo>
                    <a:pt x="270312" y="474286"/>
                    <a:pt x="267592" y="485164"/>
                    <a:pt x="264872" y="496043"/>
                  </a:cubicBezTo>
                  <a:cubicBezTo>
                    <a:pt x="264872" y="504202"/>
                    <a:pt x="262153" y="512361"/>
                    <a:pt x="262153" y="517800"/>
                  </a:cubicBezTo>
                  <a:cubicBezTo>
                    <a:pt x="262153" y="520520"/>
                    <a:pt x="262153" y="520520"/>
                    <a:pt x="262153" y="523239"/>
                  </a:cubicBezTo>
                  <a:cubicBezTo>
                    <a:pt x="262153" y="528679"/>
                    <a:pt x="262153" y="544997"/>
                    <a:pt x="262153" y="553155"/>
                  </a:cubicBezTo>
                  <a:cubicBezTo>
                    <a:pt x="262153" y="583072"/>
                    <a:pt x="264872" y="599390"/>
                    <a:pt x="262153" y="629306"/>
                  </a:cubicBezTo>
                  <a:cubicBezTo>
                    <a:pt x="262153" y="640184"/>
                    <a:pt x="262153" y="648343"/>
                    <a:pt x="259433" y="659222"/>
                  </a:cubicBezTo>
                  <a:cubicBezTo>
                    <a:pt x="270312" y="659222"/>
                    <a:pt x="278471" y="659222"/>
                    <a:pt x="283910" y="659222"/>
                  </a:cubicBezTo>
                  <a:cubicBezTo>
                    <a:pt x="297508" y="659222"/>
                    <a:pt x="321985" y="659222"/>
                    <a:pt x="321985" y="675540"/>
                  </a:cubicBezTo>
                  <a:cubicBezTo>
                    <a:pt x="321985" y="683699"/>
                    <a:pt x="319265" y="686418"/>
                    <a:pt x="316546" y="691858"/>
                  </a:cubicBezTo>
                  <a:cubicBezTo>
                    <a:pt x="311106" y="697297"/>
                    <a:pt x="305667" y="700017"/>
                    <a:pt x="300228" y="700017"/>
                  </a:cubicBezTo>
                  <a:cubicBezTo>
                    <a:pt x="292069" y="702736"/>
                    <a:pt x="283910" y="702736"/>
                    <a:pt x="278471" y="702736"/>
                  </a:cubicBezTo>
                  <a:cubicBezTo>
                    <a:pt x="275751" y="702736"/>
                    <a:pt x="259433" y="702736"/>
                    <a:pt x="243115" y="702736"/>
                  </a:cubicBezTo>
                  <a:cubicBezTo>
                    <a:pt x="237676" y="708176"/>
                    <a:pt x="229517" y="710895"/>
                    <a:pt x="221358" y="710895"/>
                  </a:cubicBezTo>
                  <a:cubicBezTo>
                    <a:pt x="213199" y="710895"/>
                    <a:pt x="202320" y="708176"/>
                    <a:pt x="194161" y="702736"/>
                  </a:cubicBezTo>
                  <a:cubicBezTo>
                    <a:pt x="186002" y="702736"/>
                    <a:pt x="180563" y="702736"/>
                    <a:pt x="177843" y="702736"/>
                  </a:cubicBezTo>
                  <a:cubicBezTo>
                    <a:pt x="164245" y="702736"/>
                    <a:pt x="139768" y="702736"/>
                    <a:pt x="126170" y="702736"/>
                  </a:cubicBezTo>
                  <a:cubicBezTo>
                    <a:pt x="118011" y="702736"/>
                    <a:pt x="109852" y="702736"/>
                    <a:pt x="101693" y="702736"/>
                  </a:cubicBezTo>
                  <a:cubicBezTo>
                    <a:pt x="93534" y="702736"/>
                    <a:pt x="82655" y="702736"/>
                    <a:pt x="74496" y="697297"/>
                  </a:cubicBezTo>
                  <a:cubicBezTo>
                    <a:pt x="66337" y="694578"/>
                    <a:pt x="58178" y="686418"/>
                    <a:pt x="58178" y="680979"/>
                  </a:cubicBezTo>
                  <a:cubicBezTo>
                    <a:pt x="58178" y="678260"/>
                    <a:pt x="58178" y="675540"/>
                    <a:pt x="63617" y="672820"/>
                  </a:cubicBezTo>
                  <a:cubicBezTo>
                    <a:pt x="69057" y="670101"/>
                    <a:pt x="79935" y="667381"/>
                    <a:pt x="85375" y="664661"/>
                  </a:cubicBezTo>
                  <a:cubicBezTo>
                    <a:pt x="104412" y="661942"/>
                    <a:pt x="123450" y="659222"/>
                    <a:pt x="128889" y="659222"/>
                  </a:cubicBezTo>
                  <a:cubicBezTo>
                    <a:pt x="134329" y="659222"/>
                    <a:pt x="139768" y="659222"/>
                    <a:pt x="147927" y="659222"/>
                  </a:cubicBezTo>
                  <a:cubicBezTo>
                    <a:pt x="147927" y="656502"/>
                    <a:pt x="145207" y="653783"/>
                    <a:pt x="145207" y="653783"/>
                  </a:cubicBezTo>
                  <a:cubicBezTo>
                    <a:pt x="131609" y="632025"/>
                    <a:pt x="131609" y="610268"/>
                    <a:pt x="131609" y="585791"/>
                  </a:cubicBezTo>
                  <a:cubicBezTo>
                    <a:pt x="131609" y="555875"/>
                    <a:pt x="131609" y="528679"/>
                    <a:pt x="134329" y="498762"/>
                  </a:cubicBezTo>
                  <a:cubicBezTo>
                    <a:pt x="134329" y="468846"/>
                    <a:pt x="137048" y="436210"/>
                    <a:pt x="137048" y="406294"/>
                  </a:cubicBezTo>
                  <a:cubicBezTo>
                    <a:pt x="137048" y="379098"/>
                    <a:pt x="134329" y="354621"/>
                    <a:pt x="134329" y="327424"/>
                  </a:cubicBezTo>
                  <a:cubicBezTo>
                    <a:pt x="134329" y="302947"/>
                    <a:pt x="137048" y="278470"/>
                    <a:pt x="137048" y="253993"/>
                  </a:cubicBezTo>
                  <a:cubicBezTo>
                    <a:pt x="137048" y="237675"/>
                    <a:pt x="139768" y="224077"/>
                    <a:pt x="139768" y="207759"/>
                  </a:cubicBezTo>
                  <a:cubicBezTo>
                    <a:pt x="139768" y="196881"/>
                    <a:pt x="137048" y="183282"/>
                    <a:pt x="137048" y="172404"/>
                  </a:cubicBezTo>
                  <a:cubicBezTo>
                    <a:pt x="137048" y="150647"/>
                    <a:pt x="137048" y="131609"/>
                    <a:pt x="137048" y="112571"/>
                  </a:cubicBezTo>
                  <a:cubicBezTo>
                    <a:pt x="134329" y="112571"/>
                    <a:pt x="137048" y="112571"/>
                    <a:pt x="126170" y="112571"/>
                  </a:cubicBezTo>
                  <a:cubicBezTo>
                    <a:pt x="118011" y="112571"/>
                    <a:pt x="109852" y="112571"/>
                    <a:pt x="101693" y="112571"/>
                  </a:cubicBezTo>
                  <a:cubicBezTo>
                    <a:pt x="93534" y="112571"/>
                    <a:pt x="82655" y="109852"/>
                    <a:pt x="74496" y="107132"/>
                  </a:cubicBezTo>
                  <a:cubicBezTo>
                    <a:pt x="66337" y="104412"/>
                    <a:pt x="58178" y="96253"/>
                    <a:pt x="58178" y="90814"/>
                  </a:cubicBezTo>
                  <a:cubicBezTo>
                    <a:pt x="58178" y="88094"/>
                    <a:pt x="58178" y="85375"/>
                    <a:pt x="63617" y="82655"/>
                  </a:cubicBezTo>
                  <a:cubicBezTo>
                    <a:pt x="69057" y="79936"/>
                    <a:pt x="79935" y="77216"/>
                    <a:pt x="85375" y="74496"/>
                  </a:cubicBezTo>
                  <a:cubicBezTo>
                    <a:pt x="104412" y="71776"/>
                    <a:pt x="128889" y="69057"/>
                    <a:pt x="137048" y="69057"/>
                  </a:cubicBezTo>
                  <a:cubicBezTo>
                    <a:pt x="137048" y="69057"/>
                    <a:pt x="139768" y="69057"/>
                    <a:pt x="145207" y="69057"/>
                  </a:cubicBezTo>
                  <a:cubicBezTo>
                    <a:pt x="150646" y="60898"/>
                    <a:pt x="158806" y="58178"/>
                    <a:pt x="169684" y="58178"/>
                  </a:cubicBezTo>
                  <a:cubicBezTo>
                    <a:pt x="172404" y="58178"/>
                    <a:pt x="175123" y="58178"/>
                    <a:pt x="177843" y="58178"/>
                  </a:cubicBezTo>
                  <a:cubicBezTo>
                    <a:pt x="186002" y="58178"/>
                    <a:pt x="196881" y="63617"/>
                    <a:pt x="205040" y="66337"/>
                  </a:cubicBezTo>
                  <a:cubicBezTo>
                    <a:pt x="237676" y="66337"/>
                    <a:pt x="273031" y="63617"/>
                    <a:pt x="286629" y="63617"/>
                  </a:cubicBezTo>
                  <a:cubicBezTo>
                    <a:pt x="300228" y="63617"/>
                    <a:pt x="324705" y="63617"/>
                    <a:pt x="324705" y="79936"/>
                  </a:cubicBezTo>
                  <a:cubicBezTo>
                    <a:pt x="324705" y="88094"/>
                    <a:pt x="321985" y="90814"/>
                    <a:pt x="319265" y="96253"/>
                  </a:cubicBezTo>
                  <a:cubicBezTo>
                    <a:pt x="313826" y="101693"/>
                    <a:pt x="308387" y="104412"/>
                    <a:pt x="302948" y="104412"/>
                  </a:cubicBezTo>
                  <a:cubicBezTo>
                    <a:pt x="289349" y="112571"/>
                    <a:pt x="283910" y="112571"/>
                    <a:pt x="278471" y="112571"/>
                  </a:cubicBezTo>
                  <a:cubicBezTo>
                    <a:pt x="273031" y="112571"/>
                    <a:pt x="253994" y="112571"/>
                    <a:pt x="232236" y="112571"/>
                  </a:cubicBezTo>
                  <a:cubicBezTo>
                    <a:pt x="237676" y="120730"/>
                    <a:pt x="240395" y="128889"/>
                    <a:pt x="240395" y="137048"/>
                  </a:cubicBezTo>
                  <a:cubicBezTo>
                    <a:pt x="240395" y="142487"/>
                    <a:pt x="240395" y="145207"/>
                    <a:pt x="240395" y="150647"/>
                  </a:cubicBezTo>
                  <a:cubicBezTo>
                    <a:pt x="240395" y="153366"/>
                    <a:pt x="240395" y="156086"/>
                    <a:pt x="243115" y="158805"/>
                  </a:cubicBezTo>
                  <a:cubicBezTo>
                    <a:pt x="245835" y="169684"/>
                    <a:pt x="245835" y="180563"/>
                    <a:pt x="248554" y="188722"/>
                  </a:cubicBezTo>
                  <a:cubicBezTo>
                    <a:pt x="248554" y="191441"/>
                    <a:pt x="248554" y="194161"/>
                    <a:pt x="248554" y="199600"/>
                  </a:cubicBezTo>
                  <a:cubicBezTo>
                    <a:pt x="248554" y="207759"/>
                    <a:pt x="248554" y="213198"/>
                    <a:pt x="248554" y="221357"/>
                  </a:cubicBezTo>
                  <a:cubicBezTo>
                    <a:pt x="248554" y="234956"/>
                    <a:pt x="251274" y="248554"/>
                    <a:pt x="253994" y="264872"/>
                  </a:cubicBezTo>
                  <a:cubicBezTo>
                    <a:pt x="256713" y="275751"/>
                    <a:pt x="259433" y="286629"/>
                    <a:pt x="262153" y="297508"/>
                  </a:cubicBezTo>
                  <a:cubicBezTo>
                    <a:pt x="264872" y="305667"/>
                    <a:pt x="264872" y="313826"/>
                    <a:pt x="264872" y="324704"/>
                  </a:cubicBezTo>
                  <a:cubicBezTo>
                    <a:pt x="264872" y="327424"/>
                    <a:pt x="264872" y="330144"/>
                    <a:pt x="264872" y="332863"/>
                  </a:cubicBezTo>
                  <a:cubicBezTo>
                    <a:pt x="264872" y="338303"/>
                    <a:pt x="264872" y="346462"/>
                    <a:pt x="264872" y="351901"/>
                  </a:cubicBezTo>
                  <a:cubicBezTo>
                    <a:pt x="264872" y="357340"/>
                    <a:pt x="262153" y="365499"/>
                    <a:pt x="262153" y="370939"/>
                  </a:cubicBezTo>
                  <a:cubicBezTo>
                    <a:pt x="262153" y="376378"/>
                    <a:pt x="264872" y="384537"/>
                    <a:pt x="267592" y="384537"/>
                  </a:cubicBezTo>
                  <a:cubicBezTo>
                    <a:pt x="273031" y="384537"/>
                    <a:pt x="275751" y="376378"/>
                    <a:pt x="278471" y="370939"/>
                  </a:cubicBezTo>
                  <a:cubicBezTo>
                    <a:pt x="283910" y="360060"/>
                    <a:pt x="289349" y="346462"/>
                    <a:pt x="297508" y="332863"/>
                  </a:cubicBezTo>
                  <a:cubicBezTo>
                    <a:pt x="302948" y="324704"/>
                    <a:pt x="305667" y="313826"/>
                    <a:pt x="311106" y="305667"/>
                  </a:cubicBezTo>
                  <a:cubicBezTo>
                    <a:pt x="319265" y="289349"/>
                    <a:pt x="327424" y="275751"/>
                    <a:pt x="335583" y="259433"/>
                  </a:cubicBezTo>
                  <a:cubicBezTo>
                    <a:pt x="341023" y="248554"/>
                    <a:pt x="349182" y="234956"/>
                    <a:pt x="354621" y="224077"/>
                  </a:cubicBezTo>
                  <a:cubicBezTo>
                    <a:pt x="362780" y="207759"/>
                    <a:pt x="370939" y="191441"/>
                    <a:pt x="381817" y="172404"/>
                  </a:cubicBezTo>
                  <a:cubicBezTo>
                    <a:pt x="389977" y="153366"/>
                    <a:pt x="400855" y="134329"/>
                    <a:pt x="409014" y="118011"/>
                  </a:cubicBezTo>
                  <a:cubicBezTo>
                    <a:pt x="409014" y="115291"/>
                    <a:pt x="409014" y="115291"/>
                    <a:pt x="411734" y="115291"/>
                  </a:cubicBezTo>
                  <a:cubicBezTo>
                    <a:pt x="406294" y="115291"/>
                    <a:pt x="400855" y="115291"/>
                    <a:pt x="398136" y="115291"/>
                  </a:cubicBezTo>
                  <a:cubicBezTo>
                    <a:pt x="392696" y="115291"/>
                    <a:pt x="384537" y="115291"/>
                    <a:pt x="379098" y="109852"/>
                  </a:cubicBezTo>
                  <a:cubicBezTo>
                    <a:pt x="373659" y="107132"/>
                    <a:pt x="368219" y="98973"/>
                    <a:pt x="368219" y="93534"/>
                  </a:cubicBezTo>
                  <a:cubicBezTo>
                    <a:pt x="368219" y="90814"/>
                    <a:pt x="368219" y="88094"/>
                    <a:pt x="370939" y="85375"/>
                  </a:cubicBezTo>
                  <a:cubicBezTo>
                    <a:pt x="373659" y="82655"/>
                    <a:pt x="381817" y="79936"/>
                    <a:pt x="387257" y="77216"/>
                  </a:cubicBezTo>
                  <a:cubicBezTo>
                    <a:pt x="400855" y="74496"/>
                    <a:pt x="414453" y="71776"/>
                    <a:pt x="422612" y="71776"/>
                  </a:cubicBezTo>
                  <a:cubicBezTo>
                    <a:pt x="425332" y="71776"/>
                    <a:pt x="430771" y="71776"/>
                    <a:pt x="436211" y="71776"/>
                  </a:cubicBezTo>
                  <a:cubicBezTo>
                    <a:pt x="436211" y="71776"/>
                    <a:pt x="438930" y="69057"/>
                    <a:pt x="438930" y="69057"/>
                  </a:cubicBezTo>
                  <a:cubicBezTo>
                    <a:pt x="444370" y="66337"/>
                    <a:pt x="447089" y="66337"/>
                    <a:pt x="452529" y="66337"/>
                  </a:cubicBezTo>
                  <a:cubicBezTo>
                    <a:pt x="457968" y="66337"/>
                    <a:pt x="460688" y="66337"/>
                    <a:pt x="466127" y="69057"/>
                  </a:cubicBezTo>
                  <a:cubicBezTo>
                    <a:pt x="468847" y="69057"/>
                    <a:pt x="471566" y="71776"/>
                    <a:pt x="471566" y="71776"/>
                  </a:cubicBezTo>
                  <a:cubicBezTo>
                    <a:pt x="490604" y="71776"/>
                    <a:pt x="506922" y="71776"/>
                    <a:pt x="515081" y="71776"/>
                  </a:cubicBezTo>
                  <a:cubicBezTo>
                    <a:pt x="523240" y="71776"/>
                    <a:pt x="542277" y="71776"/>
                    <a:pt x="542277" y="88094"/>
                  </a:cubicBezTo>
                  <a:cubicBezTo>
                    <a:pt x="542277" y="96253"/>
                    <a:pt x="542277" y="98973"/>
                    <a:pt x="536838" y="104412"/>
                  </a:cubicBezTo>
                  <a:cubicBezTo>
                    <a:pt x="534119" y="109852"/>
                    <a:pt x="528679" y="112571"/>
                    <a:pt x="525959" y="112571"/>
                  </a:cubicBezTo>
                  <a:cubicBezTo>
                    <a:pt x="520520" y="115291"/>
                    <a:pt x="515081" y="115291"/>
                    <a:pt x="509642" y="115291"/>
                  </a:cubicBezTo>
                  <a:cubicBezTo>
                    <a:pt x="506922" y="115291"/>
                    <a:pt x="487884" y="115291"/>
                    <a:pt x="468847" y="115291"/>
                  </a:cubicBezTo>
                  <a:cubicBezTo>
                    <a:pt x="466127" y="123450"/>
                    <a:pt x="460688" y="128889"/>
                    <a:pt x="457968" y="137048"/>
                  </a:cubicBezTo>
                  <a:cubicBezTo>
                    <a:pt x="447089" y="156086"/>
                    <a:pt x="438930" y="175123"/>
                    <a:pt x="430771" y="194161"/>
                  </a:cubicBezTo>
                  <a:cubicBezTo>
                    <a:pt x="419893" y="215918"/>
                    <a:pt x="411734" y="240395"/>
                    <a:pt x="400855" y="262152"/>
                  </a:cubicBezTo>
                  <a:cubicBezTo>
                    <a:pt x="387257" y="289349"/>
                    <a:pt x="373659" y="311106"/>
                    <a:pt x="360060" y="332863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2" name="Freeform: Shape 41">
              <a:extLst>
                <a:ext uri="{FF2B5EF4-FFF2-40B4-BE49-F238E27FC236}">
                  <a16:creationId xmlns:a16="http://schemas.microsoft.com/office/drawing/2014/main" id="{49007CFA-4CB6-4475-8DC1-AE2D8D316015}"/>
                </a:ext>
              </a:extLst>
            </p:cNvPr>
            <p:cNvSpPr/>
            <p:nvPr/>
          </p:nvSpPr>
          <p:spPr>
            <a:xfrm>
              <a:off x="4335316" y="4186718"/>
              <a:ext cx="353556" cy="761503"/>
            </a:xfrm>
            <a:custGeom>
              <a:avLst/>
              <a:gdLst>
                <a:gd name="connsiteX0" fmla="*/ 283910 w 353555"/>
                <a:gd name="connsiteY0" fmla="*/ 672820 h 761503"/>
                <a:gd name="connsiteX1" fmla="*/ 321985 w 353555"/>
                <a:gd name="connsiteY1" fmla="*/ 689138 h 761503"/>
                <a:gd name="connsiteX2" fmla="*/ 316546 w 353555"/>
                <a:gd name="connsiteY2" fmla="*/ 705456 h 761503"/>
                <a:gd name="connsiteX3" fmla="*/ 300228 w 353555"/>
                <a:gd name="connsiteY3" fmla="*/ 713615 h 761503"/>
                <a:gd name="connsiteX4" fmla="*/ 278471 w 353555"/>
                <a:gd name="connsiteY4" fmla="*/ 716335 h 761503"/>
                <a:gd name="connsiteX5" fmla="*/ 237676 w 353555"/>
                <a:gd name="connsiteY5" fmla="*/ 716335 h 761503"/>
                <a:gd name="connsiteX6" fmla="*/ 180563 w 353555"/>
                <a:gd name="connsiteY6" fmla="*/ 719054 h 761503"/>
                <a:gd name="connsiteX7" fmla="*/ 126170 w 353555"/>
                <a:gd name="connsiteY7" fmla="*/ 719054 h 761503"/>
                <a:gd name="connsiteX8" fmla="*/ 101693 w 353555"/>
                <a:gd name="connsiteY8" fmla="*/ 719054 h 761503"/>
                <a:gd name="connsiteX9" fmla="*/ 74496 w 353555"/>
                <a:gd name="connsiteY9" fmla="*/ 713615 h 761503"/>
                <a:gd name="connsiteX10" fmla="*/ 58178 w 353555"/>
                <a:gd name="connsiteY10" fmla="*/ 697297 h 761503"/>
                <a:gd name="connsiteX11" fmla="*/ 63617 w 353555"/>
                <a:gd name="connsiteY11" fmla="*/ 689138 h 761503"/>
                <a:gd name="connsiteX12" fmla="*/ 85375 w 353555"/>
                <a:gd name="connsiteY12" fmla="*/ 680979 h 761503"/>
                <a:gd name="connsiteX13" fmla="*/ 131609 w 353555"/>
                <a:gd name="connsiteY13" fmla="*/ 675540 h 761503"/>
                <a:gd name="connsiteX14" fmla="*/ 142488 w 353555"/>
                <a:gd name="connsiteY14" fmla="*/ 675540 h 761503"/>
                <a:gd name="connsiteX15" fmla="*/ 131609 w 353555"/>
                <a:gd name="connsiteY15" fmla="*/ 653783 h 761503"/>
                <a:gd name="connsiteX16" fmla="*/ 128889 w 353555"/>
                <a:gd name="connsiteY16" fmla="*/ 640184 h 761503"/>
                <a:gd name="connsiteX17" fmla="*/ 128889 w 353555"/>
                <a:gd name="connsiteY17" fmla="*/ 629306 h 761503"/>
                <a:gd name="connsiteX18" fmla="*/ 128889 w 353555"/>
                <a:gd name="connsiteY18" fmla="*/ 621147 h 761503"/>
                <a:gd name="connsiteX19" fmla="*/ 128889 w 353555"/>
                <a:gd name="connsiteY19" fmla="*/ 593950 h 761503"/>
                <a:gd name="connsiteX20" fmla="*/ 128889 w 353555"/>
                <a:gd name="connsiteY20" fmla="*/ 583072 h 761503"/>
                <a:gd name="connsiteX21" fmla="*/ 128889 w 353555"/>
                <a:gd name="connsiteY21" fmla="*/ 436210 h 761503"/>
                <a:gd name="connsiteX22" fmla="*/ 128889 w 353555"/>
                <a:gd name="connsiteY22" fmla="*/ 357340 h 761503"/>
                <a:gd name="connsiteX23" fmla="*/ 131609 w 353555"/>
                <a:gd name="connsiteY23" fmla="*/ 289349 h 761503"/>
                <a:gd name="connsiteX24" fmla="*/ 131609 w 353555"/>
                <a:gd name="connsiteY24" fmla="*/ 251274 h 761503"/>
                <a:gd name="connsiteX25" fmla="*/ 131609 w 353555"/>
                <a:gd name="connsiteY25" fmla="*/ 205040 h 761503"/>
                <a:gd name="connsiteX26" fmla="*/ 131609 w 353555"/>
                <a:gd name="connsiteY26" fmla="*/ 139768 h 761503"/>
                <a:gd name="connsiteX27" fmla="*/ 131609 w 353555"/>
                <a:gd name="connsiteY27" fmla="*/ 128889 h 761503"/>
                <a:gd name="connsiteX28" fmla="*/ 126170 w 353555"/>
                <a:gd name="connsiteY28" fmla="*/ 128889 h 761503"/>
                <a:gd name="connsiteX29" fmla="*/ 101693 w 353555"/>
                <a:gd name="connsiteY29" fmla="*/ 128889 h 761503"/>
                <a:gd name="connsiteX30" fmla="*/ 74496 w 353555"/>
                <a:gd name="connsiteY30" fmla="*/ 123450 h 761503"/>
                <a:gd name="connsiteX31" fmla="*/ 58178 w 353555"/>
                <a:gd name="connsiteY31" fmla="*/ 107132 h 761503"/>
                <a:gd name="connsiteX32" fmla="*/ 60898 w 353555"/>
                <a:gd name="connsiteY32" fmla="*/ 98973 h 761503"/>
                <a:gd name="connsiteX33" fmla="*/ 82655 w 353555"/>
                <a:gd name="connsiteY33" fmla="*/ 93534 h 761503"/>
                <a:gd name="connsiteX34" fmla="*/ 131609 w 353555"/>
                <a:gd name="connsiteY34" fmla="*/ 88094 h 761503"/>
                <a:gd name="connsiteX35" fmla="*/ 131609 w 353555"/>
                <a:gd name="connsiteY35" fmla="*/ 82655 h 761503"/>
                <a:gd name="connsiteX36" fmla="*/ 134329 w 353555"/>
                <a:gd name="connsiteY36" fmla="*/ 71776 h 761503"/>
                <a:gd name="connsiteX37" fmla="*/ 147927 w 353555"/>
                <a:gd name="connsiteY37" fmla="*/ 63617 h 761503"/>
                <a:gd name="connsiteX38" fmla="*/ 164245 w 353555"/>
                <a:gd name="connsiteY38" fmla="*/ 58178 h 761503"/>
                <a:gd name="connsiteX39" fmla="*/ 177843 w 353555"/>
                <a:gd name="connsiteY39" fmla="*/ 58178 h 761503"/>
                <a:gd name="connsiteX40" fmla="*/ 196881 w 353555"/>
                <a:gd name="connsiteY40" fmla="*/ 60898 h 761503"/>
                <a:gd name="connsiteX41" fmla="*/ 232236 w 353555"/>
                <a:gd name="connsiteY41" fmla="*/ 88094 h 761503"/>
                <a:gd name="connsiteX42" fmla="*/ 278471 w 353555"/>
                <a:gd name="connsiteY42" fmla="*/ 88094 h 761503"/>
                <a:gd name="connsiteX43" fmla="*/ 316546 w 353555"/>
                <a:gd name="connsiteY43" fmla="*/ 104412 h 761503"/>
                <a:gd name="connsiteX44" fmla="*/ 311106 w 353555"/>
                <a:gd name="connsiteY44" fmla="*/ 120730 h 761503"/>
                <a:gd name="connsiteX45" fmla="*/ 294788 w 353555"/>
                <a:gd name="connsiteY45" fmla="*/ 128889 h 761503"/>
                <a:gd name="connsiteX46" fmla="*/ 273031 w 353555"/>
                <a:gd name="connsiteY46" fmla="*/ 131609 h 761503"/>
                <a:gd name="connsiteX47" fmla="*/ 243115 w 353555"/>
                <a:gd name="connsiteY47" fmla="*/ 131609 h 761503"/>
                <a:gd name="connsiteX48" fmla="*/ 243115 w 353555"/>
                <a:gd name="connsiteY48" fmla="*/ 134329 h 761503"/>
                <a:gd name="connsiteX49" fmla="*/ 248554 w 353555"/>
                <a:gd name="connsiteY49" fmla="*/ 169684 h 761503"/>
                <a:gd name="connsiteX50" fmla="*/ 251274 w 353555"/>
                <a:gd name="connsiteY50" fmla="*/ 205040 h 761503"/>
                <a:gd name="connsiteX51" fmla="*/ 251274 w 353555"/>
                <a:gd name="connsiteY51" fmla="*/ 240395 h 761503"/>
                <a:gd name="connsiteX52" fmla="*/ 251274 w 353555"/>
                <a:gd name="connsiteY52" fmla="*/ 256713 h 761503"/>
                <a:gd name="connsiteX53" fmla="*/ 253994 w 353555"/>
                <a:gd name="connsiteY53" fmla="*/ 270311 h 761503"/>
                <a:gd name="connsiteX54" fmla="*/ 259433 w 353555"/>
                <a:gd name="connsiteY54" fmla="*/ 343742 h 761503"/>
                <a:gd name="connsiteX55" fmla="*/ 262153 w 353555"/>
                <a:gd name="connsiteY55" fmla="*/ 425332 h 761503"/>
                <a:gd name="connsiteX56" fmla="*/ 264872 w 353555"/>
                <a:gd name="connsiteY56" fmla="*/ 490603 h 761503"/>
                <a:gd name="connsiteX57" fmla="*/ 270312 w 353555"/>
                <a:gd name="connsiteY57" fmla="*/ 564034 h 761503"/>
                <a:gd name="connsiteX58" fmla="*/ 270312 w 353555"/>
                <a:gd name="connsiteY58" fmla="*/ 599390 h 761503"/>
                <a:gd name="connsiteX59" fmla="*/ 270312 w 353555"/>
                <a:gd name="connsiteY59" fmla="*/ 637465 h 761503"/>
                <a:gd name="connsiteX60" fmla="*/ 264872 w 353555"/>
                <a:gd name="connsiteY60" fmla="*/ 670101 h 761503"/>
                <a:gd name="connsiteX61" fmla="*/ 283910 w 353555"/>
                <a:gd name="connsiteY61" fmla="*/ 672820 h 761503"/>
                <a:gd name="connsiteX62" fmla="*/ 283910 w 353555"/>
                <a:gd name="connsiteY62" fmla="*/ 672820 h 761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</a:cxnLst>
              <a:rect l="l" t="t" r="r" b="b"/>
              <a:pathLst>
                <a:path w="353555" h="761503">
                  <a:moveTo>
                    <a:pt x="283910" y="672820"/>
                  </a:moveTo>
                  <a:cubicBezTo>
                    <a:pt x="297508" y="672820"/>
                    <a:pt x="321985" y="672820"/>
                    <a:pt x="321985" y="689138"/>
                  </a:cubicBezTo>
                  <a:cubicBezTo>
                    <a:pt x="321985" y="697297"/>
                    <a:pt x="319265" y="697297"/>
                    <a:pt x="316546" y="705456"/>
                  </a:cubicBezTo>
                  <a:cubicBezTo>
                    <a:pt x="311106" y="710895"/>
                    <a:pt x="305667" y="713615"/>
                    <a:pt x="300228" y="713615"/>
                  </a:cubicBezTo>
                  <a:cubicBezTo>
                    <a:pt x="292069" y="716335"/>
                    <a:pt x="283910" y="716335"/>
                    <a:pt x="278471" y="716335"/>
                  </a:cubicBezTo>
                  <a:cubicBezTo>
                    <a:pt x="275751" y="716335"/>
                    <a:pt x="256713" y="716335"/>
                    <a:pt x="237676" y="716335"/>
                  </a:cubicBezTo>
                  <a:cubicBezTo>
                    <a:pt x="213199" y="716335"/>
                    <a:pt x="186002" y="719054"/>
                    <a:pt x="180563" y="719054"/>
                  </a:cubicBezTo>
                  <a:cubicBezTo>
                    <a:pt x="166965" y="719054"/>
                    <a:pt x="142488" y="719054"/>
                    <a:pt x="126170" y="719054"/>
                  </a:cubicBezTo>
                  <a:cubicBezTo>
                    <a:pt x="118011" y="719054"/>
                    <a:pt x="109852" y="719054"/>
                    <a:pt x="101693" y="719054"/>
                  </a:cubicBezTo>
                  <a:cubicBezTo>
                    <a:pt x="93534" y="719054"/>
                    <a:pt x="82655" y="719054"/>
                    <a:pt x="74496" y="713615"/>
                  </a:cubicBezTo>
                  <a:cubicBezTo>
                    <a:pt x="66337" y="710895"/>
                    <a:pt x="58178" y="702736"/>
                    <a:pt x="58178" y="697297"/>
                  </a:cubicBezTo>
                  <a:cubicBezTo>
                    <a:pt x="58178" y="694578"/>
                    <a:pt x="58178" y="691858"/>
                    <a:pt x="63617" y="689138"/>
                  </a:cubicBezTo>
                  <a:cubicBezTo>
                    <a:pt x="69057" y="686418"/>
                    <a:pt x="79935" y="683699"/>
                    <a:pt x="85375" y="680979"/>
                  </a:cubicBezTo>
                  <a:cubicBezTo>
                    <a:pt x="104412" y="678260"/>
                    <a:pt x="123450" y="675540"/>
                    <a:pt x="131609" y="675540"/>
                  </a:cubicBezTo>
                  <a:cubicBezTo>
                    <a:pt x="134329" y="675540"/>
                    <a:pt x="137048" y="675540"/>
                    <a:pt x="142488" y="675540"/>
                  </a:cubicBezTo>
                  <a:cubicBezTo>
                    <a:pt x="134329" y="670101"/>
                    <a:pt x="131609" y="661942"/>
                    <a:pt x="131609" y="653783"/>
                  </a:cubicBezTo>
                  <a:cubicBezTo>
                    <a:pt x="131609" y="648343"/>
                    <a:pt x="131609" y="642904"/>
                    <a:pt x="128889" y="640184"/>
                  </a:cubicBezTo>
                  <a:cubicBezTo>
                    <a:pt x="128889" y="637465"/>
                    <a:pt x="128889" y="634745"/>
                    <a:pt x="128889" y="629306"/>
                  </a:cubicBezTo>
                  <a:cubicBezTo>
                    <a:pt x="128889" y="626586"/>
                    <a:pt x="128889" y="623867"/>
                    <a:pt x="128889" y="621147"/>
                  </a:cubicBezTo>
                  <a:cubicBezTo>
                    <a:pt x="128889" y="612988"/>
                    <a:pt x="128889" y="604829"/>
                    <a:pt x="128889" y="593950"/>
                  </a:cubicBezTo>
                  <a:cubicBezTo>
                    <a:pt x="128889" y="591231"/>
                    <a:pt x="128889" y="585791"/>
                    <a:pt x="128889" y="583072"/>
                  </a:cubicBezTo>
                  <a:cubicBezTo>
                    <a:pt x="128889" y="534118"/>
                    <a:pt x="131609" y="485164"/>
                    <a:pt x="128889" y="436210"/>
                  </a:cubicBezTo>
                  <a:cubicBezTo>
                    <a:pt x="128889" y="409014"/>
                    <a:pt x="128889" y="384537"/>
                    <a:pt x="128889" y="357340"/>
                  </a:cubicBezTo>
                  <a:cubicBezTo>
                    <a:pt x="128889" y="335583"/>
                    <a:pt x="131609" y="313826"/>
                    <a:pt x="131609" y="289349"/>
                  </a:cubicBezTo>
                  <a:cubicBezTo>
                    <a:pt x="131609" y="275751"/>
                    <a:pt x="131609" y="264872"/>
                    <a:pt x="131609" y="251274"/>
                  </a:cubicBezTo>
                  <a:cubicBezTo>
                    <a:pt x="131609" y="234956"/>
                    <a:pt x="131609" y="221357"/>
                    <a:pt x="131609" y="205040"/>
                  </a:cubicBezTo>
                  <a:cubicBezTo>
                    <a:pt x="131609" y="183282"/>
                    <a:pt x="131609" y="161525"/>
                    <a:pt x="131609" y="139768"/>
                  </a:cubicBezTo>
                  <a:cubicBezTo>
                    <a:pt x="131609" y="137048"/>
                    <a:pt x="131609" y="134329"/>
                    <a:pt x="131609" y="128889"/>
                  </a:cubicBezTo>
                  <a:cubicBezTo>
                    <a:pt x="128889" y="128889"/>
                    <a:pt x="126170" y="128889"/>
                    <a:pt x="126170" y="128889"/>
                  </a:cubicBezTo>
                  <a:cubicBezTo>
                    <a:pt x="118011" y="128889"/>
                    <a:pt x="109852" y="128889"/>
                    <a:pt x="101693" y="128889"/>
                  </a:cubicBezTo>
                  <a:cubicBezTo>
                    <a:pt x="93534" y="128889"/>
                    <a:pt x="82655" y="128889"/>
                    <a:pt x="74496" y="123450"/>
                  </a:cubicBezTo>
                  <a:cubicBezTo>
                    <a:pt x="66337" y="120730"/>
                    <a:pt x="58178" y="112571"/>
                    <a:pt x="58178" y="107132"/>
                  </a:cubicBezTo>
                  <a:cubicBezTo>
                    <a:pt x="58178" y="104412"/>
                    <a:pt x="58178" y="101693"/>
                    <a:pt x="60898" y="98973"/>
                  </a:cubicBezTo>
                  <a:cubicBezTo>
                    <a:pt x="63617" y="96253"/>
                    <a:pt x="77216" y="93534"/>
                    <a:pt x="82655" y="93534"/>
                  </a:cubicBezTo>
                  <a:cubicBezTo>
                    <a:pt x="98973" y="90814"/>
                    <a:pt x="123450" y="88094"/>
                    <a:pt x="131609" y="88094"/>
                  </a:cubicBezTo>
                  <a:cubicBezTo>
                    <a:pt x="131609" y="85375"/>
                    <a:pt x="131609" y="85375"/>
                    <a:pt x="131609" y="82655"/>
                  </a:cubicBezTo>
                  <a:cubicBezTo>
                    <a:pt x="131609" y="77216"/>
                    <a:pt x="131609" y="74496"/>
                    <a:pt x="134329" y="71776"/>
                  </a:cubicBezTo>
                  <a:cubicBezTo>
                    <a:pt x="137048" y="69057"/>
                    <a:pt x="145207" y="66337"/>
                    <a:pt x="147927" y="63617"/>
                  </a:cubicBezTo>
                  <a:cubicBezTo>
                    <a:pt x="153366" y="60898"/>
                    <a:pt x="158806" y="58178"/>
                    <a:pt x="164245" y="58178"/>
                  </a:cubicBezTo>
                  <a:cubicBezTo>
                    <a:pt x="169684" y="58178"/>
                    <a:pt x="175123" y="58178"/>
                    <a:pt x="177843" y="58178"/>
                  </a:cubicBezTo>
                  <a:cubicBezTo>
                    <a:pt x="183283" y="58178"/>
                    <a:pt x="191442" y="58178"/>
                    <a:pt x="196881" y="60898"/>
                  </a:cubicBezTo>
                  <a:cubicBezTo>
                    <a:pt x="213199" y="63617"/>
                    <a:pt x="224077" y="74496"/>
                    <a:pt x="232236" y="88094"/>
                  </a:cubicBezTo>
                  <a:cubicBezTo>
                    <a:pt x="253994" y="88094"/>
                    <a:pt x="270312" y="88094"/>
                    <a:pt x="278471" y="88094"/>
                  </a:cubicBezTo>
                  <a:cubicBezTo>
                    <a:pt x="292069" y="88094"/>
                    <a:pt x="316546" y="88094"/>
                    <a:pt x="316546" y="104412"/>
                  </a:cubicBezTo>
                  <a:cubicBezTo>
                    <a:pt x="316546" y="112571"/>
                    <a:pt x="313826" y="112571"/>
                    <a:pt x="311106" y="120730"/>
                  </a:cubicBezTo>
                  <a:cubicBezTo>
                    <a:pt x="305667" y="126170"/>
                    <a:pt x="300228" y="128889"/>
                    <a:pt x="294788" y="128889"/>
                  </a:cubicBezTo>
                  <a:cubicBezTo>
                    <a:pt x="286630" y="131609"/>
                    <a:pt x="278471" y="131609"/>
                    <a:pt x="273031" y="131609"/>
                  </a:cubicBezTo>
                  <a:cubicBezTo>
                    <a:pt x="270312" y="131609"/>
                    <a:pt x="259433" y="131609"/>
                    <a:pt x="243115" y="131609"/>
                  </a:cubicBezTo>
                  <a:lnTo>
                    <a:pt x="243115" y="134329"/>
                  </a:lnTo>
                  <a:cubicBezTo>
                    <a:pt x="245835" y="145207"/>
                    <a:pt x="245835" y="158805"/>
                    <a:pt x="248554" y="169684"/>
                  </a:cubicBezTo>
                  <a:cubicBezTo>
                    <a:pt x="251274" y="180563"/>
                    <a:pt x="251274" y="194161"/>
                    <a:pt x="251274" y="205040"/>
                  </a:cubicBezTo>
                  <a:cubicBezTo>
                    <a:pt x="251274" y="215918"/>
                    <a:pt x="251274" y="226797"/>
                    <a:pt x="251274" y="240395"/>
                  </a:cubicBezTo>
                  <a:cubicBezTo>
                    <a:pt x="251274" y="245834"/>
                    <a:pt x="251274" y="251274"/>
                    <a:pt x="251274" y="256713"/>
                  </a:cubicBezTo>
                  <a:cubicBezTo>
                    <a:pt x="251274" y="262152"/>
                    <a:pt x="251274" y="267592"/>
                    <a:pt x="253994" y="270311"/>
                  </a:cubicBezTo>
                  <a:cubicBezTo>
                    <a:pt x="256713" y="294788"/>
                    <a:pt x="256713" y="319265"/>
                    <a:pt x="259433" y="343742"/>
                  </a:cubicBezTo>
                  <a:cubicBezTo>
                    <a:pt x="259433" y="370939"/>
                    <a:pt x="262153" y="398135"/>
                    <a:pt x="262153" y="425332"/>
                  </a:cubicBezTo>
                  <a:cubicBezTo>
                    <a:pt x="262153" y="447089"/>
                    <a:pt x="262153" y="468846"/>
                    <a:pt x="264872" y="490603"/>
                  </a:cubicBezTo>
                  <a:cubicBezTo>
                    <a:pt x="264872" y="515080"/>
                    <a:pt x="270312" y="539557"/>
                    <a:pt x="270312" y="564034"/>
                  </a:cubicBezTo>
                  <a:cubicBezTo>
                    <a:pt x="270312" y="574913"/>
                    <a:pt x="270312" y="588511"/>
                    <a:pt x="270312" y="599390"/>
                  </a:cubicBezTo>
                  <a:cubicBezTo>
                    <a:pt x="270312" y="612988"/>
                    <a:pt x="270312" y="623867"/>
                    <a:pt x="270312" y="637465"/>
                  </a:cubicBezTo>
                  <a:cubicBezTo>
                    <a:pt x="270312" y="648343"/>
                    <a:pt x="270312" y="661942"/>
                    <a:pt x="264872" y="670101"/>
                  </a:cubicBezTo>
                  <a:cubicBezTo>
                    <a:pt x="273031" y="672820"/>
                    <a:pt x="278471" y="672820"/>
                    <a:pt x="283910" y="672820"/>
                  </a:cubicBezTo>
                  <a:lnTo>
                    <a:pt x="283910" y="672820"/>
                  </a:ln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3" name="Freeform: Shape 42">
              <a:extLst>
                <a:ext uri="{FF2B5EF4-FFF2-40B4-BE49-F238E27FC236}">
                  <a16:creationId xmlns:a16="http://schemas.microsoft.com/office/drawing/2014/main" id="{862B4178-3CD4-4F75-9B25-C23D707C377A}"/>
                </a:ext>
              </a:extLst>
            </p:cNvPr>
            <p:cNvSpPr/>
            <p:nvPr/>
          </p:nvSpPr>
          <p:spPr>
            <a:xfrm>
              <a:off x="4620880" y="4194877"/>
              <a:ext cx="598325" cy="761503"/>
            </a:xfrm>
            <a:custGeom>
              <a:avLst/>
              <a:gdLst>
                <a:gd name="connsiteX0" fmla="*/ 515081 w 598324"/>
                <a:gd name="connsiteY0" fmla="*/ 79935 h 761503"/>
                <a:gd name="connsiteX1" fmla="*/ 542277 w 598324"/>
                <a:gd name="connsiteY1" fmla="*/ 96253 h 761503"/>
                <a:gd name="connsiteX2" fmla="*/ 536838 w 598324"/>
                <a:gd name="connsiteY2" fmla="*/ 112571 h 761503"/>
                <a:gd name="connsiteX3" fmla="*/ 523240 w 598324"/>
                <a:gd name="connsiteY3" fmla="*/ 120730 h 761503"/>
                <a:gd name="connsiteX4" fmla="*/ 506922 w 598324"/>
                <a:gd name="connsiteY4" fmla="*/ 123450 h 761503"/>
                <a:gd name="connsiteX5" fmla="*/ 477006 w 598324"/>
                <a:gd name="connsiteY5" fmla="*/ 123450 h 761503"/>
                <a:gd name="connsiteX6" fmla="*/ 479725 w 598324"/>
                <a:gd name="connsiteY6" fmla="*/ 145207 h 761503"/>
                <a:gd name="connsiteX7" fmla="*/ 477006 w 598324"/>
                <a:gd name="connsiteY7" fmla="*/ 180563 h 761503"/>
                <a:gd name="connsiteX8" fmla="*/ 482445 w 598324"/>
                <a:gd name="connsiteY8" fmla="*/ 232236 h 761503"/>
                <a:gd name="connsiteX9" fmla="*/ 485165 w 598324"/>
                <a:gd name="connsiteY9" fmla="*/ 283909 h 761503"/>
                <a:gd name="connsiteX10" fmla="*/ 485165 w 598324"/>
                <a:gd name="connsiteY10" fmla="*/ 327424 h 761503"/>
                <a:gd name="connsiteX11" fmla="*/ 487884 w 598324"/>
                <a:gd name="connsiteY11" fmla="*/ 373658 h 761503"/>
                <a:gd name="connsiteX12" fmla="*/ 485165 w 598324"/>
                <a:gd name="connsiteY12" fmla="*/ 419892 h 761503"/>
                <a:gd name="connsiteX13" fmla="*/ 485165 w 598324"/>
                <a:gd name="connsiteY13" fmla="*/ 463407 h 761503"/>
                <a:gd name="connsiteX14" fmla="*/ 482445 w 598324"/>
                <a:gd name="connsiteY14" fmla="*/ 515080 h 761503"/>
                <a:gd name="connsiteX15" fmla="*/ 482445 w 598324"/>
                <a:gd name="connsiteY15" fmla="*/ 558595 h 761503"/>
                <a:gd name="connsiteX16" fmla="*/ 479725 w 598324"/>
                <a:gd name="connsiteY16" fmla="*/ 602109 h 761503"/>
                <a:gd name="connsiteX17" fmla="*/ 485165 w 598324"/>
                <a:gd name="connsiteY17" fmla="*/ 648343 h 761503"/>
                <a:gd name="connsiteX18" fmla="*/ 474286 w 598324"/>
                <a:gd name="connsiteY18" fmla="*/ 675540 h 761503"/>
                <a:gd name="connsiteX19" fmla="*/ 428052 w 598324"/>
                <a:gd name="connsiteY19" fmla="*/ 691858 h 761503"/>
                <a:gd name="connsiteX20" fmla="*/ 387257 w 598324"/>
                <a:gd name="connsiteY20" fmla="*/ 683699 h 761503"/>
                <a:gd name="connsiteX21" fmla="*/ 351901 w 598324"/>
                <a:gd name="connsiteY21" fmla="*/ 664661 h 761503"/>
                <a:gd name="connsiteX22" fmla="*/ 305667 w 598324"/>
                <a:gd name="connsiteY22" fmla="*/ 596670 h 761503"/>
                <a:gd name="connsiteX23" fmla="*/ 270312 w 598324"/>
                <a:gd name="connsiteY23" fmla="*/ 509641 h 761503"/>
                <a:gd name="connsiteX24" fmla="*/ 251274 w 598324"/>
                <a:gd name="connsiteY24" fmla="*/ 460687 h 761503"/>
                <a:gd name="connsiteX25" fmla="*/ 224077 w 598324"/>
                <a:gd name="connsiteY25" fmla="*/ 381817 h 761503"/>
                <a:gd name="connsiteX26" fmla="*/ 207759 w 598324"/>
                <a:gd name="connsiteY26" fmla="*/ 330144 h 761503"/>
                <a:gd name="connsiteX27" fmla="*/ 191442 w 598324"/>
                <a:gd name="connsiteY27" fmla="*/ 286629 h 761503"/>
                <a:gd name="connsiteX28" fmla="*/ 183283 w 598324"/>
                <a:gd name="connsiteY28" fmla="*/ 278470 h 761503"/>
                <a:gd name="connsiteX29" fmla="*/ 180563 w 598324"/>
                <a:gd name="connsiteY29" fmla="*/ 292068 h 761503"/>
                <a:gd name="connsiteX30" fmla="*/ 180563 w 598324"/>
                <a:gd name="connsiteY30" fmla="*/ 305667 h 761503"/>
                <a:gd name="connsiteX31" fmla="*/ 183283 w 598324"/>
                <a:gd name="connsiteY31" fmla="*/ 354620 h 761503"/>
                <a:gd name="connsiteX32" fmla="*/ 188722 w 598324"/>
                <a:gd name="connsiteY32" fmla="*/ 449808 h 761503"/>
                <a:gd name="connsiteX33" fmla="*/ 188722 w 598324"/>
                <a:gd name="connsiteY33" fmla="*/ 479725 h 761503"/>
                <a:gd name="connsiteX34" fmla="*/ 188722 w 598324"/>
                <a:gd name="connsiteY34" fmla="*/ 542277 h 761503"/>
                <a:gd name="connsiteX35" fmla="*/ 186002 w 598324"/>
                <a:gd name="connsiteY35" fmla="*/ 615708 h 761503"/>
                <a:gd name="connsiteX36" fmla="*/ 186002 w 598324"/>
                <a:gd name="connsiteY36" fmla="*/ 637465 h 761503"/>
                <a:gd name="connsiteX37" fmla="*/ 183283 w 598324"/>
                <a:gd name="connsiteY37" fmla="*/ 664661 h 761503"/>
                <a:gd name="connsiteX38" fmla="*/ 226797 w 598324"/>
                <a:gd name="connsiteY38" fmla="*/ 664661 h 761503"/>
                <a:gd name="connsiteX39" fmla="*/ 253994 w 598324"/>
                <a:gd name="connsiteY39" fmla="*/ 680979 h 761503"/>
                <a:gd name="connsiteX40" fmla="*/ 248554 w 598324"/>
                <a:gd name="connsiteY40" fmla="*/ 697297 h 761503"/>
                <a:gd name="connsiteX41" fmla="*/ 234956 w 598324"/>
                <a:gd name="connsiteY41" fmla="*/ 705456 h 761503"/>
                <a:gd name="connsiteX42" fmla="*/ 218638 w 598324"/>
                <a:gd name="connsiteY42" fmla="*/ 708176 h 761503"/>
                <a:gd name="connsiteX43" fmla="*/ 183283 w 598324"/>
                <a:gd name="connsiteY43" fmla="*/ 708176 h 761503"/>
                <a:gd name="connsiteX44" fmla="*/ 150647 w 598324"/>
                <a:gd name="connsiteY44" fmla="*/ 708176 h 761503"/>
                <a:gd name="connsiteX45" fmla="*/ 107132 w 598324"/>
                <a:gd name="connsiteY45" fmla="*/ 708176 h 761503"/>
                <a:gd name="connsiteX46" fmla="*/ 88094 w 598324"/>
                <a:gd name="connsiteY46" fmla="*/ 708176 h 761503"/>
                <a:gd name="connsiteX47" fmla="*/ 69057 w 598324"/>
                <a:gd name="connsiteY47" fmla="*/ 702736 h 761503"/>
                <a:gd name="connsiteX48" fmla="*/ 58178 w 598324"/>
                <a:gd name="connsiteY48" fmla="*/ 686418 h 761503"/>
                <a:gd name="connsiteX49" fmla="*/ 60898 w 598324"/>
                <a:gd name="connsiteY49" fmla="*/ 678259 h 761503"/>
                <a:gd name="connsiteX50" fmla="*/ 77216 w 598324"/>
                <a:gd name="connsiteY50" fmla="*/ 670101 h 761503"/>
                <a:gd name="connsiteX51" fmla="*/ 120730 w 598324"/>
                <a:gd name="connsiteY51" fmla="*/ 664661 h 761503"/>
                <a:gd name="connsiteX52" fmla="*/ 131609 w 598324"/>
                <a:gd name="connsiteY52" fmla="*/ 664661 h 761503"/>
                <a:gd name="connsiteX53" fmla="*/ 134329 w 598324"/>
                <a:gd name="connsiteY53" fmla="*/ 539557 h 761503"/>
                <a:gd name="connsiteX54" fmla="*/ 134329 w 598324"/>
                <a:gd name="connsiteY54" fmla="*/ 504201 h 761503"/>
                <a:gd name="connsiteX55" fmla="*/ 131609 w 598324"/>
                <a:gd name="connsiteY55" fmla="*/ 376378 h 761503"/>
                <a:gd name="connsiteX56" fmla="*/ 131609 w 598324"/>
                <a:gd name="connsiteY56" fmla="*/ 302947 h 761503"/>
                <a:gd name="connsiteX57" fmla="*/ 134329 w 598324"/>
                <a:gd name="connsiteY57" fmla="*/ 221357 h 761503"/>
                <a:gd name="connsiteX58" fmla="*/ 137048 w 598324"/>
                <a:gd name="connsiteY58" fmla="*/ 123450 h 761503"/>
                <a:gd name="connsiteX59" fmla="*/ 107132 w 598324"/>
                <a:gd name="connsiteY59" fmla="*/ 123450 h 761503"/>
                <a:gd name="connsiteX60" fmla="*/ 88094 w 598324"/>
                <a:gd name="connsiteY60" fmla="*/ 123450 h 761503"/>
                <a:gd name="connsiteX61" fmla="*/ 69057 w 598324"/>
                <a:gd name="connsiteY61" fmla="*/ 118011 h 761503"/>
                <a:gd name="connsiteX62" fmla="*/ 58178 w 598324"/>
                <a:gd name="connsiteY62" fmla="*/ 101693 h 761503"/>
                <a:gd name="connsiteX63" fmla="*/ 60898 w 598324"/>
                <a:gd name="connsiteY63" fmla="*/ 93534 h 761503"/>
                <a:gd name="connsiteX64" fmla="*/ 77216 w 598324"/>
                <a:gd name="connsiteY64" fmla="*/ 85375 h 761503"/>
                <a:gd name="connsiteX65" fmla="*/ 131609 w 598324"/>
                <a:gd name="connsiteY65" fmla="*/ 79935 h 761503"/>
                <a:gd name="connsiteX66" fmla="*/ 161525 w 598324"/>
                <a:gd name="connsiteY66" fmla="*/ 79935 h 761503"/>
                <a:gd name="connsiteX67" fmla="*/ 177843 w 598324"/>
                <a:gd name="connsiteY67" fmla="*/ 66337 h 761503"/>
                <a:gd name="connsiteX68" fmla="*/ 202320 w 598324"/>
                <a:gd name="connsiteY68" fmla="*/ 58178 h 761503"/>
                <a:gd name="connsiteX69" fmla="*/ 234956 w 598324"/>
                <a:gd name="connsiteY69" fmla="*/ 77216 h 761503"/>
                <a:gd name="connsiteX70" fmla="*/ 251274 w 598324"/>
                <a:gd name="connsiteY70" fmla="*/ 107132 h 761503"/>
                <a:gd name="connsiteX71" fmla="*/ 267592 w 598324"/>
                <a:gd name="connsiteY71" fmla="*/ 147927 h 761503"/>
                <a:gd name="connsiteX72" fmla="*/ 281190 w 598324"/>
                <a:gd name="connsiteY72" fmla="*/ 183282 h 761503"/>
                <a:gd name="connsiteX73" fmla="*/ 297508 w 598324"/>
                <a:gd name="connsiteY73" fmla="*/ 224077 h 761503"/>
                <a:gd name="connsiteX74" fmla="*/ 308387 w 598324"/>
                <a:gd name="connsiteY74" fmla="*/ 264872 h 761503"/>
                <a:gd name="connsiteX75" fmla="*/ 319265 w 598324"/>
                <a:gd name="connsiteY75" fmla="*/ 300227 h 761503"/>
                <a:gd name="connsiteX76" fmla="*/ 351901 w 598324"/>
                <a:gd name="connsiteY76" fmla="*/ 379097 h 761503"/>
                <a:gd name="connsiteX77" fmla="*/ 365500 w 598324"/>
                <a:gd name="connsiteY77" fmla="*/ 417173 h 761503"/>
                <a:gd name="connsiteX78" fmla="*/ 379098 w 598324"/>
                <a:gd name="connsiteY78" fmla="*/ 457967 h 761503"/>
                <a:gd name="connsiteX79" fmla="*/ 395416 w 598324"/>
                <a:gd name="connsiteY79" fmla="*/ 496043 h 761503"/>
                <a:gd name="connsiteX80" fmla="*/ 406294 w 598324"/>
                <a:gd name="connsiteY80" fmla="*/ 512361 h 761503"/>
                <a:gd name="connsiteX81" fmla="*/ 411734 w 598324"/>
                <a:gd name="connsiteY81" fmla="*/ 531398 h 761503"/>
                <a:gd name="connsiteX82" fmla="*/ 419893 w 598324"/>
                <a:gd name="connsiteY82" fmla="*/ 558595 h 761503"/>
                <a:gd name="connsiteX83" fmla="*/ 425332 w 598324"/>
                <a:gd name="connsiteY83" fmla="*/ 564034 h 761503"/>
                <a:gd name="connsiteX84" fmla="*/ 430771 w 598324"/>
                <a:gd name="connsiteY84" fmla="*/ 558595 h 761503"/>
                <a:gd name="connsiteX85" fmla="*/ 430771 w 598324"/>
                <a:gd name="connsiteY85" fmla="*/ 550436 h 761503"/>
                <a:gd name="connsiteX86" fmla="*/ 430771 w 598324"/>
                <a:gd name="connsiteY86" fmla="*/ 501482 h 761503"/>
                <a:gd name="connsiteX87" fmla="*/ 430771 w 598324"/>
                <a:gd name="connsiteY87" fmla="*/ 403574 h 761503"/>
                <a:gd name="connsiteX88" fmla="*/ 425332 w 598324"/>
                <a:gd name="connsiteY88" fmla="*/ 313826 h 761503"/>
                <a:gd name="connsiteX89" fmla="*/ 425332 w 598324"/>
                <a:gd name="connsiteY89" fmla="*/ 248554 h 761503"/>
                <a:gd name="connsiteX90" fmla="*/ 425332 w 598324"/>
                <a:gd name="connsiteY90" fmla="*/ 210479 h 761503"/>
                <a:gd name="connsiteX91" fmla="*/ 422613 w 598324"/>
                <a:gd name="connsiteY91" fmla="*/ 153366 h 761503"/>
                <a:gd name="connsiteX92" fmla="*/ 425332 w 598324"/>
                <a:gd name="connsiteY92" fmla="*/ 123450 h 761503"/>
                <a:gd name="connsiteX93" fmla="*/ 398136 w 598324"/>
                <a:gd name="connsiteY93" fmla="*/ 123450 h 761503"/>
                <a:gd name="connsiteX94" fmla="*/ 379098 w 598324"/>
                <a:gd name="connsiteY94" fmla="*/ 123450 h 761503"/>
                <a:gd name="connsiteX95" fmla="*/ 360060 w 598324"/>
                <a:gd name="connsiteY95" fmla="*/ 118011 h 761503"/>
                <a:gd name="connsiteX96" fmla="*/ 349182 w 598324"/>
                <a:gd name="connsiteY96" fmla="*/ 101693 h 761503"/>
                <a:gd name="connsiteX97" fmla="*/ 351901 w 598324"/>
                <a:gd name="connsiteY97" fmla="*/ 93534 h 761503"/>
                <a:gd name="connsiteX98" fmla="*/ 368219 w 598324"/>
                <a:gd name="connsiteY98" fmla="*/ 85375 h 761503"/>
                <a:gd name="connsiteX99" fmla="*/ 422613 w 598324"/>
                <a:gd name="connsiteY99" fmla="*/ 79935 h 761503"/>
                <a:gd name="connsiteX100" fmla="*/ 444370 w 598324"/>
                <a:gd name="connsiteY100" fmla="*/ 79935 h 761503"/>
                <a:gd name="connsiteX101" fmla="*/ 463407 w 598324"/>
                <a:gd name="connsiteY101" fmla="*/ 71776 h 761503"/>
                <a:gd name="connsiteX102" fmla="*/ 477006 w 598324"/>
                <a:gd name="connsiteY102" fmla="*/ 79935 h 761503"/>
                <a:gd name="connsiteX103" fmla="*/ 515081 w 598324"/>
                <a:gd name="connsiteY103" fmla="*/ 79935 h 761503"/>
                <a:gd name="connsiteX104" fmla="*/ 515081 w 598324"/>
                <a:gd name="connsiteY104" fmla="*/ 79935 h 761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</a:cxnLst>
              <a:rect l="l" t="t" r="r" b="b"/>
              <a:pathLst>
                <a:path w="598324" h="761503">
                  <a:moveTo>
                    <a:pt x="515081" y="79935"/>
                  </a:moveTo>
                  <a:cubicBezTo>
                    <a:pt x="523240" y="79935"/>
                    <a:pt x="542277" y="79935"/>
                    <a:pt x="542277" y="96253"/>
                  </a:cubicBezTo>
                  <a:cubicBezTo>
                    <a:pt x="542277" y="104412"/>
                    <a:pt x="542277" y="107132"/>
                    <a:pt x="536838" y="112571"/>
                  </a:cubicBezTo>
                  <a:cubicBezTo>
                    <a:pt x="534119" y="118011"/>
                    <a:pt x="528679" y="120730"/>
                    <a:pt x="523240" y="120730"/>
                  </a:cubicBezTo>
                  <a:cubicBezTo>
                    <a:pt x="515081" y="123450"/>
                    <a:pt x="512361" y="123450"/>
                    <a:pt x="506922" y="123450"/>
                  </a:cubicBezTo>
                  <a:cubicBezTo>
                    <a:pt x="504202" y="123450"/>
                    <a:pt x="490604" y="123450"/>
                    <a:pt x="477006" y="123450"/>
                  </a:cubicBezTo>
                  <a:cubicBezTo>
                    <a:pt x="477006" y="131609"/>
                    <a:pt x="479725" y="137048"/>
                    <a:pt x="479725" y="145207"/>
                  </a:cubicBezTo>
                  <a:cubicBezTo>
                    <a:pt x="479725" y="156086"/>
                    <a:pt x="477006" y="166964"/>
                    <a:pt x="477006" y="180563"/>
                  </a:cubicBezTo>
                  <a:cubicBezTo>
                    <a:pt x="477006" y="196881"/>
                    <a:pt x="479725" y="215918"/>
                    <a:pt x="482445" y="232236"/>
                  </a:cubicBezTo>
                  <a:cubicBezTo>
                    <a:pt x="485165" y="248554"/>
                    <a:pt x="485165" y="267592"/>
                    <a:pt x="485165" y="283909"/>
                  </a:cubicBezTo>
                  <a:cubicBezTo>
                    <a:pt x="485165" y="297508"/>
                    <a:pt x="485165" y="313826"/>
                    <a:pt x="485165" y="327424"/>
                  </a:cubicBezTo>
                  <a:cubicBezTo>
                    <a:pt x="485165" y="343742"/>
                    <a:pt x="487884" y="357340"/>
                    <a:pt x="487884" y="373658"/>
                  </a:cubicBezTo>
                  <a:cubicBezTo>
                    <a:pt x="487884" y="389976"/>
                    <a:pt x="485165" y="403574"/>
                    <a:pt x="485165" y="419892"/>
                  </a:cubicBezTo>
                  <a:cubicBezTo>
                    <a:pt x="485165" y="436210"/>
                    <a:pt x="485165" y="449808"/>
                    <a:pt x="485165" y="463407"/>
                  </a:cubicBezTo>
                  <a:cubicBezTo>
                    <a:pt x="485165" y="479725"/>
                    <a:pt x="485165" y="498762"/>
                    <a:pt x="482445" y="515080"/>
                  </a:cubicBezTo>
                  <a:cubicBezTo>
                    <a:pt x="482445" y="528678"/>
                    <a:pt x="482445" y="542277"/>
                    <a:pt x="482445" y="558595"/>
                  </a:cubicBezTo>
                  <a:cubicBezTo>
                    <a:pt x="482445" y="572193"/>
                    <a:pt x="479725" y="588511"/>
                    <a:pt x="479725" y="602109"/>
                  </a:cubicBezTo>
                  <a:cubicBezTo>
                    <a:pt x="479725" y="615708"/>
                    <a:pt x="485165" y="632025"/>
                    <a:pt x="485165" y="648343"/>
                  </a:cubicBezTo>
                  <a:cubicBezTo>
                    <a:pt x="485165" y="659222"/>
                    <a:pt x="482445" y="670101"/>
                    <a:pt x="474286" y="675540"/>
                  </a:cubicBezTo>
                  <a:cubicBezTo>
                    <a:pt x="460688" y="686418"/>
                    <a:pt x="444370" y="691858"/>
                    <a:pt x="428052" y="691858"/>
                  </a:cubicBezTo>
                  <a:cubicBezTo>
                    <a:pt x="414453" y="691858"/>
                    <a:pt x="400855" y="689138"/>
                    <a:pt x="387257" y="683699"/>
                  </a:cubicBezTo>
                  <a:cubicBezTo>
                    <a:pt x="373659" y="678259"/>
                    <a:pt x="360060" y="672820"/>
                    <a:pt x="351901" y="664661"/>
                  </a:cubicBezTo>
                  <a:cubicBezTo>
                    <a:pt x="330144" y="645624"/>
                    <a:pt x="316546" y="621147"/>
                    <a:pt x="305667" y="596670"/>
                  </a:cubicBezTo>
                  <a:cubicBezTo>
                    <a:pt x="292069" y="569473"/>
                    <a:pt x="281190" y="539557"/>
                    <a:pt x="270312" y="509641"/>
                  </a:cubicBezTo>
                  <a:cubicBezTo>
                    <a:pt x="264872" y="493323"/>
                    <a:pt x="256713" y="477005"/>
                    <a:pt x="251274" y="460687"/>
                  </a:cubicBezTo>
                  <a:cubicBezTo>
                    <a:pt x="240395" y="433490"/>
                    <a:pt x="232236" y="409014"/>
                    <a:pt x="224077" y="381817"/>
                  </a:cubicBezTo>
                  <a:cubicBezTo>
                    <a:pt x="218638" y="365499"/>
                    <a:pt x="213199" y="346462"/>
                    <a:pt x="207759" y="330144"/>
                  </a:cubicBezTo>
                  <a:cubicBezTo>
                    <a:pt x="202320" y="316545"/>
                    <a:pt x="196881" y="300227"/>
                    <a:pt x="191442" y="286629"/>
                  </a:cubicBezTo>
                  <a:cubicBezTo>
                    <a:pt x="188722" y="281190"/>
                    <a:pt x="186002" y="278470"/>
                    <a:pt x="183283" y="278470"/>
                  </a:cubicBezTo>
                  <a:cubicBezTo>
                    <a:pt x="180563" y="278470"/>
                    <a:pt x="180563" y="286629"/>
                    <a:pt x="180563" y="292068"/>
                  </a:cubicBezTo>
                  <a:cubicBezTo>
                    <a:pt x="180563" y="297508"/>
                    <a:pt x="180563" y="302947"/>
                    <a:pt x="180563" y="305667"/>
                  </a:cubicBezTo>
                  <a:cubicBezTo>
                    <a:pt x="180563" y="321985"/>
                    <a:pt x="183283" y="338303"/>
                    <a:pt x="183283" y="354620"/>
                  </a:cubicBezTo>
                  <a:cubicBezTo>
                    <a:pt x="183283" y="387256"/>
                    <a:pt x="186002" y="417173"/>
                    <a:pt x="188722" y="449808"/>
                  </a:cubicBezTo>
                  <a:cubicBezTo>
                    <a:pt x="188722" y="460687"/>
                    <a:pt x="188722" y="468846"/>
                    <a:pt x="188722" y="479725"/>
                  </a:cubicBezTo>
                  <a:cubicBezTo>
                    <a:pt x="188722" y="501482"/>
                    <a:pt x="188722" y="523239"/>
                    <a:pt x="188722" y="542277"/>
                  </a:cubicBezTo>
                  <a:cubicBezTo>
                    <a:pt x="188722" y="566754"/>
                    <a:pt x="186002" y="591231"/>
                    <a:pt x="186002" y="615708"/>
                  </a:cubicBezTo>
                  <a:cubicBezTo>
                    <a:pt x="186002" y="623866"/>
                    <a:pt x="186002" y="632025"/>
                    <a:pt x="186002" y="637465"/>
                  </a:cubicBezTo>
                  <a:cubicBezTo>
                    <a:pt x="186002" y="645624"/>
                    <a:pt x="183283" y="656502"/>
                    <a:pt x="183283" y="664661"/>
                  </a:cubicBezTo>
                  <a:cubicBezTo>
                    <a:pt x="202320" y="664661"/>
                    <a:pt x="218638" y="664661"/>
                    <a:pt x="226797" y="664661"/>
                  </a:cubicBezTo>
                  <a:cubicBezTo>
                    <a:pt x="234956" y="664661"/>
                    <a:pt x="253994" y="664661"/>
                    <a:pt x="253994" y="680979"/>
                  </a:cubicBezTo>
                  <a:cubicBezTo>
                    <a:pt x="253994" y="689138"/>
                    <a:pt x="253994" y="691858"/>
                    <a:pt x="248554" y="697297"/>
                  </a:cubicBezTo>
                  <a:cubicBezTo>
                    <a:pt x="245835" y="702736"/>
                    <a:pt x="240395" y="705456"/>
                    <a:pt x="234956" y="705456"/>
                  </a:cubicBezTo>
                  <a:cubicBezTo>
                    <a:pt x="226797" y="708176"/>
                    <a:pt x="224077" y="708176"/>
                    <a:pt x="218638" y="708176"/>
                  </a:cubicBezTo>
                  <a:cubicBezTo>
                    <a:pt x="215918" y="708176"/>
                    <a:pt x="199600" y="708176"/>
                    <a:pt x="183283" y="708176"/>
                  </a:cubicBezTo>
                  <a:cubicBezTo>
                    <a:pt x="166965" y="708176"/>
                    <a:pt x="153366" y="708176"/>
                    <a:pt x="150647" y="708176"/>
                  </a:cubicBezTo>
                  <a:cubicBezTo>
                    <a:pt x="139768" y="708176"/>
                    <a:pt x="120730" y="708176"/>
                    <a:pt x="107132" y="708176"/>
                  </a:cubicBezTo>
                  <a:cubicBezTo>
                    <a:pt x="101693" y="708176"/>
                    <a:pt x="96254" y="708176"/>
                    <a:pt x="88094" y="708176"/>
                  </a:cubicBezTo>
                  <a:cubicBezTo>
                    <a:pt x="82655" y="708176"/>
                    <a:pt x="74496" y="708176"/>
                    <a:pt x="69057" y="702736"/>
                  </a:cubicBezTo>
                  <a:cubicBezTo>
                    <a:pt x="63617" y="700017"/>
                    <a:pt x="58178" y="691858"/>
                    <a:pt x="58178" y="686418"/>
                  </a:cubicBezTo>
                  <a:cubicBezTo>
                    <a:pt x="58178" y="683699"/>
                    <a:pt x="58178" y="680979"/>
                    <a:pt x="60898" y="678259"/>
                  </a:cubicBezTo>
                  <a:cubicBezTo>
                    <a:pt x="63617" y="675540"/>
                    <a:pt x="71777" y="672820"/>
                    <a:pt x="77216" y="670101"/>
                  </a:cubicBezTo>
                  <a:cubicBezTo>
                    <a:pt x="90814" y="667381"/>
                    <a:pt x="115291" y="664661"/>
                    <a:pt x="120730" y="664661"/>
                  </a:cubicBezTo>
                  <a:cubicBezTo>
                    <a:pt x="123450" y="664661"/>
                    <a:pt x="126170" y="664661"/>
                    <a:pt x="131609" y="664661"/>
                  </a:cubicBezTo>
                  <a:cubicBezTo>
                    <a:pt x="131609" y="623866"/>
                    <a:pt x="134329" y="583072"/>
                    <a:pt x="134329" y="539557"/>
                  </a:cubicBezTo>
                  <a:cubicBezTo>
                    <a:pt x="134329" y="528678"/>
                    <a:pt x="134329" y="515080"/>
                    <a:pt x="134329" y="504201"/>
                  </a:cubicBezTo>
                  <a:cubicBezTo>
                    <a:pt x="131609" y="460687"/>
                    <a:pt x="131609" y="417173"/>
                    <a:pt x="131609" y="376378"/>
                  </a:cubicBezTo>
                  <a:cubicBezTo>
                    <a:pt x="131609" y="351901"/>
                    <a:pt x="131609" y="327424"/>
                    <a:pt x="131609" y="302947"/>
                  </a:cubicBezTo>
                  <a:cubicBezTo>
                    <a:pt x="131609" y="275751"/>
                    <a:pt x="131609" y="248554"/>
                    <a:pt x="134329" y="221357"/>
                  </a:cubicBezTo>
                  <a:cubicBezTo>
                    <a:pt x="134329" y="188722"/>
                    <a:pt x="137048" y="156086"/>
                    <a:pt x="137048" y="123450"/>
                  </a:cubicBezTo>
                  <a:cubicBezTo>
                    <a:pt x="126170" y="123450"/>
                    <a:pt x="115291" y="123450"/>
                    <a:pt x="107132" y="123450"/>
                  </a:cubicBezTo>
                  <a:cubicBezTo>
                    <a:pt x="101693" y="123450"/>
                    <a:pt x="96254" y="123450"/>
                    <a:pt x="88094" y="123450"/>
                  </a:cubicBezTo>
                  <a:cubicBezTo>
                    <a:pt x="82655" y="123450"/>
                    <a:pt x="74496" y="120730"/>
                    <a:pt x="69057" y="118011"/>
                  </a:cubicBezTo>
                  <a:cubicBezTo>
                    <a:pt x="63617" y="115291"/>
                    <a:pt x="58178" y="107132"/>
                    <a:pt x="58178" y="101693"/>
                  </a:cubicBezTo>
                  <a:cubicBezTo>
                    <a:pt x="58178" y="98973"/>
                    <a:pt x="58178" y="96253"/>
                    <a:pt x="60898" y="93534"/>
                  </a:cubicBezTo>
                  <a:cubicBezTo>
                    <a:pt x="63617" y="90814"/>
                    <a:pt x="71777" y="88094"/>
                    <a:pt x="77216" y="85375"/>
                  </a:cubicBezTo>
                  <a:cubicBezTo>
                    <a:pt x="90814" y="82655"/>
                    <a:pt x="126170" y="79935"/>
                    <a:pt x="131609" y="79935"/>
                  </a:cubicBezTo>
                  <a:cubicBezTo>
                    <a:pt x="137048" y="79935"/>
                    <a:pt x="147927" y="79935"/>
                    <a:pt x="161525" y="79935"/>
                  </a:cubicBezTo>
                  <a:cubicBezTo>
                    <a:pt x="166965" y="74496"/>
                    <a:pt x="172404" y="71776"/>
                    <a:pt x="177843" y="66337"/>
                  </a:cubicBezTo>
                  <a:cubicBezTo>
                    <a:pt x="186002" y="60898"/>
                    <a:pt x="194161" y="58178"/>
                    <a:pt x="202320" y="58178"/>
                  </a:cubicBezTo>
                  <a:cubicBezTo>
                    <a:pt x="215918" y="58178"/>
                    <a:pt x="226797" y="63617"/>
                    <a:pt x="234956" y="77216"/>
                  </a:cubicBezTo>
                  <a:cubicBezTo>
                    <a:pt x="240395" y="88094"/>
                    <a:pt x="248554" y="96253"/>
                    <a:pt x="251274" y="107132"/>
                  </a:cubicBezTo>
                  <a:cubicBezTo>
                    <a:pt x="256713" y="120730"/>
                    <a:pt x="259433" y="134328"/>
                    <a:pt x="267592" y="147927"/>
                  </a:cubicBezTo>
                  <a:cubicBezTo>
                    <a:pt x="273031" y="158805"/>
                    <a:pt x="275751" y="172404"/>
                    <a:pt x="281190" y="183282"/>
                  </a:cubicBezTo>
                  <a:cubicBezTo>
                    <a:pt x="286630" y="196881"/>
                    <a:pt x="292069" y="210479"/>
                    <a:pt x="297508" y="224077"/>
                  </a:cubicBezTo>
                  <a:cubicBezTo>
                    <a:pt x="300228" y="237675"/>
                    <a:pt x="305667" y="251274"/>
                    <a:pt x="308387" y="264872"/>
                  </a:cubicBezTo>
                  <a:cubicBezTo>
                    <a:pt x="311106" y="278470"/>
                    <a:pt x="311106" y="289349"/>
                    <a:pt x="319265" y="300227"/>
                  </a:cubicBezTo>
                  <a:cubicBezTo>
                    <a:pt x="332864" y="324704"/>
                    <a:pt x="346462" y="351901"/>
                    <a:pt x="351901" y="379097"/>
                  </a:cubicBezTo>
                  <a:cubicBezTo>
                    <a:pt x="354621" y="392696"/>
                    <a:pt x="360060" y="403574"/>
                    <a:pt x="365500" y="417173"/>
                  </a:cubicBezTo>
                  <a:cubicBezTo>
                    <a:pt x="373659" y="430771"/>
                    <a:pt x="373659" y="444369"/>
                    <a:pt x="379098" y="457967"/>
                  </a:cubicBezTo>
                  <a:cubicBezTo>
                    <a:pt x="381818" y="471566"/>
                    <a:pt x="387257" y="482444"/>
                    <a:pt x="395416" y="496043"/>
                  </a:cubicBezTo>
                  <a:cubicBezTo>
                    <a:pt x="398136" y="501482"/>
                    <a:pt x="403575" y="506921"/>
                    <a:pt x="406294" y="512361"/>
                  </a:cubicBezTo>
                  <a:cubicBezTo>
                    <a:pt x="409014" y="517800"/>
                    <a:pt x="409014" y="525959"/>
                    <a:pt x="411734" y="531398"/>
                  </a:cubicBezTo>
                  <a:cubicBezTo>
                    <a:pt x="414453" y="539557"/>
                    <a:pt x="417173" y="550436"/>
                    <a:pt x="419893" y="558595"/>
                  </a:cubicBezTo>
                  <a:cubicBezTo>
                    <a:pt x="422613" y="561314"/>
                    <a:pt x="422613" y="564034"/>
                    <a:pt x="425332" y="564034"/>
                  </a:cubicBezTo>
                  <a:cubicBezTo>
                    <a:pt x="428052" y="564034"/>
                    <a:pt x="428052" y="561314"/>
                    <a:pt x="430771" y="558595"/>
                  </a:cubicBezTo>
                  <a:cubicBezTo>
                    <a:pt x="430771" y="555875"/>
                    <a:pt x="430771" y="553155"/>
                    <a:pt x="430771" y="550436"/>
                  </a:cubicBezTo>
                  <a:cubicBezTo>
                    <a:pt x="430771" y="534118"/>
                    <a:pt x="430771" y="517800"/>
                    <a:pt x="430771" y="501482"/>
                  </a:cubicBezTo>
                  <a:cubicBezTo>
                    <a:pt x="430771" y="468846"/>
                    <a:pt x="433491" y="436210"/>
                    <a:pt x="430771" y="403574"/>
                  </a:cubicBezTo>
                  <a:cubicBezTo>
                    <a:pt x="430771" y="373658"/>
                    <a:pt x="425332" y="343742"/>
                    <a:pt x="425332" y="313826"/>
                  </a:cubicBezTo>
                  <a:cubicBezTo>
                    <a:pt x="425332" y="292068"/>
                    <a:pt x="425332" y="270311"/>
                    <a:pt x="425332" y="248554"/>
                  </a:cubicBezTo>
                  <a:cubicBezTo>
                    <a:pt x="425332" y="234956"/>
                    <a:pt x="425332" y="224077"/>
                    <a:pt x="425332" y="210479"/>
                  </a:cubicBezTo>
                  <a:cubicBezTo>
                    <a:pt x="425332" y="191441"/>
                    <a:pt x="422613" y="172404"/>
                    <a:pt x="422613" y="153366"/>
                  </a:cubicBezTo>
                  <a:cubicBezTo>
                    <a:pt x="422613" y="142487"/>
                    <a:pt x="422613" y="134328"/>
                    <a:pt x="425332" y="123450"/>
                  </a:cubicBezTo>
                  <a:cubicBezTo>
                    <a:pt x="417173" y="123450"/>
                    <a:pt x="406294" y="123450"/>
                    <a:pt x="398136" y="123450"/>
                  </a:cubicBezTo>
                  <a:cubicBezTo>
                    <a:pt x="392696" y="123450"/>
                    <a:pt x="387257" y="123450"/>
                    <a:pt x="379098" y="123450"/>
                  </a:cubicBezTo>
                  <a:cubicBezTo>
                    <a:pt x="373659" y="123450"/>
                    <a:pt x="365500" y="120730"/>
                    <a:pt x="360060" y="118011"/>
                  </a:cubicBezTo>
                  <a:cubicBezTo>
                    <a:pt x="354621" y="115291"/>
                    <a:pt x="349182" y="107132"/>
                    <a:pt x="349182" y="101693"/>
                  </a:cubicBezTo>
                  <a:cubicBezTo>
                    <a:pt x="349182" y="98973"/>
                    <a:pt x="349182" y="96253"/>
                    <a:pt x="351901" y="93534"/>
                  </a:cubicBezTo>
                  <a:cubicBezTo>
                    <a:pt x="354621" y="90814"/>
                    <a:pt x="362780" y="88094"/>
                    <a:pt x="368219" y="85375"/>
                  </a:cubicBezTo>
                  <a:cubicBezTo>
                    <a:pt x="381818" y="82655"/>
                    <a:pt x="417173" y="79935"/>
                    <a:pt x="422613" y="79935"/>
                  </a:cubicBezTo>
                  <a:cubicBezTo>
                    <a:pt x="428052" y="79935"/>
                    <a:pt x="433491" y="79935"/>
                    <a:pt x="444370" y="79935"/>
                  </a:cubicBezTo>
                  <a:cubicBezTo>
                    <a:pt x="449809" y="74496"/>
                    <a:pt x="455248" y="71776"/>
                    <a:pt x="463407" y="71776"/>
                  </a:cubicBezTo>
                  <a:cubicBezTo>
                    <a:pt x="471566" y="71776"/>
                    <a:pt x="477006" y="74496"/>
                    <a:pt x="477006" y="79935"/>
                  </a:cubicBezTo>
                  <a:cubicBezTo>
                    <a:pt x="493324" y="79935"/>
                    <a:pt x="506922" y="79935"/>
                    <a:pt x="515081" y="79935"/>
                  </a:cubicBezTo>
                  <a:lnTo>
                    <a:pt x="515081" y="79935"/>
                  </a:ln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4" name="Freeform: Shape 43">
              <a:extLst>
                <a:ext uri="{FF2B5EF4-FFF2-40B4-BE49-F238E27FC236}">
                  <a16:creationId xmlns:a16="http://schemas.microsoft.com/office/drawing/2014/main" id="{558B1006-CC1F-40DD-BD7B-99C832704287}"/>
                </a:ext>
              </a:extLst>
            </p:cNvPr>
            <p:cNvSpPr/>
            <p:nvPr/>
          </p:nvSpPr>
          <p:spPr>
            <a:xfrm>
              <a:off x="5139126" y="4192158"/>
              <a:ext cx="516735" cy="788700"/>
            </a:xfrm>
            <a:custGeom>
              <a:avLst/>
              <a:gdLst>
                <a:gd name="connsiteX0" fmla="*/ 464616 w 516735"/>
                <a:gd name="connsiteY0" fmla="*/ 436210 h 788699"/>
                <a:gd name="connsiteX1" fmla="*/ 445578 w 516735"/>
                <a:gd name="connsiteY1" fmla="*/ 455248 h 788699"/>
                <a:gd name="connsiteX2" fmla="*/ 404784 w 516735"/>
                <a:gd name="connsiteY2" fmla="*/ 466126 h 788699"/>
                <a:gd name="connsiteX3" fmla="*/ 385746 w 516735"/>
                <a:gd name="connsiteY3" fmla="*/ 479725 h 788699"/>
                <a:gd name="connsiteX4" fmla="*/ 388466 w 516735"/>
                <a:gd name="connsiteY4" fmla="*/ 512361 h 788699"/>
                <a:gd name="connsiteX5" fmla="*/ 388466 w 516735"/>
                <a:gd name="connsiteY5" fmla="*/ 544997 h 788699"/>
                <a:gd name="connsiteX6" fmla="*/ 388466 w 516735"/>
                <a:gd name="connsiteY6" fmla="*/ 566754 h 788699"/>
                <a:gd name="connsiteX7" fmla="*/ 391185 w 516735"/>
                <a:gd name="connsiteY7" fmla="*/ 632026 h 788699"/>
                <a:gd name="connsiteX8" fmla="*/ 393905 w 516735"/>
                <a:gd name="connsiteY8" fmla="*/ 683699 h 788699"/>
                <a:gd name="connsiteX9" fmla="*/ 377587 w 516735"/>
                <a:gd name="connsiteY9" fmla="*/ 724494 h 788699"/>
                <a:gd name="connsiteX10" fmla="*/ 361269 w 516735"/>
                <a:gd name="connsiteY10" fmla="*/ 719054 h 788699"/>
                <a:gd name="connsiteX11" fmla="*/ 353110 w 516735"/>
                <a:gd name="connsiteY11" fmla="*/ 702737 h 788699"/>
                <a:gd name="connsiteX12" fmla="*/ 350390 w 516735"/>
                <a:gd name="connsiteY12" fmla="*/ 686419 h 788699"/>
                <a:gd name="connsiteX13" fmla="*/ 353110 w 516735"/>
                <a:gd name="connsiteY13" fmla="*/ 659222 h 788699"/>
                <a:gd name="connsiteX14" fmla="*/ 353110 w 516735"/>
                <a:gd name="connsiteY14" fmla="*/ 656502 h 788699"/>
                <a:gd name="connsiteX15" fmla="*/ 317755 w 516735"/>
                <a:gd name="connsiteY15" fmla="*/ 708176 h 788699"/>
                <a:gd name="connsiteX16" fmla="*/ 241604 w 516735"/>
                <a:gd name="connsiteY16" fmla="*/ 735372 h 788699"/>
                <a:gd name="connsiteX17" fmla="*/ 187211 w 516735"/>
                <a:gd name="connsiteY17" fmla="*/ 727214 h 788699"/>
                <a:gd name="connsiteX18" fmla="*/ 135538 w 516735"/>
                <a:gd name="connsiteY18" fmla="*/ 694578 h 788699"/>
                <a:gd name="connsiteX19" fmla="*/ 86584 w 516735"/>
                <a:gd name="connsiteY19" fmla="*/ 621147 h 788699"/>
                <a:gd name="connsiteX20" fmla="*/ 67546 w 516735"/>
                <a:gd name="connsiteY20" fmla="*/ 555875 h 788699"/>
                <a:gd name="connsiteX21" fmla="*/ 59387 w 516735"/>
                <a:gd name="connsiteY21" fmla="*/ 509641 h 788699"/>
                <a:gd name="connsiteX22" fmla="*/ 59387 w 516735"/>
                <a:gd name="connsiteY22" fmla="*/ 468846 h 788699"/>
                <a:gd name="connsiteX23" fmla="*/ 86584 w 516735"/>
                <a:gd name="connsiteY23" fmla="*/ 302947 h 788699"/>
                <a:gd name="connsiteX24" fmla="*/ 108341 w 516735"/>
                <a:gd name="connsiteY24" fmla="*/ 224077 h 788699"/>
                <a:gd name="connsiteX25" fmla="*/ 146416 w 516735"/>
                <a:gd name="connsiteY25" fmla="*/ 145207 h 788699"/>
                <a:gd name="connsiteX26" fmla="*/ 198090 w 516735"/>
                <a:gd name="connsiteY26" fmla="*/ 85375 h 788699"/>
                <a:gd name="connsiteX27" fmla="*/ 228006 w 516735"/>
                <a:gd name="connsiteY27" fmla="*/ 69057 h 788699"/>
                <a:gd name="connsiteX28" fmla="*/ 268801 w 516735"/>
                <a:gd name="connsiteY28" fmla="*/ 58178 h 788699"/>
                <a:gd name="connsiteX29" fmla="*/ 274240 w 516735"/>
                <a:gd name="connsiteY29" fmla="*/ 58178 h 788699"/>
                <a:gd name="connsiteX30" fmla="*/ 295997 w 516735"/>
                <a:gd name="connsiteY30" fmla="*/ 60898 h 788699"/>
                <a:gd name="connsiteX31" fmla="*/ 331353 w 516735"/>
                <a:gd name="connsiteY31" fmla="*/ 71776 h 788699"/>
                <a:gd name="connsiteX32" fmla="*/ 350390 w 516735"/>
                <a:gd name="connsiteY32" fmla="*/ 93534 h 788699"/>
                <a:gd name="connsiteX33" fmla="*/ 353110 w 516735"/>
                <a:gd name="connsiteY33" fmla="*/ 74496 h 788699"/>
                <a:gd name="connsiteX34" fmla="*/ 358549 w 516735"/>
                <a:gd name="connsiteY34" fmla="*/ 63618 h 788699"/>
                <a:gd name="connsiteX35" fmla="*/ 366708 w 516735"/>
                <a:gd name="connsiteY35" fmla="*/ 58178 h 788699"/>
                <a:gd name="connsiteX36" fmla="*/ 374867 w 516735"/>
                <a:gd name="connsiteY36" fmla="*/ 63618 h 788699"/>
                <a:gd name="connsiteX37" fmla="*/ 383026 w 516735"/>
                <a:gd name="connsiteY37" fmla="*/ 82655 h 788699"/>
                <a:gd name="connsiteX38" fmla="*/ 385746 w 516735"/>
                <a:gd name="connsiteY38" fmla="*/ 126170 h 788699"/>
                <a:gd name="connsiteX39" fmla="*/ 388466 w 516735"/>
                <a:gd name="connsiteY39" fmla="*/ 186002 h 788699"/>
                <a:gd name="connsiteX40" fmla="*/ 391185 w 516735"/>
                <a:gd name="connsiteY40" fmla="*/ 237676 h 788699"/>
                <a:gd name="connsiteX41" fmla="*/ 374867 w 516735"/>
                <a:gd name="connsiteY41" fmla="*/ 278470 h 788699"/>
                <a:gd name="connsiteX42" fmla="*/ 358549 w 516735"/>
                <a:gd name="connsiteY42" fmla="*/ 273031 h 788699"/>
                <a:gd name="connsiteX43" fmla="*/ 350390 w 516735"/>
                <a:gd name="connsiteY43" fmla="*/ 256713 h 788699"/>
                <a:gd name="connsiteX44" fmla="*/ 347671 w 516735"/>
                <a:gd name="connsiteY44" fmla="*/ 240395 h 788699"/>
                <a:gd name="connsiteX45" fmla="*/ 347671 w 516735"/>
                <a:gd name="connsiteY45" fmla="*/ 213199 h 788699"/>
                <a:gd name="connsiteX46" fmla="*/ 344951 w 516735"/>
                <a:gd name="connsiteY46" fmla="*/ 194161 h 788699"/>
                <a:gd name="connsiteX47" fmla="*/ 339512 w 516735"/>
                <a:gd name="connsiteY47" fmla="*/ 150647 h 788699"/>
                <a:gd name="connsiteX48" fmla="*/ 323194 w 516735"/>
                <a:gd name="connsiteY48" fmla="*/ 112571 h 788699"/>
                <a:gd name="connsiteX49" fmla="*/ 293278 w 516735"/>
                <a:gd name="connsiteY49" fmla="*/ 101693 h 788699"/>
                <a:gd name="connsiteX50" fmla="*/ 263361 w 516735"/>
                <a:gd name="connsiteY50" fmla="*/ 120730 h 788699"/>
                <a:gd name="connsiteX51" fmla="*/ 241604 w 516735"/>
                <a:gd name="connsiteY51" fmla="*/ 153366 h 788699"/>
                <a:gd name="connsiteX52" fmla="*/ 233445 w 516735"/>
                <a:gd name="connsiteY52" fmla="*/ 194161 h 788699"/>
                <a:gd name="connsiteX53" fmla="*/ 225286 w 516735"/>
                <a:gd name="connsiteY53" fmla="*/ 232236 h 788699"/>
                <a:gd name="connsiteX54" fmla="*/ 217127 w 516735"/>
                <a:gd name="connsiteY54" fmla="*/ 275751 h 788699"/>
                <a:gd name="connsiteX55" fmla="*/ 211688 w 516735"/>
                <a:gd name="connsiteY55" fmla="*/ 316545 h 788699"/>
                <a:gd name="connsiteX56" fmla="*/ 206249 w 516735"/>
                <a:gd name="connsiteY56" fmla="*/ 354621 h 788699"/>
                <a:gd name="connsiteX57" fmla="*/ 200809 w 516735"/>
                <a:gd name="connsiteY57" fmla="*/ 398135 h 788699"/>
                <a:gd name="connsiteX58" fmla="*/ 195370 w 516735"/>
                <a:gd name="connsiteY58" fmla="*/ 438930 h 788699"/>
                <a:gd name="connsiteX59" fmla="*/ 192650 w 516735"/>
                <a:gd name="connsiteY59" fmla="*/ 474286 h 788699"/>
                <a:gd name="connsiteX60" fmla="*/ 195370 w 516735"/>
                <a:gd name="connsiteY60" fmla="*/ 525959 h 788699"/>
                <a:gd name="connsiteX61" fmla="*/ 208968 w 516735"/>
                <a:gd name="connsiteY61" fmla="*/ 596670 h 788699"/>
                <a:gd name="connsiteX62" fmla="*/ 214407 w 516735"/>
                <a:gd name="connsiteY62" fmla="*/ 623867 h 788699"/>
                <a:gd name="connsiteX63" fmla="*/ 228006 w 516735"/>
                <a:gd name="connsiteY63" fmla="*/ 656502 h 788699"/>
                <a:gd name="connsiteX64" fmla="*/ 271520 w 516735"/>
                <a:gd name="connsiteY64" fmla="*/ 689138 h 788699"/>
                <a:gd name="connsiteX65" fmla="*/ 306876 w 516735"/>
                <a:gd name="connsiteY65" fmla="*/ 664661 h 788699"/>
                <a:gd name="connsiteX66" fmla="*/ 331353 w 516735"/>
                <a:gd name="connsiteY66" fmla="*/ 602109 h 788699"/>
                <a:gd name="connsiteX67" fmla="*/ 336792 w 516735"/>
                <a:gd name="connsiteY67" fmla="*/ 544997 h 788699"/>
                <a:gd name="connsiteX68" fmla="*/ 336792 w 516735"/>
                <a:gd name="connsiteY68" fmla="*/ 498762 h 788699"/>
                <a:gd name="connsiteX69" fmla="*/ 336792 w 516735"/>
                <a:gd name="connsiteY69" fmla="*/ 490603 h 788699"/>
                <a:gd name="connsiteX70" fmla="*/ 320474 w 516735"/>
                <a:gd name="connsiteY70" fmla="*/ 477005 h 788699"/>
                <a:gd name="connsiteX71" fmla="*/ 282399 w 516735"/>
                <a:gd name="connsiteY71" fmla="*/ 479725 h 788699"/>
                <a:gd name="connsiteX72" fmla="*/ 252483 w 516735"/>
                <a:gd name="connsiteY72" fmla="*/ 474286 h 788699"/>
                <a:gd name="connsiteX73" fmla="*/ 247043 w 516735"/>
                <a:gd name="connsiteY73" fmla="*/ 466126 h 788699"/>
                <a:gd name="connsiteX74" fmla="*/ 249763 w 516735"/>
                <a:gd name="connsiteY74" fmla="*/ 457968 h 788699"/>
                <a:gd name="connsiteX75" fmla="*/ 268801 w 516735"/>
                <a:gd name="connsiteY75" fmla="*/ 447089 h 788699"/>
                <a:gd name="connsiteX76" fmla="*/ 312315 w 516735"/>
                <a:gd name="connsiteY76" fmla="*/ 436210 h 788699"/>
                <a:gd name="connsiteX77" fmla="*/ 353110 w 516735"/>
                <a:gd name="connsiteY77" fmla="*/ 430771 h 788699"/>
                <a:gd name="connsiteX78" fmla="*/ 385746 w 516735"/>
                <a:gd name="connsiteY78" fmla="*/ 430771 h 788699"/>
                <a:gd name="connsiteX79" fmla="*/ 437420 w 516735"/>
                <a:gd name="connsiteY79" fmla="*/ 428051 h 788699"/>
                <a:gd name="connsiteX80" fmla="*/ 464616 w 516735"/>
                <a:gd name="connsiteY80" fmla="*/ 436210 h 7886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</a:cxnLst>
              <a:rect l="l" t="t" r="r" b="b"/>
              <a:pathLst>
                <a:path w="516735" h="788699">
                  <a:moveTo>
                    <a:pt x="464616" y="436210"/>
                  </a:moveTo>
                  <a:cubicBezTo>
                    <a:pt x="464616" y="447089"/>
                    <a:pt x="453737" y="452528"/>
                    <a:pt x="445578" y="455248"/>
                  </a:cubicBezTo>
                  <a:cubicBezTo>
                    <a:pt x="434700" y="460687"/>
                    <a:pt x="415662" y="463407"/>
                    <a:pt x="404784" y="466126"/>
                  </a:cubicBezTo>
                  <a:cubicBezTo>
                    <a:pt x="393905" y="466126"/>
                    <a:pt x="385746" y="468846"/>
                    <a:pt x="385746" y="479725"/>
                  </a:cubicBezTo>
                  <a:cubicBezTo>
                    <a:pt x="385746" y="487884"/>
                    <a:pt x="388466" y="506921"/>
                    <a:pt x="388466" y="512361"/>
                  </a:cubicBezTo>
                  <a:cubicBezTo>
                    <a:pt x="388466" y="515080"/>
                    <a:pt x="388466" y="539557"/>
                    <a:pt x="388466" y="544997"/>
                  </a:cubicBezTo>
                  <a:cubicBezTo>
                    <a:pt x="388466" y="550436"/>
                    <a:pt x="388466" y="558595"/>
                    <a:pt x="388466" y="566754"/>
                  </a:cubicBezTo>
                  <a:cubicBezTo>
                    <a:pt x="388466" y="591231"/>
                    <a:pt x="388466" y="621147"/>
                    <a:pt x="391185" y="632026"/>
                  </a:cubicBezTo>
                  <a:cubicBezTo>
                    <a:pt x="393905" y="653783"/>
                    <a:pt x="393905" y="661942"/>
                    <a:pt x="393905" y="683699"/>
                  </a:cubicBezTo>
                  <a:cubicBezTo>
                    <a:pt x="393905" y="694578"/>
                    <a:pt x="393905" y="724494"/>
                    <a:pt x="377587" y="724494"/>
                  </a:cubicBezTo>
                  <a:cubicBezTo>
                    <a:pt x="369428" y="724494"/>
                    <a:pt x="366708" y="721774"/>
                    <a:pt x="361269" y="719054"/>
                  </a:cubicBezTo>
                  <a:cubicBezTo>
                    <a:pt x="355830" y="716335"/>
                    <a:pt x="353110" y="708176"/>
                    <a:pt x="353110" y="702737"/>
                  </a:cubicBezTo>
                  <a:cubicBezTo>
                    <a:pt x="350390" y="694578"/>
                    <a:pt x="350390" y="689138"/>
                    <a:pt x="350390" y="686419"/>
                  </a:cubicBezTo>
                  <a:cubicBezTo>
                    <a:pt x="350390" y="678260"/>
                    <a:pt x="353110" y="672820"/>
                    <a:pt x="353110" y="659222"/>
                  </a:cubicBezTo>
                  <a:lnTo>
                    <a:pt x="353110" y="656502"/>
                  </a:lnTo>
                  <a:cubicBezTo>
                    <a:pt x="347671" y="675540"/>
                    <a:pt x="334072" y="694578"/>
                    <a:pt x="317755" y="708176"/>
                  </a:cubicBezTo>
                  <a:cubicBezTo>
                    <a:pt x="293278" y="727214"/>
                    <a:pt x="274240" y="735372"/>
                    <a:pt x="241604" y="735372"/>
                  </a:cubicBezTo>
                  <a:cubicBezTo>
                    <a:pt x="222566" y="735372"/>
                    <a:pt x="203529" y="732653"/>
                    <a:pt x="187211" y="727214"/>
                  </a:cubicBezTo>
                  <a:cubicBezTo>
                    <a:pt x="165454" y="719054"/>
                    <a:pt x="149136" y="708176"/>
                    <a:pt x="135538" y="694578"/>
                  </a:cubicBezTo>
                  <a:cubicBezTo>
                    <a:pt x="113780" y="672820"/>
                    <a:pt x="100182" y="648343"/>
                    <a:pt x="86584" y="621147"/>
                  </a:cubicBezTo>
                  <a:cubicBezTo>
                    <a:pt x="75705" y="599390"/>
                    <a:pt x="70266" y="580352"/>
                    <a:pt x="67546" y="555875"/>
                  </a:cubicBezTo>
                  <a:cubicBezTo>
                    <a:pt x="64826" y="539557"/>
                    <a:pt x="62107" y="525959"/>
                    <a:pt x="59387" y="509641"/>
                  </a:cubicBezTo>
                  <a:cubicBezTo>
                    <a:pt x="56667" y="493323"/>
                    <a:pt x="59387" y="485164"/>
                    <a:pt x="59387" y="468846"/>
                  </a:cubicBezTo>
                  <a:cubicBezTo>
                    <a:pt x="59387" y="414453"/>
                    <a:pt x="72985" y="362780"/>
                    <a:pt x="86584" y="302947"/>
                  </a:cubicBezTo>
                  <a:cubicBezTo>
                    <a:pt x="92023" y="275751"/>
                    <a:pt x="100182" y="248554"/>
                    <a:pt x="108341" y="224077"/>
                  </a:cubicBezTo>
                  <a:cubicBezTo>
                    <a:pt x="116500" y="196881"/>
                    <a:pt x="130098" y="169684"/>
                    <a:pt x="146416" y="145207"/>
                  </a:cubicBezTo>
                  <a:cubicBezTo>
                    <a:pt x="160014" y="123450"/>
                    <a:pt x="176332" y="101693"/>
                    <a:pt x="198090" y="85375"/>
                  </a:cubicBezTo>
                  <a:cubicBezTo>
                    <a:pt x="206249" y="77216"/>
                    <a:pt x="217127" y="71776"/>
                    <a:pt x="228006" y="69057"/>
                  </a:cubicBezTo>
                  <a:cubicBezTo>
                    <a:pt x="241604" y="63618"/>
                    <a:pt x="255202" y="58178"/>
                    <a:pt x="268801" y="58178"/>
                  </a:cubicBezTo>
                  <a:cubicBezTo>
                    <a:pt x="271520" y="58178"/>
                    <a:pt x="274240" y="58178"/>
                    <a:pt x="274240" y="58178"/>
                  </a:cubicBezTo>
                  <a:cubicBezTo>
                    <a:pt x="279679" y="58178"/>
                    <a:pt x="285119" y="58178"/>
                    <a:pt x="295997" y="60898"/>
                  </a:cubicBezTo>
                  <a:cubicBezTo>
                    <a:pt x="309595" y="63618"/>
                    <a:pt x="320474" y="66337"/>
                    <a:pt x="331353" y="71776"/>
                  </a:cubicBezTo>
                  <a:cubicBezTo>
                    <a:pt x="339512" y="77216"/>
                    <a:pt x="347671" y="85375"/>
                    <a:pt x="350390" y="93534"/>
                  </a:cubicBezTo>
                  <a:cubicBezTo>
                    <a:pt x="350390" y="88095"/>
                    <a:pt x="353110" y="79936"/>
                    <a:pt x="353110" y="74496"/>
                  </a:cubicBezTo>
                  <a:cubicBezTo>
                    <a:pt x="355830" y="71776"/>
                    <a:pt x="355830" y="69057"/>
                    <a:pt x="358549" y="63618"/>
                  </a:cubicBezTo>
                  <a:cubicBezTo>
                    <a:pt x="361269" y="60898"/>
                    <a:pt x="363989" y="58178"/>
                    <a:pt x="366708" y="58178"/>
                  </a:cubicBezTo>
                  <a:cubicBezTo>
                    <a:pt x="369428" y="58178"/>
                    <a:pt x="372148" y="60898"/>
                    <a:pt x="374867" y="63618"/>
                  </a:cubicBezTo>
                  <a:cubicBezTo>
                    <a:pt x="377587" y="69057"/>
                    <a:pt x="380307" y="77216"/>
                    <a:pt x="383026" y="82655"/>
                  </a:cubicBezTo>
                  <a:cubicBezTo>
                    <a:pt x="383026" y="90814"/>
                    <a:pt x="385746" y="107132"/>
                    <a:pt x="385746" y="126170"/>
                  </a:cubicBezTo>
                  <a:cubicBezTo>
                    <a:pt x="385746" y="150647"/>
                    <a:pt x="385746" y="177843"/>
                    <a:pt x="388466" y="186002"/>
                  </a:cubicBezTo>
                  <a:cubicBezTo>
                    <a:pt x="391185" y="207759"/>
                    <a:pt x="391185" y="215918"/>
                    <a:pt x="391185" y="237676"/>
                  </a:cubicBezTo>
                  <a:cubicBezTo>
                    <a:pt x="391185" y="248554"/>
                    <a:pt x="391185" y="278470"/>
                    <a:pt x="374867" y="278470"/>
                  </a:cubicBezTo>
                  <a:cubicBezTo>
                    <a:pt x="366708" y="278470"/>
                    <a:pt x="363989" y="275751"/>
                    <a:pt x="358549" y="273031"/>
                  </a:cubicBezTo>
                  <a:cubicBezTo>
                    <a:pt x="353110" y="270311"/>
                    <a:pt x="350390" y="262152"/>
                    <a:pt x="350390" y="256713"/>
                  </a:cubicBezTo>
                  <a:cubicBezTo>
                    <a:pt x="350390" y="251274"/>
                    <a:pt x="347671" y="245834"/>
                    <a:pt x="347671" y="240395"/>
                  </a:cubicBezTo>
                  <a:cubicBezTo>
                    <a:pt x="347671" y="232236"/>
                    <a:pt x="347671" y="224077"/>
                    <a:pt x="347671" y="213199"/>
                  </a:cubicBezTo>
                  <a:cubicBezTo>
                    <a:pt x="347671" y="207759"/>
                    <a:pt x="347671" y="199600"/>
                    <a:pt x="344951" y="194161"/>
                  </a:cubicBezTo>
                  <a:cubicBezTo>
                    <a:pt x="342232" y="180563"/>
                    <a:pt x="342232" y="164245"/>
                    <a:pt x="339512" y="150647"/>
                  </a:cubicBezTo>
                  <a:cubicBezTo>
                    <a:pt x="336792" y="137048"/>
                    <a:pt x="331353" y="123450"/>
                    <a:pt x="323194" y="112571"/>
                  </a:cubicBezTo>
                  <a:cubicBezTo>
                    <a:pt x="317755" y="104412"/>
                    <a:pt x="304156" y="101693"/>
                    <a:pt x="293278" y="101693"/>
                  </a:cubicBezTo>
                  <a:cubicBezTo>
                    <a:pt x="279679" y="101693"/>
                    <a:pt x="271520" y="109852"/>
                    <a:pt x="263361" y="120730"/>
                  </a:cubicBezTo>
                  <a:cubicBezTo>
                    <a:pt x="257922" y="131609"/>
                    <a:pt x="247043" y="139768"/>
                    <a:pt x="241604" y="153366"/>
                  </a:cubicBezTo>
                  <a:cubicBezTo>
                    <a:pt x="236165" y="166964"/>
                    <a:pt x="233445" y="180563"/>
                    <a:pt x="233445" y="194161"/>
                  </a:cubicBezTo>
                  <a:cubicBezTo>
                    <a:pt x="233445" y="207759"/>
                    <a:pt x="230726" y="218638"/>
                    <a:pt x="225286" y="232236"/>
                  </a:cubicBezTo>
                  <a:cubicBezTo>
                    <a:pt x="219847" y="245834"/>
                    <a:pt x="219847" y="262152"/>
                    <a:pt x="217127" y="275751"/>
                  </a:cubicBezTo>
                  <a:cubicBezTo>
                    <a:pt x="214407" y="289349"/>
                    <a:pt x="214407" y="302947"/>
                    <a:pt x="211688" y="316545"/>
                  </a:cubicBezTo>
                  <a:cubicBezTo>
                    <a:pt x="211688" y="330144"/>
                    <a:pt x="206249" y="341022"/>
                    <a:pt x="206249" y="354621"/>
                  </a:cubicBezTo>
                  <a:cubicBezTo>
                    <a:pt x="203529" y="368219"/>
                    <a:pt x="203529" y="381817"/>
                    <a:pt x="200809" y="398135"/>
                  </a:cubicBezTo>
                  <a:cubicBezTo>
                    <a:pt x="198090" y="411733"/>
                    <a:pt x="198090" y="425332"/>
                    <a:pt x="195370" y="438930"/>
                  </a:cubicBezTo>
                  <a:cubicBezTo>
                    <a:pt x="195370" y="449809"/>
                    <a:pt x="192650" y="463407"/>
                    <a:pt x="192650" y="474286"/>
                  </a:cubicBezTo>
                  <a:cubicBezTo>
                    <a:pt x="192650" y="490603"/>
                    <a:pt x="195370" y="509641"/>
                    <a:pt x="195370" y="525959"/>
                  </a:cubicBezTo>
                  <a:cubicBezTo>
                    <a:pt x="195370" y="550436"/>
                    <a:pt x="203529" y="572193"/>
                    <a:pt x="208968" y="596670"/>
                  </a:cubicBezTo>
                  <a:cubicBezTo>
                    <a:pt x="211688" y="604829"/>
                    <a:pt x="211688" y="615708"/>
                    <a:pt x="214407" y="623867"/>
                  </a:cubicBezTo>
                  <a:cubicBezTo>
                    <a:pt x="217127" y="634745"/>
                    <a:pt x="222566" y="645624"/>
                    <a:pt x="228006" y="656502"/>
                  </a:cubicBezTo>
                  <a:cubicBezTo>
                    <a:pt x="236165" y="670101"/>
                    <a:pt x="252483" y="689138"/>
                    <a:pt x="271520" y="689138"/>
                  </a:cubicBezTo>
                  <a:cubicBezTo>
                    <a:pt x="287838" y="689138"/>
                    <a:pt x="298717" y="675540"/>
                    <a:pt x="306876" y="664661"/>
                  </a:cubicBezTo>
                  <a:cubicBezTo>
                    <a:pt x="320474" y="645624"/>
                    <a:pt x="325914" y="623867"/>
                    <a:pt x="331353" y="602109"/>
                  </a:cubicBezTo>
                  <a:cubicBezTo>
                    <a:pt x="334072" y="583072"/>
                    <a:pt x="336792" y="564034"/>
                    <a:pt x="336792" y="544997"/>
                  </a:cubicBezTo>
                  <a:cubicBezTo>
                    <a:pt x="336792" y="531398"/>
                    <a:pt x="336792" y="512361"/>
                    <a:pt x="336792" y="498762"/>
                  </a:cubicBezTo>
                  <a:cubicBezTo>
                    <a:pt x="336792" y="496043"/>
                    <a:pt x="336792" y="493323"/>
                    <a:pt x="336792" y="490603"/>
                  </a:cubicBezTo>
                  <a:cubicBezTo>
                    <a:pt x="336792" y="479725"/>
                    <a:pt x="336792" y="477005"/>
                    <a:pt x="320474" y="477005"/>
                  </a:cubicBezTo>
                  <a:cubicBezTo>
                    <a:pt x="309595" y="477005"/>
                    <a:pt x="295997" y="479725"/>
                    <a:pt x="282399" y="479725"/>
                  </a:cubicBezTo>
                  <a:cubicBezTo>
                    <a:pt x="271520" y="479725"/>
                    <a:pt x="260642" y="479725"/>
                    <a:pt x="252483" y="474286"/>
                  </a:cubicBezTo>
                  <a:cubicBezTo>
                    <a:pt x="249763" y="471566"/>
                    <a:pt x="247043" y="468846"/>
                    <a:pt x="247043" y="466126"/>
                  </a:cubicBezTo>
                  <a:cubicBezTo>
                    <a:pt x="247043" y="463407"/>
                    <a:pt x="247043" y="460687"/>
                    <a:pt x="249763" y="457968"/>
                  </a:cubicBezTo>
                  <a:cubicBezTo>
                    <a:pt x="255202" y="452528"/>
                    <a:pt x="260642" y="449809"/>
                    <a:pt x="268801" y="447089"/>
                  </a:cubicBezTo>
                  <a:cubicBezTo>
                    <a:pt x="282399" y="441650"/>
                    <a:pt x="295997" y="438930"/>
                    <a:pt x="312315" y="436210"/>
                  </a:cubicBezTo>
                  <a:cubicBezTo>
                    <a:pt x="325914" y="433491"/>
                    <a:pt x="339512" y="433491"/>
                    <a:pt x="353110" y="430771"/>
                  </a:cubicBezTo>
                  <a:cubicBezTo>
                    <a:pt x="363989" y="430771"/>
                    <a:pt x="374867" y="430771"/>
                    <a:pt x="385746" y="430771"/>
                  </a:cubicBezTo>
                  <a:cubicBezTo>
                    <a:pt x="402064" y="430771"/>
                    <a:pt x="426541" y="428051"/>
                    <a:pt x="437420" y="428051"/>
                  </a:cubicBezTo>
                  <a:cubicBezTo>
                    <a:pt x="451018" y="419892"/>
                    <a:pt x="464616" y="425332"/>
                    <a:pt x="464616" y="436210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5" name="Freeform: Shape 44">
              <a:extLst>
                <a:ext uri="{FF2B5EF4-FFF2-40B4-BE49-F238E27FC236}">
                  <a16:creationId xmlns:a16="http://schemas.microsoft.com/office/drawing/2014/main" id="{E3A64DEA-4098-4ADC-9CD1-9687FE43DC93}"/>
                </a:ext>
              </a:extLst>
            </p:cNvPr>
            <p:cNvSpPr/>
            <p:nvPr/>
          </p:nvSpPr>
          <p:spPr>
            <a:xfrm>
              <a:off x="5651630" y="4181279"/>
              <a:ext cx="734308" cy="788700"/>
            </a:xfrm>
            <a:custGeom>
              <a:avLst/>
              <a:gdLst>
                <a:gd name="connsiteX0" fmla="*/ 653783 w 734307"/>
                <a:gd name="connsiteY0" fmla="*/ 678259 h 788699"/>
                <a:gd name="connsiteX1" fmla="*/ 691859 w 734307"/>
                <a:gd name="connsiteY1" fmla="*/ 694577 h 788699"/>
                <a:gd name="connsiteX2" fmla="*/ 686419 w 734307"/>
                <a:gd name="connsiteY2" fmla="*/ 710895 h 788699"/>
                <a:gd name="connsiteX3" fmla="*/ 670101 w 734307"/>
                <a:gd name="connsiteY3" fmla="*/ 719054 h 788699"/>
                <a:gd name="connsiteX4" fmla="*/ 648344 w 734307"/>
                <a:gd name="connsiteY4" fmla="*/ 721774 h 788699"/>
                <a:gd name="connsiteX5" fmla="*/ 618428 w 734307"/>
                <a:gd name="connsiteY5" fmla="*/ 721774 h 788699"/>
                <a:gd name="connsiteX6" fmla="*/ 572194 w 734307"/>
                <a:gd name="connsiteY6" fmla="*/ 735372 h 788699"/>
                <a:gd name="connsiteX7" fmla="*/ 544997 w 734307"/>
                <a:gd name="connsiteY7" fmla="*/ 729933 h 788699"/>
                <a:gd name="connsiteX8" fmla="*/ 534119 w 734307"/>
                <a:gd name="connsiteY8" fmla="*/ 721774 h 788699"/>
                <a:gd name="connsiteX9" fmla="*/ 496043 w 734307"/>
                <a:gd name="connsiteY9" fmla="*/ 721774 h 788699"/>
                <a:gd name="connsiteX10" fmla="*/ 471566 w 734307"/>
                <a:gd name="connsiteY10" fmla="*/ 721774 h 788699"/>
                <a:gd name="connsiteX11" fmla="*/ 444370 w 734307"/>
                <a:gd name="connsiteY11" fmla="*/ 716335 h 788699"/>
                <a:gd name="connsiteX12" fmla="*/ 428052 w 734307"/>
                <a:gd name="connsiteY12" fmla="*/ 700017 h 788699"/>
                <a:gd name="connsiteX13" fmla="*/ 433491 w 734307"/>
                <a:gd name="connsiteY13" fmla="*/ 691858 h 788699"/>
                <a:gd name="connsiteX14" fmla="*/ 455248 w 734307"/>
                <a:gd name="connsiteY14" fmla="*/ 683699 h 788699"/>
                <a:gd name="connsiteX15" fmla="*/ 506922 w 734307"/>
                <a:gd name="connsiteY15" fmla="*/ 678259 h 788699"/>
                <a:gd name="connsiteX16" fmla="*/ 509641 w 734307"/>
                <a:gd name="connsiteY16" fmla="*/ 678259 h 788699"/>
                <a:gd name="connsiteX17" fmla="*/ 506922 w 734307"/>
                <a:gd name="connsiteY17" fmla="*/ 664661 h 788699"/>
                <a:gd name="connsiteX18" fmla="*/ 498763 w 734307"/>
                <a:gd name="connsiteY18" fmla="*/ 580352 h 788699"/>
                <a:gd name="connsiteX19" fmla="*/ 496043 w 734307"/>
                <a:gd name="connsiteY19" fmla="*/ 479725 h 788699"/>
                <a:gd name="connsiteX20" fmla="*/ 493324 w 734307"/>
                <a:gd name="connsiteY20" fmla="*/ 389976 h 788699"/>
                <a:gd name="connsiteX21" fmla="*/ 490604 w 734307"/>
                <a:gd name="connsiteY21" fmla="*/ 302947 h 788699"/>
                <a:gd name="connsiteX22" fmla="*/ 487884 w 734307"/>
                <a:gd name="connsiteY22" fmla="*/ 229516 h 788699"/>
                <a:gd name="connsiteX23" fmla="*/ 485165 w 734307"/>
                <a:gd name="connsiteY23" fmla="*/ 221357 h 788699"/>
                <a:gd name="connsiteX24" fmla="*/ 482445 w 734307"/>
                <a:gd name="connsiteY24" fmla="*/ 226797 h 788699"/>
                <a:gd name="connsiteX25" fmla="*/ 477006 w 734307"/>
                <a:gd name="connsiteY25" fmla="*/ 262152 h 788699"/>
                <a:gd name="connsiteX26" fmla="*/ 460688 w 734307"/>
                <a:gd name="connsiteY26" fmla="*/ 341022 h 788699"/>
                <a:gd name="connsiteX27" fmla="*/ 444370 w 734307"/>
                <a:gd name="connsiteY27" fmla="*/ 417173 h 788699"/>
                <a:gd name="connsiteX28" fmla="*/ 436211 w 734307"/>
                <a:gd name="connsiteY28" fmla="*/ 455248 h 788699"/>
                <a:gd name="connsiteX29" fmla="*/ 425332 w 734307"/>
                <a:gd name="connsiteY29" fmla="*/ 493323 h 788699"/>
                <a:gd name="connsiteX30" fmla="*/ 411734 w 734307"/>
                <a:gd name="connsiteY30" fmla="*/ 531398 h 788699"/>
                <a:gd name="connsiteX31" fmla="*/ 376378 w 734307"/>
                <a:gd name="connsiteY31" fmla="*/ 547716 h 788699"/>
                <a:gd name="connsiteX32" fmla="*/ 319265 w 734307"/>
                <a:gd name="connsiteY32" fmla="*/ 525959 h 788699"/>
                <a:gd name="connsiteX33" fmla="*/ 289349 w 734307"/>
                <a:gd name="connsiteY33" fmla="*/ 455248 h 788699"/>
                <a:gd name="connsiteX34" fmla="*/ 273031 w 734307"/>
                <a:gd name="connsiteY34" fmla="*/ 373658 h 788699"/>
                <a:gd name="connsiteX35" fmla="*/ 262153 w 734307"/>
                <a:gd name="connsiteY35" fmla="*/ 316545 h 788699"/>
                <a:gd name="connsiteX36" fmla="*/ 245835 w 734307"/>
                <a:gd name="connsiteY36" fmla="*/ 237675 h 788699"/>
                <a:gd name="connsiteX37" fmla="*/ 234956 w 734307"/>
                <a:gd name="connsiteY37" fmla="*/ 196881 h 788699"/>
                <a:gd name="connsiteX38" fmla="*/ 232236 w 734307"/>
                <a:gd name="connsiteY38" fmla="*/ 191441 h 788699"/>
                <a:gd name="connsiteX39" fmla="*/ 226797 w 734307"/>
                <a:gd name="connsiteY39" fmla="*/ 207759 h 788699"/>
                <a:gd name="connsiteX40" fmla="*/ 226797 w 734307"/>
                <a:gd name="connsiteY40" fmla="*/ 232236 h 788699"/>
                <a:gd name="connsiteX41" fmla="*/ 224077 w 734307"/>
                <a:gd name="connsiteY41" fmla="*/ 267592 h 788699"/>
                <a:gd name="connsiteX42" fmla="*/ 221358 w 734307"/>
                <a:gd name="connsiteY42" fmla="*/ 311106 h 788699"/>
                <a:gd name="connsiteX43" fmla="*/ 218638 w 734307"/>
                <a:gd name="connsiteY43" fmla="*/ 360060 h 788699"/>
                <a:gd name="connsiteX44" fmla="*/ 215919 w 734307"/>
                <a:gd name="connsiteY44" fmla="*/ 398135 h 788699"/>
                <a:gd name="connsiteX45" fmla="*/ 213199 w 734307"/>
                <a:gd name="connsiteY45" fmla="*/ 430771 h 788699"/>
                <a:gd name="connsiteX46" fmla="*/ 213199 w 734307"/>
                <a:gd name="connsiteY46" fmla="*/ 455248 h 788699"/>
                <a:gd name="connsiteX47" fmla="*/ 213199 w 734307"/>
                <a:gd name="connsiteY47" fmla="*/ 477005 h 788699"/>
                <a:gd name="connsiteX48" fmla="*/ 207759 w 734307"/>
                <a:gd name="connsiteY48" fmla="*/ 520520 h 788699"/>
                <a:gd name="connsiteX49" fmla="*/ 196881 w 734307"/>
                <a:gd name="connsiteY49" fmla="*/ 610268 h 788699"/>
                <a:gd name="connsiteX50" fmla="*/ 194161 w 734307"/>
                <a:gd name="connsiteY50" fmla="*/ 653783 h 788699"/>
                <a:gd name="connsiteX51" fmla="*/ 191441 w 734307"/>
                <a:gd name="connsiteY51" fmla="*/ 667381 h 788699"/>
                <a:gd name="connsiteX52" fmla="*/ 243115 w 734307"/>
                <a:gd name="connsiteY52" fmla="*/ 667381 h 788699"/>
                <a:gd name="connsiteX53" fmla="*/ 273031 w 734307"/>
                <a:gd name="connsiteY53" fmla="*/ 683699 h 788699"/>
                <a:gd name="connsiteX54" fmla="*/ 262153 w 734307"/>
                <a:gd name="connsiteY54" fmla="*/ 697297 h 788699"/>
                <a:gd name="connsiteX55" fmla="*/ 248554 w 734307"/>
                <a:gd name="connsiteY55" fmla="*/ 705456 h 788699"/>
                <a:gd name="connsiteX56" fmla="*/ 232236 w 734307"/>
                <a:gd name="connsiteY56" fmla="*/ 708176 h 788699"/>
                <a:gd name="connsiteX57" fmla="*/ 166965 w 734307"/>
                <a:gd name="connsiteY57" fmla="*/ 708176 h 788699"/>
                <a:gd name="connsiteX58" fmla="*/ 109852 w 734307"/>
                <a:gd name="connsiteY58" fmla="*/ 708176 h 788699"/>
                <a:gd name="connsiteX59" fmla="*/ 90814 w 734307"/>
                <a:gd name="connsiteY59" fmla="*/ 708176 h 788699"/>
                <a:gd name="connsiteX60" fmla="*/ 69057 w 734307"/>
                <a:gd name="connsiteY60" fmla="*/ 702736 h 788699"/>
                <a:gd name="connsiteX61" fmla="*/ 58178 w 734307"/>
                <a:gd name="connsiteY61" fmla="*/ 686418 h 788699"/>
                <a:gd name="connsiteX62" fmla="*/ 60898 w 734307"/>
                <a:gd name="connsiteY62" fmla="*/ 678259 h 788699"/>
                <a:gd name="connsiteX63" fmla="*/ 77216 w 734307"/>
                <a:gd name="connsiteY63" fmla="*/ 670101 h 788699"/>
                <a:gd name="connsiteX64" fmla="*/ 126170 w 734307"/>
                <a:gd name="connsiteY64" fmla="*/ 664661 h 788699"/>
                <a:gd name="connsiteX65" fmla="*/ 142487 w 734307"/>
                <a:gd name="connsiteY65" fmla="*/ 664661 h 788699"/>
                <a:gd name="connsiteX66" fmla="*/ 147927 w 734307"/>
                <a:gd name="connsiteY66" fmla="*/ 588511 h 788699"/>
                <a:gd name="connsiteX67" fmla="*/ 153366 w 734307"/>
                <a:gd name="connsiteY67" fmla="*/ 493323 h 788699"/>
                <a:gd name="connsiteX68" fmla="*/ 156086 w 734307"/>
                <a:gd name="connsiteY68" fmla="*/ 411733 h 788699"/>
                <a:gd name="connsiteX69" fmla="*/ 161525 w 734307"/>
                <a:gd name="connsiteY69" fmla="*/ 297508 h 788699"/>
                <a:gd name="connsiteX70" fmla="*/ 166965 w 734307"/>
                <a:gd name="connsiteY70" fmla="*/ 240395 h 788699"/>
                <a:gd name="connsiteX71" fmla="*/ 177843 w 734307"/>
                <a:gd name="connsiteY71" fmla="*/ 161525 h 788699"/>
                <a:gd name="connsiteX72" fmla="*/ 183282 w 734307"/>
                <a:gd name="connsiteY72" fmla="*/ 118011 h 788699"/>
                <a:gd name="connsiteX73" fmla="*/ 183282 w 734307"/>
                <a:gd name="connsiteY73" fmla="*/ 115291 h 788699"/>
                <a:gd name="connsiteX74" fmla="*/ 161525 w 734307"/>
                <a:gd name="connsiteY74" fmla="*/ 115291 h 788699"/>
                <a:gd name="connsiteX75" fmla="*/ 137048 w 734307"/>
                <a:gd name="connsiteY75" fmla="*/ 115291 h 788699"/>
                <a:gd name="connsiteX76" fmla="*/ 109852 w 734307"/>
                <a:gd name="connsiteY76" fmla="*/ 109851 h 788699"/>
                <a:gd name="connsiteX77" fmla="*/ 93534 w 734307"/>
                <a:gd name="connsiteY77" fmla="*/ 93534 h 788699"/>
                <a:gd name="connsiteX78" fmla="*/ 98973 w 734307"/>
                <a:gd name="connsiteY78" fmla="*/ 85375 h 788699"/>
                <a:gd name="connsiteX79" fmla="*/ 120730 w 734307"/>
                <a:gd name="connsiteY79" fmla="*/ 77216 h 788699"/>
                <a:gd name="connsiteX80" fmla="*/ 172404 w 734307"/>
                <a:gd name="connsiteY80" fmla="*/ 71776 h 788699"/>
                <a:gd name="connsiteX81" fmla="*/ 234956 w 734307"/>
                <a:gd name="connsiteY81" fmla="*/ 69057 h 788699"/>
                <a:gd name="connsiteX82" fmla="*/ 243115 w 734307"/>
                <a:gd name="connsiteY82" fmla="*/ 69057 h 788699"/>
                <a:gd name="connsiteX83" fmla="*/ 270312 w 734307"/>
                <a:gd name="connsiteY83" fmla="*/ 74496 h 788699"/>
                <a:gd name="connsiteX84" fmla="*/ 308387 w 734307"/>
                <a:gd name="connsiteY84" fmla="*/ 123450 h 788699"/>
                <a:gd name="connsiteX85" fmla="*/ 332864 w 734307"/>
                <a:gd name="connsiteY85" fmla="*/ 202320 h 788699"/>
                <a:gd name="connsiteX86" fmla="*/ 338303 w 734307"/>
                <a:gd name="connsiteY86" fmla="*/ 237675 h 788699"/>
                <a:gd name="connsiteX87" fmla="*/ 349182 w 734307"/>
                <a:gd name="connsiteY87" fmla="*/ 281190 h 788699"/>
                <a:gd name="connsiteX88" fmla="*/ 357341 w 734307"/>
                <a:gd name="connsiteY88" fmla="*/ 316545 h 788699"/>
                <a:gd name="connsiteX89" fmla="*/ 365500 w 734307"/>
                <a:gd name="connsiteY89" fmla="*/ 351901 h 788699"/>
                <a:gd name="connsiteX90" fmla="*/ 376378 w 734307"/>
                <a:gd name="connsiteY90" fmla="*/ 389976 h 788699"/>
                <a:gd name="connsiteX91" fmla="*/ 387257 w 734307"/>
                <a:gd name="connsiteY91" fmla="*/ 414453 h 788699"/>
                <a:gd name="connsiteX92" fmla="*/ 398136 w 734307"/>
                <a:gd name="connsiteY92" fmla="*/ 376378 h 788699"/>
                <a:gd name="connsiteX93" fmla="*/ 406295 w 734307"/>
                <a:gd name="connsiteY93" fmla="*/ 332863 h 788699"/>
                <a:gd name="connsiteX94" fmla="*/ 425332 w 734307"/>
                <a:gd name="connsiteY94" fmla="*/ 243115 h 788699"/>
                <a:gd name="connsiteX95" fmla="*/ 444370 w 734307"/>
                <a:gd name="connsiteY95" fmla="*/ 150646 h 788699"/>
                <a:gd name="connsiteX96" fmla="*/ 477006 w 734307"/>
                <a:gd name="connsiteY96" fmla="*/ 79935 h 788699"/>
                <a:gd name="connsiteX97" fmla="*/ 523240 w 734307"/>
                <a:gd name="connsiteY97" fmla="*/ 58178 h 788699"/>
                <a:gd name="connsiteX98" fmla="*/ 544997 w 734307"/>
                <a:gd name="connsiteY98" fmla="*/ 63617 h 788699"/>
                <a:gd name="connsiteX99" fmla="*/ 612988 w 734307"/>
                <a:gd name="connsiteY99" fmla="*/ 63617 h 788699"/>
                <a:gd name="connsiteX100" fmla="*/ 651064 w 734307"/>
                <a:gd name="connsiteY100" fmla="*/ 79935 h 788699"/>
                <a:gd name="connsiteX101" fmla="*/ 645624 w 734307"/>
                <a:gd name="connsiteY101" fmla="*/ 96253 h 788699"/>
                <a:gd name="connsiteX102" fmla="*/ 629307 w 734307"/>
                <a:gd name="connsiteY102" fmla="*/ 104412 h 788699"/>
                <a:gd name="connsiteX103" fmla="*/ 607549 w 734307"/>
                <a:gd name="connsiteY103" fmla="*/ 107132 h 788699"/>
                <a:gd name="connsiteX104" fmla="*/ 580353 w 734307"/>
                <a:gd name="connsiteY104" fmla="*/ 107132 h 788699"/>
                <a:gd name="connsiteX105" fmla="*/ 583072 w 734307"/>
                <a:gd name="connsiteY105" fmla="*/ 115291 h 788699"/>
                <a:gd name="connsiteX106" fmla="*/ 588512 w 734307"/>
                <a:gd name="connsiteY106" fmla="*/ 156086 h 788699"/>
                <a:gd name="connsiteX107" fmla="*/ 593951 w 734307"/>
                <a:gd name="connsiteY107" fmla="*/ 196881 h 788699"/>
                <a:gd name="connsiteX108" fmla="*/ 599390 w 734307"/>
                <a:gd name="connsiteY108" fmla="*/ 226797 h 788699"/>
                <a:gd name="connsiteX109" fmla="*/ 599390 w 734307"/>
                <a:gd name="connsiteY109" fmla="*/ 232236 h 788699"/>
                <a:gd name="connsiteX110" fmla="*/ 599390 w 734307"/>
                <a:gd name="connsiteY110" fmla="*/ 240395 h 788699"/>
                <a:gd name="connsiteX111" fmla="*/ 602110 w 734307"/>
                <a:gd name="connsiteY111" fmla="*/ 270311 h 788699"/>
                <a:gd name="connsiteX112" fmla="*/ 607549 w 734307"/>
                <a:gd name="connsiteY112" fmla="*/ 308386 h 788699"/>
                <a:gd name="connsiteX113" fmla="*/ 607549 w 734307"/>
                <a:gd name="connsiteY113" fmla="*/ 319265 h 788699"/>
                <a:gd name="connsiteX114" fmla="*/ 612988 w 734307"/>
                <a:gd name="connsiteY114" fmla="*/ 335583 h 788699"/>
                <a:gd name="connsiteX115" fmla="*/ 612988 w 734307"/>
                <a:gd name="connsiteY115" fmla="*/ 346462 h 788699"/>
                <a:gd name="connsiteX116" fmla="*/ 612988 w 734307"/>
                <a:gd name="connsiteY116" fmla="*/ 370939 h 788699"/>
                <a:gd name="connsiteX117" fmla="*/ 612988 w 734307"/>
                <a:gd name="connsiteY117" fmla="*/ 395415 h 788699"/>
                <a:gd name="connsiteX118" fmla="*/ 615708 w 734307"/>
                <a:gd name="connsiteY118" fmla="*/ 422612 h 788699"/>
                <a:gd name="connsiteX119" fmla="*/ 618428 w 734307"/>
                <a:gd name="connsiteY119" fmla="*/ 441650 h 788699"/>
                <a:gd name="connsiteX120" fmla="*/ 618428 w 734307"/>
                <a:gd name="connsiteY120" fmla="*/ 455248 h 788699"/>
                <a:gd name="connsiteX121" fmla="*/ 621147 w 734307"/>
                <a:gd name="connsiteY121" fmla="*/ 463407 h 788699"/>
                <a:gd name="connsiteX122" fmla="*/ 626587 w 734307"/>
                <a:gd name="connsiteY122" fmla="*/ 482444 h 788699"/>
                <a:gd name="connsiteX123" fmla="*/ 629307 w 734307"/>
                <a:gd name="connsiteY123" fmla="*/ 517800 h 788699"/>
                <a:gd name="connsiteX124" fmla="*/ 634746 w 734307"/>
                <a:gd name="connsiteY124" fmla="*/ 561314 h 788699"/>
                <a:gd name="connsiteX125" fmla="*/ 634746 w 734307"/>
                <a:gd name="connsiteY125" fmla="*/ 566754 h 788699"/>
                <a:gd name="connsiteX126" fmla="*/ 634746 w 734307"/>
                <a:gd name="connsiteY126" fmla="*/ 583072 h 788699"/>
                <a:gd name="connsiteX127" fmla="*/ 637466 w 734307"/>
                <a:gd name="connsiteY127" fmla="*/ 607548 h 788699"/>
                <a:gd name="connsiteX128" fmla="*/ 640185 w 734307"/>
                <a:gd name="connsiteY128" fmla="*/ 618427 h 788699"/>
                <a:gd name="connsiteX129" fmla="*/ 640185 w 734307"/>
                <a:gd name="connsiteY129" fmla="*/ 632025 h 788699"/>
                <a:gd name="connsiteX130" fmla="*/ 640185 w 734307"/>
                <a:gd name="connsiteY130" fmla="*/ 640184 h 788699"/>
                <a:gd name="connsiteX131" fmla="*/ 642905 w 734307"/>
                <a:gd name="connsiteY131" fmla="*/ 659222 h 788699"/>
                <a:gd name="connsiteX132" fmla="*/ 642905 w 734307"/>
                <a:gd name="connsiteY132" fmla="*/ 664661 h 788699"/>
                <a:gd name="connsiteX133" fmla="*/ 653783 w 734307"/>
                <a:gd name="connsiteY133" fmla="*/ 678259 h 788699"/>
                <a:gd name="connsiteX134" fmla="*/ 653783 w 734307"/>
                <a:gd name="connsiteY134" fmla="*/ 678259 h 7886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</a:cxnLst>
              <a:rect l="l" t="t" r="r" b="b"/>
              <a:pathLst>
                <a:path w="734307" h="788699">
                  <a:moveTo>
                    <a:pt x="653783" y="678259"/>
                  </a:moveTo>
                  <a:cubicBezTo>
                    <a:pt x="667382" y="678259"/>
                    <a:pt x="691859" y="678259"/>
                    <a:pt x="691859" y="694577"/>
                  </a:cubicBezTo>
                  <a:cubicBezTo>
                    <a:pt x="691859" y="702736"/>
                    <a:pt x="689139" y="705456"/>
                    <a:pt x="686419" y="710895"/>
                  </a:cubicBezTo>
                  <a:cubicBezTo>
                    <a:pt x="683700" y="716335"/>
                    <a:pt x="675541" y="719054"/>
                    <a:pt x="670101" y="719054"/>
                  </a:cubicBezTo>
                  <a:cubicBezTo>
                    <a:pt x="661942" y="721774"/>
                    <a:pt x="653783" y="721774"/>
                    <a:pt x="648344" y="721774"/>
                  </a:cubicBezTo>
                  <a:cubicBezTo>
                    <a:pt x="645624" y="721774"/>
                    <a:pt x="634746" y="721774"/>
                    <a:pt x="618428" y="721774"/>
                  </a:cubicBezTo>
                  <a:cubicBezTo>
                    <a:pt x="604829" y="729933"/>
                    <a:pt x="588512" y="735372"/>
                    <a:pt x="572194" y="735372"/>
                  </a:cubicBezTo>
                  <a:cubicBezTo>
                    <a:pt x="564035" y="735372"/>
                    <a:pt x="553156" y="732653"/>
                    <a:pt x="544997" y="729933"/>
                  </a:cubicBezTo>
                  <a:cubicBezTo>
                    <a:pt x="539558" y="727213"/>
                    <a:pt x="536838" y="724494"/>
                    <a:pt x="534119" y="721774"/>
                  </a:cubicBezTo>
                  <a:cubicBezTo>
                    <a:pt x="520520" y="721774"/>
                    <a:pt x="509641" y="721774"/>
                    <a:pt x="496043" y="721774"/>
                  </a:cubicBezTo>
                  <a:cubicBezTo>
                    <a:pt x="487884" y="721774"/>
                    <a:pt x="479725" y="721774"/>
                    <a:pt x="471566" y="721774"/>
                  </a:cubicBezTo>
                  <a:cubicBezTo>
                    <a:pt x="463407" y="721774"/>
                    <a:pt x="452529" y="721774"/>
                    <a:pt x="444370" y="716335"/>
                  </a:cubicBezTo>
                  <a:cubicBezTo>
                    <a:pt x="436211" y="713615"/>
                    <a:pt x="428052" y="705456"/>
                    <a:pt x="428052" y="700017"/>
                  </a:cubicBezTo>
                  <a:cubicBezTo>
                    <a:pt x="428052" y="697297"/>
                    <a:pt x="428052" y="694577"/>
                    <a:pt x="433491" y="691858"/>
                  </a:cubicBezTo>
                  <a:cubicBezTo>
                    <a:pt x="438930" y="689138"/>
                    <a:pt x="449809" y="686418"/>
                    <a:pt x="455248" y="683699"/>
                  </a:cubicBezTo>
                  <a:cubicBezTo>
                    <a:pt x="474286" y="680979"/>
                    <a:pt x="498763" y="678259"/>
                    <a:pt x="506922" y="678259"/>
                  </a:cubicBezTo>
                  <a:cubicBezTo>
                    <a:pt x="506922" y="678259"/>
                    <a:pt x="509641" y="678259"/>
                    <a:pt x="509641" y="678259"/>
                  </a:cubicBezTo>
                  <a:cubicBezTo>
                    <a:pt x="509641" y="672820"/>
                    <a:pt x="506922" y="670101"/>
                    <a:pt x="506922" y="664661"/>
                  </a:cubicBezTo>
                  <a:cubicBezTo>
                    <a:pt x="501483" y="640184"/>
                    <a:pt x="501483" y="612988"/>
                    <a:pt x="498763" y="580352"/>
                  </a:cubicBezTo>
                  <a:cubicBezTo>
                    <a:pt x="496043" y="547716"/>
                    <a:pt x="498763" y="512361"/>
                    <a:pt x="496043" y="479725"/>
                  </a:cubicBezTo>
                  <a:cubicBezTo>
                    <a:pt x="493324" y="449808"/>
                    <a:pt x="493324" y="419892"/>
                    <a:pt x="493324" y="389976"/>
                  </a:cubicBezTo>
                  <a:cubicBezTo>
                    <a:pt x="493324" y="360060"/>
                    <a:pt x="490604" y="332863"/>
                    <a:pt x="490604" y="302947"/>
                  </a:cubicBezTo>
                  <a:cubicBezTo>
                    <a:pt x="487884" y="275751"/>
                    <a:pt x="487884" y="240395"/>
                    <a:pt x="487884" y="229516"/>
                  </a:cubicBezTo>
                  <a:cubicBezTo>
                    <a:pt x="487884" y="224077"/>
                    <a:pt x="487884" y="221357"/>
                    <a:pt x="485165" y="221357"/>
                  </a:cubicBezTo>
                  <a:cubicBezTo>
                    <a:pt x="485165" y="221357"/>
                    <a:pt x="482445" y="224077"/>
                    <a:pt x="482445" y="226797"/>
                  </a:cubicBezTo>
                  <a:cubicBezTo>
                    <a:pt x="479725" y="237675"/>
                    <a:pt x="479725" y="251274"/>
                    <a:pt x="477006" y="262152"/>
                  </a:cubicBezTo>
                  <a:cubicBezTo>
                    <a:pt x="471566" y="289349"/>
                    <a:pt x="466127" y="316545"/>
                    <a:pt x="460688" y="341022"/>
                  </a:cubicBezTo>
                  <a:cubicBezTo>
                    <a:pt x="455248" y="365499"/>
                    <a:pt x="447090" y="392696"/>
                    <a:pt x="444370" y="417173"/>
                  </a:cubicBezTo>
                  <a:cubicBezTo>
                    <a:pt x="441650" y="430771"/>
                    <a:pt x="438930" y="441650"/>
                    <a:pt x="436211" y="455248"/>
                  </a:cubicBezTo>
                  <a:cubicBezTo>
                    <a:pt x="433491" y="468846"/>
                    <a:pt x="428052" y="479725"/>
                    <a:pt x="425332" y="493323"/>
                  </a:cubicBezTo>
                  <a:cubicBezTo>
                    <a:pt x="422612" y="506921"/>
                    <a:pt x="419893" y="520520"/>
                    <a:pt x="411734" y="531398"/>
                  </a:cubicBezTo>
                  <a:cubicBezTo>
                    <a:pt x="406295" y="539557"/>
                    <a:pt x="395416" y="547716"/>
                    <a:pt x="376378" y="547716"/>
                  </a:cubicBezTo>
                  <a:cubicBezTo>
                    <a:pt x="357341" y="547716"/>
                    <a:pt x="335583" y="539557"/>
                    <a:pt x="319265" y="525959"/>
                  </a:cubicBezTo>
                  <a:cubicBezTo>
                    <a:pt x="300228" y="506921"/>
                    <a:pt x="294788" y="479725"/>
                    <a:pt x="289349" y="455248"/>
                  </a:cubicBezTo>
                  <a:cubicBezTo>
                    <a:pt x="283910" y="428051"/>
                    <a:pt x="278470" y="400855"/>
                    <a:pt x="273031" y="373658"/>
                  </a:cubicBezTo>
                  <a:cubicBezTo>
                    <a:pt x="273031" y="368219"/>
                    <a:pt x="267592" y="346462"/>
                    <a:pt x="262153" y="316545"/>
                  </a:cubicBezTo>
                  <a:cubicBezTo>
                    <a:pt x="256713" y="292068"/>
                    <a:pt x="251274" y="262152"/>
                    <a:pt x="245835" y="237675"/>
                  </a:cubicBezTo>
                  <a:cubicBezTo>
                    <a:pt x="240395" y="218638"/>
                    <a:pt x="237675" y="205039"/>
                    <a:pt x="234956" y="196881"/>
                  </a:cubicBezTo>
                  <a:cubicBezTo>
                    <a:pt x="232236" y="191441"/>
                    <a:pt x="232236" y="191441"/>
                    <a:pt x="232236" y="191441"/>
                  </a:cubicBezTo>
                  <a:cubicBezTo>
                    <a:pt x="229517" y="191441"/>
                    <a:pt x="229517" y="196881"/>
                    <a:pt x="226797" y="207759"/>
                  </a:cubicBezTo>
                  <a:cubicBezTo>
                    <a:pt x="226797" y="215918"/>
                    <a:pt x="226797" y="229516"/>
                    <a:pt x="226797" y="232236"/>
                  </a:cubicBezTo>
                  <a:cubicBezTo>
                    <a:pt x="226797" y="243115"/>
                    <a:pt x="224077" y="256713"/>
                    <a:pt x="224077" y="267592"/>
                  </a:cubicBezTo>
                  <a:cubicBezTo>
                    <a:pt x="224077" y="278470"/>
                    <a:pt x="224077" y="294788"/>
                    <a:pt x="221358" y="311106"/>
                  </a:cubicBezTo>
                  <a:cubicBezTo>
                    <a:pt x="221358" y="327424"/>
                    <a:pt x="218638" y="343742"/>
                    <a:pt x="218638" y="360060"/>
                  </a:cubicBezTo>
                  <a:cubicBezTo>
                    <a:pt x="218638" y="373658"/>
                    <a:pt x="215919" y="384537"/>
                    <a:pt x="215919" y="398135"/>
                  </a:cubicBezTo>
                  <a:cubicBezTo>
                    <a:pt x="215919" y="409014"/>
                    <a:pt x="213199" y="419892"/>
                    <a:pt x="213199" y="430771"/>
                  </a:cubicBezTo>
                  <a:cubicBezTo>
                    <a:pt x="213199" y="438930"/>
                    <a:pt x="213199" y="447089"/>
                    <a:pt x="213199" y="455248"/>
                  </a:cubicBezTo>
                  <a:cubicBezTo>
                    <a:pt x="213199" y="463407"/>
                    <a:pt x="213199" y="471566"/>
                    <a:pt x="213199" y="477005"/>
                  </a:cubicBezTo>
                  <a:cubicBezTo>
                    <a:pt x="210479" y="490603"/>
                    <a:pt x="207759" y="506921"/>
                    <a:pt x="207759" y="520520"/>
                  </a:cubicBezTo>
                  <a:cubicBezTo>
                    <a:pt x="202320" y="550436"/>
                    <a:pt x="199600" y="580352"/>
                    <a:pt x="196881" y="610268"/>
                  </a:cubicBezTo>
                  <a:cubicBezTo>
                    <a:pt x="196881" y="623866"/>
                    <a:pt x="196881" y="640184"/>
                    <a:pt x="194161" y="653783"/>
                  </a:cubicBezTo>
                  <a:cubicBezTo>
                    <a:pt x="194161" y="659222"/>
                    <a:pt x="194161" y="661942"/>
                    <a:pt x="191441" y="667381"/>
                  </a:cubicBezTo>
                  <a:cubicBezTo>
                    <a:pt x="213199" y="667381"/>
                    <a:pt x="232236" y="667381"/>
                    <a:pt x="243115" y="667381"/>
                  </a:cubicBezTo>
                  <a:cubicBezTo>
                    <a:pt x="253994" y="667381"/>
                    <a:pt x="273031" y="670101"/>
                    <a:pt x="273031" y="683699"/>
                  </a:cubicBezTo>
                  <a:cubicBezTo>
                    <a:pt x="273031" y="691858"/>
                    <a:pt x="267592" y="691858"/>
                    <a:pt x="262153" y="697297"/>
                  </a:cubicBezTo>
                  <a:cubicBezTo>
                    <a:pt x="259433" y="702736"/>
                    <a:pt x="253994" y="705456"/>
                    <a:pt x="248554" y="705456"/>
                  </a:cubicBezTo>
                  <a:cubicBezTo>
                    <a:pt x="240395" y="708176"/>
                    <a:pt x="234956" y="708176"/>
                    <a:pt x="232236" y="708176"/>
                  </a:cubicBezTo>
                  <a:cubicBezTo>
                    <a:pt x="226797" y="708176"/>
                    <a:pt x="175124" y="708176"/>
                    <a:pt x="166965" y="708176"/>
                  </a:cubicBezTo>
                  <a:cubicBezTo>
                    <a:pt x="156086" y="708176"/>
                    <a:pt x="120730" y="708176"/>
                    <a:pt x="109852" y="708176"/>
                  </a:cubicBezTo>
                  <a:cubicBezTo>
                    <a:pt x="104412" y="708176"/>
                    <a:pt x="96253" y="708176"/>
                    <a:pt x="90814" y="708176"/>
                  </a:cubicBezTo>
                  <a:cubicBezTo>
                    <a:pt x="85375" y="708176"/>
                    <a:pt x="77216" y="705456"/>
                    <a:pt x="69057" y="702736"/>
                  </a:cubicBezTo>
                  <a:cubicBezTo>
                    <a:pt x="63617" y="700017"/>
                    <a:pt x="58178" y="691858"/>
                    <a:pt x="58178" y="686418"/>
                  </a:cubicBezTo>
                  <a:cubicBezTo>
                    <a:pt x="58178" y="683699"/>
                    <a:pt x="58178" y="680979"/>
                    <a:pt x="60898" y="678259"/>
                  </a:cubicBezTo>
                  <a:cubicBezTo>
                    <a:pt x="63617" y="675540"/>
                    <a:pt x="71777" y="672820"/>
                    <a:pt x="77216" y="670101"/>
                  </a:cubicBezTo>
                  <a:cubicBezTo>
                    <a:pt x="90814" y="667381"/>
                    <a:pt x="120730" y="664661"/>
                    <a:pt x="126170" y="664661"/>
                  </a:cubicBezTo>
                  <a:cubicBezTo>
                    <a:pt x="128889" y="664661"/>
                    <a:pt x="134329" y="664661"/>
                    <a:pt x="142487" y="664661"/>
                  </a:cubicBezTo>
                  <a:cubicBezTo>
                    <a:pt x="142487" y="640184"/>
                    <a:pt x="147927" y="612988"/>
                    <a:pt x="147927" y="588511"/>
                  </a:cubicBezTo>
                  <a:cubicBezTo>
                    <a:pt x="150646" y="555875"/>
                    <a:pt x="153366" y="523239"/>
                    <a:pt x="153366" y="493323"/>
                  </a:cubicBezTo>
                  <a:cubicBezTo>
                    <a:pt x="153366" y="466126"/>
                    <a:pt x="156086" y="438930"/>
                    <a:pt x="156086" y="411733"/>
                  </a:cubicBezTo>
                  <a:cubicBezTo>
                    <a:pt x="158806" y="373658"/>
                    <a:pt x="158806" y="335583"/>
                    <a:pt x="161525" y="297508"/>
                  </a:cubicBezTo>
                  <a:cubicBezTo>
                    <a:pt x="161525" y="278470"/>
                    <a:pt x="164245" y="259433"/>
                    <a:pt x="166965" y="240395"/>
                  </a:cubicBezTo>
                  <a:cubicBezTo>
                    <a:pt x="169684" y="210479"/>
                    <a:pt x="172404" y="191441"/>
                    <a:pt x="177843" y="161525"/>
                  </a:cubicBezTo>
                  <a:cubicBezTo>
                    <a:pt x="180563" y="147927"/>
                    <a:pt x="180563" y="131609"/>
                    <a:pt x="183282" y="118011"/>
                  </a:cubicBezTo>
                  <a:cubicBezTo>
                    <a:pt x="183282" y="118011"/>
                    <a:pt x="183282" y="115291"/>
                    <a:pt x="183282" y="115291"/>
                  </a:cubicBezTo>
                  <a:cubicBezTo>
                    <a:pt x="177843" y="115291"/>
                    <a:pt x="172404" y="115291"/>
                    <a:pt x="161525" y="115291"/>
                  </a:cubicBezTo>
                  <a:cubicBezTo>
                    <a:pt x="153366" y="115291"/>
                    <a:pt x="145207" y="115291"/>
                    <a:pt x="137048" y="115291"/>
                  </a:cubicBezTo>
                  <a:cubicBezTo>
                    <a:pt x="128889" y="115291"/>
                    <a:pt x="118011" y="115291"/>
                    <a:pt x="109852" y="109851"/>
                  </a:cubicBezTo>
                  <a:cubicBezTo>
                    <a:pt x="101693" y="107132"/>
                    <a:pt x="93534" y="98973"/>
                    <a:pt x="93534" y="93534"/>
                  </a:cubicBezTo>
                  <a:cubicBezTo>
                    <a:pt x="93534" y="90814"/>
                    <a:pt x="93534" y="88094"/>
                    <a:pt x="98973" y="85375"/>
                  </a:cubicBezTo>
                  <a:cubicBezTo>
                    <a:pt x="104412" y="82655"/>
                    <a:pt x="115291" y="79935"/>
                    <a:pt x="120730" y="77216"/>
                  </a:cubicBezTo>
                  <a:cubicBezTo>
                    <a:pt x="139768" y="74496"/>
                    <a:pt x="164245" y="71776"/>
                    <a:pt x="172404" y="71776"/>
                  </a:cubicBezTo>
                  <a:cubicBezTo>
                    <a:pt x="194161" y="71776"/>
                    <a:pt x="210479" y="69057"/>
                    <a:pt x="234956" y="69057"/>
                  </a:cubicBezTo>
                  <a:cubicBezTo>
                    <a:pt x="237675" y="69057"/>
                    <a:pt x="240395" y="69057"/>
                    <a:pt x="243115" y="69057"/>
                  </a:cubicBezTo>
                  <a:cubicBezTo>
                    <a:pt x="251274" y="69057"/>
                    <a:pt x="262153" y="69057"/>
                    <a:pt x="270312" y="74496"/>
                  </a:cubicBezTo>
                  <a:cubicBezTo>
                    <a:pt x="283910" y="82655"/>
                    <a:pt x="300228" y="96253"/>
                    <a:pt x="308387" y="123450"/>
                  </a:cubicBezTo>
                  <a:cubicBezTo>
                    <a:pt x="316546" y="147927"/>
                    <a:pt x="327424" y="175123"/>
                    <a:pt x="332864" y="202320"/>
                  </a:cubicBezTo>
                  <a:cubicBezTo>
                    <a:pt x="335583" y="213198"/>
                    <a:pt x="335583" y="226797"/>
                    <a:pt x="338303" y="237675"/>
                  </a:cubicBezTo>
                  <a:cubicBezTo>
                    <a:pt x="343742" y="251274"/>
                    <a:pt x="346462" y="264872"/>
                    <a:pt x="349182" y="281190"/>
                  </a:cubicBezTo>
                  <a:cubicBezTo>
                    <a:pt x="351901" y="292068"/>
                    <a:pt x="351901" y="305667"/>
                    <a:pt x="357341" y="316545"/>
                  </a:cubicBezTo>
                  <a:cubicBezTo>
                    <a:pt x="362780" y="327424"/>
                    <a:pt x="362780" y="338303"/>
                    <a:pt x="365500" y="351901"/>
                  </a:cubicBezTo>
                  <a:cubicBezTo>
                    <a:pt x="365500" y="357340"/>
                    <a:pt x="373658" y="373658"/>
                    <a:pt x="376378" y="389976"/>
                  </a:cubicBezTo>
                  <a:cubicBezTo>
                    <a:pt x="381817" y="403574"/>
                    <a:pt x="384537" y="414453"/>
                    <a:pt x="387257" y="414453"/>
                  </a:cubicBezTo>
                  <a:cubicBezTo>
                    <a:pt x="392696" y="414453"/>
                    <a:pt x="395416" y="381817"/>
                    <a:pt x="398136" y="376378"/>
                  </a:cubicBezTo>
                  <a:cubicBezTo>
                    <a:pt x="400855" y="362779"/>
                    <a:pt x="403575" y="346462"/>
                    <a:pt x="406295" y="332863"/>
                  </a:cubicBezTo>
                  <a:cubicBezTo>
                    <a:pt x="411734" y="302947"/>
                    <a:pt x="417173" y="273031"/>
                    <a:pt x="425332" y="243115"/>
                  </a:cubicBezTo>
                  <a:cubicBezTo>
                    <a:pt x="430771" y="213198"/>
                    <a:pt x="436211" y="180563"/>
                    <a:pt x="444370" y="150646"/>
                  </a:cubicBezTo>
                  <a:cubicBezTo>
                    <a:pt x="449809" y="126170"/>
                    <a:pt x="460688" y="98973"/>
                    <a:pt x="477006" y="79935"/>
                  </a:cubicBezTo>
                  <a:cubicBezTo>
                    <a:pt x="487884" y="66337"/>
                    <a:pt x="506922" y="58178"/>
                    <a:pt x="523240" y="58178"/>
                  </a:cubicBezTo>
                  <a:cubicBezTo>
                    <a:pt x="528679" y="58178"/>
                    <a:pt x="539558" y="58178"/>
                    <a:pt x="544997" y="63617"/>
                  </a:cubicBezTo>
                  <a:lnTo>
                    <a:pt x="612988" y="63617"/>
                  </a:lnTo>
                  <a:cubicBezTo>
                    <a:pt x="626587" y="63617"/>
                    <a:pt x="651064" y="63617"/>
                    <a:pt x="651064" y="79935"/>
                  </a:cubicBezTo>
                  <a:cubicBezTo>
                    <a:pt x="651064" y="88094"/>
                    <a:pt x="648344" y="88094"/>
                    <a:pt x="645624" y="96253"/>
                  </a:cubicBezTo>
                  <a:cubicBezTo>
                    <a:pt x="640185" y="101693"/>
                    <a:pt x="634746" y="104412"/>
                    <a:pt x="629307" y="104412"/>
                  </a:cubicBezTo>
                  <a:cubicBezTo>
                    <a:pt x="621147" y="107132"/>
                    <a:pt x="612988" y="107132"/>
                    <a:pt x="607549" y="107132"/>
                  </a:cubicBezTo>
                  <a:cubicBezTo>
                    <a:pt x="604829" y="107132"/>
                    <a:pt x="591231" y="107132"/>
                    <a:pt x="580353" y="107132"/>
                  </a:cubicBezTo>
                  <a:cubicBezTo>
                    <a:pt x="580353" y="109851"/>
                    <a:pt x="583072" y="112571"/>
                    <a:pt x="583072" y="115291"/>
                  </a:cubicBezTo>
                  <a:cubicBezTo>
                    <a:pt x="585792" y="128889"/>
                    <a:pt x="585792" y="142487"/>
                    <a:pt x="588512" y="156086"/>
                  </a:cubicBezTo>
                  <a:cubicBezTo>
                    <a:pt x="591231" y="169684"/>
                    <a:pt x="591231" y="183282"/>
                    <a:pt x="593951" y="196881"/>
                  </a:cubicBezTo>
                  <a:cubicBezTo>
                    <a:pt x="593951" y="207759"/>
                    <a:pt x="599390" y="215918"/>
                    <a:pt x="599390" y="226797"/>
                  </a:cubicBezTo>
                  <a:cubicBezTo>
                    <a:pt x="599390" y="229516"/>
                    <a:pt x="599390" y="229516"/>
                    <a:pt x="599390" y="232236"/>
                  </a:cubicBezTo>
                  <a:cubicBezTo>
                    <a:pt x="599390" y="234956"/>
                    <a:pt x="599390" y="237675"/>
                    <a:pt x="599390" y="240395"/>
                  </a:cubicBezTo>
                  <a:cubicBezTo>
                    <a:pt x="599390" y="251274"/>
                    <a:pt x="599390" y="259433"/>
                    <a:pt x="602110" y="270311"/>
                  </a:cubicBezTo>
                  <a:cubicBezTo>
                    <a:pt x="604829" y="283909"/>
                    <a:pt x="607549" y="294788"/>
                    <a:pt x="607549" y="308386"/>
                  </a:cubicBezTo>
                  <a:cubicBezTo>
                    <a:pt x="607549" y="311106"/>
                    <a:pt x="607549" y="316545"/>
                    <a:pt x="607549" y="319265"/>
                  </a:cubicBezTo>
                  <a:cubicBezTo>
                    <a:pt x="607549" y="324704"/>
                    <a:pt x="610269" y="330144"/>
                    <a:pt x="612988" y="335583"/>
                  </a:cubicBezTo>
                  <a:cubicBezTo>
                    <a:pt x="612988" y="338303"/>
                    <a:pt x="612988" y="343742"/>
                    <a:pt x="612988" y="346462"/>
                  </a:cubicBezTo>
                  <a:cubicBezTo>
                    <a:pt x="612988" y="354620"/>
                    <a:pt x="612988" y="362779"/>
                    <a:pt x="612988" y="370939"/>
                  </a:cubicBezTo>
                  <a:cubicBezTo>
                    <a:pt x="612988" y="379097"/>
                    <a:pt x="612988" y="387256"/>
                    <a:pt x="612988" y="395415"/>
                  </a:cubicBezTo>
                  <a:cubicBezTo>
                    <a:pt x="612988" y="403574"/>
                    <a:pt x="615708" y="414453"/>
                    <a:pt x="615708" y="422612"/>
                  </a:cubicBezTo>
                  <a:cubicBezTo>
                    <a:pt x="618428" y="430771"/>
                    <a:pt x="618428" y="436210"/>
                    <a:pt x="618428" y="441650"/>
                  </a:cubicBezTo>
                  <a:cubicBezTo>
                    <a:pt x="618428" y="444369"/>
                    <a:pt x="618428" y="449808"/>
                    <a:pt x="618428" y="455248"/>
                  </a:cubicBezTo>
                  <a:cubicBezTo>
                    <a:pt x="618428" y="460687"/>
                    <a:pt x="618428" y="460687"/>
                    <a:pt x="621147" y="463407"/>
                  </a:cubicBezTo>
                  <a:cubicBezTo>
                    <a:pt x="623867" y="471566"/>
                    <a:pt x="623867" y="477005"/>
                    <a:pt x="626587" y="482444"/>
                  </a:cubicBezTo>
                  <a:cubicBezTo>
                    <a:pt x="629307" y="493323"/>
                    <a:pt x="629307" y="506921"/>
                    <a:pt x="629307" y="517800"/>
                  </a:cubicBezTo>
                  <a:cubicBezTo>
                    <a:pt x="632026" y="534118"/>
                    <a:pt x="632026" y="547716"/>
                    <a:pt x="634746" y="561314"/>
                  </a:cubicBezTo>
                  <a:cubicBezTo>
                    <a:pt x="634746" y="564034"/>
                    <a:pt x="634746" y="564034"/>
                    <a:pt x="634746" y="566754"/>
                  </a:cubicBezTo>
                  <a:cubicBezTo>
                    <a:pt x="634746" y="572193"/>
                    <a:pt x="634746" y="577632"/>
                    <a:pt x="634746" y="583072"/>
                  </a:cubicBezTo>
                  <a:cubicBezTo>
                    <a:pt x="634746" y="596670"/>
                    <a:pt x="637466" y="602109"/>
                    <a:pt x="637466" y="607548"/>
                  </a:cubicBezTo>
                  <a:cubicBezTo>
                    <a:pt x="637466" y="610268"/>
                    <a:pt x="640185" y="615708"/>
                    <a:pt x="640185" y="618427"/>
                  </a:cubicBezTo>
                  <a:cubicBezTo>
                    <a:pt x="640185" y="623866"/>
                    <a:pt x="640185" y="629306"/>
                    <a:pt x="640185" y="632025"/>
                  </a:cubicBezTo>
                  <a:cubicBezTo>
                    <a:pt x="640185" y="634745"/>
                    <a:pt x="640185" y="637465"/>
                    <a:pt x="640185" y="640184"/>
                  </a:cubicBezTo>
                  <a:cubicBezTo>
                    <a:pt x="640185" y="645624"/>
                    <a:pt x="642905" y="653783"/>
                    <a:pt x="642905" y="659222"/>
                  </a:cubicBezTo>
                  <a:cubicBezTo>
                    <a:pt x="642905" y="661942"/>
                    <a:pt x="642905" y="661942"/>
                    <a:pt x="642905" y="664661"/>
                  </a:cubicBezTo>
                  <a:cubicBezTo>
                    <a:pt x="645624" y="678259"/>
                    <a:pt x="651064" y="678259"/>
                    <a:pt x="653783" y="678259"/>
                  </a:cubicBezTo>
                  <a:lnTo>
                    <a:pt x="653783" y="678259"/>
                  </a:ln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6" name="Freeform: Shape 45">
              <a:extLst>
                <a:ext uri="{FF2B5EF4-FFF2-40B4-BE49-F238E27FC236}">
                  <a16:creationId xmlns:a16="http://schemas.microsoft.com/office/drawing/2014/main" id="{A832BAE0-D017-4A44-B1FD-B27B15799420}"/>
                </a:ext>
              </a:extLst>
            </p:cNvPr>
            <p:cNvSpPr/>
            <p:nvPr/>
          </p:nvSpPr>
          <p:spPr>
            <a:xfrm>
              <a:off x="6362526" y="4242177"/>
              <a:ext cx="492259" cy="674476"/>
            </a:xfrm>
            <a:custGeom>
              <a:avLst/>
              <a:gdLst>
                <a:gd name="connsiteX0" fmla="*/ 225733 w 492259"/>
                <a:gd name="connsiteY0" fmla="*/ 97907 h 674476"/>
                <a:gd name="connsiteX1" fmla="*/ 209415 w 492259"/>
                <a:gd name="connsiteY1" fmla="*/ 119665 h 674476"/>
                <a:gd name="connsiteX2" fmla="*/ 201256 w 492259"/>
                <a:gd name="connsiteY2" fmla="*/ 152300 h 674476"/>
                <a:gd name="connsiteX3" fmla="*/ 198536 w 492259"/>
                <a:gd name="connsiteY3" fmla="*/ 168618 h 674476"/>
                <a:gd name="connsiteX4" fmla="*/ 195817 w 492259"/>
                <a:gd name="connsiteY4" fmla="*/ 184936 h 674476"/>
                <a:gd name="connsiteX5" fmla="*/ 187658 w 492259"/>
                <a:gd name="connsiteY5" fmla="*/ 220292 h 674476"/>
                <a:gd name="connsiteX6" fmla="*/ 168620 w 492259"/>
                <a:gd name="connsiteY6" fmla="*/ 291003 h 674476"/>
                <a:gd name="connsiteX7" fmla="*/ 160461 w 492259"/>
                <a:gd name="connsiteY7" fmla="*/ 323639 h 674476"/>
                <a:gd name="connsiteX8" fmla="*/ 149582 w 492259"/>
                <a:gd name="connsiteY8" fmla="*/ 361714 h 674476"/>
                <a:gd name="connsiteX9" fmla="*/ 144143 w 492259"/>
                <a:gd name="connsiteY9" fmla="*/ 388910 h 674476"/>
                <a:gd name="connsiteX10" fmla="*/ 149582 w 492259"/>
                <a:gd name="connsiteY10" fmla="*/ 391630 h 674476"/>
                <a:gd name="connsiteX11" fmla="*/ 171340 w 492259"/>
                <a:gd name="connsiteY11" fmla="*/ 391630 h 674476"/>
                <a:gd name="connsiteX12" fmla="*/ 193097 w 492259"/>
                <a:gd name="connsiteY12" fmla="*/ 388910 h 674476"/>
                <a:gd name="connsiteX13" fmla="*/ 212135 w 492259"/>
                <a:gd name="connsiteY13" fmla="*/ 388910 h 674476"/>
                <a:gd name="connsiteX14" fmla="*/ 236611 w 492259"/>
                <a:gd name="connsiteY14" fmla="*/ 388910 h 674476"/>
                <a:gd name="connsiteX15" fmla="*/ 250210 w 492259"/>
                <a:gd name="connsiteY15" fmla="*/ 386191 h 674476"/>
                <a:gd name="connsiteX16" fmla="*/ 258369 w 492259"/>
                <a:gd name="connsiteY16" fmla="*/ 386191 h 674476"/>
                <a:gd name="connsiteX17" fmla="*/ 255649 w 492259"/>
                <a:gd name="connsiteY17" fmla="*/ 367153 h 674476"/>
                <a:gd name="connsiteX18" fmla="*/ 250210 w 492259"/>
                <a:gd name="connsiteY18" fmla="*/ 331797 h 674476"/>
                <a:gd name="connsiteX19" fmla="*/ 247490 w 492259"/>
                <a:gd name="connsiteY19" fmla="*/ 244769 h 674476"/>
                <a:gd name="connsiteX20" fmla="*/ 242051 w 492259"/>
                <a:gd name="connsiteY20" fmla="*/ 203974 h 674476"/>
                <a:gd name="connsiteX21" fmla="*/ 236611 w 492259"/>
                <a:gd name="connsiteY21" fmla="*/ 157740 h 674476"/>
                <a:gd name="connsiteX22" fmla="*/ 233892 w 492259"/>
                <a:gd name="connsiteY22" fmla="*/ 119665 h 674476"/>
                <a:gd name="connsiteX23" fmla="*/ 225733 w 492259"/>
                <a:gd name="connsiteY23" fmla="*/ 97907 h 674476"/>
                <a:gd name="connsiteX24" fmla="*/ 274687 w 492259"/>
                <a:gd name="connsiteY24" fmla="*/ 0 h 674476"/>
                <a:gd name="connsiteX25" fmla="*/ 304603 w 492259"/>
                <a:gd name="connsiteY25" fmla="*/ 5439 h 674476"/>
                <a:gd name="connsiteX26" fmla="*/ 320921 w 492259"/>
                <a:gd name="connsiteY26" fmla="*/ 24477 h 674476"/>
                <a:gd name="connsiteX27" fmla="*/ 334519 w 492259"/>
                <a:gd name="connsiteY27" fmla="*/ 43515 h 674476"/>
                <a:gd name="connsiteX28" fmla="*/ 339959 w 492259"/>
                <a:gd name="connsiteY28" fmla="*/ 65272 h 674476"/>
                <a:gd name="connsiteX29" fmla="*/ 348118 w 492259"/>
                <a:gd name="connsiteY29" fmla="*/ 114226 h 674476"/>
                <a:gd name="connsiteX30" fmla="*/ 361716 w 492259"/>
                <a:gd name="connsiteY30" fmla="*/ 163180 h 674476"/>
                <a:gd name="connsiteX31" fmla="*/ 369875 w 492259"/>
                <a:gd name="connsiteY31" fmla="*/ 220293 h 674476"/>
                <a:gd name="connsiteX32" fmla="*/ 378034 w 492259"/>
                <a:gd name="connsiteY32" fmla="*/ 274686 h 674476"/>
                <a:gd name="connsiteX33" fmla="*/ 383473 w 492259"/>
                <a:gd name="connsiteY33" fmla="*/ 301883 h 674476"/>
                <a:gd name="connsiteX34" fmla="*/ 391632 w 492259"/>
                <a:gd name="connsiteY34" fmla="*/ 337238 h 674476"/>
                <a:gd name="connsiteX35" fmla="*/ 397071 w 492259"/>
                <a:gd name="connsiteY35" fmla="*/ 364435 h 674476"/>
                <a:gd name="connsiteX36" fmla="*/ 405230 w 492259"/>
                <a:gd name="connsiteY36" fmla="*/ 383473 h 674476"/>
                <a:gd name="connsiteX37" fmla="*/ 416109 w 492259"/>
                <a:gd name="connsiteY37" fmla="*/ 386192 h 674476"/>
                <a:gd name="connsiteX38" fmla="*/ 426988 w 492259"/>
                <a:gd name="connsiteY38" fmla="*/ 386192 h 674476"/>
                <a:gd name="connsiteX39" fmla="*/ 454184 w 492259"/>
                <a:gd name="connsiteY39" fmla="*/ 397071 h 674476"/>
                <a:gd name="connsiteX40" fmla="*/ 456904 w 492259"/>
                <a:gd name="connsiteY40" fmla="*/ 405230 h 674476"/>
                <a:gd name="connsiteX41" fmla="*/ 451464 w 492259"/>
                <a:gd name="connsiteY41" fmla="*/ 416108 h 674476"/>
                <a:gd name="connsiteX42" fmla="*/ 432427 w 492259"/>
                <a:gd name="connsiteY42" fmla="*/ 429707 h 674476"/>
                <a:gd name="connsiteX43" fmla="*/ 421548 w 492259"/>
                <a:gd name="connsiteY43" fmla="*/ 432426 h 674476"/>
                <a:gd name="connsiteX44" fmla="*/ 413389 w 492259"/>
                <a:gd name="connsiteY44" fmla="*/ 435146 h 674476"/>
                <a:gd name="connsiteX45" fmla="*/ 413389 w 492259"/>
                <a:gd name="connsiteY45" fmla="*/ 440585 h 674476"/>
                <a:gd name="connsiteX46" fmla="*/ 416109 w 492259"/>
                <a:gd name="connsiteY46" fmla="*/ 451464 h 674476"/>
                <a:gd name="connsiteX47" fmla="*/ 418829 w 492259"/>
                <a:gd name="connsiteY47" fmla="*/ 465062 h 674476"/>
                <a:gd name="connsiteX48" fmla="*/ 418829 w 492259"/>
                <a:gd name="connsiteY48" fmla="*/ 475941 h 674476"/>
                <a:gd name="connsiteX49" fmla="*/ 418829 w 492259"/>
                <a:gd name="connsiteY49" fmla="*/ 486820 h 674476"/>
                <a:gd name="connsiteX50" fmla="*/ 426988 w 492259"/>
                <a:gd name="connsiteY50" fmla="*/ 516736 h 674476"/>
                <a:gd name="connsiteX51" fmla="*/ 432427 w 492259"/>
                <a:gd name="connsiteY51" fmla="*/ 543932 h 674476"/>
                <a:gd name="connsiteX52" fmla="*/ 437866 w 492259"/>
                <a:gd name="connsiteY52" fmla="*/ 573848 h 674476"/>
                <a:gd name="connsiteX53" fmla="*/ 443306 w 492259"/>
                <a:gd name="connsiteY53" fmla="*/ 606484 h 674476"/>
                <a:gd name="connsiteX54" fmla="*/ 446025 w 492259"/>
                <a:gd name="connsiteY54" fmla="*/ 617363 h 674476"/>
                <a:gd name="connsiteX55" fmla="*/ 470502 w 492259"/>
                <a:gd name="connsiteY55" fmla="*/ 617363 h 674476"/>
                <a:gd name="connsiteX56" fmla="*/ 492259 w 492259"/>
                <a:gd name="connsiteY56" fmla="*/ 641840 h 674476"/>
                <a:gd name="connsiteX57" fmla="*/ 484101 w 492259"/>
                <a:gd name="connsiteY57" fmla="*/ 655438 h 674476"/>
                <a:gd name="connsiteX58" fmla="*/ 467782 w 492259"/>
                <a:gd name="connsiteY58" fmla="*/ 663597 h 674476"/>
                <a:gd name="connsiteX59" fmla="*/ 443306 w 492259"/>
                <a:gd name="connsiteY59" fmla="*/ 666317 h 674476"/>
                <a:gd name="connsiteX60" fmla="*/ 421548 w 492259"/>
                <a:gd name="connsiteY60" fmla="*/ 666317 h 674476"/>
                <a:gd name="connsiteX61" fmla="*/ 413389 w 492259"/>
                <a:gd name="connsiteY61" fmla="*/ 666317 h 674476"/>
                <a:gd name="connsiteX62" fmla="*/ 399791 w 492259"/>
                <a:gd name="connsiteY62" fmla="*/ 671756 h 674476"/>
                <a:gd name="connsiteX63" fmla="*/ 383473 w 492259"/>
                <a:gd name="connsiteY63" fmla="*/ 674476 h 674476"/>
                <a:gd name="connsiteX64" fmla="*/ 348118 w 492259"/>
                <a:gd name="connsiteY64" fmla="*/ 669036 h 674476"/>
                <a:gd name="connsiteX65" fmla="*/ 326360 w 492259"/>
                <a:gd name="connsiteY65" fmla="*/ 669036 h 674476"/>
                <a:gd name="connsiteX66" fmla="*/ 277406 w 492259"/>
                <a:gd name="connsiteY66" fmla="*/ 669036 h 674476"/>
                <a:gd name="connsiteX67" fmla="*/ 252930 w 492259"/>
                <a:gd name="connsiteY67" fmla="*/ 663597 h 674476"/>
                <a:gd name="connsiteX68" fmla="*/ 236611 w 492259"/>
                <a:gd name="connsiteY68" fmla="*/ 647279 h 674476"/>
                <a:gd name="connsiteX69" fmla="*/ 261088 w 492259"/>
                <a:gd name="connsiteY69" fmla="*/ 630961 h 674476"/>
                <a:gd name="connsiteX70" fmla="*/ 288285 w 492259"/>
                <a:gd name="connsiteY70" fmla="*/ 628241 h 674476"/>
                <a:gd name="connsiteX71" fmla="*/ 285565 w 492259"/>
                <a:gd name="connsiteY71" fmla="*/ 609204 h 674476"/>
                <a:gd name="connsiteX72" fmla="*/ 282846 w 492259"/>
                <a:gd name="connsiteY72" fmla="*/ 582007 h 674476"/>
                <a:gd name="connsiteX73" fmla="*/ 280126 w 492259"/>
                <a:gd name="connsiteY73" fmla="*/ 568409 h 674476"/>
                <a:gd name="connsiteX74" fmla="*/ 282846 w 492259"/>
                <a:gd name="connsiteY74" fmla="*/ 554811 h 674476"/>
                <a:gd name="connsiteX75" fmla="*/ 277406 w 492259"/>
                <a:gd name="connsiteY75" fmla="*/ 538493 h 674476"/>
                <a:gd name="connsiteX76" fmla="*/ 271967 w 492259"/>
                <a:gd name="connsiteY76" fmla="*/ 505857 h 674476"/>
                <a:gd name="connsiteX77" fmla="*/ 269247 w 492259"/>
                <a:gd name="connsiteY77" fmla="*/ 478660 h 674476"/>
                <a:gd name="connsiteX78" fmla="*/ 266528 w 492259"/>
                <a:gd name="connsiteY78" fmla="*/ 446025 h 674476"/>
                <a:gd name="connsiteX79" fmla="*/ 261088 w 492259"/>
                <a:gd name="connsiteY79" fmla="*/ 437866 h 674476"/>
                <a:gd name="connsiteX80" fmla="*/ 250210 w 492259"/>
                <a:gd name="connsiteY80" fmla="*/ 437866 h 674476"/>
                <a:gd name="connsiteX81" fmla="*/ 220293 w 492259"/>
                <a:gd name="connsiteY81" fmla="*/ 440585 h 674476"/>
                <a:gd name="connsiteX82" fmla="*/ 190377 w 492259"/>
                <a:gd name="connsiteY82" fmla="*/ 443305 h 674476"/>
                <a:gd name="connsiteX83" fmla="*/ 165900 w 492259"/>
                <a:gd name="connsiteY83" fmla="*/ 443305 h 674476"/>
                <a:gd name="connsiteX84" fmla="*/ 144143 w 492259"/>
                <a:gd name="connsiteY84" fmla="*/ 440585 h 674476"/>
                <a:gd name="connsiteX85" fmla="*/ 135984 w 492259"/>
                <a:gd name="connsiteY85" fmla="*/ 454184 h 674476"/>
                <a:gd name="connsiteX86" fmla="*/ 130545 w 492259"/>
                <a:gd name="connsiteY86" fmla="*/ 486820 h 674476"/>
                <a:gd name="connsiteX87" fmla="*/ 119666 w 492259"/>
                <a:gd name="connsiteY87" fmla="*/ 541213 h 674476"/>
                <a:gd name="connsiteX88" fmla="*/ 103348 w 492259"/>
                <a:gd name="connsiteY88" fmla="*/ 614643 h 674476"/>
                <a:gd name="connsiteX89" fmla="*/ 133264 w 492259"/>
                <a:gd name="connsiteY89" fmla="*/ 614643 h 674476"/>
                <a:gd name="connsiteX90" fmla="*/ 168620 w 492259"/>
                <a:gd name="connsiteY90" fmla="*/ 630961 h 674476"/>
                <a:gd name="connsiteX91" fmla="*/ 163181 w 492259"/>
                <a:gd name="connsiteY91" fmla="*/ 647279 h 674476"/>
                <a:gd name="connsiteX92" fmla="*/ 146863 w 492259"/>
                <a:gd name="connsiteY92" fmla="*/ 655438 h 674476"/>
                <a:gd name="connsiteX93" fmla="*/ 127825 w 492259"/>
                <a:gd name="connsiteY93" fmla="*/ 658158 h 674476"/>
                <a:gd name="connsiteX94" fmla="*/ 106068 w 492259"/>
                <a:gd name="connsiteY94" fmla="*/ 658158 h 674476"/>
                <a:gd name="connsiteX95" fmla="*/ 62552 w 492259"/>
                <a:gd name="connsiteY95" fmla="*/ 658158 h 674476"/>
                <a:gd name="connsiteX96" fmla="*/ 40795 w 492259"/>
                <a:gd name="connsiteY96" fmla="*/ 658158 h 674476"/>
                <a:gd name="connsiteX97" fmla="*/ 16318 w 492259"/>
                <a:gd name="connsiteY97" fmla="*/ 652718 h 674476"/>
                <a:gd name="connsiteX98" fmla="*/ 0 w 492259"/>
                <a:gd name="connsiteY98" fmla="*/ 636401 h 674476"/>
                <a:gd name="connsiteX99" fmla="*/ 2720 w 492259"/>
                <a:gd name="connsiteY99" fmla="*/ 628241 h 674476"/>
                <a:gd name="connsiteX100" fmla="*/ 24477 w 492259"/>
                <a:gd name="connsiteY100" fmla="*/ 620082 h 674476"/>
                <a:gd name="connsiteX101" fmla="*/ 62552 w 492259"/>
                <a:gd name="connsiteY101" fmla="*/ 617363 h 674476"/>
                <a:gd name="connsiteX102" fmla="*/ 62552 w 492259"/>
                <a:gd name="connsiteY102" fmla="*/ 614643 h 674476"/>
                <a:gd name="connsiteX103" fmla="*/ 65272 w 492259"/>
                <a:gd name="connsiteY103" fmla="*/ 587447 h 674476"/>
                <a:gd name="connsiteX104" fmla="*/ 76151 w 492259"/>
                <a:gd name="connsiteY104" fmla="*/ 522175 h 674476"/>
                <a:gd name="connsiteX105" fmla="*/ 87029 w 492259"/>
                <a:gd name="connsiteY105" fmla="*/ 470501 h 674476"/>
                <a:gd name="connsiteX106" fmla="*/ 92468 w 492259"/>
                <a:gd name="connsiteY106" fmla="*/ 446025 h 674476"/>
                <a:gd name="connsiteX107" fmla="*/ 65272 w 492259"/>
                <a:gd name="connsiteY107" fmla="*/ 432426 h 674476"/>
                <a:gd name="connsiteX108" fmla="*/ 54393 w 492259"/>
                <a:gd name="connsiteY108" fmla="*/ 421548 h 674476"/>
                <a:gd name="connsiteX109" fmla="*/ 73431 w 492259"/>
                <a:gd name="connsiteY109" fmla="*/ 407949 h 674476"/>
                <a:gd name="connsiteX110" fmla="*/ 100629 w 492259"/>
                <a:gd name="connsiteY110" fmla="*/ 399790 h 674476"/>
                <a:gd name="connsiteX111" fmla="*/ 108788 w 492259"/>
                <a:gd name="connsiteY111" fmla="*/ 369874 h 674476"/>
                <a:gd name="connsiteX112" fmla="*/ 125105 w 492259"/>
                <a:gd name="connsiteY112" fmla="*/ 307322 h 674476"/>
                <a:gd name="connsiteX113" fmla="*/ 141423 w 492259"/>
                <a:gd name="connsiteY113" fmla="*/ 242051 h 674476"/>
                <a:gd name="connsiteX114" fmla="*/ 155022 w 492259"/>
                <a:gd name="connsiteY114" fmla="*/ 179498 h 674476"/>
                <a:gd name="connsiteX115" fmla="*/ 168620 w 492259"/>
                <a:gd name="connsiteY115" fmla="*/ 119665 h 674476"/>
                <a:gd name="connsiteX116" fmla="*/ 193097 w 492259"/>
                <a:gd name="connsiteY116" fmla="*/ 57113 h 674476"/>
                <a:gd name="connsiteX117" fmla="*/ 201256 w 492259"/>
                <a:gd name="connsiteY117" fmla="*/ 38075 h 674476"/>
                <a:gd name="connsiteX118" fmla="*/ 217574 w 492259"/>
                <a:gd name="connsiteY118" fmla="*/ 13598 h 674476"/>
                <a:gd name="connsiteX119" fmla="*/ 274687 w 492259"/>
                <a:gd name="connsiteY119" fmla="*/ 0 h 6744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</a:cxnLst>
              <a:rect l="l" t="t" r="r" b="b"/>
              <a:pathLst>
                <a:path w="492259" h="674476">
                  <a:moveTo>
                    <a:pt x="225733" y="97907"/>
                  </a:moveTo>
                  <a:cubicBezTo>
                    <a:pt x="217574" y="97907"/>
                    <a:pt x="209415" y="114225"/>
                    <a:pt x="209415" y="119665"/>
                  </a:cubicBezTo>
                  <a:cubicBezTo>
                    <a:pt x="206695" y="130543"/>
                    <a:pt x="203976" y="144141"/>
                    <a:pt x="201256" y="152300"/>
                  </a:cubicBezTo>
                  <a:cubicBezTo>
                    <a:pt x="198536" y="157740"/>
                    <a:pt x="198536" y="163179"/>
                    <a:pt x="198536" y="168618"/>
                  </a:cubicBezTo>
                  <a:cubicBezTo>
                    <a:pt x="198536" y="174058"/>
                    <a:pt x="195817" y="179497"/>
                    <a:pt x="195817" y="184936"/>
                  </a:cubicBezTo>
                  <a:cubicBezTo>
                    <a:pt x="193097" y="195815"/>
                    <a:pt x="190377" y="209413"/>
                    <a:pt x="187658" y="220292"/>
                  </a:cubicBezTo>
                  <a:cubicBezTo>
                    <a:pt x="184938" y="244769"/>
                    <a:pt x="176779" y="269246"/>
                    <a:pt x="168620" y="291003"/>
                  </a:cubicBezTo>
                  <a:cubicBezTo>
                    <a:pt x="165900" y="301881"/>
                    <a:pt x="163181" y="312760"/>
                    <a:pt x="160461" y="323639"/>
                  </a:cubicBezTo>
                  <a:cubicBezTo>
                    <a:pt x="157742" y="337237"/>
                    <a:pt x="155022" y="348115"/>
                    <a:pt x="149582" y="361714"/>
                  </a:cubicBezTo>
                  <a:cubicBezTo>
                    <a:pt x="146863" y="367153"/>
                    <a:pt x="144143" y="383471"/>
                    <a:pt x="144143" y="388910"/>
                  </a:cubicBezTo>
                  <a:cubicBezTo>
                    <a:pt x="144143" y="391630"/>
                    <a:pt x="146863" y="391630"/>
                    <a:pt x="149582" y="391630"/>
                  </a:cubicBezTo>
                  <a:cubicBezTo>
                    <a:pt x="155022" y="391630"/>
                    <a:pt x="168620" y="391630"/>
                    <a:pt x="171340" y="391630"/>
                  </a:cubicBezTo>
                  <a:cubicBezTo>
                    <a:pt x="179498" y="391630"/>
                    <a:pt x="187658" y="391630"/>
                    <a:pt x="193097" y="388910"/>
                  </a:cubicBezTo>
                  <a:cubicBezTo>
                    <a:pt x="198536" y="388910"/>
                    <a:pt x="203976" y="388910"/>
                    <a:pt x="212135" y="388910"/>
                  </a:cubicBezTo>
                  <a:cubicBezTo>
                    <a:pt x="217574" y="388910"/>
                    <a:pt x="225733" y="388910"/>
                    <a:pt x="236611" y="388910"/>
                  </a:cubicBezTo>
                  <a:cubicBezTo>
                    <a:pt x="242051" y="388910"/>
                    <a:pt x="247490" y="388910"/>
                    <a:pt x="250210" y="386191"/>
                  </a:cubicBezTo>
                  <a:cubicBezTo>
                    <a:pt x="255649" y="391630"/>
                    <a:pt x="258369" y="388910"/>
                    <a:pt x="258369" y="386191"/>
                  </a:cubicBezTo>
                  <a:cubicBezTo>
                    <a:pt x="258369" y="380751"/>
                    <a:pt x="255649" y="372592"/>
                    <a:pt x="255649" y="367153"/>
                  </a:cubicBezTo>
                  <a:cubicBezTo>
                    <a:pt x="252930" y="353555"/>
                    <a:pt x="250210" y="342676"/>
                    <a:pt x="250210" y="331797"/>
                  </a:cubicBezTo>
                  <a:cubicBezTo>
                    <a:pt x="250210" y="301881"/>
                    <a:pt x="250210" y="274685"/>
                    <a:pt x="247490" y="244769"/>
                  </a:cubicBezTo>
                  <a:cubicBezTo>
                    <a:pt x="247490" y="231170"/>
                    <a:pt x="244771" y="217572"/>
                    <a:pt x="242051" y="203974"/>
                  </a:cubicBezTo>
                  <a:cubicBezTo>
                    <a:pt x="239331" y="187656"/>
                    <a:pt x="236611" y="174058"/>
                    <a:pt x="236611" y="157740"/>
                  </a:cubicBezTo>
                  <a:cubicBezTo>
                    <a:pt x="236611" y="152300"/>
                    <a:pt x="236611" y="133263"/>
                    <a:pt x="233892" y="119665"/>
                  </a:cubicBezTo>
                  <a:cubicBezTo>
                    <a:pt x="233892" y="106066"/>
                    <a:pt x="231172" y="97907"/>
                    <a:pt x="225733" y="97907"/>
                  </a:cubicBezTo>
                  <a:close/>
                  <a:moveTo>
                    <a:pt x="274687" y="0"/>
                  </a:moveTo>
                  <a:cubicBezTo>
                    <a:pt x="288285" y="0"/>
                    <a:pt x="293724" y="2720"/>
                    <a:pt x="304603" y="5439"/>
                  </a:cubicBezTo>
                  <a:cubicBezTo>
                    <a:pt x="315481" y="10879"/>
                    <a:pt x="315481" y="16318"/>
                    <a:pt x="320921" y="24477"/>
                  </a:cubicBezTo>
                  <a:cubicBezTo>
                    <a:pt x="326360" y="29916"/>
                    <a:pt x="331800" y="35356"/>
                    <a:pt x="334519" y="43515"/>
                  </a:cubicBezTo>
                  <a:cubicBezTo>
                    <a:pt x="337239" y="51674"/>
                    <a:pt x="337239" y="57113"/>
                    <a:pt x="339959" y="65272"/>
                  </a:cubicBezTo>
                  <a:cubicBezTo>
                    <a:pt x="345398" y="78870"/>
                    <a:pt x="342678" y="97908"/>
                    <a:pt x="348118" y="114226"/>
                  </a:cubicBezTo>
                  <a:cubicBezTo>
                    <a:pt x="350837" y="130544"/>
                    <a:pt x="358996" y="146863"/>
                    <a:pt x="361716" y="163180"/>
                  </a:cubicBezTo>
                  <a:cubicBezTo>
                    <a:pt x="364435" y="182218"/>
                    <a:pt x="364435" y="201256"/>
                    <a:pt x="369875" y="220293"/>
                  </a:cubicBezTo>
                  <a:cubicBezTo>
                    <a:pt x="375314" y="239331"/>
                    <a:pt x="378034" y="255649"/>
                    <a:pt x="378034" y="274686"/>
                  </a:cubicBezTo>
                  <a:cubicBezTo>
                    <a:pt x="378034" y="282845"/>
                    <a:pt x="380753" y="293724"/>
                    <a:pt x="383473" y="301883"/>
                  </a:cubicBezTo>
                  <a:cubicBezTo>
                    <a:pt x="386193" y="312762"/>
                    <a:pt x="388913" y="326360"/>
                    <a:pt x="391632" y="337238"/>
                  </a:cubicBezTo>
                  <a:cubicBezTo>
                    <a:pt x="391632" y="342678"/>
                    <a:pt x="394352" y="353556"/>
                    <a:pt x="397071" y="364435"/>
                  </a:cubicBezTo>
                  <a:cubicBezTo>
                    <a:pt x="399791" y="372594"/>
                    <a:pt x="402511" y="380753"/>
                    <a:pt x="405230" y="383473"/>
                  </a:cubicBezTo>
                  <a:cubicBezTo>
                    <a:pt x="407950" y="386192"/>
                    <a:pt x="413389" y="386192"/>
                    <a:pt x="416109" y="386192"/>
                  </a:cubicBezTo>
                  <a:cubicBezTo>
                    <a:pt x="418829" y="386192"/>
                    <a:pt x="424268" y="386192"/>
                    <a:pt x="426988" y="386192"/>
                  </a:cubicBezTo>
                  <a:cubicBezTo>
                    <a:pt x="437866" y="386192"/>
                    <a:pt x="448745" y="388912"/>
                    <a:pt x="454184" y="397071"/>
                  </a:cubicBezTo>
                  <a:cubicBezTo>
                    <a:pt x="456904" y="399790"/>
                    <a:pt x="456904" y="402510"/>
                    <a:pt x="456904" y="405230"/>
                  </a:cubicBezTo>
                  <a:cubicBezTo>
                    <a:pt x="456904" y="407949"/>
                    <a:pt x="454184" y="410669"/>
                    <a:pt x="451464" y="416108"/>
                  </a:cubicBezTo>
                  <a:cubicBezTo>
                    <a:pt x="446025" y="421548"/>
                    <a:pt x="440586" y="426987"/>
                    <a:pt x="432427" y="429707"/>
                  </a:cubicBezTo>
                  <a:cubicBezTo>
                    <a:pt x="429707" y="429707"/>
                    <a:pt x="426988" y="432426"/>
                    <a:pt x="421548" y="432426"/>
                  </a:cubicBezTo>
                  <a:cubicBezTo>
                    <a:pt x="418829" y="432426"/>
                    <a:pt x="416109" y="432426"/>
                    <a:pt x="413389" y="435146"/>
                  </a:cubicBezTo>
                  <a:cubicBezTo>
                    <a:pt x="413389" y="435146"/>
                    <a:pt x="413389" y="437866"/>
                    <a:pt x="413389" y="440585"/>
                  </a:cubicBezTo>
                  <a:cubicBezTo>
                    <a:pt x="413389" y="443305"/>
                    <a:pt x="413389" y="448744"/>
                    <a:pt x="416109" y="451464"/>
                  </a:cubicBezTo>
                  <a:cubicBezTo>
                    <a:pt x="416109" y="456903"/>
                    <a:pt x="418829" y="462343"/>
                    <a:pt x="418829" y="465062"/>
                  </a:cubicBezTo>
                  <a:lnTo>
                    <a:pt x="418829" y="475941"/>
                  </a:lnTo>
                  <a:cubicBezTo>
                    <a:pt x="418829" y="481380"/>
                    <a:pt x="418829" y="484100"/>
                    <a:pt x="418829" y="486820"/>
                  </a:cubicBezTo>
                  <a:cubicBezTo>
                    <a:pt x="421548" y="497698"/>
                    <a:pt x="424268" y="505857"/>
                    <a:pt x="426988" y="516736"/>
                  </a:cubicBezTo>
                  <a:cubicBezTo>
                    <a:pt x="426988" y="524895"/>
                    <a:pt x="429707" y="535773"/>
                    <a:pt x="432427" y="543932"/>
                  </a:cubicBezTo>
                  <a:cubicBezTo>
                    <a:pt x="435147" y="554811"/>
                    <a:pt x="437866" y="562970"/>
                    <a:pt x="437866" y="573848"/>
                  </a:cubicBezTo>
                  <a:cubicBezTo>
                    <a:pt x="437866" y="587447"/>
                    <a:pt x="440586" y="595606"/>
                    <a:pt x="443306" y="606484"/>
                  </a:cubicBezTo>
                  <a:cubicBezTo>
                    <a:pt x="443306" y="609204"/>
                    <a:pt x="446025" y="614643"/>
                    <a:pt x="446025" y="617363"/>
                  </a:cubicBezTo>
                  <a:cubicBezTo>
                    <a:pt x="454184" y="617363"/>
                    <a:pt x="462343" y="617363"/>
                    <a:pt x="470502" y="617363"/>
                  </a:cubicBezTo>
                  <a:cubicBezTo>
                    <a:pt x="475942" y="625522"/>
                    <a:pt x="492259" y="630961"/>
                    <a:pt x="492259" y="641840"/>
                  </a:cubicBezTo>
                  <a:cubicBezTo>
                    <a:pt x="492259" y="647279"/>
                    <a:pt x="486820" y="649999"/>
                    <a:pt x="484101" y="655438"/>
                  </a:cubicBezTo>
                  <a:cubicBezTo>
                    <a:pt x="481381" y="660877"/>
                    <a:pt x="473222" y="663597"/>
                    <a:pt x="467782" y="663597"/>
                  </a:cubicBezTo>
                  <a:cubicBezTo>
                    <a:pt x="456904" y="666317"/>
                    <a:pt x="451464" y="666317"/>
                    <a:pt x="443306" y="666317"/>
                  </a:cubicBezTo>
                  <a:cubicBezTo>
                    <a:pt x="437866" y="666317"/>
                    <a:pt x="429707" y="666317"/>
                    <a:pt x="421548" y="666317"/>
                  </a:cubicBezTo>
                  <a:cubicBezTo>
                    <a:pt x="418829" y="666317"/>
                    <a:pt x="416109" y="666317"/>
                    <a:pt x="413389" y="666317"/>
                  </a:cubicBezTo>
                  <a:cubicBezTo>
                    <a:pt x="407950" y="669036"/>
                    <a:pt x="405230" y="669036"/>
                    <a:pt x="399791" y="671756"/>
                  </a:cubicBezTo>
                  <a:cubicBezTo>
                    <a:pt x="394352" y="671756"/>
                    <a:pt x="388913" y="674476"/>
                    <a:pt x="383473" y="674476"/>
                  </a:cubicBezTo>
                  <a:cubicBezTo>
                    <a:pt x="372594" y="674476"/>
                    <a:pt x="358996" y="671756"/>
                    <a:pt x="348118" y="669036"/>
                  </a:cubicBezTo>
                  <a:cubicBezTo>
                    <a:pt x="339959" y="669036"/>
                    <a:pt x="331800" y="669036"/>
                    <a:pt x="326360" y="669036"/>
                  </a:cubicBezTo>
                  <a:cubicBezTo>
                    <a:pt x="304603" y="669036"/>
                    <a:pt x="285565" y="669036"/>
                    <a:pt x="277406" y="669036"/>
                  </a:cubicBezTo>
                  <a:cubicBezTo>
                    <a:pt x="269247" y="669036"/>
                    <a:pt x="258369" y="669036"/>
                    <a:pt x="252930" y="663597"/>
                  </a:cubicBezTo>
                  <a:cubicBezTo>
                    <a:pt x="247490" y="660877"/>
                    <a:pt x="236611" y="655438"/>
                    <a:pt x="236611" y="647279"/>
                  </a:cubicBezTo>
                  <a:cubicBezTo>
                    <a:pt x="236611" y="636401"/>
                    <a:pt x="252930" y="633681"/>
                    <a:pt x="261088" y="630961"/>
                  </a:cubicBezTo>
                  <a:cubicBezTo>
                    <a:pt x="266528" y="630961"/>
                    <a:pt x="274687" y="630961"/>
                    <a:pt x="288285" y="628241"/>
                  </a:cubicBezTo>
                  <a:cubicBezTo>
                    <a:pt x="288285" y="620082"/>
                    <a:pt x="288285" y="614643"/>
                    <a:pt x="285565" y="609204"/>
                  </a:cubicBezTo>
                  <a:cubicBezTo>
                    <a:pt x="285565" y="601045"/>
                    <a:pt x="282846" y="590166"/>
                    <a:pt x="282846" y="582007"/>
                  </a:cubicBezTo>
                  <a:cubicBezTo>
                    <a:pt x="282846" y="576568"/>
                    <a:pt x="280126" y="573848"/>
                    <a:pt x="280126" y="568409"/>
                  </a:cubicBezTo>
                  <a:cubicBezTo>
                    <a:pt x="280126" y="562970"/>
                    <a:pt x="282846" y="557531"/>
                    <a:pt x="282846" y="554811"/>
                  </a:cubicBezTo>
                  <a:cubicBezTo>
                    <a:pt x="282846" y="549371"/>
                    <a:pt x="280126" y="546652"/>
                    <a:pt x="277406" y="538493"/>
                  </a:cubicBezTo>
                  <a:cubicBezTo>
                    <a:pt x="277406" y="527614"/>
                    <a:pt x="271967" y="516736"/>
                    <a:pt x="271967" y="505857"/>
                  </a:cubicBezTo>
                  <a:cubicBezTo>
                    <a:pt x="271967" y="494978"/>
                    <a:pt x="271967" y="486820"/>
                    <a:pt x="269247" y="478660"/>
                  </a:cubicBezTo>
                  <a:cubicBezTo>
                    <a:pt x="266528" y="467782"/>
                    <a:pt x="266528" y="456903"/>
                    <a:pt x="266528" y="446025"/>
                  </a:cubicBezTo>
                  <a:cubicBezTo>
                    <a:pt x="266528" y="440585"/>
                    <a:pt x="263808" y="437866"/>
                    <a:pt x="261088" y="437866"/>
                  </a:cubicBezTo>
                  <a:cubicBezTo>
                    <a:pt x="258369" y="437866"/>
                    <a:pt x="255649" y="437866"/>
                    <a:pt x="250210" y="437866"/>
                  </a:cubicBezTo>
                  <a:cubicBezTo>
                    <a:pt x="239331" y="437866"/>
                    <a:pt x="228452" y="437866"/>
                    <a:pt x="220293" y="440585"/>
                  </a:cubicBezTo>
                  <a:cubicBezTo>
                    <a:pt x="209415" y="440585"/>
                    <a:pt x="201256" y="443305"/>
                    <a:pt x="190377" y="443305"/>
                  </a:cubicBezTo>
                  <a:cubicBezTo>
                    <a:pt x="182218" y="443305"/>
                    <a:pt x="174059" y="443305"/>
                    <a:pt x="165900" y="443305"/>
                  </a:cubicBezTo>
                  <a:cubicBezTo>
                    <a:pt x="163181" y="443305"/>
                    <a:pt x="152302" y="440585"/>
                    <a:pt x="144143" y="440585"/>
                  </a:cubicBezTo>
                  <a:cubicBezTo>
                    <a:pt x="135984" y="440585"/>
                    <a:pt x="135984" y="448744"/>
                    <a:pt x="135984" y="454184"/>
                  </a:cubicBezTo>
                  <a:cubicBezTo>
                    <a:pt x="135984" y="465062"/>
                    <a:pt x="133264" y="475941"/>
                    <a:pt x="130545" y="486820"/>
                  </a:cubicBezTo>
                  <a:cubicBezTo>
                    <a:pt x="127825" y="505857"/>
                    <a:pt x="122386" y="522175"/>
                    <a:pt x="119666" y="541213"/>
                  </a:cubicBezTo>
                  <a:cubicBezTo>
                    <a:pt x="116947" y="560250"/>
                    <a:pt x="108788" y="595606"/>
                    <a:pt x="103348" y="614643"/>
                  </a:cubicBezTo>
                  <a:cubicBezTo>
                    <a:pt x="111507" y="614643"/>
                    <a:pt x="122386" y="614643"/>
                    <a:pt x="133264" y="614643"/>
                  </a:cubicBezTo>
                  <a:cubicBezTo>
                    <a:pt x="146863" y="614643"/>
                    <a:pt x="168620" y="614643"/>
                    <a:pt x="168620" y="630961"/>
                  </a:cubicBezTo>
                  <a:cubicBezTo>
                    <a:pt x="168620" y="639120"/>
                    <a:pt x="165900" y="639120"/>
                    <a:pt x="163181" y="647279"/>
                  </a:cubicBezTo>
                  <a:cubicBezTo>
                    <a:pt x="160461" y="652718"/>
                    <a:pt x="152302" y="655438"/>
                    <a:pt x="146863" y="655438"/>
                  </a:cubicBezTo>
                  <a:cubicBezTo>
                    <a:pt x="138704" y="658158"/>
                    <a:pt x="133264" y="658158"/>
                    <a:pt x="127825" y="658158"/>
                  </a:cubicBezTo>
                  <a:cubicBezTo>
                    <a:pt x="122386" y="658158"/>
                    <a:pt x="116947" y="658158"/>
                    <a:pt x="106068" y="658158"/>
                  </a:cubicBezTo>
                  <a:cubicBezTo>
                    <a:pt x="92468" y="658158"/>
                    <a:pt x="78870" y="658158"/>
                    <a:pt x="62552" y="658158"/>
                  </a:cubicBezTo>
                  <a:cubicBezTo>
                    <a:pt x="54393" y="658158"/>
                    <a:pt x="46234" y="658158"/>
                    <a:pt x="40795" y="658158"/>
                  </a:cubicBezTo>
                  <a:cubicBezTo>
                    <a:pt x="32636" y="658158"/>
                    <a:pt x="21758" y="658158"/>
                    <a:pt x="16318" y="652718"/>
                  </a:cubicBezTo>
                  <a:cubicBezTo>
                    <a:pt x="8159" y="649999"/>
                    <a:pt x="0" y="641840"/>
                    <a:pt x="0" y="636401"/>
                  </a:cubicBezTo>
                  <a:cubicBezTo>
                    <a:pt x="0" y="633681"/>
                    <a:pt x="0" y="630961"/>
                    <a:pt x="2720" y="628241"/>
                  </a:cubicBezTo>
                  <a:cubicBezTo>
                    <a:pt x="8159" y="625522"/>
                    <a:pt x="16318" y="622802"/>
                    <a:pt x="24477" y="620082"/>
                  </a:cubicBezTo>
                  <a:cubicBezTo>
                    <a:pt x="38075" y="617363"/>
                    <a:pt x="48954" y="617363"/>
                    <a:pt x="62552" y="617363"/>
                  </a:cubicBezTo>
                  <a:cubicBezTo>
                    <a:pt x="62552" y="617363"/>
                    <a:pt x="62552" y="614643"/>
                    <a:pt x="62552" y="614643"/>
                  </a:cubicBezTo>
                  <a:cubicBezTo>
                    <a:pt x="62552" y="603765"/>
                    <a:pt x="65272" y="590166"/>
                    <a:pt x="65272" y="587447"/>
                  </a:cubicBezTo>
                  <a:cubicBezTo>
                    <a:pt x="67992" y="565689"/>
                    <a:pt x="73431" y="543932"/>
                    <a:pt x="76151" y="522175"/>
                  </a:cubicBezTo>
                  <a:cubicBezTo>
                    <a:pt x="78870" y="505857"/>
                    <a:pt x="81590" y="486820"/>
                    <a:pt x="87029" y="470501"/>
                  </a:cubicBezTo>
                  <a:cubicBezTo>
                    <a:pt x="87029" y="465062"/>
                    <a:pt x="92468" y="451464"/>
                    <a:pt x="92468" y="446025"/>
                  </a:cubicBezTo>
                  <a:cubicBezTo>
                    <a:pt x="92468" y="437866"/>
                    <a:pt x="73431" y="437866"/>
                    <a:pt x="65272" y="432426"/>
                  </a:cubicBezTo>
                  <a:cubicBezTo>
                    <a:pt x="59833" y="429707"/>
                    <a:pt x="54393" y="426987"/>
                    <a:pt x="54393" y="421548"/>
                  </a:cubicBezTo>
                  <a:cubicBezTo>
                    <a:pt x="54393" y="413389"/>
                    <a:pt x="62552" y="410669"/>
                    <a:pt x="73431" y="407949"/>
                  </a:cubicBezTo>
                  <a:cubicBezTo>
                    <a:pt x="78870" y="407949"/>
                    <a:pt x="92468" y="405230"/>
                    <a:pt x="100629" y="399790"/>
                  </a:cubicBezTo>
                  <a:cubicBezTo>
                    <a:pt x="106068" y="394351"/>
                    <a:pt x="106068" y="378033"/>
                    <a:pt x="108788" y="369874"/>
                  </a:cubicBezTo>
                  <a:cubicBezTo>
                    <a:pt x="114227" y="348117"/>
                    <a:pt x="119666" y="326360"/>
                    <a:pt x="125105" y="307322"/>
                  </a:cubicBezTo>
                  <a:cubicBezTo>
                    <a:pt x="130545" y="285565"/>
                    <a:pt x="135984" y="263808"/>
                    <a:pt x="141423" y="242051"/>
                  </a:cubicBezTo>
                  <a:cubicBezTo>
                    <a:pt x="146863" y="220293"/>
                    <a:pt x="152302" y="198536"/>
                    <a:pt x="155022" y="179498"/>
                  </a:cubicBezTo>
                  <a:cubicBezTo>
                    <a:pt x="157742" y="160461"/>
                    <a:pt x="163181" y="138703"/>
                    <a:pt x="168620" y="119665"/>
                  </a:cubicBezTo>
                  <a:cubicBezTo>
                    <a:pt x="176779" y="100627"/>
                    <a:pt x="182218" y="76150"/>
                    <a:pt x="193097" y="57113"/>
                  </a:cubicBezTo>
                  <a:lnTo>
                    <a:pt x="201256" y="38075"/>
                  </a:lnTo>
                  <a:cubicBezTo>
                    <a:pt x="206695" y="29916"/>
                    <a:pt x="209415" y="19038"/>
                    <a:pt x="217574" y="13598"/>
                  </a:cubicBezTo>
                  <a:cubicBezTo>
                    <a:pt x="231172" y="2720"/>
                    <a:pt x="255649" y="0"/>
                    <a:pt x="274687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7" name="Freeform: Shape 46">
              <a:extLst>
                <a:ext uri="{FF2B5EF4-FFF2-40B4-BE49-F238E27FC236}">
                  <a16:creationId xmlns:a16="http://schemas.microsoft.com/office/drawing/2014/main" id="{95C4E59D-A8AD-4910-AF39-8DEEF44A00F1}"/>
                </a:ext>
              </a:extLst>
            </p:cNvPr>
            <p:cNvSpPr/>
            <p:nvPr/>
          </p:nvSpPr>
          <p:spPr>
            <a:xfrm>
              <a:off x="6876542" y="4244897"/>
              <a:ext cx="462342" cy="677195"/>
            </a:xfrm>
            <a:custGeom>
              <a:avLst/>
              <a:gdLst>
                <a:gd name="connsiteX0" fmla="*/ 214853 w 462342"/>
                <a:gd name="connsiteY0" fmla="*/ 65272 h 677195"/>
                <a:gd name="connsiteX1" fmla="*/ 195815 w 462342"/>
                <a:gd name="connsiteY1" fmla="*/ 73431 h 677195"/>
                <a:gd name="connsiteX2" fmla="*/ 193096 w 462342"/>
                <a:gd name="connsiteY2" fmla="*/ 125105 h 677195"/>
                <a:gd name="connsiteX3" fmla="*/ 190376 w 462342"/>
                <a:gd name="connsiteY3" fmla="*/ 280125 h 677195"/>
                <a:gd name="connsiteX4" fmla="*/ 190376 w 462342"/>
                <a:gd name="connsiteY4" fmla="*/ 301882 h 677195"/>
                <a:gd name="connsiteX5" fmla="*/ 193096 w 462342"/>
                <a:gd name="connsiteY5" fmla="*/ 342677 h 677195"/>
                <a:gd name="connsiteX6" fmla="*/ 195815 w 462342"/>
                <a:gd name="connsiteY6" fmla="*/ 397070 h 677195"/>
                <a:gd name="connsiteX7" fmla="*/ 195815 w 462342"/>
                <a:gd name="connsiteY7" fmla="*/ 443304 h 677195"/>
                <a:gd name="connsiteX8" fmla="*/ 195815 w 462342"/>
                <a:gd name="connsiteY8" fmla="*/ 530333 h 677195"/>
                <a:gd name="connsiteX9" fmla="*/ 193096 w 462342"/>
                <a:gd name="connsiteY9" fmla="*/ 554810 h 677195"/>
                <a:gd name="connsiteX10" fmla="*/ 190376 w 462342"/>
                <a:gd name="connsiteY10" fmla="*/ 603764 h 677195"/>
                <a:gd name="connsiteX11" fmla="*/ 198535 w 462342"/>
                <a:gd name="connsiteY11" fmla="*/ 611923 h 677195"/>
                <a:gd name="connsiteX12" fmla="*/ 214853 w 462342"/>
                <a:gd name="connsiteY12" fmla="*/ 611923 h 677195"/>
                <a:gd name="connsiteX13" fmla="*/ 236610 w 462342"/>
                <a:gd name="connsiteY13" fmla="*/ 611923 h 677195"/>
                <a:gd name="connsiteX14" fmla="*/ 263807 w 462342"/>
                <a:gd name="connsiteY14" fmla="*/ 598325 h 677195"/>
                <a:gd name="connsiteX15" fmla="*/ 277405 w 462342"/>
                <a:gd name="connsiteY15" fmla="*/ 592885 h 677195"/>
                <a:gd name="connsiteX16" fmla="*/ 291004 w 462342"/>
                <a:gd name="connsiteY16" fmla="*/ 573848 h 677195"/>
                <a:gd name="connsiteX17" fmla="*/ 307322 w 462342"/>
                <a:gd name="connsiteY17" fmla="*/ 543931 h 677195"/>
                <a:gd name="connsiteX18" fmla="*/ 326359 w 462342"/>
                <a:gd name="connsiteY18" fmla="*/ 481379 h 677195"/>
                <a:gd name="connsiteX19" fmla="*/ 337238 w 462342"/>
                <a:gd name="connsiteY19" fmla="*/ 413388 h 677195"/>
                <a:gd name="connsiteX20" fmla="*/ 337238 w 462342"/>
                <a:gd name="connsiteY20" fmla="*/ 350836 h 677195"/>
                <a:gd name="connsiteX21" fmla="*/ 334518 w 462342"/>
                <a:gd name="connsiteY21" fmla="*/ 296443 h 677195"/>
                <a:gd name="connsiteX22" fmla="*/ 329079 w 462342"/>
                <a:gd name="connsiteY22" fmla="*/ 244769 h 677195"/>
                <a:gd name="connsiteX23" fmla="*/ 307322 w 462342"/>
                <a:gd name="connsiteY23" fmla="*/ 135983 h 677195"/>
                <a:gd name="connsiteX24" fmla="*/ 271966 w 462342"/>
                <a:gd name="connsiteY24" fmla="*/ 78870 h 677195"/>
                <a:gd name="connsiteX25" fmla="*/ 214853 w 462342"/>
                <a:gd name="connsiteY25" fmla="*/ 65272 h 677195"/>
                <a:gd name="connsiteX26" fmla="*/ 114226 w 462342"/>
                <a:gd name="connsiteY26" fmla="*/ 0 h 677195"/>
                <a:gd name="connsiteX27" fmla="*/ 127824 w 462342"/>
                <a:gd name="connsiteY27" fmla="*/ 0 h 677195"/>
                <a:gd name="connsiteX28" fmla="*/ 146862 w 462342"/>
                <a:gd name="connsiteY28" fmla="*/ 2720 h 677195"/>
                <a:gd name="connsiteX29" fmla="*/ 174059 w 462342"/>
                <a:gd name="connsiteY29" fmla="*/ 21758 h 677195"/>
                <a:gd name="connsiteX30" fmla="*/ 193096 w 462342"/>
                <a:gd name="connsiteY30" fmla="*/ 21758 h 677195"/>
                <a:gd name="connsiteX31" fmla="*/ 261088 w 462342"/>
                <a:gd name="connsiteY31" fmla="*/ 27197 h 677195"/>
                <a:gd name="connsiteX32" fmla="*/ 310042 w 462342"/>
                <a:gd name="connsiteY32" fmla="*/ 35356 h 677195"/>
                <a:gd name="connsiteX33" fmla="*/ 334518 w 462342"/>
                <a:gd name="connsiteY33" fmla="*/ 40795 h 677195"/>
                <a:gd name="connsiteX34" fmla="*/ 356276 w 462342"/>
                <a:gd name="connsiteY34" fmla="*/ 59833 h 677195"/>
                <a:gd name="connsiteX35" fmla="*/ 372593 w 462342"/>
                <a:gd name="connsiteY35" fmla="*/ 76151 h 677195"/>
                <a:gd name="connsiteX36" fmla="*/ 380752 w 462342"/>
                <a:gd name="connsiteY36" fmla="*/ 95188 h 677195"/>
                <a:gd name="connsiteX37" fmla="*/ 405230 w 462342"/>
                <a:gd name="connsiteY37" fmla="*/ 114226 h 677195"/>
                <a:gd name="connsiteX38" fmla="*/ 416108 w 462342"/>
                <a:gd name="connsiteY38" fmla="*/ 141422 h 677195"/>
                <a:gd name="connsiteX39" fmla="*/ 451464 w 462342"/>
                <a:gd name="connsiteY39" fmla="*/ 201256 h 677195"/>
                <a:gd name="connsiteX40" fmla="*/ 456903 w 462342"/>
                <a:gd name="connsiteY40" fmla="*/ 252929 h 677195"/>
                <a:gd name="connsiteX41" fmla="*/ 456903 w 462342"/>
                <a:gd name="connsiteY41" fmla="*/ 291004 h 677195"/>
                <a:gd name="connsiteX42" fmla="*/ 459623 w 462342"/>
                <a:gd name="connsiteY42" fmla="*/ 318201 h 677195"/>
                <a:gd name="connsiteX43" fmla="*/ 459623 w 462342"/>
                <a:gd name="connsiteY43" fmla="*/ 326360 h 677195"/>
                <a:gd name="connsiteX44" fmla="*/ 459623 w 462342"/>
                <a:gd name="connsiteY44" fmla="*/ 348117 h 677195"/>
                <a:gd name="connsiteX45" fmla="*/ 462342 w 462342"/>
                <a:gd name="connsiteY45" fmla="*/ 367155 h 677195"/>
                <a:gd name="connsiteX46" fmla="*/ 456903 w 462342"/>
                <a:gd name="connsiteY46" fmla="*/ 391632 h 677195"/>
                <a:gd name="connsiteX47" fmla="*/ 456903 w 462342"/>
                <a:gd name="connsiteY47" fmla="*/ 418828 h 677195"/>
                <a:gd name="connsiteX48" fmla="*/ 451464 w 462342"/>
                <a:gd name="connsiteY48" fmla="*/ 437866 h 677195"/>
                <a:gd name="connsiteX49" fmla="*/ 446025 w 462342"/>
                <a:gd name="connsiteY49" fmla="*/ 454184 h 677195"/>
                <a:gd name="connsiteX50" fmla="*/ 440585 w 462342"/>
                <a:gd name="connsiteY50" fmla="*/ 481380 h 677195"/>
                <a:gd name="connsiteX51" fmla="*/ 432426 w 462342"/>
                <a:gd name="connsiteY51" fmla="*/ 508577 h 677195"/>
                <a:gd name="connsiteX52" fmla="*/ 418828 w 462342"/>
                <a:gd name="connsiteY52" fmla="*/ 530334 h 677195"/>
                <a:gd name="connsiteX53" fmla="*/ 410669 w 462342"/>
                <a:gd name="connsiteY53" fmla="*/ 549371 h 677195"/>
                <a:gd name="connsiteX54" fmla="*/ 391631 w 462342"/>
                <a:gd name="connsiteY54" fmla="*/ 579288 h 677195"/>
                <a:gd name="connsiteX55" fmla="*/ 337238 w 462342"/>
                <a:gd name="connsiteY55" fmla="*/ 630961 h 677195"/>
                <a:gd name="connsiteX56" fmla="*/ 301883 w 462342"/>
                <a:gd name="connsiteY56" fmla="*/ 647279 h 677195"/>
                <a:gd name="connsiteX57" fmla="*/ 263807 w 462342"/>
                <a:gd name="connsiteY57" fmla="*/ 652718 h 677195"/>
                <a:gd name="connsiteX58" fmla="*/ 233891 w 462342"/>
                <a:gd name="connsiteY58" fmla="*/ 649999 h 677195"/>
                <a:gd name="connsiteX59" fmla="*/ 187657 w 462342"/>
                <a:gd name="connsiteY59" fmla="*/ 652718 h 677195"/>
                <a:gd name="connsiteX60" fmla="*/ 171339 w 462342"/>
                <a:gd name="connsiteY60" fmla="*/ 669036 h 677195"/>
                <a:gd name="connsiteX61" fmla="*/ 155021 w 462342"/>
                <a:gd name="connsiteY61" fmla="*/ 671756 h 677195"/>
                <a:gd name="connsiteX62" fmla="*/ 138703 w 462342"/>
                <a:gd name="connsiteY62" fmla="*/ 674476 h 677195"/>
                <a:gd name="connsiteX63" fmla="*/ 125105 w 462342"/>
                <a:gd name="connsiteY63" fmla="*/ 677195 h 677195"/>
                <a:gd name="connsiteX64" fmla="*/ 106067 w 462342"/>
                <a:gd name="connsiteY64" fmla="*/ 671756 h 677195"/>
                <a:gd name="connsiteX65" fmla="*/ 87029 w 462342"/>
                <a:gd name="connsiteY65" fmla="*/ 658158 h 677195"/>
                <a:gd name="connsiteX66" fmla="*/ 81590 w 462342"/>
                <a:gd name="connsiteY66" fmla="*/ 652718 h 677195"/>
                <a:gd name="connsiteX67" fmla="*/ 67992 w 462342"/>
                <a:gd name="connsiteY67" fmla="*/ 652718 h 677195"/>
                <a:gd name="connsiteX68" fmla="*/ 43515 w 462342"/>
                <a:gd name="connsiteY68" fmla="*/ 652718 h 677195"/>
                <a:gd name="connsiteX69" fmla="*/ 16318 w 462342"/>
                <a:gd name="connsiteY69" fmla="*/ 647279 h 677195"/>
                <a:gd name="connsiteX70" fmla="*/ 0 w 462342"/>
                <a:gd name="connsiteY70" fmla="*/ 630961 h 677195"/>
                <a:gd name="connsiteX71" fmla="*/ 5439 w 462342"/>
                <a:gd name="connsiteY71" fmla="*/ 620083 h 677195"/>
                <a:gd name="connsiteX72" fmla="*/ 27197 w 462342"/>
                <a:gd name="connsiteY72" fmla="*/ 611924 h 677195"/>
                <a:gd name="connsiteX73" fmla="*/ 65272 w 462342"/>
                <a:gd name="connsiteY73" fmla="*/ 609204 h 677195"/>
                <a:gd name="connsiteX74" fmla="*/ 65272 w 462342"/>
                <a:gd name="connsiteY74" fmla="*/ 584727 h 677195"/>
                <a:gd name="connsiteX75" fmla="*/ 62552 w 462342"/>
                <a:gd name="connsiteY75" fmla="*/ 456903 h 677195"/>
                <a:gd name="connsiteX76" fmla="*/ 65272 w 462342"/>
                <a:gd name="connsiteY76" fmla="*/ 337238 h 677195"/>
                <a:gd name="connsiteX77" fmla="*/ 67992 w 462342"/>
                <a:gd name="connsiteY77" fmla="*/ 203975 h 677195"/>
                <a:gd name="connsiteX78" fmla="*/ 70712 w 462342"/>
                <a:gd name="connsiteY78" fmla="*/ 119665 h 677195"/>
                <a:gd name="connsiteX79" fmla="*/ 73431 w 462342"/>
                <a:gd name="connsiteY79" fmla="*/ 67992 h 677195"/>
                <a:gd name="connsiteX80" fmla="*/ 67992 w 462342"/>
                <a:gd name="connsiteY80" fmla="*/ 67992 h 677195"/>
                <a:gd name="connsiteX81" fmla="*/ 43515 w 462342"/>
                <a:gd name="connsiteY81" fmla="*/ 67992 h 677195"/>
                <a:gd name="connsiteX82" fmla="*/ 16318 w 462342"/>
                <a:gd name="connsiteY82" fmla="*/ 62552 h 677195"/>
                <a:gd name="connsiteX83" fmla="*/ 0 w 462342"/>
                <a:gd name="connsiteY83" fmla="*/ 46234 h 677195"/>
                <a:gd name="connsiteX84" fmla="*/ 5439 w 462342"/>
                <a:gd name="connsiteY84" fmla="*/ 35356 h 677195"/>
                <a:gd name="connsiteX85" fmla="*/ 27197 w 462342"/>
                <a:gd name="connsiteY85" fmla="*/ 27197 h 677195"/>
                <a:gd name="connsiteX86" fmla="*/ 76151 w 462342"/>
                <a:gd name="connsiteY86" fmla="*/ 21758 h 677195"/>
                <a:gd name="connsiteX87" fmla="*/ 81590 w 462342"/>
                <a:gd name="connsiteY87" fmla="*/ 13598 h 677195"/>
                <a:gd name="connsiteX88" fmla="*/ 97908 w 462342"/>
                <a:gd name="connsiteY88" fmla="*/ 5439 h 677195"/>
                <a:gd name="connsiteX89" fmla="*/ 114226 w 462342"/>
                <a:gd name="connsiteY89" fmla="*/ 0 h 6771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</a:cxnLst>
              <a:rect l="l" t="t" r="r" b="b"/>
              <a:pathLst>
                <a:path w="462342" h="677195">
                  <a:moveTo>
                    <a:pt x="214853" y="65272"/>
                  </a:moveTo>
                  <a:cubicBezTo>
                    <a:pt x="203975" y="65272"/>
                    <a:pt x="195815" y="67992"/>
                    <a:pt x="195815" y="73431"/>
                  </a:cubicBezTo>
                  <a:cubicBezTo>
                    <a:pt x="193096" y="78870"/>
                    <a:pt x="193096" y="100628"/>
                    <a:pt x="193096" y="125105"/>
                  </a:cubicBezTo>
                  <a:cubicBezTo>
                    <a:pt x="193096" y="182217"/>
                    <a:pt x="193096" y="266527"/>
                    <a:pt x="190376" y="280125"/>
                  </a:cubicBezTo>
                  <a:cubicBezTo>
                    <a:pt x="190376" y="288284"/>
                    <a:pt x="190376" y="293723"/>
                    <a:pt x="190376" y="301882"/>
                  </a:cubicBezTo>
                  <a:cubicBezTo>
                    <a:pt x="190376" y="315480"/>
                    <a:pt x="190376" y="329079"/>
                    <a:pt x="193096" y="342677"/>
                  </a:cubicBezTo>
                  <a:cubicBezTo>
                    <a:pt x="193096" y="361715"/>
                    <a:pt x="193096" y="378033"/>
                    <a:pt x="195815" y="397070"/>
                  </a:cubicBezTo>
                  <a:cubicBezTo>
                    <a:pt x="195815" y="413388"/>
                    <a:pt x="195815" y="426986"/>
                    <a:pt x="195815" y="443304"/>
                  </a:cubicBezTo>
                  <a:cubicBezTo>
                    <a:pt x="195815" y="465061"/>
                    <a:pt x="198535" y="508576"/>
                    <a:pt x="195815" y="530333"/>
                  </a:cubicBezTo>
                  <a:cubicBezTo>
                    <a:pt x="195815" y="538492"/>
                    <a:pt x="193096" y="546651"/>
                    <a:pt x="193096" y="554810"/>
                  </a:cubicBezTo>
                  <a:cubicBezTo>
                    <a:pt x="193096" y="560249"/>
                    <a:pt x="190376" y="590166"/>
                    <a:pt x="190376" y="603764"/>
                  </a:cubicBezTo>
                  <a:cubicBezTo>
                    <a:pt x="190376" y="609203"/>
                    <a:pt x="190376" y="611923"/>
                    <a:pt x="198535" y="611923"/>
                  </a:cubicBezTo>
                  <a:cubicBezTo>
                    <a:pt x="206694" y="611923"/>
                    <a:pt x="209414" y="611923"/>
                    <a:pt x="214853" y="611923"/>
                  </a:cubicBezTo>
                  <a:cubicBezTo>
                    <a:pt x="223012" y="611923"/>
                    <a:pt x="220293" y="611923"/>
                    <a:pt x="236610" y="611923"/>
                  </a:cubicBezTo>
                  <a:cubicBezTo>
                    <a:pt x="242050" y="611923"/>
                    <a:pt x="258368" y="601044"/>
                    <a:pt x="263807" y="598325"/>
                  </a:cubicBezTo>
                  <a:cubicBezTo>
                    <a:pt x="266527" y="598325"/>
                    <a:pt x="274686" y="592885"/>
                    <a:pt x="277405" y="592885"/>
                  </a:cubicBezTo>
                  <a:cubicBezTo>
                    <a:pt x="285564" y="587446"/>
                    <a:pt x="288284" y="579287"/>
                    <a:pt x="291004" y="573848"/>
                  </a:cubicBezTo>
                  <a:cubicBezTo>
                    <a:pt x="296443" y="562969"/>
                    <a:pt x="301882" y="554810"/>
                    <a:pt x="307322" y="543931"/>
                  </a:cubicBezTo>
                  <a:cubicBezTo>
                    <a:pt x="315481" y="524894"/>
                    <a:pt x="320920" y="524894"/>
                    <a:pt x="326359" y="481379"/>
                  </a:cubicBezTo>
                  <a:cubicBezTo>
                    <a:pt x="329079" y="456903"/>
                    <a:pt x="334518" y="435145"/>
                    <a:pt x="337238" y="413388"/>
                  </a:cubicBezTo>
                  <a:cubicBezTo>
                    <a:pt x="337238" y="391631"/>
                    <a:pt x="337238" y="369873"/>
                    <a:pt x="337238" y="350836"/>
                  </a:cubicBezTo>
                  <a:cubicBezTo>
                    <a:pt x="337238" y="339957"/>
                    <a:pt x="337238" y="320920"/>
                    <a:pt x="334518" y="296443"/>
                  </a:cubicBezTo>
                  <a:cubicBezTo>
                    <a:pt x="331798" y="269246"/>
                    <a:pt x="329079" y="250209"/>
                    <a:pt x="329079" y="244769"/>
                  </a:cubicBezTo>
                  <a:cubicBezTo>
                    <a:pt x="323640" y="206694"/>
                    <a:pt x="318200" y="174058"/>
                    <a:pt x="307322" y="135983"/>
                  </a:cubicBezTo>
                  <a:cubicBezTo>
                    <a:pt x="304602" y="125105"/>
                    <a:pt x="304602" y="108787"/>
                    <a:pt x="271966" y="78870"/>
                  </a:cubicBezTo>
                  <a:cubicBezTo>
                    <a:pt x="263807" y="73431"/>
                    <a:pt x="233891" y="65272"/>
                    <a:pt x="214853" y="65272"/>
                  </a:cubicBezTo>
                  <a:close/>
                  <a:moveTo>
                    <a:pt x="114226" y="0"/>
                  </a:moveTo>
                  <a:cubicBezTo>
                    <a:pt x="119665" y="0"/>
                    <a:pt x="125105" y="0"/>
                    <a:pt x="127824" y="0"/>
                  </a:cubicBezTo>
                  <a:cubicBezTo>
                    <a:pt x="133264" y="0"/>
                    <a:pt x="141422" y="0"/>
                    <a:pt x="146862" y="2720"/>
                  </a:cubicBezTo>
                  <a:cubicBezTo>
                    <a:pt x="157741" y="5439"/>
                    <a:pt x="165900" y="13598"/>
                    <a:pt x="174059" y="21758"/>
                  </a:cubicBezTo>
                  <a:cubicBezTo>
                    <a:pt x="179498" y="21758"/>
                    <a:pt x="187657" y="21758"/>
                    <a:pt x="193096" y="21758"/>
                  </a:cubicBezTo>
                  <a:cubicBezTo>
                    <a:pt x="212134" y="21758"/>
                    <a:pt x="228452" y="27197"/>
                    <a:pt x="261088" y="27197"/>
                  </a:cubicBezTo>
                  <a:cubicBezTo>
                    <a:pt x="277405" y="27197"/>
                    <a:pt x="293723" y="35356"/>
                    <a:pt x="310042" y="35356"/>
                  </a:cubicBezTo>
                  <a:cubicBezTo>
                    <a:pt x="318200" y="35356"/>
                    <a:pt x="329079" y="35356"/>
                    <a:pt x="334518" y="40795"/>
                  </a:cubicBezTo>
                  <a:cubicBezTo>
                    <a:pt x="342677" y="46234"/>
                    <a:pt x="348117" y="54393"/>
                    <a:pt x="356276" y="59833"/>
                  </a:cubicBezTo>
                  <a:cubicBezTo>
                    <a:pt x="361715" y="65272"/>
                    <a:pt x="369874" y="67992"/>
                    <a:pt x="372593" y="76151"/>
                  </a:cubicBezTo>
                  <a:cubicBezTo>
                    <a:pt x="375313" y="81590"/>
                    <a:pt x="378033" y="89749"/>
                    <a:pt x="380752" y="95188"/>
                  </a:cubicBezTo>
                  <a:cubicBezTo>
                    <a:pt x="386192" y="103347"/>
                    <a:pt x="391631" y="106067"/>
                    <a:pt x="405230" y="114226"/>
                  </a:cubicBezTo>
                  <a:cubicBezTo>
                    <a:pt x="413388" y="119665"/>
                    <a:pt x="410669" y="133263"/>
                    <a:pt x="416108" y="141422"/>
                  </a:cubicBezTo>
                  <a:cubicBezTo>
                    <a:pt x="426987" y="160461"/>
                    <a:pt x="446025" y="182218"/>
                    <a:pt x="451464" y="201256"/>
                  </a:cubicBezTo>
                  <a:cubicBezTo>
                    <a:pt x="456903" y="220293"/>
                    <a:pt x="456903" y="236611"/>
                    <a:pt x="456903" y="252929"/>
                  </a:cubicBezTo>
                  <a:cubicBezTo>
                    <a:pt x="456903" y="266527"/>
                    <a:pt x="456903" y="277406"/>
                    <a:pt x="456903" y="291004"/>
                  </a:cubicBezTo>
                  <a:cubicBezTo>
                    <a:pt x="456903" y="299163"/>
                    <a:pt x="456903" y="307322"/>
                    <a:pt x="459623" y="318201"/>
                  </a:cubicBezTo>
                  <a:cubicBezTo>
                    <a:pt x="459623" y="320921"/>
                    <a:pt x="459623" y="323640"/>
                    <a:pt x="459623" y="326360"/>
                  </a:cubicBezTo>
                  <a:cubicBezTo>
                    <a:pt x="462342" y="331799"/>
                    <a:pt x="459623" y="337238"/>
                    <a:pt x="459623" y="348117"/>
                  </a:cubicBezTo>
                  <a:cubicBezTo>
                    <a:pt x="459623" y="350837"/>
                    <a:pt x="462342" y="361715"/>
                    <a:pt x="462342" y="367155"/>
                  </a:cubicBezTo>
                  <a:cubicBezTo>
                    <a:pt x="462342" y="375314"/>
                    <a:pt x="456903" y="383473"/>
                    <a:pt x="456903" y="391632"/>
                  </a:cubicBezTo>
                  <a:cubicBezTo>
                    <a:pt x="456903" y="399790"/>
                    <a:pt x="456903" y="410669"/>
                    <a:pt x="456903" y="418828"/>
                  </a:cubicBezTo>
                  <a:cubicBezTo>
                    <a:pt x="456903" y="421548"/>
                    <a:pt x="454183" y="429707"/>
                    <a:pt x="451464" y="437866"/>
                  </a:cubicBezTo>
                  <a:cubicBezTo>
                    <a:pt x="448744" y="443305"/>
                    <a:pt x="448744" y="451464"/>
                    <a:pt x="446025" y="454184"/>
                  </a:cubicBezTo>
                  <a:cubicBezTo>
                    <a:pt x="443305" y="462343"/>
                    <a:pt x="440585" y="473221"/>
                    <a:pt x="440585" y="481380"/>
                  </a:cubicBezTo>
                  <a:cubicBezTo>
                    <a:pt x="437865" y="489539"/>
                    <a:pt x="437865" y="500418"/>
                    <a:pt x="432426" y="508577"/>
                  </a:cubicBezTo>
                  <a:cubicBezTo>
                    <a:pt x="429706" y="516736"/>
                    <a:pt x="424267" y="522175"/>
                    <a:pt x="418828" y="530334"/>
                  </a:cubicBezTo>
                  <a:cubicBezTo>
                    <a:pt x="416108" y="535773"/>
                    <a:pt x="413388" y="543932"/>
                    <a:pt x="410669" y="549371"/>
                  </a:cubicBezTo>
                  <a:cubicBezTo>
                    <a:pt x="405230" y="557531"/>
                    <a:pt x="397071" y="573848"/>
                    <a:pt x="391631" y="579288"/>
                  </a:cubicBezTo>
                  <a:cubicBezTo>
                    <a:pt x="369874" y="609204"/>
                    <a:pt x="350836" y="620083"/>
                    <a:pt x="337238" y="630961"/>
                  </a:cubicBezTo>
                  <a:cubicBezTo>
                    <a:pt x="326359" y="639120"/>
                    <a:pt x="315481" y="641840"/>
                    <a:pt x="301883" y="647279"/>
                  </a:cubicBezTo>
                  <a:cubicBezTo>
                    <a:pt x="291004" y="649999"/>
                    <a:pt x="277405" y="652718"/>
                    <a:pt x="263807" y="652718"/>
                  </a:cubicBezTo>
                  <a:cubicBezTo>
                    <a:pt x="252929" y="652718"/>
                    <a:pt x="244770" y="649999"/>
                    <a:pt x="233891" y="649999"/>
                  </a:cubicBezTo>
                  <a:cubicBezTo>
                    <a:pt x="206694" y="649999"/>
                    <a:pt x="217573" y="652718"/>
                    <a:pt x="187657" y="652718"/>
                  </a:cubicBezTo>
                  <a:cubicBezTo>
                    <a:pt x="184937" y="660877"/>
                    <a:pt x="179498" y="666317"/>
                    <a:pt x="171339" y="669036"/>
                  </a:cubicBezTo>
                  <a:cubicBezTo>
                    <a:pt x="165900" y="671756"/>
                    <a:pt x="160460" y="671756"/>
                    <a:pt x="155021" y="671756"/>
                  </a:cubicBezTo>
                  <a:cubicBezTo>
                    <a:pt x="149581" y="671756"/>
                    <a:pt x="144142" y="674476"/>
                    <a:pt x="138703" y="674476"/>
                  </a:cubicBezTo>
                  <a:cubicBezTo>
                    <a:pt x="135983" y="674476"/>
                    <a:pt x="127824" y="677195"/>
                    <a:pt x="125105" y="677195"/>
                  </a:cubicBezTo>
                  <a:cubicBezTo>
                    <a:pt x="116946" y="677195"/>
                    <a:pt x="108787" y="671756"/>
                    <a:pt x="106067" y="671756"/>
                  </a:cubicBezTo>
                  <a:cubicBezTo>
                    <a:pt x="100628" y="669036"/>
                    <a:pt x="95188" y="663597"/>
                    <a:pt x="87029" y="658158"/>
                  </a:cubicBezTo>
                  <a:cubicBezTo>
                    <a:pt x="84310" y="655438"/>
                    <a:pt x="81590" y="655438"/>
                    <a:pt x="81590" y="652718"/>
                  </a:cubicBezTo>
                  <a:cubicBezTo>
                    <a:pt x="73431" y="652718"/>
                    <a:pt x="81590" y="652718"/>
                    <a:pt x="67992" y="652718"/>
                  </a:cubicBezTo>
                  <a:cubicBezTo>
                    <a:pt x="59833" y="652718"/>
                    <a:pt x="51674" y="652718"/>
                    <a:pt x="43515" y="652718"/>
                  </a:cubicBezTo>
                  <a:cubicBezTo>
                    <a:pt x="35356" y="652718"/>
                    <a:pt x="24477" y="652718"/>
                    <a:pt x="16318" y="647279"/>
                  </a:cubicBezTo>
                  <a:cubicBezTo>
                    <a:pt x="8159" y="644559"/>
                    <a:pt x="0" y="636401"/>
                    <a:pt x="0" y="630961"/>
                  </a:cubicBezTo>
                  <a:cubicBezTo>
                    <a:pt x="0" y="625522"/>
                    <a:pt x="0" y="622802"/>
                    <a:pt x="5439" y="620083"/>
                  </a:cubicBezTo>
                  <a:cubicBezTo>
                    <a:pt x="10879" y="617363"/>
                    <a:pt x="21758" y="614643"/>
                    <a:pt x="27197" y="611924"/>
                  </a:cubicBezTo>
                  <a:cubicBezTo>
                    <a:pt x="38076" y="609204"/>
                    <a:pt x="54393" y="609204"/>
                    <a:pt x="65272" y="609204"/>
                  </a:cubicBezTo>
                  <a:cubicBezTo>
                    <a:pt x="65272" y="601045"/>
                    <a:pt x="65272" y="592886"/>
                    <a:pt x="65272" y="584727"/>
                  </a:cubicBezTo>
                  <a:cubicBezTo>
                    <a:pt x="65272" y="541213"/>
                    <a:pt x="62552" y="500418"/>
                    <a:pt x="62552" y="456903"/>
                  </a:cubicBezTo>
                  <a:cubicBezTo>
                    <a:pt x="62552" y="440585"/>
                    <a:pt x="65272" y="397071"/>
                    <a:pt x="65272" y="337238"/>
                  </a:cubicBezTo>
                  <a:cubicBezTo>
                    <a:pt x="65272" y="293724"/>
                    <a:pt x="67992" y="247490"/>
                    <a:pt x="67992" y="203975"/>
                  </a:cubicBezTo>
                  <a:cubicBezTo>
                    <a:pt x="67992" y="179498"/>
                    <a:pt x="67992" y="149582"/>
                    <a:pt x="70712" y="119665"/>
                  </a:cubicBezTo>
                  <a:cubicBezTo>
                    <a:pt x="70712" y="103347"/>
                    <a:pt x="73431" y="84309"/>
                    <a:pt x="73431" y="67992"/>
                  </a:cubicBezTo>
                  <a:cubicBezTo>
                    <a:pt x="73431" y="67992"/>
                    <a:pt x="70712" y="67992"/>
                    <a:pt x="67992" y="67992"/>
                  </a:cubicBezTo>
                  <a:cubicBezTo>
                    <a:pt x="59833" y="67992"/>
                    <a:pt x="51674" y="67992"/>
                    <a:pt x="43515" y="67992"/>
                  </a:cubicBezTo>
                  <a:cubicBezTo>
                    <a:pt x="35356" y="67992"/>
                    <a:pt x="24477" y="67992"/>
                    <a:pt x="16318" y="62552"/>
                  </a:cubicBezTo>
                  <a:cubicBezTo>
                    <a:pt x="8159" y="59833"/>
                    <a:pt x="0" y="51674"/>
                    <a:pt x="0" y="46234"/>
                  </a:cubicBezTo>
                  <a:cubicBezTo>
                    <a:pt x="0" y="43515"/>
                    <a:pt x="0" y="38075"/>
                    <a:pt x="5439" y="35356"/>
                  </a:cubicBezTo>
                  <a:cubicBezTo>
                    <a:pt x="10879" y="32636"/>
                    <a:pt x="21758" y="29916"/>
                    <a:pt x="27197" y="27197"/>
                  </a:cubicBezTo>
                  <a:cubicBezTo>
                    <a:pt x="46234" y="24477"/>
                    <a:pt x="65272" y="21758"/>
                    <a:pt x="76151" y="21758"/>
                  </a:cubicBezTo>
                  <a:cubicBezTo>
                    <a:pt x="76151" y="19038"/>
                    <a:pt x="78871" y="16318"/>
                    <a:pt x="81590" y="13598"/>
                  </a:cubicBezTo>
                  <a:cubicBezTo>
                    <a:pt x="84310" y="10879"/>
                    <a:pt x="92469" y="5439"/>
                    <a:pt x="97908" y="5439"/>
                  </a:cubicBezTo>
                  <a:cubicBezTo>
                    <a:pt x="103347" y="2720"/>
                    <a:pt x="108787" y="0"/>
                    <a:pt x="114226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8" name="Freeform: Shape 47">
              <a:extLst>
                <a:ext uri="{FF2B5EF4-FFF2-40B4-BE49-F238E27FC236}">
                  <a16:creationId xmlns:a16="http://schemas.microsoft.com/office/drawing/2014/main" id="{A81B5D9D-89FB-4D2F-A78D-73AF9AEC196D}"/>
                </a:ext>
              </a:extLst>
            </p:cNvPr>
            <p:cNvSpPr/>
            <p:nvPr/>
          </p:nvSpPr>
          <p:spPr>
            <a:xfrm>
              <a:off x="7310622" y="4197597"/>
              <a:ext cx="489539" cy="761503"/>
            </a:xfrm>
            <a:custGeom>
              <a:avLst/>
              <a:gdLst>
                <a:gd name="connsiteX0" fmla="*/ 433491 w 489538"/>
                <a:gd name="connsiteY0" fmla="*/ 651063 h 761503"/>
                <a:gd name="connsiteX1" fmla="*/ 438930 w 489538"/>
                <a:gd name="connsiteY1" fmla="*/ 661942 h 761503"/>
                <a:gd name="connsiteX2" fmla="*/ 425332 w 489538"/>
                <a:gd name="connsiteY2" fmla="*/ 683699 h 761503"/>
                <a:gd name="connsiteX3" fmla="*/ 400855 w 489538"/>
                <a:gd name="connsiteY3" fmla="*/ 691858 h 761503"/>
                <a:gd name="connsiteX4" fmla="*/ 343742 w 489538"/>
                <a:gd name="connsiteY4" fmla="*/ 700017 h 761503"/>
                <a:gd name="connsiteX5" fmla="*/ 316546 w 489538"/>
                <a:gd name="connsiteY5" fmla="*/ 705456 h 761503"/>
                <a:gd name="connsiteX6" fmla="*/ 275751 w 489538"/>
                <a:gd name="connsiteY6" fmla="*/ 705456 h 761503"/>
                <a:gd name="connsiteX7" fmla="*/ 264872 w 489538"/>
                <a:gd name="connsiteY7" fmla="*/ 708176 h 761503"/>
                <a:gd name="connsiteX8" fmla="*/ 253994 w 489538"/>
                <a:gd name="connsiteY8" fmla="*/ 708176 h 761503"/>
                <a:gd name="connsiteX9" fmla="*/ 240395 w 489538"/>
                <a:gd name="connsiteY9" fmla="*/ 719054 h 761503"/>
                <a:gd name="connsiteX10" fmla="*/ 224077 w 489538"/>
                <a:gd name="connsiteY10" fmla="*/ 721774 h 761503"/>
                <a:gd name="connsiteX11" fmla="*/ 205040 w 489538"/>
                <a:gd name="connsiteY11" fmla="*/ 724494 h 761503"/>
                <a:gd name="connsiteX12" fmla="*/ 191441 w 489538"/>
                <a:gd name="connsiteY12" fmla="*/ 727213 h 761503"/>
                <a:gd name="connsiteX13" fmla="*/ 169684 w 489538"/>
                <a:gd name="connsiteY13" fmla="*/ 721774 h 761503"/>
                <a:gd name="connsiteX14" fmla="*/ 150646 w 489538"/>
                <a:gd name="connsiteY14" fmla="*/ 708176 h 761503"/>
                <a:gd name="connsiteX15" fmla="*/ 139768 w 489538"/>
                <a:gd name="connsiteY15" fmla="*/ 708176 h 761503"/>
                <a:gd name="connsiteX16" fmla="*/ 120730 w 489538"/>
                <a:gd name="connsiteY16" fmla="*/ 708176 h 761503"/>
                <a:gd name="connsiteX17" fmla="*/ 98973 w 489538"/>
                <a:gd name="connsiteY17" fmla="*/ 708176 h 761503"/>
                <a:gd name="connsiteX18" fmla="*/ 74496 w 489538"/>
                <a:gd name="connsiteY18" fmla="*/ 702736 h 761503"/>
                <a:gd name="connsiteX19" fmla="*/ 58178 w 489538"/>
                <a:gd name="connsiteY19" fmla="*/ 683699 h 761503"/>
                <a:gd name="connsiteX20" fmla="*/ 63617 w 489538"/>
                <a:gd name="connsiteY20" fmla="*/ 675540 h 761503"/>
                <a:gd name="connsiteX21" fmla="*/ 85375 w 489538"/>
                <a:gd name="connsiteY21" fmla="*/ 667381 h 761503"/>
                <a:gd name="connsiteX22" fmla="*/ 128889 w 489538"/>
                <a:gd name="connsiteY22" fmla="*/ 661942 h 761503"/>
                <a:gd name="connsiteX23" fmla="*/ 128889 w 489538"/>
                <a:gd name="connsiteY23" fmla="*/ 602109 h 761503"/>
                <a:gd name="connsiteX24" fmla="*/ 126170 w 489538"/>
                <a:gd name="connsiteY24" fmla="*/ 523239 h 761503"/>
                <a:gd name="connsiteX25" fmla="*/ 126170 w 489538"/>
                <a:gd name="connsiteY25" fmla="*/ 468846 h 761503"/>
                <a:gd name="connsiteX26" fmla="*/ 123450 w 489538"/>
                <a:gd name="connsiteY26" fmla="*/ 409014 h 761503"/>
                <a:gd name="connsiteX27" fmla="*/ 123450 w 489538"/>
                <a:gd name="connsiteY27" fmla="*/ 384537 h 761503"/>
                <a:gd name="connsiteX28" fmla="*/ 126170 w 489538"/>
                <a:gd name="connsiteY28" fmla="*/ 349181 h 761503"/>
                <a:gd name="connsiteX29" fmla="*/ 126170 w 489538"/>
                <a:gd name="connsiteY29" fmla="*/ 324704 h 761503"/>
                <a:gd name="connsiteX30" fmla="*/ 128889 w 489538"/>
                <a:gd name="connsiteY30" fmla="*/ 292068 h 761503"/>
                <a:gd name="connsiteX31" fmla="*/ 134329 w 489538"/>
                <a:gd name="connsiteY31" fmla="*/ 234956 h 761503"/>
                <a:gd name="connsiteX32" fmla="*/ 134329 w 489538"/>
                <a:gd name="connsiteY32" fmla="*/ 172404 h 761503"/>
                <a:gd name="connsiteX33" fmla="*/ 137048 w 489538"/>
                <a:gd name="connsiteY33" fmla="*/ 123450 h 761503"/>
                <a:gd name="connsiteX34" fmla="*/ 123450 w 489538"/>
                <a:gd name="connsiteY34" fmla="*/ 123450 h 761503"/>
                <a:gd name="connsiteX35" fmla="*/ 101693 w 489538"/>
                <a:gd name="connsiteY35" fmla="*/ 123450 h 761503"/>
                <a:gd name="connsiteX36" fmla="*/ 77216 w 489538"/>
                <a:gd name="connsiteY36" fmla="*/ 118011 h 761503"/>
                <a:gd name="connsiteX37" fmla="*/ 60898 w 489538"/>
                <a:gd name="connsiteY37" fmla="*/ 98973 h 761503"/>
                <a:gd name="connsiteX38" fmla="*/ 66337 w 489538"/>
                <a:gd name="connsiteY38" fmla="*/ 90814 h 761503"/>
                <a:gd name="connsiteX39" fmla="*/ 88094 w 489538"/>
                <a:gd name="connsiteY39" fmla="*/ 82655 h 761503"/>
                <a:gd name="connsiteX40" fmla="*/ 145207 w 489538"/>
                <a:gd name="connsiteY40" fmla="*/ 77216 h 761503"/>
                <a:gd name="connsiteX41" fmla="*/ 145207 w 489538"/>
                <a:gd name="connsiteY41" fmla="*/ 77216 h 761503"/>
                <a:gd name="connsiteX42" fmla="*/ 153366 w 489538"/>
                <a:gd name="connsiteY42" fmla="*/ 69057 h 761503"/>
                <a:gd name="connsiteX43" fmla="*/ 177843 w 489538"/>
                <a:gd name="connsiteY43" fmla="*/ 60898 h 761503"/>
                <a:gd name="connsiteX44" fmla="*/ 196881 w 489538"/>
                <a:gd name="connsiteY44" fmla="*/ 58178 h 761503"/>
                <a:gd name="connsiteX45" fmla="*/ 205040 w 489538"/>
                <a:gd name="connsiteY45" fmla="*/ 58178 h 761503"/>
                <a:gd name="connsiteX46" fmla="*/ 215919 w 489538"/>
                <a:gd name="connsiteY46" fmla="*/ 63617 h 761503"/>
                <a:gd name="connsiteX47" fmla="*/ 229517 w 489538"/>
                <a:gd name="connsiteY47" fmla="*/ 69057 h 761503"/>
                <a:gd name="connsiteX48" fmla="*/ 256713 w 489538"/>
                <a:gd name="connsiteY48" fmla="*/ 77216 h 761503"/>
                <a:gd name="connsiteX49" fmla="*/ 264872 w 489538"/>
                <a:gd name="connsiteY49" fmla="*/ 77216 h 761503"/>
                <a:gd name="connsiteX50" fmla="*/ 281190 w 489538"/>
                <a:gd name="connsiteY50" fmla="*/ 77216 h 761503"/>
                <a:gd name="connsiteX51" fmla="*/ 330144 w 489538"/>
                <a:gd name="connsiteY51" fmla="*/ 77216 h 761503"/>
                <a:gd name="connsiteX52" fmla="*/ 357341 w 489538"/>
                <a:gd name="connsiteY52" fmla="*/ 79935 h 761503"/>
                <a:gd name="connsiteX53" fmla="*/ 387257 w 489538"/>
                <a:gd name="connsiteY53" fmla="*/ 82655 h 761503"/>
                <a:gd name="connsiteX54" fmla="*/ 406295 w 489538"/>
                <a:gd name="connsiteY54" fmla="*/ 85375 h 761503"/>
                <a:gd name="connsiteX55" fmla="*/ 417173 w 489538"/>
                <a:gd name="connsiteY55" fmla="*/ 79935 h 761503"/>
                <a:gd name="connsiteX56" fmla="*/ 425332 w 489538"/>
                <a:gd name="connsiteY56" fmla="*/ 85375 h 761503"/>
                <a:gd name="connsiteX57" fmla="*/ 433491 w 489538"/>
                <a:gd name="connsiteY57" fmla="*/ 104412 h 761503"/>
                <a:gd name="connsiteX58" fmla="*/ 436211 w 489538"/>
                <a:gd name="connsiteY58" fmla="*/ 137048 h 761503"/>
                <a:gd name="connsiteX59" fmla="*/ 438930 w 489538"/>
                <a:gd name="connsiteY59" fmla="*/ 183282 h 761503"/>
                <a:gd name="connsiteX60" fmla="*/ 422612 w 489538"/>
                <a:gd name="connsiteY60" fmla="*/ 218638 h 761503"/>
                <a:gd name="connsiteX61" fmla="*/ 406295 w 489538"/>
                <a:gd name="connsiteY61" fmla="*/ 213198 h 761503"/>
                <a:gd name="connsiteX62" fmla="*/ 398136 w 489538"/>
                <a:gd name="connsiteY62" fmla="*/ 196881 h 761503"/>
                <a:gd name="connsiteX63" fmla="*/ 395416 w 489538"/>
                <a:gd name="connsiteY63" fmla="*/ 175123 h 761503"/>
                <a:gd name="connsiteX64" fmla="*/ 395416 w 489538"/>
                <a:gd name="connsiteY64" fmla="*/ 153366 h 761503"/>
                <a:gd name="connsiteX65" fmla="*/ 395416 w 489538"/>
                <a:gd name="connsiteY65" fmla="*/ 126170 h 761503"/>
                <a:gd name="connsiteX66" fmla="*/ 370939 w 489538"/>
                <a:gd name="connsiteY66" fmla="*/ 128889 h 761503"/>
                <a:gd name="connsiteX67" fmla="*/ 338303 w 489538"/>
                <a:gd name="connsiteY67" fmla="*/ 131609 h 761503"/>
                <a:gd name="connsiteX68" fmla="*/ 286629 w 489538"/>
                <a:gd name="connsiteY68" fmla="*/ 134328 h 761503"/>
                <a:gd name="connsiteX69" fmla="*/ 273031 w 489538"/>
                <a:gd name="connsiteY69" fmla="*/ 137048 h 761503"/>
                <a:gd name="connsiteX70" fmla="*/ 262153 w 489538"/>
                <a:gd name="connsiteY70" fmla="*/ 142487 h 761503"/>
                <a:gd name="connsiteX71" fmla="*/ 259433 w 489538"/>
                <a:gd name="connsiteY71" fmla="*/ 153366 h 761503"/>
                <a:gd name="connsiteX72" fmla="*/ 262153 w 489538"/>
                <a:gd name="connsiteY72" fmla="*/ 166964 h 761503"/>
                <a:gd name="connsiteX73" fmla="*/ 262153 w 489538"/>
                <a:gd name="connsiteY73" fmla="*/ 196881 h 761503"/>
                <a:gd name="connsiteX74" fmla="*/ 262153 w 489538"/>
                <a:gd name="connsiteY74" fmla="*/ 215918 h 761503"/>
                <a:gd name="connsiteX75" fmla="*/ 262153 w 489538"/>
                <a:gd name="connsiteY75" fmla="*/ 251274 h 761503"/>
                <a:gd name="connsiteX76" fmla="*/ 259433 w 489538"/>
                <a:gd name="connsiteY76" fmla="*/ 278470 h 761503"/>
                <a:gd name="connsiteX77" fmla="*/ 259433 w 489538"/>
                <a:gd name="connsiteY77" fmla="*/ 308386 h 761503"/>
                <a:gd name="connsiteX78" fmla="*/ 259433 w 489538"/>
                <a:gd name="connsiteY78" fmla="*/ 321985 h 761503"/>
                <a:gd name="connsiteX79" fmla="*/ 259433 w 489538"/>
                <a:gd name="connsiteY79" fmla="*/ 332863 h 761503"/>
                <a:gd name="connsiteX80" fmla="*/ 267592 w 489538"/>
                <a:gd name="connsiteY80" fmla="*/ 335583 h 761503"/>
                <a:gd name="connsiteX81" fmla="*/ 281190 w 489538"/>
                <a:gd name="connsiteY81" fmla="*/ 335583 h 761503"/>
                <a:gd name="connsiteX82" fmla="*/ 327424 w 489538"/>
                <a:gd name="connsiteY82" fmla="*/ 338303 h 761503"/>
                <a:gd name="connsiteX83" fmla="*/ 351901 w 489538"/>
                <a:gd name="connsiteY83" fmla="*/ 341022 h 761503"/>
                <a:gd name="connsiteX84" fmla="*/ 351901 w 489538"/>
                <a:gd name="connsiteY84" fmla="*/ 335583 h 761503"/>
                <a:gd name="connsiteX85" fmla="*/ 351901 w 489538"/>
                <a:gd name="connsiteY85" fmla="*/ 313826 h 761503"/>
                <a:gd name="connsiteX86" fmla="*/ 357341 w 489538"/>
                <a:gd name="connsiteY86" fmla="*/ 289349 h 761503"/>
                <a:gd name="connsiteX87" fmla="*/ 373658 w 489538"/>
                <a:gd name="connsiteY87" fmla="*/ 273031 h 761503"/>
                <a:gd name="connsiteX88" fmla="*/ 381817 w 489538"/>
                <a:gd name="connsiteY88" fmla="*/ 278470 h 761503"/>
                <a:gd name="connsiteX89" fmla="*/ 389977 w 489538"/>
                <a:gd name="connsiteY89" fmla="*/ 300228 h 761503"/>
                <a:gd name="connsiteX90" fmla="*/ 395416 w 489538"/>
                <a:gd name="connsiteY90" fmla="*/ 351901 h 761503"/>
                <a:gd name="connsiteX91" fmla="*/ 398136 w 489538"/>
                <a:gd name="connsiteY91" fmla="*/ 409014 h 761503"/>
                <a:gd name="connsiteX92" fmla="*/ 381817 w 489538"/>
                <a:gd name="connsiteY92" fmla="*/ 444369 h 761503"/>
                <a:gd name="connsiteX93" fmla="*/ 365500 w 489538"/>
                <a:gd name="connsiteY93" fmla="*/ 438930 h 761503"/>
                <a:gd name="connsiteX94" fmla="*/ 357341 w 489538"/>
                <a:gd name="connsiteY94" fmla="*/ 422612 h 761503"/>
                <a:gd name="connsiteX95" fmla="*/ 354621 w 489538"/>
                <a:gd name="connsiteY95" fmla="*/ 400855 h 761503"/>
                <a:gd name="connsiteX96" fmla="*/ 354621 w 489538"/>
                <a:gd name="connsiteY96" fmla="*/ 381817 h 761503"/>
                <a:gd name="connsiteX97" fmla="*/ 270312 w 489538"/>
                <a:gd name="connsiteY97" fmla="*/ 381817 h 761503"/>
                <a:gd name="connsiteX98" fmla="*/ 256713 w 489538"/>
                <a:gd name="connsiteY98" fmla="*/ 395415 h 761503"/>
                <a:gd name="connsiteX99" fmla="*/ 253994 w 489538"/>
                <a:gd name="connsiteY99" fmla="*/ 422612 h 761503"/>
                <a:gd name="connsiteX100" fmla="*/ 253994 w 489538"/>
                <a:gd name="connsiteY100" fmla="*/ 433490 h 761503"/>
                <a:gd name="connsiteX101" fmla="*/ 253994 w 489538"/>
                <a:gd name="connsiteY101" fmla="*/ 449809 h 761503"/>
                <a:gd name="connsiteX102" fmla="*/ 256713 w 489538"/>
                <a:gd name="connsiteY102" fmla="*/ 474285 h 761503"/>
                <a:gd name="connsiteX103" fmla="*/ 256713 w 489538"/>
                <a:gd name="connsiteY103" fmla="*/ 496043 h 761503"/>
                <a:gd name="connsiteX104" fmla="*/ 259433 w 489538"/>
                <a:gd name="connsiteY104" fmla="*/ 534118 h 761503"/>
                <a:gd name="connsiteX105" fmla="*/ 259433 w 489538"/>
                <a:gd name="connsiteY105" fmla="*/ 591231 h 761503"/>
                <a:gd name="connsiteX106" fmla="*/ 262153 w 489538"/>
                <a:gd name="connsiteY106" fmla="*/ 618427 h 761503"/>
                <a:gd name="connsiteX107" fmla="*/ 267592 w 489538"/>
                <a:gd name="connsiteY107" fmla="*/ 648343 h 761503"/>
                <a:gd name="connsiteX108" fmla="*/ 292069 w 489538"/>
                <a:gd name="connsiteY108" fmla="*/ 651063 h 761503"/>
                <a:gd name="connsiteX109" fmla="*/ 327424 w 489538"/>
                <a:gd name="connsiteY109" fmla="*/ 651063 h 761503"/>
                <a:gd name="connsiteX110" fmla="*/ 362780 w 489538"/>
                <a:gd name="connsiteY110" fmla="*/ 653783 h 761503"/>
                <a:gd name="connsiteX111" fmla="*/ 395416 w 489538"/>
                <a:gd name="connsiteY111" fmla="*/ 648343 h 761503"/>
                <a:gd name="connsiteX112" fmla="*/ 395416 w 489538"/>
                <a:gd name="connsiteY112" fmla="*/ 618427 h 761503"/>
                <a:gd name="connsiteX113" fmla="*/ 395416 w 489538"/>
                <a:gd name="connsiteY113" fmla="*/ 596670 h 761503"/>
                <a:gd name="connsiteX114" fmla="*/ 398136 w 489538"/>
                <a:gd name="connsiteY114" fmla="*/ 574913 h 761503"/>
                <a:gd name="connsiteX115" fmla="*/ 406295 w 489538"/>
                <a:gd name="connsiteY115" fmla="*/ 558595 h 761503"/>
                <a:gd name="connsiteX116" fmla="*/ 422612 w 489538"/>
                <a:gd name="connsiteY116" fmla="*/ 553155 h 761503"/>
                <a:gd name="connsiteX117" fmla="*/ 438930 w 489538"/>
                <a:gd name="connsiteY117" fmla="*/ 588511 h 761503"/>
                <a:gd name="connsiteX118" fmla="*/ 436211 w 489538"/>
                <a:gd name="connsiteY118" fmla="*/ 645624 h 761503"/>
                <a:gd name="connsiteX119" fmla="*/ 433491 w 489538"/>
                <a:gd name="connsiteY119" fmla="*/ 651063 h 761503"/>
                <a:gd name="connsiteX120" fmla="*/ 433491 w 489538"/>
                <a:gd name="connsiteY120" fmla="*/ 651063 h 761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</a:cxnLst>
              <a:rect l="l" t="t" r="r" b="b"/>
              <a:pathLst>
                <a:path w="489538" h="761503">
                  <a:moveTo>
                    <a:pt x="433491" y="651063"/>
                  </a:moveTo>
                  <a:cubicBezTo>
                    <a:pt x="436211" y="653783"/>
                    <a:pt x="438930" y="656502"/>
                    <a:pt x="438930" y="661942"/>
                  </a:cubicBezTo>
                  <a:cubicBezTo>
                    <a:pt x="438930" y="670101"/>
                    <a:pt x="433491" y="678259"/>
                    <a:pt x="425332" y="683699"/>
                  </a:cubicBezTo>
                  <a:cubicBezTo>
                    <a:pt x="417173" y="689138"/>
                    <a:pt x="409014" y="689138"/>
                    <a:pt x="400855" y="691858"/>
                  </a:cubicBezTo>
                  <a:cubicBezTo>
                    <a:pt x="381817" y="694578"/>
                    <a:pt x="362780" y="694578"/>
                    <a:pt x="343742" y="700017"/>
                  </a:cubicBezTo>
                  <a:cubicBezTo>
                    <a:pt x="335583" y="702736"/>
                    <a:pt x="324705" y="702736"/>
                    <a:pt x="316546" y="705456"/>
                  </a:cubicBezTo>
                  <a:cubicBezTo>
                    <a:pt x="308387" y="705456"/>
                    <a:pt x="289349" y="705456"/>
                    <a:pt x="275751" y="705456"/>
                  </a:cubicBezTo>
                  <a:cubicBezTo>
                    <a:pt x="270312" y="705456"/>
                    <a:pt x="267592" y="708176"/>
                    <a:pt x="264872" y="708176"/>
                  </a:cubicBezTo>
                  <a:cubicBezTo>
                    <a:pt x="264872" y="708176"/>
                    <a:pt x="259433" y="708176"/>
                    <a:pt x="253994" y="708176"/>
                  </a:cubicBezTo>
                  <a:cubicBezTo>
                    <a:pt x="251274" y="713615"/>
                    <a:pt x="245835" y="716335"/>
                    <a:pt x="240395" y="719054"/>
                  </a:cubicBezTo>
                  <a:cubicBezTo>
                    <a:pt x="234956" y="721774"/>
                    <a:pt x="229517" y="721774"/>
                    <a:pt x="224077" y="721774"/>
                  </a:cubicBezTo>
                  <a:cubicBezTo>
                    <a:pt x="218638" y="721774"/>
                    <a:pt x="213199" y="724494"/>
                    <a:pt x="205040" y="724494"/>
                  </a:cubicBezTo>
                  <a:cubicBezTo>
                    <a:pt x="202320" y="724494"/>
                    <a:pt x="194161" y="727213"/>
                    <a:pt x="191441" y="727213"/>
                  </a:cubicBezTo>
                  <a:cubicBezTo>
                    <a:pt x="183282" y="727213"/>
                    <a:pt x="172404" y="721774"/>
                    <a:pt x="169684" y="721774"/>
                  </a:cubicBezTo>
                  <a:cubicBezTo>
                    <a:pt x="164245" y="719054"/>
                    <a:pt x="156086" y="713615"/>
                    <a:pt x="150646" y="708176"/>
                  </a:cubicBezTo>
                  <a:cubicBezTo>
                    <a:pt x="145207" y="708176"/>
                    <a:pt x="139768" y="708176"/>
                    <a:pt x="139768" y="708176"/>
                  </a:cubicBezTo>
                  <a:cubicBezTo>
                    <a:pt x="126170" y="708176"/>
                    <a:pt x="137048" y="708176"/>
                    <a:pt x="120730" y="708176"/>
                  </a:cubicBezTo>
                  <a:cubicBezTo>
                    <a:pt x="112571" y="708176"/>
                    <a:pt x="104412" y="708176"/>
                    <a:pt x="98973" y="708176"/>
                  </a:cubicBezTo>
                  <a:cubicBezTo>
                    <a:pt x="90814" y="708176"/>
                    <a:pt x="79936" y="708176"/>
                    <a:pt x="74496" y="702736"/>
                  </a:cubicBezTo>
                  <a:cubicBezTo>
                    <a:pt x="66337" y="700017"/>
                    <a:pt x="58178" y="689138"/>
                    <a:pt x="58178" y="683699"/>
                  </a:cubicBezTo>
                  <a:cubicBezTo>
                    <a:pt x="58178" y="680979"/>
                    <a:pt x="58178" y="678259"/>
                    <a:pt x="63617" y="675540"/>
                  </a:cubicBezTo>
                  <a:cubicBezTo>
                    <a:pt x="69057" y="672820"/>
                    <a:pt x="77216" y="670101"/>
                    <a:pt x="85375" y="667381"/>
                  </a:cubicBezTo>
                  <a:cubicBezTo>
                    <a:pt x="98973" y="664661"/>
                    <a:pt x="115291" y="664661"/>
                    <a:pt x="128889" y="661942"/>
                  </a:cubicBezTo>
                  <a:cubicBezTo>
                    <a:pt x="128889" y="645624"/>
                    <a:pt x="128889" y="623866"/>
                    <a:pt x="128889" y="602109"/>
                  </a:cubicBezTo>
                  <a:cubicBezTo>
                    <a:pt x="128889" y="566754"/>
                    <a:pt x="128889" y="531398"/>
                    <a:pt x="126170" y="523239"/>
                  </a:cubicBezTo>
                  <a:cubicBezTo>
                    <a:pt x="126170" y="517800"/>
                    <a:pt x="126170" y="487884"/>
                    <a:pt x="126170" y="468846"/>
                  </a:cubicBezTo>
                  <a:cubicBezTo>
                    <a:pt x="126170" y="449809"/>
                    <a:pt x="123450" y="430771"/>
                    <a:pt x="123450" y="409014"/>
                  </a:cubicBezTo>
                  <a:cubicBezTo>
                    <a:pt x="123450" y="400855"/>
                    <a:pt x="123450" y="392696"/>
                    <a:pt x="123450" y="384537"/>
                  </a:cubicBezTo>
                  <a:cubicBezTo>
                    <a:pt x="123450" y="373658"/>
                    <a:pt x="126170" y="360060"/>
                    <a:pt x="126170" y="349181"/>
                  </a:cubicBezTo>
                  <a:cubicBezTo>
                    <a:pt x="126170" y="341022"/>
                    <a:pt x="126170" y="332863"/>
                    <a:pt x="126170" y="324704"/>
                  </a:cubicBezTo>
                  <a:cubicBezTo>
                    <a:pt x="126170" y="313826"/>
                    <a:pt x="126170" y="302947"/>
                    <a:pt x="128889" y="292068"/>
                  </a:cubicBezTo>
                  <a:cubicBezTo>
                    <a:pt x="131609" y="273031"/>
                    <a:pt x="134329" y="253993"/>
                    <a:pt x="134329" y="234956"/>
                  </a:cubicBezTo>
                  <a:cubicBezTo>
                    <a:pt x="134329" y="213198"/>
                    <a:pt x="134329" y="191441"/>
                    <a:pt x="134329" y="172404"/>
                  </a:cubicBezTo>
                  <a:cubicBezTo>
                    <a:pt x="134329" y="156086"/>
                    <a:pt x="134329" y="139768"/>
                    <a:pt x="137048" y="123450"/>
                  </a:cubicBezTo>
                  <a:cubicBezTo>
                    <a:pt x="131609" y="123450"/>
                    <a:pt x="134329" y="123450"/>
                    <a:pt x="123450" y="123450"/>
                  </a:cubicBezTo>
                  <a:cubicBezTo>
                    <a:pt x="115291" y="123450"/>
                    <a:pt x="107132" y="123450"/>
                    <a:pt x="101693" y="123450"/>
                  </a:cubicBezTo>
                  <a:cubicBezTo>
                    <a:pt x="93534" y="123450"/>
                    <a:pt x="82655" y="123450"/>
                    <a:pt x="77216" y="118011"/>
                  </a:cubicBezTo>
                  <a:cubicBezTo>
                    <a:pt x="69057" y="115291"/>
                    <a:pt x="60898" y="101693"/>
                    <a:pt x="60898" y="98973"/>
                  </a:cubicBezTo>
                  <a:cubicBezTo>
                    <a:pt x="60898" y="96253"/>
                    <a:pt x="60898" y="93534"/>
                    <a:pt x="66337" y="90814"/>
                  </a:cubicBezTo>
                  <a:cubicBezTo>
                    <a:pt x="71777" y="88094"/>
                    <a:pt x="79936" y="85375"/>
                    <a:pt x="88094" y="82655"/>
                  </a:cubicBezTo>
                  <a:cubicBezTo>
                    <a:pt x="104412" y="79935"/>
                    <a:pt x="131609" y="77216"/>
                    <a:pt x="145207" y="77216"/>
                  </a:cubicBezTo>
                  <a:cubicBezTo>
                    <a:pt x="145207" y="77216"/>
                    <a:pt x="145207" y="77216"/>
                    <a:pt x="145207" y="77216"/>
                  </a:cubicBezTo>
                  <a:cubicBezTo>
                    <a:pt x="145207" y="74496"/>
                    <a:pt x="150646" y="71776"/>
                    <a:pt x="153366" y="69057"/>
                  </a:cubicBezTo>
                  <a:cubicBezTo>
                    <a:pt x="161525" y="63617"/>
                    <a:pt x="169684" y="63617"/>
                    <a:pt x="177843" y="60898"/>
                  </a:cubicBezTo>
                  <a:cubicBezTo>
                    <a:pt x="183282" y="58178"/>
                    <a:pt x="191441" y="58178"/>
                    <a:pt x="196881" y="58178"/>
                  </a:cubicBezTo>
                  <a:cubicBezTo>
                    <a:pt x="199600" y="58178"/>
                    <a:pt x="202320" y="58178"/>
                    <a:pt x="205040" y="58178"/>
                  </a:cubicBezTo>
                  <a:cubicBezTo>
                    <a:pt x="207759" y="58178"/>
                    <a:pt x="213199" y="60898"/>
                    <a:pt x="215919" y="63617"/>
                  </a:cubicBezTo>
                  <a:cubicBezTo>
                    <a:pt x="221358" y="66337"/>
                    <a:pt x="224077" y="66337"/>
                    <a:pt x="229517" y="69057"/>
                  </a:cubicBezTo>
                  <a:cubicBezTo>
                    <a:pt x="237675" y="71776"/>
                    <a:pt x="245835" y="77216"/>
                    <a:pt x="256713" y="77216"/>
                  </a:cubicBezTo>
                  <a:cubicBezTo>
                    <a:pt x="259433" y="77216"/>
                    <a:pt x="262153" y="77216"/>
                    <a:pt x="264872" y="77216"/>
                  </a:cubicBezTo>
                  <a:cubicBezTo>
                    <a:pt x="270312" y="77216"/>
                    <a:pt x="275751" y="77216"/>
                    <a:pt x="281190" y="77216"/>
                  </a:cubicBezTo>
                  <a:cubicBezTo>
                    <a:pt x="292069" y="77216"/>
                    <a:pt x="321985" y="77216"/>
                    <a:pt x="330144" y="77216"/>
                  </a:cubicBezTo>
                  <a:cubicBezTo>
                    <a:pt x="338303" y="77216"/>
                    <a:pt x="349182" y="77216"/>
                    <a:pt x="357341" y="79935"/>
                  </a:cubicBezTo>
                  <a:cubicBezTo>
                    <a:pt x="368219" y="79935"/>
                    <a:pt x="379098" y="82655"/>
                    <a:pt x="387257" y="82655"/>
                  </a:cubicBezTo>
                  <a:cubicBezTo>
                    <a:pt x="392696" y="82655"/>
                    <a:pt x="400855" y="85375"/>
                    <a:pt x="406295" y="85375"/>
                  </a:cubicBezTo>
                  <a:cubicBezTo>
                    <a:pt x="409014" y="82655"/>
                    <a:pt x="414453" y="79935"/>
                    <a:pt x="417173" y="79935"/>
                  </a:cubicBezTo>
                  <a:cubicBezTo>
                    <a:pt x="419893" y="79935"/>
                    <a:pt x="422612" y="79935"/>
                    <a:pt x="425332" y="85375"/>
                  </a:cubicBezTo>
                  <a:cubicBezTo>
                    <a:pt x="428052" y="90814"/>
                    <a:pt x="433491" y="98973"/>
                    <a:pt x="433491" y="104412"/>
                  </a:cubicBezTo>
                  <a:cubicBezTo>
                    <a:pt x="436211" y="131609"/>
                    <a:pt x="436211" y="120730"/>
                    <a:pt x="436211" y="137048"/>
                  </a:cubicBezTo>
                  <a:cubicBezTo>
                    <a:pt x="438930" y="158805"/>
                    <a:pt x="438930" y="158805"/>
                    <a:pt x="438930" y="183282"/>
                  </a:cubicBezTo>
                  <a:cubicBezTo>
                    <a:pt x="438930" y="194161"/>
                    <a:pt x="438930" y="218638"/>
                    <a:pt x="422612" y="218638"/>
                  </a:cubicBezTo>
                  <a:cubicBezTo>
                    <a:pt x="414453" y="218638"/>
                    <a:pt x="411734" y="215918"/>
                    <a:pt x="406295" y="213198"/>
                  </a:cubicBezTo>
                  <a:cubicBezTo>
                    <a:pt x="400855" y="210479"/>
                    <a:pt x="398136" y="202320"/>
                    <a:pt x="398136" y="196881"/>
                  </a:cubicBezTo>
                  <a:cubicBezTo>
                    <a:pt x="395416" y="188722"/>
                    <a:pt x="395416" y="183282"/>
                    <a:pt x="395416" y="175123"/>
                  </a:cubicBezTo>
                  <a:cubicBezTo>
                    <a:pt x="395416" y="169684"/>
                    <a:pt x="395416" y="164245"/>
                    <a:pt x="395416" y="153366"/>
                  </a:cubicBezTo>
                  <a:cubicBezTo>
                    <a:pt x="395416" y="145207"/>
                    <a:pt x="395416" y="134328"/>
                    <a:pt x="395416" y="126170"/>
                  </a:cubicBezTo>
                  <a:cubicBezTo>
                    <a:pt x="387257" y="128889"/>
                    <a:pt x="379098" y="128889"/>
                    <a:pt x="370939" y="128889"/>
                  </a:cubicBezTo>
                  <a:cubicBezTo>
                    <a:pt x="360060" y="128889"/>
                    <a:pt x="349182" y="128889"/>
                    <a:pt x="338303" y="131609"/>
                  </a:cubicBezTo>
                  <a:cubicBezTo>
                    <a:pt x="327424" y="131609"/>
                    <a:pt x="319265" y="134328"/>
                    <a:pt x="286629" y="134328"/>
                  </a:cubicBezTo>
                  <a:cubicBezTo>
                    <a:pt x="281190" y="134328"/>
                    <a:pt x="278470" y="134328"/>
                    <a:pt x="273031" y="137048"/>
                  </a:cubicBezTo>
                  <a:cubicBezTo>
                    <a:pt x="270312" y="137048"/>
                    <a:pt x="264872" y="137048"/>
                    <a:pt x="262153" y="142487"/>
                  </a:cubicBezTo>
                  <a:cubicBezTo>
                    <a:pt x="259433" y="145207"/>
                    <a:pt x="259433" y="150647"/>
                    <a:pt x="259433" y="153366"/>
                  </a:cubicBezTo>
                  <a:cubicBezTo>
                    <a:pt x="259433" y="158805"/>
                    <a:pt x="259433" y="164245"/>
                    <a:pt x="262153" y="166964"/>
                  </a:cubicBezTo>
                  <a:cubicBezTo>
                    <a:pt x="262153" y="177843"/>
                    <a:pt x="262153" y="186002"/>
                    <a:pt x="262153" y="196881"/>
                  </a:cubicBezTo>
                  <a:cubicBezTo>
                    <a:pt x="262153" y="202320"/>
                    <a:pt x="262153" y="210479"/>
                    <a:pt x="262153" y="215918"/>
                  </a:cubicBezTo>
                  <a:cubicBezTo>
                    <a:pt x="262153" y="229516"/>
                    <a:pt x="262153" y="240395"/>
                    <a:pt x="262153" y="251274"/>
                  </a:cubicBezTo>
                  <a:cubicBezTo>
                    <a:pt x="262153" y="259433"/>
                    <a:pt x="259433" y="270311"/>
                    <a:pt x="259433" y="278470"/>
                  </a:cubicBezTo>
                  <a:cubicBezTo>
                    <a:pt x="259433" y="289349"/>
                    <a:pt x="259433" y="297508"/>
                    <a:pt x="259433" y="308386"/>
                  </a:cubicBezTo>
                  <a:cubicBezTo>
                    <a:pt x="259433" y="313826"/>
                    <a:pt x="259433" y="319265"/>
                    <a:pt x="259433" y="321985"/>
                  </a:cubicBezTo>
                  <a:cubicBezTo>
                    <a:pt x="259433" y="324704"/>
                    <a:pt x="259433" y="330144"/>
                    <a:pt x="259433" y="332863"/>
                  </a:cubicBezTo>
                  <a:cubicBezTo>
                    <a:pt x="262153" y="335583"/>
                    <a:pt x="264872" y="335583"/>
                    <a:pt x="267592" y="335583"/>
                  </a:cubicBezTo>
                  <a:cubicBezTo>
                    <a:pt x="273031" y="335583"/>
                    <a:pt x="275751" y="335583"/>
                    <a:pt x="281190" y="335583"/>
                  </a:cubicBezTo>
                  <a:cubicBezTo>
                    <a:pt x="311107" y="335583"/>
                    <a:pt x="319265" y="335583"/>
                    <a:pt x="327424" y="338303"/>
                  </a:cubicBezTo>
                  <a:cubicBezTo>
                    <a:pt x="335583" y="341022"/>
                    <a:pt x="343742" y="341022"/>
                    <a:pt x="351901" y="341022"/>
                  </a:cubicBezTo>
                  <a:cubicBezTo>
                    <a:pt x="351901" y="338303"/>
                    <a:pt x="351901" y="338303"/>
                    <a:pt x="351901" y="335583"/>
                  </a:cubicBezTo>
                  <a:cubicBezTo>
                    <a:pt x="351901" y="327424"/>
                    <a:pt x="351901" y="319265"/>
                    <a:pt x="351901" y="313826"/>
                  </a:cubicBezTo>
                  <a:cubicBezTo>
                    <a:pt x="351901" y="305667"/>
                    <a:pt x="351901" y="294788"/>
                    <a:pt x="357341" y="289349"/>
                  </a:cubicBezTo>
                  <a:cubicBezTo>
                    <a:pt x="360060" y="281190"/>
                    <a:pt x="368219" y="273031"/>
                    <a:pt x="373658" y="273031"/>
                  </a:cubicBezTo>
                  <a:cubicBezTo>
                    <a:pt x="376378" y="273031"/>
                    <a:pt x="379098" y="273031"/>
                    <a:pt x="381817" y="278470"/>
                  </a:cubicBezTo>
                  <a:cubicBezTo>
                    <a:pt x="384537" y="283909"/>
                    <a:pt x="387257" y="292068"/>
                    <a:pt x="389977" y="300228"/>
                  </a:cubicBezTo>
                  <a:cubicBezTo>
                    <a:pt x="392696" y="316545"/>
                    <a:pt x="392696" y="335583"/>
                    <a:pt x="395416" y="351901"/>
                  </a:cubicBezTo>
                  <a:cubicBezTo>
                    <a:pt x="398136" y="373658"/>
                    <a:pt x="398136" y="384537"/>
                    <a:pt x="398136" y="409014"/>
                  </a:cubicBezTo>
                  <a:cubicBezTo>
                    <a:pt x="398136" y="422612"/>
                    <a:pt x="398136" y="444369"/>
                    <a:pt x="381817" y="444369"/>
                  </a:cubicBezTo>
                  <a:cubicBezTo>
                    <a:pt x="373658" y="444369"/>
                    <a:pt x="370939" y="441650"/>
                    <a:pt x="365500" y="438930"/>
                  </a:cubicBezTo>
                  <a:cubicBezTo>
                    <a:pt x="360060" y="436210"/>
                    <a:pt x="357341" y="428051"/>
                    <a:pt x="357341" y="422612"/>
                  </a:cubicBezTo>
                  <a:cubicBezTo>
                    <a:pt x="354621" y="414453"/>
                    <a:pt x="354621" y="409014"/>
                    <a:pt x="354621" y="400855"/>
                  </a:cubicBezTo>
                  <a:cubicBezTo>
                    <a:pt x="354621" y="395415"/>
                    <a:pt x="354621" y="389976"/>
                    <a:pt x="354621" y="381817"/>
                  </a:cubicBezTo>
                  <a:cubicBezTo>
                    <a:pt x="335583" y="381817"/>
                    <a:pt x="308387" y="384537"/>
                    <a:pt x="270312" y="381817"/>
                  </a:cubicBezTo>
                  <a:cubicBezTo>
                    <a:pt x="262153" y="381817"/>
                    <a:pt x="256713" y="387256"/>
                    <a:pt x="256713" y="395415"/>
                  </a:cubicBezTo>
                  <a:cubicBezTo>
                    <a:pt x="256713" y="403574"/>
                    <a:pt x="256713" y="414453"/>
                    <a:pt x="253994" y="422612"/>
                  </a:cubicBezTo>
                  <a:cubicBezTo>
                    <a:pt x="253994" y="425332"/>
                    <a:pt x="253994" y="430771"/>
                    <a:pt x="253994" y="433490"/>
                  </a:cubicBezTo>
                  <a:cubicBezTo>
                    <a:pt x="253994" y="438930"/>
                    <a:pt x="253994" y="444369"/>
                    <a:pt x="253994" y="449809"/>
                  </a:cubicBezTo>
                  <a:cubicBezTo>
                    <a:pt x="253994" y="457967"/>
                    <a:pt x="256713" y="466126"/>
                    <a:pt x="256713" y="474285"/>
                  </a:cubicBezTo>
                  <a:cubicBezTo>
                    <a:pt x="256713" y="482444"/>
                    <a:pt x="256713" y="490603"/>
                    <a:pt x="256713" y="496043"/>
                  </a:cubicBezTo>
                  <a:cubicBezTo>
                    <a:pt x="256713" y="509641"/>
                    <a:pt x="259433" y="520520"/>
                    <a:pt x="259433" y="534118"/>
                  </a:cubicBezTo>
                  <a:cubicBezTo>
                    <a:pt x="259433" y="553155"/>
                    <a:pt x="259433" y="572193"/>
                    <a:pt x="259433" y="591231"/>
                  </a:cubicBezTo>
                  <a:cubicBezTo>
                    <a:pt x="259433" y="602109"/>
                    <a:pt x="262153" y="610268"/>
                    <a:pt x="262153" y="618427"/>
                  </a:cubicBezTo>
                  <a:cubicBezTo>
                    <a:pt x="264872" y="626586"/>
                    <a:pt x="262153" y="642904"/>
                    <a:pt x="267592" y="648343"/>
                  </a:cubicBezTo>
                  <a:cubicBezTo>
                    <a:pt x="270312" y="651063"/>
                    <a:pt x="275751" y="651063"/>
                    <a:pt x="292069" y="651063"/>
                  </a:cubicBezTo>
                  <a:cubicBezTo>
                    <a:pt x="305667" y="651063"/>
                    <a:pt x="319265" y="651063"/>
                    <a:pt x="327424" y="651063"/>
                  </a:cubicBezTo>
                  <a:cubicBezTo>
                    <a:pt x="338303" y="651063"/>
                    <a:pt x="351901" y="653783"/>
                    <a:pt x="362780" y="653783"/>
                  </a:cubicBezTo>
                  <a:cubicBezTo>
                    <a:pt x="376378" y="653783"/>
                    <a:pt x="384537" y="651063"/>
                    <a:pt x="395416" y="648343"/>
                  </a:cubicBezTo>
                  <a:cubicBezTo>
                    <a:pt x="395416" y="637465"/>
                    <a:pt x="395416" y="629306"/>
                    <a:pt x="395416" y="618427"/>
                  </a:cubicBezTo>
                  <a:cubicBezTo>
                    <a:pt x="395416" y="610268"/>
                    <a:pt x="395416" y="602109"/>
                    <a:pt x="395416" y="596670"/>
                  </a:cubicBezTo>
                  <a:cubicBezTo>
                    <a:pt x="395416" y="591231"/>
                    <a:pt x="395416" y="585791"/>
                    <a:pt x="398136" y="574913"/>
                  </a:cubicBezTo>
                  <a:cubicBezTo>
                    <a:pt x="400855" y="569473"/>
                    <a:pt x="400855" y="564034"/>
                    <a:pt x="406295" y="558595"/>
                  </a:cubicBezTo>
                  <a:cubicBezTo>
                    <a:pt x="411734" y="553155"/>
                    <a:pt x="414453" y="553155"/>
                    <a:pt x="422612" y="553155"/>
                  </a:cubicBezTo>
                  <a:cubicBezTo>
                    <a:pt x="436211" y="553155"/>
                    <a:pt x="438930" y="577632"/>
                    <a:pt x="438930" y="588511"/>
                  </a:cubicBezTo>
                  <a:cubicBezTo>
                    <a:pt x="438930" y="612988"/>
                    <a:pt x="438930" y="623866"/>
                    <a:pt x="436211" y="645624"/>
                  </a:cubicBezTo>
                  <a:cubicBezTo>
                    <a:pt x="433491" y="648343"/>
                    <a:pt x="433491" y="648343"/>
                    <a:pt x="433491" y="651063"/>
                  </a:cubicBezTo>
                  <a:lnTo>
                    <a:pt x="433491" y="651063"/>
                  </a:ln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9" name="Freeform: Shape 48">
              <a:extLst>
                <a:ext uri="{FF2B5EF4-FFF2-40B4-BE49-F238E27FC236}">
                  <a16:creationId xmlns:a16="http://schemas.microsoft.com/office/drawing/2014/main" id="{DBFAFEDA-92A7-430B-864D-95B664E05370}"/>
                </a:ext>
              </a:extLst>
            </p:cNvPr>
            <p:cNvSpPr/>
            <p:nvPr/>
          </p:nvSpPr>
          <p:spPr>
            <a:xfrm>
              <a:off x="7912732" y="4250336"/>
              <a:ext cx="465062" cy="658157"/>
            </a:xfrm>
            <a:custGeom>
              <a:avLst/>
              <a:gdLst>
                <a:gd name="connsiteX0" fmla="*/ 193096 w 465062"/>
                <a:gd name="connsiteY0" fmla="*/ 59832 h 658157"/>
                <a:gd name="connsiteX1" fmla="*/ 193096 w 465062"/>
                <a:gd name="connsiteY1" fmla="*/ 114226 h 658157"/>
                <a:gd name="connsiteX2" fmla="*/ 198536 w 465062"/>
                <a:gd name="connsiteY2" fmla="*/ 209414 h 658157"/>
                <a:gd name="connsiteX3" fmla="*/ 201255 w 465062"/>
                <a:gd name="connsiteY3" fmla="*/ 282845 h 658157"/>
                <a:gd name="connsiteX4" fmla="*/ 203975 w 465062"/>
                <a:gd name="connsiteY4" fmla="*/ 315481 h 658157"/>
                <a:gd name="connsiteX5" fmla="*/ 203975 w 465062"/>
                <a:gd name="connsiteY5" fmla="*/ 320920 h 658157"/>
                <a:gd name="connsiteX6" fmla="*/ 212134 w 465062"/>
                <a:gd name="connsiteY6" fmla="*/ 329079 h 658157"/>
                <a:gd name="connsiteX7" fmla="*/ 223013 w 465062"/>
                <a:gd name="connsiteY7" fmla="*/ 329079 h 658157"/>
                <a:gd name="connsiteX8" fmla="*/ 239331 w 465062"/>
                <a:gd name="connsiteY8" fmla="*/ 329079 h 658157"/>
                <a:gd name="connsiteX9" fmla="*/ 280126 w 465062"/>
                <a:gd name="connsiteY9" fmla="*/ 312761 h 658157"/>
                <a:gd name="connsiteX10" fmla="*/ 296443 w 465062"/>
                <a:gd name="connsiteY10" fmla="*/ 288284 h 658157"/>
                <a:gd name="connsiteX11" fmla="*/ 304602 w 465062"/>
                <a:gd name="connsiteY11" fmla="*/ 258368 h 658157"/>
                <a:gd name="connsiteX12" fmla="*/ 312761 w 465062"/>
                <a:gd name="connsiteY12" fmla="*/ 225732 h 658157"/>
                <a:gd name="connsiteX13" fmla="*/ 315481 w 465062"/>
                <a:gd name="connsiteY13" fmla="*/ 195816 h 658157"/>
                <a:gd name="connsiteX14" fmla="*/ 318201 w 465062"/>
                <a:gd name="connsiteY14" fmla="*/ 168619 h 658157"/>
                <a:gd name="connsiteX15" fmla="*/ 312761 w 465062"/>
                <a:gd name="connsiteY15" fmla="*/ 135983 h 658157"/>
                <a:gd name="connsiteX16" fmla="*/ 312761 w 465062"/>
                <a:gd name="connsiteY16" fmla="*/ 122385 h 658157"/>
                <a:gd name="connsiteX17" fmla="*/ 293724 w 465062"/>
                <a:gd name="connsiteY17" fmla="*/ 84309 h 658157"/>
                <a:gd name="connsiteX18" fmla="*/ 280126 w 465062"/>
                <a:gd name="connsiteY18" fmla="*/ 73430 h 658157"/>
                <a:gd name="connsiteX19" fmla="*/ 258368 w 465062"/>
                <a:gd name="connsiteY19" fmla="*/ 62552 h 658157"/>
                <a:gd name="connsiteX20" fmla="*/ 217573 w 465062"/>
                <a:gd name="connsiteY20" fmla="*/ 59832 h 658157"/>
                <a:gd name="connsiteX21" fmla="*/ 111506 w 465062"/>
                <a:gd name="connsiteY21" fmla="*/ 0 h 658157"/>
                <a:gd name="connsiteX22" fmla="*/ 127824 w 465062"/>
                <a:gd name="connsiteY22" fmla="*/ 0 h 658157"/>
                <a:gd name="connsiteX23" fmla="*/ 157741 w 465062"/>
                <a:gd name="connsiteY23" fmla="*/ 5440 h 658157"/>
                <a:gd name="connsiteX24" fmla="*/ 179497 w 465062"/>
                <a:gd name="connsiteY24" fmla="*/ 16318 h 658157"/>
                <a:gd name="connsiteX25" fmla="*/ 209414 w 465062"/>
                <a:gd name="connsiteY25" fmla="*/ 16318 h 658157"/>
                <a:gd name="connsiteX26" fmla="*/ 247489 w 465062"/>
                <a:gd name="connsiteY26" fmla="*/ 16318 h 658157"/>
                <a:gd name="connsiteX27" fmla="*/ 266527 w 465062"/>
                <a:gd name="connsiteY27" fmla="*/ 16318 h 658157"/>
                <a:gd name="connsiteX28" fmla="*/ 312761 w 465062"/>
                <a:gd name="connsiteY28" fmla="*/ 27197 h 658157"/>
                <a:gd name="connsiteX29" fmla="*/ 337238 w 465062"/>
                <a:gd name="connsiteY29" fmla="*/ 38075 h 658157"/>
                <a:gd name="connsiteX30" fmla="*/ 364434 w 465062"/>
                <a:gd name="connsiteY30" fmla="*/ 54393 h 658157"/>
                <a:gd name="connsiteX31" fmla="*/ 386192 w 465062"/>
                <a:gd name="connsiteY31" fmla="*/ 73431 h 658157"/>
                <a:gd name="connsiteX32" fmla="*/ 407949 w 465062"/>
                <a:gd name="connsiteY32" fmla="*/ 103347 h 658157"/>
                <a:gd name="connsiteX33" fmla="*/ 416108 w 465062"/>
                <a:gd name="connsiteY33" fmla="*/ 141422 h 658157"/>
                <a:gd name="connsiteX34" fmla="*/ 418828 w 465062"/>
                <a:gd name="connsiteY34" fmla="*/ 163179 h 658157"/>
                <a:gd name="connsiteX35" fmla="*/ 418828 w 465062"/>
                <a:gd name="connsiteY35" fmla="*/ 171339 h 658157"/>
                <a:gd name="connsiteX36" fmla="*/ 421547 w 465062"/>
                <a:gd name="connsiteY36" fmla="*/ 187656 h 658157"/>
                <a:gd name="connsiteX37" fmla="*/ 418828 w 465062"/>
                <a:gd name="connsiteY37" fmla="*/ 206694 h 658157"/>
                <a:gd name="connsiteX38" fmla="*/ 416108 w 465062"/>
                <a:gd name="connsiteY38" fmla="*/ 233891 h 658157"/>
                <a:gd name="connsiteX39" fmla="*/ 405229 w 465062"/>
                <a:gd name="connsiteY39" fmla="*/ 263807 h 658157"/>
                <a:gd name="connsiteX40" fmla="*/ 394351 w 465062"/>
                <a:gd name="connsiteY40" fmla="*/ 274686 h 658157"/>
                <a:gd name="connsiteX41" fmla="*/ 388912 w 465062"/>
                <a:gd name="connsiteY41" fmla="*/ 285564 h 658157"/>
                <a:gd name="connsiteX42" fmla="*/ 369874 w 465062"/>
                <a:gd name="connsiteY42" fmla="*/ 304602 h 658157"/>
                <a:gd name="connsiteX43" fmla="*/ 358995 w 465062"/>
                <a:gd name="connsiteY43" fmla="*/ 310041 h 658157"/>
                <a:gd name="connsiteX44" fmla="*/ 348117 w 465062"/>
                <a:gd name="connsiteY44" fmla="*/ 320920 h 658157"/>
                <a:gd name="connsiteX45" fmla="*/ 326359 w 465062"/>
                <a:gd name="connsiteY45" fmla="*/ 339957 h 658157"/>
                <a:gd name="connsiteX46" fmla="*/ 312761 w 465062"/>
                <a:gd name="connsiteY46" fmla="*/ 353555 h 658157"/>
                <a:gd name="connsiteX47" fmla="*/ 337238 w 465062"/>
                <a:gd name="connsiteY47" fmla="*/ 380752 h 658157"/>
                <a:gd name="connsiteX48" fmla="*/ 358995 w 465062"/>
                <a:gd name="connsiteY48" fmla="*/ 421547 h 658157"/>
                <a:gd name="connsiteX49" fmla="*/ 372593 w 465062"/>
                <a:gd name="connsiteY49" fmla="*/ 459622 h 658157"/>
                <a:gd name="connsiteX50" fmla="*/ 386192 w 465062"/>
                <a:gd name="connsiteY50" fmla="*/ 514015 h 658157"/>
                <a:gd name="connsiteX51" fmla="*/ 407949 w 465062"/>
                <a:gd name="connsiteY51" fmla="*/ 568408 h 658157"/>
                <a:gd name="connsiteX52" fmla="*/ 421547 w 465062"/>
                <a:gd name="connsiteY52" fmla="*/ 598324 h 658157"/>
                <a:gd name="connsiteX53" fmla="*/ 451463 w 465062"/>
                <a:gd name="connsiteY53" fmla="*/ 628241 h 658157"/>
                <a:gd name="connsiteX54" fmla="*/ 465062 w 465062"/>
                <a:gd name="connsiteY54" fmla="*/ 644559 h 658157"/>
                <a:gd name="connsiteX55" fmla="*/ 462342 w 465062"/>
                <a:gd name="connsiteY55" fmla="*/ 649998 h 658157"/>
                <a:gd name="connsiteX56" fmla="*/ 437865 w 465062"/>
                <a:gd name="connsiteY56" fmla="*/ 658157 h 658157"/>
                <a:gd name="connsiteX57" fmla="*/ 361715 w 465062"/>
                <a:gd name="connsiteY57" fmla="*/ 622801 h 658157"/>
                <a:gd name="connsiteX58" fmla="*/ 320920 w 465062"/>
                <a:gd name="connsiteY58" fmla="*/ 565689 h 658157"/>
                <a:gd name="connsiteX59" fmla="*/ 304602 w 465062"/>
                <a:gd name="connsiteY59" fmla="*/ 530333 h 658157"/>
                <a:gd name="connsiteX60" fmla="*/ 293723 w 465062"/>
                <a:gd name="connsiteY60" fmla="*/ 497697 h 658157"/>
                <a:gd name="connsiteX61" fmla="*/ 282845 w 465062"/>
                <a:gd name="connsiteY61" fmla="*/ 462342 h 658157"/>
                <a:gd name="connsiteX62" fmla="*/ 269246 w 465062"/>
                <a:gd name="connsiteY62" fmla="*/ 424267 h 658157"/>
                <a:gd name="connsiteX63" fmla="*/ 255648 w 465062"/>
                <a:gd name="connsiteY63" fmla="*/ 391631 h 658157"/>
                <a:gd name="connsiteX64" fmla="*/ 236610 w 465062"/>
                <a:gd name="connsiteY64" fmla="*/ 367154 h 658157"/>
                <a:gd name="connsiteX65" fmla="*/ 217573 w 465062"/>
                <a:gd name="connsiteY65" fmla="*/ 361714 h 658157"/>
                <a:gd name="connsiteX66" fmla="*/ 201255 w 465062"/>
                <a:gd name="connsiteY66" fmla="*/ 361714 h 658157"/>
                <a:gd name="connsiteX67" fmla="*/ 198535 w 465062"/>
                <a:gd name="connsiteY67" fmla="*/ 367154 h 658157"/>
                <a:gd name="connsiteX68" fmla="*/ 201255 w 465062"/>
                <a:gd name="connsiteY68" fmla="*/ 388911 h 658157"/>
                <a:gd name="connsiteX69" fmla="*/ 198535 w 465062"/>
                <a:gd name="connsiteY69" fmla="*/ 426986 h 658157"/>
                <a:gd name="connsiteX70" fmla="*/ 203975 w 465062"/>
                <a:gd name="connsiteY70" fmla="*/ 478660 h 658157"/>
                <a:gd name="connsiteX71" fmla="*/ 198535 w 465062"/>
                <a:gd name="connsiteY71" fmla="*/ 552090 h 658157"/>
                <a:gd name="connsiteX72" fmla="*/ 195816 w 465062"/>
                <a:gd name="connsiteY72" fmla="*/ 576567 h 658157"/>
                <a:gd name="connsiteX73" fmla="*/ 198535 w 465062"/>
                <a:gd name="connsiteY73" fmla="*/ 592885 h 658157"/>
                <a:gd name="connsiteX74" fmla="*/ 233891 w 465062"/>
                <a:gd name="connsiteY74" fmla="*/ 592885 h 658157"/>
                <a:gd name="connsiteX75" fmla="*/ 271966 w 465062"/>
                <a:gd name="connsiteY75" fmla="*/ 611923 h 658157"/>
                <a:gd name="connsiteX76" fmla="*/ 266527 w 465062"/>
                <a:gd name="connsiteY76" fmla="*/ 628241 h 658157"/>
                <a:gd name="connsiteX77" fmla="*/ 250209 w 465062"/>
                <a:gd name="connsiteY77" fmla="*/ 636400 h 658157"/>
                <a:gd name="connsiteX78" fmla="*/ 228451 w 465062"/>
                <a:gd name="connsiteY78" fmla="*/ 639119 h 658157"/>
                <a:gd name="connsiteX79" fmla="*/ 187657 w 465062"/>
                <a:gd name="connsiteY79" fmla="*/ 639119 h 658157"/>
                <a:gd name="connsiteX80" fmla="*/ 152301 w 465062"/>
                <a:gd name="connsiteY80" fmla="*/ 652717 h 658157"/>
                <a:gd name="connsiteX81" fmla="*/ 133263 w 465062"/>
                <a:gd name="connsiteY81" fmla="*/ 655437 h 658157"/>
                <a:gd name="connsiteX82" fmla="*/ 122385 w 465062"/>
                <a:gd name="connsiteY82" fmla="*/ 652717 h 658157"/>
                <a:gd name="connsiteX83" fmla="*/ 97908 w 465062"/>
                <a:gd name="connsiteY83" fmla="*/ 639119 h 658157"/>
                <a:gd name="connsiteX84" fmla="*/ 70711 w 465062"/>
                <a:gd name="connsiteY84" fmla="*/ 639119 h 658157"/>
                <a:gd name="connsiteX85" fmla="*/ 46234 w 465062"/>
                <a:gd name="connsiteY85" fmla="*/ 639119 h 658157"/>
                <a:gd name="connsiteX86" fmla="*/ 19038 w 465062"/>
                <a:gd name="connsiteY86" fmla="*/ 630960 h 658157"/>
                <a:gd name="connsiteX87" fmla="*/ 2720 w 465062"/>
                <a:gd name="connsiteY87" fmla="*/ 614642 h 658157"/>
                <a:gd name="connsiteX88" fmla="*/ 8159 w 465062"/>
                <a:gd name="connsiteY88" fmla="*/ 606483 h 658157"/>
                <a:gd name="connsiteX89" fmla="*/ 29916 w 465062"/>
                <a:gd name="connsiteY89" fmla="*/ 598324 h 658157"/>
                <a:gd name="connsiteX90" fmla="*/ 76151 w 465062"/>
                <a:gd name="connsiteY90" fmla="*/ 592885 h 658157"/>
                <a:gd name="connsiteX91" fmla="*/ 73431 w 465062"/>
                <a:gd name="connsiteY91" fmla="*/ 573848 h 658157"/>
                <a:gd name="connsiteX92" fmla="*/ 70711 w 465062"/>
                <a:gd name="connsiteY92" fmla="*/ 500417 h 658157"/>
                <a:gd name="connsiteX93" fmla="*/ 73431 w 465062"/>
                <a:gd name="connsiteY93" fmla="*/ 437865 h 658157"/>
                <a:gd name="connsiteX94" fmla="*/ 70711 w 465062"/>
                <a:gd name="connsiteY94" fmla="*/ 369873 h 658157"/>
                <a:gd name="connsiteX95" fmla="*/ 70711 w 465062"/>
                <a:gd name="connsiteY95" fmla="*/ 293723 h 658157"/>
                <a:gd name="connsiteX96" fmla="*/ 73431 w 465062"/>
                <a:gd name="connsiteY96" fmla="*/ 212133 h 658157"/>
                <a:gd name="connsiteX97" fmla="*/ 76151 w 465062"/>
                <a:gd name="connsiteY97" fmla="*/ 155021 h 658157"/>
                <a:gd name="connsiteX98" fmla="*/ 76151 w 465062"/>
                <a:gd name="connsiteY98" fmla="*/ 119665 h 658157"/>
                <a:gd name="connsiteX99" fmla="*/ 78870 w 465062"/>
                <a:gd name="connsiteY99" fmla="*/ 84310 h 658157"/>
                <a:gd name="connsiteX100" fmla="*/ 76151 w 465062"/>
                <a:gd name="connsiteY100" fmla="*/ 62552 h 658157"/>
                <a:gd name="connsiteX101" fmla="*/ 67992 w 465062"/>
                <a:gd name="connsiteY101" fmla="*/ 62552 h 658157"/>
                <a:gd name="connsiteX102" fmla="*/ 43515 w 465062"/>
                <a:gd name="connsiteY102" fmla="*/ 62552 h 658157"/>
                <a:gd name="connsiteX103" fmla="*/ 16318 w 465062"/>
                <a:gd name="connsiteY103" fmla="*/ 57113 h 658157"/>
                <a:gd name="connsiteX104" fmla="*/ 0 w 465062"/>
                <a:gd name="connsiteY104" fmla="*/ 40795 h 658157"/>
                <a:gd name="connsiteX105" fmla="*/ 5439 w 465062"/>
                <a:gd name="connsiteY105" fmla="*/ 32636 h 658157"/>
                <a:gd name="connsiteX106" fmla="*/ 27197 w 465062"/>
                <a:gd name="connsiteY106" fmla="*/ 24477 h 658157"/>
                <a:gd name="connsiteX107" fmla="*/ 76151 w 465062"/>
                <a:gd name="connsiteY107" fmla="*/ 19038 h 658157"/>
                <a:gd name="connsiteX108" fmla="*/ 78870 w 465062"/>
                <a:gd name="connsiteY108" fmla="*/ 13598 h 658157"/>
                <a:gd name="connsiteX109" fmla="*/ 95188 w 465062"/>
                <a:gd name="connsiteY109" fmla="*/ 5440 h 658157"/>
                <a:gd name="connsiteX110" fmla="*/ 111506 w 465062"/>
                <a:gd name="connsiteY110" fmla="*/ 0 h 6581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</a:cxnLst>
              <a:rect l="l" t="t" r="r" b="b"/>
              <a:pathLst>
                <a:path w="465062" h="658157">
                  <a:moveTo>
                    <a:pt x="193096" y="59832"/>
                  </a:moveTo>
                  <a:cubicBezTo>
                    <a:pt x="193096" y="73430"/>
                    <a:pt x="193096" y="89748"/>
                    <a:pt x="193096" y="114226"/>
                  </a:cubicBezTo>
                  <a:cubicBezTo>
                    <a:pt x="193096" y="144142"/>
                    <a:pt x="195816" y="176778"/>
                    <a:pt x="198536" y="209414"/>
                  </a:cubicBezTo>
                  <a:cubicBezTo>
                    <a:pt x="198536" y="247489"/>
                    <a:pt x="201255" y="277406"/>
                    <a:pt x="201255" y="282845"/>
                  </a:cubicBezTo>
                  <a:cubicBezTo>
                    <a:pt x="201255" y="293723"/>
                    <a:pt x="203975" y="304602"/>
                    <a:pt x="203975" y="315481"/>
                  </a:cubicBezTo>
                  <a:cubicBezTo>
                    <a:pt x="203975" y="318200"/>
                    <a:pt x="203975" y="318200"/>
                    <a:pt x="203975" y="320920"/>
                  </a:cubicBezTo>
                  <a:cubicBezTo>
                    <a:pt x="203975" y="326359"/>
                    <a:pt x="206695" y="329079"/>
                    <a:pt x="212134" y="329079"/>
                  </a:cubicBezTo>
                  <a:cubicBezTo>
                    <a:pt x="214854" y="329079"/>
                    <a:pt x="220293" y="329079"/>
                    <a:pt x="223013" y="329079"/>
                  </a:cubicBezTo>
                  <a:cubicBezTo>
                    <a:pt x="228452" y="329079"/>
                    <a:pt x="233891" y="329079"/>
                    <a:pt x="239331" y="329079"/>
                  </a:cubicBezTo>
                  <a:cubicBezTo>
                    <a:pt x="252929" y="329079"/>
                    <a:pt x="271967" y="323640"/>
                    <a:pt x="280126" y="312761"/>
                  </a:cubicBezTo>
                  <a:cubicBezTo>
                    <a:pt x="288284" y="304602"/>
                    <a:pt x="291004" y="299163"/>
                    <a:pt x="296443" y="288284"/>
                  </a:cubicBezTo>
                  <a:cubicBezTo>
                    <a:pt x="299163" y="277406"/>
                    <a:pt x="301883" y="269247"/>
                    <a:pt x="304602" y="258368"/>
                  </a:cubicBezTo>
                  <a:cubicBezTo>
                    <a:pt x="307322" y="244770"/>
                    <a:pt x="310042" y="239330"/>
                    <a:pt x="312761" y="225732"/>
                  </a:cubicBezTo>
                  <a:cubicBezTo>
                    <a:pt x="315481" y="212134"/>
                    <a:pt x="315481" y="209414"/>
                    <a:pt x="315481" y="195816"/>
                  </a:cubicBezTo>
                  <a:cubicBezTo>
                    <a:pt x="315481" y="179498"/>
                    <a:pt x="315481" y="184937"/>
                    <a:pt x="318201" y="168619"/>
                  </a:cubicBezTo>
                  <a:cubicBezTo>
                    <a:pt x="312761" y="152302"/>
                    <a:pt x="312761" y="149582"/>
                    <a:pt x="312761" y="135983"/>
                  </a:cubicBezTo>
                  <a:cubicBezTo>
                    <a:pt x="312761" y="133264"/>
                    <a:pt x="312761" y="127825"/>
                    <a:pt x="312761" y="122385"/>
                  </a:cubicBezTo>
                  <a:cubicBezTo>
                    <a:pt x="312761" y="111507"/>
                    <a:pt x="301883" y="95188"/>
                    <a:pt x="293724" y="84309"/>
                  </a:cubicBezTo>
                  <a:cubicBezTo>
                    <a:pt x="288284" y="78870"/>
                    <a:pt x="285565" y="76150"/>
                    <a:pt x="280126" y="73430"/>
                  </a:cubicBezTo>
                  <a:cubicBezTo>
                    <a:pt x="271967" y="67991"/>
                    <a:pt x="266527" y="65271"/>
                    <a:pt x="258368" y="62552"/>
                  </a:cubicBezTo>
                  <a:cubicBezTo>
                    <a:pt x="244770" y="59832"/>
                    <a:pt x="228452" y="59832"/>
                    <a:pt x="217573" y="59832"/>
                  </a:cubicBezTo>
                  <a:close/>
                  <a:moveTo>
                    <a:pt x="111506" y="0"/>
                  </a:moveTo>
                  <a:cubicBezTo>
                    <a:pt x="114226" y="0"/>
                    <a:pt x="122385" y="0"/>
                    <a:pt x="127824" y="0"/>
                  </a:cubicBezTo>
                  <a:cubicBezTo>
                    <a:pt x="135983" y="0"/>
                    <a:pt x="146862" y="2720"/>
                    <a:pt x="157741" y="5440"/>
                  </a:cubicBezTo>
                  <a:cubicBezTo>
                    <a:pt x="168619" y="8159"/>
                    <a:pt x="176778" y="10879"/>
                    <a:pt x="179497" y="16318"/>
                  </a:cubicBezTo>
                  <a:cubicBezTo>
                    <a:pt x="193096" y="16318"/>
                    <a:pt x="201255" y="16318"/>
                    <a:pt x="209414" y="16318"/>
                  </a:cubicBezTo>
                  <a:cubicBezTo>
                    <a:pt x="220292" y="16318"/>
                    <a:pt x="231171" y="16318"/>
                    <a:pt x="247489" y="16318"/>
                  </a:cubicBezTo>
                  <a:cubicBezTo>
                    <a:pt x="250209" y="16318"/>
                    <a:pt x="258368" y="16318"/>
                    <a:pt x="266527" y="16318"/>
                  </a:cubicBezTo>
                  <a:cubicBezTo>
                    <a:pt x="277405" y="16318"/>
                    <a:pt x="291004" y="21758"/>
                    <a:pt x="312761" y="27197"/>
                  </a:cubicBezTo>
                  <a:cubicBezTo>
                    <a:pt x="320920" y="29917"/>
                    <a:pt x="329079" y="35356"/>
                    <a:pt x="337238" y="38075"/>
                  </a:cubicBezTo>
                  <a:cubicBezTo>
                    <a:pt x="342677" y="40795"/>
                    <a:pt x="353556" y="48954"/>
                    <a:pt x="364434" y="54393"/>
                  </a:cubicBezTo>
                  <a:cubicBezTo>
                    <a:pt x="375313" y="62552"/>
                    <a:pt x="386192" y="67992"/>
                    <a:pt x="386192" y="73431"/>
                  </a:cubicBezTo>
                  <a:cubicBezTo>
                    <a:pt x="391631" y="84310"/>
                    <a:pt x="402510" y="92469"/>
                    <a:pt x="407949" y="103347"/>
                  </a:cubicBezTo>
                  <a:cubicBezTo>
                    <a:pt x="413388" y="116945"/>
                    <a:pt x="416108" y="130544"/>
                    <a:pt x="416108" y="141422"/>
                  </a:cubicBezTo>
                  <a:cubicBezTo>
                    <a:pt x="416108" y="152301"/>
                    <a:pt x="418828" y="157740"/>
                    <a:pt x="418828" y="163179"/>
                  </a:cubicBezTo>
                  <a:cubicBezTo>
                    <a:pt x="418828" y="165899"/>
                    <a:pt x="418828" y="168619"/>
                    <a:pt x="418828" y="171339"/>
                  </a:cubicBezTo>
                  <a:cubicBezTo>
                    <a:pt x="418828" y="174058"/>
                    <a:pt x="421547" y="182217"/>
                    <a:pt x="421547" y="187656"/>
                  </a:cubicBezTo>
                  <a:cubicBezTo>
                    <a:pt x="421547" y="193096"/>
                    <a:pt x="418828" y="201255"/>
                    <a:pt x="418828" y="206694"/>
                  </a:cubicBezTo>
                  <a:cubicBezTo>
                    <a:pt x="418828" y="217573"/>
                    <a:pt x="418828" y="223012"/>
                    <a:pt x="416108" y="233891"/>
                  </a:cubicBezTo>
                  <a:cubicBezTo>
                    <a:pt x="413388" y="244769"/>
                    <a:pt x="410668" y="255648"/>
                    <a:pt x="405229" y="263807"/>
                  </a:cubicBezTo>
                  <a:cubicBezTo>
                    <a:pt x="402510" y="269246"/>
                    <a:pt x="397070" y="269246"/>
                    <a:pt x="394351" y="274686"/>
                  </a:cubicBezTo>
                  <a:cubicBezTo>
                    <a:pt x="391631" y="277405"/>
                    <a:pt x="391631" y="282844"/>
                    <a:pt x="388912" y="285564"/>
                  </a:cubicBezTo>
                  <a:cubicBezTo>
                    <a:pt x="383472" y="291003"/>
                    <a:pt x="375313" y="301882"/>
                    <a:pt x="369874" y="304602"/>
                  </a:cubicBezTo>
                  <a:cubicBezTo>
                    <a:pt x="367154" y="307321"/>
                    <a:pt x="361715" y="307321"/>
                    <a:pt x="358995" y="310041"/>
                  </a:cubicBezTo>
                  <a:cubicBezTo>
                    <a:pt x="356275" y="312761"/>
                    <a:pt x="350836" y="318200"/>
                    <a:pt x="348117" y="320920"/>
                  </a:cubicBezTo>
                  <a:cubicBezTo>
                    <a:pt x="339958" y="326359"/>
                    <a:pt x="334518" y="334518"/>
                    <a:pt x="326359" y="339957"/>
                  </a:cubicBezTo>
                  <a:cubicBezTo>
                    <a:pt x="320920" y="342677"/>
                    <a:pt x="312761" y="342677"/>
                    <a:pt x="312761" y="353555"/>
                  </a:cubicBezTo>
                  <a:cubicBezTo>
                    <a:pt x="312761" y="361714"/>
                    <a:pt x="334518" y="372593"/>
                    <a:pt x="337238" y="380752"/>
                  </a:cubicBezTo>
                  <a:cubicBezTo>
                    <a:pt x="345397" y="394350"/>
                    <a:pt x="353556" y="407948"/>
                    <a:pt x="358995" y="421547"/>
                  </a:cubicBezTo>
                  <a:cubicBezTo>
                    <a:pt x="364434" y="435145"/>
                    <a:pt x="367154" y="446024"/>
                    <a:pt x="372593" y="459622"/>
                  </a:cubicBezTo>
                  <a:cubicBezTo>
                    <a:pt x="378033" y="478660"/>
                    <a:pt x="383472" y="494978"/>
                    <a:pt x="386192" y="514015"/>
                  </a:cubicBezTo>
                  <a:cubicBezTo>
                    <a:pt x="391631" y="533053"/>
                    <a:pt x="402510" y="549371"/>
                    <a:pt x="407949" y="568408"/>
                  </a:cubicBezTo>
                  <a:cubicBezTo>
                    <a:pt x="410668" y="579287"/>
                    <a:pt x="416108" y="590165"/>
                    <a:pt x="421547" y="598324"/>
                  </a:cubicBezTo>
                  <a:cubicBezTo>
                    <a:pt x="435146" y="614642"/>
                    <a:pt x="443305" y="622801"/>
                    <a:pt x="451463" y="628241"/>
                  </a:cubicBezTo>
                  <a:cubicBezTo>
                    <a:pt x="456903" y="630960"/>
                    <a:pt x="465062" y="636400"/>
                    <a:pt x="465062" y="644559"/>
                  </a:cubicBezTo>
                  <a:cubicBezTo>
                    <a:pt x="465062" y="647278"/>
                    <a:pt x="465062" y="647278"/>
                    <a:pt x="462342" y="649998"/>
                  </a:cubicBezTo>
                  <a:cubicBezTo>
                    <a:pt x="456903" y="655437"/>
                    <a:pt x="446024" y="658157"/>
                    <a:pt x="437865" y="658157"/>
                  </a:cubicBezTo>
                  <a:cubicBezTo>
                    <a:pt x="413388" y="658157"/>
                    <a:pt x="378033" y="641839"/>
                    <a:pt x="361715" y="622801"/>
                  </a:cubicBezTo>
                  <a:cubicBezTo>
                    <a:pt x="345397" y="606483"/>
                    <a:pt x="334518" y="584726"/>
                    <a:pt x="320920" y="565689"/>
                  </a:cubicBezTo>
                  <a:cubicBezTo>
                    <a:pt x="315480" y="554810"/>
                    <a:pt x="310041" y="543931"/>
                    <a:pt x="304602" y="530333"/>
                  </a:cubicBezTo>
                  <a:cubicBezTo>
                    <a:pt x="299163" y="519454"/>
                    <a:pt x="296443" y="508576"/>
                    <a:pt x="293723" y="497697"/>
                  </a:cubicBezTo>
                  <a:cubicBezTo>
                    <a:pt x="291004" y="486819"/>
                    <a:pt x="288284" y="473220"/>
                    <a:pt x="282845" y="462342"/>
                  </a:cubicBezTo>
                  <a:cubicBezTo>
                    <a:pt x="280125" y="448743"/>
                    <a:pt x="274686" y="437865"/>
                    <a:pt x="269246" y="424267"/>
                  </a:cubicBezTo>
                  <a:cubicBezTo>
                    <a:pt x="266527" y="416108"/>
                    <a:pt x="261087" y="402509"/>
                    <a:pt x="255648" y="391631"/>
                  </a:cubicBezTo>
                  <a:cubicBezTo>
                    <a:pt x="250209" y="380752"/>
                    <a:pt x="244770" y="375313"/>
                    <a:pt x="236610" y="367154"/>
                  </a:cubicBezTo>
                  <a:cubicBezTo>
                    <a:pt x="231171" y="361714"/>
                    <a:pt x="223012" y="361714"/>
                    <a:pt x="217573" y="361714"/>
                  </a:cubicBezTo>
                  <a:cubicBezTo>
                    <a:pt x="212134" y="361714"/>
                    <a:pt x="206694" y="361714"/>
                    <a:pt x="201255" y="361714"/>
                  </a:cubicBezTo>
                  <a:cubicBezTo>
                    <a:pt x="198535" y="361714"/>
                    <a:pt x="198535" y="364434"/>
                    <a:pt x="198535" y="367154"/>
                  </a:cubicBezTo>
                  <a:cubicBezTo>
                    <a:pt x="198535" y="375313"/>
                    <a:pt x="201255" y="386191"/>
                    <a:pt x="201255" y="388911"/>
                  </a:cubicBezTo>
                  <a:cubicBezTo>
                    <a:pt x="201255" y="402509"/>
                    <a:pt x="198535" y="413388"/>
                    <a:pt x="198535" y="426986"/>
                  </a:cubicBezTo>
                  <a:cubicBezTo>
                    <a:pt x="198535" y="446024"/>
                    <a:pt x="203975" y="456902"/>
                    <a:pt x="203975" y="478660"/>
                  </a:cubicBezTo>
                  <a:cubicBezTo>
                    <a:pt x="203975" y="503136"/>
                    <a:pt x="201255" y="527613"/>
                    <a:pt x="198535" y="552090"/>
                  </a:cubicBezTo>
                  <a:cubicBezTo>
                    <a:pt x="198535" y="560249"/>
                    <a:pt x="195816" y="568408"/>
                    <a:pt x="195816" y="576567"/>
                  </a:cubicBezTo>
                  <a:cubicBezTo>
                    <a:pt x="195816" y="582006"/>
                    <a:pt x="195816" y="587446"/>
                    <a:pt x="198535" y="592885"/>
                  </a:cubicBezTo>
                  <a:cubicBezTo>
                    <a:pt x="212134" y="592885"/>
                    <a:pt x="225732" y="592885"/>
                    <a:pt x="233891" y="592885"/>
                  </a:cubicBezTo>
                  <a:cubicBezTo>
                    <a:pt x="247489" y="592885"/>
                    <a:pt x="271966" y="592885"/>
                    <a:pt x="271966" y="611923"/>
                  </a:cubicBezTo>
                  <a:cubicBezTo>
                    <a:pt x="271966" y="620082"/>
                    <a:pt x="269246" y="622801"/>
                    <a:pt x="266527" y="628241"/>
                  </a:cubicBezTo>
                  <a:cubicBezTo>
                    <a:pt x="261087" y="633680"/>
                    <a:pt x="255648" y="636400"/>
                    <a:pt x="250209" y="636400"/>
                  </a:cubicBezTo>
                  <a:cubicBezTo>
                    <a:pt x="239330" y="639119"/>
                    <a:pt x="233891" y="639119"/>
                    <a:pt x="228451" y="639119"/>
                  </a:cubicBezTo>
                  <a:cubicBezTo>
                    <a:pt x="223012" y="639119"/>
                    <a:pt x="206694" y="639119"/>
                    <a:pt x="187657" y="639119"/>
                  </a:cubicBezTo>
                  <a:cubicBezTo>
                    <a:pt x="176778" y="647278"/>
                    <a:pt x="163180" y="649998"/>
                    <a:pt x="152301" y="652717"/>
                  </a:cubicBezTo>
                  <a:cubicBezTo>
                    <a:pt x="146862" y="652717"/>
                    <a:pt x="138703" y="655437"/>
                    <a:pt x="133263" y="655437"/>
                  </a:cubicBezTo>
                  <a:cubicBezTo>
                    <a:pt x="130544" y="655437"/>
                    <a:pt x="125104" y="655437"/>
                    <a:pt x="122385" y="652717"/>
                  </a:cubicBezTo>
                  <a:cubicBezTo>
                    <a:pt x="114226" y="649998"/>
                    <a:pt x="103347" y="644559"/>
                    <a:pt x="97908" y="639119"/>
                  </a:cubicBezTo>
                  <a:cubicBezTo>
                    <a:pt x="87029" y="639119"/>
                    <a:pt x="78870" y="639119"/>
                    <a:pt x="70711" y="639119"/>
                  </a:cubicBezTo>
                  <a:cubicBezTo>
                    <a:pt x="62552" y="639119"/>
                    <a:pt x="54393" y="639119"/>
                    <a:pt x="46234" y="639119"/>
                  </a:cubicBezTo>
                  <a:cubicBezTo>
                    <a:pt x="38075" y="639119"/>
                    <a:pt x="27197" y="633680"/>
                    <a:pt x="19038" y="630960"/>
                  </a:cubicBezTo>
                  <a:cubicBezTo>
                    <a:pt x="10879" y="628241"/>
                    <a:pt x="2720" y="620082"/>
                    <a:pt x="2720" y="614642"/>
                  </a:cubicBezTo>
                  <a:cubicBezTo>
                    <a:pt x="2720" y="611923"/>
                    <a:pt x="2720" y="609203"/>
                    <a:pt x="8159" y="606483"/>
                  </a:cubicBezTo>
                  <a:cubicBezTo>
                    <a:pt x="13599" y="603764"/>
                    <a:pt x="24477" y="601044"/>
                    <a:pt x="29916" y="598324"/>
                  </a:cubicBezTo>
                  <a:cubicBezTo>
                    <a:pt x="43515" y="595605"/>
                    <a:pt x="62552" y="595605"/>
                    <a:pt x="76151" y="592885"/>
                  </a:cubicBezTo>
                  <a:cubicBezTo>
                    <a:pt x="76151" y="587446"/>
                    <a:pt x="73431" y="582006"/>
                    <a:pt x="73431" y="573848"/>
                  </a:cubicBezTo>
                  <a:cubicBezTo>
                    <a:pt x="73431" y="565689"/>
                    <a:pt x="70711" y="516735"/>
                    <a:pt x="70711" y="500417"/>
                  </a:cubicBezTo>
                  <a:cubicBezTo>
                    <a:pt x="70711" y="481379"/>
                    <a:pt x="73431" y="456902"/>
                    <a:pt x="73431" y="437865"/>
                  </a:cubicBezTo>
                  <a:cubicBezTo>
                    <a:pt x="73431" y="416108"/>
                    <a:pt x="70711" y="391631"/>
                    <a:pt x="70711" y="369873"/>
                  </a:cubicBezTo>
                  <a:cubicBezTo>
                    <a:pt x="70711" y="345397"/>
                    <a:pt x="70711" y="318200"/>
                    <a:pt x="70711" y="293723"/>
                  </a:cubicBezTo>
                  <a:cubicBezTo>
                    <a:pt x="70711" y="266526"/>
                    <a:pt x="73431" y="239330"/>
                    <a:pt x="73431" y="212133"/>
                  </a:cubicBezTo>
                  <a:cubicBezTo>
                    <a:pt x="73431" y="187656"/>
                    <a:pt x="76151" y="179498"/>
                    <a:pt x="76151" y="155021"/>
                  </a:cubicBezTo>
                  <a:cubicBezTo>
                    <a:pt x="76151" y="144142"/>
                    <a:pt x="76151" y="130544"/>
                    <a:pt x="76151" y="119665"/>
                  </a:cubicBezTo>
                  <a:cubicBezTo>
                    <a:pt x="76151" y="106067"/>
                    <a:pt x="78870" y="95188"/>
                    <a:pt x="78870" y="84310"/>
                  </a:cubicBezTo>
                  <a:cubicBezTo>
                    <a:pt x="78870" y="78870"/>
                    <a:pt x="78870" y="70711"/>
                    <a:pt x="76151" y="62552"/>
                  </a:cubicBezTo>
                  <a:cubicBezTo>
                    <a:pt x="76151" y="62552"/>
                    <a:pt x="73431" y="62552"/>
                    <a:pt x="67992" y="62552"/>
                  </a:cubicBezTo>
                  <a:cubicBezTo>
                    <a:pt x="59833" y="62552"/>
                    <a:pt x="51674" y="62552"/>
                    <a:pt x="43515" y="62552"/>
                  </a:cubicBezTo>
                  <a:cubicBezTo>
                    <a:pt x="35356" y="62552"/>
                    <a:pt x="24477" y="59833"/>
                    <a:pt x="16318" y="57113"/>
                  </a:cubicBezTo>
                  <a:cubicBezTo>
                    <a:pt x="8159" y="54393"/>
                    <a:pt x="0" y="43515"/>
                    <a:pt x="0" y="40795"/>
                  </a:cubicBezTo>
                  <a:cubicBezTo>
                    <a:pt x="0" y="38075"/>
                    <a:pt x="0" y="35356"/>
                    <a:pt x="5439" y="32636"/>
                  </a:cubicBezTo>
                  <a:cubicBezTo>
                    <a:pt x="10879" y="29917"/>
                    <a:pt x="21758" y="27197"/>
                    <a:pt x="27197" y="24477"/>
                  </a:cubicBezTo>
                  <a:cubicBezTo>
                    <a:pt x="46234" y="21758"/>
                    <a:pt x="62552" y="19038"/>
                    <a:pt x="76151" y="19038"/>
                  </a:cubicBezTo>
                  <a:cubicBezTo>
                    <a:pt x="76151" y="16318"/>
                    <a:pt x="78870" y="16318"/>
                    <a:pt x="78870" y="13598"/>
                  </a:cubicBezTo>
                  <a:cubicBezTo>
                    <a:pt x="84309" y="10879"/>
                    <a:pt x="89749" y="8159"/>
                    <a:pt x="95188" y="5440"/>
                  </a:cubicBezTo>
                  <a:cubicBezTo>
                    <a:pt x="100628" y="2720"/>
                    <a:pt x="106067" y="0"/>
                    <a:pt x="111506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0" name="Freeform: Shape 49">
              <a:extLst>
                <a:ext uri="{FF2B5EF4-FFF2-40B4-BE49-F238E27FC236}">
                  <a16:creationId xmlns:a16="http://schemas.microsoft.com/office/drawing/2014/main" id="{74C54477-D660-4214-9D6F-AF9A7F0C3099}"/>
                </a:ext>
              </a:extLst>
            </p:cNvPr>
            <p:cNvSpPr/>
            <p:nvPr/>
          </p:nvSpPr>
          <p:spPr>
            <a:xfrm>
              <a:off x="8346812" y="4186718"/>
              <a:ext cx="353556" cy="761503"/>
            </a:xfrm>
            <a:custGeom>
              <a:avLst/>
              <a:gdLst>
                <a:gd name="connsiteX0" fmla="*/ 283910 w 353555"/>
                <a:gd name="connsiteY0" fmla="*/ 672820 h 761503"/>
                <a:gd name="connsiteX1" fmla="*/ 321985 w 353555"/>
                <a:gd name="connsiteY1" fmla="*/ 689138 h 761503"/>
                <a:gd name="connsiteX2" fmla="*/ 316546 w 353555"/>
                <a:gd name="connsiteY2" fmla="*/ 705456 h 761503"/>
                <a:gd name="connsiteX3" fmla="*/ 300228 w 353555"/>
                <a:gd name="connsiteY3" fmla="*/ 713615 h 761503"/>
                <a:gd name="connsiteX4" fmla="*/ 278471 w 353555"/>
                <a:gd name="connsiteY4" fmla="*/ 716335 h 761503"/>
                <a:gd name="connsiteX5" fmla="*/ 237676 w 353555"/>
                <a:gd name="connsiteY5" fmla="*/ 716335 h 761503"/>
                <a:gd name="connsiteX6" fmla="*/ 180563 w 353555"/>
                <a:gd name="connsiteY6" fmla="*/ 719054 h 761503"/>
                <a:gd name="connsiteX7" fmla="*/ 126170 w 353555"/>
                <a:gd name="connsiteY7" fmla="*/ 719054 h 761503"/>
                <a:gd name="connsiteX8" fmla="*/ 101693 w 353555"/>
                <a:gd name="connsiteY8" fmla="*/ 719054 h 761503"/>
                <a:gd name="connsiteX9" fmla="*/ 74496 w 353555"/>
                <a:gd name="connsiteY9" fmla="*/ 713615 h 761503"/>
                <a:gd name="connsiteX10" fmla="*/ 58178 w 353555"/>
                <a:gd name="connsiteY10" fmla="*/ 697297 h 761503"/>
                <a:gd name="connsiteX11" fmla="*/ 63618 w 353555"/>
                <a:gd name="connsiteY11" fmla="*/ 689138 h 761503"/>
                <a:gd name="connsiteX12" fmla="*/ 85375 w 353555"/>
                <a:gd name="connsiteY12" fmla="*/ 680979 h 761503"/>
                <a:gd name="connsiteX13" fmla="*/ 131609 w 353555"/>
                <a:gd name="connsiteY13" fmla="*/ 675540 h 761503"/>
                <a:gd name="connsiteX14" fmla="*/ 142488 w 353555"/>
                <a:gd name="connsiteY14" fmla="*/ 675540 h 761503"/>
                <a:gd name="connsiteX15" fmla="*/ 131609 w 353555"/>
                <a:gd name="connsiteY15" fmla="*/ 653783 h 761503"/>
                <a:gd name="connsiteX16" fmla="*/ 128890 w 353555"/>
                <a:gd name="connsiteY16" fmla="*/ 640184 h 761503"/>
                <a:gd name="connsiteX17" fmla="*/ 128890 w 353555"/>
                <a:gd name="connsiteY17" fmla="*/ 629306 h 761503"/>
                <a:gd name="connsiteX18" fmla="*/ 128890 w 353555"/>
                <a:gd name="connsiteY18" fmla="*/ 621147 h 761503"/>
                <a:gd name="connsiteX19" fmla="*/ 128890 w 353555"/>
                <a:gd name="connsiteY19" fmla="*/ 593950 h 761503"/>
                <a:gd name="connsiteX20" fmla="*/ 128890 w 353555"/>
                <a:gd name="connsiteY20" fmla="*/ 583072 h 761503"/>
                <a:gd name="connsiteX21" fmla="*/ 128890 w 353555"/>
                <a:gd name="connsiteY21" fmla="*/ 436210 h 761503"/>
                <a:gd name="connsiteX22" fmla="*/ 128890 w 353555"/>
                <a:gd name="connsiteY22" fmla="*/ 357340 h 761503"/>
                <a:gd name="connsiteX23" fmla="*/ 131609 w 353555"/>
                <a:gd name="connsiteY23" fmla="*/ 289349 h 761503"/>
                <a:gd name="connsiteX24" fmla="*/ 131609 w 353555"/>
                <a:gd name="connsiteY24" fmla="*/ 251274 h 761503"/>
                <a:gd name="connsiteX25" fmla="*/ 131609 w 353555"/>
                <a:gd name="connsiteY25" fmla="*/ 205040 h 761503"/>
                <a:gd name="connsiteX26" fmla="*/ 131609 w 353555"/>
                <a:gd name="connsiteY26" fmla="*/ 139768 h 761503"/>
                <a:gd name="connsiteX27" fmla="*/ 131609 w 353555"/>
                <a:gd name="connsiteY27" fmla="*/ 128889 h 761503"/>
                <a:gd name="connsiteX28" fmla="*/ 126170 w 353555"/>
                <a:gd name="connsiteY28" fmla="*/ 128889 h 761503"/>
                <a:gd name="connsiteX29" fmla="*/ 101693 w 353555"/>
                <a:gd name="connsiteY29" fmla="*/ 128889 h 761503"/>
                <a:gd name="connsiteX30" fmla="*/ 74496 w 353555"/>
                <a:gd name="connsiteY30" fmla="*/ 123450 h 761503"/>
                <a:gd name="connsiteX31" fmla="*/ 58178 w 353555"/>
                <a:gd name="connsiteY31" fmla="*/ 107132 h 761503"/>
                <a:gd name="connsiteX32" fmla="*/ 60898 w 353555"/>
                <a:gd name="connsiteY32" fmla="*/ 98973 h 761503"/>
                <a:gd name="connsiteX33" fmla="*/ 82655 w 353555"/>
                <a:gd name="connsiteY33" fmla="*/ 93534 h 761503"/>
                <a:gd name="connsiteX34" fmla="*/ 131609 w 353555"/>
                <a:gd name="connsiteY34" fmla="*/ 88094 h 761503"/>
                <a:gd name="connsiteX35" fmla="*/ 131609 w 353555"/>
                <a:gd name="connsiteY35" fmla="*/ 82655 h 761503"/>
                <a:gd name="connsiteX36" fmla="*/ 134329 w 353555"/>
                <a:gd name="connsiteY36" fmla="*/ 71776 h 761503"/>
                <a:gd name="connsiteX37" fmla="*/ 147927 w 353555"/>
                <a:gd name="connsiteY37" fmla="*/ 63617 h 761503"/>
                <a:gd name="connsiteX38" fmla="*/ 164245 w 353555"/>
                <a:gd name="connsiteY38" fmla="*/ 58178 h 761503"/>
                <a:gd name="connsiteX39" fmla="*/ 177843 w 353555"/>
                <a:gd name="connsiteY39" fmla="*/ 58178 h 761503"/>
                <a:gd name="connsiteX40" fmla="*/ 196881 w 353555"/>
                <a:gd name="connsiteY40" fmla="*/ 60898 h 761503"/>
                <a:gd name="connsiteX41" fmla="*/ 232237 w 353555"/>
                <a:gd name="connsiteY41" fmla="*/ 88094 h 761503"/>
                <a:gd name="connsiteX42" fmla="*/ 278471 w 353555"/>
                <a:gd name="connsiteY42" fmla="*/ 88094 h 761503"/>
                <a:gd name="connsiteX43" fmla="*/ 316546 w 353555"/>
                <a:gd name="connsiteY43" fmla="*/ 104412 h 761503"/>
                <a:gd name="connsiteX44" fmla="*/ 311107 w 353555"/>
                <a:gd name="connsiteY44" fmla="*/ 120730 h 761503"/>
                <a:gd name="connsiteX45" fmla="*/ 294789 w 353555"/>
                <a:gd name="connsiteY45" fmla="*/ 128889 h 761503"/>
                <a:gd name="connsiteX46" fmla="*/ 273032 w 353555"/>
                <a:gd name="connsiteY46" fmla="*/ 131609 h 761503"/>
                <a:gd name="connsiteX47" fmla="*/ 243115 w 353555"/>
                <a:gd name="connsiteY47" fmla="*/ 131609 h 761503"/>
                <a:gd name="connsiteX48" fmla="*/ 243115 w 353555"/>
                <a:gd name="connsiteY48" fmla="*/ 134329 h 761503"/>
                <a:gd name="connsiteX49" fmla="*/ 248554 w 353555"/>
                <a:gd name="connsiteY49" fmla="*/ 169684 h 761503"/>
                <a:gd name="connsiteX50" fmla="*/ 251274 w 353555"/>
                <a:gd name="connsiteY50" fmla="*/ 205040 h 761503"/>
                <a:gd name="connsiteX51" fmla="*/ 251274 w 353555"/>
                <a:gd name="connsiteY51" fmla="*/ 240395 h 761503"/>
                <a:gd name="connsiteX52" fmla="*/ 251274 w 353555"/>
                <a:gd name="connsiteY52" fmla="*/ 256713 h 761503"/>
                <a:gd name="connsiteX53" fmla="*/ 253994 w 353555"/>
                <a:gd name="connsiteY53" fmla="*/ 270311 h 761503"/>
                <a:gd name="connsiteX54" fmla="*/ 259433 w 353555"/>
                <a:gd name="connsiteY54" fmla="*/ 343742 h 761503"/>
                <a:gd name="connsiteX55" fmla="*/ 262153 w 353555"/>
                <a:gd name="connsiteY55" fmla="*/ 425332 h 761503"/>
                <a:gd name="connsiteX56" fmla="*/ 264872 w 353555"/>
                <a:gd name="connsiteY56" fmla="*/ 490603 h 761503"/>
                <a:gd name="connsiteX57" fmla="*/ 270312 w 353555"/>
                <a:gd name="connsiteY57" fmla="*/ 564034 h 761503"/>
                <a:gd name="connsiteX58" fmla="*/ 270312 w 353555"/>
                <a:gd name="connsiteY58" fmla="*/ 599390 h 761503"/>
                <a:gd name="connsiteX59" fmla="*/ 270312 w 353555"/>
                <a:gd name="connsiteY59" fmla="*/ 637465 h 761503"/>
                <a:gd name="connsiteX60" fmla="*/ 264872 w 353555"/>
                <a:gd name="connsiteY60" fmla="*/ 670101 h 761503"/>
                <a:gd name="connsiteX61" fmla="*/ 283910 w 353555"/>
                <a:gd name="connsiteY61" fmla="*/ 672820 h 761503"/>
                <a:gd name="connsiteX62" fmla="*/ 283910 w 353555"/>
                <a:gd name="connsiteY62" fmla="*/ 672820 h 761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</a:cxnLst>
              <a:rect l="l" t="t" r="r" b="b"/>
              <a:pathLst>
                <a:path w="353555" h="761503">
                  <a:moveTo>
                    <a:pt x="283910" y="672820"/>
                  </a:moveTo>
                  <a:cubicBezTo>
                    <a:pt x="297508" y="672820"/>
                    <a:pt x="321985" y="672820"/>
                    <a:pt x="321985" y="689138"/>
                  </a:cubicBezTo>
                  <a:cubicBezTo>
                    <a:pt x="321985" y="697297"/>
                    <a:pt x="319266" y="697297"/>
                    <a:pt x="316546" y="705456"/>
                  </a:cubicBezTo>
                  <a:cubicBezTo>
                    <a:pt x="311107" y="710895"/>
                    <a:pt x="305667" y="713615"/>
                    <a:pt x="300228" y="713615"/>
                  </a:cubicBezTo>
                  <a:cubicBezTo>
                    <a:pt x="292069" y="716335"/>
                    <a:pt x="283910" y="716335"/>
                    <a:pt x="278471" y="716335"/>
                  </a:cubicBezTo>
                  <a:cubicBezTo>
                    <a:pt x="275751" y="716335"/>
                    <a:pt x="256713" y="716335"/>
                    <a:pt x="237676" y="716335"/>
                  </a:cubicBezTo>
                  <a:cubicBezTo>
                    <a:pt x="213199" y="716335"/>
                    <a:pt x="186003" y="719054"/>
                    <a:pt x="180563" y="719054"/>
                  </a:cubicBezTo>
                  <a:cubicBezTo>
                    <a:pt x="166965" y="719054"/>
                    <a:pt x="142488" y="719054"/>
                    <a:pt x="126170" y="719054"/>
                  </a:cubicBezTo>
                  <a:cubicBezTo>
                    <a:pt x="118011" y="719054"/>
                    <a:pt x="109852" y="719054"/>
                    <a:pt x="101693" y="719054"/>
                  </a:cubicBezTo>
                  <a:cubicBezTo>
                    <a:pt x="93534" y="719054"/>
                    <a:pt x="82655" y="719054"/>
                    <a:pt x="74496" y="713615"/>
                  </a:cubicBezTo>
                  <a:cubicBezTo>
                    <a:pt x="66337" y="710895"/>
                    <a:pt x="58178" y="702736"/>
                    <a:pt x="58178" y="697297"/>
                  </a:cubicBezTo>
                  <a:cubicBezTo>
                    <a:pt x="58178" y="694578"/>
                    <a:pt x="58178" y="691858"/>
                    <a:pt x="63618" y="689138"/>
                  </a:cubicBezTo>
                  <a:cubicBezTo>
                    <a:pt x="69057" y="686418"/>
                    <a:pt x="79936" y="683699"/>
                    <a:pt x="85375" y="680979"/>
                  </a:cubicBezTo>
                  <a:cubicBezTo>
                    <a:pt x="104413" y="678260"/>
                    <a:pt x="123450" y="675540"/>
                    <a:pt x="131609" y="675540"/>
                  </a:cubicBezTo>
                  <a:cubicBezTo>
                    <a:pt x="134329" y="675540"/>
                    <a:pt x="137049" y="675540"/>
                    <a:pt x="142488" y="675540"/>
                  </a:cubicBezTo>
                  <a:cubicBezTo>
                    <a:pt x="134329" y="670101"/>
                    <a:pt x="131609" y="661942"/>
                    <a:pt x="131609" y="653783"/>
                  </a:cubicBezTo>
                  <a:cubicBezTo>
                    <a:pt x="131609" y="648343"/>
                    <a:pt x="131609" y="642904"/>
                    <a:pt x="128890" y="640184"/>
                  </a:cubicBezTo>
                  <a:cubicBezTo>
                    <a:pt x="128890" y="637465"/>
                    <a:pt x="128890" y="634745"/>
                    <a:pt x="128890" y="629306"/>
                  </a:cubicBezTo>
                  <a:cubicBezTo>
                    <a:pt x="128890" y="626586"/>
                    <a:pt x="128890" y="623867"/>
                    <a:pt x="128890" y="621147"/>
                  </a:cubicBezTo>
                  <a:cubicBezTo>
                    <a:pt x="128890" y="612988"/>
                    <a:pt x="128890" y="604829"/>
                    <a:pt x="128890" y="593950"/>
                  </a:cubicBezTo>
                  <a:cubicBezTo>
                    <a:pt x="128890" y="591231"/>
                    <a:pt x="128890" y="585791"/>
                    <a:pt x="128890" y="583072"/>
                  </a:cubicBezTo>
                  <a:cubicBezTo>
                    <a:pt x="128890" y="534118"/>
                    <a:pt x="131609" y="485164"/>
                    <a:pt x="128890" y="436210"/>
                  </a:cubicBezTo>
                  <a:cubicBezTo>
                    <a:pt x="128890" y="409014"/>
                    <a:pt x="128890" y="384537"/>
                    <a:pt x="128890" y="357340"/>
                  </a:cubicBezTo>
                  <a:cubicBezTo>
                    <a:pt x="128890" y="335583"/>
                    <a:pt x="131609" y="313826"/>
                    <a:pt x="131609" y="289349"/>
                  </a:cubicBezTo>
                  <a:cubicBezTo>
                    <a:pt x="131609" y="275751"/>
                    <a:pt x="131609" y="264872"/>
                    <a:pt x="131609" y="251274"/>
                  </a:cubicBezTo>
                  <a:cubicBezTo>
                    <a:pt x="131609" y="234956"/>
                    <a:pt x="131609" y="221357"/>
                    <a:pt x="131609" y="205040"/>
                  </a:cubicBezTo>
                  <a:cubicBezTo>
                    <a:pt x="131609" y="183282"/>
                    <a:pt x="131609" y="161525"/>
                    <a:pt x="131609" y="139768"/>
                  </a:cubicBezTo>
                  <a:cubicBezTo>
                    <a:pt x="131609" y="137048"/>
                    <a:pt x="131609" y="134329"/>
                    <a:pt x="131609" y="128889"/>
                  </a:cubicBezTo>
                  <a:cubicBezTo>
                    <a:pt x="128890" y="128889"/>
                    <a:pt x="126170" y="128889"/>
                    <a:pt x="126170" y="128889"/>
                  </a:cubicBezTo>
                  <a:cubicBezTo>
                    <a:pt x="118011" y="128889"/>
                    <a:pt x="109852" y="128889"/>
                    <a:pt x="101693" y="128889"/>
                  </a:cubicBezTo>
                  <a:cubicBezTo>
                    <a:pt x="93534" y="128889"/>
                    <a:pt x="82655" y="128889"/>
                    <a:pt x="74496" y="123450"/>
                  </a:cubicBezTo>
                  <a:cubicBezTo>
                    <a:pt x="66337" y="120730"/>
                    <a:pt x="58178" y="112571"/>
                    <a:pt x="58178" y="107132"/>
                  </a:cubicBezTo>
                  <a:cubicBezTo>
                    <a:pt x="58178" y="104412"/>
                    <a:pt x="58178" y="101693"/>
                    <a:pt x="60898" y="98973"/>
                  </a:cubicBezTo>
                  <a:cubicBezTo>
                    <a:pt x="63618" y="96253"/>
                    <a:pt x="77216" y="93534"/>
                    <a:pt x="82655" y="93534"/>
                  </a:cubicBezTo>
                  <a:cubicBezTo>
                    <a:pt x="98973" y="90814"/>
                    <a:pt x="123450" y="88094"/>
                    <a:pt x="131609" y="88094"/>
                  </a:cubicBezTo>
                  <a:cubicBezTo>
                    <a:pt x="131609" y="85375"/>
                    <a:pt x="131609" y="85375"/>
                    <a:pt x="131609" y="82655"/>
                  </a:cubicBezTo>
                  <a:cubicBezTo>
                    <a:pt x="131609" y="77216"/>
                    <a:pt x="131609" y="74496"/>
                    <a:pt x="134329" y="71776"/>
                  </a:cubicBezTo>
                  <a:cubicBezTo>
                    <a:pt x="137049" y="69057"/>
                    <a:pt x="145208" y="66337"/>
                    <a:pt x="147927" y="63617"/>
                  </a:cubicBezTo>
                  <a:cubicBezTo>
                    <a:pt x="153366" y="60898"/>
                    <a:pt x="158806" y="58178"/>
                    <a:pt x="164245" y="58178"/>
                  </a:cubicBezTo>
                  <a:cubicBezTo>
                    <a:pt x="169684" y="58178"/>
                    <a:pt x="175124" y="58178"/>
                    <a:pt x="177843" y="58178"/>
                  </a:cubicBezTo>
                  <a:cubicBezTo>
                    <a:pt x="183283" y="58178"/>
                    <a:pt x="191442" y="58178"/>
                    <a:pt x="196881" y="60898"/>
                  </a:cubicBezTo>
                  <a:cubicBezTo>
                    <a:pt x="213199" y="63617"/>
                    <a:pt x="224078" y="74496"/>
                    <a:pt x="232237" y="88094"/>
                  </a:cubicBezTo>
                  <a:cubicBezTo>
                    <a:pt x="253994" y="88094"/>
                    <a:pt x="270312" y="88094"/>
                    <a:pt x="278471" y="88094"/>
                  </a:cubicBezTo>
                  <a:cubicBezTo>
                    <a:pt x="292069" y="88094"/>
                    <a:pt x="316546" y="88094"/>
                    <a:pt x="316546" y="104412"/>
                  </a:cubicBezTo>
                  <a:cubicBezTo>
                    <a:pt x="316546" y="112571"/>
                    <a:pt x="313826" y="112571"/>
                    <a:pt x="311107" y="120730"/>
                  </a:cubicBezTo>
                  <a:cubicBezTo>
                    <a:pt x="305667" y="126170"/>
                    <a:pt x="300228" y="128889"/>
                    <a:pt x="294789" y="128889"/>
                  </a:cubicBezTo>
                  <a:cubicBezTo>
                    <a:pt x="286630" y="131609"/>
                    <a:pt x="278471" y="131609"/>
                    <a:pt x="273032" y="131609"/>
                  </a:cubicBezTo>
                  <a:cubicBezTo>
                    <a:pt x="270312" y="131609"/>
                    <a:pt x="259433" y="131609"/>
                    <a:pt x="243115" y="131609"/>
                  </a:cubicBezTo>
                  <a:lnTo>
                    <a:pt x="243115" y="134329"/>
                  </a:lnTo>
                  <a:cubicBezTo>
                    <a:pt x="245835" y="145207"/>
                    <a:pt x="245835" y="158805"/>
                    <a:pt x="248554" y="169684"/>
                  </a:cubicBezTo>
                  <a:cubicBezTo>
                    <a:pt x="251274" y="180563"/>
                    <a:pt x="251274" y="194161"/>
                    <a:pt x="251274" y="205040"/>
                  </a:cubicBezTo>
                  <a:cubicBezTo>
                    <a:pt x="251274" y="215918"/>
                    <a:pt x="251274" y="226797"/>
                    <a:pt x="251274" y="240395"/>
                  </a:cubicBezTo>
                  <a:cubicBezTo>
                    <a:pt x="251274" y="245834"/>
                    <a:pt x="251274" y="251274"/>
                    <a:pt x="251274" y="256713"/>
                  </a:cubicBezTo>
                  <a:cubicBezTo>
                    <a:pt x="251274" y="262152"/>
                    <a:pt x="251274" y="267592"/>
                    <a:pt x="253994" y="270311"/>
                  </a:cubicBezTo>
                  <a:cubicBezTo>
                    <a:pt x="256713" y="294788"/>
                    <a:pt x="256713" y="319265"/>
                    <a:pt x="259433" y="343742"/>
                  </a:cubicBezTo>
                  <a:cubicBezTo>
                    <a:pt x="259433" y="370939"/>
                    <a:pt x="262153" y="398135"/>
                    <a:pt x="262153" y="425332"/>
                  </a:cubicBezTo>
                  <a:cubicBezTo>
                    <a:pt x="262153" y="447089"/>
                    <a:pt x="262153" y="468846"/>
                    <a:pt x="264872" y="490603"/>
                  </a:cubicBezTo>
                  <a:cubicBezTo>
                    <a:pt x="264872" y="515080"/>
                    <a:pt x="270312" y="539557"/>
                    <a:pt x="270312" y="564034"/>
                  </a:cubicBezTo>
                  <a:cubicBezTo>
                    <a:pt x="270312" y="574913"/>
                    <a:pt x="270312" y="588511"/>
                    <a:pt x="270312" y="599390"/>
                  </a:cubicBezTo>
                  <a:cubicBezTo>
                    <a:pt x="270312" y="612988"/>
                    <a:pt x="270312" y="623867"/>
                    <a:pt x="270312" y="637465"/>
                  </a:cubicBezTo>
                  <a:cubicBezTo>
                    <a:pt x="270312" y="648343"/>
                    <a:pt x="270312" y="661942"/>
                    <a:pt x="264872" y="670101"/>
                  </a:cubicBezTo>
                  <a:cubicBezTo>
                    <a:pt x="273032" y="672820"/>
                    <a:pt x="278471" y="672820"/>
                    <a:pt x="283910" y="672820"/>
                  </a:cubicBezTo>
                  <a:lnTo>
                    <a:pt x="283910" y="672820"/>
                  </a:ln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1" name="Freeform: Shape 50">
              <a:extLst>
                <a:ext uri="{FF2B5EF4-FFF2-40B4-BE49-F238E27FC236}">
                  <a16:creationId xmlns:a16="http://schemas.microsoft.com/office/drawing/2014/main" id="{7AB18A07-F054-4F36-97CA-4DBDC6B271F5}"/>
                </a:ext>
              </a:extLst>
            </p:cNvPr>
            <p:cNvSpPr/>
            <p:nvPr/>
          </p:nvSpPr>
          <p:spPr>
            <a:xfrm>
              <a:off x="8652924" y="4192158"/>
              <a:ext cx="516735" cy="788700"/>
            </a:xfrm>
            <a:custGeom>
              <a:avLst/>
              <a:gdLst>
                <a:gd name="connsiteX0" fmla="*/ 464616 w 516735"/>
                <a:gd name="connsiteY0" fmla="*/ 436210 h 788699"/>
                <a:gd name="connsiteX1" fmla="*/ 445578 w 516735"/>
                <a:gd name="connsiteY1" fmla="*/ 455248 h 788699"/>
                <a:gd name="connsiteX2" fmla="*/ 404783 w 516735"/>
                <a:gd name="connsiteY2" fmla="*/ 466126 h 788699"/>
                <a:gd name="connsiteX3" fmla="*/ 385746 w 516735"/>
                <a:gd name="connsiteY3" fmla="*/ 479725 h 788699"/>
                <a:gd name="connsiteX4" fmla="*/ 388466 w 516735"/>
                <a:gd name="connsiteY4" fmla="*/ 512361 h 788699"/>
                <a:gd name="connsiteX5" fmla="*/ 388466 w 516735"/>
                <a:gd name="connsiteY5" fmla="*/ 544997 h 788699"/>
                <a:gd name="connsiteX6" fmla="*/ 388466 w 516735"/>
                <a:gd name="connsiteY6" fmla="*/ 566754 h 788699"/>
                <a:gd name="connsiteX7" fmla="*/ 391185 w 516735"/>
                <a:gd name="connsiteY7" fmla="*/ 632026 h 788699"/>
                <a:gd name="connsiteX8" fmla="*/ 393905 w 516735"/>
                <a:gd name="connsiteY8" fmla="*/ 683699 h 788699"/>
                <a:gd name="connsiteX9" fmla="*/ 377587 w 516735"/>
                <a:gd name="connsiteY9" fmla="*/ 724494 h 788699"/>
                <a:gd name="connsiteX10" fmla="*/ 361269 w 516735"/>
                <a:gd name="connsiteY10" fmla="*/ 719054 h 788699"/>
                <a:gd name="connsiteX11" fmla="*/ 353110 w 516735"/>
                <a:gd name="connsiteY11" fmla="*/ 702737 h 788699"/>
                <a:gd name="connsiteX12" fmla="*/ 350390 w 516735"/>
                <a:gd name="connsiteY12" fmla="*/ 686419 h 788699"/>
                <a:gd name="connsiteX13" fmla="*/ 353110 w 516735"/>
                <a:gd name="connsiteY13" fmla="*/ 659222 h 788699"/>
                <a:gd name="connsiteX14" fmla="*/ 353110 w 516735"/>
                <a:gd name="connsiteY14" fmla="*/ 656502 h 788699"/>
                <a:gd name="connsiteX15" fmla="*/ 317754 w 516735"/>
                <a:gd name="connsiteY15" fmla="*/ 708176 h 788699"/>
                <a:gd name="connsiteX16" fmla="*/ 241604 w 516735"/>
                <a:gd name="connsiteY16" fmla="*/ 735372 h 788699"/>
                <a:gd name="connsiteX17" fmla="*/ 187211 w 516735"/>
                <a:gd name="connsiteY17" fmla="*/ 727214 h 788699"/>
                <a:gd name="connsiteX18" fmla="*/ 135537 w 516735"/>
                <a:gd name="connsiteY18" fmla="*/ 694578 h 788699"/>
                <a:gd name="connsiteX19" fmla="*/ 86583 w 516735"/>
                <a:gd name="connsiteY19" fmla="*/ 621147 h 788699"/>
                <a:gd name="connsiteX20" fmla="*/ 67546 w 516735"/>
                <a:gd name="connsiteY20" fmla="*/ 555875 h 788699"/>
                <a:gd name="connsiteX21" fmla="*/ 59387 w 516735"/>
                <a:gd name="connsiteY21" fmla="*/ 509641 h 788699"/>
                <a:gd name="connsiteX22" fmla="*/ 59387 w 516735"/>
                <a:gd name="connsiteY22" fmla="*/ 468846 h 788699"/>
                <a:gd name="connsiteX23" fmla="*/ 86583 w 516735"/>
                <a:gd name="connsiteY23" fmla="*/ 302947 h 788699"/>
                <a:gd name="connsiteX24" fmla="*/ 108341 w 516735"/>
                <a:gd name="connsiteY24" fmla="*/ 224077 h 788699"/>
                <a:gd name="connsiteX25" fmla="*/ 146416 w 516735"/>
                <a:gd name="connsiteY25" fmla="*/ 145207 h 788699"/>
                <a:gd name="connsiteX26" fmla="*/ 198090 w 516735"/>
                <a:gd name="connsiteY26" fmla="*/ 85375 h 788699"/>
                <a:gd name="connsiteX27" fmla="*/ 228006 w 516735"/>
                <a:gd name="connsiteY27" fmla="*/ 69057 h 788699"/>
                <a:gd name="connsiteX28" fmla="*/ 268801 w 516735"/>
                <a:gd name="connsiteY28" fmla="*/ 58178 h 788699"/>
                <a:gd name="connsiteX29" fmla="*/ 274240 w 516735"/>
                <a:gd name="connsiteY29" fmla="*/ 58178 h 788699"/>
                <a:gd name="connsiteX30" fmla="*/ 295997 w 516735"/>
                <a:gd name="connsiteY30" fmla="*/ 60898 h 788699"/>
                <a:gd name="connsiteX31" fmla="*/ 331353 w 516735"/>
                <a:gd name="connsiteY31" fmla="*/ 71776 h 788699"/>
                <a:gd name="connsiteX32" fmla="*/ 350390 w 516735"/>
                <a:gd name="connsiteY32" fmla="*/ 93534 h 788699"/>
                <a:gd name="connsiteX33" fmla="*/ 353110 w 516735"/>
                <a:gd name="connsiteY33" fmla="*/ 74496 h 788699"/>
                <a:gd name="connsiteX34" fmla="*/ 358549 w 516735"/>
                <a:gd name="connsiteY34" fmla="*/ 63618 h 788699"/>
                <a:gd name="connsiteX35" fmla="*/ 366708 w 516735"/>
                <a:gd name="connsiteY35" fmla="*/ 58178 h 788699"/>
                <a:gd name="connsiteX36" fmla="*/ 374867 w 516735"/>
                <a:gd name="connsiteY36" fmla="*/ 63618 h 788699"/>
                <a:gd name="connsiteX37" fmla="*/ 383027 w 516735"/>
                <a:gd name="connsiteY37" fmla="*/ 82655 h 788699"/>
                <a:gd name="connsiteX38" fmla="*/ 385746 w 516735"/>
                <a:gd name="connsiteY38" fmla="*/ 126170 h 788699"/>
                <a:gd name="connsiteX39" fmla="*/ 388466 w 516735"/>
                <a:gd name="connsiteY39" fmla="*/ 186002 h 788699"/>
                <a:gd name="connsiteX40" fmla="*/ 391185 w 516735"/>
                <a:gd name="connsiteY40" fmla="*/ 237676 h 788699"/>
                <a:gd name="connsiteX41" fmla="*/ 374867 w 516735"/>
                <a:gd name="connsiteY41" fmla="*/ 278470 h 788699"/>
                <a:gd name="connsiteX42" fmla="*/ 358549 w 516735"/>
                <a:gd name="connsiteY42" fmla="*/ 273031 h 788699"/>
                <a:gd name="connsiteX43" fmla="*/ 350390 w 516735"/>
                <a:gd name="connsiteY43" fmla="*/ 256713 h 788699"/>
                <a:gd name="connsiteX44" fmla="*/ 347671 w 516735"/>
                <a:gd name="connsiteY44" fmla="*/ 240395 h 788699"/>
                <a:gd name="connsiteX45" fmla="*/ 347671 w 516735"/>
                <a:gd name="connsiteY45" fmla="*/ 213199 h 788699"/>
                <a:gd name="connsiteX46" fmla="*/ 344951 w 516735"/>
                <a:gd name="connsiteY46" fmla="*/ 194161 h 788699"/>
                <a:gd name="connsiteX47" fmla="*/ 339512 w 516735"/>
                <a:gd name="connsiteY47" fmla="*/ 150647 h 788699"/>
                <a:gd name="connsiteX48" fmla="*/ 323194 w 516735"/>
                <a:gd name="connsiteY48" fmla="*/ 112571 h 788699"/>
                <a:gd name="connsiteX49" fmla="*/ 293278 w 516735"/>
                <a:gd name="connsiteY49" fmla="*/ 101693 h 788699"/>
                <a:gd name="connsiteX50" fmla="*/ 263361 w 516735"/>
                <a:gd name="connsiteY50" fmla="*/ 120730 h 788699"/>
                <a:gd name="connsiteX51" fmla="*/ 241604 w 516735"/>
                <a:gd name="connsiteY51" fmla="*/ 153366 h 788699"/>
                <a:gd name="connsiteX52" fmla="*/ 233445 w 516735"/>
                <a:gd name="connsiteY52" fmla="*/ 194161 h 788699"/>
                <a:gd name="connsiteX53" fmla="*/ 225286 w 516735"/>
                <a:gd name="connsiteY53" fmla="*/ 232236 h 788699"/>
                <a:gd name="connsiteX54" fmla="*/ 217127 w 516735"/>
                <a:gd name="connsiteY54" fmla="*/ 275751 h 788699"/>
                <a:gd name="connsiteX55" fmla="*/ 211688 w 516735"/>
                <a:gd name="connsiteY55" fmla="*/ 316545 h 788699"/>
                <a:gd name="connsiteX56" fmla="*/ 206249 w 516735"/>
                <a:gd name="connsiteY56" fmla="*/ 354621 h 788699"/>
                <a:gd name="connsiteX57" fmla="*/ 200809 w 516735"/>
                <a:gd name="connsiteY57" fmla="*/ 398135 h 788699"/>
                <a:gd name="connsiteX58" fmla="*/ 195370 w 516735"/>
                <a:gd name="connsiteY58" fmla="*/ 438930 h 788699"/>
                <a:gd name="connsiteX59" fmla="*/ 192650 w 516735"/>
                <a:gd name="connsiteY59" fmla="*/ 474286 h 788699"/>
                <a:gd name="connsiteX60" fmla="*/ 195370 w 516735"/>
                <a:gd name="connsiteY60" fmla="*/ 525959 h 788699"/>
                <a:gd name="connsiteX61" fmla="*/ 208968 w 516735"/>
                <a:gd name="connsiteY61" fmla="*/ 596670 h 788699"/>
                <a:gd name="connsiteX62" fmla="*/ 214407 w 516735"/>
                <a:gd name="connsiteY62" fmla="*/ 623867 h 788699"/>
                <a:gd name="connsiteX63" fmla="*/ 228006 w 516735"/>
                <a:gd name="connsiteY63" fmla="*/ 656502 h 788699"/>
                <a:gd name="connsiteX64" fmla="*/ 271520 w 516735"/>
                <a:gd name="connsiteY64" fmla="*/ 689138 h 788699"/>
                <a:gd name="connsiteX65" fmla="*/ 306876 w 516735"/>
                <a:gd name="connsiteY65" fmla="*/ 664661 h 788699"/>
                <a:gd name="connsiteX66" fmla="*/ 331353 w 516735"/>
                <a:gd name="connsiteY66" fmla="*/ 602109 h 788699"/>
                <a:gd name="connsiteX67" fmla="*/ 336792 w 516735"/>
                <a:gd name="connsiteY67" fmla="*/ 544997 h 788699"/>
                <a:gd name="connsiteX68" fmla="*/ 336792 w 516735"/>
                <a:gd name="connsiteY68" fmla="*/ 498762 h 788699"/>
                <a:gd name="connsiteX69" fmla="*/ 336792 w 516735"/>
                <a:gd name="connsiteY69" fmla="*/ 490603 h 788699"/>
                <a:gd name="connsiteX70" fmla="*/ 320474 w 516735"/>
                <a:gd name="connsiteY70" fmla="*/ 477005 h 788699"/>
                <a:gd name="connsiteX71" fmla="*/ 282399 w 516735"/>
                <a:gd name="connsiteY71" fmla="*/ 479725 h 788699"/>
                <a:gd name="connsiteX72" fmla="*/ 252483 w 516735"/>
                <a:gd name="connsiteY72" fmla="*/ 474286 h 788699"/>
                <a:gd name="connsiteX73" fmla="*/ 247044 w 516735"/>
                <a:gd name="connsiteY73" fmla="*/ 466126 h 788699"/>
                <a:gd name="connsiteX74" fmla="*/ 249763 w 516735"/>
                <a:gd name="connsiteY74" fmla="*/ 457968 h 788699"/>
                <a:gd name="connsiteX75" fmla="*/ 268801 w 516735"/>
                <a:gd name="connsiteY75" fmla="*/ 447089 h 788699"/>
                <a:gd name="connsiteX76" fmla="*/ 312315 w 516735"/>
                <a:gd name="connsiteY76" fmla="*/ 436210 h 788699"/>
                <a:gd name="connsiteX77" fmla="*/ 353110 w 516735"/>
                <a:gd name="connsiteY77" fmla="*/ 430771 h 788699"/>
                <a:gd name="connsiteX78" fmla="*/ 385746 w 516735"/>
                <a:gd name="connsiteY78" fmla="*/ 430771 h 788699"/>
                <a:gd name="connsiteX79" fmla="*/ 437420 w 516735"/>
                <a:gd name="connsiteY79" fmla="*/ 428051 h 788699"/>
                <a:gd name="connsiteX80" fmla="*/ 464616 w 516735"/>
                <a:gd name="connsiteY80" fmla="*/ 436210 h 7886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</a:cxnLst>
              <a:rect l="l" t="t" r="r" b="b"/>
              <a:pathLst>
                <a:path w="516735" h="788699">
                  <a:moveTo>
                    <a:pt x="464616" y="436210"/>
                  </a:moveTo>
                  <a:cubicBezTo>
                    <a:pt x="464616" y="447089"/>
                    <a:pt x="453738" y="452528"/>
                    <a:pt x="445578" y="455248"/>
                  </a:cubicBezTo>
                  <a:cubicBezTo>
                    <a:pt x="434700" y="460687"/>
                    <a:pt x="415662" y="463407"/>
                    <a:pt x="404783" y="466126"/>
                  </a:cubicBezTo>
                  <a:cubicBezTo>
                    <a:pt x="393905" y="466126"/>
                    <a:pt x="385746" y="468846"/>
                    <a:pt x="385746" y="479725"/>
                  </a:cubicBezTo>
                  <a:cubicBezTo>
                    <a:pt x="385746" y="487884"/>
                    <a:pt x="388466" y="506921"/>
                    <a:pt x="388466" y="512361"/>
                  </a:cubicBezTo>
                  <a:cubicBezTo>
                    <a:pt x="388466" y="515080"/>
                    <a:pt x="388466" y="539557"/>
                    <a:pt x="388466" y="544997"/>
                  </a:cubicBezTo>
                  <a:cubicBezTo>
                    <a:pt x="388466" y="550436"/>
                    <a:pt x="388466" y="558595"/>
                    <a:pt x="388466" y="566754"/>
                  </a:cubicBezTo>
                  <a:cubicBezTo>
                    <a:pt x="388466" y="591231"/>
                    <a:pt x="388466" y="621147"/>
                    <a:pt x="391185" y="632026"/>
                  </a:cubicBezTo>
                  <a:cubicBezTo>
                    <a:pt x="393905" y="653783"/>
                    <a:pt x="393905" y="661942"/>
                    <a:pt x="393905" y="683699"/>
                  </a:cubicBezTo>
                  <a:cubicBezTo>
                    <a:pt x="393905" y="694578"/>
                    <a:pt x="393905" y="724494"/>
                    <a:pt x="377587" y="724494"/>
                  </a:cubicBezTo>
                  <a:cubicBezTo>
                    <a:pt x="369428" y="724494"/>
                    <a:pt x="366708" y="721774"/>
                    <a:pt x="361269" y="719054"/>
                  </a:cubicBezTo>
                  <a:cubicBezTo>
                    <a:pt x="355830" y="716335"/>
                    <a:pt x="353110" y="708176"/>
                    <a:pt x="353110" y="702737"/>
                  </a:cubicBezTo>
                  <a:cubicBezTo>
                    <a:pt x="350390" y="694578"/>
                    <a:pt x="350390" y="689138"/>
                    <a:pt x="350390" y="686419"/>
                  </a:cubicBezTo>
                  <a:cubicBezTo>
                    <a:pt x="350390" y="678260"/>
                    <a:pt x="353110" y="672820"/>
                    <a:pt x="353110" y="659222"/>
                  </a:cubicBezTo>
                  <a:lnTo>
                    <a:pt x="353110" y="656502"/>
                  </a:lnTo>
                  <a:cubicBezTo>
                    <a:pt x="347671" y="675540"/>
                    <a:pt x="334073" y="694578"/>
                    <a:pt x="317754" y="708176"/>
                  </a:cubicBezTo>
                  <a:cubicBezTo>
                    <a:pt x="293278" y="727214"/>
                    <a:pt x="274240" y="735372"/>
                    <a:pt x="241604" y="735372"/>
                  </a:cubicBezTo>
                  <a:cubicBezTo>
                    <a:pt x="222566" y="735372"/>
                    <a:pt x="203529" y="732653"/>
                    <a:pt x="187211" y="727214"/>
                  </a:cubicBezTo>
                  <a:cubicBezTo>
                    <a:pt x="165454" y="719054"/>
                    <a:pt x="149136" y="708176"/>
                    <a:pt x="135537" y="694578"/>
                  </a:cubicBezTo>
                  <a:cubicBezTo>
                    <a:pt x="113780" y="672820"/>
                    <a:pt x="100182" y="648343"/>
                    <a:pt x="86583" y="621147"/>
                  </a:cubicBezTo>
                  <a:cubicBezTo>
                    <a:pt x="75705" y="599390"/>
                    <a:pt x="70266" y="580352"/>
                    <a:pt x="67546" y="555875"/>
                  </a:cubicBezTo>
                  <a:cubicBezTo>
                    <a:pt x="64826" y="539557"/>
                    <a:pt x="62107" y="525959"/>
                    <a:pt x="59387" y="509641"/>
                  </a:cubicBezTo>
                  <a:cubicBezTo>
                    <a:pt x="56667" y="493323"/>
                    <a:pt x="59387" y="485164"/>
                    <a:pt x="59387" y="468846"/>
                  </a:cubicBezTo>
                  <a:cubicBezTo>
                    <a:pt x="59387" y="414453"/>
                    <a:pt x="72985" y="362780"/>
                    <a:pt x="86583" y="302947"/>
                  </a:cubicBezTo>
                  <a:cubicBezTo>
                    <a:pt x="92023" y="275751"/>
                    <a:pt x="100182" y="248554"/>
                    <a:pt x="108341" y="224077"/>
                  </a:cubicBezTo>
                  <a:cubicBezTo>
                    <a:pt x="116500" y="196881"/>
                    <a:pt x="130098" y="169684"/>
                    <a:pt x="146416" y="145207"/>
                  </a:cubicBezTo>
                  <a:cubicBezTo>
                    <a:pt x="160014" y="123450"/>
                    <a:pt x="176332" y="101693"/>
                    <a:pt x="198090" y="85375"/>
                  </a:cubicBezTo>
                  <a:cubicBezTo>
                    <a:pt x="206249" y="77216"/>
                    <a:pt x="217127" y="71776"/>
                    <a:pt x="228006" y="69057"/>
                  </a:cubicBezTo>
                  <a:cubicBezTo>
                    <a:pt x="241604" y="63618"/>
                    <a:pt x="255202" y="58178"/>
                    <a:pt x="268801" y="58178"/>
                  </a:cubicBezTo>
                  <a:cubicBezTo>
                    <a:pt x="271520" y="58178"/>
                    <a:pt x="274240" y="58178"/>
                    <a:pt x="274240" y="58178"/>
                  </a:cubicBezTo>
                  <a:cubicBezTo>
                    <a:pt x="279679" y="58178"/>
                    <a:pt x="285119" y="58178"/>
                    <a:pt x="295997" y="60898"/>
                  </a:cubicBezTo>
                  <a:cubicBezTo>
                    <a:pt x="309595" y="63618"/>
                    <a:pt x="320474" y="66337"/>
                    <a:pt x="331353" y="71776"/>
                  </a:cubicBezTo>
                  <a:cubicBezTo>
                    <a:pt x="339512" y="77216"/>
                    <a:pt x="347671" y="85375"/>
                    <a:pt x="350390" y="93534"/>
                  </a:cubicBezTo>
                  <a:cubicBezTo>
                    <a:pt x="350390" y="88095"/>
                    <a:pt x="353110" y="79936"/>
                    <a:pt x="353110" y="74496"/>
                  </a:cubicBezTo>
                  <a:cubicBezTo>
                    <a:pt x="355830" y="71776"/>
                    <a:pt x="355830" y="69057"/>
                    <a:pt x="358549" y="63618"/>
                  </a:cubicBezTo>
                  <a:cubicBezTo>
                    <a:pt x="361269" y="60898"/>
                    <a:pt x="363989" y="58178"/>
                    <a:pt x="366708" y="58178"/>
                  </a:cubicBezTo>
                  <a:cubicBezTo>
                    <a:pt x="369428" y="58178"/>
                    <a:pt x="372148" y="60898"/>
                    <a:pt x="374867" y="63618"/>
                  </a:cubicBezTo>
                  <a:cubicBezTo>
                    <a:pt x="377587" y="69057"/>
                    <a:pt x="380307" y="77216"/>
                    <a:pt x="383027" y="82655"/>
                  </a:cubicBezTo>
                  <a:cubicBezTo>
                    <a:pt x="383027" y="90814"/>
                    <a:pt x="385746" y="107132"/>
                    <a:pt x="385746" y="126170"/>
                  </a:cubicBezTo>
                  <a:cubicBezTo>
                    <a:pt x="385746" y="150647"/>
                    <a:pt x="385746" y="177843"/>
                    <a:pt x="388466" y="186002"/>
                  </a:cubicBezTo>
                  <a:cubicBezTo>
                    <a:pt x="391185" y="207759"/>
                    <a:pt x="391185" y="215918"/>
                    <a:pt x="391185" y="237676"/>
                  </a:cubicBezTo>
                  <a:cubicBezTo>
                    <a:pt x="391185" y="248554"/>
                    <a:pt x="391185" y="278470"/>
                    <a:pt x="374867" y="278470"/>
                  </a:cubicBezTo>
                  <a:cubicBezTo>
                    <a:pt x="366708" y="278470"/>
                    <a:pt x="363989" y="275751"/>
                    <a:pt x="358549" y="273031"/>
                  </a:cubicBezTo>
                  <a:cubicBezTo>
                    <a:pt x="353110" y="270311"/>
                    <a:pt x="350390" y="262152"/>
                    <a:pt x="350390" y="256713"/>
                  </a:cubicBezTo>
                  <a:cubicBezTo>
                    <a:pt x="350390" y="251274"/>
                    <a:pt x="347671" y="245834"/>
                    <a:pt x="347671" y="240395"/>
                  </a:cubicBezTo>
                  <a:cubicBezTo>
                    <a:pt x="347671" y="232236"/>
                    <a:pt x="347671" y="224077"/>
                    <a:pt x="347671" y="213199"/>
                  </a:cubicBezTo>
                  <a:cubicBezTo>
                    <a:pt x="347671" y="207759"/>
                    <a:pt x="347671" y="199600"/>
                    <a:pt x="344951" y="194161"/>
                  </a:cubicBezTo>
                  <a:cubicBezTo>
                    <a:pt x="342232" y="180563"/>
                    <a:pt x="342232" y="164245"/>
                    <a:pt x="339512" y="150647"/>
                  </a:cubicBezTo>
                  <a:cubicBezTo>
                    <a:pt x="336792" y="137048"/>
                    <a:pt x="331353" y="123450"/>
                    <a:pt x="323194" y="112571"/>
                  </a:cubicBezTo>
                  <a:cubicBezTo>
                    <a:pt x="317754" y="104412"/>
                    <a:pt x="304156" y="101693"/>
                    <a:pt x="293278" y="101693"/>
                  </a:cubicBezTo>
                  <a:cubicBezTo>
                    <a:pt x="279679" y="101693"/>
                    <a:pt x="271520" y="109852"/>
                    <a:pt x="263361" y="120730"/>
                  </a:cubicBezTo>
                  <a:cubicBezTo>
                    <a:pt x="257922" y="131609"/>
                    <a:pt x="247044" y="139768"/>
                    <a:pt x="241604" y="153366"/>
                  </a:cubicBezTo>
                  <a:cubicBezTo>
                    <a:pt x="236165" y="166964"/>
                    <a:pt x="233445" y="180563"/>
                    <a:pt x="233445" y="194161"/>
                  </a:cubicBezTo>
                  <a:cubicBezTo>
                    <a:pt x="233445" y="207759"/>
                    <a:pt x="230725" y="218638"/>
                    <a:pt x="225286" y="232236"/>
                  </a:cubicBezTo>
                  <a:cubicBezTo>
                    <a:pt x="219847" y="245834"/>
                    <a:pt x="219847" y="262152"/>
                    <a:pt x="217127" y="275751"/>
                  </a:cubicBezTo>
                  <a:cubicBezTo>
                    <a:pt x="214407" y="289349"/>
                    <a:pt x="214407" y="302947"/>
                    <a:pt x="211688" y="316545"/>
                  </a:cubicBezTo>
                  <a:cubicBezTo>
                    <a:pt x="211688" y="330144"/>
                    <a:pt x="206249" y="341022"/>
                    <a:pt x="206249" y="354621"/>
                  </a:cubicBezTo>
                  <a:cubicBezTo>
                    <a:pt x="203529" y="368219"/>
                    <a:pt x="203529" y="381817"/>
                    <a:pt x="200809" y="398135"/>
                  </a:cubicBezTo>
                  <a:cubicBezTo>
                    <a:pt x="198090" y="411733"/>
                    <a:pt x="198090" y="425332"/>
                    <a:pt x="195370" y="438930"/>
                  </a:cubicBezTo>
                  <a:cubicBezTo>
                    <a:pt x="195370" y="449809"/>
                    <a:pt x="192650" y="463407"/>
                    <a:pt x="192650" y="474286"/>
                  </a:cubicBezTo>
                  <a:cubicBezTo>
                    <a:pt x="192650" y="490603"/>
                    <a:pt x="195370" y="509641"/>
                    <a:pt x="195370" y="525959"/>
                  </a:cubicBezTo>
                  <a:cubicBezTo>
                    <a:pt x="195370" y="550436"/>
                    <a:pt x="203529" y="572193"/>
                    <a:pt x="208968" y="596670"/>
                  </a:cubicBezTo>
                  <a:cubicBezTo>
                    <a:pt x="211688" y="604829"/>
                    <a:pt x="211688" y="615708"/>
                    <a:pt x="214407" y="623867"/>
                  </a:cubicBezTo>
                  <a:cubicBezTo>
                    <a:pt x="217127" y="634745"/>
                    <a:pt x="222566" y="645624"/>
                    <a:pt x="228006" y="656502"/>
                  </a:cubicBezTo>
                  <a:cubicBezTo>
                    <a:pt x="236165" y="670101"/>
                    <a:pt x="252483" y="689138"/>
                    <a:pt x="271520" y="689138"/>
                  </a:cubicBezTo>
                  <a:cubicBezTo>
                    <a:pt x="287838" y="689138"/>
                    <a:pt x="298717" y="675540"/>
                    <a:pt x="306876" y="664661"/>
                  </a:cubicBezTo>
                  <a:cubicBezTo>
                    <a:pt x="320474" y="645624"/>
                    <a:pt x="325914" y="623867"/>
                    <a:pt x="331353" y="602109"/>
                  </a:cubicBezTo>
                  <a:cubicBezTo>
                    <a:pt x="334073" y="583072"/>
                    <a:pt x="336792" y="564034"/>
                    <a:pt x="336792" y="544997"/>
                  </a:cubicBezTo>
                  <a:cubicBezTo>
                    <a:pt x="336792" y="531398"/>
                    <a:pt x="336792" y="512361"/>
                    <a:pt x="336792" y="498762"/>
                  </a:cubicBezTo>
                  <a:cubicBezTo>
                    <a:pt x="336792" y="496043"/>
                    <a:pt x="336792" y="493323"/>
                    <a:pt x="336792" y="490603"/>
                  </a:cubicBezTo>
                  <a:cubicBezTo>
                    <a:pt x="336792" y="479725"/>
                    <a:pt x="336792" y="477005"/>
                    <a:pt x="320474" y="477005"/>
                  </a:cubicBezTo>
                  <a:cubicBezTo>
                    <a:pt x="309595" y="477005"/>
                    <a:pt x="295997" y="479725"/>
                    <a:pt x="282399" y="479725"/>
                  </a:cubicBezTo>
                  <a:cubicBezTo>
                    <a:pt x="271520" y="479725"/>
                    <a:pt x="260642" y="479725"/>
                    <a:pt x="252483" y="474286"/>
                  </a:cubicBezTo>
                  <a:cubicBezTo>
                    <a:pt x="249763" y="471566"/>
                    <a:pt x="247044" y="468846"/>
                    <a:pt x="247044" y="466126"/>
                  </a:cubicBezTo>
                  <a:cubicBezTo>
                    <a:pt x="247044" y="463407"/>
                    <a:pt x="247044" y="460687"/>
                    <a:pt x="249763" y="457968"/>
                  </a:cubicBezTo>
                  <a:cubicBezTo>
                    <a:pt x="255202" y="452528"/>
                    <a:pt x="260642" y="449809"/>
                    <a:pt x="268801" y="447089"/>
                  </a:cubicBezTo>
                  <a:cubicBezTo>
                    <a:pt x="282399" y="441650"/>
                    <a:pt x="295997" y="438930"/>
                    <a:pt x="312315" y="436210"/>
                  </a:cubicBezTo>
                  <a:cubicBezTo>
                    <a:pt x="325914" y="433491"/>
                    <a:pt x="339512" y="433491"/>
                    <a:pt x="353110" y="430771"/>
                  </a:cubicBezTo>
                  <a:cubicBezTo>
                    <a:pt x="363989" y="430771"/>
                    <a:pt x="374867" y="430771"/>
                    <a:pt x="385746" y="430771"/>
                  </a:cubicBezTo>
                  <a:cubicBezTo>
                    <a:pt x="402064" y="430771"/>
                    <a:pt x="426541" y="428051"/>
                    <a:pt x="437420" y="428051"/>
                  </a:cubicBezTo>
                  <a:cubicBezTo>
                    <a:pt x="451018" y="422612"/>
                    <a:pt x="464616" y="425332"/>
                    <a:pt x="464616" y="436210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2" name="Freeform: Shape 51">
              <a:extLst>
                <a:ext uri="{FF2B5EF4-FFF2-40B4-BE49-F238E27FC236}">
                  <a16:creationId xmlns:a16="http://schemas.microsoft.com/office/drawing/2014/main" id="{FD1E386E-E3EA-4515-B634-C0D94651C931}"/>
                </a:ext>
              </a:extLst>
            </p:cNvPr>
            <p:cNvSpPr/>
            <p:nvPr/>
          </p:nvSpPr>
          <p:spPr>
            <a:xfrm>
              <a:off x="9053923" y="4178559"/>
              <a:ext cx="625521" cy="788700"/>
            </a:xfrm>
            <a:custGeom>
              <a:avLst/>
              <a:gdLst>
                <a:gd name="connsiteX0" fmla="*/ 536838 w 625521"/>
                <a:gd name="connsiteY0" fmla="*/ 680979 h 788699"/>
                <a:gd name="connsiteX1" fmla="*/ 574913 w 625521"/>
                <a:gd name="connsiteY1" fmla="*/ 697297 h 788699"/>
                <a:gd name="connsiteX2" fmla="*/ 566755 w 625521"/>
                <a:gd name="connsiteY2" fmla="*/ 713615 h 788699"/>
                <a:gd name="connsiteX3" fmla="*/ 550437 w 625521"/>
                <a:gd name="connsiteY3" fmla="*/ 721774 h 788699"/>
                <a:gd name="connsiteX4" fmla="*/ 528680 w 625521"/>
                <a:gd name="connsiteY4" fmla="*/ 724494 h 788699"/>
                <a:gd name="connsiteX5" fmla="*/ 417174 w 625521"/>
                <a:gd name="connsiteY5" fmla="*/ 724494 h 788699"/>
                <a:gd name="connsiteX6" fmla="*/ 398136 w 625521"/>
                <a:gd name="connsiteY6" fmla="*/ 724494 h 788699"/>
                <a:gd name="connsiteX7" fmla="*/ 373659 w 625521"/>
                <a:gd name="connsiteY7" fmla="*/ 724494 h 788699"/>
                <a:gd name="connsiteX8" fmla="*/ 346462 w 625521"/>
                <a:gd name="connsiteY8" fmla="*/ 719054 h 788699"/>
                <a:gd name="connsiteX9" fmla="*/ 330144 w 625521"/>
                <a:gd name="connsiteY9" fmla="*/ 702737 h 788699"/>
                <a:gd name="connsiteX10" fmla="*/ 335584 w 625521"/>
                <a:gd name="connsiteY10" fmla="*/ 694578 h 788699"/>
                <a:gd name="connsiteX11" fmla="*/ 357341 w 625521"/>
                <a:gd name="connsiteY11" fmla="*/ 686419 h 788699"/>
                <a:gd name="connsiteX12" fmla="*/ 395416 w 625521"/>
                <a:gd name="connsiteY12" fmla="*/ 680979 h 788699"/>
                <a:gd name="connsiteX13" fmla="*/ 381817 w 625521"/>
                <a:gd name="connsiteY13" fmla="*/ 656502 h 788699"/>
                <a:gd name="connsiteX14" fmla="*/ 379098 w 625521"/>
                <a:gd name="connsiteY14" fmla="*/ 585791 h 788699"/>
                <a:gd name="connsiteX15" fmla="*/ 379098 w 625521"/>
                <a:gd name="connsiteY15" fmla="*/ 517800 h 788699"/>
                <a:gd name="connsiteX16" fmla="*/ 379098 w 625521"/>
                <a:gd name="connsiteY16" fmla="*/ 474286 h 788699"/>
                <a:gd name="connsiteX17" fmla="*/ 379098 w 625521"/>
                <a:gd name="connsiteY17" fmla="*/ 430771 h 788699"/>
                <a:gd name="connsiteX18" fmla="*/ 381817 w 625521"/>
                <a:gd name="connsiteY18" fmla="*/ 411733 h 788699"/>
                <a:gd name="connsiteX19" fmla="*/ 379098 w 625521"/>
                <a:gd name="connsiteY19" fmla="*/ 400855 h 788699"/>
                <a:gd name="connsiteX20" fmla="*/ 370939 w 625521"/>
                <a:gd name="connsiteY20" fmla="*/ 398135 h 788699"/>
                <a:gd name="connsiteX21" fmla="*/ 338304 w 625521"/>
                <a:gd name="connsiteY21" fmla="*/ 400855 h 788699"/>
                <a:gd name="connsiteX22" fmla="*/ 289349 w 625521"/>
                <a:gd name="connsiteY22" fmla="*/ 403575 h 788699"/>
                <a:gd name="connsiteX23" fmla="*/ 264872 w 625521"/>
                <a:gd name="connsiteY23" fmla="*/ 400855 h 788699"/>
                <a:gd name="connsiteX24" fmla="*/ 259433 w 625521"/>
                <a:gd name="connsiteY24" fmla="*/ 406294 h 788699"/>
                <a:gd name="connsiteX25" fmla="*/ 259433 w 625521"/>
                <a:gd name="connsiteY25" fmla="*/ 425332 h 788699"/>
                <a:gd name="connsiteX26" fmla="*/ 259433 w 625521"/>
                <a:gd name="connsiteY26" fmla="*/ 449809 h 788699"/>
                <a:gd name="connsiteX27" fmla="*/ 259433 w 625521"/>
                <a:gd name="connsiteY27" fmla="*/ 471566 h 788699"/>
                <a:gd name="connsiteX28" fmla="*/ 259433 w 625521"/>
                <a:gd name="connsiteY28" fmla="*/ 504202 h 788699"/>
                <a:gd name="connsiteX29" fmla="*/ 259433 w 625521"/>
                <a:gd name="connsiteY29" fmla="*/ 509641 h 788699"/>
                <a:gd name="connsiteX30" fmla="*/ 256714 w 625521"/>
                <a:gd name="connsiteY30" fmla="*/ 542277 h 788699"/>
                <a:gd name="connsiteX31" fmla="*/ 256714 w 625521"/>
                <a:gd name="connsiteY31" fmla="*/ 577632 h 788699"/>
                <a:gd name="connsiteX32" fmla="*/ 256714 w 625521"/>
                <a:gd name="connsiteY32" fmla="*/ 612988 h 788699"/>
                <a:gd name="connsiteX33" fmla="*/ 253994 w 625521"/>
                <a:gd name="connsiteY33" fmla="*/ 656502 h 788699"/>
                <a:gd name="connsiteX34" fmla="*/ 256714 w 625521"/>
                <a:gd name="connsiteY34" fmla="*/ 678260 h 788699"/>
                <a:gd name="connsiteX35" fmla="*/ 286629 w 625521"/>
                <a:gd name="connsiteY35" fmla="*/ 694578 h 788699"/>
                <a:gd name="connsiteX36" fmla="*/ 281191 w 625521"/>
                <a:gd name="connsiteY36" fmla="*/ 710895 h 788699"/>
                <a:gd name="connsiteX37" fmla="*/ 264872 w 625521"/>
                <a:gd name="connsiteY37" fmla="*/ 719054 h 788699"/>
                <a:gd name="connsiteX38" fmla="*/ 243116 w 625521"/>
                <a:gd name="connsiteY38" fmla="*/ 721774 h 788699"/>
                <a:gd name="connsiteX39" fmla="*/ 243116 w 625521"/>
                <a:gd name="connsiteY39" fmla="*/ 721774 h 788699"/>
                <a:gd name="connsiteX40" fmla="*/ 232236 w 625521"/>
                <a:gd name="connsiteY40" fmla="*/ 727214 h 788699"/>
                <a:gd name="connsiteX41" fmla="*/ 224078 w 625521"/>
                <a:gd name="connsiteY41" fmla="*/ 735372 h 788699"/>
                <a:gd name="connsiteX42" fmla="*/ 213199 w 625521"/>
                <a:gd name="connsiteY42" fmla="*/ 738092 h 788699"/>
                <a:gd name="connsiteX43" fmla="*/ 183283 w 625521"/>
                <a:gd name="connsiteY43" fmla="*/ 727214 h 788699"/>
                <a:gd name="connsiteX44" fmla="*/ 175124 w 625521"/>
                <a:gd name="connsiteY44" fmla="*/ 719054 h 788699"/>
                <a:gd name="connsiteX45" fmla="*/ 145208 w 625521"/>
                <a:gd name="connsiteY45" fmla="*/ 719054 h 788699"/>
                <a:gd name="connsiteX46" fmla="*/ 126170 w 625521"/>
                <a:gd name="connsiteY46" fmla="*/ 719054 h 788699"/>
                <a:gd name="connsiteX47" fmla="*/ 101693 w 625521"/>
                <a:gd name="connsiteY47" fmla="*/ 719054 h 788699"/>
                <a:gd name="connsiteX48" fmla="*/ 74496 w 625521"/>
                <a:gd name="connsiteY48" fmla="*/ 713615 h 788699"/>
                <a:gd name="connsiteX49" fmla="*/ 58178 w 625521"/>
                <a:gd name="connsiteY49" fmla="*/ 697297 h 788699"/>
                <a:gd name="connsiteX50" fmla="*/ 63618 w 625521"/>
                <a:gd name="connsiteY50" fmla="*/ 689138 h 788699"/>
                <a:gd name="connsiteX51" fmla="*/ 85375 w 625521"/>
                <a:gd name="connsiteY51" fmla="*/ 680979 h 788699"/>
                <a:gd name="connsiteX52" fmla="*/ 131609 w 625521"/>
                <a:gd name="connsiteY52" fmla="*/ 675540 h 788699"/>
                <a:gd name="connsiteX53" fmla="*/ 131609 w 625521"/>
                <a:gd name="connsiteY53" fmla="*/ 667381 h 788699"/>
                <a:gd name="connsiteX54" fmla="*/ 131609 w 625521"/>
                <a:gd name="connsiteY54" fmla="*/ 651063 h 788699"/>
                <a:gd name="connsiteX55" fmla="*/ 131609 w 625521"/>
                <a:gd name="connsiteY55" fmla="*/ 618427 h 788699"/>
                <a:gd name="connsiteX56" fmla="*/ 131609 w 625521"/>
                <a:gd name="connsiteY56" fmla="*/ 580352 h 788699"/>
                <a:gd name="connsiteX57" fmla="*/ 131609 w 625521"/>
                <a:gd name="connsiteY57" fmla="*/ 531398 h 788699"/>
                <a:gd name="connsiteX58" fmla="*/ 131609 w 625521"/>
                <a:gd name="connsiteY58" fmla="*/ 466126 h 788699"/>
                <a:gd name="connsiteX59" fmla="*/ 131609 w 625521"/>
                <a:gd name="connsiteY59" fmla="*/ 422612 h 788699"/>
                <a:gd name="connsiteX60" fmla="*/ 131609 w 625521"/>
                <a:gd name="connsiteY60" fmla="*/ 411733 h 788699"/>
                <a:gd name="connsiteX61" fmla="*/ 131609 w 625521"/>
                <a:gd name="connsiteY61" fmla="*/ 398135 h 788699"/>
                <a:gd name="connsiteX62" fmla="*/ 126170 w 625521"/>
                <a:gd name="connsiteY62" fmla="*/ 389976 h 788699"/>
                <a:gd name="connsiteX63" fmla="*/ 101693 w 625521"/>
                <a:gd name="connsiteY63" fmla="*/ 387257 h 788699"/>
                <a:gd name="connsiteX64" fmla="*/ 77216 w 625521"/>
                <a:gd name="connsiteY64" fmla="*/ 376378 h 788699"/>
                <a:gd name="connsiteX65" fmla="*/ 82655 w 625521"/>
                <a:gd name="connsiteY65" fmla="*/ 368219 h 788699"/>
                <a:gd name="connsiteX66" fmla="*/ 98973 w 625521"/>
                <a:gd name="connsiteY66" fmla="*/ 360060 h 788699"/>
                <a:gd name="connsiteX67" fmla="*/ 118011 w 625521"/>
                <a:gd name="connsiteY67" fmla="*/ 357340 h 788699"/>
                <a:gd name="connsiteX68" fmla="*/ 131609 w 625521"/>
                <a:gd name="connsiteY68" fmla="*/ 351901 h 788699"/>
                <a:gd name="connsiteX69" fmla="*/ 131609 w 625521"/>
                <a:gd name="connsiteY69" fmla="*/ 343742 h 788699"/>
                <a:gd name="connsiteX70" fmla="*/ 131609 w 625521"/>
                <a:gd name="connsiteY70" fmla="*/ 270311 h 788699"/>
                <a:gd name="connsiteX71" fmla="*/ 137048 w 625521"/>
                <a:gd name="connsiteY71" fmla="*/ 145207 h 788699"/>
                <a:gd name="connsiteX72" fmla="*/ 139768 w 625521"/>
                <a:gd name="connsiteY72" fmla="*/ 123450 h 788699"/>
                <a:gd name="connsiteX73" fmla="*/ 123450 w 625521"/>
                <a:gd name="connsiteY73" fmla="*/ 123450 h 788699"/>
                <a:gd name="connsiteX74" fmla="*/ 118011 w 625521"/>
                <a:gd name="connsiteY74" fmla="*/ 123450 h 788699"/>
                <a:gd name="connsiteX75" fmla="*/ 101693 w 625521"/>
                <a:gd name="connsiteY75" fmla="*/ 123450 h 788699"/>
                <a:gd name="connsiteX76" fmla="*/ 74496 w 625521"/>
                <a:gd name="connsiteY76" fmla="*/ 118011 h 788699"/>
                <a:gd name="connsiteX77" fmla="*/ 58178 w 625521"/>
                <a:gd name="connsiteY77" fmla="*/ 101693 h 788699"/>
                <a:gd name="connsiteX78" fmla="*/ 63618 w 625521"/>
                <a:gd name="connsiteY78" fmla="*/ 93534 h 788699"/>
                <a:gd name="connsiteX79" fmla="*/ 85375 w 625521"/>
                <a:gd name="connsiteY79" fmla="*/ 85375 h 788699"/>
                <a:gd name="connsiteX80" fmla="*/ 137048 w 625521"/>
                <a:gd name="connsiteY80" fmla="*/ 82655 h 788699"/>
                <a:gd name="connsiteX81" fmla="*/ 147927 w 625521"/>
                <a:gd name="connsiteY81" fmla="*/ 82655 h 788699"/>
                <a:gd name="connsiteX82" fmla="*/ 186003 w 625521"/>
                <a:gd name="connsiteY82" fmla="*/ 58178 h 788699"/>
                <a:gd name="connsiteX83" fmla="*/ 226797 w 625521"/>
                <a:gd name="connsiteY83" fmla="*/ 79936 h 788699"/>
                <a:gd name="connsiteX84" fmla="*/ 253994 w 625521"/>
                <a:gd name="connsiteY84" fmla="*/ 79936 h 788699"/>
                <a:gd name="connsiteX85" fmla="*/ 294789 w 625521"/>
                <a:gd name="connsiteY85" fmla="*/ 96253 h 788699"/>
                <a:gd name="connsiteX86" fmla="*/ 283910 w 625521"/>
                <a:gd name="connsiteY86" fmla="*/ 112571 h 788699"/>
                <a:gd name="connsiteX87" fmla="*/ 267592 w 625521"/>
                <a:gd name="connsiteY87" fmla="*/ 120730 h 788699"/>
                <a:gd name="connsiteX88" fmla="*/ 245835 w 625521"/>
                <a:gd name="connsiteY88" fmla="*/ 123450 h 788699"/>
                <a:gd name="connsiteX89" fmla="*/ 237676 w 625521"/>
                <a:gd name="connsiteY89" fmla="*/ 123450 h 788699"/>
                <a:gd name="connsiteX90" fmla="*/ 240396 w 625521"/>
                <a:gd name="connsiteY90" fmla="*/ 128889 h 788699"/>
                <a:gd name="connsiteX91" fmla="*/ 251274 w 625521"/>
                <a:gd name="connsiteY91" fmla="*/ 177843 h 788699"/>
                <a:gd name="connsiteX92" fmla="*/ 256714 w 625521"/>
                <a:gd name="connsiteY92" fmla="*/ 226797 h 788699"/>
                <a:gd name="connsiteX93" fmla="*/ 262153 w 625521"/>
                <a:gd name="connsiteY93" fmla="*/ 273031 h 788699"/>
                <a:gd name="connsiteX94" fmla="*/ 262153 w 625521"/>
                <a:gd name="connsiteY94" fmla="*/ 289349 h 788699"/>
                <a:gd name="connsiteX95" fmla="*/ 262153 w 625521"/>
                <a:gd name="connsiteY95" fmla="*/ 297508 h 788699"/>
                <a:gd name="connsiteX96" fmla="*/ 264872 w 625521"/>
                <a:gd name="connsiteY96" fmla="*/ 321985 h 788699"/>
                <a:gd name="connsiteX97" fmla="*/ 270312 w 625521"/>
                <a:gd name="connsiteY97" fmla="*/ 335583 h 788699"/>
                <a:gd name="connsiteX98" fmla="*/ 270312 w 625521"/>
                <a:gd name="connsiteY98" fmla="*/ 338303 h 788699"/>
                <a:gd name="connsiteX99" fmla="*/ 270312 w 625521"/>
                <a:gd name="connsiteY99" fmla="*/ 346462 h 788699"/>
                <a:gd name="connsiteX100" fmla="*/ 278471 w 625521"/>
                <a:gd name="connsiteY100" fmla="*/ 354621 h 788699"/>
                <a:gd name="connsiteX101" fmla="*/ 338304 w 625521"/>
                <a:gd name="connsiteY101" fmla="*/ 349181 h 788699"/>
                <a:gd name="connsiteX102" fmla="*/ 365500 w 625521"/>
                <a:gd name="connsiteY102" fmla="*/ 349181 h 788699"/>
                <a:gd name="connsiteX103" fmla="*/ 381817 w 625521"/>
                <a:gd name="connsiteY103" fmla="*/ 349181 h 788699"/>
                <a:gd name="connsiteX104" fmla="*/ 392697 w 625521"/>
                <a:gd name="connsiteY104" fmla="*/ 338303 h 788699"/>
                <a:gd name="connsiteX105" fmla="*/ 389977 w 625521"/>
                <a:gd name="connsiteY105" fmla="*/ 313826 h 788699"/>
                <a:gd name="connsiteX106" fmla="*/ 392697 w 625521"/>
                <a:gd name="connsiteY106" fmla="*/ 262152 h 788699"/>
                <a:gd name="connsiteX107" fmla="*/ 395416 w 625521"/>
                <a:gd name="connsiteY107" fmla="*/ 224077 h 788699"/>
                <a:gd name="connsiteX108" fmla="*/ 398136 w 625521"/>
                <a:gd name="connsiteY108" fmla="*/ 177843 h 788699"/>
                <a:gd name="connsiteX109" fmla="*/ 395416 w 625521"/>
                <a:gd name="connsiteY109" fmla="*/ 153366 h 788699"/>
                <a:gd name="connsiteX110" fmla="*/ 395416 w 625521"/>
                <a:gd name="connsiteY110" fmla="*/ 137048 h 788699"/>
                <a:gd name="connsiteX111" fmla="*/ 379098 w 625521"/>
                <a:gd name="connsiteY111" fmla="*/ 137048 h 788699"/>
                <a:gd name="connsiteX112" fmla="*/ 351902 w 625521"/>
                <a:gd name="connsiteY112" fmla="*/ 131609 h 788699"/>
                <a:gd name="connsiteX113" fmla="*/ 338304 w 625521"/>
                <a:gd name="connsiteY113" fmla="*/ 115291 h 788699"/>
                <a:gd name="connsiteX114" fmla="*/ 343742 w 625521"/>
                <a:gd name="connsiteY114" fmla="*/ 107132 h 788699"/>
                <a:gd name="connsiteX115" fmla="*/ 362780 w 625521"/>
                <a:gd name="connsiteY115" fmla="*/ 98973 h 788699"/>
                <a:gd name="connsiteX116" fmla="*/ 395416 w 625521"/>
                <a:gd name="connsiteY116" fmla="*/ 96253 h 788699"/>
                <a:gd name="connsiteX117" fmla="*/ 403575 w 625521"/>
                <a:gd name="connsiteY117" fmla="*/ 90814 h 788699"/>
                <a:gd name="connsiteX118" fmla="*/ 422612 w 625521"/>
                <a:gd name="connsiteY118" fmla="*/ 88095 h 788699"/>
                <a:gd name="connsiteX119" fmla="*/ 428052 w 625521"/>
                <a:gd name="connsiteY119" fmla="*/ 88095 h 788699"/>
                <a:gd name="connsiteX120" fmla="*/ 447090 w 625521"/>
                <a:gd name="connsiteY120" fmla="*/ 90814 h 788699"/>
                <a:gd name="connsiteX121" fmla="*/ 455249 w 625521"/>
                <a:gd name="connsiteY121" fmla="*/ 96253 h 788699"/>
                <a:gd name="connsiteX122" fmla="*/ 525960 w 625521"/>
                <a:gd name="connsiteY122" fmla="*/ 93534 h 788699"/>
                <a:gd name="connsiteX123" fmla="*/ 561315 w 625521"/>
                <a:gd name="connsiteY123" fmla="*/ 109852 h 788699"/>
                <a:gd name="connsiteX124" fmla="*/ 555876 w 625521"/>
                <a:gd name="connsiteY124" fmla="*/ 126170 h 788699"/>
                <a:gd name="connsiteX125" fmla="*/ 539558 w 625521"/>
                <a:gd name="connsiteY125" fmla="*/ 134329 h 788699"/>
                <a:gd name="connsiteX126" fmla="*/ 517800 w 625521"/>
                <a:gd name="connsiteY126" fmla="*/ 137048 h 788699"/>
                <a:gd name="connsiteX127" fmla="*/ 477006 w 625521"/>
                <a:gd name="connsiteY127" fmla="*/ 137048 h 788699"/>
                <a:gd name="connsiteX128" fmla="*/ 485165 w 625521"/>
                <a:gd name="connsiteY128" fmla="*/ 161525 h 788699"/>
                <a:gd name="connsiteX129" fmla="*/ 496043 w 625521"/>
                <a:gd name="connsiteY129" fmla="*/ 210479 h 788699"/>
                <a:gd name="connsiteX130" fmla="*/ 501483 w 625521"/>
                <a:gd name="connsiteY130" fmla="*/ 251274 h 788699"/>
                <a:gd name="connsiteX131" fmla="*/ 506922 w 625521"/>
                <a:gd name="connsiteY131" fmla="*/ 292069 h 788699"/>
                <a:gd name="connsiteX132" fmla="*/ 506922 w 625521"/>
                <a:gd name="connsiteY132" fmla="*/ 321985 h 788699"/>
                <a:gd name="connsiteX133" fmla="*/ 509642 w 625521"/>
                <a:gd name="connsiteY133" fmla="*/ 341022 h 788699"/>
                <a:gd name="connsiteX134" fmla="*/ 509642 w 625521"/>
                <a:gd name="connsiteY134" fmla="*/ 343742 h 788699"/>
                <a:gd name="connsiteX135" fmla="*/ 517800 w 625521"/>
                <a:gd name="connsiteY135" fmla="*/ 349181 h 788699"/>
                <a:gd name="connsiteX136" fmla="*/ 528680 w 625521"/>
                <a:gd name="connsiteY136" fmla="*/ 349181 h 788699"/>
                <a:gd name="connsiteX137" fmla="*/ 550437 w 625521"/>
                <a:gd name="connsiteY137" fmla="*/ 357340 h 788699"/>
                <a:gd name="connsiteX138" fmla="*/ 550437 w 625521"/>
                <a:gd name="connsiteY138" fmla="*/ 362780 h 788699"/>
                <a:gd name="connsiteX139" fmla="*/ 534119 w 625521"/>
                <a:gd name="connsiteY139" fmla="*/ 384537 h 788699"/>
                <a:gd name="connsiteX140" fmla="*/ 520520 w 625521"/>
                <a:gd name="connsiteY140" fmla="*/ 389976 h 788699"/>
                <a:gd name="connsiteX141" fmla="*/ 512362 w 625521"/>
                <a:gd name="connsiteY141" fmla="*/ 395415 h 788699"/>
                <a:gd name="connsiteX142" fmla="*/ 512362 w 625521"/>
                <a:gd name="connsiteY142" fmla="*/ 398135 h 788699"/>
                <a:gd name="connsiteX143" fmla="*/ 512362 w 625521"/>
                <a:gd name="connsiteY143" fmla="*/ 409014 h 788699"/>
                <a:gd name="connsiteX144" fmla="*/ 512362 w 625521"/>
                <a:gd name="connsiteY144" fmla="*/ 414453 h 788699"/>
                <a:gd name="connsiteX145" fmla="*/ 512362 w 625521"/>
                <a:gd name="connsiteY145" fmla="*/ 438930 h 788699"/>
                <a:gd name="connsiteX146" fmla="*/ 515081 w 625521"/>
                <a:gd name="connsiteY146" fmla="*/ 504202 h 788699"/>
                <a:gd name="connsiteX147" fmla="*/ 520520 w 625521"/>
                <a:gd name="connsiteY147" fmla="*/ 572193 h 788699"/>
                <a:gd name="connsiteX148" fmla="*/ 517800 w 625521"/>
                <a:gd name="connsiteY148" fmla="*/ 604829 h 788699"/>
                <a:gd name="connsiteX149" fmla="*/ 512362 w 625521"/>
                <a:gd name="connsiteY149" fmla="*/ 661942 h 788699"/>
                <a:gd name="connsiteX150" fmla="*/ 509642 w 625521"/>
                <a:gd name="connsiteY150" fmla="*/ 670101 h 788699"/>
                <a:gd name="connsiteX151" fmla="*/ 512362 w 625521"/>
                <a:gd name="connsiteY151" fmla="*/ 680979 h 788699"/>
                <a:gd name="connsiteX152" fmla="*/ 512362 w 625521"/>
                <a:gd name="connsiteY152" fmla="*/ 686419 h 788699"/>
                <a:gd name="connsiteX153" fmla="*/ 536838 w 625521"/>
                <a:gd name="connsiteY153" fmla="*/ 680979 h 788699"/>
                <a:gd name="connsiteX154" fmla="*/ 536838 w 625521"/>
                <a:gd name="connsiteY154" fmla="*/ 680979 h 7886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</a:cxnLst>
              <a:rect l="l" t="t" r="r" b="b"/>
              <a:pathLst>
                <a:path w="625521" h="788699">
                  <a:moveTo>
                    <a:pt x="536838" y="680979"/>
                  </a:moveTo>
                  <a:cubicBezTo>
                    <a:pt x="550437" y="680979"/>
                    <a:pt x="574913" y="680979"/>
                    <a:pt x="574913" y="697297"/>
                  </a:cubicBezTo>
                  <a:cubicBezTo>
                    <a:pt x="574913" y="705456"/>
                    <a:pt x="572194" y="708176"/>
                    <a:pt x="566755" y="713615"/>
                  </a:cubicBezTo>
                  <a:cubicBezTo>
                    <a:pt x="561315" y="719054"/>
                    <a:pt x="555876" y="721774"/>
                    <a:pt x="550437" y="721774"/>
                  </a:cubicBezTo>
                  <a:cubicBezTo>
                    <a:pt x="539558" y="724494"/>
                    <a:pt x="534119" y="724494"/>
                    <a:pt x="528680" y="724494"/>
                  </a:cubicBezTo>
                  <a:cubicBezTo>
                    <a:pt x="517800" y="724494"/>
                    <a:pt x="428052" y="724494"/>
                    <a:pt x="417174" y="724494"/>
                  </a:cubicBezTo>
                  <a:cubicBezTo>
                    <a:pt x="403575" y="724494"/>
                    <a:pt x="414454" y="724494"/>
                    <a:pt x="398136" y="724494"/>
                  </a:cubicBezTo>
                  <a:cubicBezTo>
                    <a:pt x="389977" y="724494"/>
                    <a:pt x="381817" y="724494"/>
                    <a:pt x="373659" y="724494"/>
                  </a:cubicBezTo>
                  <a:cubicBezTo>
                    <a:pt x="365500" y="724494"/>
                    <a:pt x="354621" y="721774"/>
                    <a:pt x="346462" y="719054"/>
                  </a:cubicBezTo>
                  <a:cubicBezTo>
                    <a:pt x="338304" y="716335"/>
                    <a:pt x="330144" y="708176"/>
                    <a:pt x="330144" y="702737"/>
                  </a:cubicBezTo>
                  <a:cubicBezTo>
                    <a:pt x="330144" y="700017"/>
                    <a:pt x="330144" y="697297"/>
                    <a:pt x="335584" y="694578"/>
                  </a:cubicBezTo>
                  <a:cubicBezTo>
                    <a:pt x="341023" y="691858"/>
                    <a:pt x="351902" y="689138"/>
                    <a:pt x="357341" y="686419"/>
                  </a:cubicBezTo>
                  <a:cubicBezTo>
                    <a:pt x="373659" y="683699"/>
                    <a:pt x="387257" y="680979"/>
                    <a:pt x="395416" y="680979"/>
                  </a:cubicBezTo>
                  <a:cubicBezTo>
                    <a:pt x="387257" y="675540"/>
                    <a:pt x="384537" y="670101"/>
                    <a:pt x="381817" y="656502"/>
                  </a:cubicBezTo>
                  <a:cubicBezTo>
                    <a:pt x="379098" y="632026"/>
                    <a:pt x="379098" y="610268"/>
                    <a:pt x="379098" y="585791"/>
                  </a:cubicBezTo>
                  <a:cubicBezTo>
                    <a:pt x="379098" y="564034"/>
                    <a:pt x="379098" y="542277"/>
                    <a:pt x="379098" y="517800"/>
                  </a:cubicBezTo>
                  <a:cubicBezTo>
                    <a:pt x="379098" y="504202"/>
                    <a:pt x="379098" y="487884"/>
                    <a:pt x="379098" y="474286"/>
                  </a:cubicBezTo>
                  <a:cubicBezTo>
                    <a:pt x="379098" y="457968"/>
                    <a:pt x="376379" y="444369"/>
                    <a:pt x="379098" y="430771"/>
                  </a:cubicBezTo>
                  <a:cubicBezTo>
                    <a:pt x="379098" y="425332"/>
                    <a:pt x="381817" y="417173"/>
                    <a:pt x="381817" y="411733"/>
                  </a:cubicBezTo>
                  <a:cubicBezTo>
                    <a:pt x="381817" y="406294"/>
                    <a:pt x="381817" y="403575"/>
                    <a:pt x="379098" y="400855"/>
                  </a:cubicBezTo>
                  <a:cubicBezTo>
                    <a:pt x="376379" y="400855"/>
                    <a:pt x="373659" y="398135"/>
                    <a:pt x="370939" y="398135"/>
                  </a:cubicBezTo>
                  <a:cubicBezTo>
                    <a:pt x="360061" y="398135"/>
                    <a:pt x="343742" y="400855"/>
                    <a:pt x="338304" y="400855"/>
                  </a:cubicBezTo>
                  <a:cubicBezTo>
                    <a:pt x="330144" y="400855"/>
                    <a:pt x="319266" y="403575"/>
                    <a:pt x="289349" y="403575"/>
                  </a:cubicBezTo>
                  <a:cubicBezTo>
                    <a:pt x="275751" y="403575"/>
                    <a:pt x="267592" y="400855"/>
                    <a:pt x="264872" y="400855"/>
                  </a:cubicBezTo>
                  <a:cubicBezTo>
                    <a:pt x="262153" y="400855"/>
                    <a:pt x="259433" y="400855"/>
                    <a:pt x="259433" y="406294"/>
                  </a:cubicBezTo>
                  <a:cubicBezTo>
                    <a:pt x="259433" y="414453"/>
                    <a:pt x="259433" y="419892"/>
                    <a:pt x="259433" y="425332"/>
                  </a:cubicBezTo>
                  <a:cubicBezTo>
                    <a:pt x="259433" y="433491"/>
                    <a:pt x="259433" y="441650"/>
                    <a:pt x="259433" y="449809"/>
                  </a:cubicBezTo>
                  <a:cubicBezTo>
                    <a:pt x="259433" y="457968"/>
                    <a:pt x="259433" y="463407"/>
                    <a:pt x="259433" y="471566"/>
                  </a:cubicBezTo>
                  <a:cubicBezTo>
                    <a:pt x="259433" y="482445"/>
                    <a:pt x="259433" y="493323"/>
                    <a:pt x="259433" y="504202"/>
                  </a:cubicBezTo>
                  <a:cubicBezTo>
                    <a:pt x="259433" y="506921"/>
                    <a:pt x="259433" y="506921"/>
                    <a:pt x="259433" y="509641"/>
                  </a:cubicBezTo>
                  <a:cubicBezTo>
                    <a:pt x="259433" y="520520"/>
                    <a:pt x="256714" y="531398"/>
                    <a:pt x="256714" y="542277"/>
                  </a:cubicBezTo>
                  <a:cubicBezTo>
                    <a:pt x="256714" y="553156"/>
                    <a:pt x="256714" y="566754"/>
                    <a:pt x="256714" y="577632"/>
                  </a:cubicBezTo>
                  <a:cubicBezTo>
                    <a:pt x="256714" y="588511"/>
                    <a:pt x="256714" y="599390"/>
                    <a:pt x="256714" y="612988"/>
                  </a:cubicBezTo>
                  <a:cubicBezTo>
                    <a:pt x="256714" y="629306"/>
                    <a:pt x="253994" y="642904"/>
                    <a:pt x="253994" y="656502"/>
                  </a:cubicBezTo>
                  <a:cubicBezTo>
                    <a:pt x="253994" y="664661"/>
                    <a:pt x="256714" y="672820"/>
                    <a:pt x="256714" y="678260"/>
                  </a:cubicBezTo>
                  <a:cubicBezTo>
                    <a:pt x="270312" y="678260"/>
                    <a:pt x="286629" y="680979"/>
                    <a:pt x="286629" y="694578"/>
                  </a:cubicBezTo>
                  <a:cubicBezTo>
                    <a:pt x="286629" y="702737"/>
                    <a:pt x="283910" y="705456"/>
                    <a:pt x="281191" y="710895"/>
                  </a:cubicBezTo>
                  <a:cubicBezTo>
                    <a:pt x="275751" y="716335"/>
                    <a:pt x="270312" y="719054"/>
                    <a:pt x="264872" y="719054"/>
                  </a:cubicBezTo>
                  <a:cubicBezTo>
                    <a:pt x="256714" y="721774"/>
                    <a:pt x="248554" y="721774"/>
                    <a:pt x="243116" y="721774"/>
                  </a:cubicBezTo>
                  <a:cubicBezTo>
                    <a:pt x="243116" y="721774"/>
                    <a:pt x="243116" y="721774"/>
                    <a:pt x="243116" y="721774"/>
                  </a:cubicBezTo>
                  <a:cubicBezTo>
                    <a:pt x="237676" y="724494"/>
                    <a:pt x="237676" y="724494"/>
                    <a:pt x="232236" y="727214"/>
                  </a:cubicBezTo>
                  <a:cubicBezTo>
                    <a:pt x="229517" y="729933"/>
                    <a:pt x="229517" y="732653"/>
                    <a:pt x="224078" y="735372"/>
                  </a:cubicBezTo>
                  <a:cubicBezTo>
                    <a:pt x="221358" y="738092"/>
                    <a:pt x="215919" y="738092"/>
                    <a:pt x="213199" y="738092"/>
                  </a:cubicBezTo>
                  <a:cubicBezTo>
                    <a:pt x="199601" y="738092"/>
                    <a:pt x="188722" y="735372"/>
                    <a:pt x="183283" y="727214"/>
                  </a:cubicBezTo>
                  <a:cubicBezTo>
                    <a:pt x="180563" y="724494"/>
                    <a:pt x="177843" y="721774"/>
                    <a:pt x="175124" y="719054"/>
                  </a:cubicBezTo>
                  <a:cubicBezTo>
                    <a:pt x="161526" y="719054"/>
                    <a:pt x="150646" y="719054"/>
                    <a:pt x="145208" y="719054"/>
                  </a:cubicBezTo>
                  <a:cubicBezTo>
                    <a:pt x="131609" y="719054"/>
                    <a:pt x="142488" y="719054"/>
                    <a:pt x="126170" y="719054"/>
                  </a:cubicBezTo>
                  <a:cubicBezTo>
                    <a:pt x="118011" y="719054"/>
                    <a:pt x="109852" y="719054"/>
                    <a:pt x="101693" y="719054"/>
                  </a:cubicBezTo>
                  <a:cubicBezTo>
                    <a:pt x="93534" y="719054"/>
                    <a:pt x="82655" y="719054"/>
                    <a:pt x="74496" y="713615"/>
                  </a:cubicBezTo>
                  <a:cubicBezTo>
                    <a:pt x="66338" y="710895"/>
                    <a:pt x="58178" y="702737"/>
                    <a:pt x="58178" y="697297"/>
                  </a:cubicBezTo>
                  <a:cubicBezTo>
                    <a:pt x="58178" y="694578"/>
                    <a:pt x="58178" y="691858"/>
                    <a:pt x="63618" y="689138"/>
                  </a:cubicBezTo>
                  <a:cubicBezTo>
                    <a:pt x="69057" y="686419"/>
                    <a:pt x="79936" y="683699"/>
                    <a:pt x="85375" y="680979"/>
                  </a:cubicBezTo>
                  <a:cubicBezTo>
                    <a:pt x="98973" y="678260"/>
                    <a:pt x="118011" y="678260"/>
                    <a:pt x="131609" y="675540"/>
                  </a:cubicBezTo>
                  <a:cubicBezTo>
                    <a:pt x="131609" y="672820"/>
                    <a:pt x="131609" y="670101"/>
                    <a:pt x="131609" y="667381"/>
                  </a:cubicBezTo>
                  <a:cubicBezTo>
                    <a:pt x="131609" y="661942"/>
                    <a:pt x="131609" y="656502"/>
                    <a:pt x="131609" y="651063"/>
                  </a:cubicBezTo>
                  <a:cubicBezTo>
                    <a:pt x="131609" y="640184"/>
                    <a:pt x="131609" y="629306"/>
                    <a:pt x="131609" y="618427"/>
                  </a:cubicBezTo>
                  <a:cubicBezTo>
                    <a:pt x="131609" y="604829"/>
                    <a:pt x="131609" y="593950"/>
                    <a:pt x="131609" y="580352"/>
                  </a:cubicBezTo>
                  <a:cubicBezTo>
                    <a:pt x="131609" y="564034"/>
                    <a:pt x="131609" y="547716"/>
                    <a:pt x="131609" y="531398"/>
                  </a:cubicBezTo>
                  <a:cubicBezTo>
                    <a:pt x="131609" y="509641"/>
                    <a:pt x="131609" y="487884"/>
                    <a:pt x="131609" y="466126"/>
                  </a:cubicBezTo>
                  <a:cubicBezTo>
                    <a:pt x="131609" y="452528"/>
                    <a:pt x="131609" y="436210"/>
                    <a:pt x="131609" y="422612"/>
                  </a:cubicBezTo>
                  <a:cubicBezTo>
                    <a:pt x="131609" y="419892"/>
                    <a:pt x="131609" y="414453"/>
                    <a:pt x="131609" y="411733"/>
                  </a:cubicBezTo>
                  <a:cubicBezTo>
                    <a:pt x="131609" y="409014"/>
                    <a:pt x="131609" y="400855"/>
                    <a:pt x="131609" y="398135"/>
                  </a:cubicBezTo>
                  <a:cubicBezTo>
                    <a:pt x="131609" y="392696"/>
                    <a:pt x="131609" y="392696"/>
                    <a:pt x="126170" y="389976"/>
                  </a:cubicBezTo>
                  <a:cubicBezTo>
                    <a:pt x="123450" y="389976"/>
                    <a:pt x="109852" y="387257"/>
                    <a:pt x="101693" y="387257"/>
                  </a:cubicBezTo>
                  <a:cubicBezTo>
                    <a:pt x="90814" y="384537"/>
                    <a:pt x="77216" y="381817"/>
                    <a:pt x="77216" y="376378"/>
                  </a:cubicBezTo>
                  <a:cubicBezTo>
                    <a:pt x="77216" y="373658"/>
                    <a:pt x="79936" y="370939"/>
                    <a:pt x="82655" y="368219"/>
                  </a:cubicBezTo>
                  <a:cubicBezTo>
                    <a:pt x="88095" y="365499"/>
                    <a:pt x="93534" y="362780"/>
                    <a:pt x="98973" y="360060"/>
                  </a:cubicBezTo>
                  <a:cubicBezTo>
                    <a:pt x="104413" y="360060"/>
                    <a:pt x="112571" y="357340"/>
                    <a:pt x="118011" y="357340"/>
                  </a:cubicBezTo>
                  <a:cubicBezTo>
                    <a:pt x="126170" y="354621"/>
                    <a:pt x="128890" y="357340"/>
                    <a:pt x="131609" y="351901"/>
                  </a:cubicBezTo>
                  <a:cubicBezTo>
                    <a:pt x="131609" y="349181"/>
                    <a:pt x="131609" y="346462"/>
                    <a:pt x="131609" y="343742"/>
                  </a:cubicBezTo>
                  <a:cubicBezTo>
                    <a:pt x="131609" y="319265"/>
                    <a:pt x="131609" y="294788"/>
                    <a:pt x="131609" y="270311"/>
                  </a:cubicBezTo>
                  <a:cubicBezTo>
                    <a:pt x="131609" y="226797"/>
                    <a:pt x="131609" y="186002"/>
                    <a:pt x="137048" y="145207"/>
                  </a:cubicBezTo>
                  <a:cubicBezTo>
                    <a:pt x="137048" y="139768"/>
                    <a:pt x="137048" y="131609"/>
                    <a:pt x="139768" y="123450"/>
                  </a:cubicBezTo>
                  <a:cubicBezTo>
                    <a:pt x="134329" y="123450"/>
                    <a:pt x="137048" y="123450"/>
                    <a:pt x="123450" y="123450"/>
                  </a:cubicBezTo>
                  <a:cubicBezTo>
                    <a:pt x="120731" y="123450"/>
                    <a:pt x="120731" y="123450"/>
                    <a:pt x="118011" y="123450"/>
                  </a:cubicBezTo>
                  <a:cubicBezTo>
                    <a:pt x="112571" y="123450"/>
                    <a:pt x="107133" y="123450"/>
                    <a:pt x="101693" y="123450"/>
                  </a:cubicBezTo>
                  <a:cubicBezTo>
                    <a:pt x="93534" y="123450"/>
                    <a:pt x="82655" y="120730"/>
                    <a:pt x="74496" y="118011"/>
                  </a:cubicBezTo>
                  <a:cubicBezTo>
                    <a:pt x="66338" y="115291"/>
                    <a:pt x="58178" y="107132"/>
                    <a:pt x="58178" y="101693"/>
                  </a:cubicBezTo>
                  <a:cubicBezTo>
                    <a:pt x="58178" y="98973"/>
                    <a:pt x="58178" y="96253"/>
                    <a:pt x="63618" y="93534"/>
                  </a:cubicBezTo>
                  <a:cubicBezTo>
                    <a:pt x="66338" y="90814"/>
                    <a:pt x="77216" y="88095"/>
                    <a:pt x="85375" y="85375"/>
                  </a:cubicBezTo>
                  <a:cubicBezTo>
                    <a:pt x="104413" y="82655"/>
                    <a:pt x="128890" y="82655"/>
                    <a:pt x="137048" y="82655"/>
                  </a:cubicBezTo>
                  <a:cubicBezTo>
                    <a:pt x="139768" y="82655"/>
                    <a:pt x="142488" y="82655"/>
                    <a:pt x="147927" y="82655"/>
                  </a:cubicBezTo>
                  <a:cubicBezTo>
                    <a:pt x="153366" y="69057"/>
                    <a:pt x="164245" y="58178"/>
                    <a:pt x="186003" y="58178"/>
                  </a:cubicBezTo>
                  <a:cubicBezTo>
                    <a:pt x="202321" y="58178"/>
                    <a:pt x="215919" y="66337"/>
                    <a:pt x="226797" y="79936"/>
                  </a:cubicBezTo>
                  <a:cubicBezTo>
                    <a:pt x="237676" y="79936"/>
                    <a:pt x="248554" y="79936"/>
                    <a:pt x="253994" y="79936"/>
                  </a:cubicBezTo>
                  <a:cubicBezTo>
                    <a:pt x="267592" y="79936"/>
                    <a:pt x="294789" y="79936"/>
                    <a:pt x="294789" y="96253"/>
                  </a:cubicBezTo>
                  <a:cubicBezTo>
                    <a:pt x="294789" y="104412"/>
                    <a:pt x="289349" y="107132"/>
                    <a:pt x="283910" y="112571"/>
                  </a:cubicBezTo>
                  <a:cubicBezTo>
                    <a:pt x="278471" y="118011"/>
                    <a:pt x="273031" y="120730"/>
                    <a:pt x="267592" y="120730"/>
                  </a:cubicBezTo>
                  <a:cubicBezTo>
                    <a:pt x="259433" y="123450"/>
                    <a:pt x="251274" y="123450"/>
                    <a:pt x="245835" y="123450"/>
                  </a:cubicBezTo>
                  <a:cubicBezTo>
                    <a:pt x="245835" y="123450"/>
                    <a:pt x="243116" y="123450"/>
                    <a:pt x="237676" y="123450"/>
                  </a:cubicBezTo>
                  <a:cubicBezTo>
                    <a:pt x="237676" y="126170"/>
                    <a:pt x="237676" y="126170"/>
                    <a:pt x="240396" y="128889"/>
                  </a:cubicBezTo>
                  <a:cubicBezTo>
                    <a:pt x="245835" y="145207"/>
                    <a:pt x="248554" y="161525"/>
                    <a:pt x="251274" y="177843"/>
                  </a:cubicBezTo>
                  <a:cubicBezTo>
                    <a:pt x="253994" y="194161"/>
                    <a:pt x="253994" y="210479"/>
                    <a:pt x="256714" y="226797"/>
                  </a:cubicBezTo>
                  <a:cubicBezTo>
                    <a:pt x="259433" y="243115"/>
                    <a:pt x="262153" y="256713"/>
                    <a:pt x="262153" y="273031"/>
                  </a:cubicBezTo>
                  <a:cubicBezTo>
                    <a:pt x="262153" y="278470"/>
                    <a:pt x="262153" y="283910"/>
                    <a:pt x="262153" y="289349"/>
                  </a:cubicBezTo>
                  <a:lnTo>
                    <a:pt x="262153" y="297508"/>
                  </a:lnTo>
                  <a:cubicBezTo>
                    <a:pt x="262153" y="305667"/>
                    <a:pt x="262153" y="313826"/>
                    <a:pt x="264872" y="321985"/>
                  </a:cubicBezTo>
                  <a:cubicBezTo>
                    <a:pt x="264872" y="327424"/>
                    <a:pt x="270312" y="330144"/>
                    <a:pt x="270312" y="335583"/>
                  </a:cubicBezTo>
                  <a:cubicBezTo>
                    <a:pt x="270312" y="335583"/>
                    <a:pt x="270312" y="338303"/>
                    <a:pt x="270312" y="338303"/>
                  </a:cubicBezTo>
                  <a:cubicBezTo>
                    <a:pt x="270312" y="341022"/>
                    <a:pt x="270312" y="343742"/>
                    <a:pt x="270312" y="346462"/>
                  </a:cubicBezTo>
                  <a:cubicBezTo>
                    <a:pt x="270312" y="351901"/>
                    <a:pt x="273031" y="354621"/>
                    <a:pt x="278471" y="354621"/>
                  </a:cubicBezTo>
                  <a:cubicBezTo>
                    <a:pt x="289349" y="354621"/>
                    <a:pt x="335584" y="351901"/>
                    <a:pt x="338304" y="349181"/>
                  </a:cubicBezTo>
                  <a:cubicBezTo>
                    <a:pt x="346462" y="349181"/>
                    <a:pt x="357341" y="349181"/>
                    <a:pt x="365500" y="349181"/>
                  </a:cubicBezTo>
                  <a:cubicBezTo>
                    <a:pt x="370939" y="349181"/>
                    <a:pt x="376379" y="349181"/>
                    <a:pt x="381817" y="349181"/>
                  </a:cubicBezTo>
                  <a:cubicBezTo>
                    <a:pt x="387257" y="349181"/>
                    <a:pt x="392697" y="346462"/>
                    <a:pt x="392697" y="338303"/>
                  </a:cubicBezTo>
                  <a:cubicBezTo>
                    <a:pt x="392697" y="330144"/>
                    <a:pt x="389977" y="316545"/>
                    <a:pt x="389977" y="313826"/>
                  </a:cubicBezTo>
                  <a:cubicBezTo>
                    <a:pt x="389977" y="294788"/>
                    <a:pt x="389977" y="278470"/>
                    <a:pt x="392697" y="262152"/>
                  </a:cubicBezTo>
                  <a:cubicBezTo>
                    <a:pt x="392697" y="259433"/>
                    <a:pt x="395416" y="243115"/>
                    <a:pt x="395416" y="224077"/>
                  </a:cubicBezTo>
                  <a:cubicBezTo>
                    <a:pt x="395416" y="207759"/>
                    <a:pt x="398136" y="188722"/>
                    <a:pt x="398136" y="177843"/>
                  </a:cubicBezTo>
                  <a:cubicBezTo>
                    <a:pt x="398136" y="169684"/>
                    <a:pt x="395416" y="158806"/>
                    <a:pt x="395416" y="153366"/>
                  </a:cubicBezTo>
                  <a:cubicBezTo>
                    <a:pt x="395416" y="145207"/>
                    <a:pt x="395416" y="142488"/>
                    <a:pt x="395416" y="137048"/>
                  </a:cubicBezTo>
                  <a:cubicBezTo>
                    <a:pt x="389977" y="137048"/>
                    <a:pt x="384537" y="137048"/>
                    <a:pt x="379098" y="137048"/>
                  </a:cubicBezTo>
                  <a:cubicBezTo>
                    <a:pt x="370939" y="137048"/>
                    <a:pt x="360061" y="134329"/>
                    <a:pt x="351902" y="131609"/>
                  </a:cubicBezTo>
                  <a:cubicBezTo>
                    <a:pt x="343742" y="128889"/>
                    <a:pt x="338304" y="120730"/>
                    <a:pt x="338304" y="115291"/>
                  </a:cubicBezTo>
                  <a:cubicBezTo>
                    <a:pt x="338304" y="112571"/>
                    <a:pt x="338304" y="109852"/>
                    <a:pt x="343742" y="107132"/>
                  </a:cubicBezTo>
                  <a:cubicBezTo>
                    <a:pt x="349182" y="104412"/>
                    <a:pt x="357341" y="101693"/>
                    <a:pt x="362780" y="98973"/>
                  </a:cubicBezTo>
                  <a:cubicBezTo>
                    <a:pt x="373659" y="96253"/>
                    <a:pt x="387257" y="96253"/>
                    <a:pt x="395416" y="96253"/>
                  </a:cubicBezTo>
                  <a:cubicBezTo>
                    <a:pt x="398136" y="93534"/>
                    <a:pt x="400855" y="90814"/>
                    <a:pt x="403575" y="90814"/>
                  </a:cubicBezTo>
                  <a:cubicBezTo>
                    <a:pt x="411734" y="90814"/>
                    <a:pt x="419893" y="88095"/>
                    <a:pt x="422612" y="88095"/>
                  </a:cubicBezTo>
                  <a:cubicBezTo>
                    <a:pt x="425332" y="88095"/>
                    <a:pt x="425332" y="88095"/>
                    <a:pt x="428052" y="88095"/>
                  </a:cubicBezTo>
                  <a:cubicBezTo>
                    <a:pt x="433492" y="88095"/>
                    <a:pt x="441650" y="88095"/>
                    <a:pt x="447090" y="90814"/>
                  </a:cubicBezTo>
                  <a:cubicBezTo>
                    <a:pt x="449809" y="90814"/>
                    <a:pt x="452529" y="93534"/>
                    <a:pt x="455249" y="96253"/>
                  </a:cubicBezTo>
                  <a:cubicBezTo>
                    <a:pt x="482445" y="96253"/>
                    <a:pt x="509642" y="93534"/>
                    <a:pt x="525960" y="93534"/>
                  </a:cubicBezTo>
                  <a:cubicBezTo>
                    <a:pt x="539558" y="93534"/>
                    <a:pt x="561315" y="93534"/>
                    <a:pt x="561315" y="109852"/>
                  </a:cubicBezTo>
                  <a:cubicBezTo>
                    <a:pt x="561315" y="118011"/>
                    <a:pt x="561315" y="120730"/>
                    <a:pt x="555876" y="126170"/>
                  </a:cubicBezTo>
                  <a:cubicBezTo>
                    <a:pt x="550437" y="131609"/>
                    <a:pt x="544997" y="134329"/>
                    <a:pt x="539558" y="134329"/>
                  </a:cubicBezTo>
                  <a:cubicBezTo>
                    <a:pt x="531399" y="137048"/>
                    <a:pt x="523240" y="137048"/>
                    <a:pt x="517800" y="137048"/>
                  </a:cubicBezTo>
                  <a:cubicBezTo>
                    <a:pt x="515081" y="137048"/>
                    <a:pt x="498763" y="137048"/>
                    <a:pt x="477006" y="137048"/>
                  </a:cubicBezTo>
                  <a:cubicBezTo>
                    <a:pt x="479725" y="145207"/>
                    <a:pt x="485165" y="153366"/>
                    <a:pt x="485165" y="161525"/>
                  </a:cubicBezTo>
                  <a:cubicBezTo>
                    <a:pt x="487885" y="177843"/>
                    <a:pt x="493324" y="194161"/>
                    <a:pt x="496043" y="210479"/>
                  </a:cubicBezTo>
                  <a:cubicBezTo>
                    <a:pt x="498763" y="224077"/>
                    <a:pt x="498763" y="237676"/>
                    <a:pt x="501483" y="251274"/>
                  </a:cubicBezTo>
                  <a:cubicBezTo>
                    <a:pt x="504202" y="264872"/>
                    <a:pt x="506922" y="275751"/>
                    <a:pt x="506922" y="292069"/>
                  </a:cubicBezTo>
                  <a:cubicBezTo>
                    <a:pt x="506922" y="302947"/>
                    <a:pt x="506922" y="311106"/>
                    <a:pt x="506922" y="321985"/>
                  </a:cubicBezTo>
                  <a:cubicBezTo>
                    <a:pt x="506922" y="327424"/>
                    <a:pt x="509642" y="335583"/>
                    <a:pt x="509642" y="341022"/>
                  </a:cubicBezTo>
                  <a:cubicBezTo>
                    <a:pt x="509642" y="343742"/>
                    <a:pt x="509642" y="343742"/>
                    <a:pt x="509642" y="343742"/>
                  </a:cubicBezTo>
                  <a:cubicBezTo>
                    <a:pt x="509642" y="349181"/>
                    <a:pt x="515081" y="349181"/>
                    <a:pt x="517800" y="349181"/>
                  </a:cubicBezTo>
                  <a:cubicBezTo>
                    <a:pt x="520520" y="349181"/>
                    <a:pt x="523240" y="349181"/>
                    <a:pt x="528680" y="349181"/>
                  </a:cubicBezTo>
                  <a:cubicBezTo>
                    <a:pt x="536838" y="349181"/>
                    <a:pt x="547717" y="349181"/>
                    <a:pt x="550437" y="357340"/>
                  </a:cubicBezTo>
                  <a:cubicBezTo>
                    <a:pt x="550437" y="360060"/>
                    <a:pt x="550437" y="360060"/>
                    <a:pt x="550437" y="362780"/>
                  </a:cubicBezTo>
                  <a:cubicBezTo>
                    <a:pt x="550437" y="370939"/>
                    <a:pt x="539558" y="381817"/>
                    <a:pt x="534119" y="384537"/>
                  </a:cubicBezTo>
                  <a:cubicBezTo>
                    <a:pt x="531399" y="387257"/>
                    <a:pt x="523240" y="387257"/>
                    <a:pt x="520520" y="389976"/>
                  </a:cubicBezTo>
                  <a:cubicBezTo>
                    <a:pt x="515081" y="389976"/>
                    <a:pt x="512362" y="392696"/>
                    <a:pt x="512362" y="395415"/>
                  </a:cubicBezTo>
                  <a:cubicBezTo>
                    <a:pt x="512362" y="395415"/>
                    <a:pt x="512362" y="398135"/>
                    <a:pt x="512362" y="398135"/>
                  </a:cubicBezTo>
                  <a:cubicBezTo>
                    <a:pt x="512362" y="400855"/>
                    <a:pt x="512362" y="406294"/>
                    <a:pt x="512362" y="409014"/>
                  </a:cubicBezTo>
                  <a:cubicBezTo>
                    <a:pt x="512362" y="411733"/>
                    <a:pt x="512362" y="411733"/>
                    <a:pt x="512362" y="414453"/>
                  </a:cubicBezTo>
                  <a:cubicBezTo>
                    <a:pt x="512362" y="422612"/>
                    <a:pt x="512362" y="430771"/>
                    <a:pt x="512362" y="438930"/>
                  </a:cubicBezTo>
                  <a:cubicBezTo>
                    <a:pt x="512362" y="460687"/>
                    <a:pt x="512362" y="482445"/>
                    <a:pt x="515081" y="504202"/>
                  </a:cubicBezTo>
                  <a:cubicBezTo>
                    <a:pt x="517800" y="525959"/>
                    <a:pt x="520520" y="550436"/>
                    <a:pt x="520520" y="572193"/>
                  </a:cubicBezTo>
                  <a:cubicBezTo>
                    <a:pt x="520520" y="583072"/>
                    <a:pt x="520520" y="593950"/>
                    <a:pt x="517800" y="604829"/>
                  </a:cubicBezTo>
                  <a:cubicBezTo>
                    <a:pt x="515081" y="623867"/>
                    <a:pt x="515081" y="642904"/>
                    <a:pt x="512362" y="661942"/>
                  </a:cubicBezTo>
                  <a:cubicBezTo>
                    <a:pt x="512362" y="664661"/>
                    <a:pt x="509642" y="667381"/>
                    <a:pt x="509642" y="670101"/>
                  </a:cubicBezTo>
                  <a:cubicBezTo>
                    <a:pt x="509642" y="672820"/>
                    <a:pt x="512362" y="678260"/>
                    <a:pt x="512362" y="680979"/>
                  </a:cubicBezTo>
                  <a:cubicBezTo>
                    <a:pt x="512362" y="683699"/>
                    <a:pt x="512362" y="686419"/>
                    <a:pt x="512362" y="686419"/>
                  </a:cubicBezTo>
                  <a:cubicBezTo>
                    <a:pt x="517800" y="680979"/>
                    <a:pt x="528680" y="680979"/>
                    <a:pt x="536838" y="680979"/>
                  </a:cubicBezTo>
                  <a:lnTo>
                    <a:pt x="536838" y="680979"/>
                  </a:ln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3" name="Freeform: Shape 52">
              <a:extLst>
                <a:ext uri="{FF2B5EF4-FFF2-40B4-BE49-F238E27FC236}">
                  <a16:creationId xmlns:a16="http://schemas.microsoft.com/office/drawing/2014/main" id="{A4566A92-B6AE-4D30-A8A5-6CAEA783F9AC}"/>
                </a:ext>
              </a:extLst>
            </p:cNvPr>
            <p:cNvSpPr/>
            <p:nvPr/>
          </p:nvSpPr>
          <p:spPr>
            <a:xfrm>
              <a:off x="9592416" y="4192158"/>
              <a:ext cx="516735" cy="761503"/>
            </a:xfrm>
            <a:custGeom>
              <a:avLst/>
              <a:gdLst>
                <a:gd name="connsiteX0" fmla="*/ 463407 w 516735"/>
                <a:gd name="connsiteY0" fmla="*/ 194161 h 761503"/>
                <a:gd name="connsiteX1" fmla="*/ 447089 w 516735"/>
                <a:gd name="connsiteY1" fmla="*/ 226797 h 761503"/>
                <a:gd name="connsiteX2" fmla="*/ 430771 w 516735"/>
                <a:gd name="connsiteY2" fmla="*/ 221357 h 761503"/>
                <a:gd name="connsiteX3" fmla="*/ 422612 w 516735"/>
                <a:gd name="connsiteY3" fmla="*/ 207759 h 761503"/>
                <a:gd name="connsiteX4" fmla="*/ 419893 w 516735"/>
                <a:gd name="connsiteY4" fmla="*/ 188722 h 761503"/>
                <a:gd name="connsiteX5" fmla="*/ 419893 w 516735"/>
                <a:gd name="connsiteY5" fmla="*/ 139768 h 761503"/>
                <a:gd name="connsiteX6" fmla="*/ 419893 w 516735"/>
                <a:gd name="connsiteY6" fmla="*/ 120730 h 761503"/>
                <a:gd name="connsiteX7" fmla="*/ 395416 w 516735"/>
                <a:gd name="connsiteY7" fmla="*/ 120730 h 761503"/>
                <a:gd name="connsiteX8" fmla="*/ 370939 w 516735"/>
                <a:gd name="connsiteY8" fmla="*/ 120730 h 761503"/>
                <a:gd name="connsiteX9" fmla="*/ 346461 w 516735"/>
                <a:gd name="connsiteY9" fmla="*/ 123450 h 761503"/>
                <a:gd name="connsiteX10" fmla="*/ 335583 w 516735"/>
                <a:gd name="connsiteY10" fmla="*/ 123450 h 761503"/>
                <a:gd name="connsiteX11" fmla="*/ 335583 w 516735"/>
                <a:gd name="connsiteY11" fmla="*/ 123450 h 761503"/>
                <a:gd name="connsiteX12" fmla="*/ 324704 w 516735"/>
                <a:gd name="connsiteY12" fmla="*/ 128889 h 761503"/>
                <a:gd name="connsiteX13" fmla="*/ 327424 w 516735"/>
                <a:gd name="connsiteY13" fmla="*/ 139768 h 761503"/>
                <a:gd name="connsiteX14" fmla="*/ 330144 w 516735"/>
                <a:gd name="connsiteY14" fmla="*/ 175123 h 761503"/>
                <a:gd name="connsiteX15" fmla="*/ 330144 w 516735"/>
                <a:gd name="connsiteY15" fmla="*/ 199600 h 761503"/>
                <a:gd name="connsiteX16" fmla="*/ 327424 w 516735"/>
                <a:gd name="connsiteY16" fmla="*/ 224077 h 761503"/>
                <a:gd name="connsiteX17" fmla="*/ 330144 w 516735"/>
                <a:gd name="connsiteY17" fmla="*/ 251274 h 761503"/>
                <a:gd name="connsiteX18" fmla="*/ 327424 w 516735"/>
                <a:gd name="connsiteY18" fmla="*/ 278470 h 761503"/>
                <a:gd name="connsiteX19" fmla="*/ 327424 w 516735"/>
                <a:gd name="connsiteY19" fmla="*/ 332864 h 761503"/>
                <a:gd name="connsiteX20" fmla="*/ 330144 w 516735"/>
                <a:gd name="connsiteY20" fmla="*/ 357340 h 761503"/>
                <a:gd name="connsiteX21" fmla="*/ 330144 w 516735"/>
                <a:gd name="connsiteY21" fmla="*/ 368219 h 761503"/>
                <a:gd name="connsiteX22" fmla="*/ 332863 w 516735"/>
                <a:gd name="connsiteY22" fmla="*/ 387257 h 761503"/>
                <a:gd name="connsiteX23" fmla="*/ 332863 w 516735"/>
                <a:gd name="connsiteY23" fmla="*/ 433491 h 761503"/>
                <a:gd name="connsiteX24" fmla="*/ 332863 w 516735"/>
                <a:gd name="connsiteY24" fmla="*/ 487884 h 761503"/>
                <a:gd name="connsiteX25" fmla="*/ 330144 w 516735"/>
                <a:gd name="connsiteY25" fmla="*/ 512361 h 761503"/>
                <a:gd name="connsiteX26" fmla="*/ 330144 w 516735"/>
                <a:gd name="connsiteY26" fmla="*/ 539557 h 761503"/>
                <a:gd name="connsiteX27" fmla="*/ 332863 w 516735"/>
                <a:gd name="connsiteY27" fmla="*/ 593950 h 761503"/>
                <a:gd name="connsiteX28" fmla="*/ 332863 w 516735"/>
                <a:gd name="connsiteY28" fmla="*/ 648343 h 761503"/>
                <a:gd name="connsiteX29" fmla="*/ 332863 w 516735"/>
                <a:gd name="connsiteY29" fmla="*/ 656502 h 761503"/>
                <a:gd name="connsiteX30" fmla="*/ 357341 w 516735"/>
                <a:gd name="connsiteY30" fmla="*/ 656502 h 761503"/>
                <a:gd name="connsiteX31" fmla="*/ 395416 w 516735"/>
                <a:gd name="connsiteY31" fmla="*/ 675540 h 761503"/>
                <a:gd name="connsiteX32" fmla="*/ 389976 w 516735"/>
                <a:gd name="connsiteY32" fmla="*/ 691858 h 761503"/>
                <a:gd name="connsiteX33" fmla="*/ 373658 w 516735"/>
                <a:gd name="connsiteY33" fmla="*/ 700017 h 761503"/>
                <a:gd name="connsiteX34" fmla="*/ 351901 w 516735"/>
                <a:gd name="connsiteY34" fmla="*/ 702737 h 761503"/>
                <a:gd name="connsiteX35" fmla="*/ 319265 w 516735"/>
                <a:gd name="connsiteY35" fmla="*/ 702737 h 761503"/>
                <a:gd name="connsiteX36" fmla="*/ 311106 w 516735"/>
                <a:gd name="connsiteY36" fmla="*/ 708176 h 761503"/>
                <a:gd name="connsiteX37" fmla="*/ 289349 w 516735"/>
                <a:gd name="connsiteY37" fmla="*/ 713615 h 761503"/>
                <a:gd name="connsiteX38" fmla="*/ 270311 w 516735"/>
                <a:gd name="connsiteY38" fmla="*/ 713615 h 761503"/>
                <a:gd name="connsiteX39" fmla="*/ 243115 w 516735"/>
                <a:gd name="connsiteY39" fmla="*/ 705456 h 761503"/>
                <a:gd name="connsiteX40" fmla="*/ 237675 w 516735"/>
                <a:gd name="connsiteY40" fmla="*/ 702737 h 761503"/>
                <a:gd name="connsiteX41" fmla="*/ 199600 w 516735"/>
                <a:gd name="connsiteY41" fmla="*/ 702737 h 761503"/>
                <a:gd name="connsiteX42" fmla="*/ 175123 w 516735"/>
                <a:gd name="connsiteY42" fmla="*/ 702737 h 761503"/>
                <a:gd name="connsiteX43" fmla="*/ 147927 w 516735"/>
                <a:gd name="connsiteY43" fmla="*/ 697297 h 761503"/>
                <a:gd name="connsiteX44" fmla="*/ 131609 w 516735"/>
                <a:gd name="connsiteY44" fmla="*/ 678260 h 761503"/>
                <a:gd name="connsiteX45" fmla="*/ 137048 w 516735"/>
                <a:gd name="connsiteY45" fmla="*/ 670101 h 761503"/>
                <a:gd name="connsiteX46" fmla="*/ 158805 w 516735"/>
                <a:gd name="connsiteY46" fmla="*/ 661942 h 761503"/>
                <a:gd name="connsiteX47" fmla="*/ 199600 w 516735"/>
                <a:gd name="connsiteY47" fmla="*/ 659222 h 761503"/>
                <a:gd name="connsiteX48" fmla="*/ 199600 w 516735"/>
                <a:gd name="connsiteY48" fmla="*/ 659222 h 761503"/>
                <a:gd name="connsiteX49" fmla="*/ 196880 w 516735"/>
                <a:gd name="connsiteY49" fmla="*/ 629306 h 761503"/>
                <a:gd name="connsiteX50" fmla="*/ 199600 w 516735"/>
                <a:gd name="connsiteY50" fmla="*/ 574913 h 761503"/>
                <a:gd name="connsiteX51" fmla="*/ 202320 w 516735"/>
                <a:gd name="connsiteY51" fmla="*/ 523239 h 761503"/>
                <a:gd name="connsiteX52" fmla="*/ 205040 w 516735"/>
                <a:gd name="connsiteY52" fmla="*/ 460687 h 761503"/>
                <a:gd name="connsiteX53" fmla="*/ 205040 w 516735"/>
                <a:gd name="connsiteY53" fmla="*/ 417173 h 761503"/>
                <a:gd name="connsiteX54" fmla="*/ 207759 w 516735"/>
                <a:gd name="connsiteY54" fmla="*/ 392696 h 761503"/>
                <a:gd name="connsiteX55" fmla="*/ 210478 w 516735"/>
                <a:gd name="connsiteY55" fmla="*/ 368219 h 761503"/>
                <a:gd name="connsiteX56" fmla="*/ 210478 w 516735"/>
                <a:gd name="connsiteY56" fmla="*/ 313826 h 761503"/>
                <a:gd name="connsiteX57" fmla="*/ 210478 w 516735"/>
                <a:gd name="connsiteY57" fmla="*/ 259433 h 761503"/>
                <a:gd name="connsiteX58" fmla="*/ 210478 w 516735"/>
                <a:gd name="connsiteY58" fmla="*/ 213199 h 761503"/>
                <a:gd name="connsiteX59" fmla="*/ 210478 w 516735"/>
                <a:gd name="connsiteY59" fmla="*/ 145207 h 761503"/>
                <a:gd name="connsiteX60" fmla="*/ 213198 w 516735"/>
                <a:gd name="connsiteY60" fmla="*/ 131609 h 761503"/>
                <a:gd name="connsiteX61" fmla="*/ 205040 w 516735"/>
                <a:gd name="connsiteY61" fmla="*/ 123450 h 761503"/>
                <a:gd name="connsiteX62" fmla="*/ 161525 w 516735"/>
                <a:gd name="connsiteY62" fmla="*/ 123450 h 761503"/>
                <a:gd name="connsiteX63" fmla="*/ 112571 w 516735"/>
                <a:gd name="connsiteY63" fmla="*/ 120730 h 761503"/>
                <a:gd name="connsiteX64" fmla="*/ 104412 w 516735"/>
                <a:gd name="connsiteY64" fmla="*/ 118011 h 761503"/>
                <a:gd name="connsiteX65" fmla="*/ 107132 w 516735"/>
                <a:gd name="connsiteY65" fmla="*/ 191441 h 761503"/>
                <a:gd name="connsiteX66" fmla="*/ 90814 w 516735"/>
                <a:gd name="connsiteY66" fmla="*/ 224077 h 761503"/>
                <a:gd name="connsiteX67" fmla="*/ 74496 w 516735"/>
                <a:gd name="connsiteY67" fmla="*/ 218638 h 761503"/>
                <a:gd name="connsiteX68" fmla="*/ 66337 w 516735"/>
                <a:gd name="connsiteY68" fmla="*/ 205040 h 761503"/>
                <a:gd name="connsiteX69" fmla="*/ 63617 w 516735"/>
                <a:gd name="connsiteY69" fmla="*/ 186002 h 761503"/>
                <a:gd name="connsiteX70" fmla="*/ 63617 w 516735"/>
                <a:gd name="connsiteY70" fmla="*/ 145207 h 761503"/>
                <a:gd name="connsiteX71" fmla="*/ 63617 w 516735"/>
                <a:gd name="connsiteY71" fmla="*/ 109852 h 761503"/>
                <a:gd name="connsiteX72" fmla="*/ 58178 w 516735"/>
                <a:gd name="connsiteY72" fmla="*/ 96253 h 761503"/>
                <a:gd name="connsiteX73" fmla="*/ 66337 w 516735"/>
                <a:gd name="connsiteY73" fmla="*/ 85375 h 761503"/>
                <a:gd name="connsiteX74" fmla="*/ 93533 w 516735"/>
                <a:gd name="connsiteY74" fmla="*/ 77216 h 761503"/>
                <a:gd name="connsiteX75" fmla="*/ 115290 w 516735"/>
                <a:gd name="connsiteY75" fmla="*/ 77216 h 761503"/>
                <a:gd name="connsiteX76" fmla="*/ 169684 w 516735"/>
                <a:gd name="connsiteY76" fmla="*/ 74496 h 761503"/>
                <a:gd name="connsiteX77" fmla="*/ 194161 w 516735"/>
                <a:gd name="connsiteY77" fmla="*/ 71776 h 761503"/>
                <a:gd name="connsiteX78" fmla="*/ 196880 w 516735"/>
                <a:gd name="connsiteY78" fmla="*/ 71776 h 761503"/>
                <a:gd name="connsiteX79" fmla="*/ 210478 w 516735"/>
                <a:gd name="connsiteY79" fmla="*/ 71776 h 761503"/>
                <a:gd name="connsiteX80" fmla="*/ 218638 w 516735"/>
                <a:gd name="connsiteY80" fmla="*/ 71776 h 761503"/>
                <a:gd name="connsiteX81" fmla="*/ 237675 w 516735"/>
                <a:gd name="connsiteY81" fmla="*/ 60898 h 761503"/>
                <a:gd name="connsiteX82" fmla="*/ 253993 w 516735"/>
                <a:gd name="connsiteY82" fmla="*/ 58178 h 761503"/>
                <a:gd name="connsiteX83" fmla="*/ 283910 w 516735"/>
                <a:gd name="connsiteY83" fmla="*/ 60898 h 761503"/>
                <a:gd name="connsiteX84" fmla="*/ 294788 w 516735"/>
                <a:gd name="connsiteY84" fmla="*/ 66337 h 761503"/>
                <a:gd name="connsiteX85" fmla="*/ 305667 w 516735"/>
                <a:gd name="connsiteY85" fmla="*/ 74496 h 761503"/>
                <a:gd name="connsiteX86" fmla="*/ 313826 w 516735"/>
                <a:gd name="connsiteY86" fmla="*/ 74496 h 761503"/>
                <a:gd name="connsiteX87" fmla="*/ 327424 w 516735"/>
                <a:gd name="connsiteY87" fmla="*/ 74496 h 761503"/>
                <a:gd name="connsiteX88" fmla="*/ 354621 w 516735"/>
                <a:gd name="connsiteY88" fmla="*/ 74496 h 761503"/>
                <a:gd name="connsiteX89" fmla="*/ 422612 w 516735"/>
                <a:gd name="connsiteY89" fmla="*/ 74496 h 761503"/>
                <a:gd name="connsiteX90" fmla="*/ 455248 w 516735"/>
                <a:gd name="connsiteY90" fmla="*/ 79936 h 761503"/>
                <a:gd name="connsiteX91" fmla="*/ 466127 w 516735"/>
                <a:gd name="connsiteY91" fmla="*/ 98973 h 761503"/>
                <a:gd name="connsiteX92" fmla="*/ 463407 w 516735"/>
                <a:gd name="connsiteY92" fmla="*/ 109852 h 761503"/>
                <a:gd name="connsiteX93" fmla="*/ 463407 w 516735"/>
                <a:gd name="connsiteY93" fmla="*/ 120730 h 761503"/>
                <a:gd name="connsiteX94" fmla="*/ 463407 w 516735"/>
                <a:gd name="connsiteY94" fmla="*/ 194161 h 761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</a:cxnLst>
              <a:rect l="l" t="t" r="r" b="b"/>
              <a:pathLst>
                <a:path w="516735" h="761503">
                  <a:moveTo>
                    <a:pt x="463407" y="194161"/>
                  </a:moveTo>
                  <a:cubicBezTo>
                    <a:pt x="463407" y="205040"/>
                    <a:pt x="463407" y="226797"/>
                    <a:pt x="447089" y="226797"/>
                  </a:cubicBezTo>
                  <a:cubicBezTo>
                    <a:pt x="438930" y="226797"/>
                    <a:pt x="436211" y="226797"/>
                    <a:pt x="430771" y="221357"/>
                  </a:cubicBezTo>
                  <a:cubicBezTo>
                    <a:pt x="425332" y="218638"/>
                    <a:pt x="422612" y="210479"/>
                    <a:pt x="422612" y="207759"/>
                  </a:cubicBezTo>
                  <a:cubicBezTo>
                    <a:pt x="419893" y="199600"/>
                    <a:pt x="419893" y="194161"/>
                    <a:pt x="419893" y="188722"/>
                  </a:cubicBezTo>
                  <a:cubicBezTo>
                    <a:pt x="419893" y="183282"/>
                    <a:pt x="419893" y="147927"/>
                    <a:pt x="419893" y="139768"/>
                  </a:cubicBezTo>
                  <a:cubicBezTo>
                    <a:pt x="419893" y="134329"/>
                    <a:pt x="419893" y="128889"/>
                    <a:pt x="419893" y="120730"/>
                  </a:cubicBezTo>
                  <a:cubicBezTo>
                    <a:pt x="411734" y="120730"/>
                    <a:pt x="403574" y="120730"/>
                    <a:pt x="395416" y="120730"/>
                  </a:cubicBezTo>
                  <a:cubicBezTo>
                    <a:pt x="387256" y="120730"/>
                    <a:pt x="379098" y="120730"/>
                    <a:pt x="370939" y="120730"/>
                  </a:cubicBezTo>
                  <a:cubicBezTo>
                    <a:pt x="362780" y="120730"/>
                    <a:pt x="354621" y="123450"/>
                    <a:pt x="346461" y="123450"/>
                  </a:cubicBezTo>
                  <a:cubicBezTo>
                    <a:pt x="343742" y="123450"/>
                    <a:pt x="341023" y="123450"/>
                    <a:pt x="335583" y="123450"/>
                  </a:cubicBezTo>
                  <a:cubicBezTo>
                    <a:pt x="335583" y="123450"/>
                    <a:pt x="335583" y="123450"/>
                    <a:pt x="335583" y="123450"/>
                  </a:cubicBezTo>
                  <a:cubicBezTo>
                    <a:pt x="327424" y="123450"/>
                    <a:pt x="324704" y="126170"/>
                    <a:pt x="324704" y="128889"/>
                  </a:cubicBezTo>
                  <a:cubicBezTo>
                    <a:pt x="324704" y="131609"/>
                    <a:pt x="324704" y="137048"/>
                    <a:pt x="327424" y="139768"/>
                  </a:cubicBezTo>
                  <a:cubicBezTo>
                    <a:pt x="330144" y="147927"/>
                    <a:pt x="330144" y="166964"/>
                    <a:pt x="330144" y="175123"/>
                  </a:cubicBezTo>
                  <a:cubicBezTo>
                    <a:pt x="330144" y="183282"/>
                    <a:pt x="330144" y="191441"/>
                    <a:pt x="330144" y="199600"/>
                  </a:cubicBezTo>
                  <a:cubicBezTo>
                    <a:pt x="330144" y="207759"/>
                    <a:pt x="327424" y="215918"/>
                    <a:pt x="327424" y="224077"/>
                  </a:cubicBezTo>
                  <a:cubicBezTo>
                    <a:pt x="327424" y="232236"/>
                    <a:pt x="330144" y="243115"/>
                    <a:pt x="330144" y="251274"/>
                  </a:cubicBezTo>
                  <a:cubicBezTo>
                    <a:pt x="330144" y="259433"/>
                    <a:pt x="330144" y="267592"/>
                    <a:pt x="327424" y="278470"/>
                  </a:cubicBezTo>
                  <a:cubicBezTo>
                    <a:pt x="327424" y="294788"/>
                    <a:pt x="327424" y="313826"/>
                    <a:pt x="327424" y="332864"/>
                  </a:cubicBezTo>
                  <a:cubicBezTo>
                    <a:pt x="327424" y="341022"/>
                    <a:pt x="327424" y="349181"/>
                    <a:pt x="330144" y="357340"/>
                  </a:cubicBezTo>
                  <a:cubicBezTo>
                    <a:pt x="330144" y="360060"/>
                    <a:pt x="330144" y="365499"/>
                    <a:pt x="330144" y="368219"/>
                  </a:cubicBezTo>
                  <a:cubicBezTo>
                    <a:pt x="330144" y="373658"/>
                    <a:pt x="332863" y="384537"/>
                    <a:pt x="332863" y="387257"/>
                  </a:cubicBezTo>
                  <a:cubicBezTo>
                    <a:pt x="332863" y="406294"/>
                    <a:pt x="332863" y="414453"/>
                    <a:pt x="332863" y="433491"/>
                  </a:cubicBezTo>
                  <a:cubicBezTo>
                    <a:pt x="332863" y="452528"/>
                    <a:pt x="335583" y="468846"/>
                    <a:pt x="332863" y="487884"/>
                  </a:cubicBezTo>
                  <a:cubicBezTo>
                    <a:pt x="332863" y="496043"/>
                    <a:pt x="330144" y="504202"/>
                    <a:pt x="330144" y="512361"/>
                  </a:cubicBezTo>
                  <a:cubicBezTo>
                    <a:pt x="330144" y="520520"/>
                    <a:pt x="330144" y="531398"/>
                    <a:pt x="330144" y="539557"/>
                  </a:cubicBezTo>
                  <a:cubicBezTo>
                    <a:pt x="330144" y="558595"/>
                    <a:pt x="330144" y="574913"/>
                    <a:pt x="332863" y="593950"/>
                  </a:cubicBezTo>
                  <a:cubicBezTo>
                    <a:pt x="332863" y="610268"/>
                    <a:pt x="332863" y="632026"/>
                    <a:pt x="332863" y="648343"/>
                  </a:cubicBezTo>
                  <a:cubicBezTo>
                    <a:pt x="332863" y="651063"/>
                    <a:pt x="332863" y="653783"/>
                    <a:pt x="332863" y="656502"/>
                  </a:cubicBezTo>
                  <a:cubicBezTo>
                    <a:pt x="343742" y="656502"/>
                    <a:pt x="351901" y="656502"/>
                    <a:pt x="357341" y="656502"/>
                  </a:cubicBezTo>
                  <a:cubicBezTo>
                    <a:pt x="370939" y="656502"/>
                    <a:pt x="395416" y="659222"/>
                    <a:pt x="395416" y="675540"/>
                  </a:cubicBezTo>
                  <a:cubicBezTo>
                    <a:pt x="395416" y="683699"/>
                    <a:pt x="392696" y="686419"/>
                    <a:pt x="389976" y="691858"/>
                  </a:cubicBezTo>
                  <a:cubicBezTo>
                    <a:pt x="384537" y="697297"/>
                    <a:pt x="379098" y="700017"/>
                    <a:pt x="373658" y="700017"/>
                  </a:cubicBezTo>
                  <a:cubicBezTo>
                    <a:pt x="365499" y="702737"/>
                    <a:pt x="357341" y="702737"/>
                    <a:pt x="351901" y="702737"/>
                  </a:cubicBezTo>
                  <a:cubicBezTo>
                    <a:pt x="349181" y="702737"/>
                    <a:pt x="335583" y="702737"/>
                    <a:pt x="319265" y="702737"/>
                  </a:cubicBezTo>
                  <a:cubicBezTo>
                    <a:pt x="316546" y="705456"/>
                    <a:pt x="313826" y="705456"/>
                    <a:pt x="311106" y="708176"/>
                  </a:cubicBezTo>
                  <a:cubicBezTo>
                    <a:pt x="302948" y="713615"/>
                    <a:pt x="297508" y="713615"/>
                    <a:pt x="289349" y="713615"/>
                  </a:cubicBezTo>
                  <a:cubicBezTo>
                    <a:pt x="283910" y="713615"/>
                    <a:pt x="278470" y="713615"/>
                    <a:pt x="270311" y="713615"/>
                  </a:cubicBezTo>
                  <a:cubicBezTo>
                    <a:pt x="259433" y="713615"/>
                    <a:pt x="251273" y="710895"/>
                    <a:pt x="243115" y="705456"/>
                  </a:cubicBezTo>
                  <a:cubicBezTo>
                    <a:pt x="240395" y="705456"/>
                    <a:pt x="237675" y="702737"/>
                    <a:pt x="237675" y="702737"/>
                  </a:cubicBezTo>
                  <a:cubicBezTo>
                    <a:pt x="224077" y="702737"/>
                    <a:pt x="213198" y="702737"/>
                    <a:pt x="199600" y="702737"/>
                  </a:cubicBezTo>
                  <a:cubicBezTo>
                    <a:pt x="191441" y="702737"/>
                    <a:pt x="183282" y="702737"/>
                    <a:pt x="175123" y="702737"/>
                  </a:cubicBezTo>
                  <a:cubicBezTo>
                    <a:pt x="166965" y="702737"/>
                    <a:pt x="156085" y="702737"/>
                    <a:pt x="147927" y="697297"/>
                  </a:cubicBezTo>
                  <a:cubicBezTo>
                    <a:pt x="139768" y="694578"/>
                    <a:pt x="131609" y="680979"/>
                    <a:pt x="131609" y="678260"/>
                  </a:cubicBezTo>
                  <a:cubicBezTo>
                    <a:pt x="131609" y="675540"/>
                    <a:pt x="131609" y="672820"/>
                    <a:pt x="137048" y="670101"/>
                  </a:cubicBezTo>
                  <a:cubicBezTo>
                    <a:pt x="142487" y="667381"/>
                    <a:pt x="153366" y="664661"/>
                    <a:pt x="158805" y="661942"/>
                  </a:cubicBezTo>
                  <a:cubicBezTo>
                    <a:pt x="175123" y="659222"/>
                    <a:pt x="191441" y="659222"/>
                    <a:pt x="199600" y="659222"/>
                  </a:cubicBezTo>
                  <a:lnTo>
                    <a:pt x="199600" y="659222"/>
                  </a:lnTo>
                  <a:cubicBezTo>
                    <a:pt x="199600" y="648343"/>
                    <a:pt x="196880" y="640184"/>
                    <a:pt x="196880" y="629306"/>
                  </a:cubicBezTo>
                  <a:cubicBezTo>
                    <a:pt x="196880" y="612988"/>
                    <a:pt x="196880" y="591231"/>
                    <a:pt x="199600" y="574913"/>
                  </a:cubicBezTo>
                  <a:cubicBezTo>
                    <a:pt x="199600" y="558595"/>
                    <a:pt x="199600" y="539557"/>
                    <a:pt x="202320" y="523239"/>
                  </a:cubicBezTo>
                  <a:cubicBezTo>
                    <a:pt x="202320" y="501482"/>
                    <a:pt x="205040" y="482445"/>
                    <a:pt x="205040" y="460687"/>
                  </a:cubicBezTo>
                  <a:cubicBezTo>
                    <a:pt x="205040" y="447089"/>
                    <a:pt x="205040" y="430771"/>
                    <a:pt x="205040" y="417173"/>
                  </a:cubicBezTo>
                  <a:cubicBezTo>
                    <a:pt x="205040" y="409014"/>
                    <a:pt x="207759" y="400855"/>
                    <a:pt x="207759" y="392696"/>
                  </a:cubicBezTo>
                  <a:cubicBezTo>
                    <a:pt x="207759" y="384537"/>
                    <a:pt x="210478" y="376378"/>
                    <a:pt x="210478" y="368219"/>
                  </a:cubicBezTo>
                  <a:cubicBezTo>
                    <a:pt x="210478" y="351901"/>
                    <a:pt x="210478" y="332864"/>
                    <a:pt x="210478" y="313826"/>
                  </a:cubicBezTo>
                  <a:cubicBezTo>
                    <a:pt x="210478" y="294788"/>
                    <a:pt x="210478" y="275751"/>
                    <a:pt x="210478" y="259433"/>
                  </a:cubicBezTo>
                  <a:cubicBezTo>
                    <a:pt x="210478" y="243115"/>
                    <a:pt x="210478" y="226797"/>
                    <a:pt x="210478" y="213199"/>
                  </a:cubicBezTo>
                  <a:cubicBezTo>
                    <a:pt x="210478" y="194161"/>
                    <a:pt x="210478" y="164245"/>
                    <a:pt x="210478" y="145207"/>
                  </a:cubicBezTo>
                  <a:cubicBezTo>
                    <a:pt x="210478" y="139768"/>
                    <a:pt x="213198" y="134329"/>
                    <a:pt x="213198" y="131609"/>
                  </a:cubicBezTo>
                  <a:cubicBezTo>
                    <a:pt x="213198" y="126170"/>
                    <a:pt x="207759" y="123450"/>
                    <a:pt x="205040" y="123450"/>
                  </a:cubicBezTo>
                  <a:cubicBezTo>
                    <a:pt x="199600" y="123450"/>
                    <a:pt x="166965" y="123450"/>
                    <a:pt x="161525" y="123450"/>
                  </a:cubicBezTo>
                  <a:cubicBezTo>
                    <a:pt x="145207" y="123450"/>
                    <a:pt x="128889" y="123450"/>
                    <a:pt x="112571" y="120730"/>
                  </a:cubicBezTo>
                  <a:cubicBezTo>
                    <a:pt x="109852" y="120730"/>
                    <a:pt x="107132" y="120730"/>
                    <a:pt x="104412" y="118011"/>
                  </a:cubicBezTo>
                  <a:cubicBezTo>
                    <a:pt x="107132" y="137048"/>
                    <a:pt x="107132" y="172404"/>
                    <a:pt x="107132" y="191441"/>
                  </a:cubicBezTo>
                  <a:cubicBezTo>
                    <a:pt x="107132" y="202320"/>
                    <a:pt x="107132" y="224077"/>
                    <a:pt x="90814" y="224077"/>
                  </a:cubicBezTo>
                  <a:cubicBezTo>
                    <a:pt x="82655" y="224077"/>
                    <a:pt x="79935" y="221357"/>
                    <a:pt x="74496" y="218638"/>
                  </a:cubicBezTo>
                  <a:cubicBezTo>
                    <a:pt x="69057" y="215918"/>
                    <a:pt x="66337" y="210479"/>
                    <a:pt x="66337" y="205040"/>
                  </a:cubicBezTo>
                  <a:cubicBezTo>
                    <a:pt x="63617" y="196881"/>
                    <a:pt x="63617" y="191441"/>
                    <a:pt x="63617" y="186002"/>
                  </a:cubicBezTo>
                  <a:cubicBezTo>
                    <a:pt x="63617" y="180563"/>
                    <a:pt x="63617" y="153366"/>
                    <a:pt x="63617" y="145207"/>
                  </a:cubicBezTo>
                  <a:cubicBezTo>
                    <a:pt x="63617" y="134329"/>
                    <a:pt x="63617" y="120730"/>
                    <a:pt x="63617" y="109852"/>
                  </a:cubicBezTo>
                  <a:cubicBezTo>
                    <a:pt x="60897" y="104412"/>
                    <a:pt x="58178" y="101693"/>
                    <a:pt x="58178" y="96253"/>
                  </a:cubicBezTo>
                  <a:cubicBezTo>
                    <a:pt x="58178" y="93534"/>
                    <a:pt x="60897" y="88095"/>
                    <a:pt x="66337" y="85375"/>
                  </a:cubicBezTo>
                  <a:cubicBezTo>
                    <a:pt x="74496" y="79936"/>
                    <a:pt x="77215" y="77216"/>
                    <a:pt x="93533" y="77216"/>
                  </a:cubicBezTo>
                  <a:cubicBezTo>
                    <a:pt x="101692" y="77216"/>
                    <a:pt x="109852" y="77216"/>
                    <a:pt x="115290" y="77216"/>
                  </a:cubicBezTo>
                  <a:cubicBezTo>
                    <a:pt x="134328" y="77216"/>
                    <a:pt x="150646" y="77216"/>
                    <a:pt x="169684" y="74496"/>
                  </a:cubicBezTo>
                  <a:cubicBezTo>
                    <a:pt x="177843" y="74496"/>
                    <a:pt x="186002" y="71776"/>
                    <a:pt x="194161" y="71776"/>
                  </a:cubicBezTo>
                  <a:cubicBezTo>
                    <a:pt x="194161" y="71776"/>
                    <a:pt x="196880" y="71776"/>
                    <a:pt x="196880" y="71776"/>
                  </a:cubicBezTo>
                  <a:cubicBezTo>
                    <a:pt x="199600" y="71776"/>
                    <a:pt x="205040" y="71776"/>
                    <a:pt x="210478" y="71776"/>
                  </a:cubicBezTo>
                  <a:cubicBezTo>
                    <a:pt x="213198" y="71776"/>
                    <a:pt x="215918" y="71776"/>
                    <a:pt x="218638" y="71776"/>
                  </a:cubicBezTo>
                  <a:cubicBezTo>
                    <a:pt x="224077" y="69057"/>
                    <a:pt x="229516" y="63618"/>
                    <a:pt x="237675" y="60898"/>
                  </a:cubicBezTo>
                  <a:cubicBezTo>
                    <a:pt x="243115" y="58178"/>
                    <a:pt x="248554" y="58178"/>
                    <a:pt x="253993" y="58178"/>
                  </a:cubicBezTo>
                  <a:cubicBezTo>
                    <a:pt x="264872" y="58178"/>
                    <a:pt x="273031" y="58178"/>
                    <a:pt x="283910" y="60898"/>
                  </a:cubicBezTo>
                  <a:cubicBezTo>
                    <a:pt x="286629" y="60898"/>
                    <a:pt x="292068" y="63618"/>
                    <a:pt x="294788" y="66337"/>
                  </a:cubicBezTo>
                  <a:cubicBezTo>
                    <a:pt x="297508" y="69057"/>
                    <a:pt x="302948" y="71776"/>
                    <a:pt x="305667" y="74496"/>
                  </a:cubicBezTo>
                  <a:cubicBezTo>
                    <a:pt x="308386" y="74496"/>
                    <a:pt x="311106" y="74496"/>
                    <a:pt x="313826" y="74496"/>
                  </a:cubicBezTo>
                  <a:cubicBezTo>
                    <a:pt x="319265" y="74496"/>
                    <a:pt x="321985" y="74496"/>
                    <a:pt x="327424" y="74496"/>
                  </a:cubicBezTo>
                  <a:cubicBezTo>
                    <a:pt x="335583" y="74496"/>
                    <a:pt x="346461" y="74496"/>
                    <a:pt x="354621" y="74496"/>
                  </a:cubicBezTo>
                  <a:cubicBezTo>
                    <a:pt x="376378" y="74496"/>
                    <a:pt x="400855" y="74496"/>
                    <a:pt x="422612" y="74496"/>
                  </a:cubicBezTo>
                  <a:cubicBezTo>
                    <a:pt x="433491" y="74496"/>
                    <a:pt x="447089" y="74496"/>
                    <a:pt x="455248" y="79936"/>
                  </a:cubicBezTo>
                  <a:cubicBezTo>
                    <a:pt x="460687" y="82655"/>
                    <a:pt x="466127" y="90814"/>
                    <a:pt x="466127" y="98973"/>
                  </a:cubicBezTo>
                  <a:cubicBezTo>
                    <a:pt x="466127" y="101693"/>
                    <a:pt x="466127" y="107132"/>
                    <a:pt x="463407" y="109852"/>
                  </a:cubicBezTo>
                  <a:cubicBezTo>
                    <a:pt x="463407" y="112571"/>
                    <a:pt x="463407" y="112571"/>
                    <a:pt x="463407" y="120730"/>
                  </a:cubicBezTo>
                  <a:cubicBezTo>
                    <a:pt x="463407" y="142488"/>
                    <a:pt x="463407" y="172404"/>
                    <a:pt x="463407" y="194161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272480193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E6CF7A3-C01B-4858-95E5-B008688EC0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1" y="152400"/>
            <a:ext cx="11430001" cy="485335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8C0B5B2-035E-4875-9E0B-65D7693B97EB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381001" y="914400"/>
            <a:ext cx="5610221" cy="51054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 or choose an icon below to insert other conten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51C9F57-0475-48B8-B2C4-3C1B844EB79F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6200774" y="914401"/>
            <a:ext cx="5610221" cy="51054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 or choose an icon below to insert other conten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38D6859-D53D-4387-B548-092AE96646A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055389" y="6307159"/>
            <a:ext cx="914400" cy="158954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9800914-2B16-461D-99E1-47F26402478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32534" y="6307159"/>
            <a:ext cx="7104770" cy="158954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A110C2F-EFB2-4168-86BE-C3ABA04BA60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F95A1E-4E3E-4AAD-A517-7DAD9580D6B2}" type="slidenum">
              <a:rPr lang="en-US"/>
              <a:t>‹N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0292810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1081126-3DF6-4AE2-A8AE-6034E9AA396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1" y="152400"/>
            <a:ext cx="11430001" cy="485335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DE021F4-C37C-4B7E-96F0-1DCC6296730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055389" y="6307159"/>
            <a:ext cx="914400" cy="158954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343FD06-8A80-436E-AAD0-0B4CC79FEF8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32534" y="6307159"/>
            <a:ext cx="7104770" cy="158954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B54BFCC-9FE5-4526-91E6-920CEB6231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5A54F4-DB31-4FC5-B748-3F06867349C3}" type="slidenum">
              <a:rPr lang="en-US"/>
              <a:pPr/>
              <a:t>‹N›</a:t>
            </a:fld>
            <a:endParaRPr lang="en-US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45AA6A50-CF51-470A-8339-2A98B2291152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381000" y="914400"/>
            <a:ext cx="3733800" cy="51054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 or choose an icon below to insert other conten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Content Placeholder 6">
            <a:extLst>
              <a:ext uri="{FF2B5EF4-FFF2-40B4-BE49-F238E27FC236}">
                <a16:creationId xmlns:a16="http://schemas.microsoft.com/office/drawing/2014/main" id="{EC50042C-8E0C-40C9-A488-3584EFC873E7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4229100" y="914400"/>
            <a:ext cx="3733800" cy="51054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 or choose an icon below to insert other conten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Content Placeholder 6">
            <a:extLst>
              <a:ext uri="{FF2B5EF4-FFF2-40B4-BE49-F238E27FC236}">
                <a16:creationId xmlns:a16="http://schemas.microsoft.com/office/drawing/2014/main" id="{E85AC529-F215-45F0-A438-817CEBA3DFFA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8077200" y="914400"/>
            <a:ext cx="3733800" cy="51054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 or choose an icon below to insert other conten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66514568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Circle Picture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10">
            <a:extLst>
              <a:ext uri="{FF2B5EF4-FFF2-40B4-BE49-F238E27FC236}">
                <a16:creationId xmlns:a16="http://schemas.microsoft.com/office/drawing/2014/main" id="{655B1FCA-4D49-4122-B6E9-D550AA0C5E76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2"/>
            <a:ext cx="5266036" cy="6857999"/>
          </a:xfrm>
          <a:custGeom>
            <a:avLst/>
            <a:gdLst>
              <a:gd name="connsiteX0" fmla="*/ 0 w 5266036"/>
              <a:gd name="connsiteY0" fmla="*/ 0 h 6857999"/>
              <a:gd name="connsiteX1" fmla="*/ 3014696 w 5266036"/>
              <a:gd name="connsiteY1" fmla="*/ 0 h 6857999"/>
              <a:gd name="connsiteX2" fmla="*/ 3040982 w 5266036"/>
              <a:gd name="connsiteY2" fmla="*/ 11408 h 6857999"/>
              <a:gd name="connsiteX3" fmla="*/ 5250901 w 5266036"/>
              <a:gd name="connsiteY3" fmla="*/ 4085922 h 6857999"/>
              <a:gd name="connsiteX4" fmla="*/ 3435696 w 5266036"/>
              <a:gd name="connsiteY4" fmla="*/ 6839477 h 6857999"/>
              <a:gd name="connsiteX5" fmla="*/ 3398838 w 5266036"/>
              <a:gd name="connsiteY5" fmla="*/ 6857999 h 6857999"/>
              <a:gd name="connsiteX6" fmla="*/ 0 w 5266036"/>
              <a:gd name="connsiteY6" fmla="*/ 6857999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266036" h="6857999">
                <a:moveTo>
                  <a:pt x="0" y="0"/>
                </a:moveTo>
                <a:lnTo>
                  <a:pt x="3014696" y="0"/>
                </a:lnTo>
                <a:lnTo>
                  <a:pt x="3040982" y="11408"/>
                </a:lnTo>
                <a:cubicBezTo>
                  <a:pt x="4562919" y="717837"/>
                  <a:pt x="5390071" y="2397951"/>
                  <a:pt x="5250901" y="4085922"/>
                </a:cubicBezTo>
                <a:cubicBezTo>
                  <a:pt x="5138669" y="5484335"/>
                  <a:pt x="4361602" y="6343612"/>
                  <a:pt x="3435696" y="6839477"/>
                </a:cubicBezTo>
                <a:lnTo>
                  <a:pt x="3398838" y="6857999"/>
                </a:lnTo>
                <a:lnTo>
                  <a:pt x="0" y="6857999"/>
                </a:lnTo>
                <a:close/>
              </a:path>
            </a:pathLst>
          </a:custGeom>
          <a:solidFill>
            <a:srgbClr val="D9D9D9"/>
          </a:solidFill>
        </p:spPr>
        <p:txBody>
          <a:bodyPr wrap="square" tIns="3657600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Arial" panose="020B0604020202020204" pitchFamily="34" charset="0"/>
              <a:buNone/>
              <a:tabLst/>
              <a:defRPr sz="16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dirty="0"/>
              <a:t>Click icon to insert picture</a:t>
            </a:r>
            <a:br>
              <a:rPr dirty="0"/>
            </a:br>
            <a:r>
              <a:rPr dirty="0"/>
              <a:t>(minimum recommended size for </a:t>
            </a:r>
            <a:br>
              <a:rPr dirty="0"/>
            </a:br>
            <a:r>
              <a:rPr dirty="0"/>
              <a:t>half slide image is 640 x 720 pixels)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76608E2E-E744-4878-A234-60F6B6711C8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096000" y="3306349"/>
            <a:ext cx="5715000" cy="731520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2000"/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t>Subtitle or Presenter Name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3534CB02-81D9-4803-9899-8E6A2EABA97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0" y="457200"/>
            <a:ext cx="5715000" cy="2565401"/>
          </a:xfrm>
        </p:spPr>
        <p:txBody>
          <a:bodyPr/>
          <a:lstStyle>
            <a:lvl1pPr>
              <a:lnSpc>
                <a:spcPct val="82000"/>
              </a:lnSpc>
              <a:defRPr sz="6600" b="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0A6D84BC-9F4C-46D1-BCFD-02C11A706D43}"/>
              </a:ext>
            </a:extLst>
          </p:cNvPr>
          <p:cNvGrpSpPr>
            <a:grpSpLocks noChangeAspect="1"/>
          </p:cNvGrpSpPr>
          <p:nvPr/>
        </p:nvGrpSpPr>
        <p:grpSpPr>
          <a:xfrm>
            <a:off x="9544152" y="5543531"/>
            <a:ext cx="2286000" cy="880288"/>
            <a:chOff x="2078951" y="1888610"/>
            <a:chExt cx="8030200" cy="3092248"/>
          </a:xfrm>
          <a:solidFill>
            <a:srgbClr val="4F2170"/>
          </a:solidFill>
        </p:grpSpPr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5272DA5A-B0A1-4433-AF19-58D29499701D}"/>
                </a:ext>
              </a:extLst>
            </p:cNvPr>
            <p:cNvSpPr/>
            <p:nvPr/>
          </p:nvSpPr>
          <p:spPr>
            <a:xfrm>
              <a:off x="2078951" y="2872694"/>
              <a:ext cx="951880" cy="652717"/>
            </a:xfrm>
            <a:custGeom>
              <a:avLst/>
              <a:gdLst>
                <a:gd name="connsiteX0" fmla="*/ 903041 w 951880"/>
                <a:gd name="connsiteY0" fmla="*/ 330574 h 652717"/>
                <a:gd name="connsiteX1" fmla="*/ 780656 w 951880"/>
                <a:gd name="connsiteY1" fmla="*/ 379528 h 652717"/>
                <a:gd name="connsiteX2" fmla="*/ 598439 w 951880"/>
                <a:gd name="connsiteY2" fmla="*/ 311537 h 652717"/>
                <a:gd name="connsiteX3" fmla="*/ 505970 w 951880"/>
                <a:gd name="connsiteY3" fmla="*/ 164675 h 652717"/>
                <a:gd name="connsiteX4" fmla="*/ 266640 w 951880"/>
                <a:gd name="connsiteY4" fmla="*/ 61329 h 652717"/>
                <a:gd name="connsiteX5" fmla="*/ 103461 w 951880"/>
                <a:gd name="connsiteY5" fmla="*/ 458398 h 652717"/>
                <a:gd name="connsiteX6" fmla="*/ 756179 w 951880"/>
                <a:gd name="connsiteY6" fmla="*/ 485595 h 652717"/>
                <a:gd name="connsiteX7" fmla="*/ 903041 w 951880"/>
                <a:gd name="connsiteY7" fmla="*/ 330574 h 6527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51880" h="652717">
                  <a:moveTo>
                    <a:pt x="903041" y="330574"/>
                  </a:moveTo>
                  <a:cubicBezTo>
                    <a:pt x="867685" y="363210"/>
                    <a:pt x="813292" y="374089"/>
                    <a:pt x="780656" y="379528"/>
                  </a:cubicBezTo>
                  <a:cubicBezTo>
                    <a:pt x="712664" y="387687"/>
                    <a:pt x="641953" y="365930"/>
                    <a:pt x="598439" y="311537"/>
                  </a:cubicBezTo>
                  <a:cubicBezTo>
                    <a:pt x="563083" y="268022"/>
                    <a:pt x="544046" y="210910"/>
                    <a:pt x="505970" y="164675"/>
                  </a:cubicBezTo>
                  <a:cubicBezTo>
                    <a:pt x="448858" y="93964"/>
                    <a:pt x="359109" y="45011"/>
                    <a:pt x="266640" y="61329"/>
                  </a:cubicBezTo>
                  <a:cubicBezTo>
                    <a:pt x="81704" y="93964"/>
                    <a:pt x="114" y="308817"/>
                    <a:pt x="103461" y="458398"/>
                  </a:cubicBezTo>
                  <a:cubicBezTo>
                    <a:pt x="253042" y="670531"/>
                    <a:pt x="584840" y="635176"/>
                    <a:pt x="756179" y="485595"/>
                  </a:cubicBezTo>
                  <a:cubicBezTo>
                    <a:pt x="813292" y="442080"/>
                    <a:pt x="862246" y="390407"/>
                    <a:pt x="903041" y="330574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010AB75D-54FA-4127-838D-A2CDC911B648}"/>
                </a:ext>
              </a:extLst>
            </p:cNvPr>
            <p:cNvSpPr/>
            <p:nvPr/>
          </p:nvSpPr>
          <p:spPr>
            <a:xfrm>
              <a:off x="9151831" y="2872694"/>
              <a:ext cx="951880" cy="652717"/>
            </a:xfrm>
            <a:custGeom>
              <a:avLst/>
              <a:gdLst>
                <a:gd name="connsiteX0" fmla="*/ 58178 w 951880"/>
                <a:gd name="connsiteY0" fmla="*/ 330574 h 652717"/>
                <a:gd name="connsiteX1" fmla="*/ 180563 w 951880"/>
                <a:gd name="connsiteY1" fmla="*/ 379528 h 652717"/>
                <a:gd name="connsiteX2" fmla="*/ 362780 w 951880"/>
                <a:gd name="connsiteY2" fmla="*/ 311537 h 652717"/>
                <a:gd name="connsiteX3" fmla="*/ 455249 w 951880"/>
                <a:gd name="connsiteY3" fmla="*/ 164675 h 652717"/>
                <a:gd name="connsiteX4" fmla="*/ 694578 w 951880"/>
                <a:gd name="connsiteY4" fmla="*/ 61329 h 652717"/>
                <a:gd name="connsiteX5" fmla="*/ 857758 w 951880"/>
                <a:gd name="connsiteY5" fmla="*/ 458398 h 652717"/>
                <a:gd name="connsiteX6" fmla="*/ 205040 w 951880"/>
                <a:gd name="connsiteY6" fmla="*/ 485595 h 652717"/>
                <a:gd name="connsiteX7" fmla="*/ 58178 w 951880"/>
                <a:gd name="connsiteY7" fmla="*/ 330574 h 6527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51880" h="652717">
                  <a:moveTo>
                    <a:pt x="58178" y="330574"/>
                  </a:moveTo>
                  <a:cubicBezTo>
                    <a:pt x="96253" y="363210"/>
                    <a:pt x="147927" y="374089"/>
                    <a:pt x="180563" y="379528"/>
                  </a:cubicBezTo>
                  <a:cubicBezTo>
                    <a:pt x="248554" y="387687"/>
                    <a:pt x="319266" y="365930"/>
                    <a:pt x="362780" y="311537"/>
                  </a:cubicBezTo>
                  <a:cubicBezTo>
                    <a:pt x="398136" y="268022"/>
                    <a:pt x="417174" y="210910"/>
                    <a:pt x="455249" y="164675"/>
                  </a:cubicBezTo>
                  <a:cubicBezTo>
                    <a:pt x="512362" y="93964"/>
                    <a:pt x="602110" y="45011"/>
                    <a:pt x="694578" y="61329"/>
                  </a:cubicBezTo>
                  <a:cubicBezTo>
                    <a:pt x="879515" y="93964"/>
                    <a:pt x="961105" y="308817"/>
                    <a:pt x="857758" y="458398"/>
                  </a:cubicBezTo>
                  <a:cubicBezTo>
                    <a:pt x="708176" y="670531"/>
                    <a:pt x="376379" y="635176"/>
                    <a:pt x="205040" y="485595"/>
                  </a:cubicBezTo>
                  <a:cubicBezTo>
                    <a:pt x="150646" y="442080"/>
                    <a:pt x="101693" y="390407"/>
                    <a:pt x="58178" y="330574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C73C4E44-0B9D-4D7D-A72A-E10AA3E25788}"/>
                </a:ext>
              </a:extLst>
            </p:cNvPr>
            <p:cNvSpPr/>
            <p:nvPr/>
          </p:nvSpPr>
          <p:spPr>
            <a:xfrm>
              <a:off x="8001294" y="2010994"/>
              <a:ext cx="734308" cy="299162"/>
            </a:xfrm>
            <a:custGeom>
              <a:avLst/>
              <a:gdLst>
                <a:gd name="connsiteX0" fmla="*/ 596792 w 734307"/>
                <a:gd name="connsiteY0" fmla="*/ 58178 h 299162"/>
                <a:gd name="connsiteX1" fmla="*/ 148048 w 734307"/>
                <a:gd name="connsiteY1" fmla="*/ 58178 h 299162"/>
                <a:gd name="connsiteX2" fmla="*/ 58299 w 734307"/>
                <a:gd name="connsiteY2" fmla="*/ 150646 h 299162"/>
                <a:gd name="connsiteX3" fmla="*/ 148048 w 734307"/>
                <a:gd name="connsiteY3" fmla="*/ 251274 h 299162"/>
                <a:gd name="connsiteX4" fmla="*/ 596792 w 734307"/>
                <a:gd name="connsiteY4" fmla="*/ 251274 h 299162"/>
                <a:gd name="connsiteX5" fmla="*/ 686541 w 734307"/>
                <a:gd name="connsiteY5" fmla="*/ 158805 h 299162"/>
                <a:gd name="connsiteX6" fmla="*/ 596792 w 734307"/>
                <a:gd name="connsiteY6" fmla="*/ 58178 h 2991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34307" h="299162">
                  <a:moveTo>
                    <a:pt x="596792" y="58178"/>
                  </a:moveTo>
                  <a:cubicBezTo>
                    <a:pt x="591353" y="58178"/>
                    <a:pt x="153487" y="58178"/>
                    <a:pt x="148048" y="58178"/>
                  </a:cubicBezTo>
                  <a:cubicBezTo>
                    <a:pt x="99094" y="60898"/>
                    <a:pt x="61019" y="104412"/>
                    <a:pt x="58299" y="150646"/>
                  </a:cubicBezTo>
                  <a:cubicBezTo>
                    <a:pt x="55580" y="199600"/>
                    <a:pt x="99094" y="248554"/>
                    <a:pt x="148048" y="251274"/>
                  </a:cubicBezTo>
                  <a:cubicBezTo>
                    <a:pt x="153487" y="251274"/>
                    <a:pt x="591353" y="251274"/>
                    <a:pt x="596792" y="251274"/>
                  </a:cubicBezTo>
                  <a:cubicBezTo>
                    <a:pt x="645746" y="248554"/>
                    <a:pt x="683821" y="205040"/>
                    <a:pt x="686541" y="158805"/>
                  </a:cubicBezTo>
                  <a:cubicBezTo>
                    <a:pt x="689260" y="109852"/>
                    <a:pt x="648465" y="60898"/>
                    <a:pt x="596792" y="58178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5F17AEE1-933D-430A-938B-044F9EEF7E0F}"/>
                </a:ext>
              </a:extLst>
            </p:cNvPr>
            <p:cNvSpPr/>
            <p:nvPr/>
          </p:nvSpPr>
          <p:spPr>
            <a:xfrm>
              <a:off x="4920042" y="2277520"/>
              <a:ext cx="1006274" cy="951879"/>
            </a:xfrm>
            <a:custGeom>
              <a:avLst/>
              <a:gdLst>
                <a:gd name="connsiteX0" fmla="*/ 884954 w 1006273"/>
                <a:gd name="connsiteY0" fmla="*/ 746251 h 951879"/>
                <a:gd name="connsiteX1" fmla="*/ 874076 w 1006273"/>
                <a:gd name="connsiteY1" fmla="*/ 670101 h 951879"/>
                <a:gd name="connsiteX2" fmla="*/ 874076 w 1006273"/>
                <a:gd name="connsiteY2" fmla="*/ 536837 h 951879"/>
                <a:gd name="connsiteX3" fmla="*/ 689139 w 1006273"/>
                <a:gd name="connsiteY3" fmla="*/ 88094 h 951879"/>
                <a:gd name="connsiteX4" fmla="*/ 428052 w 1006273"/>
                <a:gd name="connsiteY4" fmla="*/ 253993 h 951879"/>
                <a:gd name="connsiteX5" fmla="*/ 196881 w 1006273"/>
                <a:gd name="connsiteY5" fmla="*/ 58178 h 951879"/>
                <a:gd name="connsiteX6" fmla="*/ 58178 w 1006273"/>
                <a:gd name="connsiteY6" fmla="*/ 128889 h 951879"/>
                <a:gd name="connsiteX7" fmla="*/ 142488 w 1006273"/>
                <a:gd name="connsiteY7" fmla="*/ 273031 h 951879"/>
                <a:gd name="connsiteX8" fmla="*/ 142488 w 1006273"/>
                <a:gd name="connsiteY8" fmla="*/ 757130 h 951879"/>
                <a:gd name="connsiteX9" fmla="*/ 283910 w 1006273"/>
                <a:gd name="connsiteY9" fmla="*/ 895832 h 951879"/>
                <a:gd name="connsiteX10" fmla="*/ 428052 w 1006273"/>
                <a:gd name="connsiteY10" fmla="*/ 757130 h 951879"/>
                <a:gd name="connsiteX11" fmla="*/ 428052 w 1006273"/>
                <a:gd name="connsiteY11" fmla="*/ 400855 h 951879"/>
                <a:gd name="connsiteX12" fmla="*/ 523240 w 1006273"/>
                <a:gd name="connsiteY12" fmla="*/ 283910 h 951879"/>
                <a:gd name="connsiteX13" fmla="*/ 591231 w 1006273"/>
                <a:gd name="connsiteY13" fmla="*/ 354621 h 951879"/>
                <a:gd name="connsiteX14" fmla="*/ 591231 w 1006273"/>
                <a:gd name="connsiteY14" fmla="*/ 697297 h 951879"/>
                <a:gd name="connsiteX15" fmla="*/ 593951 w 1006273"/>
                <a:gd name="connsiteY15" fmla="*/ 729933 h 951879"/>
                <a:gd name="connsiteX16" fmla="*/ 610269 w 1006273"/>
                <a:gd name="connsiteY16" fmla="*/ 778887 h 951879"/>
                <a:gd name="connsiteX17" fmla="*/ 822402 w 1006273"/>
                <a:gd name="connsiteY17" fmla="*/ 893112 h 951879"/>
                <a:gd name="connsiteX18" fmla="*/ 961105 w 1006273"/>
                <a:gd name="connsiteY18" fmla="*/ 822401 h 951879"/>
                <a:gd name="connsiteX19" fmla="*/ 884954 w 1006273"/>
                <a:gd name="connsiteY19" fmla="*/ 746251 h 9518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006273" h="951879">
                  <a:moveTo>
                    <a:pt x="884954" y="746251"/>
                  </a:moveTo>
                  <a:cubicBezTo>
                    <a:pt x="879515" y="721774"/>
                    <a:pt x="876795" y="694578"/>
                    <a:pt x="874076" y="670101"/>
                  </a:cubicBezTo>
                  <a:cubicBezTo>
                    <a:pt x="874076" y="634745"/>
                    <a:pt x="874076" y="583072"/>
                    <a:pt x="874076" y="536837"/>
                  </a:cubicBezTo>
                  <a:cubicBezTo>
                    <a:pt x="879515" y="373658"/>
                    <a:pt x="909431" y="88094"/>
                    <a:pt x="689139" y="88094"/>
                  </a:cubicBezTo>
                  <a:cubicBezTo>
                    <a:pt x="539558" y="88094"/>
                    <a:pt x="452529" y="213199"/>
                    <a:pt x="428052" y="253993"/>
                  </a:cubicBezTo>
                  <a:cubicBezTo>
                    <a:pt x="425332" y="139768"/>
                    <a:pt x="335583" y="58178"/>
                    <a:pt x="196881" y="58178"/>
                  </a:cubicBezTo>
                  <a:cubicBezTo>
                    <a:pt x="109852" y="58178"/>
                    <a:pt x="58178" y="128889"/>
                    <a:pt x="58178" y="128889"/>
                  </a:cubicBezTo>
                  <a:cubicBezTo>
                    <a:pt x="58178" y="128889"/>
                    <a:pt x="142488" y="158805"/>
                    <a:pt x="142488" y="273031"/>
                  </a:cubicBezTo>
                  <a:cubicBezTo>
                    <a:pt x="142488" y="354621"/>
                    <a:pt x="142488" y="757130"/>
                    <a:pt x="142488" y="757130"/>
                  </a:cubicBezTo>
                  <a:cubicBezTo>
                    <a:pt x="145207" y="827841"/>
                    <a:pt x="194161" y="895832"/>
                    <a:pt x="283910" y="895832"/>
                  </a:cubicBezTo>
                  <a:cubicBezTo>
                    <a:pt x="373659" y="895832"/>
                    <a:pt x="428052" y="827841"/>
                    <a:pt x="428052" y="757130"/>
                  </a:cubicBezTo>
                  <a:lnTo>
                    <a:pt x="428052" y="400855"/>
                  </a:lnTo>
                  <a:cubicBezTo>
                    <a:pt x="441650" y="343742"/>
                    <a:pt x="474286" y="283910"/>
                    <a:pt x="523240" y="283910"/>
                  </a:cubicBezTo>
                  <a:cubicBezTo>
                    <a:pt x="585792" y="283910"/>
                    <a:pt x="591231" y="354621"/>
                    <a:pt x="591231" y="354621"/>
                  </a:cubicBezTo>
                  <a:lnTo>
                    <a:pt x="591231" y="697297"/>
                  </a:lnTo>
                  <a:cubicBezTo>
                    <a:pt x="591231" y="708176"/>
                    <a:pt x="593951" y="719054"/>
                    <a:pt x="593951" y="729933"/>
                  </a:cubicBezTo>
                  <a:cubicBezTo>
                    <a:pt x="596671" y="748971"/>
                    <a:pt x="602110" y="765289"/>
                    <a:pt x="610269" y="778887"/>
                  </a:cubicBezTo>
                  <a:cubicBezTo>
                    <a:pt x="645624" y="846878"/>
                    <a:pt x="719055" y="893112"/>
                    <a:pt x="822402" y="893112"/>
                  </a:cubicBezTo>
                  <a:cubicBezTo>
                    <a:pt x="909431" y="893112"/>
                    <a:pt x="961105" y="822401"/>
                    <a:pt x="961105" y="822401"/>
                  </a:cubicBezTo>
                  <a:cubicBezTo>
                    <a:pt x="961105" y="822401"/>
                    <a:pt x="909431" y="808803"/>
                    <a:pt x="884954" y="746251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4A198EB9-1147-497F-9629-D20241548224}"/>
                </a:ext>
              </a:extLst>
            </p:cNvPr>
            <p:cNvSpPr/>
            <p:nvPr/>
          </p:nvSpPr>
          <p:spPr>
            <a:xfrm>
              <a:off x="7552331" y="1888610"/>
              <a:ext cx="489539" cy="1332631"/>
            </a:xfrm>
            <a:custGeom>
              <a:avLst/>
              <a:gdLst>
                <a:gd name="connsiteX0" fmla="*/ 368560 w 489538"/>
                <a:gd name="connsiteY0" fmla="*/ 1135162 h 1332630"/>
                <a:gd name="connsiteX1" fmla="*/ 357681 w 489538"/>
                <a:gd name="connsiteY1" fmla="*/ 1059011 h 1332630"/>
                <a:gd name="connsiteX2" fmla="*/ 357681 w 489538"/>
                <a:gd name="connsiteY2" fmla="*/ 207759 h 1332630"/>
                <a:gd name="connsiteX3" fmla="*/ 208099 w 489538"/>
                <a:gd name="connsiteY3" fmla="*/ 58178 h 1332630"/>
                <a:gd name="connsiteX4" fmla="*/ 58518 w 489538"/>
                <a:gd name="connsiteY4" fmla="*/ 207759 h 1332630"/>
                <a:gd name="connsiteX5" fmla="*/ 58518 w 489538"/>
                <a:gd name="connsiteY5" fmla="*/ 961104 h 1332630"/>
                <a:gd name="connsiteX6" fmla="*/ 85715 w 489538"/>
                <a:gd name="connsiteY6" fmla="*/ 1159639 h 1332630"/>
                <a:gd name="connsiteX7" fmla="*/ 306007 w 489538"/>
                <a:gd name="connsiteY7" fmla="*/ 1282023 h 1332630"/>
                <a:gd name="connsiteX8" fmla="*/ 444710 w 489538"/>
                <a:gd name="connsiteY8" fmla="*/ 1211312 h 1332630"/>
                <a:gd name="connsiteX9" fmla="*/ 368560 w 489538"/>
                <a:gd name="connsiteY9" fmla="*/ 1135162 h 13326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89538" h="1332630">
                  <a:moveTo>
                    <a:pt x="368560" y="1135162"/>
                  </a:moveTo>
                  <a:cubicBezTo>
                    <a:pt x="363120" y="1110685"/>
                    <a:pt x="357681" y="1083488"/>
                    <a:pt x="357681" y="1059011"/>
                  </a:cubicBezTo>
                  <a:lnTo>
                    <a:pt x="357681" y="207759"/>
                  </a:lnTo>
                  <a:cubicBezTo>
                    <a:pt x="357681" y="126170"/>
                    <a:pt x="289689" y="58178"/>
                    <a:pt x="208099" y="58178"/>
                  </a:cubicBezTo>
                  <a:cubicBezTo>
                    <a:pt x="126510" y="58178"/>
                    <a:pt x="58518" y="126170"/>
                    <a:pt x="58518" y="207759"/>
                  </a:cubicBezTo>
                  <a:lnTo>
                    <a:pt x="58518" y="961104"/>
                  </a:lnTo>
                  <a:cubicBezTo>
                    <a:pt x="58518" y="1029095"/>
                    <a:pt x="53079" y="1097086"/>
                    <a:pt x="85715" y="1159639"/>
                  </a:cubicBezTo>
                  <a:cubicBezTo>
                    <a:pt x="118351" y="1227630"/>
                    <a:pt x="202660" y="1282023"/>
                    <a:pt x="306007" y="1282023"/>
                  </a:cubicBezTo>
                  <a:cubicBezTo>
                    <a:pt x="393036" y="1282023"/>
                    <a:pt x="444710" y="1211312"/>
                    <a:pt x="444710" y="1211312"/>
                  </a:cubicBezTo>
                  <a:cubicBezTo>
                    <a:pt x="444710" y="1211312"/>
                    <a:pt x="393036" y="1197714"/>
                    <a:pt x="368560" y="1135162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C489DA5D-3FDF-41B6-8FEC-3BAA766E6DD2}"/>
                </a:ext>
              </a:extLst>
            </p:cNvPr>
            <p:cNvSpPr/>
            <p:nvPr/>
          </p:nvSpPr>
          <p:spPr>
            <a:xfrm>
              <a:off x="4162324" y="2357456"/>
              <a:ext cx="815899" cy="815898"/>
            </a:xfrm>
            <a:custGeom>
              <a:avLst/>
              <a:gdLst>
                <a:gd name="connsiteX0" fmla="*/ 407949 w 815899"/>
                <a:gd name="connsiteY0" fmla="*/ 174058 h 815898"/>
                <a:gd name="connsiteX1" fmla="*/ 293723 w 815899"/>
                <a:gd name="connsiteY1" fmla="*/ 407950 h 815898"/>
                <a:gd name="connsiteX2" fmla="*/ 410669 w 815899"/>
                <a:gd name="connsiteY2" fmla="*/ 641840 h 815898"/>
                <a:gd name="connsiteX3" fmla="*/ 522175 w 815899"/>
                <a:gd name="connsiteY3" fmla="*/ 407950 h 815898"/>
                <a:gd name="connsiteX4" fmla="*/ 407949 w 815899"/>
                <a:gd name="connsiteY4" fmla="*/ 174058 h 815898"/>
                <a:gd name="connsiteX5" fmla="*/ 407950 w 815899"/>
                <a:gd name="connsiteY5" fmla="*/ 0 h 815898"/>
                <a:gd name="connsiteX6" fmla="*/ 815899 w 815899"/>
                <a:gd name="connsiteY6" fmla="*/ 407949 h 815898"/>
                <a:gd name="connsiteX7" fmla="*/ 407950 w 815899"/>
                <a:gd name="connsiteY7" fmla="*/ 815898 h 815898"/>
                <a:gd name="connsiteX8" fmla="*/ 0 w 815899"/>
                <a:gd name="connsiteY8" fmla="*/ 407949 h 815898"/>
                <a:gd name="connsiteX9" fmla="*/ 407950 w 815899"/>
                <a:gd name="connsiteY9" fmla="*/ 0 h 815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15899" h="815898">
                  <a:moveTo>
                    <a:pt x="407949" y="174058"/>
                  </a:moveTo>
                  <a:cubicBezTo>
                    <a:pt x="342677" y="174058"/>
                    <a:pt x="293723" y="263807"/>
                    <a:pt x="293723" y="407950"/>
                  </a:cubicBezTo>
                  <a:cubicBezTo>
                    <a:pt x="293723" y="552091"/>
                    <a:pt x="331799" y="639120"/>
                    <a:pt x="410669" y="641840"/>
                  </a:cubicBezTo>
                  <a:cubicBezTo>
                    <a:pt x="489539" y="641840"/>
                    <a:pt x="527614" y="552091"/>
                    <a:pt x="522175" y="407950"/>
                  </a:cubicBezTo>
                  <a:cubicBezTo>
                    <a:pt x="522175" y="263807"/>
                    <a:pt x="473221" y="176778"/>
                    <a:pt x="407949" y="174058"/>
                  </a:cubicBezTo>
                  <a:close/>
                  <a:moveTo>
                    <a:pt x="407950" y="0"/>
                  </a:moveTo>
                  <a:cubicBezTo>
                    <a:pt x="633682" y="0"/>
                    <a:pt x="815899" y="182217"/>
                    <a:pt x="815899" y="407949"/>
                  </a:cubicBezTo>
                  <a:cubicBezTo>
                    <a:pt x="815899" y="633681"/>
                    <a:pt x="633682" y="815898"/>
                    <a:pt x="407950" y="815898"/>
                  </a:cubicBezTo>
                  <a:cubicBezTo>
                    <a:pt x="182218" y="815898"/>
                    <a:pt x="0" y="633681"/>
                    <a:pt x="0" y="407949"/>
                  </a:cubicBezTo>
                  <a:cubicBezTo>
                    <a:pt x="0" y="182217"/>
                    <a:pt x="182218" y="0"/>
                    <a:pt x="407950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97AA4C2C-CCD9-4698-B061-F47DE3A46C84}"/>
                </a:ext>
              </a:extLst>
            </p:cNvPr>
            <p:cNvSpPr/>
            <p:nvPr/>
          </p:nvSpPr>
          <p:spPr>
            <a:xfrm>
              <a:off x="5884871" y="1946788"/>
              <a:ext cx="912802" cy="1223846"/>
            </a:xfrm>
            <a:custGeom>
              <a:avLst/>
              <a:gdLst>
                <a:gd name="connsiteX0" fmla="*/ 387907 w 912802"/>
                <a:gd name="connsiteY0" fmla="*/ 620081 h 1223846"/>
                <a:gd name="connsiteX1" fmla="*/ 273681 w 912802"/>
                <a:gd name="connsiteY1" fmla="*/ 824055 h 1223846"/>
                <a:gd name="connsiteX2" fmla="*/ 390627 w 912802"/>
                <a:gd name="connsiteY2" fmla="*/ 1028029 h 1223846"/>
                <a:gd name="connsiteX3" fmla="*/ 502132 w 912802"/>
                <a:gd name="connsiteY3" fmla="*/ 824055 h 1223846"/>
                <a:gd name="connsiteX4" fmla="*/ 387907 w 912802"/>
                <a:gd name="connsiteY4" fmla="*/ 620081 h 1223846"/>
                <a:gd name="connsiteX5" fmla="*/ 676192 w 912802"/>
                <a:gd name="connsiteY5" fmla="*/ 0 h 1223846"/>
                <a:gd name="connsiteX6" fmla="*/ 825773 w 912802"/>
                <a:gd name="connsiteY6" fmla="*/ 149581 h 1223846"/>
                <a:gd name="connsiteX7" fmla="*/ 825773 w 912802"/>
                <a:gd name="connsiteY7" fmla="*/ 1000834 h 1223846"/>
                <a:gd name="connsiteX8" fmla="*/ 836651 w 912802"/>
                <a:gd name="connsiteY8" fmla="*/ 1076985 h 1223846"/>
                <a:gd name="connsiteX9" fmla="*/ 912802 w 912802"/>
                <a:gd name="connsiteY9" fmla="*/ 1150415 h 1223846"/>
                <a:gd name="connsiteX10" fmla="*/ 774099 w 912802"/>
                <a:gd name="connsiteY10" fmla="*/ 1221126 h 1223846"/>
                <a:gd name="connsiteX11" fmla="*/ 553807 w 912802"/>
                <a:gd name="connsiteY11" fmla="*/ 1098742 h 1223846"/>
                <a:gd name="connsiteX12" fmla="*/ 548367 w 912802"/>
                <a:gd name="connsiteY12" fmla="*/ 1085144 h 1223846"/>
                <a:gd name="connsiteX13" fmla="*/ 398786 w 912802"/>
                <a:gd name="connsiteY13" fmla="*/ 1212967 h 1223846"/>
                <a:gd name="connsiteX14" fmla="*/ 156736 w 912802"/>
                <a:gd name="connsiteY14" fmla="*/ 1180332 h 1223846"/>
                <a:gd name="connsiteX15" fmla="*/ 287280 w 912802"/>
                <a:gd name="connsiteY15" fmla="*/ 416107 h 1223846"/>
                <a:gd name="connsiteX16" fmla="*/ 526611 w 912802"/>
                <a:gd name="connsiteY16" fmla="*/ 552091 h 1223846"/>
                <a:gd name="connsiteX17" fmla="*/ 526611 w 912802"/>
                <a:gd name="connsiteY17" fmla="*/ 149581 h 1223846"/>
                <a:gd name="connsiteX18" fmla="*/ 676192 w 912802"/>
                <a:gd name="connsiteY18" fmla="*/ 0 h 1223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912802" h="1223846">
                  <a:moveTo>
                    <a:pt x="387907" y="620081"/>
                  </a:moveTo>
                  <a:cubicBezTo>
                    <a:pt x="322635" y="620081"/>
                    <a:pt x="273681" y="698951"/>
                    <a:pt x="273681" y="824055"/>
                  </a:cubicBezTo>
                  <a:cubicBezTo>
                    <a:pt x="273681" y="949160"/>
                    <a:pt x="311756" y="1028029"/>
                    <a:pt x="390627" y="1028029"/>
                  </a:cubicBezTo>
                  <a:cubicBezTo>
                    <a:pt x="466777" y="1025310"/>
                    <a:pt x="504852" y="949160"/>
                    <a:pt x="502132" y="824055"/>
                  </a:cubicBezTo>
                  <a:cubicBezTo>
                    <a:pt x="502132" y="698951"/>
                    <a:pt x="455898" y="622801"/>
                    <a:pt x="387907" y="620081"/>
                  </a:cubicBezTo>
                  <a:close/>
                  <a:moveTo>
                    <a:pt x="676192" y="0"/>
                  </a:moveTo>
                  <a:cubicBezTo>
                    <a:pt x="757781" y="0"/>
                    <a:pt x="825773" y="67992"/>
                    <a:pt x="825773" y="149581"/>
                  </a:cubicBezTo>
                  <a:lnTo>
                    <a:pt x="825773" y="1000834"/>
                  </a:lnTo>
                  <a:cubicBezTo>
                    <a:pt x="828492" y="1025311"/>
                    <a:pt x="831212" y="1052508"/>
                    <a:pt x="836651" y="1076985"/>
                  </a:cubicBezTo>
                  <a:cubicBezTo>
                    <a:pt x="861128" y="1139537"/>
                    <a:pt x="912802" y="1150415"/>
                    <a:pt x="912802" y="1150415"/>
                  </a:cubicBezTo>
                  <a:cubicBezTo>
                    <a:pt x="912802" y="1150415"/>
                    <a:pt x="861128" y="1221126"/>
                    <a:pt x="774099" y="1221126"/>
                  </a:cubicBezTo>
                  <a:cubicBezTo>
                    <a:pt x="670752" y="1221126"/>
                    <a:pt x="589162" y="1166733"/>
                    <a:pt x="553807" y="1098742"/>
                  </a:cubicBezTo>
                  <a:cubicBezTo>
                    <a:pt x="551087" y="1093303"/>
                    <a:pt x="551087" y="1090583"/>
                    <a:pt x="548367" y="1085144"/>
                  </a:cubicBezTo>
                  <a:cubicBezTo>
                    <a:pt x="534769" y="1147696"/>
                    <a:pt x="450460" y="1199369"/>
                    <a:pt x="398786" y="1212967"/>
                  </a:cubicBezTo>
                  <a:cubicBezTo>
                    <a:pt x="322636" y="1234725"/>
                    <a:pt x="222008" y="1223846"/>
                    <a:pt x="156736" y="1180332"/>
                  </a:cubicBezTo>
                  <a:cubicBezTo>
                    <a:pt x="-79874" y="1028031"/>
                    <a:pt x="-58117" y="416107"/>
                    <a:pt x="287280" y="416107"/>
                  </a:cubicBezTo>
                  <a:cubicBezTo>
                    <a:pt x="412385" y="416107"/>
                    <a:pt x="491255" y="503137"/>
                    <a:pt x="526611" y="552091"/>
                  </a:cubicBezTo>
                  <a:lnTo>
                    <a:pt x="526611" y="149581"/>
                  </a:lnTo>
                  <a:cubicBezTo>
                    <a:pt x="526611" y="67992"/>
                    <a:pt x="594602" y="0"/>
                    <a:pt x="676192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6899E50A-6EE7-43FA-8BC5-A3FC97DE7DC4}"/>
                </a:ext>
              </a:extLst>
            </p:cNvPr>
            <p:cNvSpPr/>
            <p:nvPr/>
          </p:nvSpPr>
          <p:spPr>
            <a:xfrm>
              <a:off x="6789513" y="2362895"/>
              <a:ext cx="747906" cy="810458"/>
            </a:xfrm>
            <a:custGeom>
              <a:avLst/>
              <a:gdLst>
                <a:gd name="connsiteX0" fmla="*/ 394818 w 747906"/>
                <a:gd name="connsiteY0" fmla="*/ 163222 h 810458"/>
                <a:gd name="connsiteX1" fmla="*/ 356275 w 747906"/>
                <a:gd name="connsiteY1" fmla="*/ 174058 h 810458"/>
                <a:gd name="connsiteX2" fmla="*/ 274685 w 747906"/>
                <a:gd name="connsiteY2" fmla="*/ 356275 h 810458"/>
                <a:gd name="connsiteX3" fmla="*/ 375313 w 747906"/>
                <a:gd name="connsiteY3" fmla="*/ 358994 h 810458"/>
                <a:gd name="connsiteX4" fmla="*/ 473220 w 747906"/>
                <a:gd name="connsiteY4" fmla="*/ 239329 h 810458"/>
                <a:gd name="connsiteX5" fmla="*/ 394818 w 747906"/>
                <a:gd name="connsiteY5" fmla="*/ 163222 h 810458"/>
                <a:gd name="connsiteX6" fmla="*/ 386192 w 747906"/>
                <a:gd name="connsiteY6" fmla="*/ 0 h 810458"/>
                <a:gd name="connsiteX7" fmla="*/ 747906 w 747906"/>
                <a:gd name="connsiteY7" fmla="*/ 266526 h 810458"/>
                <a:gd name="connsiteX8" fmla="*/ 291004 w 747906"/>
                <a:gd name="connsiteY8" fmla="*/ 484100 h 810458"/>
                <a:gd name="connsiteX9" fmla="*/ 497698 w 747906"/>
                <a:gd name="connsiteY9" fmla="*/ 617363 h 810458"/>
                <a:gd name="connsiteX10" fmla="*/ 712551 w 747906"/>
                <a:gd name="connsiteY10" fmla="*/ 557530 h 810458"/>
                <a:gd name="connsiteX11" fmla="*/ 388912 w 747906"/>
                <a:gd name="connsiteY11" fmla="*/ 810458 h 810458"/>
                <a:gd name="connsiteX12" fmla="*/ 0 w 747906"/>
                <a:gd name="connsiteY12" fmla="*/ 413389 h 810458"/>
                <a:gd name="connsiteX13" fmla="*/ 386192 w 747906"/>
                <a:gd name="connsiteY13" fmla="*/ 0 h 8104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747906" h="810458">
                  <a:moveTo>
                    <a:pt x="394818" y="163222"/>
                  </a:moveTo>
                  <a:cubicBezTo>
                    <a:pt x="381772" y="163179"/>
                    <a:pt x="368514" y="166579"/>
                    <a:pt x="356275" y="174058"/>
                  </a:cubicBezTo>
                  <a:cubicBezTo>
                    <a:pt x="299162" y="212133"/>
                    <a:pt x="282844" y="291003"/>
                    <a:pt x="274685" y="356275"/>
                  </a:cubicBezTo>
                  <a:cubicBezTo>
                    <a:pt x="274685" y="364434"/>
                    <a:pt x="369873" y="358994"/>
                    <a:pt x="375313" y="358994"/>
                  </a:cubicBezTo>
                  <a:cubicBezTo>
                    <a:pt x="432425" y="345396"/>
                    <a:pt x="473220" y="301881"/>
                    <a:pt x="473220" y="239329"/>
                  </a:cubicBezTo>
                  <a:cubicBezTo>
                    <a:pt x="471181" y="194455"/>
                    <a:pt x="433956" y="163349"/>
                    <a:pt x="394818" y="163222"/>
                  </a:cubicBezTo>
                  <a:close/>
                  <a:moveTo>
                    <a:pt x="386192" y="0"/>
                  </a:moveTo>
                  <a:cubicBezTo>
                    <a:pt x="519455" y="0"/>
                    <a:pt x="747906" y="65272"/>
                    <a:pt x="747906" y="266526"/>
                  </a:cubicBezTo>
                  <a:cubicBezTo>
                    <a:pt x="747906" y="467782"/>
                    <a:pt x="538493" y="484100"/>
                    <a:pt x="291004" y="484100"/>
                  </a:cubicBezTo>
                  <a:cubicBezTo>
                    <a:pt x="291004" y="484100"/>
                    <a:pt x="326359" y="617363"/>
                    <a:pt x="497698" y="617363"/>
                  </a:cubicBezTo>
                  <a:cubicBezTo>
                    <a:pt x="669036" y="617363"/>
                    <a:pt x="712551" y="557530"/>
                    <a:pt x="712551" y="557530"/>
                  </a:cubicBezTo>
                  <a:cubicBezTo>
                    <a:pt x="712551" y="557530"/>
                    <a:pt x="696233" y="810458"/>
                    <a:pt x="388912" y="810458"/>
                  </a:cubicBezTo>
                  <a:cubicBezTo>
                    <a:pt x="212134" y="810458"/>
                    <a:pt x="0" y="677195"/>
                    <a:pt x="0" y="413389"/>
                  </a:cubicBezTo>
                  <a:cubicBezTo>
                    <a:pt x="0" y="176778"/>
                    <a:pt x="163180" y="0"/>
                    <a:pt x="386192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/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AAB6D96F-3061-42BC-92D0-1BF63F8246F4}"/>
                </a:ext>
              </a:extLst>
            </p:cNvPr>
            <p:cNvSpPr/>
            <p:nvPr/>
          </p:nvSpPr>
          <p:spPr>
            <a:xfrm>
              <a:off x="7988882" y="2362895"/>
              <a:ext cx="747906" cy="810458"/>
            </a:xfrm>
            <a:custGeom>
              <a:avLst/>
              <a:gdLst>
                <a:gd name="connsiteX0" fmla="*/ 394818 w 747906"/>
                <a:gd name="connsiteY0" fmla="*/ 163222 h 810458"/>
                <a:gd name="connsiteX1" fmla="*/ 356275 w 747906"/>
                <a:gd name="connsiteY1" fmla="*/ 174058 h 810458"/>
                <a:gd name="connsiteX2" fmla="*/ 274685 w 747906"/>
                <a:gd name="connsiteY2" fmla="*/ 356275 h 810458"/>
                <a:gd name="connsiteX3" fmla="*/ 375313 w 747906"/>
                <a:gd name="connsiteY3" fmla="*/ 358994 h 810458"/>
                <a:gd name="connsiteX4" fmla="*/ 473220 w 747906"/>
                <a:gd name="connsiteY4" fmla="*/ 239329 h 810458"/>
                <a:gd name="connsiteX5" fmla="*/ 394818 w 747906"/>
                <a:gd name="connsiteY5" fmla="*/ 163222 h 810458"/>
                <a:gd name="connsiteX6" fmla="*/ 386192 w 747906"/>
                <a:gd name="connsiteY6" fmla="*/ 0 h 810458"/>
                <a:gd name="connsiteX7" fmla="*/ 747906 w 747906"/>
                <a:gd name="connsiteY7" fmla="*/ 266526 h 810458"/>
                <a:gd name="connsiteX8" fmla="*/ 291004 w 747906"/>
                <a:gd name="connsiteY8" fmla="*/ 484100 h 810458"/>
                <a:gd name="connsiteX9" fmla="*/ 497697 w 747906"/>
                <a:gd name="connsiteY9" fmla="*/ 617363 h 810458"/>
                <a:gd name="connsiteX10" fmla="*/ 712551 w 747906"/>
                <a:gd name="connsiteY10" fmla="*/ 557530 h 810458"/>
                <a:gd name="connsiteX11" fmla="*/ 388911 w 747906"/>
                <a:gd name="connsiteY11" fmla="*/ 810458 h 810458"/>
                <a:gd name="connsiteX12" fmla="*/ 0 w 747906"/>
                <a:gd name="connsiteY12" fmla="*/ 413389 h 810458"/>
                <a:gd name="connsiteX13" fmla="*/ 386192 w 747906"/>
                <a:gd name="connsiteY13" fmla="*/ 0 h 8104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747906" h="810458">
                  <a:moveTo>
                    <a:pt x="394818" y="163222"/>
                  </a:moveTo>
                  <a:cubicBezTo>
                    <a:pt x="381772" y="163179"/>
                    <a:pt x="368514" y="166579"/>
                    <a:pt x="356275" y="174058"/>
                  </a:cubicBezTo>
                  <a:cubicBezTo>
                    <a:pt x="299162" y="212133"/>
                    <a:pt x="282844" y="291003"/>
                    <a:pt x="274685" y="356275"/>
                  </a:cubicBezTo>
                  <a:cubicBezTo>
                    <a:pt x="274685" y="364434"/>
                    <a:pt x="369873" y="358994"/>
                    <a:pt x="375313" y="358994"/>
                  </a:cubicBezTo>
                  <a:cubicBezTo>
                    <a:pt x="432426" y="345396"/>
                    <a:pt x="473220" y="301881"/>
                    <a:pt x="473220" y="239329"/>
                  </a:cubicBezTo>
                  <a:cubicBezTo>
                    <a:pt x="471181" y="194455"/>
                    <a:pt x="433955" y="163349"/>
                    <a:pt x="394818" y="163222"/>
                  </a:cubicBezTo>
                  <a:close/>
                  <a:moveTo>
                    <a:pt x="386192" y="0"/>
                  </a:moveTo>
                  <a:cubicBezTo>
                    <a:pt x="519455" y="0"/>
                    <a:pt x="747906" y="65272"/>
                    <a:pt x="747906" y="266526"/>
                  </a:cubicBezTo>
                  <a:cubicBezTo>
                    <a:pt x="747906" y="467782"/>
                    <a:pt x="538492" y="484100"/>
                    <a:pt x="291004" y="484100"/>
                  </a:cubicBezTo>
                  <a:cubicBezTo>
                    <a:pt x="291004" y="484100"/>
                    <a:pt x="326359" y="617363"/>
                    <a:pt x="497697" y="617363"/>
                  </a:cubicBezTo>
                  <a:cubicBezTo>
                    <a:pt x="669036" y="617363"/>
                    <a:pt x="712551" y="557530"/>
                    <a:pt x="712551" y="557530"/>
                  </a:cubicBezTo>
                  <a:cubicBezTo>
                    <a:pt x="712551" y="557530"/>
                    <a:pt x="696233" y="810458"/>
                    <a:pt x="388911" y="810458"/>
                  </a:cubicBezTo>
                  <a:cubicBezTo>
                    <a:pt x="212133" y="810458"/>
                    <a:pt x="0" y="677195"/>
                    <a:pt x="0" y="413389"/>
                  </a:cubicBezTo>
                  <a:cubicBezTo>
                    <a:pt x="0" y="176778"/>
                    <a:pt x="163180" y="0"/>
                    <a:pt x="386192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46E90DD0-D326-4354-B19D-6B25CA8E122A}"/>
                </a:ext>
              </a:extLst>
            </p:cNvPr>
            <p:cNvSpPr/>
            <p:nvPr/>
          </p:nvSpPr>
          <p:spPr>
            <a:xfrm>
              <a:off x="8683414" y="2274801"/>
              <a:ext cx="897487" cy="951879"/>
            </a:xfrm>
            <a:custGeom>
              <a:avLst/>
              <a:gdLst>
                <a:gd name="connsiteX0" fmla="*/ 580988 w 897487"/>
                <a:gd name="connsiteY0" fmla="*/ 667381 h 951879"/>
                <a:gd name="connsiteX1" fmla="*/ 409649 w 897487"/>
                <a:gd name="connsiteY1" fmla="*/ 667381 h 951879"/>
                <a:gd name="connsiteX2" fmla="*/ 591866 w 897487"/>
                <a:gd name="connsiteY2" fmla="*/ 525959 h 951879"/>
                <a:gd name="connsiteX3" fmla="*/ 842075 w 897487"/>
                <a:gd name="connsiteY3" fmla="*/ 123450 h 951879"/>
                <a:gd name="connsiteX4" fmla="*/ 842075 w 897487"/>
                <a:gd name="connsiteY4" fmla="*/ 123450 h 951879"/>
                <a:gd name="connsiteX5" fmla="*/ 798560 w 897487"/>
                <a:gd name="connsiteY5" fmla="*/ 58178 h 951879"/>
                <a:gd name="connsiteX6" fmla="*/ 746887 w 897487"/>
                <a:gd name="connsiteY6" fmla="*/ 107132 h 951879"/>
                <a:gd name="connsiteX7" fmla="*/ 697933 w 897487"/>
                <a:gd name="connsiteY7" fmla="*/ 115291 h 951879"/>
                <a:gd name="connsiteX8" fmla="*/ 219273 w 897487"/>
                <a:gd name="connsiteY8" fmla="*/ 115291 h 951879"/>
                <a:gd name="connsiteX9" fmla="*/ 102328 w 897487"/>
                <a:gd name="connsiteY9" fmla="*/ 224077 h 951879"/>
                <a:gd name="connsiteX10" fmla="*/ 213834 w 897487"/>
                <a:gd name="connsiteY10" fmla="*/ 332863 h 951879"/>
                <a:gd name="connsiteX11" fmla="*/ 485800 w 897487"/>
                <a:gd name="connsiteY11" fmla="*/ 335583 h 951879"/>
                <a:gd name="connsiteX12" fmla="*/ 134964 w 897487"/>
                <a:gd name="connsiteY12" fmla="*/ 615708 h 951879"/>
                <a:gd name="connsiteX13" fmla="*/ 61533 w 897487"/>
                <a:gd name="connsiteY13" fmla="*/ 884953 h 951879"/>
                <a:gd name="connsiteX14" fmla="*/ 398771 w 897487"/>
                <a:gd name="connsiteY14" fmla="*/ 806083 h 951879"/>
                <a:gd name="connsiteX15" fmla="*/ 529314 w 897487"/>
                <a:gd name="connsiteY15" fmla="*/ 863196 h 951879"/>
                <a:gd name="connsiteX16" fmla="*/ 782242 w 897487"/>
                <a:gd name="connsiteY16" fmla="*/ 607549 h 951879"/>
                <a:gd name="connsiteX17" fmla="*/ 580988 w 897487"/>
                <a:gd name="connsiteY17" fmla="*/ 667381 h 9518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897487" h="951879">
                  <a:moveTo>
                    <a:pt x="580988" y="667381"/>
                  </a:moveTo>
                  <a:lnTo>
                    <a:pt x="409649" y="667381"/>
                  </a:lnTo>
                  <a:cubicBezTo>
                    <a:pt x="423248" y="667381"/>
                    <a:pt x="548352" y="561314"/>
                    <a:pt x="591866" y="525959"/>
                  </a:cubicBezTo>
                  <a:cubicBezTo>
                    <a:pt x="700653" y="433491"/>
                    <a:pt x="899188" y="297508"/>
                    <a:pt x="842075" y="123450"/>
                  </a:cubicBezTo>
                  <a:lnTo>
                    <a:pt x="842075" y="123450"/>
                  </a:lnTo>
                  <a:cubicBezTo>
                    <a:pt x="831197" y="82655"/>
                    <a:pt x="798560" y="58178"/>
                    <a:pt x="798560" y="58178"/>
                  </a:cubicBezTo>
                  <a:cubicBezTo>
                    <a:pt x="798560" y="58178"/>
                    <a:pt x="787682" y="90814"/>
                    <a:pt x="746887" y="107132"/>
                  </a:cubicBezTo>
                  <a:cubicBezTo>
                    <a:pt x="730569" y="109852"/>
                    <a:pt x="714251" y="115291"/>
                    <a:pt x="697933" y="115291"/>
                  </a:cubicBezTo>
                  <a:cubicBezTo>
                    <a:pt x="684334" y="115291"/>
                    <a:pt x="219273" y="115291"/>
                    <a:pt x="219273" y="115291"/>
                  </a:cubicBezTo>
                  <a:cubicBezTo>
                    <a:pt x="156721" y="115291"/>
                    <a:pt x="105048" y="166964"/>
                    <a:pt x="102328" y="224077"/>
                  </a:cubicBezTo>
                  <a:cubicBezTo>
                    <a:pt x="102328" y="283910"/>
                    <a:pt x="151282" y="332863"/>
                    <a:pt x="213834" y="332863"/>
                  </a:cubicBezTo>
                  <a:lnTo>
                    <a:pt x="485800" y="335583"/>
                  </a:lnTo>
                  <a:cubicBezTo>
                    <a:pt x="360695" y="406294"/>
                    <a:pt x="211114" y="487884"/>
                    <a:pt x="134964" y="615708"/>
                  </a:cubicBezTo>
                  <a:cubicBezTo>
                    <a:pt x="91449" y="689138"/>
                    <a:pt x="45215" y="800644"/>
                    <a:pt x="61533" y="884953"/>
                  </a:cubicBezTo>
                  <a:cubicBezTo>
                    <a:pt x="121366" y="830560"/>
                    <a:pt x="279106" y="778887"/>
                    <a:pt x="398771" y="806083"/>
                  </a:cubicBezTo>
                  <a:cubicBezTo>
                    <a:pt x="445005" y="814242"/>
                    <a:pt x="491239" y="838719"/>
                    <a:pt x="529314" y="863196"/>
                  </a:cubicBezTo>
                  <a:cubicBezTo>
                    <a:pt x="755046" y="1004618"/>
                    <a:pt x="891029" y="727213"/>
                    <a:pt x="782242" y="607549"/>
                  </a:cubicBezTo>
                  <a:cubicBezTo>
                    <a:pt x="784962" y="607549"/>
                    <a:pt x="722410" y="667381"/>
                    <a:pt x="580988" y="667381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FC8EBEE1-EF8C-4C52-8690-44C2ACEA5D70}"/>
                </a:ext>
              </a:extLst>
            </p:cNvPr>
            <p:cNvSpPr/>
            <p:nvPr/>
          </p:nvSpPr>
          <p:spPr>
            <a:xfrm>
              <a:off x="2624650" y="1948442"/>
              <a:ext cx="1903761" cy="1577400"/>
            </a:xfrm>
            <a:custGeom>
              <a:avLst/>
              <a:gdLst>
                <a:gd name="connsiteX0" fmla="*/ 1559430 w 1903760"/>
                <a:gd name="connsiteY0" fmla="*/ 1165078 h 1577399"/>
                <a:gd name="connsiteX1" fmla="*/ 1369054 w 1903760"/>
                <a:gd name="connsiteY1" fmla="*/ 593950 h 1577399"/>
                <a:gd name="connsiteX2" fmla="*/ 1483279 w 1903760"/>
                <a:gd name="connsiteY2" fmla="*/ 126170 h 1577399"/>
                <a:gd name="connsiteX3" fmla="*/ 1311941 w 1903760"/>
                <a:gd name="connsiteY3" fmla="*/ 58178 h 1577399"/>
                <a:gd name="connsiteX4" fmla="*/ 1078050 w 1903760"/>
                <a:gd name="connsiteY4" fmla="*/ 205040 h 1577399"/>
                <a:gd name="connsiteX5" fmla="*/ 846879 w 1903760"/>
                <a:gd name="connsiteY5" fmla="*/ 523239 h 1577399"/>
                <a:gd name="connsiteX6" fmla="*/ 645624 w 1903760"/>
                <a:gd name="connsiteY6" fmla="*/ 210479 h 1577399"/>
                <a:gd name="connsiteX7" fmla="*/ 455248 w 1903760"/>
                <a:gd name="connsiteY7" fmla="*/ 63617 h 1577399"/>
                <a:gd name="connsiteX8" fmla="*/ 234956 w 1903760"/>
                <a:gd name="connsiteY8" fmla="*/ 137048 h 1577399"/>
                <a:gd name="connsiteX9" fmla="*/ 316546 w 1903760"/>
                <a:gd name="connsiteY9" fmla="*/ 588511 h 1577399"/>
                <a:gd name="connsiteX10" fmla="*/ 58178 w 1903760"/>
                <a:gd name="connsiteY10" fmla="*/ 1072610 h 1577399"/>
                <a:gd name="connsiteX11" fmla="*/ 474286 w 1903760"/>
                <a:gd name="connsiteY11" fmla="*/ 1020936 h 1577399"/>
                <a:gd name="connsiteX12" fmla="*/ 555876 w 1903760"/>
                <a:gd name="connsiteY12" fmla="*/ 572193 h 1577399"/>
                <a:gd name="connsiteX13" fmla="*/ 830561 w 1903760"/>
                <a:gd name="connsiteY13" fmla="*/ 993740 h 1577399"/>
                <a:gd name="connsiteX14" fmla="*/ 1140602 w 1903760"/>
                <a:gd name="connsiteY14" fmla="*/ 574913 h 1577399"/>
                <a:gd name="connsiteX15" fmla="*/ 1567589 w 1903760"/>
                <a:gd name="connsiteY15" fmla="*/ 1526792 h 1577399"/>
                <a:gd name="connsiteX16" fmla="*/ 1866751 w 1903760"/>
                <a:gd name="connsiteY16" fmla="*/ 1322818 h 1577399"/>
                <a:gd name="connsiteX17" fmla="*/ 1559430 w 1903760"/>
                <a:gd name="connsiteY17" fmla="*/ 1165078 h 15773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903760" h="1577399">
                  <a:moveTo>
                    <a:pt x="1559430" y="1165078"/>
                  </a:moveTo>
                  <a:cubicBezTo>
                    <a:pt x="1420727" y="1012777"/>
                    <a:pt x="1377213" y="762569"/>
                    <a:pt x="1369054" y="593950"/>
                  </a:cubicBezTo>
                  <a:cubicBezTo>
                    <a:pt x="1360895" y="449809"/>
                    <a:pt x="1369054" y="199600"/>
                    <a:pt x="1483279" y="126170"/>
                  </a:cubicBezTo>
                  <a:cubicBezTo>
                    <a:pt x="1445204" y="77216"/>
                    <a:pt x="1369054" y="58178"/>
                    <a:pt x="1311941" y="58178"/>
                  </a:cubicBezTo>
                  <a:cubicBezTo>
                    <a:pt x="1184117" y="58178"/>
                    <a:pt x="1121565" y="142488"/>
                    <a:pt x="1078050" y="205040"/>
                  </a:cubicBezTo>
                  <a:cubicBezTo>
                    <a:pt x="1064452" y="224077"/>
                    <a:pt x="846879" y="523239"/>
                    <a:pt x="846879" y="523239"/>
                  </a:cubicBezTo>
                  <a:cubicBezTo>
                    <a:pt x="846879" y="523239"/>
                    <a:pt x="667382" y="243115"/>
                    <a:pt x="645624" y="210479"/>
                  </a:cubicBezTo>
                  <a:cubicBezTo>
                    <a:pt x="615708" y="164245"/>
                    <a:pt x="555876" y="77216"/>
                    <a:pt x="455248" y="63617"/>
                  </a:cubicBezTo>
                  <a:cubicBezTo>
                    <a:pt x="411734" y="58178"/>
                    <a:pt x="297508" y="52739"/>
                    <a:pt x="234956" y="137048"/>
                  </a:cubicBezTo>
                  <a:cubicBezTo>
                    <a:pt x="341023" y="221357"/>
                    <a:pt x="338303" y="438930"/>
                    <a:pt x="316546" y="588511"/>
                  </a:cubicBezTo>
                  <a:cubicBezTo>
                    <a:pt x="248554" y="1031815"/>
                    <a:pt x="58178" y="1072610"/>
                    <a:pt x="58178" y="1072610"/>
                  </a:cubicBezTo>
                  <a:cubicBezTo>
                    <a:pt x="156086" y="1333696"/>
                    <a:pt x="403575" y="1230350"/>
                    <a:pt x="474286" y="1020936"/>
                  </a:cubicBezTo>
                  <a:cubicBezTo>
                    <a:pt x="520520" y="884953"/>
                    <a:pt x="550436" y="713615"/>
                    <a:pt x="555876" y="572193"/>
                  </a:cubicBezTo>
                  <a:lnTo>
                    <a:pt x="830561" y="993740"/>
                  </a:lnTo>
                  <a:cubicBezTo>
                    <a:pt x="830561" y="993740"/>
                    <a:pt x="1140602" y="574913"/>
                    <a:pt x="1140602" y="574913"/>
                  </a:cubicBezTo>
                  <a:cubicBezTo>
                    <a:pt x="1088929" y="1314659"/>
                    <a:pt x="1344577" y="1526792"/>
                    <a:pt x="1567589" y="1526792"/>
                  </a:cubicBezTo>
                  <a:cubicBezTo>
                    <a:pt x="1790601" y="1526792"/>
                    <a:pt x="1866751" y="1322818"/>
                    <a:pt x="1866751" y="1322818"/>
                  </a:cubicBezTo>
                  <a:cubicBezTo>
                    <a:pt x="1744367" y="1314659"/>
                    <a:pt x="1641019" y="1252107"/>
                    <a:pt x="1559430" y="1165078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60406D85-B240-4DDD-A872-237D9A7B6040}"/>
                </a:ext>
              </a:extLst>
            </p:cNvPr>
            <p:cNvSpPr/>
            <p:nvPr/>
          </p:nvSpPr>
          <p:spPr>
            <a:xfrm>
              <a:off x="4792218" y="3234839"/>
              <a:ext cx="271966" cy="652717"/>
            </a:xfrm>
            <a:custGeom>
              <a:avLst/>
              <a:gdLst>
                <a:gd name="connsiteX0" fmla="*/ 88095 w 271965"/>
                <a:gd name="connsiteY0" fmla="*/ 120730 h 652717"/>
                <a:gd name="connsiteX1" fmla="*/ 93534 w 271965"/>
                <a:gd name="connsiteY1" fmla="*/ 153366 h 652717"/>
                <a:gd name="connsiteX2" fmla="*/ 93534 w 271965"/>
                <a:gd name="connsiteY2" fmla="*/ 544997 h 652717"/>
                <a:gd name="connsiteX3" fmla="*/ 156086 w 271965"/>
                <a:gd name="connsiteY3" fmla="*/ 604829 h 652717"/>
                <a:gd name="connsiteX4" fmla="*/ 221358 w 271965"/>
                <a:gd name="connsiteY4" fmla="*/ 544997 h 652717"/>
                <a:gd name="connsiteX5" fmla="*/ 221358 w 271965"/>
                <a:gd name="connsiteY5" fmla="*/ 194161 h 652717"/>
                <a:gd name="connsiteX6" fmla="*/ 210479 w 271965"/>
                <a:gd name="connsiteY6" fmla="*/ 109852 h 652717"/>
                <a:gd name="connsiteX7" fmla="*/ 118011 w 271965"/>
                <a:gd name="connsiteY7" fmla="*/ 58178 h 652717"/>
                <a:gd name="connsiteX8" fmla="*/ 58178 w 271965"/>
                <a:gd name="connsiteY8" fmla="*/ 88094 h 652717"/>
                <a:gd name="connsiteX9" fmla="*/ 88095 w 271965"/>
                <a:gd name="connsiteY9" fmla="*/ 120730 h 6527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71965" h="652717">
                  <a:moveTo>
                    <a:pt x="88095" y="120730"/>
                  </a:moveTo>
                  <a:cubicBezTo>
                    <a:pt x="90814" y="131609"/>
                    <a:pt x="90814" y="142487"/>
                    <a:pt x="93534" y="153366"/>
                  </a:cubicBezTo>
                  <a:cubicBezTo>
                    <a:pt x="93534" y="156086"/>
                    <a:pt x="93534" y="542277"/>
                    <a:pt x="93534" y="544997"/>
                  </a:cubicBezTo>
                  <a:cubicBezTo>
                    <a:pt x="93534" y="577632"/>
                    <a:pt x="123450" y="604829"/>
                    <a:pt x="156086" y="604829"/>
                  </a:cubicBezTo>
                  <a:cubicBezTo>
                    <a:pt x="188722" y="607548"/>
                    <a:pt x="221358" y="577632"/>
                    <a:pt x="221358" y="544997"/>
                  </a:cubicBezTo>
                  <a:cubicBezTo>
                    <a:pt x="221358" y="539557"/>
                    <a:pt x="221358" y="194161"/>
                    <a:pt x="221358" y="194161"/>
                  </a:cubicBezTo>
                  <a:cubicBezTo>
                    <a:pt x="221358" y="164245"/>
                    <a:pt x="224078" y="134329"/>
                    <a:pt x="210479" y="109852"/>
                  </a:cubicBezTo>
                  <a:cubicBezTo>
                    <a:pt x="196881" y="79935"/>
                    <a:pt x="158806" y="58178"/>
                    <a:pt x="118011" y="58178"/>
                  </a:cubicBezTo>
                  <a:cubicBezTo>
                    <a:pt x="79936" y="58178"/>
                    <a:pt x="58178" y="88094"/>
                    <a:pt x="58178" y="88094"/>
                  </a:cubicBezTo>
                  <a:cubicBezTo>
                    <a:pt x="58178" y="88094"/>
                    <a:pt x="77216" y="93534"/>
                    <a:pt x="88095" y="120730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14692158-F77E-4CC1-B129-4C7D59571AEE}"/>
                </a:ext>
              </a:extLst>
            </p:cNvPr>
            <p:cNvSpPr/>
            <p:nvPr/>
          </p:nvSpPr>
          <p:spPr>
            <a:xfrm>
              <a:off x="8751819" y="3234667"/>
              <a:ext cx="271966" cy="652717"/>
            </a:xfrm>
            <a:custGeom>
              <a:avLst/>
              <a:gdLst>
                <a:gd name="connsiteX0" fmla="*/ 191663 w 271965"/>
                <a:gd name="connsiteY0" fmla="*/ 542449 h 652717"/>
                <a:gd name="connsiteX1" fmla="*/ 186224 w 271965"/>
                <a:gd name="connsiteY1" fmla="*/ 509813 h 652717"/>
                <a:gd name="connsiteX2" fmla="*/ 186224 w 271965"/>
                <a:gd name="connsiteY2" fmla="*/ 118183 h 652717"/>
                <a:gd name="connsiteX3" fmla="*/ 123672 w 271965"/>
                <a:gd name="connsiteY3" fmla="*/ 58350 h 652717"/>
                <a:gd name="connsiteX4" fmla="*/ 58400 w 271965"/>
                <a:gd name="connsiteY4" fmla="*/ 118183 h 652717"/>
                <a:gd name="connsiteX5" fmla="*/ 58400 w 271965"/>
                <a:gd name="connsiteY5" fmla="*/ 469018 h 652717"/>
                <a:gd name="connsiteX6" fmla="*/ 69279 w 271965"/>
                <a:gd name="connsiteY6" fmla="*/ 553328 h 652717"/>
                <a:gd name="connsiteX7" fmla="*/ 161747 w 271965"/>
                <a:gd name="connsiteY7" fmla="*/ 605001 h 652717"/>
                <a:gd name="connsiteX8" fmla="*/ 221580 w 271965"/>
                <a:gd name="connsiteY8" fmla="*/ 575085 h 652717"/>
                <a:gd name="connsiteX9" fmla="*/ 191663 w 271965"/>
                <a:gd name="connsiteY9" fmla="*/ 542449 h 6527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71965" h="652717">
                  <a:moveTo>
                    <a:pt x="191663" y="542449"/>
                  </a:moveTo>
                  <a:cubicBezTo>
                    <a:pt x="188944" y="531570"/>
                    <a:pt x="186224" y="520692"/>
                    <a:pt x="186224" y="509813"/>
                  </a:cubicBezTo>
                  <a:cubicBezTo>
                    <a:pt x="186224" y="507093"/>
                    <a:pt x="186224" y="120902"/>
                    <a:pt x="186224" y="118183"/>
                  </a:cubicBezTo>
                  <a:cubicBezTo>
                    <a:pt x="186224" y="85547"/>
                    <a:pt x="156308" y="58350"/>
                    <a:pt x="123672" y="58350"/>
                  </a:cubicBezTo>
                  <a:cubicBezTo>
                    <a:pt x="91036" y="55631"/>
                    <a:pt x="58400" y="85547"/>
                    <a:pt x="58400" y="118183"/>
                  </a:cubicBezTo>
                  <a:cubicBezTo>
                    <a:pt x="58400" y="123622"/>
                    <a:pt x="58400" y="469018"/>
                    <a:pt x="58400" y="469018"/>
                  </a:cubicBezTo>
                  <a:cubicBezTo>
                    <a:pt x="58400" y="498934"/>
                    <a:pt x="55680" y="528851"/>
                    <a:pt x="69279" y="553328"/>
                  </a:cubicBezTo>
                  <a:cubicBezTo>
                    <a:pt x="82877" y="583244"/>
                    <a:pt x="120953" y="605001"/>
                    <a:pt x="161747" y="605001"/>
                  </a:cubicBezTo>
                  <a:cubicBezTo>
                    <a:pt x="199822" y="605001"/>
                    <a:pt x="221580" y="575085"/>
                    <a:pt x="221580" y="575085"/>
                  </a:cubicBezTo>
                  <a:cubicBezTo>
                    <a:pt x="221580" y="575085"/>
                    <a:pt x="202542" y="566926"/>
                    <a:pt x="191663" y="542449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C0135833-3309-460C-8E4A-15D74B05AF6B}"/>
                </a:ext>
              </a:extLst>
            </p:cNvPr>
            <p:cNvSpPr/>
            <p:nvPr/>
          </p:nvSpPr>
          <p:spPr>
            <a:xfrm>
              <a:off x="6320666" y="3416868"/>
              <a:ext cx="435145" cy="462341"/>
            </a:xfrm>
            <a:custGeom>
              <a:avLst/>
              <a:gdLst>
                <a:gd name="connsiteX0" fmla="*/ 302948 w 435145"/>
                <a:gd name="connsiteY0" fmla="*/ 74684 h 462341"/>
                <a:gd name="connsiteX1" fmla="*/ 186003 w 435145"/>
                <a:gd name="connsiteY1" fmla="*/ 148115 h 462341"/>
                <a:gd name="connsiteX2" fmla="*/ 186003 w 435145"/>
                <a:gd name="connsiteY2" fmla="*/ 148115 h 462341"/>
                <a:gd name="connsiteX3" fmla="*/ 186003 w 435145"/>
                <a:gd name="connsiteY3" fmla="*/ 115479 h 462341"/>
                <a:gd name="connsiteX4" fmla="*/ 123450 w 435145"/>
                <a:gd name="connsiteY4" fmla="*/ 58366 h 462341"/>
                <a:gd name="connsiteX5" fmla="*/ 58178 w 435145"/>
                <a:gd name="connsiteY5" fmla="*/ 115479 h 462341"/>
                <a:gd name="connsiteX6" fmla="*/ 58178 w 435145"/>
                <a:gd name="connsiteY6" fmla="*/ 362967 h 462341"/>
                <a:gd name="connsiteX7" fmla="*/ 120730 w 435145"/>
                <a:gd name="connsiteY7" fmla="*/ 422800 h 462341"/>
                <a:gd name="connsiteX8" fmla="*/ 186003 w 435145"/>
                <a:gd name="connsiteY8" fmla="*/ 362967 h 462341"/>
                <a:gd name="connsiteX9" fmla="*/ 186003 w 435145"/>
                <a:gd name="connsiteY9" fmla="*/ 213386 h 462341"/>
                <a:gd name="connsiteX10" fmla="*/ 186003 w 435145"/>
                <a:gd name="connsiteY10" fmla="*/ 213386 h 462341"/>
                <a:gd name="connsiteX11" fmla="*/ 229517 w 435145"/>
                <a:gd name="connsiteY11" fmla="*/ 161713 h 462341"/>
                <a:gd name="connsiteX12" fmla="*/ 259433 w 435145"/>
                <a:gd name="connsiteY12" fmla="*/ 194349 h 462341"/>
                <a:gd name="connsiteX13" fmla="*/ 259433 w 435145"/>
                <a:gd name="connsiteY13" fmla="*/ 362967 h 462341"/>
                <a:gd name="connsiteX14" fmla="*/ 321985 w 435145"/>
                <a:gd name="connsiteY14" fmla="*/ 422800 h 462341"/>
                <a:gd name="connsiteX15" fmla="*/ 387257 w 435145"/>
                <a:gd name="connsiteY15" fmla="*/ 362967 h 462341"/>
                <a:gd name="connsiteX16" fmla="*/ 387257 w 435145"/>
                <a:gd name="connsiteY16" fmla="*/ 273219 h 462341"/>
                <a:gd name="connsiteX17" fmla="*/ 302948 w 435145"/>
                <a:gd name="connsiteY17" fmla="*/ 74684 h 4623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435145" h="462341">
                  <a:moveTo>
                    <a:pt x="302948" y="74684"/>
                  </a:moveTo>
                  <a:cubicBezTo>
                    <a:pt x="234956" y="74684"/>
                    <a:pt x="196881" y="131797"/>
                    <a:pt x="186003" y="148115"/>
                  </a:cubicBezTo>
                  <a:lnTo>
                    <a:pt x="186003" y="148115"/>
                  </a:lnTo>
                  <a:cubicBezTo>
                    <a:pt x="186003" y="129077"/>
                    <a:pt x="186003" y="115479"/>
                    <a:pt x="186003" y="115479"/>
                  </a:cubicBezTo>
                  <a:cubicBezTo>
                    <a:pt x="186003" y="82843"/>
                    <a:pt x="156086" y="58366"/>
                    <a:pt x="123450" y="58366"/>
                  </a:cubicBezTo>
                  <a:cubicBezTo>
                    <a:pt x="90814" y="55646"/>
                    <a:pt x="58178" y="82843"/>
                    <a:pt x="58178" y="115479"/>
                  </a:cubicBezTo>
                  <a:cubicBezTo>
                    <a:pt x="58178" y="120918"/>
                    <a:pt x="58178" y="360248"/>
                    <a:pt x="58178" y="362967"/>
                  </a:cubicBezTo>
                  <a:cubicBezTo>
                    <a:pt x="58178" y="395603"/>
                    <a:pt x="88095" y="422800"/>
                    <a:pt x="120730" y="422800"/>
                  </a:cubicBezTo>
                  <a:cubicBezTo>
                    <a:pt x="153366" y="425519"/>
                    <a:pt x="186003" y="395603"/>
                    <a:pt x="186003" y="362967"/>
                  </a:cubicBezTo>
                  <a:cubicBezTo>
                    <a:pt x="186003" y="360248"/>
                    <a:pt x="186003" y="281378"/>
                    <a:pt x="186003" y="213386"/>
                  </a:cubicBezTo>
                  <a:lnTo>
                    <a:pt x="186003" y="213386"/>
                  </a:lnTo>
                  <a:cubicBezTo>
                    <a:pt x="191442" y="186190"/>
                    <a:pt x="205040" y="161713"/>
                    <a:pt x="229517" y="161713"/>
                  </a:cubicBezTo>
                  <a:cubicBezTo>
                    <a:pt x="259433" y="161713"/>
                    <a:pt x="259433" y="194349"/>
                    <a:pt x="259433" y="194349"/>
                  </a:cubicBezTo>
                  <a:lnTo>
                    <a:pt x="259433" y="362967"/>
                  </a:lnTo>
                  <a:cubicBezTo>
                    <a:pt x="259433" y="395603"/>
                    <a:pt x="289349" y="422800"/>
                    <a:pt x="321985" y="422800"/>
                  </a:cubicBezTo>
                  <a:cubicBezTo>
                    <a:pt x="354621" y="425519"/>
                    <a:pt x="387257" y="395603"/>
                    <a:pt x="387257" y="362967"/>
                  </a:cubicBezTo>
                  <a:lnTo>
                    <a:pt x="387257" y="273219"/>
                  </a:lnTo>
                  <a:cubicBezTo>
                    <a:pt x="387257" y="183470"/>
                    <a:pt x="395416" y="71964"/>
                    <a:pt x="302948" y="74684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25215576-30F2-4AAD-8485-216D0761A724}"/>
                </a:ext>
              </a:extLst>
            </p:cNvPr>
            <p:cNvSpPr/>
            <p:nvPr/>
          </p:nvSpPr>
          <p:spPr>
            <a:xfrm>
              <a:off x="7960620" y="3416868"/>
              <a:ext cx="435145" cy="462341"/>
            </a:xfrm>
            <a:custGeom>
              <a:avLst/>
              <a:gdLst>
                <a:gd name="connsiteX0" fmla="*/ 302948 w 435145"/>
                <a:gd name="connsiteY0" fmla="*/ 74684 h 462341"/>
                <a:gd name="connsiteX1" fmla="*/ 186002 w 435145"/>
                <a:gd name="connsiteY1" fmla="*/ 148115 h 462341"/>
                <a:gd name="connsiteX2" fmla="*/ 186002 w 435145"/>
                <a:gd name="connsiteY2" fmla="*/ 148115 h 462341"/>
                <a:gd name="connsiteX3" fmla="*/ 186002 w 435145"/>
                <a:gd name="connsiteY3" fmla="*/ 115479 h 462341"/>
                <a:gd name="connsiteX4" fmla="*/ 123450 w 435145"/>
                <a:gd name="connsiteY4" fmla="*/ 58366 h 462341"/>
                <a:gd name="connsiteX5" fmla="*/ 58178 w 435145"/>
                <a:gd name="connsiteY5" fmla="*/ 115479 h 462341"/>
                <a:gd name="connsiteX6" fmla="*/ 58178 w 435145"/>
                <a:gd name="connsiteY6" fmla="*/ 362967 h 462341"/>
                <a:gd name="connsiteX7" fmla="*/ 120730 w 435145"/>
                <a:gd name="connsiteY7" fmla="*/ 422800 h 462341"/>
                <a:gd name="connsiteX8" fmla="*/ 186002 w 435145"/>
                <a:gd name="connsiteY8" fmla="*/ 362967 h 462341"/>
                <a:gd name="connsiteX9" fmla="*/ 186002 w 435145"/>
                <a:gd name="connsiteY9" fmla="*/ 213386 h 462341"/>
                <a:gd name="connsiteX10" fmla="*/ 186002 w 435145"/>
                <a:gd name="connsiteY10" fmla="*/ 213386 h 462341"/>
                <a:gd name="connsiteX11" fmla="*/ 229517 w 435145"/>
                <a:gd name="connsiteY11" fmla="*/ 161713 h 462341"/>
                <a:gd name="connsiteX12" fmla="*/ 259433 w 435145"/>
                <a:gd name="connsiteY12" fmla="*/ 194349 h 462341"/>
                <a:gd name="connsiteX13" fmla="*/ 259433 w 435145"/>
                <a:gd name="connsiteY13" fmla="*/ 362967 h 462341"/>
                <a:gd name="connsiteX14" fmla="*/ 321985 w 435145"/>
                <a:gd name="connsiteY14" fmla="*/ 422800 h 462341"/>
                <a:gd name="connsiteX15" fmla="*/ 387257 w 435145"/>
                <a:gd name="connsiteY15" fmla="*/ 362967 h 462341"/>
                <a:gd name="connsiteX16" fmla="*/ 387257 w 435145"/>
                <a:gd name="connsiteY16" fmla="*/ 273219 h 462341"/>
                <a:gd name="connsiteX17" fmla="*/ 302948 w 435145"/>
                <a:gd name="connsiteY17" fmla="*/ 74684 h 4623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435145" h="462341">
                  <a:moveTo>
                    <a:pt x="302948" y="74684"/>
                  </a:moveTo>
                  <a:cubicBezTo>
                    <a:pt x="234956" y="74684"/>
                    <a:pt x="196881" y="131797"/>
                    <a:pt x="186002" y="148115"/>
                  </a:cubicBezTo>
                  <a:lnTo>
                    <a:pt x="186002" y="148115"/>
                  </a:lnTo>
                  <a:cubicBezTo>
                    <a:pt x="186002" y="129077"/>
                    <a:pt x="186002" y="115479"/>
                    <a:pt x="186002" y="115479"/>
                  </a:cubicBezTo>
                  <a:cubicBezTo>
                    <a:pt x="186002" y="82843"/>
                    <a:pt x="156086" y="58366"/>
                    <a:pt x="123450" y="58366"/>
                  </a:cubicBezTo>
                  <a:cubicBezTo>
                    <a:pt x="90814" y="55646"/>
                    <a:pt x="58178" y="82843"/>
                    <a:pt x="58178" y="115479"/>
                  </a:cubicBezTo>
                  <a:cubicBezTo>
                    <a:pt x="58178" y="120918"/>
                    <a:pt x="58178" y="360248"/>
                    <a:pt x="58178" y="362967"/>
                  </a:cubicBezTo>
                  <a:cubicBezTo>
                    <a:pt x="58178" y="395603"/>
                    <a:pt x="88095" y="422800"/>
                    <a:pt x="120730" y="422800"/>
                  </a:cubicBezTo>
                  <a:cubicBezTo>
                    <a:pt x="153366" y="425519"/>
                    <a:pt x="186002" y="395603"/>
                    <a:pt x="186002" y="362967"/>
                  </a:cubicBezTo>
                  <a:cubicBezTo>
                    <a:pt x="186002" y="360248"/>
                    <a:pt x="186002" y="281378"/>
                    <a:pt x="186002" y="213386"/>
                  </a:cubicBezTo>
                  <a:lnTo>
                    <a:pt x="186002" y="213386"/>
                  </a:lnTo>
                  <a:cubicBezTo>
                    <a:pt x="191442" y="186190"/>
                    <a:pt x="205040" y="161713"/>
                    <a:pt x="229517" y="161713"/>
                  </a:cubicBezTo>
                  <a:cubicBezTo>
                    <a:pt x="259433" y="161713"/>
                    <a:pt x="259433" y="194349"/>
                    <a:pt x="259433" y="194349"/>
                  </a:cubicBezTo>
                  <a:lnTo>
                    <a:pt x="259433" y="362967"/>
                  </a:lnTo>
                  <a:cubicBezTo>
                    <a:pt x="259433" y="395603"/>
                    <a:pt x="289349" y="422800"/>
                    <a:pt x="321985" y="422800"/>
                  </a:cubicBezTo>
                  <a:cubicBezTo>
                    <a:pt x="354621" y="425519"/>
                    <a:pt x="387257" y="395603"/>
                    <a:pt x="387257" y="362967"/>
                  </a:cubicBezTo>
                  <a:lnTo>
                    <a:pt x="387257" y="273219"/>
                  </a:lnTo>
                  <a:cubicBezTo>
                    <a:pt x="384537" y="183470"/>
                    <a:pt x="395416" y="71964"/>
                    <a:pt x="302948" y="74684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/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197F4014-0506-40C3-9D6E-9D29B34F6404}"/>
                </a:ext>
              </a:extLst>
            </p:cNvPr>
            <p:cNvSpPr/>
            <p:nvPr/>
          </p:nvSpPr>
          <p:spPr>
            <a:xfrm>
              <a:off x="5020669" y="3416868"/>
              <a:ext cx="435145" cy="462341"/>
            </a:xfrm>
            <a:custGeom>
              <a:avLst/>
              <a:gdLst>
                <a:gd name="connsiteX0" fmla="*/ 302948 w 435145"/>
                <a:gd name="connsiteY0" fmla="*/ 74684 h 462341"/>
                <a:gd name="connsiteX1" fmla="*/ 186002 w 435145"/>
                <a:gd name="connsiteY1" fmla="*/ 148115 h 462341"/>
                <a:gd name="connsiteX2" fmla="*/ 186002 w 435145"/>
                <a:gd name="connsiteY2" fmla="*/ 148115 h 462341"/>
                <a:gd name="connsiteX3" fmla="*/ 186002 w 435145"/>
                <a:gd name="connsiteY3" fmla="*/ 115479 h 462341"/>
                <a:gd name="connsiteX4" fmla="*/ 123450 w 435145"/>
                <a:gd name="connsiteY4" fmla="*/ 58366 h 462341"/>
                <a:gd name="connsiteX5" fmla="*/ 58178 w 435145"/>
                <a:gd name="connsiteY5" fmla="*/ 115479 h 462341"/>
                <a:gd name="connsiteX6" fmla="*/ 58178 w 435145"/>
                <a:gd name="connsiteY6" fmla="*/ 362967 h 462341"/>
                <a:gd name="connsiteX7" fmla="*/ 120730 w 435145"/>
                <a:gd name="connsiteY7" fmla="*/ 422800 h 462341"/>
                <a:gd name="connsiteX8" fmla="*/ 186002 w 435145"/>
                <a:gd name="connsiteY8" fmla="*/ 362967 h 462341"/>
                <a:gd name="connsiteX9" fmla="*/ 186002 w 435145"/>
                <a:gd name="connsiteY9" fmla="*/ 213386 h 462341"/>
                <a:gd name="connsiteX10" fmla="*/ 186002 w 435145"/>
                <a:gd name="connsiteY10" fmla="*/ 213386 h 462341"/>
                <a:gd name="connsiteX11" fmla="*/ 229517 w 435145"/>
                <a:gd name="connsiteY11" fmla="*/ 161713 h 462341"/>
                <a:gd name="connsiteX12" fmla="*/ 259433 w 435145"/>
                <a:gd name="connsiteY12" fmla="*/ 194349 h 462341"/>
                <a:gd name="connsiteX13" fmla="*/ 259433 w 435145"/>
                <a:gd name="connsiteY13" fmla="*/ 362967 h 462341"/>
                <a:gd name="connsiteX14" fmla="*/ 321985 w 435145"/>
                <a:gd name="connsiteY14" fmla="*/ 422800 h 462341"/>
                <a:gd name="connsiteX15" fmla="*/ 387257 w 435145"/>
                <a:gd name="connsiteY15" fmla="*/ 362967 h 462341"/>
                <a:gd name="connsiteX16" fmla="*/ 387257 w 435145"/>
                <a:gd name="connsiteY16" fmla="*/ 273219 h 462341"/>
                <a:gd name="connsiteX17" fmla="*/ 302948 w 435145"/>
                <a:gd name="connsiteY17" fmla="*/ 74684 h 4623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435145" h="462341">
                  <a:moveTo>
                    <a:pt x="302948" y="74684"/>
                  </a:moveTo>
                  <a:cubicBezTo>
                    <a:pt x="234956" y="74684"/>
                    <a:pt x="196881" y="131797"/>
                    <a:pt x="186002" y="148115"/>
                  </a:cubicBezTo>
                  <a:lnTo>
                    <a:pt x="186002" y="148115"/>
                  </a:lnTo>
                  <a:cubicBezTo>
                    <a:pt x="186002" y="129077"/>
                    <a:pt x="186002" y="115479"/>
                    <a:pt x="186002" y="115479"/>
                  </a:cubicBezTo>
                  <a:cubicBezTo>
                    <a:pt x="186002" y="82843"/>
                    <a:pt x="156086" y="58366"/>
                    <a:pt x="123450" y="58366"/>
                  </a:cubicBezTo>
                  <a:cubicBezTo>
                    <a:pt x="90814" y="55646"/>
                    <a:pt x="58178" y="82843"/>
                    <a:pt x="58178" y="115479"/>
                  </a:cubicBezTo>
                  <a:cubicBezTo>
                    <a:pt x="58178" y="120918"/>
                    <a:pt x="58178" y="360248"/>
                    <a:pt x="58178" y="362967"/>
                  </a:cubicBezTo>
                  <a:cubicBezTo>
                    <a:pt x="58178" y="395603"/>
                    <a:pt x="88094" y="422800"/>
                    <a:pt x="120730" y="422800"/>
                  </a:cubicBezTo>
                  <a:cubicBezTo>
                    <a:pt x="153366" y="425519"/>
                    <a:pt x="186002" y="395603"/>
                    <a:pt x="186002" y="362967"/>
                  </a:cubicBezTo>
                  <a:cubicBezTo>
                    <a:pt x="186002" y="360248"/>
                    <a:pt x="186002" y="281378"/>
                    <a:pt x="186002" y="213386"/>
                  </a:cubicBezTo>
                  <a:lnTo>
                    <a:pt x="186002" y="213386"/>
                  </a:lnTo>
                  <a:cubicBezTo>
                    <a:pt x="191442" y="186190"/>
                    <a:pt x="205040" y="161713"/>
                    <a:pt x="229517" y="161713"/>
                  </a:cubicBezTo>
                  <a:cubicBezTo>
                    <a:pt x="259433" y="161713"/>
                    <a:pt x="259433" y="194349"/>
                    <a:pt x="259433" y="194349"/>
                  </a:cubicBezTo>
                  <a:lnTo>
                    <a:pt x="259433" y="362967"/>
                  </a:lnTo>
                  <a:cubicBezTo>
                    <a:pt x="259433" y="395603"/>
                    <a:pt x="289349" y="422800"/>
                    <a:pt x="321985" y="422800"/>
                  </a:cubicBezTo>
                  <a:cubicBezTo>
                    <a:pt x="354621" y="425519"/>
                    <a:pt x="387257" y="395603"/>
                    <a:pt x="387257" y="362967"/>
                  </a:cubicBezTo>
                  <a:lnTo>
                    <a:pt x="387257" y="273219"/>
                  </a:lnTo>
                  <a:cubicBezTo>
                    <a:pt x="384537" y="183470"/>
                    <a:pt x="395416" y="71964"/>
                    <a:pt x="302948" y="74684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2CECD138-51CC-425A-86A7-D780954B759C}"/>
                </a:ext>
              </a:extLst>
            </p:cNvPr>
            <p:cNvSpPr/>
            <p:nvPr/>
          </p:nvSpPr>
          <p:spPr>
            <a:xfrm>
              <a:off x="7616289" y="3475234"/>
              <a:ext cx="364436" cy="364434"/>
            </a:xfrm>
            <a:custGeom>
              <a:avLst/>
              <a:gdLst>
                <a:gd name="connsiteX0" fmla="*/ 182218 w 364436"/>
                <a:gd name="connsiteY0" fmla="*/ 73431 h 364434"/>
                <a:gd name="connsiteX1" fmla="*/ 130544 w 364436"/>
                <a:gd name="connsiteY1" fmla="*/ 179499 h 364434"/>
                <a:gd name="connsiteX2" fmla="*/ 182218 w 364436"/>
                <a:gd name="connsiteY2" fmla="*/ 285565 h 364434"/>
                <a:gd name="connsiteX3" fmla="*/ 233891 w 364436"/>
                <a:gd name="connsiteY3" fmla="*/ 179499 h 364434"/>
                <a:gd name="connsiteX4" fmla="*/ 182218 w 364436"/>
                <a:gd name="connsiteY4" fmla="*/ 73431 h 364434"/>
                <a:gd name="connsiteX5" fmla="*/ 182219 w 364436"/>
                <a:gd name="connsiteY5" fmla="*/ 0 h 364434"/>
                <a:gd name="connsiteX6" fmla="*/ 364436 w 364436"/>
                <a:gd name="connsiteY6" fmla="*/ 182217 h 364434"/>
                <a:gd name="connsiteX7" fmla="*/ 182219 w 364436"/>
                <a:gd name="connsiteY7" fmla="*/ 364434 h 364434"/>
                <a:gd name="connsiteX8" fmla="*/ 0 w 364436"/>
                <a:gd name="connsiteY8" fmla="*/ 182217 h 364434"/>
                <a:gd name="connsiteX9" fmla="*/ 182219 w 364436"/>
                <a:gd name="connsiteY9" fmla="*/ 0 h 3644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64436" h="364434">
                  <a:moveTo>
                    <a:pt x="182218" y="73431"/>
                  </a:moveTo>
                  <a:cubicBezTo>
                    <a:pt x="152302" y="76151"/>
                    <a:pt x="130544" y="114226"/>
                    <a:pt x="130544" y="179499"/>
                  </a:cubicBezTo>
                  <a:cubicBezTo>
                    <a:pt x="130544" y="244770"/>
                    <a:pt x="146862" y="285565"/>
                    <a:pt x="182218" y="285565"/>
                  </a:cubicBezTo>
                  <a:cubicBezTo>
                    <a:pt x="217573" y="285565"/>
                    <a:pt x="233891" y="247490"/>
                    <a:pt x="233891" y="179499"/>
                  </a:cubicBezTo>
                  <a:cubicBezTo>
                    <a:pt x="233891" y="114226"/>
                    <a:pt x="212134" y="73431"/>
                    <a:pt x="182218" y="73431"/>
                  </a:cubicBezTo>
                  <a:close/>
                  <a:moveTo>
                    <a:pt x="182219" y="0"/>
                  </a:moveTo>
                  <a:cubicBezTo>
                    <a:pt x="282846" y="0"/>
                    <a:pt x="364436" y="81590"/>
                    <a:pt x="364436" y="182217"/>
                  </a:cubicBezTo>
                  <a:cubicBezTo>
                    <a:pt x="364436" y="282844"/>
                    <a:pt x="282846" y="364434"/>
                    <a:pt x="182219" y="364434"/>
                  </a:cubicBezTo>
                  <a:cubicBezTo>
                    <a:pt x="81591" y="364434"/>
                    <a:pt x="0" y="282844"/>
                    <a:pt x="0" y="182217"/>
                  </a:cubicBezTo>
                  <a:cubicBezTo>
                    <a:pt x="0" y="81590"/>
                    <a:pt x="81591" y="0"/>
                    <a:pt x="182219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2672872F-0F50-4B3B-9CEE-35C229AA0CF9}"/>
                </a:ext>
              </a:extLst>
            </p:cNvPr>
            <p:cNvSpPr/>
            <p:nvPr/>
          </p:nvSpPr>
          <p:spPr>
            <a:xfrm>
              <a:off x="6743101" y="3464184"/>
              <a:ext cx="372773" cy="375657"/>
            </a:xfrm>
            <a:custGeom>
              <a:avLst/>
              <a:gdLst>
                <a:gd name="connsiteX0" fmla="*/ 176958 w 372773"/>
                <a:gd name="connsiteY0" fmla="*/ 98080 h 375657"/>
                <a:gd name="connsiteX1" fmla="*/ 125284 w 372773"/>
                <a:gd name="connsiteY1" fmla="*/ 190548 h 375657"/>
                <a:gd name="connsiteX2" fmla="*/ 176958 w 372773"/>
                <a:gd name="connsiteY2" fmla="*/ 283017 h 375657"/>
                <a:gd name="connsiteX3" fmla="*/ 228631 w 372773"/>
                <a:gd name="connsiteY3" fmla="*/ 190548 h 375657"/>
                <a:gd name="connsiteX4" fmla="*/ 176958 w 372773"/>
                <a:gd name="connsiteY4" fmla="*/ 98080 h 375657"/>
                <a:gd name="connsiteX5" fmla="*/ 307501 w 372773"/>
                <a:gd name="connsiteY5" fmla="*/ 172 h 375657"/>
                <a:gd name="connsiteX6" fmla="*/ 372773 w 372773"/>
                <a:gd name="connsiteY6" fmla="*/ 62724 h 375657"/>
                <a:gd name="connsiteX7" fmla="*/ 372773 w 372773"/>
                <a:gd name="connsiteY7" fmla="*/ 312934 h 375657"/>
                <a:gd name="connsiteX8" fmla="*/ 302061 w 372773"/>
                <a:gd name="connsiteY8" fmla="*/ 375486 h 375657"/>
                <a:gd name="connsiteX9" fmla="*/ 239509 w 372773"/>
                <a:gd name="connsiteY9" fmla="*/ 326532 h 375657"/>
                <a:gd name="connsiteX10" fmla="*/ 179677 w 372773"/>
                <a:gd name="connsiteY10" fmla="*/ 370046 h 375657"/>
                <a:gd name="connsiteX11" fmla="*/ 70890 w 372773"/>
                <a:gd name="connsiteY11" fmla="*/ 353728 h 375657"/>
                <a:gd name="connsiteX12" fmla="*/ 128003 w 372773"/>
                <a:gd name="connsiteY12" fmla="*/ 11051 h 375657"/>
                <a:gd name="connsiteX13" fmla="*/ 236790 w 372773"/>
                <a:gd name="connsiteY13" fmla="*/ 70883 h 375657"/>
                <a:gd name="connsiteX14" fmla="*/ 236790 w 372773"/>
                <a:gd name="connsiteY14" fmla="*/ 62724 h 375657"/>
                <a:gd name="connsiteX15" fmla="*/ 307501 w 372773"/>
                <a:gd name="connsiteY15" fmla="*/ 172 h 3756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72773" h="375657">
                  <a:moveTo>
                    <a:pt x="176958" y="98080"/>
                  </a:moveTo>
                  <a:cubicBezTo>
                    <a:pt x="147042" y="100800"/>
                    <a:pt x="125284" y="133436"/>
                    <a:pt x="125284" y="190548"/>
                  </a:cubicBezTo>
                  <a:cubicBezTo>
                    <a:pt x="125284" y="247661"/>
                    <a:pt x="141602" y="283017"/>
                    <a:pt x="176958" y="283017"/>
                  </a:cubicBezTo>
                  <a:cubicBezTo>
                    <a:pt x="212314" y="283017"/>
                    <a:pt x="228631" y="247661"/>
                    <a:pt x="228631" y="190548"/>
                  </a:cubicBezTo>
                  <a:cubicBezTo>
                    <a:pt x="228631" y="133436"/>
                    <a:pt x="206874" y="98080"/>
                    <a:pt x="176958" y="98080"/>
                  </a:cubicBezTo>
                  <a:close/>
                  <a:moveTo>
                    <a:pt x="307501" y="172"/>
                  </a:moveTo>
                  <a:cubicBezTo>
                    <a:pt x="340137" y="172"/>
                    <a:pt x="372773" y="30088"/>
                    <a:pt x="372773" y="62724"/>
                  </a:cubicBezTo>
                  <a:cubicBezTo>
                    <a:pt x="372773" y="65444"/>
                    <a:pt x="372773" y="307494"/>
                    <a:pt x="372773" y="312934"/>
                  </a:cubicBezTo>
                  <a:cubicBezTo>
                    <a:pt x="370053" y="348289"/>
                    <a:pt x="337417" y="378205"/>
                    <a:pt x="302061" y="375486"/>
                  </a:cubicBezTo>
                  <a:cubicBezTo>
                    <a:pt x="274865" y="372766"/>
                    <a:pt x="247668" y="353728"/>
                    <a:pt x="239509" y="326532"/>
                  </a:cubicBezTo>
                  <a:cubicBezTo>
                    <a:pt x="225911" y="348289"/>
                    <a:pt x="198715" y="364607"/>
                    <a:pt x="179677" y="370046"/>
                  </a:cubicBezTo>
                  <a:cubicBezTo>
                    <a:pt x="147041" y="378205"/>
                    <a:pt x="100807" y="372766"/>
                    <a:pt x="70890" y="353728"/>
                  </a:cubicBezTo>
                  <a:cubicBezTo>
                    <a:pt x="-35177" y="285737"/>
                    <a:pt x="-27018" y="11051"/>
                    <a:pt x="128003" y="11051"/>
                  </a:cubicBezTo>
                  <a:cubicBezTo>
                    <a:pt x="185116" y="11051"/>
                    <a:pt x="220471" y="49126"/>
                    <a:pt x="236790" y="70883"/>
                  </a:cubicBezTo>
                  <a:cubicBezTo>
                    <a:pt x="236790" y="70883"/>
                    <a:pt x="236790" y="65444"/>
                    <a:pt x="236790" y="62724"/>
                  </a:cubicBezTo>
                  <a:cubicBezTo>
                    <a:pt x="239509" y="27369"/>
                    <a:pt x="272145" y="-2547"/>
                    <a:pt x="307501" y="172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/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04A581DD-06BD-44EA-9E2D-8FB253851F92}"/>
                </a:ext>
              </a:extLst>
            </p:cNvPr>
            <p:cNvSpPr/>
            <p:nvPr/>
          </p:nvSpPr>
          <p:spPr>
            <a:xfrm>
              <a:off x="8380335" y="3464184"/>
              <a:ext cx="372772" cy="375657"/>
            </a:xfrm>
            <a:custGeom>
              <a:avLst/>
              <a:gdLst>
                <a:gd name="connsiteX0" fmla="*/ 176957 w 372772"/>
                <a:gd name="connsiteY0" fmla="*/ 98080 h 375657"/>
                <a:gd name="connsiteX1" fmla="*/ 125282 w 372772"/>
                <a:gd name="connsiteY1" fmla="*/ 190548 h 375657"/>
                <a:gd name="connsiteX2" fmla="*/ 176957 w 372772"/>
                <a:gd name="connsiteY2" fmla="*/ 283017 h 375657"/>
                <a:gd name="connsiteX3" fmla="*/ 228630 w 372772"/>
                <a:gd name="connsiteY3" fmla="*/ 190548 h 375657"/>
                <a:gd name="connsiteX4" fmla="*/ 176957 w 372772"/>
                <a:gd name="connsiteY4" fmla="*/ 98080 h 375657"/>
                <a:gd name="connsiteX5" fmla="*/ 307501 w 372772"/>
                <a:gd name="connsiteY5" fmla="*/ 172 h 375657"/>
                <a:gd name="connsiteX6" fmla="*/ 372772 w 372772"/>
                <a:gd name="connsiteY6" fmla="*/ 62724 h 375657"/>
                <a:gd name="connsiteX7" fmla="*/ 372772 w 372772"/>
                <a:gd name="connsiteY7" fmla="*/ 312934 h 375657"/>
                <a:gd name="connsiteX8" fmla="*/ 302062 w 372772"/>
                <a:gd name="connsiteY8" fmla="*/ 375486 h 375657"/>
                <a:gd name="connsiteX9" fmla="*/ 239509 w 372772"/>
                <a:gd name="connsiteY9" fmla="*/ 326532 h 375657"/>
                <a:gd name="connsiteX10" fmla="*/ 179677 w 372772"/>
                <a:gd name="connsiteY10" fmla="*/ 370046 h 375657"/>
                <a:gd name="connsiteX11" fmla="*/ 70890 w 372772"/>
                <a:gd name="connsiteY11" fmla="*/ 353728 h 375657"/>
                <a:gd name="connsiteX12" fmla="*/ 128002 w 372772"/>
                <a:gd name="connsiteY12" fmla="*/ 11051 h 375657"/>
                <a:gd name="connsiteX13" fmla="*/ 236790 w 372772"/>
                <a:gd name="connsiteY13" fmla="*/ 70883 h 375657"/>
                <a:gd name="connsiteX14" fmla="*/ 236790 w 372772"/>
                <a:gd name="connsiteY14" fmla="*/ 62724 h 375657"/>
                <a:gd name="connsiteX15" fmla="*/ 307501 w 372772"/>
                <a:gd name="connsiteY15" fmla="*/ 172 h 3756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72772" h="375657">
                  <a:moveTo>
                    <a:pt x="176957" y="98080"/>
                  </a:moveTo>
                  <a:cubicBezTo>
                    <a:pt x="147039" y="100800"/>
                    <a:pt x="125282" y="133436"/>
                    <a:pt x="125282" y="190548"/>
                  </a:cubicBezTo>
                  <a:cubicBezTo>
                    <a:pt x="125282" y="247661"/>
                    <a:pt x="141600" y="283017"/>
                    <a:pt x="176957" y="283017"/>
                  </a:cubicBezTo>
                  <a:cubicBezTo>
                    <a:pt x="212312" y="283017"/>
                    <a:pt x="228630" y="247661"/>
                    <a:pt x="228630" y="190548"/>
                  </a:cubicBezTo>
                  <a:cubicBezTo>
                    <a:pt x="228630" y="133436"/>
                    <a:pt x="206873" y="98080"/>
                    <a:pt x="176957" y="98080"/>
                  </a:cubicBezTo>
                  <a:close/>
                  <a:moveTo>
                    <a:pt x="307501" y="172"/>
                  </a:moveTo>
                  <a:cubicBezTo>
                    <a:pt x="340137" y="172"/>
                    <a:pt x="372772" y="30088"/>
                    <a:pt x="372772" y="62724"/>
                  </a:cubicBezTo>
                  <a:cubicBezTo>
                    <a:pt x="372772" y="65444"/>
                    <a:pt x="372772" y="307494"/>
                    <a:pt x="372772" y="312934"/>
                  </a:cubicBezTo>
                  <a:cubicBezTo>
                    <a:pt x="370053" y="348289"/>
                    <a:pt x="337417" y="378205"/>
                    <a:pt x="302062" y="375486"/>
                  </a:cubicBezTo>
                  <a:cubicBezTo>
                    <a:pt x="274865" y="372766"/>
                    <a:pt x="247668" y="353728"/>
                    <a:pt x="239509" y="326532"/>
                  </a:cubicBezTo>
                  <a:cubicBezTo>
                    <a:pt x="228630" y="348289"/>
                    <a:pt x="198714" y="364607"/>
                    <a:pt x="179677" y="370046"/>
                  </a:cubicBezTo>
                  <a:cubicBezTo>
                    <a:pt x="147040" y="378205"/>
                    <a:pt x="100806" y="372766"/>
                    <a:pt x="70890" y="353728"/>
                  </a:cubicBezTo>
                  <a:cubicBezTo>
                    <a:pt x="-35177" y="285737"/>
                    <a:pt x="-27018" y="11051"/>
                    <a:pt x="128002" y="11051"/>
                  </a:cubicBezTo>
                  <a:cubicBezTo>
                    <a:pt x="185116" y="11051"/>
                    <a:pt x="220472" y="49126"/>
                    <a:pt x="236790" y="70883"/>
                  </a:cubicBezTo>
                  <a:cubicBezTo>
                    <a:pt x="236790" y="70883"/>
                    <a:pt x="236790" y="65444"/>
                    <a:pt x="236790" y="62724"/>
                  </a:cubicBezTo>
                  <a:cubicBezTo>
                    <a:pt x="239509" y="27369"/>
                    <a:pt x="272145" y="-2547"/>
                    <a:pt x="307501" y="172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/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78E29341-2391-4754-93F4-DE7EF2D3370D}"/>
                </a:ext>
              </a:extLst>
            </p:cNvPr>
            <p:cNvSpPr/>
            <p:nvPr/>
          </p:nvSpPr>
          <p:spPr>
            <a:xfrm>
              <a:off x="7389492" y="3444253"/>
              <a:ext cx="217573" cy="435145"/>
            </a:xfrm>
            <a:custGeom>
              <a:avLst/>
              <a:gdLst>
                <a:gd name="connsiteX0" fmla="*/ 186002 w 217572"/>
                <a:gd name="connsiteY0" fmla="*/ 118011 h 435144"/>
                <a:gd name="connsiteX1" fmla="*/ 128890 w 217572"/>
                <a:gd name="connsiteY1" fmla="*/ 58178 h 435144"/>
                <a:gd name="connsiteX2" fmla="*/ 123450 w 217572"/>
                <a:gd name="connsiteY2" fmla="*/ 58178 h 435144"/>
                <a:gd name="connsiteX3" fmla="*/ 58178 w 217572"/>
                <a:gd name="connsiteY3" fmla="*/ 115291 h 435144"/>
                <a:gd name="connsiteX4" fmla="*/ 58178 w 217572"/>
                <a:gd name="connsiteY4" fmla="*/ 232236 h 435144"/>
                <a:gd name="connsiteX5" fmla="*/ 58178 w 217572"/>
                <a:gd name="connsiteY5" fmla="*/ 232236 h 435144"/>
                <a:gd name="connsiteX6" fmla="*/ 58178 w 217572"/>
                <a:gd name="connsiteY6" fmla="*/ 335583 h 435144"/>
                <a:gd name="connsiteX7" fmla="*/ 115291 w 217572"/>
                <a:gd name="connsiteY7" fmla="*/ 395415 h 435144"/>
                <a:gd name="connsiteX8" fmla="*/ 120730 w 217572"/>
                <a:gd name="connsiteY8" fmla="*/ 395415 h 435144"/>
                <a:gd name="connsiteX9" fmla="*/ 186002 w 217572"/>
                <a:gd name="connsiteY9" fmla="*/ 338303 h 435144"/>
                <a:gd name="connsiteX10" fmla="*/ 186002 w 217572"/>
                <a:gd name="connsiteY10" fmla="*/ 240395 h 435144"/>
                <a:gd name="connsiteX11" fmla="*/ 186002 w 217572"/>
                <a:gd name="connsiteY11" fmla="*/ 240395 h 435144"/>
                <a:gd name="connsiteX12" fmla="*/ 186002 w 217572"/>
                <a:gd name="connsiteY12" fmla="*/ 118011 h 4351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17572" h="435144">
                  <a:moveTo>
                    <a:pt x="186002" y="118011"/>
                  </a:moveTo>
                  <a:cubicBezTo>
                    <a:pt x="183283" y="85375"/>
                    <a:pt x="158806" y="60898"/>
                    <a:pt x="128890" y="58178"/>
                  </a:cubicBezTo>
                  <a:cubicBezTo>
                    <a:pt x="126170" y="58178"/>
                    <a:pt x="126170" y="58178"/>
                    <a:pt x="123450" y="58178"/>
                  </a:cubicBezTo>
                  <a:cubicBezTo>
                    <a:pt x="96254" y="58178"/>
                    <a:pt x="58178" y="82655"/>
                    <a:pt x="58178" y="115291"/>
                  </a:cubicBezTo>
                  <a:lnTo>
                    <a:pt x="58178" y="232236"/>
                  </a:lnTo>
                  <a:lnTo>
                    <a:pt x="58178" y="232236"/>
                  </a:lnTo>
                  <a:cubicBezTo>
                    <a:pt x="58178" y="270311"/>
                    <a:pt x="58178" y="335583"/>
                    <a:pt x="58178" y="335583"/>
                  </a:cubicBezTo>
                  <a:cubicBezTo>
                    <a:pt x="60898" y="368219"/>
                    <a:pt x="85375" y="392696"/>
                    <a:pt x="115291" y="395415"/>
                  </a:cubicBezTo>
                  <a:cubicBezTo>
                    <a:pt x="118011" y="395415"/>
                    <a:pt x="118011" y="395415"/>
                    <a:pt x="120730" y="395415"/>
                  </a:cubicBezTo>
                  <a:cubicBezTo>
                    <a:pt x="147927" y="395415"/>
                    <a:pt x="186002" y="370938"/>
                    <a:pt x="186002" y="338303"/>
                  </a:cubicBezTo>
                  <a:lnTo>
                    <a:pt x="186002" y="240395"/>
                  </a:lnTo>
                  <a:lnTo>
                    <a:pt x="186002" y="240395"/>
                  </a:lnTo>
                  <a:cubicBezTo>
                    <a:pt x="186002" y="202320"/>
                    <a:pt x="186002" y="118011"/>
                    <a:pt x="186002" y="118011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/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95B7127F-7A53-40C2-B41D-3D96503E3CC7}"/>
                </a:ext>
              </a:extLst>
            </p:cNvPr>
            <p:cNvSpPr/>
            <p:nvPr/>
          </p:nvSpPr>
          <p:spPr>
            <a:xfrm>
              <a:off x="7392212" y="3280901"/>
              <a:ext cx="217573" cy="217572"/>
            </a:xfrm>
            <a:custGeom>
              <a:avLst/>
              <a:gdLst>
                <a:gd name="connsiteX0" fmla="*/ 183282 w 217572"/>
                <a:gd name="connsiteY0" fmla="*/ 120902 h 217572"/>
                <a:gd name="connsiteX1" fmla="*/ 120730 w 217572"/>
                <a:gd name="connsiteY1" fmla="*/ 183454 h 217572"/>
                <a:gd name="connsiteX2" fmla="*/ 58178 w 217572"/>
                <a:gd name="connsiteY2" fmla="*/ 120902 h 217572"/>
                <a:gd name="connsiteX3" fmla="*/ 120730 w 217572"/>
                <a:gd name="connsiteY3" fmla="*/ 58350 h 217572"/>
                <a:gd name="connsiteX4" fmla="*/ 183282 w 217572"/>
                <a:gd name="connsiteY4" fmla="*/ 120902 h 2175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17572" h="217572">
                  <a:moveTo>
                    <a:pt x="183282" y="120902"/>
                  </a:moveTo>
                  <a:cubicBezTo>
                    <a:pt x="183282" y="156258"/>
                    <a:pt x="156086" y="183454"/>
                    <a:pt x="120730" y="183454"/>
                  </a:cubicBezTo>
                  <a:cubicBezTo>
                    <a:pt x="85375" y="183454"/>
                    <a:pt x="58178" y="156258"/>
                    <a:pt x="58178" y="120902"/>
                  </a:cubicBezTo>
                  <a:cubicBezTo>
                    <a:pt x="58178" y="85547"/>
                    <a:pt x="85375" y="58350"/>
                    <a:pt x="120730" y="58350"/>
                  </a:cubicBezTo>
                  <a:cubicBezTo>
                    <a:pt x="153366" y="55630"/>
                    <a:pt x="183282" y="85547"/>
                    <a:pt x="183282" y="120902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/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214B5140-BD02-4841-AF70-6D377E4DF2E9}"/>
                </a:ext>
              </a:extLst>
            </p:cNvPr>
            <p:cNvSpPr/>
            <p:nvPr/>
          </p:nvSpPr>
          <p:spPr>
            <a:xfrm>
              <a:off x="6005186" y="3416884"/>
              <a:ext cx="380752" cy="462341"/>
            </a:xfrm>
            <a:custGeom>
              <a:avLst/>
              <a:gdLst>
                <a:gd name="connsiteX0" fmla="*/ 270312 w 380752"/>
                <a:gd name="connsiteY0" fmla="*/ 69229 h 462341"/>
                <a:gd name="connsiteX1" fmla="*/ 188722 w 380752"/>
                <a:gd name="connsiteY1" fmla="*/ 134501 h 462341"/>
                <a:gd name="connsiteX2" fmla="*/ 188722 w 380752"/>
                <a:gd name="connsiteY2" fmla="*/ 118183 h 462341"/>
                <a:gd name="connsiteX3" fmla="*/ 126170 w 380752"/>
                <a:gd name="connsiteY3" fmla="*/ 58350 h 462341"/>
                <a:gd name="connsiteX4" fmla="*/ 58178 w 380752"/>
                <a:gd name="connsiteY4" fmla="*/ 118183 h 462341"/>
                <a:gd name="connsiteX5" fmla="*/ 58178 w 380752"/>
                <a:gd name="connsiteY5" fmla="*/ 210651 h 462341"/>
                <a:gd name="connsiteX6" fmla="*/ 58178 w 380752"/>
                <a:gd name="connsiteY6" fmla="*/ 365671 h 462341"/>
                <a:gd name="connsiteX7" fmla="*/ 58178 w 380752"/>
                <a:gd name="connsiteY7" fmla="*/ 365671 h 462341"/>
                <a:gd name="connsiteX8" fmla="*/ 120730 w 380752"/>
                <a:gd name="connsiteY8" fmla="*/ 425504 h 462341"/>
                <a:gd name="connsiteX9" fmla="*/ 186002 w 380752"/>
                <a:gd name="connsiteY9" fmla="*/ 365671 h 462341"/>
                <a:gd name="connsiteX10" fmla="*/ 186002 w 380752"/>
                <a:gd name="connsiteY10" fmla="*/ 365671 h 462341"/>
                <a:gd name="connsiteX11" fmla="*/ 186002 w 380752"/>
                <a:gd name="connsiteY11" fmla="*/ 210651 h 462341"/>
                <a:gd name="connsiteX12" fmla="*/ 215919 w 380752"/>
                <a:gd name="connsiteY12" fmla="*/ 158978 h 462341"/>
                <a:gd name="connsiteX13" fmla="*/ 275751 w 380752"/>
                <a:gd name="connsiteY13" fmla="*/ 221530 h 462341"/>
                <a:gd name="connsiteX14" fmla="*/ 270312 w 380752"/>
                <a:gd name="connsiteY14" fmla="*/ 69229 h 4623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80752" h="462341">
                  <a:moveTo>
                    <a:pt x="270312" y="69229"/>
                  </a:moveTo>
                  <a:cubicBezTo>
                    <a:pt x="232236" y="71949"/>
                    <a:pt x="213199" y="99145"/>
                    <a:pt x="188722" y="134501"/>
                  </a:cubicBezTo>
                  <a:cubicBezTo>
                    <a:pt x="188722" y="134501"/>
                    <a:pt x="188722" y="118183"/>
                    <a:pt x="188722" y="118183"/>
                  </a:cubicBezTo>
                  <a:cubicBezTo>
                    <a:pt x="188722" y="85547"/>
                    <a:pt x="158806" y="58350"/>
                    <a:pt x="126170" y="58350"/>
                  </a:cubicBezTo>
                  <a:cubicBezTo>
                    <a:pt x="93534" y="55631"/>
                    <a:pt x="60898" y="85547"/>
                    <a:pt x="58178" y="118183"/>
                  </a:cubicBezTo>
                  <a:lnTo>
                    <a:pt x="58178" y="210651"/>
                  </a:lnTo>
                  <a:lnTo>
                    <a:pt x="58178" y="365671"/>
                  </a:lnTo>
                  <a:lnTo>
                    <a:pt x="58178" y="365671"/>
                  </a:lnTo>
                  <a:cubicBezTo>
                    <a:pt x="58178" y="398307"/>
                    <a:pt x="88094" y="425504"/>
                    <a:pt x="120730" y="425504"/>
                  </a:cubicBezTo>
                  <a:cubicBezTo>
                    <a:pt x="153366" y="428224"/>
                    <a:pt x="186002" y="398307"/>
                    <a:pt x="186002" y="365671"/>
                  </a:cubicBezTo>
                  <a:lnTo>
                    <a:pt x="186002" y="365671"/>
                  </a:lnTo>
                  <a:lnTo>
                    <a:pt x="186002" y="210651"/>
                  </a:lnTo>
                  <a:cubicBezTo>
                    <a:pt x="188722" y="188894"/>
                    <a:pt x="196881" y="158978"/>
                    <a:pt x="215919" y="158978"/>
                  </a:cubicBezTo>
                  <a:cubicBezTo>
                    <a:pt x="243115" y="158978"/>
                    <a:pt x="215919" y="221530"/>
                    <a:pt x="275751" y="221530"/>
                  </a:cubicBezTo>
                  <a:cubicBezTo>
                    <a:pt x="362780" y="221530"/>
                    <a:pt x="373658" y="63790"/>
                    <a:pt x="270312" y="69229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/>
            </a:p>
          </p:txBody>
        </p:sp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id="{16C21D7B-C520-4401-BFFD-43EA75B9B3F0}"/>
                </a:ext>
              </a:extLst>
            </p:cNvPr>
            <p:cNvSpPr/>
            <p:nvPr/>
          </p:nvSpPr>
          <p:spPr>
            <a:xfrm>
              <a:off x="5693490" y="3475234"/>
              <a:ext cx="337238" cy="364434"/>
            </a:xfrm>
            <a:custGeom>
              <a:avLst/>
              <a:gdLst>
                <a:gd name="connsiteX0" fmla="*/ 180433 w 337238"/>
                <a:gd name="connsiteY0" fmla="*/ 73984 h 364434"/>
                <a:gd name="connsiteX1" fmla="*/ 163180 w 337238"/>
                <a:gd name="connsiteY1" fmla="*/ 78870 h 364434"/>
                <a:gd name="connsiteX2" fmla="*/ 125105 w 337238"/>
                <a:gd name="connsiteY2" fmla="*/ 160461 h 364434"/>
                <a:gd name="connsiteX3" fmla="*/ 171339 w 337238"/>
                <a:gd name="connsiteY3" fmla="*/ 163180 h 364434"/>
                <a:gd name="connsiteX4" fmla="*/ 214854 w 337238"/>
                <a:gd name="connsiteY4" fmla="*/ 108787 h 364434"/>
                <a:gd name="connsiteX5" fmla="*/ 180433 w 337238"/>
                <a:gd name="connsiteY5" fmla="*/ 73984 h 364434"/>
                <a:gd name="connsiteX6" fmla="*/ 174059 w 337238"/>
                <a:gd name="connsiteY6" fmla="*/ 0 h 364434"/>
                <a:gd name="connsiteX7" fmla="*/ 337238 w 337238"/>
                <a:gd name="connsiteY7" fmla="*/ 119665 h 364434"/>
                <a:gd name="connsiteX8" fmla="*/ 133264 w 337238"/>
                <a:gd name="connsiteY8" fmla="*/ 217573 h 364434"/>
                <a:gd name="connsiteX9" fmla="*/ 225732 w 337238"/>
                <a:gd name="connsiteY9" fmla="*/ 277405 h 364434"/>
                <a:gd name="connsiteX10" fmla="*/ 320920 w 337238"/>
                <a:gd name="connsiteY10" fmla="*/ 250208 h 364434"/>
                <a:gd name="connsiteX11" fmla="*/ 174059 w 337238"/>
                <a:gd name="connsiteY11" fmla="*/ 364434 h 364434"/>
                <a:gd name="connsiteX12" fmla="*/ 0 w 337238"/>
                <a:gd name="connsiteY12" fmla="*/ 184937 h 364434"/>
                <a:gd name="connsiteX13" fmla="*/ 174059 w 337238"/>
                <a:gd name="connsiteY13" fmla="*/ 0 h 3644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37238" h="364434">
                  <a:moveTo>
                    <a:pt x="180433" y="73984"/>
                  </a:moveTo>
                  <a:cubicBezTo>
                    <a:pt x="174569" y="73941"/>
                    <a:pt x="168620" y="75471"/>
                    <a:pt x="163180" y="78870"/>
                  </a:cubicBezTo>
                  <a:cubicBezTo>
                    <a:pt x="135984" y="95189"/>
                    <a:pt x="127825" y="130544"/>
                    <a:pt x="125105" y="160461"/>
                  </a:cubicBezTo>
                  <a:cubicBezTo>
                    <a:pt x="125105" y="163180"/>
                    <a:pt x="168620" y="160461"/>
                    <a:pt x="171339" y="163180"/>
                  </a:cubicBezTo>
                  <a:cubicBezTo>
                    <a:pt x="195816" y="157741"/>
                    <a:pt x="214854" y="135984"/>
                    <a:pt x="214854" y="108787"/>
                  </a:cubicBezTo>
                  <a:cubicBezTo>
                    <a:pt x="214854" y="88389"/>
                    <a:pt x="198026" y="74111"/>
                    <a:pt x="180433" y="73984"/>
                  </a:cubicBezTo>
                  <a:close/>
                  <a:moveTo>
                    <a:pt x="174059" y="0"/>
                  </a:moveTo>
                  <a:cubicBezTo>
                    <a:pt x="233891" y="0"/>
                    <a:pt x="337238" y="29916"/>
                    <a:pt x="337238" y="119665"/>
                  </a:cubicBezTo>
                  <a:cubicBezTo>
                    <a:pt x="337238" y="209414"/>
                    <a:pt x="244770" y="217573"/>
                    <a:pt x="133264" y="217573"/>
                  </a:cubicBezTo>
                  <a:cubicBezTo>
                    <a:pt x="133264" y="217573"/>
                    <a:pt x="149581" y="277405"/>
                    <a:pt x="225732" y="277405"/>
                  </a:cubicBezTo>
                  <a:cubicBezTo>
                    <a:pt x="301883" y="277405"/>
                    <a:pt x="320920" y="250208"/>
                    <a:pt x="320920" y="250208"/>
                  </a:cubicBezTo>
                  <a:cubicBezTo>
                    <a:pt x="320920" y="250208"/>
                    <a:pt x="315481" y="364434"/>
                    <a:pt x="174059" y="364434"/>
                  </a:cubicBezTo>
                  <a:cubicBezTo>
                    <a:pt x="95188" y="364434"/>
                    <a:pt x="0" y="304602"/>
                    <a:pt x="0" y="184937"/>
                  </a:cubicBezTo>
                  <a:cubicBezTo>
                    <a:pt x="0" y="78870"/>
                    <a:pt x="73431" y="0"/>
                    <a:pt x="174059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/>
            </a:p>
          </p:txBody>
        </p:sp>
        <p:sp>
          <p:nvSpPr>
            <p:cNvPr id="35" name="Freeform: Shape 34">
              <a:extLst>
                <a:ext uri="{FF2B5EF4-FFF2-40B4-BE49-F238E27FC236}">
                  <a16:creationId xmlns:a16="http://schemas.microsoft.com/office/drawing/2014/main" id="{DB9B60B4-35FC-49B0-906A-7C704B6B94BA}"/>
                </a:ext>
              </a:extLst>
            </p:cNvPr>
            <p:cNvSpPr/>
            <p:nvPr/>
          </p:nvSpPr>
          <p:spPr>
            <a:xfrm>
              <a:off x="5376945" y="3338014"/>
              <a:ext cx="353556" cy="543931"/>
            </a:xfrm>
            <a:custGeom>
              <a:avLst/>
              <a:gdLst>
                <a:gd name="connsiteX0" fmla="*/ 311107 w 353555"/>
                <a:gd name="connsiteY0" fmla="*/ 433663 h 543931"/>
                <a:gd name="connsiteX1" fmla="*/ 215919 w 353555"/>
                <a:gd name="connsiteY1" fmla="*/ 501654 h 543931"/>
                <a:gd name="connsiteX2" fmla="*/ 98973 w 353555"/>
                <a:gd name="connsiteY2" fmla="*/ 392868 h 543931"/>
                <a:gd name="connsiteX3" fmla="*/ 98973 w 353555"/>
                <a:gd name="connsiteY3" fmla="*/ 221530 h 543931"/>
                <a:gd name="connsiteX4" fmla="*/ 82655 w 353555"/>
                <a:gd name="connsiteY4" fmla="*/ 221530 h 543931"/>
                <a:gd name="connsiteX5" fmla="*/ 58178 w 353555"/>
                <a:gd name="connsiteY5" fmla="*/ 191614 h 543931"/>
                <a:gd name="connsiteX6" fmla="*/ 85375 w 353555"/>
                <a:gd name="connsiteY6" fmla="*/ 164417 h 543931"/>
                <a:gd name="connsiteX7" fmla="*/ 101693 w 353555"/>
                <a:gd name="connsiteY7" fmla="*/ 164417 h 543931"/>
                <a:gd name="connsiteX8" fmla="*/ 101693 w 353555"/>
                <a:gd name="connsiteY8" fmla="*/ 118183 h 543931"/>
                <a:gd name="connsiteX9" fmla="*/ 166965 w 353555"/>
                <a:gd name="connsiteY9" fmla="*/ 58350 h 543931"/>
                <a:gd name="connsiteX10" fmla="*/ 229517 w 353555"/>
                <a:gd name="connsiteY10" fmla="*/ 118183 h 543931"/>
                <a:gd name="connsiteX11" fmla="*/ 229517 w 353555"/>
                <a:gd name="connsiteY11" fmla="*/ 118183 h 543931"/>
                <a:gd name="connsiteX12" fmla="*/ 229517 w 353555"/>
                <a:gd name="connsiteY12" fmla="*/ 164417 h 543931"/>
                <a:gd name="connsiteX13" fmla="*/ 283910 w 353555"/>
                <a:gd name="connsiteY13" fmla="*/ 164417 h 543931"/>
                <a:gd name="connsiteX14" fmla="*/ 308387 w 353555"/>
                <a:gd name="connsiteY14" fmla="*/ 194333 h 543931"/>
                <a:gd name="connsiteX15" fmla="*/ 281190 w 353555"/>
                <a:gd name="connsiteY15" fmla="*/ 221530 h 543931"/>
                <a:gd name="connsiteX16" fmla="*/ 229517 w 353555"/>
                <a:gd name="connsiteY16" fmla="*/ 221530 h 543931"/>
                <a:gd name="connsiteX17" fmla="*/ 229517 w 353555"/>
                <a:gd name="connsiteY17" fmla="*/ 365671 h 543931"/>
                <a:gd name="connsiteX18" fmla="*/ 311107 w 353555"/>
                <a:gd name="connsiteY18" fmla="*/ 433663 h 5439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353555" h="543931">
                  <a:moveTo>
                    <a:pt x="311107" y="433663"/>
                  </a:moveTo>
                  <a:cubicBezTo>
                    <a:pt x="311107" y="433663"/>
                    <a:pt x="278471" y="501654"/>
                    <a:pt x="215919" y="501654"/>
                  </a:cubicBezTo>
                  <a:cubicBezTo>
                    <a:pt x="164245" y="501654"/>
                    <a:pt x="101693" y="458140"/>
                    <a:pt x="98973" y="392868"/>
                  </a:cubicBezTo>
                  <a:cubicBezTo>
                    <a:pt x="98973" y="392868"/>
                    <a:pt x="98973" y="297680"/>
                    <a:pt x="98973" y="221530"/>
                  </a:cubicBezTo>
                  <a:lnTo>
                    <a:pt x="82655" y="221530"/>
                  </a:lnTo>
                  <a:cubicBezTo>
                    <a:pt x="74496" y="221530"/>
                    <a:pt x="58178" y="216090"/>
                    <a:pt x="58178" y="191614"/>
                  </a:cubicBezTo>
                  <a:cubicBezTo>
                    <a:pt x="58178" y="167137"/>
                    <a:pt x="77216" y="164417"/>
                    <a:pt x="85375" y="164417"/>
                  </a:cubicBezTo>
                  <a:lnTo>
                    <a:pt x="101693" y="164417"/>
                  </a:lnTo>
                  <a:cubicBezTo>
                    <a:pt x="101693" y="137220"/>
                    <a:pt x="101693" y="118183"/>
                    <a:pt x="101693" y="118183"/>
                  </a:cubicBezTo>
                  <a:cubicBezTo>
                    <a:pt x="104413" y="85547"/>
                    <a:pt x="134329" y="55631"/>
                    <a:pt x="166965" y="58350"/>
                  </a:cubicBezTo>
                  <a:cubicBezTo>
                    <a:pt x="196881" y="61070"/>
                    <a:pt x="229517" y="85547"/>
                    <a:pt x="229517" y="118183"/>
                  </a:cubicBezTo>
                  <a:lnTo>
                    <a:pt x="229517" y="118183"/>
                  </a:lnTo>
                  <a:lnTo>
                    <a:pt x="229517" y="164417"/>
                  </a:lnTo>
                  <a:lnTo>
                    <a:pt x="283910" y="164417"/>
                  </a:lnTo>
                  <a:cubicBezTo>
                    <a:pt x="292069" y="164417"/>
                    <a:pt x="308387" y="169856"/>
                    <a:pt x="308387" y="194333"/>
                  </a:cubicBezTo>
                  <a:cubicBezTo>
                    <a:pt x="308387" y="218810"/>
                    <a:pt x="292069" y="221530"/>
                    <a:pt x="281190" y="221530"/>
                  </a:cubicBezTo>
                  <a:lnTo>
                    <a:pt x="229517" y="221530"/>
                  </a:lnTo>
                  <a:lnTo>
                    <a:pt x="229517" y="365671"/>
                  </a:lnTo>
                  <a:cubicBezTo>
                    <a:pt x="226797" y="409186"/>
                    <a:pt x="267592" y="433663"/>
                    <a:pt x="311107" y="433663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/>
            </a:p>
          </p:txBody>
        </p:sp>
        <p:sp>
          <p:nvSpPr>
            <p:cNvPr id="36" name="Freeform: Shape 35">
              <a:extLst>
                <a:ext uri="{FF2B5EF4-FFF2-40B4-BE49-F238E27FC236}">
                  <a16:creationId xmlns:a16="http://schemas.microsoft.com/office/drawing/2014/main" id="{B550272F-F181-4670-9AB4-62C5CF01BC3A}"/>
                </a:ext>
              </a:extLst>
            </p:cNvPr>
            <p:cNvSpPr/>
            <p:nvPr/>
          </p:nvSpPr>
          <p:spPr>
            <a:xfrm>
              <a:off x="7090329" y="3338014"/>
              <a:ext cx="353556" cy="543931"/>
            </a:xfrm>
            <a:custGeom>
              <a:avLst/>
              <a:gdLst>
                <a:gd name="connsiteX0" fmla="*/ 311107 w 353555"/>
                <a:gd name="connsiteY0" fmla="*/ 433663 h 543931"/>
                <a:gd name="connsiteX1" fmla="*/ 215919 w 353555"/>
                <a:gd name="connsiteY1" fmla="*/ 501654 h 543931"/>
                <a:gd name="connsiteX2" fmla="*/ 98973 w 353555"/>
                <a:gd name="connsiteY2" fmla="*/ 392868 h 543931"/>
                <a:gd name="connsiteX3" fmla="*/ 98973 w 353555"/>
                <a:gd name="connsiteY3" fmla="*/ 221530 h 543931"/>
                <a:gd name="connsiteX4" fmla="*/ 82655 w 353555"/>
                <a:gd name="connsiteY4" fmla="*/ 221530 h 543931"/>
                <a:gd name="connsiteX5" fmla="*/ 58178 w 353555"/>
                <a:gd name="connsiteY5" fmla="*/ 191614 h 543931"/>
                <a:gd name="connsiteX6" fmla="*/ 85375 w 353555"/>
                <a:gd name="connsiteY6" fmla="*/ 164417 h 543931"/>
                <a:gd name="connsiteX7" fmla="*/ 101693 w 353555"/>
                <a:gd name="connsiteY7" fmla="*/ 164417 h 543931"/>
                <a:gd name="connsiteX8" fmla="*/ 101693 w 353555"/>
                <a:gd name="connsiteY8" fmla="*/ 118183 h 543931"/>
                <a:gd name="connsiteX9" fmla="*/ 166965 w 353555"/>
                <a:gd name="connsiteY9" fmla="*/ 58350 h 543931"/>
                <a:gd name="connsiteX10" fmla="*/ 229517 w 353555"/>
                <a:gd name="connsiteY10" fmla="*/ 118183 h 543931"/>
                <a:gd name="connsiteX11" fmla="*/ 229517 w 353555"/>
                <a:gd name="connsiteY11" fmla="*/ 118183 h 543931"/>
                <a:gd name="connsiteX12" fmla="*/ 229517 w 353555"/>
                <a:gd name="connsiteY12" fmla="*/ 164417 h 543931"/>
                <a:gd name="connsiteX13" fmla="*/ 283910 w 353555"/>
                <a:gd name="connsiteY13" fmla="*/ 164417 h 543931"/>
                <a:gd name="connsiteX14" fmla="*/ 308387 w 353555"/>
                <a:gd name="connsiteY14" fmla="*/ 194333 h 543931"/>
                <a:gd name="connsiteX15" fmla="*/ 281190 w 353555"/>
                <a:gd name="connsiteY15" fmla="*/ 221530 h 543931"/>
                <a:gd name="connsiteX16" fmla="*/ 229517 w 353555"/>
                <a:gd name="connsiteY16" fmla="*/ 221530 h 543931"/>
                <a:gd name="connsiteX17" fmla="*/ 229517 w 353555"/>
                <a:gd name="connsiteY17" fmla="*/ 365671 h 543931"/>
                <a:gd name="connsiteX18" fmla="*/ 311107 w 353555"/>
                <a:gd name="connsiteY18" fmla="*/ 433663 h 5439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353555" h="543931">
                  <a:moveTo>
                    <a:pt x="311107" y="433663"/>
                  </a:moveTo>
                  <a:cubicBezTo>
                    <a:pt x="311107" y="433663"/>
                    <a:pt x="278471" y="501654"/>
                    <a:pt x="215919" y="501654"/>
                  </a:cubicBezTo>
                  <a:cubicBezTo>
                    <a:pt x="164245" y="501654"/>
                    <a:pt x="101693" y="458140"/>
                    <a:pt x="98973" y="392868"/>
                  </a:cubicBezTo>
                  <a:cubicBezTo>
                    <a:pt x="98973" y="392868"/>
                    <a:pt x="98973" y="297680"/>
                    <a:pt x="98973" y="221530"/>
                  </a:cubicBezTo>
                  <a:lnTo>
                    <a:pt x="82655" y="221530"/>
                  </a:lnTo>
                  <a:cubicBezTo>
                    <a:pt x="74496" y="221530"/>
                    <a:pt x="58178" y="216090"/>
                    <a:pt x="58178" y="191614"/>
                  </a:cubicBezTo>
                  <a:cubicBezTo>
                    <a:pt x="58178" y="167137"/>
                    <a:pt x="77216" y="164417"/>
                    <a:pt x="85375" y="164417"/>
                  </a:cubicBezTo>
                  <a:lnTo>
                    <a:pt x="101693" y="164417"/>
                  </a:lnTo>
                  <a:cubicBezTo>
                    <a:pt x="101693" y="137220"/>
                    <a:pt x="101693" y="118183"/>
                    <a:pt x="101693" y="118183"/>
                  </a:cubicBezTo>
                  <a:cubicBezTo>
                    <a:pt x="104412" y="85547"/>
                    <a:pt x="134329" y="55631"/>
                    <a:pt x="166965" y="58350"/>
                  </a:cubicBezTo>
                  <a:cubicBezTo>
                    <a:pt x="196881" y="61070"/>
                    <a:pt x="229517" y="85547"/>
                    <a:pt x="229517" y="118183"/>
                  </a:cubicBezTo>
                  <a:lnTo>
                    <a:pt x="229517" y="118183"/>
                  </a:lnTo>
                  <a:lnTo>
                    <a:pt x="229517" y="164417"/>
                  </a:lnTo>
                  <a:lnTo>
                    <a:pt x="283910" y="164417"/>
                  </a:lnTo>
                  <a:cubicBezTo>
                    <a:pt x="292069" y="164417"/>
                    <a:pt x="308387" y="169856"/>
                    <a:pt x="308387" y="194333"/>
                  </a:cubicBezTo>
                  <a:cubicBezTo>
                    <a:pt x="308387" y="218810"/>
                    <a:pt x="292069" y="221530"/>
                    <a:pt x="281190" y="221530"/>
                  </a:cubicBezTo>
                  <a:lnTo>
                    <a:pt x="229517" y="221530"/>
                  </a:lnTo>
                  <a:lnTo>
                    <a:pt x="229517" y="365671"/>
                  </a:lnTo>
                  <a:cubicBezTo>
                    <a:pt x="229517" y="409186"/>
                    <a:pt x="270312" y="433663"/>
                    <a:pt x="311107" y="433663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/>
            </a:p>
          </p:txBody>
        </p:sp>
        <p:sp>
          <p:nvSpPr>
            <p:cNvPr id="37" name="Freeform: Shape 36">
              <a:extLst>
                <a:ext uri="{FF2B5EF4-FFF2-40B4-BE49-F238E27FC236}">
                  <a16:creationId xmlns:a16="http://schemas.microsoft.com/office/drawing/2014/main" id="{BF128CAF-7E33-41B3-941E-1DA081A62D07}"/>
                </a:ext>
              </a:extLst>
            </p:cNvPr>
            <p:cNvSpPr/>
            <p:nvPr/>
          </p:nvSpPr>
          <p:spPr>
            <a:xfrm>
              <a:off x="2080719" y="4178559"/>
              <a:ext cx="462342" cy="788700"/>
            </a:xfrm>
            <a:custGeom>
              <a:avLst/>
              <a:gdLst>
                <a:gd name="connsiteX0" fmla="*/ 403575 w 462341"/>
                <a:gd name="connsiteY0" fmla="*/ 583072 h 788699"/>
                <a:gd name="connsiteX1" fmla="*/ 406295 w 462341"/>
                <a:gd name="connsiteY1" fmla="*/ 596670 h 788699"/>
                <a:gd name="connsiteX2" fmla="*/ 400855 w 462341"/>
                <a:gd name="connsiteY2" fmla="*/ 610268 h 788699"/>
                <a:gd name="connsiteX3" fmla="*/ 389977 w 462341"/>
                <a:gd name="connsiteY3" fmla="*/ 626586 h 788699"/>
                <a:gd name="connsiteX4" fmla="*/ 354621 w 462341"/>
                <a:gd name="connsiteY4" fmla="*/ 675540 h 788699"/>
                <a:gd name="connsiteX5" fmla="*/ 327424 w 462341"/>
                <a:gd name="connsiteY5" fmla="*/ 691858 h 788699"/>
                <a:gd name="connsiteX6" fmla="*/ 292069 w 462341"/>
                <a:gd name="connsiteY6" fmla="*/ 713615 h 788699"/>
                <a:gd name="connsiteX7" fmla="*/ 251274 w 462341"/>
                <a:gd name="connsiteY7" fmla="*/ 724494 h 788699"/>
                <a:gd name="connsiteX8" fmla="*/ 221358 w 462341"/>
                <a:gd name="connsiteY8" fmla="*/ 721774 h 788699"/>
                <a:gd name="connsiteX9" fmla="*/ 191442 w 462341"/>
                <a:gd name="connsiteY9" fmla="*/ 721774 h 788699"/>
                <a:gd name="connsiteX10" fmla="*/ 153366 w 462341"/>
                <a:gd name="connsiteY10" fmla="*/ 713615 h 788699"/>
                <a:gd name="connsiteX11" fmla="*/ 104412 w 462341"/>
                <a:gd name="connsiteY11" fmla="*/ 675540 h 788699"/>
                <a:gd name="connsiteX12" fmla="*/ 104412 w 462341"/>
                <a:gd name="connsiteY12" fmla="*/ 689138 h 788699"/>
                <a:gd name="connsiteX13" fmla="*/ 101693 w 462341"/>
                <a:gd name="connsiteY13" fmla="*/ 710895 h 788699"/>
                <a:gd name="connsiteX14" fmla="*/ 85375 w 462341"/>
                <a:gd name="connsiteY14" fmla="*/ 732653 h 788699"/>
                <a:gd name="connsiteX15" fmla="*/ 69057 w 462341"/>
                <a:gd name="connsiteY15" fmla="*/ 727214 h 788699"/>
                <a:gd name="connsiteX16" fmla="*/ 60898 w 462341"/>
                <a:gd name="connsiteY16" fmla="*/ 710895 h 788699"/>
                <a:gd name="connsiteX17" fmla="*/ 58178 w 462341"/>
                <a:gd name="connsiteY17" fmla="*/ 691858 h 788699"/>
                <a:gd name="connsiteX18" fmla="*/ 60898 w 462341"/>
                <a:gd name="connsiteY18" fmla="*/ 664661 h 788699"/>
                <a:gd name="connsiteX19" fmla="*/ 60898 w 462341"/>
                <a:gd name="connsiteY19" fmla="*/ 607549 h 788699"/>
                <a:gd name="connsiteX20" fmla="*/ 63618 w 462341"/>
                <a:gd name="connsiteY20" fmla="*/ 528679 h 788699"/>
                <a:gd name="connsiteX21" fmla="*/ 69057 w 462341"/>
                <a:gd name="connsiteY21" fmla="*/ 504202 h 788699"/>
                <a:gd name="connsiteX22" fmla="*/ 74496 w 462341"/>
                <a:gd name="connsiteY22" fmla="*/ 493323 h 788699"/>
                <a:gd name="connsiteX23" fmla="*/ 82655 w 462341"/>
                <a:gd name="connsiteY23" fmla="*/ 487884 h 788699"/>
                <a:gd name="connsiteX24" fmla="*/ 90814 w 462341"/>
                <a:gd name="connsiteY24" fmla="*/ 493323 h 788699"/>
                <a:gd name="connsiteX25" fmla="*/ 98973 w 462341"/>
                <a:gd name="connsiteY25" fmla="*/ 512361 h 788699"/>
                <a:gd name="connsiteX26" fmla="*/ 101693 w 462341"/>
                <a:gd name="connsiteY26" fmla="*/ 555875 h 788699"/>
                <a:gd name="connsiteX27" fmla="*/ 101693 w 462341"/>
                <a:gd name="connsiteY27" fmla="*/ 596670 h 788699"/>
                <a:gd name="connsiteX28" fmla="*/ 109852 w 462341"/>
                <a:gd name="connsiteY28" fmla="*/ 626586 h 788699"/>
                <a:gd name="connsiteX29" fmla="*/ 128889 w 462341"/>
                <a:gd name="connsiteY29" fmla="*/ 651063 h 788699"/>
                <a:gd name="connsiteX30" fmla="*/ 153366 w 462341"/>
                <a:gd name="connsiteY30" fmla="*/ 670101 h 788699"/>
                <a:gd name="connsiteX31" fmla="*/ 196881 w 462341"/>
                <a:gd name="connsiteY31" fmla="*/ 678260 h 788699"/>
                <a:gd name="connsiteX32" fmla="*/ 221358 w 462341"/>
                <a:gd name="connsiteY32" fmla="*/ 667381 h 788699"/>
                <a:gd name="connsiteX33" fmla="*/ 253994 w 462341"/>
                <a:gd name="connsiteY33" fmla="*/ 659222 h 788699"/>
                <a:gd name="connsiteX34" fmla="*/ 275751 w 462341"/>
                <a:gd name="connsiteY34" fmla="*/ 637465 h 788699"/>
                <a:gd name="connsiteX35" fmla="*/ 281190 w 462341"/>
                <a:gd name="connsiteY35" fmla="*/ 615708 h 788699"/>
                <a:gd name="connsiteX36" fmla="*/ 278471 w 462341"/>
                <a:gd name="connsiteY36" fmla="*/ 602109 h 788699"/>
                <a:gd name="connsiteX37" fmla="*/ 262153 w 462341"/>
                <a:gd name="connsiteY37" fmla="*/ 572193 h 788699"/>
                <a:gd name="connsiteX38" fmla="*/ 245835 w 462341"/>
                <a:gd name="connsiteY38" fmla="*/ 536838 h 788699"/>
                <a:gd name="connsiteX39" fmla="*/ 196881 w 462341"/>
                <a:gd name="connsiteY39" fmla="*/ 477005 h 788699"/>
                <a:gd name="connsiteX40" fmla="*/ 145207 w 462341"/>
                <a:gd name="connsiteY40" fmla="*/ 419892 h 788699"/>
                <a:gd name="connsiteX41" fmla="*/ 93534 w 462341"/>
                <a:gd name="connsiteY41" fmla="*/ 357340 h 788699"/>
                <a:gd name="connsiteX42" fmla="*/ 66337 w 462341"/>
                <a:gd name="connsiteY42" fmla="*/ 283910 h 788699"/>
                <a:gd name="connsiteX43" fmla="*/ 58178 w 462341"/>
                <a:gd name="connsiteY43" fmla="*/ 224077 h 788699"/>
                <a:gd name="connsiteX44" fmla="*/ 82655 w 462341"/>
                <a:gd name="connsiteY44" fmla="*/ 150647 h 788699"/>
                <a:gd name="connsiteX45" fmla="*/ 137048 w 462341"/>
                <a:gd name="connsiteY45" fmla="*/ 96253 h 788699"/>
                <a:gd name="connsiteX46" fmla="*/ 196881 w 462341"/>
                <a:gd name="connsiteY46" fmla="*/ 77216 h 788699"/>
                <a:gd name="connsiteX47" fmla="*/ 232236 w 462341"/>
                <a:gd name="connsiteY47" fmla="*/ 69057 h 788699"/>
                <a:gd name="connsiteX48" fmla="*/ 262153 w 462341"/>
                <a:gd name="connsiteY48" fmla="*/ 74496 h 788699"/>
                <a:gd name="connsiteX49" fmla="*/ 294789 w 462341"/>
                <a:gd name="connsiteY49" fmla="*/ 85375 h 788699"/>
                <a:gd name="connsiteX50" fmla="*/ 327424 w 462341"/>
                <a:gd name="connsiteY50" fmla="*/ 104412 h 788699"/>
                <a:gd name="connsiteX51" fmla="*/ 332864 w 462341"/>
                <a:gd name="connsiteY51" fmla="*/ 74496 h 788699"/>
                <a:gd name="connsiteX52" fmla="*/ 338303 w 462341"/>
                <a:gd name="connsiteY52" fmla="*/ 63618 h 788699"/>
                <a:gd name="connsiteX53" fmla="*/ 349182 w 462341"/>
                <a:gd name="connsiteY53" fmla="*/ 58178 h 788699"/>
                <a:gd name="connsiteX54" fmla="*/ 357341 w 462341"/>
                <a:gd name="connsiteY54" fmla="*/ 63618 h 788699"/>
                <a:gd name="connsiteX55" fmla="*/ 365500 w 462341"/>
                <a:gd name="connsiteY55" fmla="*/ 82655 h 788699"/>
                <a:gd name="connsiteX56" fmla="*/ 368219 w 462341"/>
                <a:gd name="connsiteY56" fmla="*/ 142488 h 788699"/>
                <a:gd name="connsiteX57" fmla="*/ 368219 w 462341"/>
                <a:gd name="connsiteY57" fmla="*/ 188722 h 788699"/>
                <a:gd name="connsiteX58" fmla="*/ 370939 w 462341"/>
                <a:gd name="connsiteY58" fmla="*/ 245834 h 788699"/>
                <a:gd name="connsiteX59" fmla="*/ 354621 w 462341"/>
                <a:gd name="connsiteY59" fmla="*/ 286629 h 788699"/>
                <a:gd name="connsiteX60" fmla="*/ 338303 w 462341"/>
                <a:gd name="connsiteY60" fmla="*/ 281190 h 788699"/>
                <a:gd name="connsiteX61" fmla="*/ 330144 w 462341"/>
                <a:gd name="connsiteY61" fmla="*/ 264872 h 788699"/>
                <a:gd name="connsiteX62" fmla="*/ 327424 w 462341"/>
                <a:gd name="connsiteY62" fmla="*/ 248554 h 788699"/>
                <a:gd name="connsiteX63" fmla="*/ 330144 w 462341"/>
                <a:gd name="connsiteY63" fmla="*/ 221357 h 788699"/>
                <a:gd name="connsiteX64" fmla="*/ 330144 w 462341"/>
                <a:gd name="connsiteY64" fmla="*/ 188722 h 788699"/>
                <a:gd name="connsiteX65" fmla="*/ 327424 w 462341"/>
                <a:gd name="connsiteY65" fmla="*/ 164245 h 788699"/>
                <a:gd name="connsiteX66" fmla="*/ 311107 w 462341"/>
                <a:gd name="connsiteY66" fmla="*/ 134329 h 788699"/>
                <a:gd name="connsiteX67" fmla="*/ 283910 w 462341"/>
                <a:gd name="connsiteY67" fmla="*/ 118011 h 788699"/>
                <a:gd name="connsiteX68" fmla="*/ 251274 w 462341"/>
                <a:gd name="connsiteY68" fmla="*/ 112571 h 788699"/>
                <a:gd name="connsiteX69" fmla="*/ 215918 w 462341"/>
                <a:gd name="connsiteY69" fmla="*/ 123450 h 788699"/>
                <a:gd name="connsiteX70" fmla="*/ 202320 w 462341"/>
                <a:gd name="connsiteY70" fmla="*/ 147927 h 788699"/>
                <a:gd name="connsiteX71" fmla="*/ 188722 w 462341"/>
                <a:gd name="connsiteY71" fmla="*/ 180563 h 788699"/>
                <a:gd name="connsiteX72" fmla="*/ 183283 w 462341"/>
                <a:gd name="connsiteY72" fmla="*/ 210479 h 788699"/>
                <a:gd name="connsiteX73" fmla="*/ 188722 w 462341"/>
                <a:gd name="connsiteY73" fmla="*/ 226797 h 788699"/>
                <a:gd name="connsiteX74" fmla="*/ 188722 w 462341"/>
                <a:gd name="connsiteY74" fmla="*/ 248554 h 788699"/>
                <a:gd name="connsiteX75" fmla="*/ 210479 w 462341"/>
                <a:gd name="connsiteY75" fmla="*/ 273031 h 788699"/>
                <a:gd name="connsiteX76" fmla="*/ 226797 w 462341"/>
                <a:gd name="connsiteY76" fmla="*/ 300228 h 788699"/>
                <a:gd name="connsiteX77" fmla="*/ 256713 w 462341"/>
                <a:gd name="connsiteY77" fmla="*/ 332864 h 788699"/>
                <a:gd name="connsiteX78" fmla="*/ 275751 w 462341"/>
                <a:gd name="connsiteY78" fmla="*/ 351901 h 788699"/>
                <a:gd name="connsiteX79" fmla="*/ 324705 w 462341"/>
                <a:gd name="connsiteY79" fmla="*/ 400855 h 788699"/>
                <a:gd name="connsiteX80" fmla="*/ 343742 w 462341"/>
                <a:gd name="connsiteY80" fmla="*/ 428051 h 788699"/>
                <a:gd name="connsiteX81" fmla="*/ 351901 w 462341"/>
                <a:gd name="connsiteY81" fmla="*/ 433491 h 788699"/>
                <a:gd name="connsiteX82" fmla="*/ 360060 w 462341"/>
                <a:gd name="connsiteY82" fmla="*/ 447089 h 788699"/>
                <a:gd name="connsiteX83" fmla="*/ 384537 w 462341"/>
                <a:gd name="connsiteY83" fmla="*/ 474286 h 788699"/>
                <a:gd name="connsiteX84" fmla="*/ 395416 w 462341"/>
                <a:gd name="connsiteY84" fmla="*/ 506921 h 788699"/>
                <a:gd name="connsiteX85" fmla="*/ 406295 w 462341"/>
                <a:gd name="connsiteY85" fmla="*/ 536838 h 788699"/>
                <a:gd name="connsiteX86" fmla="*/ 409014 w 462341"/>
                <a:gd name="connsiteY86" fmla="*/ 547716 h 788699"/>
                <a:gd name="connsiteX87" fmla="*/ 406295 w 462341"/>
                <a:gd name="connsiteY87" fmla="*/ 569473 h 788699"/>
                <a:gd name="connsiteX88" fmla="*/ 403575 w 462341"/>
                <a:gd name="connsiteY88" fmla="*/ 583072 h 788699"/>
                <a:gd name="connsiteX89" fmla="*/ 403575 w 462341"/>
                <a:gd name="connsiteY89" fmla="*/ 583072 h 7886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</a:cxnLst>
              <a:rect l="l" t="t" r="r" b="b"/>
              <a:pathLst>
                <a:path w="462341" h="788699">
                  <a:moveTo>
                    <a:pt x="403575" y="583072"/>
                  </a:moveTo>
                  <a:cubicBezTo>
                    <a:pt x="403575" y="588511"/>
                    <a:pt x="406295" y="591231"/>
                    <a:pt x="406295" y="596670"/>
                  </a:cubicBezTo>
                  <a:cubicBezTo>
                    <a:pt x="406295" y="602109"/>
                    <a:pt x="403575" y="604829"/>
                    <a:pt x="400855" y="610268"/>
                  </a:cubicBezTo>
                  <a:cubicBezTo>
                    <a:pt x="398136" y="615708"/>
                    <a:pt x="392696" y="621147"/>
                    <a:pt x="389977" y="626586"/>
                  </a:cubicBezTo>
                  <a:cubicBezTo>
                    <a:pt x="381818" y="645624"/>
                    <a:pt x="368219" y="661942"/>
                    <a:pt x="354621" y="675540"/>
                  </a:cubicBezTo>
                  <a:cubicBezTo>
                    <a:pt x="346462" y="683699"/>
                    <a:pt x="338303" y="686419"/>
                    <a:pt x="327424" y="691858"/>
                  </a:cubicBezTo>
                  <a:cubicBezTo>
                    <a:pt x="316546" y="700017"/>
                    <a:pt x="302948" y="708176"/>
                    <a:pt x="292069" y="713615"/>
                  </a:cubicBezTo>
                  <a:cubicBezTo>
                    <a:pt x="281190" y="719054"/>
                    <a:pt x="264872" y="724494"/>
                    <a:pt x="251274" y="724494"/>
                  </a:cubicBezTo>
                  <a:cubicBezTo>
                    <a:pt x="240395" y="724494"/>
                    <a:pt x="229517" y="721774"/>
                    <a:pt x="221358" y="721774"/>
                  </a:cubicBezTo>
                  <a:cubicBezTo>
                    <a:pt x="213199" y="721774"/>
                    <a:pt x="202320" y="721774"/>
                    <a:pt x="191442" y="721774"/>
                  </a:cubicBezTo>
                  <a:cubicBezTo>
                    <a:pt x="172404" y="721774"/>
                    <a:pt x="172404" y="721774"/>
                    <a:pt x="153366" y="713615"/>
                  </a:cubicBezTo>
                  <a:cubicBezTo>
                    <a:pt x="134329" y="708176"/>
                    <a:pt x="118011" y="691858"/>
                    <a:pt x="104412" y="675540"/>
                  </a:cubicBezTo>
                  <a:cubicBezTo>
                    <a:pt x="104412" y="678260"/>
                    <a:pt x="104412" y="680979"/>
                    <a:pt x="104412" y="689138"/>
                  </a:cubicBezTo>
                  <a:cubicBezTo>
                    <a:pt x="104412" y="694578"/>
                    <a:pt x="104412" y="702737"/>
                    <a:pt x="101693" y="710895"/>
                  </a:cubicBezTo>
                  <a:cubicBezTo>
                    <a:pt x="101693" y="721774"/>
                    <a:pt x="96253" y="732653"/>
                    <a:pt x="85375" y="732653"/>
                  </a:cubicBezTo>
                  <a:cubicBezTo>
                    <a:pt x="77216" y="732653"/>
                    <a:pt x="74496" y="729933"/>
                    <a:pt x="69057" y="727214"/>
                  </a:cubicBezTo>
                  <a:cubicBezTo>
                    <a:pt x="63618" y="724494"/>
                    <a:pt x="60898" y="716335"/>
                    <a:pt x="60898" y="710895"/>
                  </a:cubicBezTo>
                  <a:cubicBezTo>
                    <a:pt x="58178" y="702737"/>
                    <a:pt x="58178" y="697297"/>
                    <a:pt x="58178" y="691858"/>
                  </a:cubicBezTo>
                  <a:cubicBezTo>
                    <a:pt x="58178" y="683699"/>
                    <a:pt x="60898" y="678260"/>
                    <a:pt x="60898" y="664661"/>
                  </a:cubicBezTo>
                  <a:cubicBezTo>
                    <a:pt x="60898" y="656502"/>
                    <a:pt x="60898" y="632026"/>
                    <a:pt x="60898" y="607549"/>
                  </a:cubicBezTo>
                  <a:cubicBezTo>
                    <a:pt x="60898" y="574913"/>
                    <a:pt x="60898" y="542277"/>
                    <a:pt x="63618" y="528679"/>
                  </a:cubicBezTo>
                  <a:cubicBezTo>
                    <a:pt x="63618" y="520520"/>
                    <a:pt x="63618" y="509641"/>
                    <a:pt x="69057" y="504202"/>
                  </a:cubicBezTo>
                  <a:cubicBezTo>
                    <a:pt x="71777" y="501482"/>
                    <a:pt x="71777" y="498762"/>
                    <a:pt x="74496" y="493323"/>
                  </a:cubicBezTo>
                  <a:cubicBezTo>
                    <a:pt x="77216" y="490603"/>
                    <a:pt x="79936" y="487884"/>
                    <a:pt x="82655" y="487884"/>
                  </a:cubicBezTo>
                  <a:cubicBezTo>
                    <a:pt x="85375" y="487884"/>
                    <a:pt x="90814" y="490603"/>
                    <a:pt x="90814" y="493323"/>
                  </a:cubicBezTo>
                  <a:cubicBezTo>
                    <a:pt x="93534" y="498762"/>
                    <a:pt x="98973" y="506921"/>
                    <a:pt x="98973" y="512361"/>
                  </a:cubicBezTo>
                  <a:cubicBezTo>
                    <a:pt x="98973" y="520520"/>
                    <a:pt x="101693" y="536838"/>
                    <a:pt x="101693" y="555875"/>
                  </a:cubicBezTo>
                  <a:cubicBezTo>
                    <a:pt x="101693" y="569473"/>
                    <a:pt x="101693" y="583072"/>
                    <a:pt x="101693" y="596670"/>
                  </a:cubicBezTo>
                  <a:cubicBezTo>
                    <a:pt x="101693" y="607549"/>
                    <a:pt x="104412" y="618427"/>
                    <a:pt x="109852" y="626586"/>
                  </a:cubicBezTo>
                  <a:cubicBezTo>
                    <a:pt x="115291" y="637465"/>
                    <a:pt x="123450" y="642904"/>
                    <a:pt x="128889" y="651063"/>
                  </a:cubicBezTo>
                  <a:cubicBezTo>
                    <a:pt x="137048" y="661942"/>
                    <a:pt x="139768" y="667381"/>
                    <a:pt x="153366" y="670101"/>
                  </a:cubicBezTo>
                  <a:cubicBezTo>
                    <a:pt x="161525" y="670101"/>
                    <a:pt x="183283" y="678260"/>
                    <a:pt x="196881" y="678260"/>
                  </a:cubicBezTo>
                  <a:cubicBezTo>
                    <a:pt x="207759" y="678260"/>
                    <a:pt x="210479" y="672820"/>
                    <a:pt x="221358" y="667381"/>
                  </a:cubicBezTo>
                  <a:cubicBezTo>
                    <a:pt x="232236" y="661942"/>
                    <a:pt x="245835" y="664661"/>
                    <a:pt x="253994" y="659222"/>
                  </a:cubicBezTo>
                  <a:cubicBezTo>
                    <a:pt x="262153" y="653783"/>
                    <a:pt x="273031" y="645624"/>
                    <a:pt x="275751" y="637465"/>
                  </a:cubicBezTo>
                  <a:cubicBezTo>
                    <a:pt x="281190" y="629306"/>
                    <a:pt x="281190" y="621147"/>
                    <a:pt x="281190" y="615708"/>
                  </a:cubicBezTo>
                  <a:cubicBezTo>
                    <a:pt x="281190" y="610268"/>
                    <a:pt x="281190" y="607549"/>
                    <a:pt x="278471" y="602109"/>
                  </a:cubicBezTo>
                  <a:cubicBezTo>
                    <a:pt x="275751" y="591231"/>
                    <a:pt x="267592" y="583072"/>
                    <a:pt x="262153" y="572193"/>
                  </a:cubicBezTo>
                  <a:cubicBezTo>
                    <a:pt x="256713" y="561314"/>
                    <a:pt x="253994" y="547716"/>
                    <a:pt x="245835" y="536838"/>
                  </a:cubicBezTo>
                  <a:cubicBezTo>
                    <a:pt x="232236" y="515080"/>
                    <a:pt x="213199" y="498762"/>
                    <a:pt x="196881" y="477005"/>
                  </a:cubicBezTo>
                  <a:cubicBezTo>
                    <a:pt x="180563" y="457968"/>
                    <a:pt x="164245" y="438930"/>
                    <a:pt x="145207" y="419892"/>
                  </a:cubicBezTo>
                  <a:cubicBezTo>
                    <a:pt x="126170" y="400855"/>
                    <a:pt x="109852" y="379098"/>
                    <a:pt x="93534" y="357340"/>
                  </a:cubicBezTo>
                  <a:cubicBezTo>
                    <a:pt x="77216" y="335583"/>
                    <a:pt x="71777" y="308387"/>
                    <a:pt x="66337" y="283910"/>
                  </a:cubicBezTo>
                  <a:cubicBezTo>
                    <a:pt x="63618" y="267592"/>
                    <a:pt x="58178" y="245834"/>
                    <a:pt x="58178" y="224077"/>
                  </a:cubicBezTo>
                  <a:cubicBezTo>
                    <a:pt x="58178" y="194161"/>
                    <a:pt x="69057" y="175123"/>
                    <a:pt x="82655" y="150647"/>
                  </a:cubicBezTo>
                  <a:cubicBezTo>
                    <a:pt x="96253" y="128889"/>
                    <a:pt x="115291" y="109852"/>
                    <a:pt x="137048" y="96253"/>
                  </a:cubicBezTo>
                  <a:cubicBezTo>
                    <a:pt x="158806" y="82655"/>
                    <a:pt x="172404" y="79936"/>
                    <a:pt x="196881" y="77216"/>
                  </a:cubicBezTo>
                  <a:cubicBezTo>
                    <a:pt x="210479" y="77216"/>
                    <a:pt x="215918" y="69057"/>
                    <a:pt x="232236" y="69057"/>
                  </a:cubicBezTo>
                  <a:cubicBezTo>
                    <a:pt x="243115" y="69057"/>
                    <a:pt x="251274" y="71776"/>
                    <a:pt x="262153" y="74496"/>
                  </a:cubicBezTo>
                  <a:cubicBezTo>
                    <a:pt x="273031" y="77216"/>
                    <a:pt x="283910" y="82655"/>
                    <a:pt x="294789" y="85375"/>
                  </a:cubicBezTo>
                  <a:cubicBezTo>
                    <a:pt x="308387" y="90814"/>
                    <a:pt x="319265" y="96253"/>
                    <a:pt x="327424" y="104412"/>
                  </a:cubicBezTo>
                  <a:cubicBezTo>
                    <a:pt x="327424" y="90814"/>
                    <a:pt x="327424" y="79936"/>
                    <a:pt x="332864" y="74496"/>
                  </a:cubicBezTo>
                  <a:cubicBezTo>
                    <a:pt x="335583" y="71776"/>
                    <a:pt x="335583" y="69057"/>
                    <a:pt x="338303" y="63618"/>
                  </a:cubicBezTo>
                  <a:cubicBezTo>
                    <a:pt x="341023" y="60898"/>
                    <a:pt x="346462" y="58178"/>
                    <a:pt x="349182" y="58178"/>
                  </a:cubicBezTo>
                  <a:cubicBezTo>
                    <a:pt x="351901" y="58178"/>
                    <a:pt x="357341" y="60898"/>
                    <a:pt x="357341" y="63618"/>
                  </a:cubicBezTo>
                  <a:cubicBezTo>
                    <a:pt x="360060" y="69057"/>
                    <a:pt x="365500" y="77216"/>
                    <a:pt x="365500" y="82655"/>
                  </a:cubicBezTo>
                  <a:cubicBezTo>
                    <a:pt x="365500" y="90814"/>
                    <a:pt x="368219" y="123450"/>
                    <a:pt x="368219" y="142488"/>
                  </a:cubicBezTo>
                  <a:cubicBezTo>
                    <a:pt x="368219" y="158806"/>
                    <a:pt x="368219" y="177843"/>
                    <a:pt x="368219" y="188722"/>
                  </a:cubicBezTo>
                  <a:cubicBezTo>
                    <a:pt x="368219" y="213199"/>
                    <a:pt x="370939" y="224077"/>
                    <a:pt x="370939" y="245834"/>
                  </a:cubicBezTo>
                  <a:cubicBezTo>
                    <a:pt x="370939" y="256713"/>
                    <a:pt x="370939" y="286629"/>
                    <a:pt x="354621" y="286629"/>
                  </a:cubicBezTo>
                  <a:cubicBezTo>
                    <a:pt x="346462" y="286629"/>
                    <a:pt x="343742" y="283910"/>
                    <a:pt x="338303" y="281190"/>
                  </a:cubicBezTo>
                  <a:cubicBezTo>
                    <a:pt x="332864" y="278470"/>
                    <a:pt x="330144" y="270311"/>
                    <a:pt x="330144" y="264872"/>
                  </a:cubicBezTo>
                  <a:cubicBezTo>
                    <a:pt x="327424" y="256713"/>
                    <a:pt x="327424" y="251274"/>
                    <a:pt x="327424" y="248554"/>
                  </a:cubicBezTo>
                  <a:cubicBezTo>
                    <a:pt x="327424" y="240395"/>
                    <a:pt x="330144" y="234956"/>
                    <a:pt x="330144" y="221357"/>
                  </a:cubicBezTo>
                  <a:cubicBezTo>
                    <a:pt x="330144" y="213199"/>
                    <a:pt x="330144" y="202320"/>
                    <a:pt x="330144" y="188722"/>
                  </a:cubicBezTo>
                  <a:cubicBezTo>
                    <a:pt x="330144" y="180563"/>
                    <a:pt x="327424" y="172404"/>
                    <a:pt x="327424" y="164245"/>
                  </a:cubicBezTo>
                  <a:cubicBezTo>
                    <a:pt x="324705" y="153366"/>
                    <a:pt x="319265" y="142488"/>
                    <a:pt x="311107" y="134329"/>
                  </a:cubicBezTo>
                  <a:cubicBezTo>
                    <a:pt x="302948" y="126170"/>
                    <a:pt x="294789" y="120730"/>
                    <a:pt x="283910" y="118011"/>
                  </a:cubicBezTo>
                  <a:cubicBezTo>
                    <a:pt x="275751" y="115291"/>
                    <a:pt x="262153" y="112571"/>
                    <a:pt x="251274" y="112571"/>
                  </a:cubicBezTo>
                  <a:cubicBezTo>
                    <a:pt x="237676" y="112571"/>
                    <a:pt x="224077" y="115291"/>
                    <a:pt x="215918" y="123450"/>
                  </a:cubicBezTo>
                  <a:cubicBezTo>
                    <a:pt x="207759" y="128889"/>
                    <a:pt x="205040" y="139768"/>
                    <a:pt x="202320" y="147927"/>
                  </a:cubicBezTo>
                  <a:cubicBezTo>
                    <a:pt x="196881" y="158806"/>
                    <a:pt x="191442" y="166964"/>
                    <a:pt x="188722" y="180563"/>
                  </a:cubicBezTo>
                  <a:cubicBezTo>
                    <a:pt x="186002" y="191441"/>
                    <a:pt x="183283" y="199600"/>
                    <a:pt x="183283" y="210479"/>
                  </a:cubicBezTo>
                  <a:cubicBezTo>
                    <a:pt x="183283" y="215918"/>
                    <a:pt x="186002" y="221357"/>
                    <a:pt x="188722" y="226797"/>
                  </a:cubicBezTo>
                  <a:cubicBezTo>
                    <a:pt x="191442" y="234956"/>
                    <a:pt x="188722" y="243115"/>
                    <a:pt x="188722" y="248554"/>
                  </a:cubicBezTo>
                  <a:cubicBezTo>
                    <a:pt x="191442" y="259433"/>
                    <a:pt x="202320" y="264872"/>
                    <a:pt x="210479" y="273031"/>
                  </a:cubicBezTo>
                  <a:cubicBezTo>
                    <a:pt x="218638" y="281190"/>
                    <a:pt x="221358" y="292069"/>
                    <a:pt x="226797" y="300228"/>
                  </a:cubicBezTo>
                  <a:cubicBezTo>
                    <a:pt x="234956" y="311106"/>
                    <a:pt x="245835" y="321985"/>
                    <a:pt x="256713" y="332864"/>
                  </a:cubicBezTo>
                  <a:cubicBezTo>
                    <a:pt x="259433" y="338303"/>
                    <a:pt x="267592" y="343742"/>
                    <a:pt x="275751" y="351901"/>
                  </a:cubicBezTo>
                  <a:cubicBezTo>
                    <a:pt x="292069" y="368219"/>
                    <a:pt x="311107" y="384537"/>
                    <a:pt x="324705" y="400855"/>
                  </a:cubicBezTo>
                  <a:cubicBezTo>
                    <a:pt x="332864" y="409014"/>
                    <a:pt x="335583" y="419892"/>
                    <a:pt x="343742" y="428051"/>
                  </a:cubicBezTo>
                  <a:cubicBezTo>
                    <a:pt x="346462" y="430771"/>
                    <a:pt x="349182" y="430771"/>
                    <a:pt x="351901" y="433491"/>
                  </a:cubicBezTo>
                  <a:cubicBezTo>
                    <a:pt x="354621" y="436210"/>
                    <a:pt x="357341" y="441650"/>
                    <a:pt x="360060" y="447089"/>
                  </a:cubicBezTo>
                  <a:cubicBezTo>
                    <a:pt x="368219" y="455248"/>
                    <a:pt x="376378" y="463407"/>
                    <a:pt x="384537" y="474286"/>
                  </a:cubicBezTo>
                  <a:cubicBezTo>
                    <a:pt x="389977" y="482445"/>
                    <a:pt x="392696" y="496043"/>
                    <a:pt x="395416" y="506921"/>
                  </a:cubicBezTo>
                  <a:cubicBezTo>
                    <a:pt x="400855" y="517800"/>
                    <a:pt x="400855" y="528679"/>
                    <a:pt x="406295" y="536838"/>
                  </a:cubicBezTo>
                  <a:cubicBezTo>
                    <a:pt x="409014" y="539557"/>
                    <a:pt x="409014" y="544997"/>
                    <a:pt x="409014" y="547716"/>
                  </a:cubicBezTo>
                  <a:cubicBezTo>
                    <a:pt x="409014" y="555875"/>
                    <a:pt x="406295" y="561314"/>
                    <a:pt x="406295" y="569473"/>
                  </a:cubicBezTo>
                  <a:cubicBezTo>
                    <a:pt x="406295" y="574913"/>
                    <a:pt x="403575" y="577632"/>
                    <a:pt x="403575" y="583072"/>
                  </a:cubicBezTo>
                  <a:lnTo>
                    <a:pt x="403575" y="583072"/>
                  </a:ln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/>
            </a:p>
          </p:txBody>
        </p:sp>
        <p:sp>
          <p:nvSpPr>
            <p:cNvPr id="38" name="Freeform: Shape 37">
              <a:extLst>
                <a:ext uri="{FF2B5EF4-FFF2-40B4-BE49-F238E27FC236}">
                  <a16:creationId xmlns:a16="http://schemas.microsoft.com/office/drawing/2014/main" id="{FC35D844-DD99-4858-9C8F-7E64319ECEC1}"/>
                </a:ext>
              </a:extLst>
            </p:cNvPr>
            <p:cNvSpPr/>
            <p:nvPr/>
          </p:nvSpPr>
          <p:spPr>
            <a:xfrm>
              <a:off x="2456032" y="4192158"/>
              <a:ext cx="571128" cy="761503"/>
            </a:xfrm>
            <a:custGeom>
              <a:avLst/>
              <a:gdLst>
                <a:gd name="connsiteX0" fmla="*/ 512361 w 571128"/>
                <a:gd name="connsiteY0" fmla="*/ 79936 h 761503"/>
                <a:gd name="connsiteX1" fmla="*/ 539558 w 571128"/>
                <a:gd name="connsiteY1" fmla="*/ 96253 h 761503"/>
                <a:gd name="connsiteX2" fmla="*/ 534118 w 571128"/>
                <a:gd name="connsiteY2" fmla="*/ 112571 h 761503"/>
                <a:gd name="connsiteX3" fmla="*/ 523240 w 571128"/>
                <a:gd name="connsiteY3" fmla="*/ 120730 h 761503"/>
                <a:gd name="connsiteX4" fmla="*/ 506922 w 571128"/>
                <a:gd name="connsiteY4" fmla="*/ 123450 h 761503"/>
                <a:gd name="connsiteX5" fmla="*/ 477006 w 571128"/>
                <a:gd name="connsiteY5" fmla="*/ 123450 h 761503"/>
                <a:gd name="connsiteX6" fmla="*/ 479725 w 571128"/>
                <a:gd name="connsiteY6" fmla="*/ 145207 h 761503"/>
                <a:gd name="connsiteX7" fmla="*/ 477006 w 571128"/>
                <a:gd name="connsiteY7" fmla="*/ 180563 h 761503"/>
                <a:gd name="connsiteX8" fmla="*/ 482445 w 571128"/>
                <a:gd name="connsiteY8" fmla="*/ 232236 h 761503"/>
                <a:gd name="connsiteX9" fmla="*/ 485165 w 571128"/>
                <a:gd name="connsiteY9" fmla="*/ 283910 h 761503"/>
                <a:gd name="connsiteX10" fmla="*/ 485165 w 571128"/>
                <a:gd name="connsiteY10" fmla="*/ 327424 h 761503"/>
                <a:gd name="connsiteX11" fmla="*/ 487884 w 571128"/>
                <a:gd name="connsiteY11" fmla="*/ 373658 h 761503"/>
                <a:gd name="connsiteX12" fmla="*/ 485165 w 571128"/>
                <a:gd name="connsiteY12" fmla="*/ 419892 h 761503"/>
                <a:gd name="connsiteX13" fmla="*/ 485165 w 571128"/>
                <a:gd name="connsiteY13" fmla="*/ 463407 h 761503"/>
                <a:gd name="connsiteX14" fmla="*/ 482445 w 571128"/>
                <a:gd name="connsiteY14" fmla="*/ 515080 h 761503"/>
                <a:gd name="connsiteX15" fmla="*/ 482445 w 571128"/>
                <a:gd name="connsiteY15" fmla="*/ 558595 h 761503"/>
                <a:gd name="connsiteX16" fmla="*/ 479725 w 571128"/>
                <a:gd name="connsiteY16" fmla="*/ 602109 h 761503"/>
                <a:gd name="connsiteX17" fmla="*/ 485165 w 571128"/>
                <a:gd name="connsiteY17" fmla="*/ 648343 h 761503"/>
                <a:gd name="connsiteX18" fmla="*/ 474286 w 571128"/>
                <a:gd name="connsiteY18" fmla="*/ 675540 h 761503"/>
                <a:gd name="connsiteX19" fmla="*/ 428052 w 571128"/>
                <a:gd name="connsiteY19" fmla="*/ 691858 h 761503"/>
                <a:gd name="connsiteX20" fmla="*/ 387257 w 571128"/>
                <a:gd name="connsiteY20" fmla="*/ 683699 h 761503"/>
                <a:gd name="connsiteX21" fmla="*/ 351901 w 571128"/>
                <a:gd name="connsiteY21" fmla="*/ 664661 h 761503"/>
                <a:gd name="connsiteX22" fmla="*/ 305667 w 571128"/>
                <a:gd name="connsiteY22" fmla="*/ 596670 h 761503"/>
                <a:gd name="connsiteX23" fmla="*/ 270312 w 571128"/>
                <a:gd name="connsiteY23" fmla="*/ 509641 h 761503"/>
                <a:gd name="connsiteX24" fmla="*/ 251274 w 571128"/>
                <a:gd name="connsiteY24" fmla="*/ 460687 h 761503"/>
                <a:gd name="connsiteX25" fmla="*/ 224077 w 571128"/>
                <a:gd name="connsiteY25" fmla="*/ 381817 h 761503"/>
                <a:gd name="connsiteX26" fmla="*/ 207759 w 571128"/>
                <a:gd name="connsiteY26" fmla="*/ 330144 h 761503"/>
                <a:gd name="connsiteX27" fmla="*/ 191442 w 571128"/>
                <a:gd name="connsiteY27" fmla="*/ 286629 h 761503"/>
                <a:gd name="connsiteX28" fmla="*/ 183283 w 571128"/>
                <a:gd name="connsiteY28" fmla="*/ 278470 h 761503"/>
                <a:gd name="connsiteX29" fmla="*/ 180563 w 571128"/>
                <a:gd name="connsiteY29" fmla="*/ 292069 h 761503"/>
                <a:gd name="connsiteX30" fmla="*/ 180563 w 571128"/>
                <a:gd name="connsiteY30" fmla="*/ 305667 h 761503"/>
                <a:gd name="connsiteX31" fmla="*/ 183283 w 571128"/>
                <a:gd name="connsiteY31" fmla="*/ 354621 h 761503"/>
                <a:gd name="connsiteX32" fmla="*/ 188722 w 571128"/>
                <a:gd name="connsiteY32" fmla="*/ 449809 h 761503"/>
                <a:gd name="connsiteX33" fmla="*/ 188722 w 571128"/>
                <a:gd name="connsiteY33" fmla="*/ 479725 h 761503"/>
                <a:gd name="connsiteX34" fmla="*/ 188722 w 571128"/>
                <a:gd name="connsiteY34" fmla="*/ 542277 h 761503"/>
                <a:gd name="connsiteX35" fmla="*/ 186002 w 571128"/>
                <a:gd name="connsiteY35" fmla="*/ 615708 h 761503"/>
                <a:gd name="connsiteX36" fmla="*/ 186002 w 571128"/>
                <a:gd name="connsiteY36" fmla="*/ 637465 h 761503"/>
                <a:gd name="connsiteX37" fmla="*/ 183283 w 571128"/>
                <a:gd name="connsiteY37" fmla="*/ 664661 h 761503"/>
                <a:gd name="connsiteX38" fmla="*/ 226797 w 571128"/>
                <a:gd name="connsiteY38" fmla="*/ 664661 h 761503"/>
                <a:gd name="connsiteX39" fmla="*/ 253994 w 571128"/>
                <a:gd name="connsiteY39" fmla="*/ 680979 h 761503"/>
                <a:gd name="connsiteX40" fmla="*/ 248554 w 571128"/>
                <a:gd name="connsiteY40" fmla="*/ 697297 h 761503"/>
                <a:gd name="connsiteX41" fmla="*/ 234956 w 571128"/>
                <a:gd name="connsiteY41" fmla="*/ 705456 h 761503"/>
                <a:gd name="connsiteX42" fmla="*/ 218638 w 571128"/>
                <a:gd name="connsiteY42" fmla="*/ 708176 h 761503"/>
                <a:gd name="connsiteX43" fmla="*/ 183283 w 571128"/>
                <a:gd name="connsiteY43" fmla="*/ 708176 h 761503"/>
                <a:gd name="connsiteX44" fmla="*/ 150647 w 571128"/>
                <a:gd name="connsiteY44" fmla="*/ 708176 h 761503"/>
                <a:gd name="connsiteX45" fmla="*/ 107132 w 571128"/>
                <a:gd name="connsiteY45" fmla="*/ 708176 h 761503"/>
                <a:gd name="connsiteX46" fmla="*/ 88094 w 571128"/>
                <a:gd name="connsiteY46" fmla="*/ 708176 h 761503"/>
                <a:gd name="connsiteX47" fmla="*/ 69057 w 571128"/>
                <a:gd name="connsiteY47" fmla="*/ 702737 h 761503"/>
                <a:gd name="connsiteX48" fmla="*/ 58178 w 571128"/>
                <a:gd name="connsiteY48" fmla="*/ 686419 h 761503"/>
                <a:gd name="connsiteX49" fmla="*/ 60898 w 571128"/>
                <a:gd name="connsiteY49" fmla="*/ 678260 h 761503"/>
                <a:gd name="connsiteX50" fmla="*/ 77216 w 571128"/>
                <a:gd name="connsiteY50" fmla="*/ 670101 h 761503"/>
                <a:gd name="connsiteX51" fmla="*/ 120730 w 571128"/>
                <a:gd name="connsiteY51" fmla="*/ 664661 h 761503"/>
                <a:gd name="connsiteX52" fmla="*/ 131609 w 571128"/>
                <a:gd name="connsiteY52" fmla="*/ 664661 h 761503"/>
                <a:gd name="connsiteX53" fmla="*/ 134329 w 571128"/>
                <a:gd name="connsiteY53" fmla="*/ 539557 h 761503"/>
                <a:gd name="connsiteX54" fmla="*/ 134329 w 571128"/>
                <a:gd name="connsiteY54" fmla="*/ 504202 h 761503"/>
                <a:gd name="connsiteX55" fmla="*/ 131609 w 571128"/>
                <a:gd name="connsiteY55" fmla="*/ 376378 h 761503"/>
                <a:gd name="connsiteX56" fmla="*/ 131609 w 571128"/>
                <a:gd name="connsiteY56" fmla="*/ 302947 h 761503"/>
                <a:gd name="connsiteX57" fmla="*/ 134329 w 571128"/>
                <a:gd name="connsiteY57" fmla="*/ 221357 h 761503"/>
                <a:gd name="connsiteX58" fmla="*/ 137048 w 571128"/>
                <a:gd name="connsiteY58" fmla="*/ 123450 h 761503"/>
                <a:gd name="connsiteX59" fmla="*/ 107132 w 571128"/>
                <a:gd name="connsiteY59" fmla="*/ 123450 h 761503"/>
                <a:gd name="connsiteX60" fmla="*/ 88094 w 571128"/>
                <a:gd name="connsiteY60" fmla="*/ 123450 h 761503"/>
                <a:gd name="connsiteX61" fmla="*/ 69057 w 571128"/>
                <a:gd name="connsiteY61" fmla="*/ 118011 h 761503"/>
                <a:gd name="connsiteX62" fmla="*/ 58178 w 571128"/>
                <a:gd name="connsiteY62" fmla="*/ 101693 h 761503"/>
                <a:gd name="connsiteX63" fmla="*/ 60898 w 571128"/>
                <a:gd name="connsiteY63" fmla="*/ 93534 h 761503"/>
                <a:gd name="connsiteX64" fmla="*/ 77216 w 571128"/>
                <a:gd name="connsiteY64" fmla="*/ 85375 h 761503"/>
                <a:gd name="connsiteX65" fmla="*/ 131609 w 571128"/>
                <a:gd name="connsiteY65" fmla="*/ 79936 h 761503"/>
                <a:gd name="connsiteX66" fmla="*/ 161525 w 571128"/>
                <a:gd name="connsiteY66" fmla="*/ 79936 h 761503"/>
                <a:gd name="connsiteX67" fmla="*/ 177843 w 571128"/>
                <a:gd name="connsiteY67" fmla="*/ 66337 h 761503"/>
                <a:gd name="connsiteX68" fmla="*/ 202320 w 571128"/>
                <a:gd name="connsiteY68" fmla="*/ 58178 h 761503"/>
                <a:gd name="connsiteX69" fmla="*/ 234956 w 571128"/>
                <a:gd name="connsiteY69" fmla="*/ 77216 h 761503"/>
                <a:gd name="connsiteX70" fmla="*/ 251274 w 571128"/>
                <a:gd name="connsiteY70" fmla="*/ 107132 h 761503"/>
                <a:gd name="connsiteX71" fmla="*/ 267592 w 571128"/>
                <a:gd name="connsiteY71" fmla="*/ 147927 h 761503"/>
                <a:gd name="connsiteX72" fmla="*/ 281190 w 571128"/>
                <a:gd name="connsiteY72" fmla="*/ 183282 h 761503"/>
                <a:gd name="connsiteX73" fmla="*/ 297508 w 571128"/>
                <a:gd name="connsiteY73" fmla="*/ 224077 h 761503"/>
                <a:gd name="connsiteX74" fmla="*/ 308387 w 571128"/>
                <a:gd name="connsiteY74" fmla="*/ 264872 h 761503"/>
                <a:gd name="connsiteX75" fmla="*/ 319265 w 571128"/>
                <a:gd name="connsiteY75" fmla="*/ 300228 h 761503"/>
                <a:gd name="connsiteX76" fmla="*/ 351901 w 571128"/>
                <a:gd name="connsiteY76" fmla="*/ 379098 h 761503"/>
                <a:gd name="connsiteX77" fmla="*/ 365500 w 571128"/>
                <a:gd name="connsiteY77" fmla="*/ 417173 h 761503"/>
                <a:gd name="connsiteX78" fmla="*/ 379098 w 571128"/>
                <a:gd name="connsiteY78" fmla="*/ 457968 h 761503"/>
                <a:gd name="connsiteX79" fmla="*/ 395416 w 571128"/>
                <a:gd name="connsiteY79" fmla="*/ 496043 h 761503"/>
                <a:gd name="connsiteX80" fmla="*/ 406295 w 571128"/>
                <a:gd name="connsiteY80" fmla="*/ 512361 h 761503"/>
                <a:gd name="connsiteX81" fmla="*/ 411734 w 571128"/>
                <a:gd name="connsiteY81" fmla="*/ 531398 h 761503"/>
                <a:gd name="connsiteX82" fmla="*/ 419893 w 571128"/>
                <a:gd name="connsiteY82" fmla="*/ 558595 h 761503"/>
                <a:gd name="connsiteX83" fmla="*/ 425332 w 571128"/>
                <a:gd name="connsiteY83" fmla="*/ 564034 h 761503"/>
                <a:gd name="connsiteX84" fmla="*/ 430771 w 571128"/>
                <a:gd name="connsiteY84" fmla="*/ 558595 h 761503"/>
                <a:gd name="connsiteX85" fmla="*/ 430771 w 571128"/>
                <a:gd name="connsiteY85" fmla="*/ 550436 h 761503"/>
                <a:gd name="connsiteX86" fmla="*/ 430771 w 571128"/>
                <a:gd name="connsiteY86" fmla="*/ 501482 h 761503"/>
                <a:gd name="connsiteX87" fmla="*/ 430771 w 571128"/>
                <a:gd name="connsiteY87" fmla="*/ 403575 h 761503"/>
                <a:gd name="connsiteX88" fmla="*/ 425332 w 571128"/>
                <a:gd name="connsiteY88" fmla="*/ 313826 h 761503"/>
                <a:gd name="connsiteX89" fmla="*/ 425332 w 571128"/>
                <a:gd name="connsiteY89" fmla="*/ 248554 h 761503"/>
                <a:gd name="connsiteX90" fmla="*/ 425332 w 571128"/>
                <a:gd name="connsiteY90" fmla="*/ 210479 h 761503"/>
                <a:gd name="connsiteX91" fmla="*/ 422613 w 571128"/>
                <a:gd name="connsiteY91" fmla="*/ 153366 h 761503"/>
                <a:gd name="connsiteX92" fmla="*/ 425332 w 571128"/>
                <a:gd name="connsiteY92" fmla="*/ 123450 h 761503"/>
                <a:gd name="connsiteX93" fmla="*/ 398136 w 571128"/>
                <a:gd name="connsiteY93" fmla="*/ 123450 h 761503"/>
                <a:gd name="connsiteX94" fmla="*/ 379098 w 571128"/>
                <a:gd name="connsiteY94" fmla="*/ 123450 h 761503"/>
                <a:gd name="connsiteX95" fmla="*/ 360060 w 571128"/>
                <a:gd name="connsiteY95" fmla="*/ 118011 h 761503"/>
                <a:gd name="connsiteX96" fmla="*/ 349182 w 571128"/>
                <a:gd name="connsiteY96" fmla="*/ 101693 h 761503"/>
                <a:gd name="connsiteX97" fmla="*/ 351901 w 571128"/>
                <a:gd name="connsiteY97" fmla="*/ 93534 h 761503"/>
                <a:gd name="connsiteX98" fmla="*/ 368219 w 571128"/>
                <a:gd name="connsiteY98" fmla="*/ 85375 h 761503"/>
                <a:gd name="connsiteX99" fmla="*/ 422613 w 571128"/>
                <a:gd name="connsiteY99" fmla="*/ 79936 h 761503"/>
                <a:gd name="connsiteX100" fmla="*/ 444370 w 571128"/>
                <a:gd name="connsiteY100" fmla="*/ 79936 h 761503"/>
                <a:gd name="connsiteX101" fmla="*/ 463407 w 571128"/>
                <a:gd name="connsiteY101" fmla="*/ 71776 h 761503"/>
                <a:gd name="connsiteX102" fmla="*/ 477006 w 571128"/>
                <a:gd name="connsiteY102" fmla="*/ 79936 h 761503"/>
                <a:gd name="connsiteX103" fmla="*/ 512361 w 571128"/>
                <a:gd name="connsiteY103" fmla="*/ 79936 h 761503"/>
                <a:gd name="connsiteX104" fmla="*/ 512361 w 571128"/>
                <a:gd name="connsiteY104" fmla="*/ 79936 h 761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</a:cxnLst>
              <a:rect l="l" t="t" r="r" b="b"/>
              <a:pathLst>
                <a:path w="571128" h="761503">
                  <a:moveTo>
                    <a:pt x="512361" y="79936"/>
                  </a:moveTo>
                  <a:cubicBezTo>
                    <a:pt x="520520" y="79936"/>
                    <a:pt x="539558" y="79936"/>
                    <a:pt x="539558" y="96253"/>
                  </a:cubicBezTo>
                  <a:cubicBezTo>
                    <a:pt x="539558" y="104412"/>
                    <a:pt x="539558" y="107132"/>
                    <a:pt x="534118" y="112571"/>
                  </a:cubicBezTo>
                  <a:cubicBezTo>
                    <a:pt x="531399" y="118011"/>
                    <a:pt x="525960" y="120730"/>
                    <a:pt x="523240" y="120730"/>
                  </a:cubicBezTo>
                  <a:cubicBezTo>
                    <a:pt x="515081" y="123450"/>
                    <a:pt x="512361" y="123450"/>
                    <a:pt x="506922" y="123450"/>
                  </a:cubicBezTo>
                  <a:cubicBezTo>
                    <a:pt x="504202" y="123450"/>
                    <a:pt x="490604" y="123450"/>
                    <a:pt x="477006" y="123450"/>
                  </a:cubicBezTo>
                  <a:cubicBezTo>
                    <a:pt x="477006" y="131609"/>
                    <a:pt x="479725" y="137048"/>
                    <a:pt x="479725" y="145207"/>
                  </a:cubicBezTo>
                  <a:cubicBezTo>
                    <a:pt x="479725" y="156086"/>
                    <a:pt x="477006" y="166964"/>
                    <a:pt x="477006" y="180563"/>
                  </a:cubicBezTo>
                  <a:cubicBezTo>
                    <a:pt x="477006" y="196881"/>
                    <a:pt x="479725" y="215918"/>
                    <a:pt x="482445" y="232236"/>
                  </a:cubicBezTo>
                  <a:cubicBezTo>
                    <a:pt x="485165" y="248554"/>
                    <a:pt x="485165" y="267592"/>
                    <a:pt x="485165" y="283910"/>
                  </a:cubicBezTo>
                  <a:cubicBezTo>
                    <a:pt x="485165" y="297508"/>
                    <a:pt x="485165" y="313826"/>
                    <a:pt x="485165" y="327424"/>
                  </a:cubicBezTo>
                  <a:cubicBezTo>
                    <a:pt x="485165" y="343742"/>
                    <a:pt x="487884" y="357340"/>
                    <a:pt x="487884" y="373658"/>
                  </a:cubicBezTo>
                  <a:cubicBezTo>
                    <a:pt x="487884" y="389976"/>
                    <a:pt x="485165" y="403575"/>
                    <a:pt x="485165" y="419892"/>
                  </a:cubicBezTo>
                  <a:cubicBezTo>
                    <a:pt x="485165" y="436210"/>
                    <a:pt x="485165" y="449809"/>
                    <a:pt x="485165" y="463407"/>
                  </a:cubicBezTo>
                  <a:cubicBezTo>
                    <a:pt x="485165" y="479725"/>
                    <a:pt x="485165" y="498762"/>
                    <a:pt x="482445" y="515080"/>
                  </a:cubicBezTo>
                  <a:cubicBezTo>
                    <a:pt x="482445" y="528679"/>
                    <a:pt x="482445" y="542277"/>
                    <a:pt x="482445" y="558595"/>
                  </a:cubicBezTo>
                  <a:cubicBezTo>
                    <a:pt x="482445" y="572193"/>
                    <a:pt x="479725" y="588511"/>
                    <a:pt x="479725" y="602109"/>
                  </a:cubicBezTo>
                  <a:cubicBezTo>
                    <a:pt x="479725" y="615708"/>
                    <a:pt x="485165" y="632026"/>
                    <a:pt x="485165" y="648343"/>
                  </a:cubicBezTo>
                  <a:cubicBezTo>
                    <a:pt x="485165" y="659222"/>
                    <a:pt x="482445" y="670101"/>
                    <a:pt x="474286" y="675540"/>
                  </a:cubicBezTo>
                  <a:cubicBezTo>
                    <a:pt x="460688" y="686419"/>
                    <a:pt x="444370" y="691858"/>
                    <a:pt x="428052" y="691858"/>
                  </a:cubicBezTo>
                  <a:cubicBezTo>
                    <a:pt x="414454" y="691858"/>
                    <a:pt x="400855" y="689138"/>
                    <a:pt x="387257" y="683699"/>
                  </a:cubicBezTo>
                  <a:cubicBezTo>
                    <a:pt x="373659" y="678260"/>
                    <a:pt x="360060" y="672820"/>
                    <a:pt x="351901" y="664661"/>
                  </a:cubicBezTo>
                  <a:cubicBezTo>
                    <a:pt x="330144" y="645624"/>
                    <a:pt x="316546" y="621147"/>
                    <a:pt x="305667" y="596670"/>
                  </a:cubicBezTo>
                  <a:cubicBezTo>
                    <a:pt x="292069" y="569473"/>
                    <a:pt x="281190" y="539557"/>
                    <a:pt x="270312" y="509641"/>
                  </a:cubicBezTo>
                  <a:cubicBezTo>
                    <a:pt x="264872" y="493323"/>
                    <a:pt x="256713" y="477005"/>
                    <a:pt x="251274" y="460687"/>
                  </a:cubicBezTo>
                  <a:cubicBezTo>
                    <a:pt x="240395" y="433491"/>
                    <a:pt x="232236" y="409014"/>
                    <a:pt x="224077" y="381817"/>
                  </a:cubicBezTo>
                  <a:cubicBezTo>
                    <a:pt x="218638" y="365499"/>
                    <a:pt x="213199" y="346462"/>
                    <a:pt x="207759" y="330144"/>
                  </a:cubicBezTo>
                  <a:cubicBezTo>
                    <a:pt x="202320" y="316545"/>
                    <a:pt x="196881" y="300228"/>
                    <a:pt x="191442" y="286629"/>
                  </a:cubicBezTo>
                  <a:cubicBezTo>
                    <a:pt x="188722" y="281190"/>
                    <a:pt x="186002" y="278470"/>
                    <a:pt x="183283" y="278470"/>
                  </a:cubicBezTo>
                  <a:cubicBezTo>
                    <a:pt x="180563" y="278470"/>
                    <a:pt x="180563" y="286629"/>
                    <a:pt x="180563" y="292069"/>
                  </a:cubicBezTo>
                  <a:cubicBezTo>
                    <a:pt x="180563" y="297508"/>
                    <a:pt x="180563" y="302947"/>
                    <a:pt x="180563" y="305667"/>
                  </a:cubicBezTo>
                  <a:cubicBezTo>
                    <a:pt x="180563" y="321985"/>
                    <a:pt x="183283" y="338303"/>
                    <a:pt x="183283" y="354621"/>
                  </a:cubicBezTo>
                  <a:cubicBezTo>
                    <a:pt x="183283" y="387257"/>
                    <a:pt x="186002" y="417173"/>
                    <a:pt x="188722" y="449809"/>
                  </a:cubicBezTo>
                  <a:cubicBezTo>
                    <a:pt x="188722" y="460687"/>
                    <a:pt x="188722" y="468846"/>
                    <a:pt x="188722" y="479725"/>
                  </a:cubicBezTo>
                  <a:cubicBezTo>
                    <a:pt x="188722" y="501482"/>
                    <a:pt x="188722" y="523239"/>
                    <a:pt x="188722" y="542277"/>
                  </a:cubicBezTo>
                  <a:cubicBezTo>
                    <a:pt x="188722" y="566754"/>
                    <a:pt x="186002" y="591231"/>
                    <a:pt x="186002" y="615708"/>
                  </a:cubicBezTo>
                  <a:cubicBezTo>
                    <a:pt x="186002" y="623867"/>
                    <a:pt x="186002" y="632026"/>
                    <a:pt x="186002" y="637465"/>
                  </a:cubicBezTo>
                  <a:cubicBezTo>
                    <a:pt x="186002" y="645624"/>
                    <a:pt x="183283" y="656502"/>
                    <a:pt x="183283" y="664661"/>
                  </a:cubicBezTo>
                  <a:cubicBezTo>
                    <a:pt x="202320" y="664661"/>
                    <a:pt x="218638" y="664661"/>
                    <a:pt x="226797" y="664661"/>
                  </a:cubicBezTo>
                  <a:cubicBezTo>
                    <a:pt x="234956" y="664661"/>
                    <a:pt x="253994" y="664661"/>
                    <a:pt x="253994" y="680979"/>
                  </a:cubicBezTo>
                  <a:cubicBezTo>
                    <a:pt x="253994" y="689138"/>
                    <a:pt x="253994" y="691858"/>
                    <a:pt x="248554" y="697297"/>
                  </a:cubicBezTo>
                  <a:cubicBezTo>
                    <a:pt x="245835" y="702737"/>
                    <a:pt x="240395" y="705456"/>
                    <a:pt x="234956" y="705456"/>
                  </a:cubicBezTo>
                  <a:cubicBezTo>
                    <a:pt x="226797" y="708176"/>
                    <a:pt x="224077" y="708176"/>
                    <a:pt x="218638" y="708176"/>
                  </a:cubicBezTo>
                  <a:cubicBezTo>
                    <a:pt x="215918" y="708176"/>
                    <a:pt x="199600" y="708176"/>
                    <a:pt x="183283" y="708176"/>
                  </a:cubicBezTo>
                  <a:cubicBezTo>
                    <a:pt x="166965" y="708176"/>
                    <a:pt x="153366" y="708176"/>
                    <a:pt x="150647" y="708176"/>
                  </a:cubicBezTo>
                  <a:cubicBezTo>
                    <a:pt x="139768" y="708176"/>
                    <a:pt x="120730" y="708176"/>
                    <a:pt x="107132" y="708176"/>
                  </a:cubicBezTo>
                  <a:cubicBezTo>
                    <a:pt x="101693" y="708176"/>
                    <a:pt x="96253" y="708176"/>
                    <a:pt x="88094" y="708176"/>
                  </a:cubicBezTo>
                  <a:cubicBezTo>
                    <a:pt x="82655" y="708176"/>
                    <a:pt x="74496" y="708176"/>
                    <a:pt x="69057" y="702737"/>
                  </a:cubicBezTo>
                  <a:cubicBezTo>
                    <a:pt x="63618" y="700017"/>
                    <a:pt x="58178" y="691858"/>
                    <a:pt x="58178" y="686419"/>
                  </a:cubicBezTo>
                  <a:cubicBezTo>
                    <a:pt x="58178" y="683699"/>
                    <a:pt x="58178" y="680979"/>
                    <a:pt x="60898" y="678260"/>
                  </a:cubicBezTo>
                  <a:cubicBezTo>
                    <a:pt x="63618" y="675540"/>
                    <a:pt x="71777" y="672820"/>
                    <a:pt x="77216" y="670101"/>
                  </a:cubicBezTo>
                  <a:cubicBezTo>
                    <a:pt x="90814" y="667381"/>
                    <a:pt x="115291" y="664661"/>
                    <a:pt x="120730" y="664661"/>
                  </a:cubicBezTo>
                  <a:cubicBezTo>
                    <a:pt x="123450" y="664661"/>
                    <a:pt x="126170" y="664661"/>
                    <a:pt x="131609" y="664661"/>
                  </a:cubicBezTo>
                  <a:cubicBezTo>
                    <a:pt x="131609" y="623867"/>
                    <a:pt x="134329" y="583072"/>
                    <a:pt x="134329" y="539557"/>
                  </a:cubicBezTo>
                  <a:cubicBezTo>
                    <a:pt x="134329" y="528679"/>
                    <a:pt x="134329" y="515080"/>
                    <a:pt x="134329" y="504202"/>
                  </a:cubicBezTo>
                  <a:cubicBezTo>
                    <a:pt x="131609" y="460687"/>
                    <a:pt x="131609" y="417173"/>
                    <a:pt x="131609" y="376378"/>
                  </a:cubicBezTo>
                  <a:cubicBezTo>
                    <a:pt x="131609" y="351901"/>
                    <a:pt x="131609" y="327424"/>
                    <a:pt x="131609" y="302947"/>
                  </a:cubicBezTo>
                  <a:cubicBezTo>
                    <a:pt x="131609" y="275751"/>
                    <a:pt x="131609" y="248554"/>
                    <a:pt x="134329" y="221357"/>
                  </a:cubicBezTo>
                  <a:cubicBezTo>
                    <a:pt x="134329" y="188722"/>
                    <a:pt x="137048" y="156086"/>
                    <a:pt x="137048" y="123450"/>
                  </a:cubicBezTo>
                  <a:cubicBezTo>
                    <a:pt x="126170" y="123450"/>
                    <a:pt x="115291" y="123450"/>
                    <a:pt x="107132" y="123450"/>
                  </a:cubicBezTo>
                  <a:cubicBezTo>
                    <a:pt x="101693" y="123450"/>
                    <a:pt x="96253" y="123450"/>
                    <a:pt x="88094" y="123450"/>
                  </a:cubicBezTo>
                  <a:cubicBezTo>
                    <a:pt x="82655" y="123450"/>
                    <a:pt x="74496" y="120730"/>
                    <a:pt x="69057" y="118011"/>
                  </a:cubicBezTo>
                  <a:cubicBezTo>
                    <a:pt x="63618" y="115291"/>
                    <a:pt x="58178" y="107132"/>
                    <a:pt x="58178" y="101693"/>
                  </a:cubicBezTo>
                  <a:cubicBezTo>
                    <a:pt x="58178" y="98973"/>
                    <a:pt x="58178" y="96253"/>
                    <a:pt x="60898" y="93534"/>
                  </a:cubicBezTo>
                  <a:cubicBezTo>
                    <a:pt x="63618" y="90814"/>
                    <a:pt x="71777" y="88095"/>
                    <a:pt x="77216" y="85375"/>
                  </a:cubicBezTo>
                  <a:cubicBezTo>
                    <a:pt x="90814" y="82655"/>
                    <a:pt x="126170" y="79936"/>
                    <a:pt x="131609" y="79936"/>
                  </a:cubicBezTo>
                  <a:cubicBezTo>
                    <a:pt x="137048" y="79936"/>
                    <a:pt x="147927" y="79936"/>
                    <a:pt x="161525" y="79936"/>
                  </a:cubicBezTo>
                  <a:cubicBezTo>
                    <a:pt x="166965" y="74496"/>
                    <a:pt x="172404" y="71776"/>
                    <a:pt x="177843" y="66337"/>
                  </a:cubicBezTo>
                  <a:cubicBezTo>
                    <a:pt x="186002" y="60898"/>
                    <a:pt x="194161" y="58178"/>
                    <a:pt x="202320" y="58178"/>
                  </a:cubicBezTo>
                  <a:cubicBezTo>
                    <a:pt x="215918" y="58178"/>
                    <a:pt x="226797" y="63618"/>
                    <a:pt x="234956" y="77216"/>
                  </a:cubicBezTo>
                  <a:cubicBezTo>
                    <a:pt x="240395" y="88095"/>
                    <a:pt x="248554" y="96253"/>
                    <a:pt x="251274" y="107132"/>
                  </a:cubicBezTo>
                  <a:cubicBezTo>
                    <a:pt x="256713" y="120730"/>
                    <a:pt x="259433" y="134329"/>
                    <a:pt x="267592" y="147927"/>
                  </a:cubicBezTo>
                  <a:cubicBezTo>
                    <a:pt x="273031" y="158806"/>
                    <a:pt x="275751" y="172404"/>
                    <a:pt x="281190" y="183282"/>
                  </a:cubicBezTo>
                  <a:cubicBezTo>
                    <a:pt x="286630" y="196881"/>
                    <a:pt x="292069" y="210479"/>
                    <a:pt x="297508" y="224077"/>
                  </a:cubicBezTo>
                  <a:cubicBezTo>
                    <a:pt x="300228" y="237676"/>
                    <a:pt x="305667" y="251274"/>
                    <a:pt x="308387" y="264872"/>
                  </a:cubicBezTo>
                  <a:cubicBezTo>
                    <a:pt x="311107" y="278470"/>
                    <a:pt x="311107" y="289349"/>
                    <a:pt x="319265" y="300228"/>
                  </a:cubicBezTo>
                  <a:cubicBezTo>
                    <a:pt x="332864" y="324704"/>
                    <a:pt x="346462" y="351901"/>
                    <a:pt x="351901" y="379098"/>
                  </a:cubicBezTo>
                  <a:cubicBezTo>
                    <a:pt x="354621" y="392696"/>
                    <a:pt x="360060" y="403575"/>
                    <a:pt x="365500" y="417173"/>
                  </a:cubicBezTo>
                  <a:cubicBezTo>
                    <a:pt x="373659" y="430771"/>
                    <a:pt x="373659" y="444369"/>
                    <a:pt x="379098" y="457968"/>
                  </a:cubicBezTo>
                  <a:cubicBezTo>
                    <a:pt x="381818" y="471566"/>
                    <a:pt x="387257" y="482445"/>
                    <a:pt x="395416" y="496043"/>
                  </a:cubicBezTo>
                  <a:cubicBezTo>
                    <a:pt x="398136" y="501482"/>
                    <a:pt x="403575" y="506921"/>
                    <a:pt x="406295" y="512361"/>
                  </a:cubicBezTo>
                  <a:cubicBezTo>
                    <a:pt x="409014" y="517800"/>
                    <a:pt x="409014" y="525959"/>
                    <a:pt x="411734" y="531398"/>
                  </a:cubicBezTo>
                  <a:cubicBezTo>
                    <a:pt x="414454" y="539557"/>
                    <a:pt x="417173" y="550436"/>
                    <a:pt x="419893" y="558595"/>
                  </a:cubicBezTo>
                  <a:cubicBezTo>
                    <a:pt x="422613" y="561314"/>
                    <a:pt x="422613" y="564034"/>
                    <a:pt x="425332" y="564034"/>
                  </a:cubicBezTo>
                  <a:cubicBezTo>
                    <a:pt x="428052" y="564034"/>
                    <a:pt x="428052" y="561314"/>
                    <a:pt x="430771" y="558595"/>
                  </a:cubicBezTo>
                  <a:cubicBezTo>
                    <a:pt x="430771" y="555875"/>
                    <a:pt x="430771" y="553156"/>
                    <a:pt x="430771" y="550436"/>
                  </a:cubicBezTo>
                  <a:cubicBezTo>
                    <a:pt x="430771" y="534118"/>
                    <a:pt x="430771" y="517800"/>
                    <a:pt x="430771" y="501482"/>
                  </a:cubicBezTo>
                  <a:cubicBezTo>
                    <a:pt x="430771" y="468846"/>
                    <a:pt x="433491" y="436210"/>
                    <a:pt x="430771" y="403575"/>
                  </a:cubicBezTo>
                  <a:cubicBezTo>
                    <a:pt x="430771" y="373658"/>
                    <a:pt x="425332" y="343742"/>
                    <a:pt x="425332" y="313826"/>
                  </a:cubicBezTo>
                  <a:cubicBezTo>
                    <a:pt x="425332" y="292069"/>
                    <a:pt x="425332" y="270311"/>
                    <a:pt x="425332" y="248554"/>
                  </a:cubicBezTo>
                  <a:cubicBezTo>
                    <a:pt x="425332" y="234956"/>
                    <a:pt x="425332" y="224077"/>
                    <a:pt x="425332" y="210479"/>
                  </a:cubicBezTo>
                  <a:cubicBezTo>
                    <a:pt x="425332" y="191441"/>
                    <a:pt x="422613" y="172404"/>
                    <a:pt x="422613" y="153366"/>
                  </a:cubicBezTo>
                  <a:cubicBezTo>
                    <a:pt x="422613" y="142488"/>
                    <a:pt x="422613" y="134329"/>
                    <a:pt x="425332" y="123450"/>
                  </a:cubicBezTo>
                  <a:cubicBezTo>
                    <a:pt x="417173" y="123450"/>
                    <a:pt x="406295" y="123450"/>
                    <a:pt x="398136" y="123450"/>
                  </a:cubicBezTo>
                  <a:cubicBezTo>
                    <a:pt x="392696" y="123450"/>
                    <a:pt x="387257" y="123450"/>
                    <a:pt x="379098" y="123450"/>
                  </a:cubicBezTo>
                  <a:cubicBezTo>
                    <a:pt x="373659" y="123450"/>
                    <a:pt x="365500" y="120730"/>
                    <a:pt x="360060" y="118011"/>
                  </a:cubicBezTo>
                  <a:cubicBezTo>
                    <a:pt x="354621" y="115291"/>
                    <a:pt x="349182" y="107132"/>
                    <a:pt x="349182" y="101693"/>
                  </a:cubicBezTo>
                  <a:cubicBezTo>
                    <a:pt x="349182" y="98973"/>
                    <a:pt x="349182" y="96253"/>
                    <a:pt x="351901" y="93534"/>
                  </a:cubicBezTo>
                  <a:cubicBezTo>
                    <a:pt x="354621" y="90814"/>
                    <a:pt x="362780" y="88095"/>
                    <a:pt x="368219" y="85375"/>
                  </a:cubicBezTo>
                  <a:cubicBezTo>
                    <a:pt x="381818" y="82655"/>
                    <a:pt x="417173" y="79936"/>
                    <a:pt x="422613" y="79936"/>
                  </a:cubicBezTo>
                  <a:cubicBezTo>
                    <a:pt x="428052" y="79936"/>
                    <a:pt x="433491" y="79936"/>
                    <a:pt x="444370" y="79936"/>
                  </a:cubicBezTo>
                  <a:cubicBezTo>
                    <a:pt x="449809" y="74496"/>
                    <a:pt x="455248" y="71776"/>
                    <a:pt x="463407" y="71776"/>
                  </a:cubicBezTo>
                  <a:cubicBezTo>
                    <a:pt x="471566" y="71776"/>
                    <a:pt x="477006" y="74496"/>
                    <a:pt x="477006" y="79936"/>
                  </a:cubicBezTo>
                  <a:cubicBezTo>
                    <a:pt x="490604" y="82655"/>
                    <a:pt x="504202" y="79936"/>
                    <a:pt x="512361" y="79936"/>
                  </a:cubicBezTo>
                  <a:lnTo>
                    <a:pt x="512361" y="79936"/>
                  </a:ln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/>
            </a:p>
          </p:txBody>
        </p:sp>
        <p:sp>
          <p:nvSpPr>
            <p:cNvPr id="39" name="Freeform: Shape 38">
              <a:extLst>
                <a:ext uri="{FF2B5EF4-FFF2-40B4-BE49-F238E27FC236}">
                  <a16:creationId xmlns:a16="http://schemas.microsoft.com/office/drawing/2014/main" id="{B5B50CFE-2A9A-43B6-BAED-D4D319AF496E}"/>
                </a:ext>
              </a:extLst>
            </p:cNvPr>
            <p:cNvSpPr/>
            <p:nvPr/>
          </p:nvSpPr>
          <p:spPr>
            <a:xfrm>
              <a:off x="2987430" y="4242177"/>
              <a:ext cx="494979" cy="674476"/>
            </a:xfrm>
            <a:custGeom>
              <a:avLst/>
              <a:gdLst>
                <a:gd name="connsiteX0" fmla="*/ 228453 w 494979"/>
                <a:gd name="connsiteY0" fmla="*/ 97907 h 674476"/>
                <a:gd name="connsiteX1" fmla="*/ 212135 w 494979"/>
                <a:gd name="connsiteY1" fmla="*/ 119665 h 674476"/>
                <a:gd name="connsiteX2" fmla="*/ 203976 w 494979"/>
                <a:gd name="connsiteY2" fmla="*/ 152300 h 674476"/>
                <a:gd name="connsiteX3" fmla="*/ 201256 w 494979"/>
                <a:gd name="connsiteY3" fmla="*/ 168618 h 674476"/>
                <a:gd name="connsiteX4" fmla="*/ 198537 w 494979"/>
                <a:gd name="connsiteY4" fmla="*/ 184936 h 674476"/>
                <a:gd name="connsiteX5" fmla="*/ 190378 w 494979"/>
                <a:gd name="connsiteY5" fmla="*/ 220292 h 674476"/>
                <a:gd name="connsiteX6" fmla="*/ 171340 w 494979"/>
                <a:gd name="connsiteY6" fmla="*/ 291003 h 674476"/>
                <a:gd name="connsiteX7" fmla="*/ 163180 w 494979"/>
                <a:gd name="connsiteY7" fmla="*/ 323639 h 674476"/>
                <a:gd name="connsiteX8" fmla="*/ 152302 w 494979"/>
                <a:gd name="connsiteY8" fmla="*/ 361714 h 674476"/>
                <a:gd name="connsiteX9" fmla="*/ 146862 w 494979"/>
                <a:gd name="connsiteY9" fmla="*/ 388910 h 674476"/>
                <a:gd name="connsiteX10" fmla="*/ 152302 w 494979"/>
                <a:gd name="connsiteY10" fmla="*/ 391630 h 674476"/>
                <a:gd name="connsiteX11" fmla="*/ 174060 w 494979"/>
                <a:gd name="connsiteY11" fmla="*/ 391630 h 674476"/>
                <a:gd name="connsiteX12" fmla="*/ 195817 w 494979"/>
                <a:gd name="connsiteY12" fmla="*/ 388910 h 674476"/>
                <a:gd name="connsiteX13" fmla="*/ 214855 w 494979"/>
                <a:gd name="connsiteY13" fmla="*/ 388910 h 674476"/>
                <a:gd name="connsiteX14" fmla="*/ 239332 w 494979"/>
                <a:gd name="connsiteY14" fmla="*/ 388910 h 674476"/>
                <a:gd name="connsiteX15" fmla="*/ 252930 w 494979"/>
                <a:gd name="connsiteY15" fmla="*/ 386191 h 674476"/>
                <a:gd name="connsiteX16" fmla="*/ 261089 w 494979"/>
                <a:gd name="connsiteY16" fmla="*/ 386191 h 674476"/>
                <a:gd name="connsiteX17" fmla="*/ 258369 w 494979"/>
                <a:gd name="connsiteY17" fmla="*/ 367153 h 674476"/>
                <a:gd name="connsiteX18" fmla="*/ 252930 w 494979"/>
                <a:gd name="connsiteY18" fmla="*/ 331797 h 674476"/>
                <a:gd name="connsiteX19" fmla="*/ 250210 w 494979"/>
                <a:gd name="connsiteY19" fmla="*/ 244769 h 674476"/>
                <a:gd name="connsiteX20" fmla="*/ 244771 w 494979"/>
                <a:gd name="connsiteY20" fmla="*/ 203974 h 674476"/>
                <a:gd name="connsiteX21" fmla="*/ 239332 w 494979"/>
                <a:gd name="connsiteY21" fmla="*/ 157740 h 674476"/>
                <a:gd name="connsiteX22" fmla="*/ 236612 w 494979"/>
                <a:gd name="connsiteY22" fmla="*/ 119665 h 674476"/>
                <a:gd name="connsiteX23" fmla="*/ 228453 w 494979"/>
                <a:gd name="connsiteY23" fmla="*/ 97907 h 674476"/>
                <a:gd name="connsiteX24" fmla="*/ 274687 w 494979"/>
                <a:gd name="connsiteY24" fmla="*/ 0 h 674476"/>
                <a:gd name="connsiteX25" fmla="*/ 304603 w 494979"/>
                <a:gd name="connsiteY25" fmla="*/ 5439 h 674476"/>
                <a:gd name="connsiteX26" fmla="*/ 320921 w 494979"/>
                <a:gd name="connsiteY26" fmla="*/ 24477 h 674476"/>
                <a:gd name="connsiteX27" fmla="*/ 334519 w 494979"/>
                <a:gd name="connsiteY27" fmla="*/ 43515 h 674476"/>
                <a:gd name="connsiteX28" fmla="*/ 339959 w 494979"/>
                <a:gd name="connsiteY28" fmla="*/ 65272 h 674476"/>
                <a:gd name="connsiteX29" fmla="*/ 348118 w 494979"/>
                <a:gd name="connsiteY29" fmla="*/ 114226 h 674476"/>
                <a:gd name="connsiteX30" fmla="*/ 361716 w 494979"/>
                <a:gd name="connsiteY30" fmla="*/ 163180 h 674476"/>
                <a:gd name="connsiteX31" fmla="*/ 369875 w 494979"/>
                <a:gd name="connsiteY31" fmla="*/ 220293 h 674476"/>
                <a:gd name="connsiteX32" fmla="*/ 378034 w 494979"/>
                <a:gd name="connsiteY32" fmla="*/ 274686 h 674476"/>
                <a:gd name="connsiteX33" fmla="*/ 383473 w 494979"/>
                <a:gd name="connsiteY33" fmla="*/ 301883 h 674476"/>
                <a:gd name="connsiteX34" fmla="*/ 391632 w 494979"/>
                <a:gd name="connsiteY34" fmla="*/ 337238 h 674476"/>
                <a:gd name="connsiteX35" fmla="*/ 397071 w 494979"/>
                <a:gd name="connsiteY35" fmla="*/ 364435 h 674476"/>
                <a:gd name="connsiteX36" fmla="*/ 405230 w 494979"/>
                <a:gd name="connsiteY36" fmla="*/ 383473 h 674476"/>
                <a:gd name="connsiteX37" fmla="*/ 416109 w 494979"/>
                <a:gd name="connsiteY37" fmla="*/ 386192 h 674476"/>
                <a:gd name="connsiteX38" fmla="*/ 426988 w 494979"/>
                <a:gd name="connsiteY38" fmla="*/ 386192 h 674476"/>
                <a:gd name="connsiteX39" fmla="*/ 454184 w 494979"/>
                <a:gd name="connsiteY39" fmla="*/ 397071 h 674476"/>
                <a:gd name="connsiteX40" fmla="*/ 456904 w 494979"/>
                <a:gd name="connsiteY40" fmla="*/ 405230 h 674476"/>
                <a:gd name="connsiteX41" fmla="*/ 451465 w 494979"/>
                <a:gd name="connsiteY41" fmla="*/ 416108 h 674476"/>
                <a:gd name="connsiteX42" fmla="*/ 432427 w 494979"/>
                <a:gd name="connsiteY42" fmla="*/ 429707 h 674476"/>
                <a:gd name="connsiteX43" fmla="*/ 421548 w 494979"/>
                <a:gd name="connsiteY43" fmla="*/ 432426 h 674476"/>
                <a:gd name="connsiteX44" fmla="*/ 413389 w 494979"/>
                <a:gd name="connsiteY44" fmla="*/ 435146 h 674476"/>
                <a:gd name="connsiteX45" fmla="*/ 413389 w 494979"/>
                <a:gd name="connsiteY45" fmla="*/ 440585 h 674476"/>
                <a:gd name="connsiteX46" fmla="*/ 416109 w 494979"/>
                <a:gd name="connsiteY46" fmla="*/ 451464 h 674476"/>
                <a:gd name="connsiteX47" fmla="*/ 418829 w 494979"/>
                <a:gd name="connsiteY47" fmla="*/ 465062 h 674476"/>
                <a:gd name="connsiteX48" fmla="*/ 418829 w 494979"/>
                <a:gd name="connsiteY48" fmla="*/ 475941 h 674476"/>
                <a:gd name="connsiteX49" fmla="*/ 418829 w 494979"/>
                <a:gd name="connsiteY49" fmla="*/ 486820 h 674476"/>
                <a:gd name="connsiteX50" fmla="*/ 426988 w 494979"/>
                <a:gd name="connsiteY50" fmla="*/ 516736 h 674476"/>
                <a:gd name="connsiteX51" fmla="*/ 432427 w 494979"/>
                <a:gd name="connsiteY51" fmla="*/ 543932 h 674476"/>
                <a:gd name="connsiteX52" fmla="*/ 437866 w 494979"/>
                <a:gd name="connsiteY52" fmla="*/ 573848 h 674476"/>
                <a:gd name="connsiteX53" fmla="*/ 443306 w 494979"/>
                <a:gd name="connsiteY53" fmla="*/ 606484 h 674476"/>
                <a:gd name="connsiteX54" fmla="*/ 446025 w 494979"/>
                <a:gd name="connsiteY54" fmla="*/ 617363 h 674476"/>
                <a:gd name="connsiteX55" fmla="*/ 470502 w 494979"/>
                <a:gd name="connsiteY55" fmla="*/ 617363 h 674476"/>
                <a:gd name="connsiteX56" fmla="*/ 494979 w 494979"/>
                <a:gd name="connsiteY56" fmla="*/ 641840 h 674476"/>
                <a:gd name="connsiteX57" fmla="*/ 486820 w 494979"/>
                <a:gd name="connsiteY57" fmla="*/ 655438 h 674476"/>
                <a:gd name="connsiteX58" fmla="*/ 470502 w 494979"/>
                <a:gd name="connsiteY58" fmla="*/ 663597 h 674476"/>
                <a:gd name="connsiteX59" fmla="*/ 446025 w 494979"/>
                <a:gd name="connsiteY59" fmla="*/ 666317 h 674476"/>
                <a:gd name="connsiteX60" fmla="*/ 424268 w 494979"/>
                <a:gd name="connsiteY60" fmla="*/ 666317 h 674476"/>
                <a:gd name="connsiteX61" fmla="*/ 416109 w 494979"/>
                <a:gd name="connsiteY61" fmla="*/ 666317 h 674476"/>
                <a:gd name="connsiteX62" fmla="*/ 402511 w 494979"/>
                <a:gd name="connsiteY62" fmla="*/ 671756 h 674476"/>
                <a:gd name="connsiteX63" fmla="*/ 386193 w 494979"/>
                <a:gd name="connsiteY63" fmla="*/ 674476 h 674476"/>
                <a:gd name="connsiteX64" fmla="*/ 350837 w 494979"/>
                <a:gd name="connsiteY64" fmla="*/ 669036 h 674476"/>
                <a:gd name="connsiteX65" fmla="*/ 329080 w 494979"/>
                <a:gd name="connsiteY65" fmla="*/ 669036 h 674476"/>
                <a:gd name="connsiteX66" fmla="*/ 280126 w 494979"/>
                <a:gd name="connsiteY66" fmla="*/ 669036 h 674476"/>
                <a:gd name="connsiteX67" fmla="*/ 255649 w 494979"/>
                <a:gd name="connsiteY67" fmla="*/ 663597 h 674476"/>
                <a:gd name="connsiteX68" fmla="*/ 239331 w 494979"/>
                <a:gd name="connsiteY68" fmla="*/ 647279 h 674476"/>
                <a:gd name="connsiteX69" fmla="*/ 263808 w 494979"/>
                <a:gd name="connsiteY69" fmla="*/ 630961 h 674476"/>
                <a:gd name="connsiteX70" fmla="*/ 291005 w 494979"/>
                <a:gd name="connsiteY70" fmla="*/ 628241 h 674476"/>
                <a:gd name="connsiteX71" fmla="*/ 288285 w 494979"/>
                <a:gd name="connsiteY71" fmla="*/ 609204 h 674476"/>
                <a:gd name="connsiteX72" fmla="*/ 285565 w 494979"/>
                <a:gd name="connsiteY72" fmla="*/ 582007 h 674476"/>
                <a:gd name="connsiteX73" fmla="*/ 282846 w 494979"/>
                <a:gd name="connsiteY73" fmla="*/ 568409 h 674476"/>
                <a:gd name="connsiteX74" fmla="*/ 285565 w 494979"/>
                <a:gd name="connsiteY74" fmla="*/ 554811 h 674476"/>
                <a:gd name="connsiteX75" fmla="*/ 280126 w 494979"/>
                <a:gd name="connsiteY75" fmla="*/ 538493 h 674476"/>
                <a:gd name="connsiteX76" fmla="*/ 274687 w 494979"/>
                <a:gd name="connsiteY76" fmla="*/ 505857 h 674476"/>
                <a:gd name="connsiteX77" fmla="*/ 271967 w 494979"/>
                <a:gd name="connsiteY77" fmla="*/ 478660 h 674476"/>
                <a:gd name="connsiteX78" fmla="*/ 269247 w 494979"/>
                <a:gd name="connsiteY78" fmla="*/ 446025 h 674476"/>
                <a:gd name="connsiteX79" fmla="*/ 263808 w 494979"/>
                <a:gd name="connsiteY79" fmla="*/ 437866 h 674476"/>
                <a:gd name="connsiteX80" fmla="*/ 252929 w 494979"/>
                <a:gd name="connsiteY80" fmla="*/ 437866 h 674476"/>
                <a:gd name="connsiteX81" fmla="*/ 223013 w 494979"/>
                <a:gd name="connsiteY81" fmla="*/ 440585 h 674476"/>
                <a:gd name="connsiteX82" fmla="*/ 193097 w 494979"/>
                <a:gd name="connsiteY82" fmla="*/ 443305 h 674476"/>
                <a:gd name="connsiteX83" fmla="*/ 168620 w 494979"/>
                <a:gd name="connsiteY83" fmla="*/ 443305 h 674476"/>
                <a:gd name="connsiteX84" fmla="*/ 146862 w 494979"/>
                <a:gd name="connsiteY84" fmla="*/ 440585 h 674476"/>
                <a:gd name="connsiteX85" fmla="*/ 138703 w 494979"/>
                <a:gd name="connsiteY85" fmla="*/ 454184 h 674476"/>
                <a:gd name="connsiteX86" fmla="*/ 133263 w 494979"/>
                <a:gd name="connsiteY86" fmla="*/ 486820 h 674476"/>
                <a:gd name="connsiteX87" fmla="*/ 122385 w 494979"/>
                <a:gd name="connsiteY87" fmla="*/ 541213 h 674476"/>
                <a:gd name="connsiteX88" fmla="*/ 106067 w 494979"/>
                <a:gd name="connsiteY88" fmla="*/ 614643 h 674476"/>
                <a:gd name="connsiteX89" fmla="*/ 135983 w 494979"/>
                <a:gd name="connsiteY89" fmla="*/ 614643 h 674476"/>
                <a:gd name="connsiteX90" fmla="*/ 171340 w 494979"/>
                <a:gd name="connsiteY90" fmla="*/ 630961 h 674476"/>
                <a:gd name="connsiteX91" fmla="*/ 165900 w 494979"/>
                <a:gd name="connsiteY91" fmla="*/ 647279 h 674476"/>
                <a:gd name="connsiteX92" fmla="*/ 149581 w 494979"/>
                <a:gd name="connsiteY92" fmla="*/ 655438 h 674476"/>
                <a:gd name="connsiteX93" fmla="*/ 127824 w 494979"/>
                <a:gd name="connsiteY93" fmla="*/ 658158 h 674476"/>
                <a:gd name="connsiteX94" fmla="*/ 106067 w 494979"/>
                <a:gd name="connsiteY94" fmla="*/ 658158 h 674476"/>
                <a:gd name="connsiteX95" fmla="*/ 62552 w 494979"/>
                <a:gd name="connsiteY95" fmla="*/ 658158 h 674476"/>
                <a:gd name="connsiteX96" fmla="*/ 40795 w 494979"/>
                <a:gd name="connsiteY96" fmla="*/ 658158 h 674476"/>
                <a:gd name="connsiteX97" fmla="*/ 16318 w 494979"/>
                <a:gd name="connsiteY97" fmla="*/ 652718 h 674476"/>
                <a:gd name="connsiteX98" fmla="*/ 0 w 494979"/>
                <a:gd name="connsiteY98" fmla="*/ 636401 h 674476"/>
                <a:gd name="connsiteX99" fmla="*/ 2720 w 494979"/>
                <a:gd name="connsiteY99" fmla="*/ 628241 h 674476"/>
                <a:gd name="connsiteX100" fmla="*/ 24477 w 494979"/>
                <a:gd name="connsiteY100" fmla="*/ 620082 h 674476"/>
                <a:gd name="connsiteX101" fmla="*/ 62552 w 494979"/>
                <a:gd name="connsiteY101" fmla="*/ 617363 h 674476"/>
                <a:gd name="connsiteX102" fmla="*/ 62552 w 494979"/>
                <a:gd name="connsiteY102" fmla="*/ 614643 h 674476"/>
                <a:gd name="connsiteX103" fmla="*/ 65272 w 494979"/>
                <a:gd name="connsiteY103" fmla="*/ 587447 h 674476"/>
                <a:gd name="connsiteX104" fmla="*/ 76151 w 494979"/>
                <a:gd name="connsiteY104" fmla="*/ 522175 h 674476"/>
                <a:gd name="connsiteX105" fmla="*/ 87029 w 494979"/>
                <a:gd name="connsiteY105" fmla="*/ 470501 h 674476"/>
                <a:gd name="connsiteX106" fmla="*/ 92469 w 494979"/>
                <a:gd name="connsiteY106" fmla="*/ 446025 h 674476"/>
                <a:gd name="connsiteX107" fmla="*/ 65272 w 494979"/>
                <a:gd name="connsiteY107" fmla="*/ 432426 h 674476"/>
                <a:gd name="connsiteX108" fmla="*/ 54393 w 494979"/>
                <a:gd name="connsiteY108" fmla="*/ 421548 h 674476"/>
                <a:gd name="connsiteX109" fmla="*/ 73431 w 494979"/>
                <a:gd name="connsiteY109" fmla="*/ 407949 h 674476"/>
                <a:gd name="connsiteX110" fmla="*/ 100628 w 494979"/>
                <a:gd name="connsiteY110" fmla="*/ 399790 h 674476"/>
                <a:gd name="connsiteX111" fmla="*/ 108787 w 494979"/>
                <a:gd name="connsiteY111" fmla="*/ 369874 h 674476"/>
                <a:gd name="connsiteX112" fmla="*/ 125105 w 494979"/>
                <a:gd name="connsiteY112" fmla="*/ 307322 h 674476"/>
                <a:gd name="connsiteX113" fmla="*/ 141423 w 494979"/>
                <a:gd name="connsiteY113" fmla="*/ 242051 h 674476"/>
                <a:gd name="connsiteX114" fmla="*/ 155021 w 494979"/>
                <a:gd name="connsiteY114" fmla="*/ 179498 h 674476"/>
                <a:gd name="connsiteX115" fmla="*/ 168620 w 494979"/>
                <a:gd name="connsiteY115" fmla="*/ 119665 h 674476"/>
                <a:gd name="connsiteX116" fmla="*/ 193097 w 494979"/>
                <a:gd name="connsiteY116" fmla="*/ 57113 h 674476"/>
                <a:gd name="connsiteX117" fmla="*/ 201256 w 494979"/>
                <a:gd name="connsiteY117" fmla="*/ 38075 h 674476"/>
                <a:gd name="connsiteX118" fmla="*/ 217574 w 494979"/>
                <a:gd name="connsiteY118" fmla="*/ 13598 h 674476"/>
                <a:gd name="connsiteX119" fmla="*/ 274687 w 494979"/>
                <a:gd name="connsiteY119" fmla="*/ 0 h 6744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</a:cxnLst>
              <a:rect l="l" t="t" r="r" b="b"/>
              <a:pathLst>
                <a:path w="494979" h="674476">
                  <a:moveTo>
                    <a:pt x="228453" y="97907"/>
                  </a:moveTo>
                  <a:cubicBezTo>
                    <a:pt x="220294" y="97907"/>
                    <a:pt x="212135" y="114225"/>
                    <a:pt x="212135" y="119665"/>
                  </a:cubicBezTo>
                  <a:cubicBezTo>
                    <a:pt x="209415" y="130543"/>
                    <a:pt x="206696" y="144141"/>
                    <a:pt x="203976" y="152300"/>
                  </a:cubicBezTo>
                  <a:cubicBezTo>
                    <a:pt x="201256" y="157740"/>
                    <a:pt x="201256" y="163179"/>
                    <a:pt x="201256" y="168618"/>
                  </a:cubicBezTo>
                  <a:cubicBezTo>
                    <a:pt x="201256" y="174058"/>
                    <a:pt x="198537" y="179497"/>
                    <a:pt x="198537" y="184936"/>
                  </a:cubicBezTo>
                  <a:cubicBezTo>
                    <a:pt x="195817" y="195815"/>
                    <a:pt x="193097" y="209413"/>
                    <a:pt x="190378" y="220292"/>
                  </a:cubicBezTo>
                  <a:cubicBezTo>
                    <a:pt x="187658" y="244769"/>
                    <a:pt x="179499" y="269246"/>
                    <a:pt x="171340" y="291003"/>
                  </a:cubicBezTo>
                  <a:cubicBezTo>
                    <a:pt x="168620" y="301881"/>
                    <a:pt x="165900" y="312760"/>
                    <a:pt x="163180" y="323639"/>
                  </a:cubicBezTo>
                  <a:cubicBezTo>
                    <a:pt x="160461" y="337237"/>
                    <a:pt x="157741" y="348115"/>
                    <a:pt x="152302" y="361714"/>
                  </a:cubicBezTo>
                  <a:cubicBezTo>
                    <a:pt x="149582" y="367153"/>
                    <a:pt x="146862" y="383471"/>
                    <a:pt x="146862" y="388910"/>
                  </a:cubicBezTo>
                  <a:cubicBezTo>
                    <a:pt x="146862" y="391630"/>
                    <a:pt x="149582" y="391630"/>
                    <a:pt x="152302" y="391630"/>
                  </a:cubicBezTo>
                  <a:cubicBezTo>
                    <a:pt x="157741" y="391630"/>
                    <a:pt x="171340" y="391630"/>
                    <a:pt x="174060" y="391630"/>
                  </a:cubicBezTo>
                  <a:cubicBezTo>
                    <a:pt x="182219" y="391630"/>
                    <a:pt x="190378" y="391630"/>
                    <a:pt x="195817" y="388910"/>
                  </a:cubicBezTo>
                  <a:cubicBezTo>
                    <a:pt x="201256" y="388910"/>
                    <a:pt x="206696" y="388910"/>
                    <a:pt x="214855" y="388910"/>
                  </a:cubicBezTo>
                  <a:cubicBezTo>
                    <a:pt x="220294" y="388910"/>
                    <a:pt x="228453" y="388910"/>
                    <a:pt x="239332" y="388910"/>
                  </a:cubicBezTo>
                  <a:cubicBezTo>
                    <a:pt x="244771" y="388910"/>
                    <a:pt x="250210" y="388910"/>
                    <a:pt x="252930" y="386191"/>
                  </a:cubicBezTo>
                  <a:cubicBezTo>
                    <a:pt x="258369" y="391630"/>
                    <a:pt x="261089" y="388910"/>
                    <a:pt x="261089" y="386191"/>
                  </a:cubicBezTo>
                  <a:cubicBezTo>
                    <a:pt x="261089" y="380751"/>
                    <a:pt x="258369" y="372592"/>
                    <a:pt x="258369" y="367153"/>
                  </a:cubicBezTo>
                  <a:cubicBezTo>
                    <a:pt x="255650" y="353555"/>
                    <a:pt x="252930" y="342676"/>
                    <a:pt x="252930" y="331797"/>
                  </a:cubicBezTo>
                  <a:cubicBezTo>
                    <a:pt x="252930" y="301881"/>
                    <a:pt x="252930" y="274685"/>
                    <a:pt x="250210" y="244769"/>
                  </a:cubicBezTo>
                  <a:cubicBezTo>
                    <a:pt x="250210" y="231170"/>
                    <a:pt x="247491" y="217572"/>
                    <a:pt x="244771" y="203974"/>
                  </a:cubicBezTo>
                  <a:cubicBezTo>
                    <a:pt x="242051" y="187656"/>
                    <a:pt x="239332" y="174058"/>
                    <a:pt x="239332" y="157740"/>
                  </a:cubicBezTo>
                  <a:cubicBezTo>
                    <a:pt x="239332" y="152300"/>
                    <a:pt x="239332" y="133263"/>
                    <a:pt x="236612" y="119665"/>
                  </a:cubicBezTo>
                  <a:cubicBezTo>
                    <a:pt x="236612" y="106066"/>
                    <a:pt x="233892" y="97907"/>
                    <a:pt x="228453" y="97907"/>
                  </a:cubicBezTo>
                  <a:close/>
                  <a:moveTo>
                    <a:pt x="274687" y="0"/>
                  </a:moveTo>
                  <a:cubicBezTo>
                    <a:pt x="288285" y="0"/>
                    <a:pt x="293724" y="2720"/>
                    <a:pt x="304603" y="5439"/>
                  </a:cubicBezTo>
                  <a:cubicBezTo>
                    <a:pt x="315482" y="10879"/>
                    <a:pt x="315482" y="16318"/>
                    <a:pt x="320921" y="24477"/>
                  </a:cubicBezTo>
                  <a:cubicBezTo>
                    <a:pt x="326360" y="29916"/>
                    <a:pt x="331800" y="35356"/>
                    <a:pt x="334519" y="43515"/>
                  </a:cubicBezTo>
                  <a:cubicBezTo>
                    <a:pt x="337239" y="51674"/>
                    <a:pt x="337239" y="57113"/>
                    <a:pt x="339959" y="65272"/>
                  </a:cubicBezTo>
                  <a:cubicBezTo>
                    <a:pt x="345398" y="78870"/>
                    <a:pt x="342678" y="97908"/>
                    <a:pt x="348118" y="114226"/>
                  </a:cubicBezTo>
                  <a:cubicBezTo>
                    <a:pt x="350837" y="130544"/>
                    <a:pt x="358996" y="146863"/>
                    <a:pt x="361716" y="163180"/>
                  </a:cubicBezTo>
                  <a:cubicBezTo>
                    <a:pt x="364435" y="182218"/>
                    <a:pt x="364435" y="201256"/>
                    <a:pt x="369875" y="220293"/>
                  </a:cubicBezTo>
                  <a:cubicBezTo>
                    <a:pt x="375314" y="239331"/>
                    <a:pt x="378034" y="255649"/>
                    <a:pt x="378034" y="274686"/>
                  </a:cubicBezTo>
                  <a:cubicBezTo>
                    <a:pt x="378034" y="282845"/>
                    <a:pt x="380753" y="293724"/>
                    <a:pt x="383473" y="301883"/>
                  </a:cubicBezTo>
                  <a:cubicBezTo>
                    <a:pt x="386193" y="312762"/>
                    <a:pt x="388912" y="326360"/>
                    <a:pt x="391632" y="337238"/>
                  </a:cubicBezTo>
                  <a:cubicBezTo>
                    <a:pt x="391632" y="342678"/>
                    <a:pt x="394352" y="353556"/>
                    <a:pt x="397071" y="364435"/>
                  </a:cubicBezTo>
                  <a:cubicBezTo>
                    <a:pt x="399791" y="372594"/>
                    <a:pt x="402511" y="380753"/>
                    <a:pt x="405230" y="383473"/>
                  </a:cubicBezTo>
                  <a:cubicBezTo>
                    <a:pt x="407950" y="386192"/>
                    <a:pt x="413389" y="386192"/>
                    <a:pt x="416109" y="386192"/>
                  </a:cubicBezTo>
                  <a:cubicBezTo>
                    <a:pt x="418829" y="386192"/>
                    <a:pt x="424268" y="386192"/>
                    <a:pt x="426988" y="386192"/>
                  </a:cubicBezTo>
                  <a:cubicBezTo>
                    <a:pt x="437866" y="386192"/>
                    <a:pt x="448745" y="388912"/>
                    <a:pt x="454184" y="397071"/>
                  </a:cubicBezTo>
                  <a:cubicBezTo>
                    <a:pt x="456904" y="399790"/>
                    <a:pt x="456904" y="402510"/>
                    <a:pt x="456904" y="405230"/>
                  </a:cubicBezTo>
                  <a:cubicBezTo>
                    <a:pt x="456904" y="407949"/>
                    <a:pt x="454184" y="410669"/>
                    <a:pt x="451465" y="416108"/>
                  </a:cubicBezTo>
                  <a:cubicBezTo>
                    <a:pt x="446025" y="421548"/>
                    <a:pt x="440586" y="426987"/>
                    <a:pt x="432427" y="429707"/>
                  </a:cubicBezTo>
                  <a:cubicBezTo>
                    <a:pt x="429707" y="429707"/>
                    <a:pt x="426988" y="432426"/>
                    <a:pt x="421548" y="432426"/>
                  </a:cubicBezTo>
                  <a:cubicBezTo>
                    <a:pt x="418829" y="432426"/>
                    <a:pt x="416109" y="432426"/>
                    <a:pt x="413389" y="435146"/>
                  </a:cubicBezTo>
                  <a:cubicBezTo>
                    <a:pt x="413389" y="435146"/>
                    <a:pt x="413389" y="437866"/>
                    <a:pt x="413389" y="440585"/>
                  </a:cubicBezTo>
                  <a:cubicBezTo>
                    <a:pt x="413389" y="443305"/>
                    <a:pt x="413389" y="448744"/>
                    <a:pt x="416109" y="451464"/>
                  </a:cubicBezTo>
                  <a:cubicBezTo>
                    <a:pt x="416109" y="456903"/>
                    <a:pt x="418829" y="462343"/>
                    <a:pt x="418829" y="465062"/>
                  </a:cubicBezTo>
                  <a:lnTo>
                    <a:pt x="418829" y="475941"/>
                  </a:lnTo>
                  <a:cubicBezTo>
                    <a:pt x="418829" y="481380"/>
                    <a:pt x="418829" y="484100"/>
                    <a:pt x="418829" y="486820"/>
                  </a:cubicBezTo>
                  <a:cubicBezTo>
                    <a:pt x="421548" y="497698"/>
                    <a:pt x="424268" y="505857"/>
                    <a:pt x="426988" y="516736"/>
                  </a:cubicBezTo>
                  <a:cubicBezTo>
                    <a:pt x="426988" y="524895"/>
                    <a:pt x="429707" y="535773"/>
                    <a:pt x="432427" y="543932"/>
                  </a:cubicBezTo>
                  <a:cubicBezTo>
                    <a:pt x="435147" y="554811"/>
                    <a:pt x="437866" y="562970"/>
                    <a:pt x="437866" y="573848"/>
                  </a:cubicBezTo>
                  <a:cubicBezTo>
                    <a:pt x="437866" y="587447"/>
                    <a:pt x="440586" y="595606"/>
                    <a:pt x="443306" y="606484"/>
                  </a:cubicBezTo>
                  <a:cubicBezTo>
                    <a:pt x="443306" y="609204"/>
                    <a:pt x="446025" y="614643"/>
                    <a:pt x="446025" y="617363"/>
                  </a:cubicBezTo>
                  <a:cubicBezTo>
                    <a:pt x="454184" y="617363"/>
                    <a:pt x="462343" y="617363"/>
                    <a:pt x="470502" y="617363"/>
                  </a:cubicBezTo>
                  <a:cubicBezTo>
                    <a:pt x="478661" y="625522"/>
                    <a:pt x="492259" y="630961"/>
                    <a:pt x="494979" y="641840"/>
                  </a:cubicBezTo>
                  <a:cubicBezTo>
                    <a:pt x="494979" y="647279"/>
                    <a:pt x="489540" y="649999"/>
                    <a:pt x="486820" y="655438"/>
                  </a:cubicBezTo>
                  <a:cubicBezTo>
                    <a:pt x="484100" y="660877"/>
                    <a:pt x="475942" y="663597"/>
                    <a:pt x="470502" y="663597"/>
                  </a:cubicBezTo>
                  <a:cubicBezTo>
                    <a:pt x="459623" y="666317"/>
                    <a:pt x="454184" y="666317"/>
                    <a:pt x="446025" y="666317"/>
                  </a:cubicBezTo>
                  <a:cubicBezTo>
                    <a:pt x="440586" y="666317"/>
                    <a:pt x="432427" y="666317"/>
                    <a:pt x="424268" y="666317"/>
                  </a:cubicBezTo>
                  <a:cubicBezTo>
                    <a:pt x="421548" y="666317"/>
                    <a:pt x="418829" y="666317"/>
                    <a:pt x="416109" y="666317"/>
                  </a:cubicBezTo>
                  <a:cubicBezTo>
                    <a:pt x="410670" y="669036"/>
                    <a:pt x="407950" y="669036"/>
                    <a:pt x="402511" y="671756"/>
                  </a:cubicBezTo>
                  <a:cubicBezTo>
                    <a:pt x="397071" y="671756"/>
                    <a:pt x="391632" y="674476"/>
                    <a:pt x="386193" y="674476"/>
                  </a:cubicBezTo>
                  <a:cubicBezTo>
                    <a:pt x="375314" y="674476"/>
                    <a:pt x="361716" y="671756"/>
                    <a:pt x="350837" y="669036"/>
                  </a:cubicBezTo>
                  <a:cubicBezTo>
                    <a:pt x="342678" y="669036"/>
                    <a:pt x="334519" y="669036"/>
                    <a:pt x="329080" y="669036"/>
                  </a:cubicBezTo>
                  <a:cubicBezTo>
                    <a:pt x="307323" y="669036"/>
                    <a:pt x="288285" y="669036"/>
                    <a:pt x="280126" y="669036"/>
                  </a:cubicBezTo>
                  <a:cubicBezTo>
                    <a:pt x="271967" y="669036"/>
                    <a:pt x="261088" y="669036"/>
                    <a:pt x="255649" y="663597"/>
                  </a:cubicBezTo>
                  <a:cubicBezTo>
                    <a:pt x="250210" y="660877"/>
                    <a:pt x="239331" y="655438"/>
                    <a:pt x="239331" y="647279"/>
                  </a:cubicBezTo>
                  <a:cubicBezTo>
                    <a:pt x="239331" y="636401"/>
                    <a:pt x="255649" y="633681"/>
                    <a:pt x="263808" y="630961"/>
                  </a:cubicBezTo>
                  <a:cubicBezTo>
                    <a:pt x="269247" y="630961"/>
                    <a:pt x="277406" y="630961"/>
                    <a:pt x="291005" y="628241"/>
                  </a:cubicBezTo>
                  <a:cubicBezTo>
                    <a:pt x="291005" y="620082"/>
                    <a:pt x="291005" y="614643"/>
                    <a:pt x="288285" y="609204"/>
                  </a:cubicBezTo>
                  <a:cubicBezTo>
                    <a:pt x="288285" y="601045"/>
                    <a:pt x="285565" y="590166"/>
                    <a:pt x="285565" y="582007"/>
                  </a:cubicBezTo>
                  <a:cubicBezTo>
                    <a:pt x="285565" y="576568"/>
                    <a:pt x="282846" y="573848"/>
                    <a:pt x="282846" y="568409"/>
                  </a:cubicBezTo>
                  <a:cubicBezTo>
                    <a:pt x="282846" y="562970"/>
                    <a:pt x="285565" y="557531"/>
                    <a:pt x="285565" y="554811"/>
                  </a:cubicBezTo>
                  <a:cubicBezTo>
                    <a:pt x="285565" y="549371"/>
                    <a:pt x="282846" y="546652"/>
                    <a:pt x="280126" y="538493"/>
                  </a:cubicBezTo>
                  <a:cubicBezTo>
                    <a:pt x="280126" y="527614"/>
                    <a:pt x="274687" y="516736"/>
                    <a:pt x="274687" y="505857"/>
                  </a:cubicBezTo>
                  <a:cubicBezTo>
                    <a:pt x="274687" y="494978"/>
                    <a:pt x="274687" y="486820"/>
                    <a:pt x="271967" y="478660"/>
                  </a:cubicBezTo>
                  <a:cubicBezTo>
                    <a:pt x="269247" y="467782"/>
                    <a:pt x="269247" y="456903"/>
                    <a:pt x="269247" y="446025"/>
                  </a:cubicBezTo>
                  <a:cubicBezTo>
                    <a:pt x="269247" y="440585"/>
                    <a:pt x="266528" y="437866"/>
                    <a:pt x="263808" y="437866"/>
                  </a:cubicBezTo>
                  <a:cubicBezTo>
                    <a:pt x="261088" y="437866"/>
                    <a:pt x="258369" y="437866"/>
                    <a:pt x="252929" y="437866"/>
                  </a:cubicBezTo>
                  <a:cubicBezTo>
                    <a:pt x="242051" y="437866"/>
                    <a:pt x="231172" y="437866"/>
                    <a:pt x="223013" y="440585"/>
                  </a:cubicBezTo>
                  <a:cubicBezTo>
                    <a:pt x="212135" y="440585"/>
                    <a:pt x="203976" y="443305"/>
                    <a:pt x="193097" y="443305"/>
                  </a:cubicBezTo>
                  <a:cubicBezTo>
                    <a:pt x="184938" y="443305"/>
                    <a:pt x="176779" y="443305"/>
                    <a:pt x="168620" y="443305"/>
                  </a:cubicBezTo>
                  <a:cubicBezTo>
                    <a:pt x="165900" y="443305"/>
                    <a:pt x="155021" y="440585"/>
                    <a:pt x="146862" y="440585"/>
                  </a:cubicBezTo>
                  <a:cubicBezTo>
                    <a:pt x="138703" y="440585"/>
                    <a:pt x="138703" y="448744"/>
                    <a:pt x="138703" y="454184"/>
                  </a:cubicBezTo>
                  <a:cubicBezTo>
                    <a:pt x="138703" y="465062"/>
                    <a:pt x="135983" y="475941"/>
                    <a:pt x="133263" y="486820"/>
                  </a:cubicBezTo>
                  <a:cubicBezTo>
                    <a:pt x="130544" y="505857"/>
                    <a:pt x="125105" y="522175"/>
                    <a:pt x="122385" y="541213"/>
                  </a:cubicBezTo>
                  <a:cubicBezTo>
                    <a:pt x="119665" y="560250"/>
                    <a:pt x="111506" y="595606"/>
                    <a:pt x="106067" y="614643"/>
                  </a:cubicBezTo>
                  <a:cubicBezTo>
                    <a:pt x="114226" y="614643"/>
                    <a:pt x="125105" y="614643"/>
                    <a:pt x="135983" y="614643"/>
                  </a:cubicBezTo>
                  <a:cubicBezTo>
                    <a:pt x="149581" y="614643"/>
                    <a:pt x="171340" y="614643"/>
                    <a:pt x="171340" y="630961"/>
                  </a:cubicBezTo>
                  <a:cubicBezTo>
                    <a:pt x="171340" y="639120"/>
                    <a:pt x="168620" y="639120"/>
                    <a:pt x="165900" y="647279"/>
                  </a:cubicBezTo>
                  <a:cubicBezTo>
                    <a:pt x="163181" y="652718"/>
                    <a:pt x="155021" y="655438"/>
                    <a:pt x="149581" y="655438"/>
                  </a:cubicBezTo>
                  <a:cubicBezTo>
                    <a:pt x="141423" y="658158"/>
                    <a:pt x="135983" y="658158"/>
                    <a:pt x="127824" y="658158"/>
                  </a:cubicBezTo>
                  <a:cubicBezTo>
                    <a:pt x="122385" y="658158"/>
                    <a:pt x="116946" y="658158"/>
                    <a:pt x="106067" y="658158"/>
                  </a:cubicBezTo>
                  <a:cubicBezTo>
                    <a:pt x="92469" y="658158"/>
                    <a:pt x="78870" y="658158"/>
                    <a:pt x="62552" y="658158"/>
                  </a:cubicBezTo>
                  <a:cubicBezTo>
                    <a:pt x="54393" y="658158"/>
                    <a:pt x="46234" y="658158"/>
                    <a:pt x="40795" y="658158"/>
                  </a:cubicBezTo>
                  <a:cubicBezTo>
                    <a:pt x="32636" y="658158"/>
                    <a:pt x="21758" y="658158"/>
                    <a:pt x="16318" y="652718"/>
                  </a:cubicBezTo>
                  <a:cubicBezTo>
                    <a:pt x="8159" y="649999"/>
                    <a:pt x="0" y="641840"/>
                    <a:pt x="0" y="636401"/>
                  </a:cubicBezTo>
                  <a:cubicBezTo>
                    <a:pt x="0" y="633681"/>
                    <a:pt x="0" y="630961"/>
                    <a:pt x="2720" y="628241"/>
                  </a:cubicBezTo>
                  <a:cubicBezTo>
                    <a:pt x="8159" y="625522"/>
                    <a:pt x="16318" y="622802"/>
                    <a:pt x="24477" y="620082"/>
                  </a:cubicBezTo>
                  <a:cubicBezTo>
                    <a:pt x="38075" y="617363"/>
                    <a:pt x="48954" y="617363"/>
                    <a:pt x="62552" y="617363"/>
                  </a:cubicBezTo>
                  <a:cubicBezTo>
                    <a:pt x="62552" y="617363"/>
                    <a:pt x="62552" y="614643"/>
                    <a:pt x="62552" y="614643"/>
                  </a:cubicBezTo>
                  <a:cubicBezTo>
                    <a:pt x="62552" y="603765"/>
                    <a:pt x="65272" y="590166"/>
                    <a:pt x="65272" y="587447"/>
                  </a:cubicBezTo>
                  <a:cubicBezTo>
                    <a:pt x="67992" y="565689"/>
                    <a:pt x="73431" y="543932"/>
                    <a:pt x="76151" y="522175"/>
                  </a:cubicBezTo>
                  <a:cubicBezTo>
                    <a:pt x="78870" y="505857"/>
                    <a:pt x="81590" y="486820"/>
                    <a:pt x="87029" y="470501"/>
                  </a:cubicBezTo>
                  <a:cubicBezTo>
                    <a:pt x="87029" y="465062"/>
                    <a:pt x="92469" y="451464"/>
                    <a:pt x="92469" y="446025"/>
                  </a:cubicBezTo>
                  <a:cubicBezTo>
                    <a:pt x="92469" y="437866"/>
                    <a:pt x="73431" y="437866"/>
                    <a:pt x="65272" y="432426"/>
                  </a:cubicBezTo>
                  <a:cubicBezTo>
                    <a:pt x="59833" y="429707"/>
                    <a:pt x="54393" y="426987"/>
                    <a:pt x="54393" y="421548"/>
                  </a:cubicBezTo>
                  <a:cubicBezTo>
                    <a:pt x="54393" y="413389"/>
                    <a:pt x="62552" y="410669"/>
                    <a:pt x="73431" y="407949"/>
                  </a:cubicBezTo>
                  <a:cubicBezTo>
                    <a:pt x="78870" y="407949"/>
                    <a:pt x="92469" y="405230"/>
                    <a:pt x="100628" y="399790"/>
                  </a:cubicBezTo>
                  <a:cubicBezTo>
                    <a:pt x="106067" y="394351"/>
                    <a:pt x="106067" y="378033"/>
                    <a:pt x="108787" y="369874"/>
                  </a:cubicBezTo>
                  <a:cubicBezTo>
                    <a:pt x="114226" y="348117"/>
                    <a:pt x="119665" y="326360"/>
                    <a:pt x="125105" y="307322"/>
                  </a:cubicBezTo>
                  <a:cubicBezTo>
                    <a:pt x="130544" y="285565"/>
                    <a:pt x="135983" y="263808"/>
                    <a:pt x="141423" y="242051"/>
                  </a:cubicBezTo>
                  <a:cubicBezTo>
                    <a:pt x="146862" y="220293"/>
                    <a:pt x="152301" y="198536"/>
                    <a:pt x="155021" y="179498"/>
                  </a:cubicBezTo>
                  <a:cubicBezTo>
                    <a:pt x="157740" y="160461"/>
                    <a:pt x="163181" y="138703"/>
                    <a:pt x="168620" y="119665"/>
                  </a:cubicBezTo>
                  <a:cubicBezTo>
                    <a:pt x="176779" y="100627"/>
                    <a:pt x="182218" y="76150"/>
                    <a:pt x="193097" y="57113"/>
                  </a:cubicBezTo>
                  <a:lnTo>
                    <a:pt x="201256" y="38075"/>
                  </a:lnTo>
                  <a:cubicBezTo>
                    <a:pt x="206695" y="29916"/>
                    <a:pt x="209415" y="19038"/>
                    <a:pt x="217574" y="13598"/>
                  </a:cubicBezTo>
                  <a:cubicBezTo>
                    <a:pt x="231172" y="2720"/>
                    <a:pt x="255649" y="0"/>
                    <a:pt x="274687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/>
            </a:p>
          </p:txBody>
        </p:sp>
        <p:sp>
          <p:nvSpPr>
            <p:cNvPr id="40" name="Freeform: Shape 39">
              <a:extLst>
                <a:ext uri="{FF2B5EF4-FFF2-40B4-BE49-F238E27FC236}">
                  <a16:creationId xmlns:a16="http://schemas.microsoft.com/office/drawing/2014/main" id="{3A3220ED-525E-42D0-945D-DABC984A9613}"/>
                </a:ext>
              </a:extLst>
            </p:cNvPr>
            <p:cNvSpPr/>
            <p:nvPr/>
          </p:nvSpPr>
          <p:spPr>
            <a:xfrm>
              <a:off x="3443268" y="4186718"/>
              <a:ext cx="435145" cy="761503"/>
            </a:xfrm>
            <a:custGeom>
              <a:avLst/>
              <a:gdLst>
                <a:gd name="connsiteX0" fmla="*/ 400855 w 435145"/>
                <a:gd name="connsiteY0" fmla="*/ 678260 h 761503"/>
                <a:gd name="connsiteX1" fmla="*/ 384537 w 435145"/>
                <a:gd name="connsiteY1" fmla="*/ 719054 h 761503"/>
                <a:gd name="connsiteX2" fmla="*/ 368219 w 435145"/>
                <a:gd name="connsiteY2" fmla="*/ 713615 h 761503"/>
                <a:gd name="connsiteX3" fmla="*/ 360060 w 435145"/>
                <a:gd name="connsiteY3" fmla="*/ 697297 h 761503"/>
                <a:gd name="connsiteX4" fmla="*/ 360060 w 435145"/>
                <a:gd name="connsiteY4" fmla="*/ 651063 h 761503"/>
                <a:gd name="connsiteX5" fmla="*/ 332864 w 435145"/>
                <a:gd name="connsiteY5" fmla="*/ 686418 h 761503"/>
                <a:gd name="connsiteX6" fmla="*/ 251274 w 435145"/>
                <a:gd name="connsiteY6" fmla="*/ 721774 h 761503"/>
                <a:gd name="connsiteX7" fmla="*/ 229517 w 435145"/>
                <a:gd name="connsiteY7" fmla="*/ 719054 h 761503"/>
                <a:gd name="connsiteX8" fmla="*/ 158806 w 435145"/>
                <a:gd name="connsiteY8" fmla="*/ 694578 h 761503"/>
                <a:gd name="connsiteX9" fmla="*/ 112571 w 435145"/>
                <a:gd name="connsiteY9" fmla="*/ 659222 h 761503"/>
                <a:gd name="connsiteX10" fmla="*/ 79936 w 435145"/>
                <a:gd name="connsiteY10" fmla="*/ 607548 h 761503"/>
                <a:gd name="connsiteX11" fmla="*/ 63618 w 435145"/>
                <a:gd name="connsiteY11" fmla="*/ 542277 h 761503"/>
                <a:gd name="connsiteX12" fmla="*/ 58178 w 435145"/>
                <a:gd name="connsiteY12" fmla="*/ 471566 h 761503"/>
                <a:gd name="connsiteX13" fmla="*/ 60898 w 435145"/>
                <a:gd name="connsiteY13" fmla="*/ 400855 h 761503"/>
                <a:gd name="connsiteX14" fmla="*/ 66337 w 435145"/>
                <a:gd name="connsiteY14" fmla="*/ 335583 h 761503"/>
                <a:gd name="connsiteX15" fmla="*/ 85375 w 435145"/>
                <a:gd name="connsiteY15" fmla="*/ 267592 h 761503"/>
                <a:gd name="connsiteX16" fmla="*/ 109852 w 435145"/>
                <a:gd name="connsiteY16" fmla="*/ 199600 h 761503"/>
                <a:gd name="connsiteX17" fmla="*/ 145207 w 435145"/>
                <a:gd name="connsiteY17" fmla="*/ 145207 h 761503"/>
                <a:gd name="connsiteX18" fmla="*/ 188722 w 435145"/>
                <a:gd name="connsiteY18" fmla="*/ 96253 h 761503"/>
                <a:gd name="connsiteX19" fmla="*/ 243115 w 435145"/>
                <a:gd name="connsiteY19" fmla="*/ 71776 h 761503"/>
                <a:gd name="connsiteX20" fmla="*/ 286630 w 435145"/>
                <a:gd name="connsiteY20" fmla="*/ 63617 h 761503"/>
                <a:gd name="connsiteX21" fmla="*/ 305667 w 435145"/>
                <a:gd name="connsiteY21" fmla="*/ 66337 h 761503"/>
                <a:gd name="connsiteX22" fmla="*/ 324705 w 435145"/>
                <a:gd name="connsiteY22" fmla="*/ 79936 h 761503"/>
                <a:gd name="connsiteX23" fmla="*/ 341023 w 435145"/>
                <a:gd name="connsiteY23" fmla="*/ 101693 h 761503"/>
                <a:gd name="connsiteX24" fmla="*/ 354621 w 435145"/>
                <a:gd name="connsiteY24" fmla="*/ 123450 h 761503"/>
                <a:gd name="connsiteX25" fmla="*/ 354621 w 435145"/>
                <a:gd name="connsiteY25" fmla="*/ 98973 h 761503"/>
                <a:gd name="connsiteX26" fmla="*/ 360060 w 435145"/>
                <a:gd name="connsiteY26" fmla="*/ 74496 h 761503"/>
                <a:gd name="connsiteX27" fmla="*/ 365500 w 435145"/>
                <a:gd name="connsiteY27" fmla="*/ 63617 h 761503"/>
                <a:gd name="connsiteX28" fmla="*/ 373659 w 435145"/>
                <a:gd name="connsiteY28" fmla="*/ 58178 h 761503"/>
                <a:gd name="connsiteX29" fmla="*/ 381818 w 435145"/>
                <a:gd name="connsiteY29" fmla="*/ 63617 h 761503"/>
                <a:gd name="connsiteX30" fmla="*/ 389977 w 435145"/>
                <a:gd name="connsiteY30" fmla="*/ 82655 h 761503"/>
                <a:gd name="connsiteX31" fmla="*/ 392696 w 435145"/>
                <a:gd name="connsiteY31" fmla="*/ 126170 h 761503"/>
                <a:gd name="connsiteX32" fmla="*/ 395416 w 435145"/>
                <a:gd name="connsiteY32" fmla="*/ 186002 h 761503"/>
                <a:gd name="connsiteX33" fmla="*/ 398136 w 435145"/>
                <a:gd name="connsiteY33" fmla="*/ 237675 h 761503"/>
                <a:gd name="connsiteX34" fmla="*/ 398136 w 435145"/>
                <a:gd name="connsiteY34" fmla="*/ 243115 h 761503"/>
                <a:gd name="connsiteX35" fmla="*/ 395416 w 435145"/>
                <a:gd name="connsiteY35" fmla="*/ 256713 h 761503"/>
                <a:gd name="connsiteX36" fmla="*/ 379098 w 435145"/>
                <a:gd name="connsiteY36" fmla="*/ 278470 h 761503"/>
                <a:gd name="connsiteX37" fmla="*/ 362780 w 435145"/>
                <a:gd name="connsiteY37" fmla="*/ 273031 h 761503"/>
                <a:gd name="connsiteX38" fmla="*/ 354621 w 435145"/>
                <a:gd name="connsiteY38" fmla="*/ 256713 h 761503"/>
                <a:gd name="connsiteX39" fmla="*/ 354621 w 435145"/>
                <a:gd name="connsiteY39" fmla="*/ 213198 h 761503"/>
                <a:gd name="connsiteX40" fmla="*/ 354621 w 435145"/>
                <a:gd name="connsiteY40" fmla="*/ 205040 h 761503"/>
                <a:gd name="connsiteX41" fmla="*/ 338303 w 435145"/>
                <a:gd name="connsiteY41" fmla="*/ 147927 h 761503"/>
                <a:gd name="connsiteX42" fmla="*/ 292069 w 435145"/>
                <a:gd name="connsiteY42" fmla="*/ 107132 h 761503"/>
                <a:gd name="connsiteX43" fmla="*/ 262153 w 435145"/>
                <a:gd name="connsiteY43" fmla="*/ 120730 h 761503"/>
                <a:gd name="connsiteX44" fmla="*/ 251274 w 435145"/>
                <a:gd name="connsiteY44" fmla="*/ 131609 h 761503"/>
                <a:gd name="connsiteX45" fmla="*/ 240395 w 435145"/>
                <a:gd name="connsiteY45" fmla="*/ 139768 h 761503"/>
                <a:gd name="connsiteX46" fmla="*/ 237676 w 435145"/>
                <a:gd name="connsiteY46" fmla="*/ 164245 h 761503"/>
                <a:gd name="connsiteX47" fmla="*/ 226797 w 435145"/>
                <a:gd name="connsiteY47" fmla="*/ 196881 h 761503"/>
                <a:gd name="connsiteX48" fmla="*/ 213199 w 435145"/>
                <a:gd name="connsiteY48" fmla="*/ 259433 h 761503"/>
                <a:gd name="connsiteX49" fmla="*/ 207759 w 435145"/>
                <a:gd name="connsiteY49" fmla="*/ 324704 h 761503"/>
                <a:gd name="connsiteX50" fmla="*/ 207759 w 435145"/>
                <a:gd name="connsiteY50" fmla="*/ 335583 h 761503"/>
                <a:gd name="connsiteX51" fmla="*/ 205040 w 435145"/>
                <a:gd name="connsiteY51" fmla="*/ 349181 h 761503"/>
                <a:gd name="connsiteX52" fmla="*/ 207759 w 435145"/>
                <a:gd name="connsiteY52" fmla="*/ 368219 h 761503"/>
                <a:gd name="connsiteX53" fmla="*/ 207759 w 435145"/>
                <a:gd name="connsiteY53" fmla="*/ 376378 h 761503"/>
                <a:gd name="connsiteX54" fmla="*/ 205040 w 435145"/>
                <a:gd name="connsiteY54" fmla="*/ 387256 h 761503"/>
                <a:gd name="connsiteX55" fmla="*/ 205040 w 435145"/>
                <a:gd name="connsiteY55" fmla="*/ 395415 h 761503"/>
                <a:gd name="connsiteX56" fmla="*/ 205040 w 435145"/>
                <a:gd name="connsiteY56" fmla="*/ 406294 h 761503"/>
                <a:gd name="connsiteX57" fmla="*/ 205040 w 435145"/>
                <a:gd name="connsiteY57" fmla="*/ 425332 h 761503"/>
                <a:gd name="connsiteX58" fmla="*/ 213199 w 435145"/>
                <a:gd name="connsiteY58" fmla="*/ 493323 h 761503"/>
                <a:gd name="connsiteX59" fmla="*/ 221358 w 435145"/>
                <a:gd name="connsiteY59" fmla="*/ 561314 h 761503"/>
                <a:gd name="connsiteX60" fmla="*/ 226797 w 435145"/>
                <a:gd name="connsiteY60" fmla="*/ 591231 h 761503"/>
                <a:gd name="connsiteX61" fmla="*/ 240395 w 435145"/>
                <a:gd name="connsiteY61" fmla="*/ 618427 h 761503"/>
                <a:gd name="connsiteX62" fmla="*/ 283910 w 435145"/>
                <a:gd name="connsiteY62" fmla="*/ 651063 h 761503"/>
                <a:gd name="connsiteX63" fmla="*/ 338303 w 435145"/>
                <a:gd name="connsiteY63" fmla="*/ 612988 h 761503"/>
                <a:gd name="connsiteX64" fmla="*/ 354621 w 435145"/>
                <a:gd name="connsiteY64" fmla="*/ 577632 h 761503"/>
                <a:gd name="connsiteX65" fmla="*/ 357341 w 435145"/>
                <a:gd name="connsiteY65" fmla="*/ 509641 h 761503"/>
                <a:gd name="connsiteX66" fmla="*/ 362780 w 435145"/>
                <a:gd name="connsiteY66" fmla="*/ 485164 h 761503"/>
                <a:gd name="connsiteX67" fmla="*/ 368219 w 435145"/>
                <a:gd name="connsiteY67" fmla="*/ 474286 h 761503"/>
                <a:gd name="connsiteX68" fmla="*/ 376378 w 435145"/>
                <a:gd name="connsiteY68" fmla="*/ 468846 h 761503"/>
                <a:gd name="connsiteX69" fmla="*/ 384537 w 435145"/>
                <a:gd name="connsiteY69" fmla="*/ 474286 h 761503"/>
                <a:gd name="connsiteX70" fmla="*/ 392696 w 435145"/>
                <a:gd name="connsiteY70" fmla="*/ 493323 h 761503"/>
                <a:gd name="connsiteX71" fmla="*/ 395416 w 435145"/>
                <a:gd name="connsiteY71" fmla="*/ 558595 h 761503"/>
                <a:gd name="connsiteX72" fmla="*/ 398136 w 435145"/>
                <a:gd name="connsiteY72" fmla="*/ 618427 h 761503"/>
                <a:gd name="connsiteX73" fmla="*/ 400855 w 435145"/>
                <a:gd name="connsiteY73" fmla="*/ 678260 h 761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</a:cxnLst>
              <a:rect l="l" t="t" r="r" b="b"/>
              <a:pathLst>
                <a:path w="435145" h="761503">
                  <a:moveTo>
                    <a:pt x="400855" y="678260"/>
                  </a:moveTo>
                  <a:cubicBezTo>
                    <a:pt x="400855" y="689138"/>
                    <a:pt x="400855" y="719054"/>
                    <a:pt x="384537" y="719054"/>
                  </a:cubicBezTo>
                  <a:cubicBezTo>
                    <a:pt x="376378" y="719054"/>
                    <a:pt x="373659" y="716335"/>
                    <a:pt x="368219" y="713615"/>
                  </a:cubicBezTo>
                  <a:cubicBezTo>
                    <a:pt x="362780" y="710895"/>
                    <a:pt x="360060" y="702736"/>
                    <a:pt x="360060" y="697297"/>
                  </a:cubicBezTo>
                  <a:cubicBezTo>
                    <a:pt x="357341" y="680979"/>
                    <a:pt x="357341" y="664661"/>
                    <a:pt x="360060" y="651063"/>
                  </a:cubicBezTo>
                  <a:cubicBezTo>
                    <a:pt x="354621" y="659222"/>
                    <a:pt x="341023" y="678260"/>
                    <a:pt x="332864" y="686418"/>
                  </a:cubicBezTo>
                  <a:cubicBezTo>
                    <a:pt x="311107" y="708176"/>
                    <a:pt x="283910" y="721774"/>
                    <a:pt x="251274" y="721774"/>
                  </a:cubicBezTo>
                  <a:cubicBezTo>
                    <a:pt x="243115" y="721774"/>
                    <a:pt x="237676" y="721774"/>
                    <a:pt x="229517" y="719054"/>
                  </a:cubicBezTo>
                  <a:cubicBezTo>
                    <a:pt x="207759" y="716335"/>
                    <a:pt x="183283" y="708176"/>
                    <a:pt x="158806" y="694578"/>
                  </a:cubicBezTo>
                  <a:cubicBezTo>
                    <a:pt x="142488" y="686418"/>
                    <a:pt x="126170" y="672820"/>
                    <a:pt x="112571" y="659222"/>
                  </a:cubicBezTo>
                  <a:cubicBezTo>
                    <a:pt x="98973" y="642904"/>
                    <a:pt x="88095" y="626586"/>
                    <a:pt x="79936" y="607548"/>
                  </a:cubicBezTo>
                  <a:cubicBezTo>
                    <a:pt x="71777" y="585791"/>
                    <a:pt x="66337" y="566754"/>
                    <a:pt x="63618" y="542277"/>
                  </a:cubicBezTo>
                  <a:cubicBezTo>
                    <a:pt x="60898" y="517800"/>
                    <a:pt x="58178" y="493323"/>
                    <a:pt x="58178" y="471566"/>
                  </a:cubicBezTo>
                  <a:cubicBezTo>
                    <a:pt x="58178" y="447089"/>
                    <a:pt x="58178" y="425332"/>
                    <a:pt x="60898" y="400855"/>
                  </a:cubicBezTo>
                  <a:cubicBezTo>
                    <a:pt x="63618" y="379098"/>
                    <a:pt x="60898" y="357340"/>
                    <a:pt x="66337" y="335583"/>
                  </a:cubicBezTo>
                  <a:cubicBezTo>
                    <a:pt x="69057" y="313826"/>
                    <a:pt x="77216" y="289349"/>
                    <a:pt x="85375" y="267592"/>
                  </a:cubicBezTo>
                  <a:cubicBezTo>
                    <a:pt x="93534" y="243115"/>
                    <a:pt x="98973" y="221357"/>
                    <a:pt x="109852" y="199600"/>
                  </a:cubicBezTo>
                  <a:cubicBezTo>
                    <a:pt x="118011" y="177843"/>
                    <a:pt x="131609" y="161525"/>
                    <a:pt x="145207" y="145207"/>
                  </a:cubicBezTo>
                  <a:cubicBezTo>
                    <a:pt x="158806" y="128889"/>
                    <a:pt x="172404" y="109852"/>
                    <a:pt x="188722" y="96253"/>
                  </a:cubicBezTo>
                  <a:cubicBezTo>
                    <a:pt x="205040" y="82655"/>
                    <a:pt x="224077" y="77216"/>
                    <a:pt x="243115" y="71776"/>
                  </a:cubicBezTo>
                  <a:cubicBezTo>
                    <a:pt x="256713" y="69057"/>
                    <a:pt x="273031" y="63617"/>
                    <a:pt x="286630" y="63617"/>
                  </a:cubicBezTo>
                  <a:cubicBezTo>
                    <a:pt x="292069" y="63617"/>
                    <a:pt x="297508" y="63617"/>
                    <a:pt x="305667" y="66337"/>
                  </a:cubicBezTo>
                  <a:cubicBezTo>
                    <a:pt x="313826" y="69057"/>
                    <a:pt x="319266" y="74496"/>
                    <a:pt x="324705" y="79936"/>
                  </a:cubicBezTo>
                  <a:cubicBezTo>
                    <a:pt x="332864" y="85375"/>
                    <a:pt x="332864" y="93534"/>
                    <a:pt x="341023" y="101693"/>
                  </a:cubicBezTo>
                  <a:cubicBezTo>
                    <a:pt x="346462" y="107132"/>
                    <a:pt x="349182" y="118011"/>
                    <a:pt x="354621" y="123450"/>
                  </a:cubicBezTo>
                  <a:cubicBezTo>
                    <a:pt x="354621" y="115291"/>
                    <a:pt x="354621" y="101693"/>
                    <a:pt x="354621" y="98973"/>
                  </a:cubicBezTo>
                  <a:cubicBezTo>
                    <a:pt x="354621" y="90814"/>
                    <a:pt x="354621" y="79936"/>
                    <a:pt x="360060" y="74496"/>
                  </a:cubicBezTo>
                  <a:cubicBezTo>
                    <a:pt x="362780" y="71776"/>
                    <a:pt x="362780" y="69057"/>
                    <a:pt x="365500" y="63617"/>
                  </a:cubicBezTo>
                  <a:cubicBezTo>
                    <a:pt x="368219" y="60898"/>
                    <a:pt x="370939" y="58178"/>
                    <a:pt x="373659" y="58178"/>
                  </a:cubicBezTo>
                  <a:cubicBezTo>
                    <a:pt x="376378" y="58178"/>
                    <a:pt x="379098" y="60898"/>
                    <a:pt x="381818" y="63617"/>
                  </a:cubicBezTo>
                  <a:cubicBezTo>
                    <a:pt x="384537" y="69057"/>
                    <a:pt x="387257" y="77216"/>
                    <a:pt x="389977" y="82655"/>
                  </a:cubicBezTo>
                  <a:cubicBezTo>
                    <a:pt x="389977" y="90814"/>
                    <a:pt x="392696" y="107132"/>
                    <a:pt x="392696" y="126170"/>
                  </a:cubicBezTo>
                  <a:cubicBezTo>
                    <a:pt x="392696" y="150647"/>
                    <a:pt x="392696" y="177843"/>
                    <a:pt x="395416" y="186002"/>
                  </a:cubicBezTo>
                  <a:cubicBezTo>
                    <a:pt x="398136" y="205040"/>
                    <a:pt x="398136" y="215918"/>
                    <a:pt x="398136" y="237675"/>
                  </a:cubicBezTo>
                  <a:cubicBezTo>
                    <a:pt x="398136" y="240395"/>
                    <a:pt x="398136" y="243115"/>
                    <a:pt x="398136" y="243115"/>
                  </a:cubicBezTo>
                  <a:cubicBezTo>
                    <a:pt x="398136" y="248554"/>
                    <a:pt x="398136" y="251274"/>
                    <a:pt x="395416" y="256713"/>
                  </a:cubicBezTo>
                  <a:cubicBezTo>
                    <a:pt x="392696" y="267592"/>
                    <a:pt x="389977" y="278470"/>
                    <a:pt x="379098" y="278470"/>
                  </a:cubicBezTo>
                  <a:cubicBezTo>
                    <a:pt x="370939" y="278470"/>
                    <a:pt x="368219" y="275751"/>
                    <a:pt x="362780" y="273031"/>
                  </a:cubicBezTo>
                  <a:cubicBezTo>
                    <a:pt x="357341" y="270311"/>
                    <a:pt x="354621" y="262152"/>
                    <a:pt x="354621" y="256713"/>
                  </a:cubicBezTo>
                  <a:cubicBezTo>
                    <a:pt x="349182" y="237675"/>
                    <a:pt x="354621" y="232236"/>
                    <a:pt x="354621" y="213198"/>
                  </a:cubicBezTo>
                  <a:cubicBezTo>
                    <a:pt x="354621" y="210479"/>
                    <a:pt x="354621" y="207759"/>
                    <a:pt x="354621" y="205040"/>
                  </a:cubicBezTo>
                  <a:cubicBezTo>
                    <a:pt x="349182" y="186002"/>
                    <a:pt x="343742" y="169684"/>
                    <a:pt x="338303" y="147927"/>
                  </a:cubicBezTo>
                  <a:cubicBezTo>
                    <a:pt x="332864" y="131609"/>
                    <a:pt x="311107" y="107132"/>
                    <a:pt x="292069" y="107132"/>
                  </a:cubicBezTo>
                  <a:cubicBezTo>
                    <a:pt x="281190" y="107132"/>
                    <a:pt x="270312" y="115291"/>
                    <a:pt x="262153" y="120730"/>
                  </a:cubicBezTo>
                  <a:cubicBezTo>
                    <a:pt x="259433" y="123450"/>
                    <a:pt x="256713" y="126170"/>
                    <a:pt x="251274" y="131609"/>
                  </a:cubicBezTo>
                  <a:cubicBezTo>
                    <a:pt x="248554" y="134329"/>
                    <a:pt x="243115" y="137048"/>
                    <a:pt x="240395" y="139768"/>
                  </a:cubicBezTo>
                  <a:cubicBezTo>
                    <a:pt x="237676" y="145207"/>
                    <a:pt x="240395" y="156086"/>
                    <a:pt x="237676" y="164245"/>
                  </a:cubicBezTo>
                  <a:cubicBezTo>
                    <a:pt x="232236" y="175123"/>
                    <a:pt x="229517" y="186002"/>
                    <a:pt x="226797" y="196881"/>
                  </a:cubicBezTo>
                  <a:cubicBezTo>
                    <a:pt x="221358" y="218638"/>
                    <a:pt x="218638" y="237675"/>
                    <a:pt x="213199" y="259433"/>
                  </a:cubicBezTo>
                  <a:cubicBezTo>
                    <a:pt x="210479" y="281190"/>
                    <a:pt x="207759" y="302947"/>
                    <a:pt x="207759" y="324704"/>
                  </a:cubicBezTo>
                  <a:cubicBezTo>
                    <a:pt x="207759" y="327424"/>
                    <a:pt x="207759" y="332863"/>
                    <a:pt x="207759" y="335583"/>
                  </a:cubicBezTo>
                  <a:cubicBezTo>
                    <a:pt x="207759" y="341022"/>
                    <a:pt x="205040" y="343742"/>
                    <a:pt x="205040" y="349181"/>
                  </a:cubicBezTo>
                  <a:cubicBezTo>
                    <a:pt x="205040" y="354621"/>
                    <a:pt x="207759" y="362779"/>
                    <a:pt x="207759" y="368219"/>
                  </a:cubicBezTo>
                  <a:cubicBezTo>
                    <a:pt x="207759" y="370939"/>
                    <a:pt x="207759" y="373658"/>
                    <a:pt x="207759" y="376378"/>
                  </a:cubicBezTo>
                  <a:cubicBezTo>
                    <a:pt x="205040" y="381817"/>
                    <a:pt x="205040" y="384537"/>
                    <a:pt x="205040" y="387256"/>
                  </a:cubicBezTo>
                  <a:cubicBezTo>
                    <a:pt x="205040" y="389976"/>
                    <a:pt x="205040" y="392696"/>
                    <a:pt x="205040" y="395415"/>
                  </a:cubicBezTo>
                  <a:cubicBezTo>
                    <a:pt x="205040" y="398135"/>
                    <a:pt x="205040" y="403574"/>
                    <a:pt x="205040" y="406294"/>
                  </a:cubicBezTo>
                  <a:cubicBezTo>
                    <a:pt x="205040" y="411733"/>
                    <a:pt x="205040" y="417173"/>
                    <a:pt x="205040" y="425332"/>
                  </a:cubicBezTo>
                  <a:cubicBezTo>
                    <a:pt x="205040" y="449809"/>
                    <a:pt x="213199" y="471566"/>
                    <a:pt x="213199" y="493323"/>
                  </a:cubicBezTo>
                  <a:cubicBezTo>
                    <a:pt x="213199" y="517800"/>
                    <a:pt x="215919" y="539557"/>
                    <a:pt x="221358" y="561314"/>
                  </a:cubicBezTo>
                  <a:cubicBezTo>
                    <a:pt x="224077" y="572193"/>
                    <a:pt x="224077" y="580352"/>
                    <a:pt x="226797" y="591231"/>
                  </a:cubicBezTo>
                  <a:cubicBezTo>
                    <a:pt x="229517" y="599390"/>
                    <a:pt x="237676" y="607548"/>
                    <a:pt x="240395" y="618427"/>
                  </a:cubicBezTo>
                  <a:cubicBezTo>
                    <a:pt x="248554" y="637465"/>
                    <a:pt x="262153" y="651063"/>
                    <a:pt x="283910" y="651063"/>
                  </a:cubicBezTo>
                  <a:cubicBezTo>
                    <a:pt x="302948" y="651063"/>
                    <a:pt x="330144" y="629306"/>
                    <a:pt x="338303" y="612988"/>
                  </a:cubicBezTo>
                  <a:cubicBezTo>
                    <a:pt x="346462" y="599390"/>
                    <a:pt x="351901" y="591231"/>
                    <a:pt x="354621" y="577632"/>
                  </a:cubicBezTo>
                  <a:cubicBezTo>
                    <a:pt x="354621" y="550436"/>
                    <a:pt x="354621" y="517800"/>
                    <a:pt x="357341" y="509641"/>
                  </a:cubicBezTo>
                  <a:cubicBezTo>
                    <a:pt x="357341" y="501482"/>
                    <a:pt x="357341" y="490603"/>
                    <a:pt x="362780" y="485164"/>
                  </a:cubicBezTo>
                  <a:cubicBezTo>
                    <a:pt x="365500" y="482444"/>
                    <a:pt x="365500" y="479725"/>
                    <a:pt x="368219" y="474286"/>
                  </a:cubicBezTo>
                  <a:cubicBezTo>
                    <a:pt x="370939" y="471566"/>
                    <a:pt x="373659" y="468846"/>
                    <a:pt x="376378" y="468846"/>
                  </a:cubicBezTo>
                  <a:cubicBezTo>
                    <a:pt x="379098" y="468846"/>
                    <a:pt x="381818" y="471566"/>
                    <a:pt x="384537" y="474286"/>
                  </a:cubicBezTo>
                  <a:cubicBezTo>
                    <a:pt x="387257" y="479725"/>
                    <a:pt x="389977" y="487884"/>
                    <a:pt x="392696" y="493323"/>
                  </a:cubicBezTo>
                  <a:cubicBezTo>
                    <a:pt x="392696" y="501482"/>
                    <a:pt x="395416" y="539557"/>
                    <a:pt x="395416" y="558595"/>
                  </a:cubicBezTo>
                  <a:cubicBezTo>
                    <a:pt x="395416" y="583072"/>
                    <a:pt x="395416" y="610268"/>
                    <a:pt x="398136" y="618427"/>
                  </a:cubicBezTo>
                  <a:cubicBezTo>
                    <a:pt x="398136" y="648343"/>
                    <a:pt x="400855" y="659222"/>
                    <a:pt x="400855" y="678260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/>
            </a:p>
          </p:txBody>
        </p:sp>
        <p:sp>
          <p:nvSpPr>
            <p:cNvPr id="41" name="Freeform: Shape 40">
              <a:extLst>
                <a:ext uri="{FF2B5EF4-FFF2-40B4-BE49-F238E27FC236}">
                  <a16:creationId xmlns:a16="http://schemas.microsoft.com/office/drawing/2014/main" id="{FF9C0273-E1F4-49D7-992B-B560253BF396}"/>
                </a:ext>
              </a:extLst>
            </p:cNvPr>
            <p:cNvSpPr/>
            <p:nvPr/>
          </p:nvSpPr>
          <p:spPr>
            <a:xfrm>
              <a:off x="3829459" y="4200317"/>
              <a:ext cx="598325" cy="761503"/>
            </a:xfrm>
            <a:custGeom>
              <a:avLst/>
              <a:gdLst>
                <a:gd name="connsiteX0" fmla="*/ 360060 w 598324"/>
                <a:gd name="connsiteY0" fmla="*/ 332863 h 761503"/>
                <a:gd name="connsiteX1" fmla="*/ 341023 w 598324"/>
                <a:gd name="connsiteY1" fmla="*/ 370939 h 761503"/>
                <a:gd name="connsiteX2" fmla="*/ 376378 w 598324"/>
                <a:gd name="connsiteY2" fmla="*/ 389976 h 761503"/>
                <a:gd name="connsiteX3" fmla="*/ 425332 w 598324"/>
                <a:gd name="connsiteY3" fmla="*/ 433491 h 761503"/>
                <a:gd name="connsiteX4" fmla="*/ 438930 w 598324"/>
                <a:gd name="connsiteY4" fmla="*/ 463407 h 761503"/>
                <a:gd name="connsiteX5" fmla="*/ 449809 w 598324"/>
                <a:gd name="connsiteY5" fmla="*/ 498762 h 761503"/>
                <a:gd name="connsiteX6" fmla="*/ 457968 w 598324"/>
                <a:gd name="connsiteY6" fmla="*/ 528679 h 761503"/>
                <a:gd name="connsiteX7" fmla="*/ 466127 w 598324"/>
                <a:gd name="connsiteY7" fmla="*/ 564034 h 761503"/>
                <a:gd name="connsiteX8" fmla="*/ 471566 w 598324"/>
                <a:gd name="connsiteY8" fmla="*/ 593950 h 761503"/>
                <a:gd name="connsiteX9" fmla="*/ 479725 w 598324"/>
                <a:gd name="connsiteY9" fmla="*/ 607548 h 761503"/>
                <a:gd name="connsiteX10" fmla="*/ 487884 w 598324"/>
                <a:gd name="connsiteY10" fmla="*/ 623867 h 761503"/>
                <a:gd name="connsiteX11" fmla="*/ 501482 w 598324"/>
                <a:gd name="connsiteY11" fmla="*/ 651063 h 761503"/>
                <a:gd name="connsiteX12" fmla="*/ 523240 w 598324"/>
                <a:gd name="connsiteY12" fmla="*/ 670101 h 761503"/>
                <a:gd name="connsiteX13" fmla="*/ 534119 w 598324"/>
                <a:gd name="connsiteY13" fmla="*/ 686418 h 761503"/>
                <a:gd name="connsiteX14" fmla="*/ 531399 w 598324"/>
                <a:gd name="connsiteY14" fmla="*/ 694578 h 761503"/>
                <a:gd name="connsiteX15" fmla="*/ 498763 w 598324"/>
                <a:gd name="connsiteY15" fmla="*/ 708176 h 761503"/>
                <a:gd name="connsiteX16" fmla="*/ 449809 w 598324"/>
                <a:gd name="connsiteY16" fmla="*/ 700017 h 761503"/>
                <a:gd name="connsiteX17" fmla="*/ 400855 w 598324"/>
                <a:gd name="connsiteY17" fmla="*/ 667381 h 761503"/>
                <a:gd name="connsiteX18" fmla="*/ 381817 w 598324"/>
                <a:gd name="connsiteY18" fmla="*/ 642904 h 761503"/>
                <a:gd name="connsiteX19" fmla="*/ 368219 w 598324"/>
                <a:gd name="connsiteY19" fmla="*/ 610268 h 761503"/>
                <a:gd name="connsiteX20" fmla="*/ 349182 w 598324"/>
                <a:gd name="connsiteY20" fmla="*/ 550436 h 761503"/>
                <a:gd name="connsiteX21" fmla="*/ 338303 w 598324"/>
                <a:gd name="connsiteY21" fmla="*/ 504202 h 761503"/>
                <a:gd name="connsiteX22" fmla="*/ 330144 w 598324"/>
                <a:gd name="connsiteY22" fmla="*/ 477005 h 761503"/>
                <a:gd name="connsiteX23" fmla="*/ 321985 w 598324"/>
                <a:gd name="connsiteY23" fmla="*/ 455248 h 761503"/>
                <a:gd name="connsiteX24" fmla="*/ 305667 w 598324"/>
                <a:gd name="connsiteY24" fmla="*/ 436210 h 761503"/>
                <a:gd name="connsiteX25" fmla="*/ 294788 w 598324"/>
                <a:gd name="connsiteY25" fmla="*/ 441650 h 761503"/>
                <a:gd name="connsiteX26" fmla="*/ 278471 w 598324"/>
                <a:gd name="connsiteY26" fmla="*/ 463407 h 761503"/>
                <a:gd name="connsiteX27" fmla="*/ 264872 w 598324"/>
                <a:gd name="connsiteY27" fmla="*/ 496043 h 761503"/>
                <a:gd name="connsiteX28" fmla="*/ 262153 w 598324"/>
                <a:gd name="connsiteY28" fmla="*/ 517800 h 761503"/>
                <a:gd name="connsiteX29" fmla="*/ 262153 w 598324"/>
                <a:gd name="connsiteY29" fmla="*/ 523239 h 761503"/>
                <a:gd name="connsiteX30" fmla="*/ 262153 w 598324"/>
                <a:gd name="connsiteY30" fmla="*/ 553155 h 761503"/>
                <a:gd name="connsiteX31" fmla="*/ 262153 w 598324"/>
                <a:gd name="connsiteY31" fmla="*/ 629306 h 761503"/>
                <a:gd name="connsiteX32" fmla="*/ 259433 w 598324"/>
                <a:gd name="connsiteY32" fmla="*/ 659222 h 761503"/>
                <a:gd name="connsiteX33" fmla="*/ 283910 w 598324"/>
                <a:gd name="connsiteY33" fmla="*/ 659222 h 761503"/>
                <a:gd name="connsiteX34" fmla="*/ 321985 w 598324"/>
                <a:gd name="connsiteY34" fmla="*/ 675540 h 761503"/>
                <a:gd name="connsiteX35" fmla="*/ 316546 w 598324"/>
                <a:gd name="connsiteY35" fmla="*/ 691858 h 761503"/>
                <a:gd name="connsiteX36" fmla="*/ 300228 w 598324"/>
                <a:gd name="connsiteY36" fmla="*/ 700017 h 761503"/>
                <a:gd name="connsiteX37" fmla="*/ 278471 w 598324"/>
                <a:gd name="connsiteY37" fmla="*/ 702736 h 761503"/>
                <a:gd name="connsiteX38" fmla="*/ 243115 w 598324"/>
                <a:gd name="connsiteY38" fmla="*/ 702736 h 761503"/>
                <a:gd name="connsiteX39" fmla="*/ 221358 w 598324"/>
                <a:gd name="connsiteY39" fmla="*/ 710895 h 761503"/>
                <a:gd name="connsiteX40" fmla="*/ 194161 w 598324"/>
                <a:gd name="connsiteY40" fmla="*/ 702736 h 761503"/>
                <a:gd name="connsiteX41" fmla="*/ 177843 w 598324"/>
                <a:gd name="connsiteY41" fmla="*/ 702736 h 761503"/>
                <a:gd name="connsiteX42" fmla="*/ 126170 w 598324"/>
                <a:gd name="connsiteY42" fmla="*/ 702736 h 761503"/>
                <a:gd name="connsiteX43" fmla="*/ 101693 w 598324"/>
                <a:gd name="connsiteY43" fmla="*/ 702736 h 761503"/>
                <a:gd name="connsiteX44" fmla="*/ 74496 w 598324"/>
                <a:gd name="connsiteY44" fmla="*/ 697297 h 761503"/>
                <a:gd name="connsiteX45" fmla="*/ 58178 w 598324"/>
                <a:gd name="connsiteY45" fmla="*/ 680979 h 761503"/>
                <a:gd name="connsiteX46" fmla="*/ 63617 w 598324"/>
                <a:gd name="connsiteY46" fmla="*/ 672820 h 761503"/>
                <a:gd name="connsiteX47" fmla="*/ 85375 w 598324"/>
                <a:gd name="connsiteY47" fmla="*/ 664661 h 761503"/>
                <a:gd name="connsiteX48" fmla="*/ 128889 w 598324"/>
                <a:gd name="connsiteY48" fmla="*/ 659222 h 761503"/>
                <a:gd name="connsiteX49" fmla="*/ 147927 w 598324"/>
                <a:gd name="connsiteY49" fmla="*/ 659222 h 761503"/>
                <a:gd name="connsiteX50" fmla="*/ 145207 w 598324"/>
                <a:gd name="connsiteY50" fmla="*/ 653783 h 761503"/>
                <a:gd name="connsiteX51" fmla="*/ 131609 w 598324"/>
                <a:gd name="connsiteY51" fmla="*/ 585791 h 761503"/>
                <a:gd name="connsiteX52" fmla="*/ 134329 w 598324"/>
                <a:gd name="connsiteY52" fmla="*/ 498762 h 761503"/>
                <a:gd name="connsiteX53" fmla="*/ 137048 w 598324"/>
                <a:gd name="connsiteY53" fmla="*/ 406294 h 761503"/>
                <a:gd name="connsiteX54" fmla="*/ 134329 w 598324"/>
                <a:gd name="connsiteY54" fmla="*/ 327424 h 761503"/>
                <a:gd name="connsiteX55" fmla="*/ 137048 w 598324"/>
                <a:gd name="connsiteY55" fmla="*/ 253993 h 761503"/>
                <a:gd name="connsiteX56" fmla="*/ 139768 w 598324"/>
                <a:gd name="connsiteY56" fmla="*/ 207759 h 761503"/>
                <a:gd name="connsiteX57" fmla="*/ 137048 w 598324"/>
                <a:gd name="connsiteY57" fmla="*/ 172404 h 761503"/>
                <a:gd name="connsiteX58" fmla="*/ 137048 w 598324"/>
                <a:gd name="connsiteY58" fmla="*/ 112571 h 761503"/>
                <a:gd name="connsiteX59" fmla="*/ 126170 w 598324"/>
                <a:gd name="connsiteY59" fmla="*/ 112571 h 761503"/>
                <a:gd name="connsiteX60" fmla="*/ 101693 w 598324"/>
                <a:gd name="connsiteY60" fmla="*/ 112571 h 761503"/>
                <a:gd name="connsiteX61" fmla="*/ 74496 w 598324"/>
                <a:gd name="connsiteY61" fmla="*/ 107132 h 761503"/>
                <a:gd name="connsiteX62" fmla="*/ 58178 w 598324"/>
                <a:gd name="connsiteY62" fmla="*/ 90814 h 761503"/>
                <a:gd name="connsiteX63" fmla="*/ 63617 w 598324"/>
                <a:gd name="connsiteY63" fmla="*/ 82655 h 761503"/>
                <a:gd name="connsiteX64" fmla="*/ 85375 w 598324"/>
                <a:gd name="connsiteY64" fmla="*/ 74496 h 761503"/>
                <a:gd name="connsiteX65" fmla="*/ 137048 w 598324"/>
                <a:gd name="connsiteY65" fmla="*/ 69057 h 761503"/>
                <a:gd name="connsiteX66" fmla="*/ 145207 w 598324"/>
                <a:gd name="connsiteY66" fmla="*/ 69057 h 761503"/>
                <a:gd name="connsiteX67" fmla="*/ 169684 w 598324"/>
                <a:gd name="connsiteY67" fmla="*/ 58178 h 761503"/>
                <a:gd name="connsiteX68" fmla="*/ 177843 w 598324"/>
                <a:gd name="connsiteY68" fmla="*/ 58178 h 761503"/>
                <a:gd name="connsiteX69" fmla="*/ 205040 w 598324"/>
                <a:gd name="connsiteY69" fmla="*/ 66337 h 761503"/>
                <a:gd name="connsiteX70" fmla="*/ 286629 w 598324"/>
                <a:gd name="connsiteY70" fmla="*/ 63617 h 761503"/>
                <a:gd name="connsiteX71" fmla="*/ 324705 w 598324"/>
                <a:gd name="connsiteY71" fmla="*/ 79936 h 761503"/>
                <a:gd name="connsiteX72" fmla="*/ 319265 w 598324"/>
                <a:gd name="connsiteY72" fmla="*/ 96253 h 761503"/>
                <a:gd name="connsiteX73" fmla="*/ 302948 w 598324"/>
                <a:gd name="connsiteY73" fmla="*/ 104412 h 761503"/>
                <a:gd name="connsiteX74" fmla="*/ 278471 w 598324"/>
                <a:gd name="connsiteY74" fmla="*/ 112571 h 761503"/>
                <a:gd name="connsiteX75" fmla="*/ 232236 w 598324"/>
                <a:gd name="connsiteY75" fmla="*/ 112571 h 761503"/>
                <a:gd name="connsiteX76" fmla="*/ 240395 w 598324"/>
                <a:gd name="connsiteY76" fmla="*/ 137048 h 761503"/>
                <a:gd name="connsiteX77" fmla="*/ 240395 w 598324"/>
                <a:gd name="connsiteY77" fmla="*/ 150647 h 761503"/>
                <a:gd name="connsiteX78" fmla="*/ 243115 w 598324"/>
                <a:gd name="connsiteY78" fmla="*/ 158805 h 761503"/>
                <a:gd name="connsiteX79" fmla="*/ 248554 w 598324"/>
                <a:gd name="connsiteY79" fmla="*/ 188722 h 761503"/>
                <a:gd name="connsiteX80" fmla="*/ 248554 w 598324"/>
                <a:gd name="connsiteY80" fmla="*/ 199600 h 761503"/>
                <a:gd name="connsiteX81" fmla="*/ 248554 w 598324"/>
                <a:gd name="connsiteY81" fmla="*/ 221357 h 761503"/>
                <a:gd name="connsiteX82" fmla="*/ 253994 w 598324"/>
                <a:gd name="connsiteY82" fmla="*/ 264872 h 761503"/>
                <a:gd name="connsiteX83" fmla="*/ 262153 w 598324"/>
                <a:gd name="connsiteY83" fmla="*/ 297508 h 761503"/>
                <a:gd name="connsiteX84" fmla="*/ 264872 w 598324"/>
                <a:gd name="connsiteY84" fmla="*/ 324704 h 761503"/>
                <a:gd name="connsiteX85" fmla="*/ 264872 w 598324"/>
                <a:gd name="connsiteY85" fmla="*/ 332863 h 761503"/>
                <a:gd name="connsiteX86" fmla="*/ 264872 w 598324"/>
                <a:gd name="connsiteY86" fmla="*/ 351901 h 761503"/>
                <a:gd name="connsiteX87" fmla="*/ 262153 w 598324"/>
                <a:gd name="connsiteY87" fmla="*/ 370939 h 761503"/>
                <a:gd name="connsiteX88" fmla="*/ 267592 w 598324"/>
                <a:gd name="connsiteY88" fmla="*/ 384537 h 761503"/>
                <a:gd name="connsiteX89" fmla="*/ 278471 w 598324"/>
                <a:gd name="connsiteY89" fmla="*/ 370939 h 761503"/>
                <a:gd name="connsiteX90" fmla="*/ 297508 w 598324"/>
                <a:gd name="connsiteY90" fmla="*/ 332863 h 761503"/>
                <a:gd name="connsiteX91" fmla="*/ 311106 w 598324"/>
                <a:gd name="connsiteY91" fmla="*/ 305667 h 761503"/>
                <a:gd name="connsiteX92" fmla="*/ 335583 w 598324"/>
                <a:gd name="connsiteY92" fmla="*/ 259433 h 761503"/>
                <a:gd name="connsiteX93" fmla="*/ 354621 w 598324"/>
                <a:gd name="connsiteY93" fmla="*/ 224077 h 761503"/>
                <a:gd name="connsiteX94" fmla="*/ 381817 w 598324"/>
                <a:gd name="connsiteY94" fmla="*/ 172404 h 761503"/>
                <a:gd name="connsiteX95" fmla="*/ 409014 w 598324"/>
                <a:gd name="connsiteY95" fmla="*/ 118011 h 761503"/>
                <a:gd name="connsiteX96" fmla="*/ 411734 w 598324"/>
                <a:gd name="connsiteY96" fmla="*/ 115291 h 761503"/>
                <a:gd name="connsiteX97" fmla="*/ 398136 w 598324"/>
                <a:gd name="connsiteY97" fmla="*/ 115291 h 761503"/>
                <a:gd name="connsiteX98" fmla="*/ 379098 w 598324"/>
                <a:gd name="connsiteY98" fmla="*/ 109852 h 761503"/>
                <a:gd name="connsiteX99" fmla="*/ 368219 w 598324"/>
                <a:gd name="connsiteY99" fmla="*/ 93534 h 761503"/>
                <a:gd name="connsiteX100" fmla="*/ 370939 w 598324"/>
                <a:gd name="connsiteY100" fmla="*/ 85375 h 761503"/>
                <a:gd name="connsiteX101" fmla="*/ 387257 w 598324"/>
                <a:gd name="connsiteY101" fmla="*/ 77216 h 761503"/>
                <a:gd name="connsiteX102" fmla="*/ 422612 w 598324"/>
                <a:gd name="connsiteY102" fmla="*/ 71776 h 761503"/>
                <a:gd name="connsiteX103" fmla="*/ 436211 w 598324"/>
                <a:gd name="connsiteY103" fmla="*/ 71776 h 761503"/>
                <a:gd name="connsiteX104" fmla="*/ 438930 w 598324"/>
                <a:gd name="connsiteY104" fmla="*/ 69057 h 761503"/>
                <a:gd name="connsiteX105" fmla="*/ 452529 w 598324"/>
                <a:gd name="connsiteY105" fmla="*/ 66337 h 761503"/>
                <a:gd name="connsiteX106" fmla="*/ 466127 w 598324"/>
                <a:gd name="connsiteY106" fmla="*/ 69057 h 761503"/>
                <a:gd name="connsiteX107" fmla="*/ 471566 w 598324"/>
                <a:gd name="connsiteY107" fmla="*/ 71776 h 761503"/>
                <a:gd name="connsiteX108" fmla="*/ 515081 w 598324"/>
                <a:gd name="connsiteY108" fmla="*/ 71776 h 761503"/>
                <a:gd name="connsiteX109" fmla="*/ 542277 w 598324"/>
                <a:gd name="connsiteY109" fmla="*/ 88094 h 761503"/>
                <a:gd name="connsiteX110" fmla="*/ 536838 w 598324"/>
                <a:gd name="connsiteY110" fmla="*/ 104412 h 761503"/>
                <a:gd name="connsiteX111" fmla="*/ 525959 w 598324"/>
                <a:gd name="connsiteY111" fmla="*/ 112571 h 761503"/>
                <a:gd name="connsiteX112" fmla="*/ 509642 w 598324"/>
                <a:gd name="connsiteY112" fmla="*/ 115291 h 761503"/>
                <a:gd name="connsiteX113" fmla="*/ 468847 w 598324"/>
                <a:gd name="connsiteY113" fmla="*/ 115291 h 761503"/>
                <a:gd name="connsiteX114" fmla="*/ 457968 w 598324"/>
                <a:gd name="connsiteY114" fmla="*/ 137048 h 761503"/>
                <a:gd name="connsiteX115" fmla="*/ 430771 w 598324"/>
                <a:gd name="connsiteY115" fmla="*/ 194161 h 761503"/>
                <a:gd name="connsiteX116" fmla="*/ 400855 w 598324"/>
                <a:gd name="connsiteY116" fmla="*/ 262152 h 761503"/>
                <a:gd name="connsiteX117" fmla="*/ 360060 w 598324"/>
                <a:gd name="connsiteY117" fmla="*/ 332863 h 761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</a:cxnLst>
              <a:rect l="l" t="t" r="r" b="b"/>
              <a:pathLst>
                <a:path w="598324" h="761503">
                  <a:moveTo>
                    <a:pt x="360060" y="332863"/>
                  </a:moveTo>
                  <a:cubicBezTo>
                    <a:pt x="351901" y="343742"/>
                    <a:pt x="341023" y="357340"/>
                    <a:pt x="341023" y="370939"/>
                  </a:cubicBezTo>
                  <a:cubicBezTo>
                    <a:pt x="341023" y="379098"/>
                    <a:pt x="357341" y="381817"/>
                    <a:pt x="376378" y="389976"/>
                  </a:cubicBezTo>
                  <a:cubicBezTo>
                    <a:pt x="395416" y="398135"/>
                    <a:pt x="417173" y="417173"/>
                    <a:pt x="425332" y="433491"/>
                  </a:cubicBezTo>
                  <a:cubicBezTo>
                    <a:pt x="430771" y="444369"/>
                    <a:pt x="436211" y="452528"/>
                    <a:pt x="438930" y="463407"/>
                  </a:cubicBezTo>
                  <a:cubicBezTo>
                    <a:pt x="444370" y="474286"/>
                    <a:pt x="447089" y="487884"/>
                    <a:pt x="449809" y="498762"/>
                  </a:cubicBezTo>
                  <a:cubicBezTo>
                    <a:pt x="452529" y="512361"/>
                    <a:pt x="452529" y="517800"/>
                    <a:pt x="457968" y="528679"/>
                  </a:cubicBezTo>
                  <a:cubicBezTo>
                    <a:pt x="463407" y="539557"/>
                    <a:pt x="463407" y="553155"/>
                    <a:pt x="466127" y="564034"/>
                  </a:cubicBezTo>
                  <a:cubicBezTo>
                    <a:pt x="468847" y="572193"/>
                    <a:pt x="468847" y="585791"/>
                    <a:pt x="471566" y="593950"/>
                  </a:cubicBezTo>
                  <a:cubicBezTo>
                    <a:pt x="474286" y="599390"/>
                    <a:pt x="477006" y="602109"/>
                    <a:pt x="479725" y="607548"/>
                  </a:cubicBezTo>
                  <a:cubicBezTo>
                    <a:pt x="482445" y="612988"/>
                    <a:pt x="487884" y="618427"/>
                    <a:pt x="487884" y="623867"/>
                  </a:cubicBezTo>
                  <a:cubicBezTo>
                    <a:pt x="490604" y="634745"/>
                    <a:pt x="496043" y="642904"/>
                    <a:pt x="501482" y="651063"/>
                  </a:cubicBezTo>
                  <a:cubicBezTo>
                    <a:pt x="506922" y="661942"/>
                    <a:pt x="512361" y="664661"/>
                    <a:pt x="523240" y="670101"/>
                  </a:cubicBezTo>
                  <a:cubicBezTo>
                    <a:pt x="528679" y="672820"/>
                    <a:pt x="534119" y="680979"/>
                    <a:pt x="534119" y="686418"/>
                  </a:cubicBezTo>
                  <a:cubicBezTo>
                    <a:pt x="534119" y="689138"/>
                    <a:pt x="534119" y="691858"/>
                    <a:pt x="531399" y="694578"/>
                  </a:cubicBezTo>
                  <a:cubicBezTo>
                    <a:pt x="525959" y="702736"/>
                    <a:pt x="512361" y="708176"/>
                    <a:pt x="498763" y="708176"/>
                  </a:cubicBezTo>
                  <a:cubicBezTo>
                    <a:pt x="485165" y="708176"/>
                    <a:pt x="466127" y="705456"/>
                    <a:pt x="449809" y="700017"/>
                  </a:cubicBezTo>
                  <a:cubicBezTo>
                    <a:pt x="430771" y="694578"/>
                    <a:pt x="409014" y="675540"/>
                    <a:pt x="400855" y="667381"/>
                  </a:cubicBezTo>
                  <a:cubicBezTo>
                    <a:pt x="392696" y="659222"/>
                    <a:pt x="387257" y="651063"/>
                    <a:pt x="381817" y="642904"/>
                  </a:cubicBezTo>
                  <a:cubicBezTo>
                    <a:pt x="376378" y="632025"/>
                    <a:pt x="370939" y="623867"/>
                    <a:pt x="368219" y="610268"/>
                  </a:cubicBezTo>
                  <a:cubicBezTo>
                    <a:pt x="360060" y="588511"/>
                    <a:pt x="357341" y="574913"/>
                    <a:pt x="349182" y="550436"/>
                  </a:cubicBezTo>
                  <a:cubicBezTo>
                    <a:pt x="343742" y="534118"/>
                    <a:pt x="341023" y="520520"/>
                    <a:pt x="338303" y="504202"/>
                  </a:cubicBezTo>
                  <a:cubicBezTo>
                    <a:pt x="335583" y="493323"/>
                    <a:pt x="332864" y="485164"/>
                    <a:pt x="330144" y="477005"/>
                  </a:cubicBezTo>
                  <a:cubicBezTo>
                    <a:pt x="327424" y="471566"/>
                    <a:pt x="324705" y="463407"/>
                    <a:pt x="321985" y="455248"/>
                  </a:cubicBezTo>
                  <a:cubicBezTo>
                    <a:pt x="316546" y="444369"/>
                    <a:pt x="311106" y="436210"/>
                    <a:pt x="305667" y="436210"/>
                  </a:cubicBezTo>
                  <a:cubicBezTo>
                    <a:pt x="302948" y="436210"/>
                    <a:pt x="300228" y="438930"/>
                    <a:pt x="294788" y="441650"/>
                  </a:cubicBezTo>
                  <a:cubicBezTo>
                    <a:pt x="289349" y="447089"/>
                    <a:pt x="283910" y="455248"/>
                    <a:pt x="278471" y="463407"/>
                  </a:cubicBezTo>
                  <a:cubicBezTo>
                    <a:pt x="270312" y="474286"/>
                    <a:pt x="267592" y="485164"/>
                    <a:pt x="264872" y="496043"/>
                  </a:cubicBezTo>
                  <a:cubicBezTo>
                    <a:pt x="264872" y="504202"/>
                    <a:pt x="262153" y="512361"/>
                    <a:pt x="262153" y="517800"/>
                  </a:cubicBezTo>
                  <a:cubicBezTo>
                    <a:pt x="262153" y="520520"/>
                    <a:pt x="262153" y="520520"/>
                    <a:pt x="262153" y="523239"/>
                  </a:cubicBezTo>
                  <a:cubicBezTo>
                    <a:pt x="262153" y="528679"/>
                    <a:pt x="262153" y="544997"/>
                    <a:pt x="262153" y="553155"/>
                  </a:cubicBezTo>
                  <a:cubicBezTo>
                    <a:pt x="262153" y="583072"/>
                    <a:pt x="264872" y="599390"/>
                    <a:pt x="262153" y="629306"/>
                  </a:cubicBezTo>
                  <a:cubicBezTo>
                    <a:pt x="262153" y="640184"/>
                    <a:pt x="262153" y="648343"/>
                    <a:pt x="259433" y="659222"/>
                  </a:cubicBezTo>
                  <a:cubicBezTo>
                    <a:pt x="270312" y="659222"/>
                    <a:pt x="278471" y="659222"/>
                    <a:pt x="283910" y="659222"/>
                  </a:cubicBezTo>
                  <a:cubicBezTo>
                    <a:pt x="297508" y="659222"/>
                    <a:pt x="321985" y="659222"/>
                    <a:pt x="321985" y="675540"/>
                  </a:cubicBezTo>
                  <a:cubicBezTo>
                    <a:pt x="321985" y="683699"/>
                    <a:pt x="319265" y="686418"/>
                    <a:pt x="316546" y="691858"/>
                  </a:cubicBezTo>
                  <a:cubicBezTo>
                    <a:pt x="311106" y="697297"/>
                    <a:pt x="305667" y="700017"/>
                    <a:pt x="300228" y="700017"/>
                  </a:cubicBezTo>
                  <a:cubicBezTo>
                    <a:pt x="292069" y="702736"/>
                    <a:pt x="283910" y="702736"/>
                    <a:pt x="278471" y="702736"/>
                  </a:cubicBezTo>
                  <a:cubicBezTo>
                    <a:pt x="275751" y="702736"/>
                    <a:pt x="259433" y="702736"/>
                    <a:pt x="243115" y="702736"/>
                  </a:cubicBezTo>
                  <a:cubicBezTo>
                    <a:pt x="237676" y="708176"/>
                    <a:pt x="229517" y="710895"/>
                    <a:pt x="221358" y="710895"/>
                  </a:cubicBezTo>
                  <a:cubicBezTo>
                    <a:pt x="213199" y="710895"/>
                    <a:pt x="202320" y="708176"/>
                    <a:pt x="194161" y="702736"/>
                  </a:cubicBezTo>
                  <a:cubicBezTo>
                    <a:pt x="186002" y="702736"/>
                    <a:pt x="180563" y="702736"/>
                    <a:pt x="177843" y="702736"/>
                  </a:cubicBezTo>
                  <a:cubicBezTo>
                    <a:pt x="164245" y="702736"/>
                    <a:pt x="139768" y="702736"/>
                    <a:pt x="126170" y="702736"/>
                  </a:cubicBezTo>
                  <a:cubicBezTo>
                    <a:pt x="118011" y="702736"/>
                    <a:pt x="109852" y="702736"/>
                    <a:pt x="101693" y="702736"/>
                  </a:cubicBezTo>
                  <a:cubicBezTo>
                    <a:pt x="93534" y="702736"/>
                    <a:pt x="82655" y="702736"/>
                    <a:pt x="74496" y="697297"/>
                  </a:cubicBezTo>
                  <a:cubicBezTo>
                    <a:pt x="66337" y="694578"/>
                    <a:pt x="58178" y="686418"/>
                    <a:pt x="58178" y="680979"/>
                  </a:cubicBezTo>
                  <a:cubicBezTo>
                    <a:pt x="58178" y="678260"/>
                    <a:pt x="58178" y="675540"/>
                    <a:pt x="63617" y="672820"/>
                  </a:cubicBezTo>
                  <a:cubicBezTo>
                    <a:pt x="69057" y="670101"/>
                    <a:pt x="79935" y="667381"/>
                    <a:pt x="85375" y="664661"/>
                  </a:cubicBezTo>
                  <a:cubicBezTo>
                    <a:pt x="104412" y="661942"/>
                    <a:pt x="123450" y="659222"/>
                    <a:pt x="128889" y="659222"/>
                  </a:cubicBezTo>
                  <a:cubicBezTo>
                    <a:pt x="134329" y="659222"/>
                    <a:pt x="139768" y="659222"/>
                    <a:pt x="147927" y="659222"/>
                  </a:cubicBezTo>
                  <a:cubicBezTo>
                    <a:pt x="147927" y="656502"/>
                    <a:pt x="145207" y="653783"/>
                    <a:pt x="145207" y="653783"/>
                  </a:cubicBezTo>
                  <a:cubicBezTo>
                    <a:pt x="131609" y="632025"/>
                    <a:pt x="131609" y="610268"/>
                    <a:pt x="131609" y="585791"/>
                  </a:cubicBezTo>
                  <a:cubicBezTo>
                    <a:pt x="131609" y="555875"/>
                    <a:pt x="131609" y="528679"/>
                    <a:pt x="134329" y="498762"/>
                  </a:cubicBezTo>
                  <a:cubicBezTo>
                    <a:pt x="134329" y="468846"/>
                    <a:pt x="137048" y="436210"/>
                    <a:pt x="137048" y="406294"/>
                  </a:cubicBezTo>
                  <a:cubicBezTo>
                    <a:pt x="137048" y="379098"/>
                    <a:pt x="134329" y="354621"/>
                    <a:pt x="134329" y="327424"/>
                  </a:cubicBezTo>
                  <a:cubicBezTo>
                    <a:pt x="134329" y="302947"/>
                    <a:pt x="137048" y="278470"/>
                    <a:pt x="137048" y="253993"/>
                  </a:cubicBezTo>
                  <a:cubicBezTo>
                    <a:pt x="137048" y="237675"/>
                    <a:pt x="139768" y="224077"/>
                    <a:pt x="139768" y="207759"/>
                  </a:cubicBezTo>
                  <a:cubicBezTo>
                    <a:pt x="139768" y="196881"/>
                    <a:pt x="137048" y="183282"/>
                    <a:pt x="137048" y="172404"/>
                  </a:cubicBezTo>
                  <a:cubicBezTo>
                    <a:pt x="137048" y="150647"/>
                    <a:pt x="137048" y="131609"/>
                    <a:pt x="137048" y="112571"/>
                  </a:cubicBezTo>
                  <a:cubicBezTo>
                    <a:pt x="134329" y="112571"/>
                    <a:pt x="137048" y="112571"/>
                    <a:pt x="126170" y="112571"/>
                  </a:cubicBezTo>
                  <a:cubicBezTo>
                    <a:pt x="118011" y="112571"/>
                    <a:pt x="109852" y="112571"/>
                    <a:pt x="101693" y="112571"/>
                  </a:cubicBezTo>
                  <a:cubicBezTo>
                    <a:pt x="93534" y="112571"/>
                    <a:pt x="82655" y="109852"/>
                    <a:pt x="74496" y="107132"/>
                  </a:cubicBezTo>
                  <a:cubicBezTo>
                    <a:pt x="66337" y="104412"/>
                    <a:pt x="58178" y="96253"/>
                    <a:pt x="58178" y="90814"/>
                  </a:cubicBezTo>
                  <a:cubicBezTo>
                    <a:pt x="58178" y="88094"/>
                    <a:pt x="58178" y="85375"/>
                    <a:pt x="63617" y="82655"/>
                  </a:cubicBezTo>
                  <a:cubicBezTo>
                    <a:pt x="69057" y="79936"/>
                    <a:pt x="79935" y="77216"/>
                    <a:pt x="85375" y="74496"/>
                  </a:cubicBezTo>
                  <a:cubicBezTo>
                    <a:pt x="104412" y="71776"/>
                    <a:pt x="128889" y="69057"/>
                    <a:pt x="137048" y="69057"/>
                  </a:cubicBezTo>
                  <a:cubicBezTo>
                    <a:pt x="137048" y="69057"/>
                    <a:pt x="139768" y="69057"/>
                    <a:pt x="145207" y="69057"/>
                  </a:cubicBezTo>
                  <a:cubicBezTo>
                    <a:pt x="150646" y="60898"/>
                    <a:pt x="158806" y="58178"/>
                    <a:pt x="169684" y="58178"/>
                  </a:cubicBezTo>
                  <a:cubicBezTo>
                    <a:pt x="172404" y="58178"/>
                    <a:pt x="175123" y="58178"/>
                    <a:pt x="177843" y="58178"/>
                  </a:cubicBezTo>
                  <a:cubicBezTo>
                    <a:pt x="186002" y="58178"/>
                    <a:pt x="196881" y="63617"/>
                    <a:pt x="205040" y="66337"/>
                  </a:cubicBezTo>
                  <a:cubicBezTo>
                    <a:pt x="237676" y="66337"/>
                    <a:pt x="273031" y="63617"/>
                    <a:pt x="286629" y="63617"/>
                  </a:cubicBezTo>
                  <a:cubicBezTo>
                    <a:pt x="300228" y="63617"/>
                    <a:pt x="324705" y="63617"/>
                    <a:pt x="324705" y="79936"/>
                  </a:cubicBezTo>
                  <a:cubicBezTo>
                    <a:pt x="324705" y="88094"/>
                    <a:pt x="321985" y="90814"/>
                    <a:pt x="319265" y="96253"/>
                  </a:cubicBezTo>
                  <a:cubicBezTo>
                    <a:pt x="313826" y="101693"/>
                    <a:pt x="308387" y="104412"/>
                    <a:pt x="302948" y="104412"/>
                  </a:cubicBezTo>
                  <a:cubicBezTo>
                    <a:pt x="289349" y="112571"/>
                    <a:pt x="283910" y="112571"/>
                    <a:pt x="278471" y="112571"/>
                  </a:cubicBezTo>
                  <a:cubicBezTo>
                    <a:pt x="273031" y="112571"/>
                    <a:pt x="253994" y="112571"/>
                    <a:pt x="232236" y="112571"/>
                  </a:cubicBezTo>
                  <a:cubicBezTo>
                    <a:pt x="237676" y="120730"/>
                    <a:pt x="240395" y="128889"/>
                    <a:pt x="240395" y="137048"/>
                  </a:cubicBezTo>
                  <a:cubicBezTo>
                    <a:pt x="240395" y="142487"/>
                    <a:pt x="240395" y="145207"/>
                    <a:pt x="240395" y="150647"/>
                  </a:cubicBezTo>
                  <a:cubicBezTo>
                    <a:pt x="240395" y="153366"/>
                    <a:pt x="240395" y="156086"/>
                    <a:pt x="243115" y="158805"/>
                  </a:cubicBezTo>
                  <a:cubicBezTo>
                    <a:pt x="245835" y="169684"/>
                    <a:pt x="245835" y="180563"/>
                    <a:pt x="248554" y="188722"/>
                  </a:cubicBezTo>
                  <a:cubicBezTo>
                    <a:pt x="248554" y="191441"/>
                    <a:pt x="248554" y="194161"/>
                    <a:pt x="248554" y="199600"/>
                  </a:cubicBezTo>
                  <a:cubicBezTo>
                    <a:pt x="248554" y="207759"/>
                    <a:pt x="248554" y="213198"/>
                    <a:pt x="248554" y="221357"/>
                  </a:cubicBezTo>
                  <a:cubicBezTo>
                    <a:pt x="248554" y="234956"/>
                    <a:pt x="251274" y="248554"/>
                    <a:pt x="253994" y="264872"/>
                  </a:cubicBezTo>
                  <a:cubicBezTo>
                    <a:pt x="256713" y="275751"/>
                    <a:pt x="259433" y="286629"/>
                    <a:pt x="262153" y="297508"/>
                  </a:cubicBezTo>
                  <a:cubicBezTo>
                    <a:pt x="264872" y="305667"/>
                    <a:pt x="264872" y="313826"/>
                    <a:pt x="264872" y="324704"/>
                  </a:cubicBezTo>
                  <a:cubicBezTo>
                    <a:pt x="264872" y="327424"/>
                    <a:pt x="264872" y="330144"/>
                    <a:pt x="264872" y="332863"/>
                  </a:cubicBezTo>
                  <a:cubicBezTo>
                    <a:pt x="264872" y="338303"/>
                    <a:pt x="264872" y="346462"/>
                    <a:pt x="264872" y="351901"/>
                  </a:cubicBezTo>
                  <a:cubicBezTo>
                    <a:pt x="264872" y="357340"/>
                    <a:pt x="262153" y="365499"/>
                    <a:pt x="262153" y="370939"/>
                  </a:cubicBezTo>
                  <a:cubicBezTo>
                    <a:pt x="262153" y="376378"/>
                    <a:pt x="264872" y="384537"/>
                    <a:pt x="267592" y="384537"/>
                  </a:cubicBezTo>
                  <a:cubicBezTo>
                    <a:pt x="273031" y="384537"/>
                    <a:pt x="275751" y="376378"/>
                    <a:pt x="278471" y="370939"/>
                  </a:cubicBezTo>
                  <a:cubicBezTo>
                    <a:pt x="283910" y="360060"/>
                    <a:pt x="289349" y="346462"/>
                    <a:pt x="297508" y="332863"/>
                  </a:cubicBezTo>
                  <a:cubicBezTo>
                    <a:pt x="302948" y="324704"/>
                    <a:pt x="305667" y="313826"/>
                    <a:pt x="311106" y="305667"/>
                  </a:cubicBezTo>
                  <a:cubicBezTo>
                    <a:pt x="319265" y="289349"/>
                    <a:pt x="327424" y="275751"/>
                    <a:pt x="335583" y="259433"/>
                  </a:cubicBezTo>
                  <a:cubicBezTo>
                    <a:pt x="341023" y="248554"/>
                    <a:pt x="349182" y="234956"/>
                    <a:pt x="354621" y="224077"/>
                  </a:cubicBezTo>
                  <a:cubicBezTo>
                    <a:pt x="362780" y="207759"/>
                    <a:pt x="370939" y="191441"/>
                    <a:pt x="381817" y="172404"/>
                  </a:cubicBezTo>
                  <a:cubicBezTo>
                    <a:pt x="389977" y="153366"/>
                    <a:pt x="400855" y="134329"/>
                    <a:pt x="409014" y="118011"/>
                  </a:cubicBezTo>
                  <a:cubicBezTo>
                    <a:pt x="409014" y="115291"/>
                    <a:pt x="409014" y="115291"/>
                    <a:pt x="411734" y="115291"/>
                  </a:cubicBezTo>
                  <a:cubicBezTo>
                    <a:pt x="406294" y="115291"/>
                    <a:pt x="400855" y="115291"/>
                    <a:pt x="398136" y="115291"/>
                  </a:cubicBezTo>
                  <a:cubicBezTo>
                    <a:pt x="392696" y="115291"/>
                    <a:pt x="384537" y="115291"/>
                    <a:pt x="379098" y="109852"/>
                  </a:cubicBezTo>
                  <a:cubicBezTo>
                    <a:pt x="373659" y="107132"/>
                    <a:pt x="368219" y="98973"/>
                    <a:pt x="368219" y="93534"/>
                  </a:cubicBezTo>
                  <a:cubicBezTo>
                    <a:pt x="368219" y="90814"/>
                    <a:pt x="368219" y="88094"/>
                    <a:pt x="370939" y="85375"/>
                  </a:cubicBezTo>
                  <a:cubicBezTo>
                    <a:pt x="373659" y="82655"/>
                    <a:pt x="381817" y="79936"/>
                    <a:pt x="387257" y="77216"/>
                  </a:cubicBezTo>
                  <a:cubicBezTo>
                    <a:pt x="400855" y="74496"/>
                    <a:pt x="414453" y="71776"/>
                    <a:pt x="422612" y="71776"/>
                  </a:cubicBezTo>
                  <a:cubicBezTo>
                    <a:pt x="425332" y="71776"/>
                    <a:pt x="430771" y="71776"/>
                    <a:pt x="436211" y="71776"/>
                  </a:cubicBezTo>
                  <a:cubicBezTo>
                    <a:pt x="436211" y="71776"/>
                    <a:pt x="438930" y="69057"/>
                    <a:pt x="438930" y="69057"/>
                  </a:cubicBezTo>
                  <a:cubicBezTo>
                    <a:pt x="444370" y="66337"/>
                    <a:pt x="447089" y="66337"/>
                    <a:pt x="452529" y="66337"/>
                  </a:cubicBezTo>
                  <a:cubicBezTo>
                    <a:pt x="457968" y="66337"/>
                    <a:pt x="460688" y="66337"/>
                    <a:pt x="466127" y="69057"/>
                  </a:cubicBezTo>
                  <a:cubicBezTo>
                    <a:pt x="468847" y="69057"/>
                    <a:pt x="471566" y="71776"/>
                    <a:pt x="471566" y="71776"/>
                  </a:cubicBezTo>
                  <a:cubicBezTo>
                    <a:pt x="490604" y="71776"/>
                    <a:pt x="506922" y="71776"/>
                    <a:pt x="515081" y="71776"/>
                  </a:cubicBezTo>
                  <a:cubicBezTo>
                    <a:pt x="523240" y="71776"/>
                    <a:pt x="542277" y="71776"/>
                    <a:pt x="542277" y="88094"/>
                  </a:cubicBezTo>
                  <a:cubicBezTo>
                    <a:pt x="542277" y="96253"/>
                    <a:pt x="542277" y="98973"/>
                    <a:pt x="536838" y="104412"/>
                  </a:cubicBezTo>
                  <a:cubicBezTo>
                    <a:pt x="534119" y="109852"/>
                    <a:pt x="528679" y="112571"/>
                    <a:pt x="525959" y="112571"/>
                  </a:cubicBezTo>
                  <a:cubicBezTo>
                    <a:pt x="520520" y="115291"/>
                    <a:pt x="515081" y="115291"/>
                    <a:pt x="509642" y="115291"/>
                  </a:cubicBezTo>
                  <a:cubicBezTo>
                    <a:pt x="506922" y="115291"/>
                    <a:pt x="487884" y="115291"/>
                    <a:pt x="468847" y="115291"/>
                  </a:cubicBezTo>
                  <a:cubicBezTo>
                    <a:pt x="466127" y="123450"/>
                    <a:pt x="460688" y="128889"/>
                    <a:pt x="457968" y="137048"/>
                  </a:cubicBezTo>
                  <a:cubicBezTo>
                    <a:pt x="447089" y="156086"/>
                    <a:pt x="438930" y="175123"/>
                    <a:pt x="430771" y="194161"/>
                  </a:cubicBezTo>
                  <a:cubicBezTo>
                    <a:pt x="419893" y="215918"/>
                    <a:pt x="411734" y="240395"/>
                    <a:pt x="400855" y="262152"/>
                  </a:cubicBezTo>
                  <a:cubicBezTo>
                    <a:pt x="387257" y="289349"/>
                    <a:pt x="373659" y="311106"/>
                    <a:pt x="360060" y="332863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/>
            </a:p>
          </p:txBody>
        </p:sp>
        <p:sp>
          <p:nvSpPr>
            <p:cNvPr id="42" name="Freeform: Shape 41">
              <a:extLst>
                <a:ext uri="{FF2B5EF4-FFF2-40B4-BE49-F238E27FC236}">
                  <a16:creationId xmlns:a16="http://schemas.microsoft.com/office/drawing/2014/main" id="{C93ECA97-B97C-4583-903C-CA4913633E3F}"/>
                </a:ext>
              </a:extLst>
            </p:cNvPr>
            <p:cNvSpPr/>
            <p:nvPr/>
          </p:nvSpPr>
          <p:spPr>
            <a:xfrm>
              <a:off x="4335316" y="4186718"/>
              <a:ext cx="353556" cy="761503"/>
            </a:xfrm>
            <a:custGeom>
              <a:avLst/>
              <a:gdLst>
                <a:gd name="connsiteX0" fmla="*/ 283910 w 353555"/>
                <a:gd name="connsiteY0" fmla="*/ 672820 h 761503"/>
                <a:gd name="connsiteX1" fmla="*/ 321985 w 353555"/>
                <a:gd name="connsiteY1" fmla="*/ 689138 h 761503"/>
                <a:gd name="connsiteX2" fmla="*/ 316546 w 353555"/>
                <a:gd name="connsiteY2" fmla="*/ 705456 h 761503"/>
                <a:gd name="connsiteX3" fmla="*/ 300228 w 353555"/>
                <a:gd name="connsiteY3" fmla="*/ 713615 h 761503"/>
                <a:gd name="connsiteX4" fmla="*/ 278471 w 353555"/>
                <a:gd name="connsiteY4" fmla="*/ 716335 h 761503"/>
                <a:gd name="connsiteX5" fmla="*/ 237676 w 353555"/>
                <a:gd name="connsiteY5" fmla="*/ 716335 h 761503"/>
                <a:gd name="connsiteX6" fmla="*/ 180563 w 353555"/>
                <a:gd name="connsiteY6" fmla="*/ 719054 h 761503"/>
                <a:gd name="connsiteX7" fmla="*/ 126170 w 353555"/>
                <a:gd name="connsiteY7" fmla="*/ 719054 h 761503"/>
                <a:gd name="connsiteX8" fmla="*/ 101693 w 353555"/>
                <a:gd name="connsiteY8" fmla="*/ 719054 h 761503"/>
                <a:gd name="connsiteX9" fmla="*/ 74496 w 353555"/>
                <a:gd name="connsiteY9" fmla="*/ 713615 h 761503"/>
                <a:gd name="connsiteX10" fmla="*/ 58178 w 353555"/>
                <a:gd name="connsiteY10" fmla="*/ 697297 h 761503"/>
                <a:gd name="connsiteX11" fmla="*/ 63617 w 353555"/>
                <a:gd name="connsiteY11" fmla="*/ 689138 h 761503"/>
                <a:gd name="connsiteX12" fmla="*/ 85375 w 353555"/>
                <a:gd name="connsiteY12" fmla="*/ 680979 h 761503"/>
                <a:gd name="connsiteX13" fmla="*/ 131609 w 353555"/>
                <a:gd name="connsiteY13" fmla="*/ 675540 h 761503"/>
                <a:gd name="connsiteX14" fmla="*/ 142488 w 353555"/>
                <a:gd name="connsiteY14" fmla="*/ 675540 h 761503"/>
                <a:gd name="connsiteX15" fmla="*/ 131609 w 353555"/>
                <a:gd name="connsiteY15" fmla="*/ 653783 h 761503"/>
                <a:gd name="connsiteX16" fmla="*/ 128889 w 353555"/>
                <a:gd name="connsiteY16" fmla="*/ 640184 h 761503"/>
                <a:gd name="connsiteX17" fmla="*/ 128889 w 353555"/>
                <a:gd name="connsiteY17" fmla="*/ 629306 h 761503"/>
                <a:gd name="connsiteX18" fmla="*/ 128889 w 353555"/>
                <a:gd name="connsiteY18" fmla="*/ 621147 h 761503"/>
                <a:gd name="connsiteX19" fmla="*/ 128889 w 353555"/>
                <a:gd name="connsiteY19" fmla="*/ 593950 h 761503"/>
                <a:gd name="connsiteX20" fmla="*/ 128889 w 353555"/>
                <a:gd name="connsiteY20" fmla="*/ 583072 h 761503"/>
                <a:gd name="connsiteX21" fmla="*/ 128889 w 353555"/>
                <a:gd name="connsiteY21" fmla="*/ 436210 h 761503"/>
                <a:gd name="connsiteX22" fmla="*/ 128889 w 353555"/>
                <a:gd name="connsiteY22" fmla="*/ 357340 h 761503"/>
                <a:gd name="connsiteX23" fmla="*/ 131609 w 353555"/>
                <a:gd name="connsiteY23" fmla="*/ 289349 h 761503"/>
                <a:gd name="connsiteX24" fmla="*/ 131609 w 353555"/>
                <a:gd name="connsiteY24" fmla="*/ 251274 h 761503"/>
                <a:gd name="connsiteX25" fmla="*/ 131609 w 353555"/>
                <a:gd name="connsiteY25" fmla="*/ 205040 h 761503"/>
                <a:gd name="connsiteX26" fmla="*/ 131609 w 353555"/>
                <a:gd name="connsiteY26" fmla="*/ 139768 h 761503"/>
                <a:gd name="connsiteX27" fmla="*/ 131609 w 353555"/>
                <a:gd name="connsiteY27" fmla="*/ 128889 h 761503"/>
                <a:gd name="connsiteX28" fmla="*/ 126170 w 353555"/>
                <a:gd name="connsiteY28" fmla="*/ 128889 h 761503"/>
                <a:gd name="connsiteX29" fmla="*/ 101693 w 353555"/>
                <a:gd name="connsiteY29" fmla="*/ 128889 h 761503"/>
                <a:gd name="connsiteX30" fmla="*/ 74496 w 353555"/>
                <a:gd name="connsiteY30" fmla="*/ 123450 h 761503"/>
                <a:gd name="connsiteX31" fmla="*/ 58178 w 353555"/>
                <a:gd name="connsiteY31" fmla="*/ 107132 h 761503"/>
                <a:gd name="connsiteX32" fmla="*/ 60898 w 353555"/>
                <a:gd name="connsiteY32" fmla="*/ 98973 h 761503"/>
                <a:gd name="connsiteX33" fmla="*/ 82655 w 353555"/>
                <a:gd name="connsiteY33" fmla="*/ 93534 h 761503"/>
                <a:gd name="connsiteX34" fmla="*/ 131609 w 353555"/>
                <a:gd name="connsiteY34" fmla="*/ 88094 h 761503"/>
                <a:gd name="connsiteX35" fmla="*/ 131609 w 353555"/>
                <a:gd name="connsiteY35" fmla="*/ 82655 h 761503"/>
                <a:gd name="connsiteX36" fmla="*/ 134329 w 353555"/>
                <a:gd name="connsiteY36" fmla="*/ 71776 h 761503"/>
                <a:gd name="connsiteX37" fmla="*/ 147927 w 353555"/>
                <a:gd name="connsiteY37" fmla="*/ 63617 h 761503"/>
                <a:gd name="connsiteX38" fmla="*/ 164245 w 353555"/>
                <a:gd name="connsiteY38" fmla="*/ 58178 h 761503"/>
                <a:gd name="connsiteX39" fmla="*/ 177843 w 353555"/>
                <a:gd name="connsiteY39" fmla="*/ 58178 h 761503"/>
                <a:gd name="connsiteX40" fmla="*/ 196881 w 353555"/>
                <a:gd name="connsiteY40" fmla="*/ 60898 h 761503"/>
                <a:gd name="connsiteX41" fmla="*/ 232236 w 353555"/>
                <a:gd name="connsiteY41" fmla="*/ 88094 h 761503"/>
                <a:gd name="connsiteX42" fmla="*/ 278471 w 353555"/>
                <a:gd name="connsiteY42" fmla="*/ 88094 h 761503"/>
                <a:gd name="connsiteX43" fmla="*/ 316546 w 353555"/>
                <a:gd name="connsiteY43" fmla="*/ 104412 h 761503"/>
                <a:gd name="connsiteX44" fmla="*/ 311106 w 353555"/>
                <a:gd name="connsiteY44" fmla="*/ 120730 h 761503"/>
                <a:gd name="connsiteX45" fmla="*/ 294788 w 353555"/>
                <a:gd name="connsiteY45" fmla="*/ 128889 h 761503"/>
                <a:gd name="connsiteX46" fmla="*/ 273031 w 353555"/>
                <a:gd name="connsiteY46" fmla="*/ 131609 h 761503"/>
                <a:gd name="connsiteX47" fmla="*/ 243115 w 353555"/>
                <a:gd name="connsiteY47" fmla="*/ 131609 h 761503"/>
                <a:gd name="connsiteX48" fmla="*/ 243115 w 353555"/>
                <a:gd name="connsiteY48" fmla="*/ 134329 h 761503"/>
                <a:gd name="connsiteX49" fmla="*/ 248554 w 353555"/>
                <a:gd name="connsiteY49" fmla="*/ 169684 h 761503"/>
                <a:gd name="connsiteX50" fmla="*/ 251274 w 353555"/>
                <a:gd name="connsiteY50" fmla="*/ 205040 h 761503"/>
                <a:gd name="connsiteX51" fmla="*/ 251274 w 353555"/>
                <a:gd name="connsiteY51" fmla="*/ 240395 h 761503"/>
                <a:gd name="connsiteX52" fmla="*/ 251274 w 353555"/>
                <a:gd name="connsiteY52" fmla="*/ 256713 h 761503"/>
                <a:gd name="connsiteX53" fmla="*/ 253994 w 353555"/>
                <a:gd name="connsiteY53" fmla="*/ 270311 h 761503"/>
                <a:gd name="connsiteX54" fmla="*/ 259433 w 353555"/>
                <a:gd name="connsiteY54" fmla="*/ 343742 h 761503"/>
                <a:gd name="connsiteX55" fmla="*/ 262153 w 353555"/>
                <a:gd name="connsiteY55" fmla="*/ 425332 h 761503"/>
                <a:gd name="connsiteX56" fmla="*/ 264872 w 353555"/>
                <a:gd name="connsiteY56" fmla="*/ 490603 h 761503"/>
                <a:gd name="connsiteX57" fmla="*/ 270312 w 353555"/>
                <a:gd name="connsiteY57" fmla="*/ 564034 h 761503"/>
                <a:gd name="connsiteX58" fmla="*/ 270312 w 353555"/>
                <a:gd name="connsiteY58" fmla="*/ 599390 h 761503"/>
                <a:gd name="connsiteX59" fmla="*/ 270312 w 353555"/>
                <a:gd name="connsiteY59" fmla="*/ 637465 h 761503"/>
                <a:gd name="connsiteX60" fmla="*/ 264872 w 353555"/>
                <a:gd name="connsiteY60" fmla="*/ 670101 h 761503"/>
                <a:gd name="connsiteX61" fmla="*/ 283910 w 353555"/>
                <a:gd name="connsiteY61" fmla="*/ 672820 h 761503"/>
                <a:gd name="connsiteX62" fmla="*/ 283910 w 353555"/>
                <a:gd name="connsiteY62" fmla="*/ 672820 h 761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</a:cxnLst>
              <a:rect l="l" t="t" r="r" b="b"/>
              <a:pathLst>
                <a:path w="353555" h="761503">
                  <a:moveTo>
                    <a:pt x="283910" y="672820"/>
                  </a:moveTo>
                  <a:cubicBezTo>
                    <a:pt x="297508" y="672820"/>
                    <a:pt x="321985" y="672820"/>
                    <a:pt x="321985" y="689138"/>
                  </a:cubicBezTo>
                  <a:cubicBezTo>
                    <a:pt x="321985" y="697297"/>
                    <a:pt x="319265" y="697297"/>
                    <a:pt x="316546" y="705456"/>
                  </a:cubicBezTo>
                  <a:cubicBezTo>
                    <a:pt x="311106" y="710895"/>
                    <a:pt x="305667" y="713615"/>
                    <a:pt x="300228" y="713615"/>
                  </a:cubicBezTo>
                  <a:cubicBezTo>
                    <a:pt x="292069" y="716335"/>
                    <a:pt x="283910" y="716335"/>
                    <a:pt x="278471" y="716335"/>
                  </a:cubicBezTo>
                  <a:cubicBezTo>
                    <a:pt x="275751" y="716335"/>
                    <a:pt x="256713" y="716335"/>
                    <a:pt x="237676" y="716335"/>
                  </a:cubicBezTo>
                  <a:cubicBezTo>
                    <a:pt x="213199" y="716335"/>
                    <a:pt x="186002" y="719054"/>
                    <a:pt x="180563" y="719054"/>
                  </a:cubicBezTo>
                  <a:cubicBezTo>
                    <a:pt x="166965" y="719054"/>
                    <a:pt x="142488" y="719054"/>
                    <a:pt x="126170" y="719054"/>
                  </a:cubicBezTo>
                  <a:cubicBezTo>
                    <a:pt x="118011" y="719054"/>
                    <a:pt x="109852" y="719054"/>
                    <a:pt x="101693" y="719054"/>
                  </a:cubicBezTo>
                  <a:cubicBezTo>
                    <a:pt x="93534" y="719054"/>
                    <a:pt x="82655" y="719054"/>
                    <a:pt x="74496" y="713615"/>
                  </a:cubicBezTo>
                  <a:cubicBezTo>
                    <a:pt x="66337" y="710895"/>
                    <a:pt x="58178" y="702736"/>
                    <a:pt x="58178" y="697297"/>
                  </a:cubicBezTo>
                  <a:cubicBezTo>
                    <a:pt x="58178" y="694578"/>
                    <a:pt x="58178" y="691858"/>
                    <a:pt x="63617" y="689138"/>
                  </a:cubicBezTo>
                  <a:cubicBezTo>
                    <a:pt x="69057" y="686418"/>
                    <a:pt x="79935" y="683699"/>
                    <a:pt x="85375" y="680979"/>
                  </a:cubicBezTo>
                  <a:cubicBezTo>
                    <a:pt x="104412" y="678260"/>
                    <a:pt x="123450" y="675540"/>
                    <a:pt x="131609" y="675540"/>
                  </a:cubicBezTo>
                  <a:cubicBezTo>
                    <a:pt x="134329" y="675540"/>
                    <a:pt x="137048" y="675540"/>
                    <a:pt x="142488" y="675540"/>
                  </a:cubicBezTo>
                  <a:cubicBezTo>
                    <a:pt x="134329" y="670101"/>
                    <a:pt x="131609" y="661942"/>
                    <a:pt x="131609" y="653783"/>
                  </a:cubicBezTo>
                  <a:cubicBezTo>
                    <a:pt x="131609" y="648343"/>
                    <a:pt x="131609" y="642904"/>
                    <a:pt x="128889" y="640184"/>
                  </a:cubicBezTo>
                  <a:cubicBezTo>
                    <a:pt x="128889" y="637465"/>
                    <a:pt x="128889" y="634745"/>
                    <a:pt x="128889" y="629306"/>
                  </a:cubicBezTo>
                  <a:cubicBezTo>
                    <a:pt x="128889" y="626586"/>
                    <a:pt x="128889" y="623867"/>
                    <a:pt x="128889" y="621147"/>
                  </a:cubicBezTo>
                  <a:cubicBezTo>
                    <a:pt x="128889" y="612988"/>
                    <a:pt x="128889" y="604829"/>
                    <a:pt x="128889" y="593950"/>
                  </a:cubicBezTo>
                  <a:cubicBezTo>
                    <a:pt x="128889" y="591231"/>
                    <a:pt x="128889" y="585791"/>
                    <a:pt x="128889" y="583072"/>
                  </a:cubicBezTo>
                  <a:cubicBezTo>
                    <a:pt x="128889" y="534118"/>
                    <a:pt x="131609" y="485164"/>
                    <a:pt x="128889" y="436210"/>
                  </a:cubicBezTo>
                  <a:cubicBezTo>
                    <a:pt x="128889" y="409014"/>
                    <a:pt x="128889" y="384537"/>
                    <a:pt x="128889" y="357340"/>
                  </a:cubicBezTo>
                  <a:cubicBezTo>
                    <a:pt x="128889" y="335583"/>
                    <a:pt x="131609" y="313826"/>
                    <a:pt x="131609" y="289349"/>
                  </a:cubicBezTo>
                  <a:cubicBezTo>
                    <a:pt x="131609" y="275751"/>
                    <a:pt x="131609" y="264872"/>
                    <a:pt x="131609" y="251274"/>
                  </a:cubicBezTo>
                  <a:cubicBezTo>
                    <a:pt x="131609" y="234956"/>
                    <a:pt x="131609" y="221357"/>
                    <a:pt x="131609" y="205040"/>
                  </a:cubicBezTo>
                  <a:cubicBezTo>
                    <a:pt x="131609" y="183282"/>
                    <a:pt x="131609" y="161525"/>
                    <a:pt x="131609" y="139768"/>
                  </a:cubicBezTo>
                  <a:cubicBezTo>
                    <a:pt x="131609" y="137048"/>
                    <a:pt x="131609" y="134329"/>
                    <a:pt x="131609" y="128889"/>
                  </a:cubicBezTo>
                  <a:cubicBezTo>
                    <a:pt x="128889" y="128889"/>
                    <a:pt x="126170" y="128889"/>
                    <a:pt x="126170" y="128889"/>
                  </a:cubicBezTo>
                  <a:cubicBezTo>
                    <a:pt x="118011" y="128889"/>
                    <a:pt x="109852" y="128889"/>
                    <a:pt x="101693" y="128889"/>
                  </a:cubicBezTo>
                  <a:cubicBezTo>
                    <a:pt x="93534" y="128889"/>
                    <a:pt x="82655" y="128889"/>
                    <a:pt x="74496" y="123450"/>
                  </a:cubicBezTo>
                  <a:cubicBezTo>
                    <a:pt x="66337" y="120730"/>
                    <a:pt x="58178" y="112571"/>
                    <a:pt x="58178" y="107132"/>
                  </a:cubicBezTo>
                  <a:cubicBezTo>
                    <a:pt x="58178" y="104412"/>
                    <a:pt x="58178" y="101693"/>
                    <a:pt x="60898" y="98973"/>
                  </a:cubicBezTo>
                  <a:cubicBezTo>
                    <a:pt x="63617" y="96253"/>
                    <a:pt x="77216" y="93534"/>
                    <a:pt x="82655" y="93534"/>
                  </a:cubicBezTo>
                  <a:cubicBezTo>
                    <a:pt x="98973" y="90814"/>
                    <a:pt x="123450" y="88094"/>
                    <a:pt x="131609" y="88094"/>
                  </a:cubicBezTo>
                  <a:cubicBezTo>
                    <a:pt x="131609" y="85375"/>
                    <a:pt x="131609" y="85375"/>
                    <a:pt x="131609" y="82655"/>
                  </a:cubicBezTo>
                  <a:cubicBezTo>
                    <a:pt x="131609" y="77216"/>
                    <a:pt x="131609" y="74496"/>
                    <a:pt x="134329" y="71776"/>
                  </a:cubicBezTo>
                  <a:cubicBezTo>
                    <a:pt x="137048" y="69057"/>
                    <a:pt x="145207" y="66337"/>
                    <a:pt x="147927" y="63617"/>
                  </a:cubicBezTo>
                  <a:cubicBezTo>
                    <a:pt x="153366" y="60898"/>
                    <a:pt x="158806" y="58178"/>
                    <a:pt x="164245" y="58178"/>
                  </a:cubicBezTo>
                  <a:cubicBezTo>
                    <a:pt x="169684" y="58178"/>
                    <a:pt x="175123" y="58178"/>
                    <a:pt x="177843" y="58178"/>
                  </a:cubicBezTo>
                  <a:cubicBezTo>
                    <a:pt x="183283" y="58178"/>
                    <a:pt x="191442" y="58178"/>
                    <a:pt x="196881" y="60898"/>
                  </a:cubicBezTo>
                  <a:cubicBezTo>
                    <a:pt x="213199" y="63617"/>
                    <a:pt x="224077" y="74496"/>
                    <a:pt x="232236" y="88094"/>
                  </a:cubicBezTo>
                  <a:cubicBezTo>
                    <a:pt x="253994" y="88094"/>
                    <a:pt x="270312" y="88094"/>
                    <a:pt x="278471" y="88094"/>
                  </a:cubicBezTo>
                  <a:cubicBezTo>
                    <a:pt x="292069" y="88094"/>
                    <a:pt x="316546" y="88094"/>
                    <a:pt x="316546" y="104412"/>
                  </a:cubicBezTo>
                  <a:cubicBezTo>
                    <a:pt x="316546" y="112571"/>
                    <a:pt x="313826" y="112571"/>
                    <a:pt x="311106" y="120730"/>
                  </a:cubicBezTo>
                  <a:cubicBezTo>
                    <a:pt x="305667" y="126170"/>
                    <a:pt x="300228" y="128889"/>
                    <a:pt x="294788" y="128889"/>
                  </a:cubicBezTo>
                  <a:cubicBezTo>
                    <a:pt x="286630" y="131609"/>
                    <a:pt x="278471" y="131609"/>
                    <a:pt x="273031" y="131609"/>
                  </a:cubicBezTo>
                  <a:cubicBezTo>
                    <a:pt x="270312" y="131609"/>
                    <a:pt x="259433" y="131609"/>
                    <a:pt x="243115" y="131609"/>
                  </a:cubicBezTo>
                  <a:lnTo>
                    <a:pt x="243115" y="134329"/>
                  </a:lnTo>
                  <a:cubicBezTo>
                    <a:pt x="245835" y="145207"/>
                    <a:pt x="245835" y="158805"/>
                    <a:pt x="248554" y="169684"/>
                  </a:cubicBezTo>
                  <a:cubicBezTo>
                    <a:pt x="251274" y="180563"/>
                    <a:pt x="251274" y="194161"/>
                    <a:pt x="251274" y="205040"/>
                  </a:cubicBezTo>
                  <a:cubicBezTo>
                    <a:pt x="251274" y="215918"/>
                    <a:pt x="251274" y="226797"/>
                    <a:pt x="251274" y="240395"/>
                  </a:cubicBezTo>
                  <a:cubicBezTo>
                    <a:pt x="251274" y="245834"/>
                    <a:pt x="251274" y="251274"/>
                    <a:pt x="251274" y="256713"/>
                  </a:cubicBezTo>
                  <a:cubicBezTo>
                    <a:pt x="251274" y="262152"/>
                    <a:pt x="251274" y="267592"/>
                    <a:pt x="253994" y="270311"/>
                  </a:cubicBezTo>
                  <a:cubicBezTo>
                    <a:pt x="256713" y="294788"/>
                    <a:pt x="256713" y="319265"/>
                    <a:pt x="259433" y="343742"/>
                  </a:cubicBezTo>
                  <a:cubicBezTo>
                    <a:pt x="259433" y="370939"/>
                    <a:pt x="262153" y="398135"/>
                    <a:pt x="262153" y="425332"/>
                  </a:cubicBezTo>
                  <a:cubicBezTo>
                    <a:pt x="262153" y="447089"/>
                    <a:pt x="262153" y="468846"/>
                    <a:pt x="264872" y="490603"/>
                  </a:cubicBezTo>
                  <a:cubicBezTo>
                    <a:pt x="264872" y="515080"/>
                    <a:pt x="270312" y="539557"/>
                    <a:pt x="270312" y="564034"/>
                  </a:cubicBezTo>
                  <a:cubicBezTo>
                    <a:pt x="270312" y="574913"/>
                    <a:pt x="270312" y="588511"/>
                    <a:pt x="270312" y="599390"/>
                  </a:cubicBezTo>
                  <a:cubicBezTo>
                    <a:pt x="270312" y="612988"/>
                    <a:pt x="270312" y="623867"/>
                    <a:pt x="270312" y="637465"/>
                  </a:cubicBezTo>
                  <a:cubicBezTo>
                    <a:pt x="270312" y="648343"/>
                    <a:pt x="270312" y="661942"/>
                    <a:pt x="264872" y="670101"/>
                  </a:cubicBezTo>
                  <a:cubicBezTo>
                    <a:pt x="273031" y="672820"/>
                    <a:pt x="278471" y="672820"/>
                    <a:pt x="283910" y="672820"/>
                  </a:cubicBezTo>
                  <a:lnTo>
                    <a:pt x="283910" y="672820"/>
                  </a:ln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/>
            </a:p>
          </p:txBody>
        </p:sp>
        <p:sp>
          <p:nvSpPr>
            <p:cNvPr id="43" name="Freeform: Shape 42">
              <a:extLst>
                <a:ext uri="{FF2B5EF4-FFF2-40B4-BE49-F238E27FC236}">
                  <a16:creationId xmlns:a16="http://schemas.microsoft.com/office/drawing/2014/main" id="{27E45CBE-6678-447C-B516-5E394D02935C}"/>
                </a:ext>
              </a:extLst>
            </p:cNvPr>
            <p:cNvSpPr/>
            <p:nvPr/>
          </p:nvSpPr>
          <p:spPr>
            <a:xfrm>
              <a:off x="4620880" y="4194877"/>
              <a:ext cx="598325" cy="761503"/>
            </a:xfrm>
            <a:custGeom>
              <a:avLst/>
              <a:gdLst>
                <a:gd name="connsiteX0" fmla="*/ 515081 w 598324"/>
                <a:gd name="connsiteY0" fmla="*/ 79935 h 761503"/>
                <a:gd name="connsiteX1" fmla="*/ 542277 w 598324"/>
                <a:gd name="connsiteY1" fmla="*/ 96253 h 761503"/>
                <a:gd name="connsiteX2" fmla="*/ 536838 w 598324"/>
                <a:gd name="connsiteY2" fmla="*/ 112571 h 761503"/>
                <a:gd name="connsiteX3" fmla="*/ 523240 w 598324"/>
                <a:gd name="connsiteY3" fmla="*/ 120730 h 761503"/>
                <a:gd name="connsiteX4" fmla="*/ 506922 w 598324"/>
                <a:gd name="connsiteY4" fmla="*/ 123450 h 761503"/>
                <a:gd name="connsiteX5" fmla="*/ 477006 w 598324"/>
                <a:gd name="connsiteY5" fmla="*/ 123450 h 761503"/>
                <a:gd name="connsiteX6" fmla="*/ 479725 w 598324"/>
                <a:gd name="connsiteY6" fmla="*/ 145207 h 761503"/>
                <a:gd name="connsiteX7" fmla="*/ 477006 w 598324"/>
                <a:gd name="connsiteY7" fmla="*/ 180563 h 761503"/>
                <a:gd name="connsiteX8" fmla="*/ 482445 w 598324"/>
                <a:gd name="connsiteY8" fmla="*/ 232236 h 761503"/>
                <a:gd name="connsiteX9" fmla="*/ 485165 w 598324"/>
                <a:gd name="connsiteY9" fmla="*/ 283909 h 761503"/>
                <a:gd name="connsiteX10" fmla="*/ 485165 w 598324"/>
                <a:gd name="connsiteY10" fmla="*/ 327424 h 761503"/>
                <a:gd name="connsiteX11" fmla="*/ 487884 w 598324"/>
                <a:gd name="connsiteY11" fmla="*/ 373658 h 761503"/>
                <a:gd name="connsiteX12" fmla="*/ 485165 w 598324"/>
                <a:gd name="connsiteY12" fmla="*/ 419892 h 761503"/>
                <a:gd name="connsiteX13" fmla="*/ 485165 w 598324"/>
                <a:gd name="connsiteY13" fmla="*/ 463407 h 761503"/>
                <a:gd name="connsiteX14" fmla="*/ 482445 w 598324"/>
                <a:gd name="connsiteY14" fmla="*/ 515080 h 761503"/>
                <a:gd name="connsiteX15" fmla="*/ 482445 w 598324"/>
                <a:gd name="connsiteY15" fmla="*/ 558595 h 761503"/>
                <a:gd name="connsiteX16" fmla="*/ 479725 w 598324"/>
                <a:gd name="connsiteY16" fmla="*/ 602109 h 761503"/>
                <a:gd name="connsiteX17" fmla="*/ 485165 w 598324"/>
                <a:gd name="connsiteY17" fmla="*/ 648343 h 761503"/>
                <a:gd name="connsiteX18" fmla="*/ 474286 w 598324"/>
                <a:gd name="connsiteY18" fmla="*/ 675540 h 761503"/>
                <a:gd name="connsiteX19" fmla="*/ 428052 w 598324"/>
                <a:gd name="connsiteY19" fmla="*/ 691858 h 761503"/>
                <a:gd name="connsiteX20" fmla="*/ 387257 w 598324"/>
                <a:gd name="connsiteY20" fmla="*/ 683699 h 761503"/>
                <a:gd name="connsiteX21" fmla="*/ 351901 w 598324"/>
                <a:gd name="connsiteY21" fmla="*/ 664661 h 761503"/>
                <a:gd name="connsiteX22" fmla="*/ 305667 w 598324"/>
                <a:gd name="connsiteY22" fmla="*/ 596670 h 761503"/>
                <a:gd name="connsiteX23" fmla="*/ 270312 w 598324"/>
                <a:gd name="connsiteY23" fmla="*/ 509641 h 761503"/>
                <a:gd name="connsiteX24" fmla="*/ 251274 w 598324"/>
                <a:gd name="connsiteY24" fmla="*/ 460687 h 761503"/>
                <a:gd name="connsiteX25" fmla="*/ 224077 w 598324"/>
                <a:gd name="connsiteY25" fmla="*/ 381817 h 761503"/>
                <a:gd name="connsiteX26" fmla="*/ 207759 w 598324"/>
                <a:gd name="connsiteY26" fmla="*/ 330144 h 761503"/>
                <a:gd name="connsiteX27" fmla="*/ 191442 w 598324"/>
                <a:gd name="connsiteY27" fmla="*/ 286629 h 761503"/>
                <a:gd name="connsiteX28" fmla="*/ 183283 w 598324"/>
                <a:gd name="connsiteY28" fmla="*/ 278470 h 761503"/>
                <a:gd name="connsiteX29" fmla="*/ 180563 w 598324"/>
                <a:gd name="connsiteY29" fmla="*/ 292068 h 761503"/>
                <a:gd name="connsiteX30" fmla="*/ 180563 w 598324"/>
                <a:gd name="connsiteY30" fmla="*/ 305667 h 761503"/>
                <a:gd name="connsiteX31" fmla="*/ 183283 w 598324"/>
                <a:gd name="connsiteY31" fmla="*/ 354620 h 761503"/>
                <a:gd name="connsiteX32" fmla="*/ 188722 w 598324"/>
                <a:gd name="connsiteY32" fmla="*/ 449808 h 761503"/>
                <a:gd name="connsiteX33" fmla="*/ 188722 w 598324"/>
                <a:gd name="connsiteY33" fmla="*/ 479725 h 761503"/>
                <a:gd name="connsiteX34" fmla="*/ 188722 w 598324"/>
                <a:gd name="connsiteY34" fmla="*/ 542277 h 761503"/>
                <a:gd name="connsiteX35" fmla="*/ 186002 w 598324"/>
                <a:gd name="connsiteY35" fmla="*/ 615708 h 761503"/>
                <a:gd name="connsiteX36" fmla="*/ 186002 w 598324"/>
                <a:gd name="connsiteY36" fmla="*/ 637465 h 761503"/>
                <a:gd name="connsiteX37" fmla="*/ 183283 w 598324"/>
                <a:gd name="connsiteY37" fmla="*/ 664661 h 761503"/>
                <a:gd name="connsiteX38" fmla="*/ 226797 w 598324"/>
                <a:gd name="connsiteY38" fmla="*/ 664661 h 761503"/>
                <a:gd name="connsiteX39" fmla="*/ 253994 w 598324"/>
                <a:gd name="connsiteY39" fmla="*/ 680979 h 761503"/>
                <a:gd name="connsiteX40" fmla="*/ 248554 w 598324"/>
                <a:gd name="connsiteY40" fmla="*/ 697297 h 761503"/>
                <a:gd name="connsiteX41" fmla="*/ 234956 w 598324"/>
                <a:gd name="connsiteY41" fmla="*/ 705456 h 761503"/>
                <a:gd name="connsiteX42" fmla="*/ 218638 w 598324"/>
                <a:gd name="connsiteY42" fmla="*/ 708176 h 761503"/>
                <a:gd name="connsiteX43" fmla="*/ 183283 w 598324"/>
                <a:gd name="connsiteY43" fmla="*/ 708176 h 761503"/>
                <a:gd name="connsiteX44" fmla="*/ 150647 w 598324"/>
                <a:gd name="connsiteY44" fmla="*/ 708176 h 761503"/>
                <a:gd name="connsiteX45" fmla="*/ 107132 w 598324"/>
                <a:gd name="connsiteY45" fmla="*/ 708176 h 761503"/>
                <a:gd name="connsiteX46" fmla="*/ 88094 w 598324"/>
                <a:gd name="connsiteY46" fmla="*/ 708176 h 761503"/>
                <a:gd name="connsiteX47" fmla="*/ 69057 w 598324"/>
                <a:gd name="connsiteY47" fmla="*/ 702736 h 761503"/>
                <a:gd name="connsiteX48" fmla="*/ 58178 w 598324"/>
                <a:gd name="connsiteY48" fmla="*/ 686418 h 761503"/>
                <a:gd name="connsiteX49" fmla="*/ 60898 w 598324"/>
                <a:gd name="connsiteY49" fmla="*/ 678259 h 761503"/>
                <a:gd name="connsiteX50" fmla="*/ 77216 w 598324"/>
                <a:gd name="connsiteY50" fmla="*/ 670101 h 761503"/>
                <a:gd name="connsiteX51" fmla="*/ 120730 w 598324"/>
                <a:gd name="connsiteY51" fmla="*/ 664661 h 761503"/>
                <a:gd name="connsiteX52" fmla="*/ 131609 w 598324"/>
                <a:gd name="connsiteY52" fmla="*/ 664661 h 761503"/>
                <a:gd name="connsiteX53" fmla="*/ 134329 w 598324"/>
                <a:gd name="connsiteY53" fmla="*/ 539557 h 761503"/>
                <a:gd name="connsiteX54" fmla="*/ 134329 w 598324"/>
                <a:gd name="connsiteY54" fmla="*/ 504201 h 761503"/>
                <a:gd name="connsiteX55" fmla="*/ 131609 w 598324"/>
                <a:gd name="connsiteY55" fmla="*/ 376378 h 761503"/>
                <a:gd name="connsiteX56" fmla="*/ 131609 w 598324"/>
                <a:gd name="connsiteY56" fmla="*/ 302947 h 761503"/>
                <a:gd name="connsiteX57" fmla="*/ 134329 w 598324"/>
                <a:gd name="connsiteY57" fmla="*/ 221357 h 761503"/>
                <a:gd name="connsiteX58" fmla="*/ 137048 w 598324"/>
                <a:gd name="connsiteY58" fmla="*/ 123450 h 761503"/>
                <a:gd name="connsiteX59" fmla="*/ 107132 w 598324"/>
                <a:gd name="connsiteY59" fmla="*/ 123450 h 761503"/>
                <a:gd name="connsiteX60" fmla="*/ 88094 w 598324"/>
                <a:gd name="connsiteY60" fmla="*/ 123450 h 761503"/>
                <a:gd name="connsiteX61" fmla="*/ 69057 w 598324"/>
                <a:gd name="connsiteY61" fmla="*/ 118011 h 761503"/>
                <a:gd name="connsiteX62" fmla="*/ 58178 w 598324"/>
                <a:gd name="connsiteY62" fmla="*/ 101693 h 761503"/>
                <a:gd name="connsiteX63" fmla="*/ 60898 w 598324"/>
                <a:gd name="connsiteY63" fmla="*/ 93534 h 761503"/>
                <a:gd name="connsiteX64" fmla="*/ 77216 w 598324"/>
                <a:gd name="connsiteY64" fmla="*/ 85375 h 761503"/>
                <a:gd name="connsiteX65" fmla="*/ 131609 w 598324"/>
                <a:gd name="connsiteY65" fmla="*/ 79935 h 761503"/>
                <a:gd name="connsiteX66" fmla="*/ 161525 w 598324"/>
                <a:gd name="connsiteY66" fmla="*/ 79935 h 761503"/>
                <a:gd name="connsiteX67" fmla="*/ 177843 w 598324"/>
                <a:gd name="connsiteY67" fmla="*/ 66337 h 761503"/>
                <a:gd name="connsiteX68" fmla="*/ 202320 w 598324"/>
                <a:gd name="connsiteY68" fmla="*/ 58178 h 761503"/>
                <a:gd name="connsiteX69" fmla="*/ 234956 w 598324"/>
                <a:gd name="connsiteY69" fmla="*/ 77216 h 761503"/>
                <a:gd name="connsiteX70" fmla="*/ 251274 w 598324"/>
                <a:gd name="connsiteY70" fmla="*/ 107132 h 761503"/>
                <a:gd name="connsiteX71" fmla="*/ 267592 w 598324"/>
                <a:gd name="connsiteY71" fmla="*/ 147927 h 761503"/>
                <a:gd name="connsiteX72" fmla="*/ 281190 w 598324"/>
                <a:gd name="connsiteY72" fmla="*/ 183282 h 761503"/>
                <a:gd name="connsiteX73" fmla="*/ 297508 w 598324"/>
                <a:gd name="connsiteY73" fmla="*/ 224077 h 761503"/>
                <a:gd name="connsiteX74" fmla="*/ 308387 w 598324"/>
                <a:gd name="connsiteY74" fmla="*/ 264872 h 761503"/>
                <a:gd name="connsiteX75" fmla="*/ 319265 w 598324"/>
                <a:gd name="connsiteY75" fmla="*/ 300227 h 761503"/>
                <a:gd name="connsiteX76" fmla="*/ 351901 w 598324"/>
                <a:gd name="connsiteY76" fmla="*/ 379097 h 761503"/>
                <a:gd name="connsiteX77" fmla="*/ 365500 w 598324"/>
                <a:gd name="connsiteY77" fmla="*/ 417173 h 761503"/>
                <a:gd name="connsiteX78" fmla="*/ 379098 w 598324"/>
                <a:gd name="connsiteY78" fmla="*/ 457967 h 761503"/>
                <a:gd name="connsiteX79" fmla="*/ 395416 w 598324"/>
                <a:gd name="connsiteY79" fmla="*/ 496043 h 761503"/>
                <a:gd name="connsiteX80" fmla="*/ 406294 w 598324"/>
                <a:gd name="connsiteY80" fmla="*/ 512361 h 761503"/>
                <a:gd name="connsiteX81" fmla="*/ 411734 w 598324"/>
                <a:gd name="connsiteY81" fmla="*/ 531398 h 761503"/>
                <a:gd name="connsiteX82" fmla="*/ 419893 w 598324"/>
                <a:gd name="connsiteY82" fmla="*/ 558595 h 761503"/>
                <a:gd name="connsiteX83" fmla="*/ 425332 w 598324"/>
                <a:gd name="connsiteY83" fmla="*/ 564034 h 761503"/>
                <a:gd name="connsiteX84" fmla="*/ 430771 w 598324"/>
                <a:gd name="connsiteY84" fmla="*/ 558595 h 761503"/>
                <a:gd name="connsiteX85" fmla="*/ 430771 w 598324"/>
                <a:gd name="connsiteY85" fmla="*/ 550436 h 761503"/>
                <a:gd name="connsiteX86" fmla="*/ 430771 w 598324"/>
                <a:gd name="connsiteY86" fmla="*/ 501482 h 761503"/>
                <a:gd name="connsiteX87" fmla="*/ 430771 w 598324"/>
                <a:gd name="connsiteY87" fmla="*/ 403574 h 761503"/>
                <a:gd name="connsiteX88" fmla="*/ 425332 w 598324"/>
                <a:gd name="connsiteY88" fmla="*/ 313826 h 761503"/>
                <a:gd name="connsiteX89" fmla="*/ 425332 w 598324"/>
                <a:gd name="connsiteY89" fmla="*/ 248554 h 761503"/>
                <a:gd name="connsiteX90" fmla="*/ 425332 w 598324"/>
                <a:gd name="connsiteY90" fmla="*/ 210479 h 761503"/>
                <a:gd name="connsiteX91" fmla="*/ 422613 w 598324"/>
                <a:gd name="connsiteY91" fmla="*/ 153366 h 761503"/>
                <a:gd name="connsiteX92" fmla="*/ 425332 w 598324"/>
                <a:gd name="connsiteY92" fmla="*/ 123450 h 761503"/>
                <a:gd name="connsiteX93" fmla="*/ 398136 w 598324"/>
                <a:gd name="connsiteY93" fmla="*/ 123450 h 761503"/>
                <a:gd name="connsiteX94" fmla="*/ 379098 w 598324"/>
                <a:gd name="connsiteY94" fmla="*/ 123450 h 761503"/>
                <a:gd name="connsiteX95" fmla="*/ 360060 w 598324"/>
                <a:gd name="connsiteY95" fmla="*/ 118011 h 761503"/>
                <a:gd name="connsiteX96" fmla="*/ 349182 w 598324"/>
                <a:gd name="connsiteY96" fmla="*/ 101693 h 761503"/>
                <a:gd name="connsiteX97" fmla="*/ 351901 w 598324"/>
                <a:gd name="connsiteY97" fmla="*/ 93534 h 761503"/>
                <a:gd name="connsiteX98" fmla="*/ 368219 w 598324"/>
                <a:gd name="connsiteY98" fmla="*/ 85375 h 761503"/>
                <a:gd name="connsiteX99" fmla="*/ 422613 w 598324"/>
                <a:gd name="connsiteY99" fmla="*/ 79935 h 761503"/>
                <a:gd name="connsiteX100" fmla="*/ 444370 w 598324"/>
                <a:gd name="connsiteY100" fmla="*/ 79935 h 761503"/>
                <a:gd name="connsiteX101" fmla="*/ 463407 w 598324"/>
                <a:gd name="connsiteY101" fmla="*/ 71776 h 761503"/>
                <a:gd name="connsiteX102" fmla="*/ 477006 w 598324"/>
                <a:gd name="connsiteY102" fmla="*/ 79935 h 761503"/>
                <a:gd name="connsiteX103" fmla="*/ 515081 w 598324"/>
                <a:gd name="connsiteY103" fmla="*/ 79935 h 761503"/>
                <a:gd name="connsiteX104" fmla="*/ 515081 w 598324"/>
                <a:gd name="connsiteY104" fmla="*/ 79935 h 761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</a:cxnLst>
              <a:rect l="l" t="t" r="r" b="b"/>
              <a:pathLst>
                <a:path w="598324" h="761503">
                  <a:moveTo>
                    <a:pt x="515081" y="79935"/>
                  </a:moveTo>
                  <a:cubicBezTo>
                    <a:pt x="523240" y="79935"/>
                    <a:pt x="542277" y="79935"/>
                    <a:pt x="542277" y="96253"/>
                  </a:cubicBezTo>
                  <a:cubicBezTo>
                    <a:pt x="542277" y="104412"/>
                    <a:pt x="542277" y="107132"/>
                    <a:pt x="536838" y="112571"/>
                  </a:cubicBezTo>
                  <a:cubicBezTo>
                    <a:pt x="534119" y="118011"/>
                    <a:pt x="528679" y="120730"/>
                    <a:pt x="523240" y="120730"/>
                  </a:cubicBezTo>
                  <a:cubicBezTo>
                    <a:pt x="515081" y="123450"/>
                    <a:pt x="512361" y="123450"/>
                    <a:pt x="506922" y="123450"/>
                  </a:cubicBezTo>
                  <a:cubicBezTo>
                    <a:pt x="504202" y="123450"/>
                    <a:pt x="490604" y="123450"/>
                    <a:pt x="477006" y="123450"/>
                  </a:cubicBezTo>
                  <a:cubicBezTo>
                    <a:pt x="477006" y="131609"/>
                    <a:pt x="479725" y="137048"/>
                    <a:pt x="479725" y="145207"/>
                  </a:cubicBezTo>
                  <a:cubicBezTo>
                    <a:pt x="479725" y="156086"/>
                    <a:pt x="477006" y="166964"/>
                    <a:pt x="477006" y="180563"/>
                  </a:cubicBezTo>
                  <a:cubicBezTo>
                    <a:pt x="477006" y="196881"/>
                    <a:pt x="479725" y="215918"/>
                    <a:pt x="482445" y="232236"/>
                  </a:cubicBezTo>
                  <a:cubicBezTo>
                    <a:pt x="485165" y="248554"/>
                    <a:pt x="485165" y="267592"/>
                    <a:pt x="485165" y="283909"/>
                  </a:cubicBezTo>
                  <a:cubicBezTo>
                    <a:pt x="485165" y="297508"/>
                    <a:pt x="485165" y="313826"/>
                    <a:pt x="485165" y="327424"/>
                  </a:cubicBezTo>
                  <a:cubicBezTo>
                    <a:pt x="485165" y="343742"/>
                    <a:pt x="487884" y="357340"/>
                    <a:pt x="487884" y="373658"/>
                  </a:cubicBezTo>
                  <a:cubicBezTo>
                    <a:pt x="487884" y="389976"/>
                    <a:pt x="485165" y="403574"/>
                    <a:pt x="485165" y="419892"/>
                  </a:cubicBezTo>
                  <a:cubicBezTo>
                    <a:pt x="485165" y="436210"/>
                    <a:pt x="485165" y="449808"/>
                    <a:pt x="485165" y="463407"/>
                  </a:cubicBezTo>
                  <a:cubicBezTo>
                    <a:pt x="485165" y="479725"/>
                    <a:pt x="485165" y="498762"/>
                    <a:pt x="482445" y="515080"/>
                  </a:cubicBezTo>
                  <a:cubicBezTo>
                    <a:pt x="482445" y="528678"/>
                    <a:pt x="482445" y="542277"/>
                    <a:pt x="482445" y="558595"/>
                  </a:cubicBezTo>
                  <a:cubicBezTo>
                    <a:pt x="482445" y="572193"/>
                    <a:pt x="479725" y="588511"/>
                    <a:pt x="479725" y="602109"/>
                  </a:cubicBezTo>
                  <a:cubicBezTo>
                    <a:pt x="479725" y="615708"/>
                    <a:pt x="485165" y="632025"/>
                    <a:pt x="485165" y="648343"/>
                  </a:cubicBezTo>
                  <a:cubicBezTo>
                    <a:pt x="485165" y="659222"/>
                    <a:pt x="482445" y="670101"/>
                    <a:pt x="474286" y="675540"/>
                  </a:cubicBezTo>
                  <a:cubicBezTo>
                    <a:pt x="460688" y="686418"/>
                    <a:pt x="444370" y="691858"/>
                    <a:pt x="428052" y="691858"/>
                  </a:cubicBezTo>
                  <a:cubicBezTo>
                    <a:pt x="414453" y="691858"/>
                    <a:pt x="400855" y="689138"/>
                    <a:pt x="387257" y="683699"/>
                  </a:cubicBezTo>
                  <a:cubicBezTo>
                    <a:pt x="373659" y="678259"/>
                    <a:pt x="360060" y="672820"/>
                    <a:pt x="351901" y="664661"/>
                  </a:cubicBezTo>
                  <a:cubicBezTo>
                    <a:pt x="330144" y="645624"/>
                    <a:pt x="316546" y="621147"/>
                    <a:pt x="305667" y="596670"/>
                  </a:cubicBezTo>
                  <a:cubicBezTo>
                    <a:pt x="292069" y="569473"/>
                    <a:pt x="281190" y="539557"/>
                    <a:pt x="270312" y="509641"/>
                  </a:cubicBezTo>
                  <a:cubicBezTo>
                    <a:pt x="264872" y="493323"/>
                    <a:pt x="256713" y="477005"/>
                    <a:pt x="251274" y="460687"/>
                  </a:cubicBezTo>
                  <a:cubicBezTo>
                    <a:pt x="240395" y="433490"/>
                    <a:pt x="232236" y="409014"/>
                    <a:pt x="224077" y="381817"/>
                  </a:cubicBezTo>
                  <a:cubicBezTo>
                    <a:pt x="218638" y="365499"/>
                    <a:pt x="213199" y="346462"/>
                    <a:pt x="207759" y="330144"/>
                  </a:cubicBezTo>
                  <a:cubicBezTo>
                    <a:pt x="202320" y="316545"/>
                    <a:pt x="196881" y="300227"/>
                    <a:pt x="191442" y="286629"/>
                  </a:cubicBezTo>
                  <a:cubicBezTo>
                    <a:pt x="188722" y="281190"/>
                    <a:pt x="186002" y="278470"/>
                    <a:pt x="183283" y="278470"/>
                  </a:cubicBezTo>
                  <a:cubicBezTo>
                    <a:pt x="180563" y="278470"/>
                    <a:pt x="180563" y="286629"/>
                    <a:pt x="180563" y="292068"/>
                  </a:cubicBezTo>
                  <a:cubicBezTo>
                    <a:pt x="180563" y="297508"/>
                    <a:pt x="180563" y="302947"/>
                    <a:pt x="180563" y="305667"/>
                  </a:cubicBezTo>
                  <a:cubicBezTo>
                    <a:pt x="180563" y="321985"/>
                    <a:pt x="183283" y="338303"/>
                    <a:pt x="183283" y="354620"/>
                  </a:cubicBezTo>
                  <a:cubicBezTo>
                    <a:pt x="183283" y="387256"/>
                    <a:pt x="186002" y="417173"/>
                    <a:pt x="188722" y="449808"/>
                  </a:cubicBezTo>
                  <a:cubicBezTo>
                    <a:pt x="188722" y="460687"/>
                    <a:pt x="188722" y="468846"/>
                    <a:pt x="188722" y="479725"/>
                  </a:cubicBezTo>
                  <a:cubicBezTo>
                    <a:pt x="188722" y="501482"/>
                    <a:pt x="188722" y="523239"/>
                    <a:pt x="188722" y="542277"/>
                  </a:cubicBezTo>
                  <a:cubicBezTo>
                    <a:pt x="188722" y="566754"/>
                    <a:pt x="186002" y="591231"/>
                    <a:pt x="186002" y="615708"/>
                  </a:cubicBezTo>
                  <a:cubicBezTo>
                    <a:pt x="186002" y="623866"/>
                    <a:pt x="186002" y="632025"/>
                    <a:pt x="186002" y="637465"/>
                  </a:cubicBezTo>
                  <a:cubicBezTo>
                    <a:pt x="186002" y="645624"/>
                    <a:pt x="183283" y="656502"/>
                    <a:pt x="183283" y="664661"/>
                  </a:cubicBezTo>
                  <a:cubicBezTo>
                    <a:pt x="202320" y="664661"/>
                    <a:pt x="218638" y="664661"/>
                    <a:pt x="226797" y="664661"/>
                  </a:cubicBezTo>
                  <a:cubicBezTo>
                    <a:pt x="234956" y="664661"/>
                    <a:pt x="253994" y="664661"/>
                    <a:pt x="253994" y="680979"/>
                  </a:cubicBezTo>
                  <a:cubicBezTo>
                    <a:pt x="253994" y="689138"/>
                    <a:pt x="253994" y="691858"/>
                    <a:pt x="248554" y="697297"/>
                  </a:cubicBezTo>
                  <a:cubicBezTo>
                    <a:pt x="245835" y="702736"/>
                    <a:pt x="240395" y="705456"/>
                    <a:pt x="234956" y="705456"/>
                  </a:cubicBezTo>
                  <a:cubicBezTo>
                    <a:pt x="226797" y="708176"/>
                    <a:pt x="224077" y="708176"/>
                    <a:pt x="218638" y="708176"/>
                  </a:cubicBezTo>
                  <a:cubicBezTo>
                    <a:pt x="215918" y="708176"/>
                    <a:pt x="199600" y="708176"/>
                    <a:pt x="183283" y="708176"/>
                  </a:cubicBezTo>
                  <a:cubicBezTo>
                    <a:pt x="166965" y="708176"/>
                    <a:pt x="153366" y="708176"/>
                    <a:pt x="150647" y="708176"/>
                  </a:cubicBezTo>
                  <a:cubicBezTo>
                    <a:pt x="139768" y="708176"/>
                    <a:pt x="120730" y="708176"/>
                    <a:pt x="107132" y="708176"/>
                  </a:cubicBezTo>
                  <a:cubicBezTo>
                    <a:pt x="101693" y="708176"/>
                    <a:pt x="96254" y="708176"/>
                    <a:pt x="88094" y="708176"/>
                  </a:cubicBezTo>
                  <a:cubicBezTo>
                    <a:pt x="82655" y="708176"/>
                    <a:pt x="74496" y="708176"/>
                    <a:pt x="69057" y="702736"/>
                  </a:cubicBezTo>
                  <a:cubicBezTo>
                    <a:pt x="63617" y="700017"/>
                    <a:pt x="58178" y="691858"/>
                    <a:pt x="58178" y="686418"/>
                  </a:cubicBezTo>
                  <a:cubicBezTo>
                    <a:pt x="58178" y="683699"/>
                    <a:pt x="58178" y="680979"/>
                    <a:pt x="60898" y="678259"/>
                  </a:cubicBezTo>
                  <a:cubicBezTo>
                    <a:pt x="63617" y="675540"/>
                    <a:pt x="71777" y="672820"/>
                    <a:pt x="77216" y="670101"/>
                  </a:cubicBezTo>
                  <a:cubicBezTo>
                    <a:pt x="90814" y="667381"/>
                    <a:pt x="115291" y="664661"/>
                    <a:pt x="120730" y="664661"/>
                  </a:cubicBezTo>
                  <a:cubicBezTo>
                    <a:pt x="123450" y="664661"/>
                    <a:pt x="126170" y="664661"/>
                    <a:pt x="131609" y="664661"/>
                  </a:cubicBezTo>
                  <a:cubicBezTo>
                    <a:pt x="131609" y="623866"/>
                    <a:pt x="134329" y="583072"/>
                    <a:pt x="134329" y="539557"/>
                  </a:cubicBezTo>
                  <a:cubicBezTo>
                    <a:pt x="134329" y="528678"/>
                    <a:pt x="134329" y="515080"/>
                    <a:pt x="134329" y="504201"/>
                  </a:cubicBezTo>
                  <a:cubicBezTo>
                    <a:pt x="131609" y="460687"/>
                    <a:pt x="131609" y="417173"/>
                    <a:pt x="131609" y="376378"/>
                  </a:cubicBezTo>
                  <a:cubicBezTo>
                    <a:pt x="131609" y="351901"/>
                    <a:pt x="131609" y="327424"/>
                    <a:pt x="131609" y="302947"/>
                  </a:cubicBezTo>
                  <a:cubicBezTo>
                    <a:pt x="131609" y="275751"/>
                    <a:pt x="131609" y="248554"/>
                    <a:pt x="134329" y="221357"/>
                  </a:cubicBezTo>
                  <a:cubicBezTo>
                    <a:pt x="134329" y="188722"/>
                    <a:pt x="137048" y="156086"/>
                    <a:pt x="137048" y="123450"/>
                  </a:cubicBezTo>
                  <a:cubicBezTo>
                    <a:pt x="126170" y="123450"/>
                    <a:pt x="115291" y="123450"/>
                    <a:pt x="107132" y="123450"/>
                  </a:cubicBezTo>
                  <a:cubicBezTo>
                    <a:pt x="101693" y="123450"/>
                    <a:pt x="96254" y="123450"/>
                    <a:pt x="88094" y="123450"/>
                  </a:cubicBezTo>
                  <a:cubicBezTo>
                    <a:pt x="82655" y="123450"/>
                    <a:pt x="74496" y="120730"/>
                    <a:pt x="69057" y="118011"/>
                  </a:cubicBezTo>
                  <a:cubicBezTo>
                    <a:pt x="63617" y="115291"/>
                    <a:pt x="58178" y="107132"/>
                    <a:pt x="58178" y="101693"/>
                  </a:cubicBezTo>
                  <a:cubicBezTo>
                    <a:pt x="58178" y="98973"/>
                    <a:pt x="58178" y="96253"/>
                    <a:pt x="60898" y="93534"/>
                  </a:cubicBezTo>
                  <a:cubicBezTo>
                    <a:pt x="63617" y="90814"/>
                    <a:pt x="71777" y="88094"/>
                    <a:pt x="77216" y="85375"/>
                  </a:cubicBezTo>
                  <a:cubicBezTo>
                    <a:pt x="90814" y="82655"/>
                    <a:pt x="126170" y="79935"/>
                    <a:pt x="131609" y="79935"/>
                  </a:cubicBezTo>
                  <a:cubicBezTo>
                    <a:pt x="137048" y="79935"/>
                    <a:pt x="147927" y="79935"/>
                    <a:pt x="161525" y="79935"/>
                  </a:cubicBezTo>
                  <a:cubicBezTo>
                    <a:pt x="166965" y="74496"/>
                    <a:pt x="172404" y="71776"/>
                    <a:pt x="177843" y="66337"/>
                  </a:cubicBezTo>
                  <a:cubicBezTo>
                    <a:pt x="186002" y="60898"/>
                    <a:pt x="194161" y="58178"/>
                    <a:pt x="202320" y="58178"/>
                  </a:cubicBezTo>
                  <a:cubicBezTo>
                    <a:pt x="215918" y="58178"/>
                    <a:pt x="226797" y="63617"/>
                    <a:pt x="234956" y="77216"/>
                  </a:cubicBezTo>
                  <a:cubicBezTo>
                    <a:pt x="240395" y="88094"/>
                    <a:pt x="248554" y="96253"/>
                    <a:pt x="251274" y="107132"/>
                  </a:cubicBezTo>
                  <a:cubicBezTo>
                    <a:pt x="256713" y="120730"/>
                    <a:pt x="259433" y="134328"/>
                    <a:pt x="267592" y="147927"/>
                  </a:cubicBezTo>
                  <a:cubicBezTo>
                    <a:pt x="273031" y="158805"/>
                    <a:pt x="275751" y="172404"/>
                    <a:pt x="281190" y="183282"/>
                  </a:cubicBezTo>
                  <a:cubicBezTo>
                    <a:pt x="286630" y="196881"/>
                    <a:pt x="292069" y="210479"/>
                    <a:pt x="297508" y="224077"/>
                  </a:cubicBezTo>
                  <a:cubicBezTo>
                    <a:pt x="300228" y="237675"/>
                    <a:pt x="305667" y="251274"/>
                    <a:pt x="308387" y="264872"/>
                  </a:cubicBezTo>
                  <a:cubicBezTo>
                    <a:pt x="311106" y="278470"/>
                    <a:pt x="311106" y="289349"/>
                    <a:pt x="319265" y="300227"/>
                  </a:cubicBezTo>
                  <a:cubicBezTo>
                    <a:pt x="332864" y="324704"/>
                    <a:pt x="346462" y="351901"/>
                    <a:pt x="351901" y="379097"/>
                  </a:cubicBezTo>
                  <a:cubicBezTo>
                    <a:pt x="354621" y="392696"/>
                    <a:pt x="360060" y="403574"/>
                    <a:pt x="365500" y="417173"/>
                  </a:cubicBezTo>
                  <a:cubicBezTo>
                    <a:pt x="373659" y="430771"/>
                    <a:pt x="373659" y="444369"/>
                    <a:pt x="379098" y="457967"/>
                  </a:cubicBezTo>
                  <a:cubicBezTo>
                    <a:pt x="381818" y="471566"/>
                    <a:pt x="387257" y="482444"/>
                    <a:pt x="395416" y="496043"/>
                  </a:cubicBezTo>
                  <a:cubicBezTo>
                    <a:pt x="398136" y="501482"/>
                    <a:pt x="403575" y="506921"/>
                    <a:pt x="406294" y="512361"/>
                  </a:cubicBezTo>
                  <a:cubicBezTo>
                    <a:pt x="409014" y="517800"/>
                    <a:pt x="409014" y="525959"/>
                    <a:pt x="411734" y="531398"/>
                  </a:cubicBezTo>
                  <a:cubicBezTo>
                    <a:pt x="414453" y="539557"/>
                    <a:pt x="417173" y="550436"/>
                    <a:pt x="419893" y="558595"/>
                  </a:cubicBezTo>
                  <a:cubicBezTo>
                    <a:pt x="422613" y="561314"/>
                    <a:pt x="422613" y="564034"/>
                    <a:pt x="425332" y="564034"/>
                  </a:cubicBezTo>
                  <a:cubicBezTo>
                    <a:pt x="428052" y="564034"/>
                    <a:pt x="428052" y="561314"/>
                    <a:pt x="430771" y="558595"/>
                  </a:cubicBezTo>
                  <a:cubicBezTo>
                    <a:pt x="430771" y="555875"/>
                    <a:pt x="430771" y="553155"/>
                    <a:pt x="430771" y="550436"/>
                  </a:cubicBezTo>
                  <a:cubicBezTo>
                    <a:pt x="430771" y="534118"/>
                    <a:pt x="430771" y="517800"/>
                    <a:pt x="430771" y="501482"/>
                  </a:cubicBezTo>
                  <a:cubicBezTo>
                    <a:pt x="430771" y="468846"/>
                    <a:pt x="433491" y="436210"/>
                    <a:pt x="430771" y="403574"/>
                  </a:cubicBezTo>
                  <a:cubicBezTo>
                    <a:pt x="430771" y="373658"/>
                    <a:pt x="425332" y="343742"/>
                    <a:pt x="425332" y="313826"/>
                  </a:cubicBezTo>
                  <a:cubicBezTo>
                    <a:pt x="425332" y="292068"/>
                    <a:pt x="425332" y="270311"/>
                    <a:pt x="425332" y="248554"/>
                  </a:cubicBezTo>
                  <a:cubicBezTo>
                    <a:pt x="425332" y="234956"/>
                    <a:pt x="425332" y="224077"/>
                    <a:pt x="425332" y="210479"/>
                  </a:cubicBezTo>
                  <a:cubicBezTo>
                    <a:pt x="425332" y="191441"/>
                    <a:pt x="422613" y="172404"/>
                    <a:pt x="422613" y="153366"/>
                  </a:cubicBezTo>
                  <a:cubicBezTo>
                    <a:pt x="422613" y="142487"/>
                    <a:pt x="422613" y="134328"/>
                    <a:pt x="425332" y="123450"/>
                  </a:cubicBezTo>
                  <a:cubicBezTo>
                    <a:pt x="417173" y="123450"/>
                    <a:pt x="406294" y="123450"/>
                    <a:pt x="398136" y="123450"/>
                  </a:cubicBezTo>
                  <a:cubicBezTo>
                    <a:pt x="392696" y="123450"/>
                    <a:pt x="387257" y="123450"/>
                    <a:pt x="379098" y="123450"/>
                  </a:cubicBezTo>
                  <a:cubicBezTo>
                    <a:pt x="373659" y="123450"/>
                    <a:pt x="365500" y="120730"/>
                    <a:pt x="360060" y="118011"/>
                  </a:cubicBezTo>
                  <a:cubicBezTo>
                    <a:pt x="354621" y="115291"/>
                    <a:pt x="349182" y="107132"/>
                    <a:pt x="349182" y="101693"/>
                  </a:cubicBezTo>
                  <a:cubicBezTo>
                    <a:pt x="349182" y="98973"/>
                    <a:pt x="349182" y="96253"/>
                    <a:pt x="351901" y="93534"/>
                  </a:cubicBezTo>
                  <a:cubicBezTo>
                    <a:pt x="354621" y="90814"/>
                    <a:pt x="362780" y="88094"/>
                    <a:pt x="368219" y="85375"/>
                  </a:cubicBezTo>
                  <a:cubicBezTo>
                    <a:pt x="381818" y="82655"/>
                    <a:pt x="417173" y="79935"/>
                    <a:pt x="422613" y="79935"/>
                  </a:cubicBezTo>
                  <a:cubicBezTo>
                    <a:pt x="428052" y="79935"/>
                    <a:pt x="433491" y="79935"/>
                    <a:pt x="444370" y="79935"/>
                  </a:cubicBezTo>
                  <a:cubicBezTo>
                    <a:pt x="449809" y="74496"/>
                    <a:pt x="455248" y="71776"/>
                    <a:pt x="463407" y="71776"/>
                  </a:cubicBezTo>
                  <a:cubicBezTo>
                    <a:pt x="471566" y="71776"/>
                    <a:pt x="477006" y="74496"/>
                    <a:pt x="477006" y="79935"/>
                  </a:cubicBezTo>
                  <a:cubicBezTo>
                    <a:pt x="493324" y="79935"/>
                    <a:pt x="506922" y="79935"/>
                    <a:pt x="515081" y="79935"/>
                  </a:cubicBezTo>
                  <a:lnTo>
                    <a:pt x="515081" y="79935"/>
                  </a:ln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/>
            </a:p>
          </p:txBody>
        </p:sp>
        <p:sp>
          <p:nvSpPr>
            <p:cNvPr id="44" name="Freeform: Shape 43">
              <a:extLst>
                <a:ext uri="{FF2B5EF4-FFF2-40B4-BE49-F238E27FC236}">
                  <a16:creationId xmlns:a16="http://schemas.microsoft.com/office/drawing/2014/main" id="{891440AF-BE0A-4FCF-8580-12C0D6978EDB}"/>
                </a:ext>
              </a:extLst>
            </p:cNvPr>
            <p:cNvSpPr/>
            <p:nvPr/>
          </p:nvSpPr>
          <p:spPr>
            <a:xfrm>
              <a:off x="5139126" y="4192158"/>
              <a:ext cx="516735" cy="788700"/>
            </a:xfrm>
            <a:custGeom>
              <a:avLst/>
              <a:gdLst>
                <a:gd name="connsiteX0" fmla="*/ 464616 w 516735"/>
                <a:gd name="connsiteY0" fmla="*/ 436210 h 788699"/>
                <a:gd name="connsiteX1" fmla="*/ 445578 w 516735"/>
                <a:gd name="connsiteY1" fmla="*/ 455248 h 788699"/>
                <a:gd name="connsiteX2" fmla="*/ 404784 w 516735"/>
                <a:gd name="connsiteY2" fmla="*/ 466126 h 788699"/>
                <a:gd name="connsiteX3" fmla="*/ 385746 w 516735"/>
                <a:gd name="connsiteY3" fmla="*/ 479725 h 788699"/>
                <a:gd name="connsiteX4" fmla="*/ 388466 w 516735"/>
                <a:gd name="connsiteY4" fmla="*/ 512361 h 788699"/>
                <a:gd name="connsiteX5" fmla="*/ 388466 w 516735"/>
                <a:gd name="connsiteY5" fmla="*/ 544997 h 788699"/>
                <a:gd name="connsiteX6" fmla="*/ 388466 w 516735"/>
                <a:gd name="connsiteY6" fmla="*/ 566754 h 788699"/>
                <a:gd name="connsiteX7" fmla="*/ 391185 w 516735"/>
                <a:gd name="connsiteY7" fmla="*/ 632026 h 788699"/>
                <a:gd name="connsiteX8" fmla="*/ 393905 w 516735"/>
                <a:gd name="connsiteY8" fmla="*/ 683699 h 788699"/>
                <a:gd name="connsiteX9" fmla="*/ 377587 w 516735"/>
                <a:gd name="connsiteY9" fmla="*/ 724494 h 788699"/>
                <a:gd name="connsiteX10" fmla="*/ 361269 w 516735"/>
                <a:gd name="connsiteY10" fmla="*/ 719054 h 788699"/>
                <a:gd name="connsiteX11" fmla="*/ 353110 w 516735"/>
                <a:gd name="connsiteY11" fmla="*/ 702737 h 788699"/>
                <a:gd name="connsiteX12" fmla="*/ 350390 w 516735"/>
                <a:gd name="connsiteY12" fmla="*/ 686419 h 788699"/>
                <a:gd name="connsiteX13" fmla="*/ 353110 w 516735"/>
                <a:gd name="connsiteY13" fmla="*/ 659222 h 788699"/>
                <a:gd name="connsiteX14" fmla="*/ 353110 w 516735"/>
                <a:gd name="connsiteY14" fmla="*/ 656502 h 788699"/>
                <a:gd name="connsiteX15" fmla="*/ 317755 w 516735"/>
                <a:gd name="connsiteY15" fmla="*/ 708176 h 788699"/>
                <a:gd name="connsiteX16" fmla="*/ 241604 w 516735"/>
                <a:gd name="connsiteY16" fmla="*/ 735372 h 788699"/>
                <a:gd name="connsiteX17" fmla="*/ 187211 w 516735"/>
                <a:gd name="connsiteY17" fmla="*/ 727214 h 788699"/>
                <a:gd name="connsiteX18" fmla="*/ 135538 w 516735"/>
                <a:gd name="connsiteY18" fmla="*/ 694578 h 788699"/>
                <a:gd name="connsiteX19" fmla="*/ 86584 w 516735"/>
                <a:gd name="connsiteY19" fmla="*/ 621147 h 788699"/>
                <a:gd name="connsiteX20" fmla="*/ 67546 w 516735"/>
                <a:gd name="connsiteY20" fmla="*/ 555875 h 788699"/>
                <a:gd name="connsiteX21" fmla="*/ 59387 w 516735"/>
                <a:gd name="connsiteY21" fmla="*/ 509641 h 788699"/>
                <a:gd name="connsiteX22" fmla="*/ 59387 w 516735"/>
                <a:gd name="connsiteY22" fmla="*/ 468846 h 788699"/>
                <a:gd name="connsiteX23" fmla="*/ 86584 w 516735"/>
                <a:gd name="connsiteY23" fmla="*/ 302947 h 788699"/>
                <a:gd name="connsiteX24" fmla="*/ 108341 w 516735"/>
                <a:gd name="connsiteY24" fmla="*/ 224077 h 788699"/>
                <a:gd name="connsiteX25" fmla="*/ 146416 w 516735"/>
                <a:gd name="connsiteY25" fmla="*/ 145207 h 788699"/>
                <a:gd name="connsiteX26" fmla="*/ 198090 w 516735"/>
                <a:gd name="connsiteY26" fmla="*/ 85375 h 788699"/>
                <a:gd name="connsiteX27" fmla="*/ 228006 w 516735"/>
                <a:gd name="connsiteY27" fmla="*/ 69057 h 788699"/>
                <a:gd name="connsiteX28" fmla="*/ 268801 w 516735"/>
                <a:gd name="connsiteY28" fmla="*/ 58178 h 788699"/>
                <a:gd name="connsiteX29" fmla="*/ 274240 w 516735"/>
                <a:gd name="connsiteY29" fmla="*/ 58178 h 788699"/>
                <a:gd name="connsiteX30" fmla="*/ 295997 w 516735"/>
                <a:gd name="connsiteY30" fmla="*/ 60898 h 788699"/>
                <a:gd name="connsiteX31" fmla="*/ 331353 w 516735"/>
                <a:gd name="connsiteY31" fmla="*/ 71776 h 788699"/>
                <a:gd name="connsiteX32" fmla="*/ 350390 w 516735"/>
                <a:gd name="connsiteY32" fmla="*/ 93534 h 788699"/>
                <a:gd name="connsiteX33" fmla="*/ 353110 w 516735"/>
                <a:gd name="connsiteY33" fmla="*/ 74496 h 788699"/>
                <a:gd name="connsiteX34" fmla="*/ 358549 w 516735"/>
                <a:gd name="connsiteY34" fmla="*/ 63618 h 788699"/>
                <a:gd name="connsiteX35" fmla="*/ 366708 w 516735"/>
                <a:gd name="connsiteY35" fmla="*/ 58178 h 788699"/>
                <a:gd name="connsiteX36" fmla="*/ 374867 w 516735"/>
                <a:gd name="connsiteY36" fmla="*/ 63618 h 788699"/>
                <a:gd name="connsiteX37" fmla="*/ 383026 w 516735"/>
                <a:gd name="connsiteY37" fmla="*/ 82655 h 788699"/>
                <a:gd name="connsiteX38" fmla="*/ 385746 w 516735"/>
                <a:gd name="connsiteY38" fmla="*/ 126170 h 788699"/>
                <a:gd name="connsiteX39" fmla="*/ 388466 w 516735"/>
                <a:gd name="connsiteY39" fmla="*/ 186002 h 788699"/>
                <a:gd name="connsiteX40" fmla="*/ 391185 w 516735"/>
                <a:gd name="connsiteY40" fmla="*/ 237676 h 788699"/>
                <a:gd name="connsiteX41" fmla="*/ 374867 w 516735"/>
                <a:gd name="connsiteY41" fmla="*/ 278470 h 788699"/>
                <a:gd name="connsiteX42" fmla="*/ 358549 w 516735"/>
                <a:gd name="connsiteY42" fmla="*/ 273031 h 788699"/>
                <a:gd name="connsiteX43" fmla="*/ 350390 w 516735"/>
                <a:gd name="connsiteY43" fmla="*/ 256713 h 788699"/>
                <a:gd name="connsiteX44" fmla="*/ 347671 w 516735"/>
                <a:gd name="connsiteY44" fmla="*/ 240395 h 788699"/>
                <a:gd name="connsiteX45" fmla="*/ 347671 w 516735"/>
                <a:gd name="connsiteY45" fmla="*/ 213199 h 788699"/>
                <a:gd name="connsiteX46" fmla="*/ 344951 w 516735"/>
                <a:gd name="connsiteY46" fmla="*/ 194161 h 788699"/>
                <a:gd name="connsiteX47" fmla="*/ 339512 w 516735"/>
                <a:gd name="connsiteY47" fmla="*/ 150647 h 788699"/>
                <a:gd name="connsiteX48" fmla="*/ 323194 w 516735"/>
                <a:gd name="connsiteY48" fmla="*/ 112571 h 788699"/>
                <a:gd name="connsiteX49" fmla="*/ 293278 w 516735"/>
                <a:gd name="connsiteY49" fmla="*/ 101693 h 788699"/>
                <a:gd name="connsiteX50" fmla="*/ 263361 w 516735"/>
                <a:gd name="connsiteY50" fmla="*/ 120730 h 788699"/>
                <a:gd name="connsiteX51" fmla="*/ 241604 w 516735"/>
                <a:gd name="connsiteY51" fmla="*/ 153366 h 788699"/>
                <a:gd name="connsiteX52" fmla="*/ 233445 w 516735"/>
                <a:gd name="connsiteY52" fmla="*/ 194161 h 788699"/>
                <a:gd name="connsiteX53" fmla="*/ 225286 w 516735"/>
                <a:gd name="connsiteY53" fmla="*/ 232236 h 788699"/>
                <a:gd name="connsiteX54" fmla="*/ 217127 w 516735"/>
                <a:gd name="connsiteY54" fmla="*/ 275751 h 788699"/>
                <a:gd name="connsiteX55" fmla="*/ 211688 w 516735"/>
                <a:gd name="connsiteY55" fmla="*/ 316545 h 788699"/>
                <a:gd name="connsiteX56" fmla="*/ 206249 w 516735"/>
                <a:gd name="connsiteY56" fmla="*/ 354621 h 788699"/>
                <a:gd name="connsiteX57" fmla="*/ 200809 w 516735"/>
                <a:gd name="connsiteY57" fmla="*/ 398135 h 788699"/>
                <a:gd name="connsiteX58" fmla="*/ 195370 w 516735"/>
                <a:gd name="connsiteY58" fmla="*/ 438930 h 788699"/>
                <a:gd name="connsiteX59" fmla="*/ 192650 w 516735"/>
                <a:gd name="connsiteY59" fmla="*/ 474286 h 788699"/>
                <a:gd name="connsiteX60" fmla="*/ 195370 w 516735"/>
                <a:gd name="connsiteY60" fmla="*/ 525959 h 788699"/>
                <a:gd name="connsiteX61" fmla="*/ 208968 w 516735"/>
                <a:gd name="connsiteY61" fmla="*/ 596670 h 788699"/>
                <a:gd name="connsiteX62" fmla="*/ 214407 w 516735"/>
                <a:gd name="connsiteY62" fmla="*/ 623867 h 788699"/>
                <a:gd name="connsiteX63" fmla="*/ 228006 w 516735"/>
                <a:gd name="connsiteY63" fmla="*/ 656502 h 788699"/>
                <a:gd name="connsiteX64" fmla="*/ 271520 w 516735"/>
                <a:gd name="connsiteY64" fmla="*/ 689138 h 788699"/>
                <a:gd name="connsiteX65" fmla="*/ 306876 w 516735"/>
                <a:gd name="connsiteY65" fmla="*/ 664661 h 788699"/>
                <a:gd name="connsiteX66" fmla="*/ 331353 w 516735"/>
                <a:gd name="connsiteY66" fmla="*/ 602109 h 788699"/>
                <a:gd name="connsiteX67" fmla="*/ 336792 w 516735"/>
                <a:gd name="connsiteY67" fmla="*/ 544997 h 788699"/>
                <a:gd name="connsiteX68" fmla="*/ 336792 w 516735"/>
                <a:gd name="connsiteY68" fmla="*/ 498762 h 788699"/>
                <a:gd name="connsiteX69" fmla="*/ 336792 w 516735"/>
                <a:gd name="connsiteY69" fmla="*/ 490603 h 788699"/>
                <a:gd name="connsiteX70" fmla="*/ 320474 w 516735"/>
                <a:gd name="connsiteY70" fmla="*/ 477005 h 788699"/>
                <a:gd name="connsiteX71" fmla="*/ 282399 w 516735"/>
                <a:gd name="connsiteY71" fmla="*/ 479725 h 788699"/>
                <a:gd name="connsiteX72" fmla="*/ 252483 w 516735"/>
                <a:gd name="connsiteY72" fmla="*/ 474286 h 788699"/>
                <a:gd name="connsiteX73" fmla="*/ 247043 w 516735"/>
                <a:gd name="connsiteY73" fmla="*/ 466126 h 788699"/>
                <a:gd name="connsiteX74" fmla="*/ 249763 w 516735"/>
                <a:gd name="connsiteY74" fmla="*/ 457968 h 788699"/>
                <a:gd name="connsiteX75" fmla="*/ 268801 w 516735"/>
                <a:gd name="connsiteY75" fmla="*/ 447089 h 788699"/>
                <a:gd name="connsiteX76" fmla="*/ 312315 w 516735"/>
                <a:gd name="connsiteY76" fmla="*/ 436210 h 788699"/>
                <a:gd name="connsiteX77" fmla="*/ 353110 w 516735"/>
                <a:gd name="connsiteY77" fmla="*/ 430771 h 788699"/>
                <a:gd name="connsiteX78" fmla="*/ 385746 w 516735"/>
                <a:gd name="connsiteY78" fmla="*/ 430771 h 788699"/>
                <a:gd name="connsiteX79" fmla="*/ 437420 w 516735"/>
                <a:gd name="connsiteY79" fmla="*/ 428051 h 788699"/>
                <a:gd name="connsiteX80" fmla="*/ 464616 w 516735"/>
                <a:gd name="connsiteY80" fmla="*/ 436210 h 7886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</a:cxnLst>
              <a:rect l="l" t="t" r="r" b="b"/>
              <a:pathLst>
                <a:path w="516735" h="788699">
                  <a:moveTo>
                    <a:pt x="464616" y="436210"/>
                  </a:moveTo>
                  <a:cubicBezTo>
                    <a:pt x="464616" y="447089"/>
                    <a:pt x="453737" y="452528"/>
                    <a:pt x="445578" y="455248"/>
                  </a:cubicBezTo>
                  <a:cubicBezTo>
                    <a:pt x="434700" y="460687"/>
                    <a:pt x="415662" y="463407"/>
                    <a:pt x="404784" y="466126"/>
                  </a:cubicBezTo>
                  <a:cubicBezTo>
                    <a:pt x="393905" y="466126"/>
                    <a:pt x="385746" y="468846"/>
                    <a:pt x="385746" y="479725"/>
                  </a:cubicBezTo>
                  <a:cubicBezTo>
                    <a:pt x="385746" y="487884"/>
                    <a:pt x="388466" y="506921"/>
                    <a:pt x="388466" y="512361"/>
                  </a:cubicBezTo>
                  <a:cubicBezTo>
                    <a:pt x="388466" y="515080"/>
                    <a:pt x="388466" y="539557"/>
                    <a:pt x="388466" y="544997"/>
                  </a:cubicBezTo>
                  <a:cubicBezTo>
                    <a:pt x="388466" y="550436"/>
                    <a:pt x="388466" y="558595"/>
                    <a:pt x="388466" y="566754"/>
                  </a:cubicBezTo>
                  <a:cubicBezTo>
                    <a:pt x="388466" y="591231"/>
                    <a:pt x="388466" y="621147"/>
                    <a:pt x="391185" y="632026"/>
                  </a:cubicBezTo>
                  <a:cubicBezTo>
                    <a:pt x="393905" y="653783"/>
                    <a:pt x="393905" y="661942"/>
                    <a:pt x="393905" y="683699"/>
                  </a:cubicBezTo>
                  <a:cubicBezTo>
                    <a:pt x="393905" y="694578"/>
                    <a:pt x="393905" y="724494"/>
                    <a:pt x="377587" y="724494"/>
                  </a:cubicBezTo>
                  <a:cubicBezTo>
                    <a:pt x="369428" y="724494"/>
                    <a:pt x="366708" y="721774"/>
                    <a:pt x="361269" y="719054"/>
                  </a:cubicBezTo>
                  <a:cubicBezTo>
                    <a:pt x="355830" y="716335"/>
                    <a:pt x="353110" y="708176"/>
                    <a:pt x="353110" y="702737"/>
                  </a:cubicBezTo>
                  <a:cubicBezTo>
                    <a:pt x="350390" y="694578"/>
                    <a:pt x="350390" y="689138"/>
                    <a:pt x="350390" y="686419"/>
                  </a:cubicBezTo>
                  <a:cubicBezTo>
                    <a:pt x="350390" y="678260"/>
                    <a:pt x="353110" y="672820"/>
                    <a:pt x="353110" y="659222"/>
                  </a:cubicBezTo>
                  <a:lnTo>
                    <a:pt x="353110" y="656502"/>
                  </a:lnTo>
                  <a:cubicBezTo>
                    <a:pt x="347671" y="675540"/>
                    <a:pt x="334072" y="694578"/>
                    <a:pt x="317755" y="708176"/>
                  </a:cubicBezTo>
                  <a:cubicBezTo>
                    <a:pt x="293278" y="727214"/>
                    <a:pt x="274240" y="735372"/>
                    <a:pt x="241604" y="735372"/>
                  </a:cubicBezTo>
                  <a:cubicBezTo>
                    <a:pt x="222566" y="735372"/>
                    <a:pt x="203529" y="732653"/>
                    <a:pt x="187211" y="727214"/>
                  </a:cubicBezTo>
                  <a:cubicBezTo>
                    <a:pt x="165454" y="719054"/>
                    <a:pt x="149136" y="708176"/>
                    <a:pt x="135538" y="694578"/>
                  </a:cubicBezTo>
                  <a:cubicBezTo>
                    <a:pt x="113780" y="672820"/>
                    <a:pt x="100182" y="648343"/>
                    <a:pt x="86584" y="621147"/>
                  </a:cubicBezTo>
                  <a:cubicBezTo>
                    <a:pt x="75705" y="599390"/>
                    <a:pt x="70266" y="580352"/>
                    <a:pt x="67546" y="555875"/>
                  </a:cubicBezTo>
                  <a:cubicBezTo>
                    <a:pt x="64826" y="539557"/>
                    <a:pt x="62107" y="525959"/>
                    <a:pt x="59387" y="509641"/>
                  </a:cubicBezTo>
                  <a:cubicBezTo>
                    <a:pt x="56667" y="493323"/>
                    <a:pt x="59387" y="485164"/>
                    <a:pt x="59387" y="468846"/>
                  </a:cubicBezTo>
                  <a:cubicBezTo>
                    <a:pt x="59387" y="414453"/>
                    <a:pt x="72985" y="362780"/>
                    <a:pt x="86584" y="302947"/>
                  </a:cubicBezTo>
                  <a:cubicBezTo>
                    <a:pt x="92023" y="275751"/>
                    <a:pt x="100182" y="248554"/>
                    <a:pt x="108341" y="224077"/>
                  </a:cubicBezTo>
                  <a:cubicBezTo>
                    <a:pt x="116500" y="196881"/>
                    <a:pt x="130098" y="169684"/>
                    <a:pt x="146416" y="145207"/>
                  </a:cubicBezTo>
                  <a:cubicBezTo>
                    <a:pt x="160014" y="123450"/>
                    <a:pt x="176332" y="101693"/>
                    <a:pt x="198090" y="85375"/>
                  </a:cubicBezTo>
                  <a:cubicBezTo>
                    <a:pt x="206249" y="77216"/>
                    <a:pt x="217127" y="71776"/>
                    <a:pt x="228006" y="69057"/>
                  </a:cubicBezTo>
                  <a:cubicBezTo>
                    <a:pt x="241604" y="63618"/>
                    <a:pt x="255202" y="58178"/>
                    <a:pt x="268801" y="58178"/>
                  </a:cubicBezTo>
                  <a:cubicBezTo>
                    <a:pt x="271520" y="58178"/>
                    <a:pt x="274240" y="58178"/>
                    <a:pt x="274240" y="58178"/>
                  </a:cubicBezTo>
                  <a:cubicBezTo>
                    <a:pt x="279679" y="58178"/>
                    <a:pt x="285119" y="58178"/>
                    <a:pt x="295997" y="60898"/>
                  </a:cubicBezTo>
                  <a:cubicBezTo>
                    <a:pt x="309595" y="63618"/>
                    <a:pt x="320474" y="66337"/>
                    <a:pt x="331353" y="71776"/>
                  </a:cubicBezTo>
                  <a:cubicBezTo>
                    <a:pt x="339512" y="77216"/>
                    <a:pt x="347671" y="85375"/>
                    <a:pt x="350390" y="93534"/>
                  </a:cubicBezTo>
                  <a:cubicBezTo>
                    <a:pt x="350390" y="88095"/>
                    <a:pt x="353110" y="79936"/>
                    <a:pt x="353110" y="74496"/>
                  </a:cubicBezTo>
                  <a:cubicBezTo>
                    <a:pt x="355830" y="71776"/>
                    <a:pt x="355830" y="69057"/>
                    <a:pt x="358549" y="63618"/>
                  </a:cubicBezTo>
                  <a:cubicBezTo>
                    <a:pt x="361269" y="60898"/>
                    <a:pt x="363989" y="58178"/>
                    <a:pt x="366708" y="58178"/>
                  </a:cubicBezTo>
                  <a:cubicBezTo>
                    <a:pt x="369428" y="58178"/>
                    <a:pt x="372148" y="60898"/>
                    <a:pt x="374867" y="63618"/>
                  </a:cubicBezTo>
                  <a:cubicBezTo>
                    <a:pt x="377587" y="69057"/>
                    <a:pt x="380307" y="77216"/>
                    <a:pt x="383026" y="82655"/>
                  </a:cubicBezTo>
                  <a:cubicBezTo>
                    <a:pt x="383026" y="90814"/>
                    <a:pt x="385746" y="107132"/>
                    <a:pt x="385746" y="126170"/>
                  </a:cubicBezTo>
                  <a:cubicBezTo>
                    <a:pt x="385746" y="150647"/>
                    <a:pt x="385746" y="177843"/>
                    <a:pt x="388466" y="186002"/>
                  </a:cubicBezTo>
                  <a:cubicBezTo>
                    <a:pt x="391185" y="207759"/>
                    <a:pt x="391185" y="215918"/>
                    <a:pt x="391185" y="237676"/>
                  </a:cubicBezTo>
                  <a:cubicBezTo>
                    <a:pt x="391185" y="248554"/>
                    <a:pt x="391185" y="278470"/>
                    <a:pt x="374867" y="278470"/>
                  </a:cubicBezTo>
                  <a:cubicBezTo>
                    <a:pt x="366708" y="278470"/>
                    <a:pt x="363989" y="275751"/>
                    <a:pt x="358549" y="273031"/>
                  </a:cubicBezTo>
                  <a:cubicBezTo>
                    <a:pt x="353110" y="270311"/>
                    <a:pt x="350390" y="262152"/>
                    <a:pt x="350390" y="256713"/>
                  </a:cubicBezTo>
                  <a:cubicBezTo>
                    <a:pt x="350390" y="251274"/>
                    <a:pt x="347671" y="245834"/>
                    <a:pt x="347671" y="240395"/>
                  </a:cubicBezTo>
                  <a:cubicBezTo>
                    <a:pt x="347671" y="232236"/>
                    <a:pt x="347671" y="224077"/>
                    <a:pt x="347671" y="213199"/>
                  </a:cubicBezTo>
                  <a:cubicBezTo>
                    <a:pt x="347671" y="207759"/>
                    <a:pt x="347671" y="199600"/>
                    <a:pt x="344951" y="194161"/>
                  </a:cubicBezTo>
                  <a:cubicBezTo>
                    <a:pt x="342232" y="180563"/>
                    <a:pt x="342232" y="164245"/>
                    <a:pt x="339512" y="150647"/>
                  </a:cubicBezTo>
                  <a:cubicBezTo>
                    <a:pt x="336792" y="137048"/>
                    <a:pt x="331353" y="123450"/>
                    <a:pt x="323194" y="112571"/>
                  </a:cubicBezTo>
                  <a:cubicBezTo>
                    <a:pt x="317755" y="104412"/>
                    <a:pt x="304156" y="101693"/>
                    <a:pt x="293278" y="101693"/>
                  </a:cubicBezTo>
                  <a:cubicBezTo>
                    <a:pt x="279679" y="101693"/>
                    <a:pt x="271520" y="109852"/>
                    <a:pt x="263361" y="120730"/>
                  </a:cubicBezTo>
                  <a:cubicBezTo>
                    <a:pt x="257922" y="131609"/>
                    <a:pt x="247043" y="139768"/>
                    <a:pt x="241604" y="153366"/>
                  </a:cubicBezTo>
                  <a:cubicBezTo>
                    <a:pt x="236165" y="166964"/>
                    <a:pt x="233445" y="180563"/>
                    <a:pt x="233445" y="194161"/>
                  </a:cubicBezTo>
                  <a:cubicBezTo>
                    <a:pt x="233445" y="207759"/>
                    <a:pt x="230726" y="218638"/>
                    <a:pt x="225286" y="232236"/>
                  </a:cubicBezTo>
                  <a:cubicBezTo>
                    <a:pt x="219847" y="245834"/>
                    <a:pt x="219847" y="262152"/>
                    <a:pt x="217127" y="275751"/>
                  </a:cubicBezTo>
                  <a:cubicBezTo>
                    <a:pt x="214407" y="289349"/>
                    <a:pt x="214407" y="302947"/>
                    <a:pt x="211688" y="316545"/>
                  </a:cubicBezTo>
                  <a:cubicBezTo>
                    <a:pt x="211688" y="330144"/>
                    <a:pt x="206249" y="341022"/>
                    <a:pt x="206249" y="354621"/>
                  </a:cubicBezTo>
                  <a:cubicBezTo>
                    <a:pt x="203529" y="368219"/>
                    <a:pt x="203529" y="381817"/>
                    <a:pt x="200809" y="398135"/>
                  </a:cubicBezTo>
                  <a:cubicBezTo>
                    <a:pt x="198090" y="411733"/>
                    <a:pt x="198090" y="425332"/>
                    <a:pt x="195370" y="438930"/>
                  </a:cubicBezTo>
                  <a:cubicBezTo>
                    <a:pt x="195370" y="449809"/>
                    <a:pt x="192650" y="463407"/>
                    <a:pt x="192650" y="474286"/>
                  </a:cubicBezTo>
                  <a:cubicBezTo>
                    <a:pt x="192650" y="490603"/>
                    <a:pt x="195370" y="509641"/>
                    <a:pt x="195370" y="525959"/>
                  </a:cubicBezTo>
                  <a:cubicBezTo>
                    <a:pt x="195370" y="550436"/>
                    <a:pt x="203529" y="572193"/>
                    <a:pt x="208968" y="596670"/>
                  </a:cubicBezTo>
                  <a:cubicBezTo>
                    <a:pt x="211688" y="604829"/>
                    <a:pt x="211688" y="615708"/>
                    <a:pt x="214407" y="623867"/>
                  </a:cubicBezTo>
                  <a:cubicBezTo>
                    <a:pt x="217127" y="634745"/>
                    <a:pt x="222566" y="645624"/>
                    <a:pt x="228006" y="656502"/>
                  </a:cubicBezTo>
                  <a:cubicBezTo>
                    <a:pt x="236165" y="670101"/>
                    <a:pt x="252483" y="689138"/>
                    <a:pt x="271520" y="689138"/>
                  </a:cubicBezTo>
                  <a:cubicBezTo>
                    <a:pt x="287838" y="689138"/>
                    <a:pt x="298717" y="675540"/>
                    <a:pt x="306876" y="664661"/>
                  </a:cubicBezTo>
                  <a:cubicBezTo>
                    <a:pt x="320474" y="645624"/>
                    <a:pt x="325914" y="623867"/>
                    <a:pt x="331353" y="602109"/>
                  </a:cubicBezTo>
                  <a:cubicBezTo>
                    <a:pt x="334072" y="583072"/>
                    <a:pt x="336792" y="564034"/>
                    <a:pt x="336792" y="544997"/>
                  </a:cubicBezTo>
                  <a:cubicBezTo>
                    <a:pt x="336792" y="531398"/>
                    <a:pt x="336792" y="512361"/>
                    <a:pt x="336792" y="498762"/>
                  </a:cubicBezTo>
                  <a:cubicBezTo>
                    <a:pt x="336792" y="496043"/>
                    <a:pt x="336792" y="493323"/>
                    <a:pt x="336792" y="490603"/>
                  </a:cubicBezTo>
                  <a:cubicBezTo>
                    <a:pt x="336792" y="479725"/>
                    <a:pt x="336792" y="477005"/>
                    <a:pt x="320474" y="477005"/>
                  </a:cubicBezTo>
                  <a:cubicBezTo>
                    <a:pt x="309595" y="477005"/>
                    <a:pt x="295997" y="479725"/>
                    <a:pt x="282399" y="479725"/>
                  </a:cubicBezTo>
                  <a:cubicBezTo>
                    <a:pt x="271520" y="479725"/>
                    <a:pt x="260642" y="479725"/>
                    <a:pt x="252483" y="474286"/>
                  </a:cubicBezTo>
                  <a:cubicBezTo>
                    <a:pt x="249763" y="471566"/>
                    <a:pt x="247043" y="468846"/>
                    <a:pt x="247043" y="466126"/>
                  </a:cubicBezTo>
                  <a:cubicBezTo>
                    <a:pt x="247043" y="463407"/>
                    <a:pt x="247043" y="460687"/>
                    <a:pt x="249763" y="457968"/>
                  </a:cubicBezTo>
                  <a:cubicBezTo>
                    <a:pt x="255202" y="452528"/>
                    <a:pt x="260642" y="449809"/>
                    <a:pt x="268801" y="447089"/>
                  </a:cubicBezTo>
                  <a:cubicBezTo>
                    <a:pt x="282399" y="441650"/>
                    <a:pt x="295997" y="438930"/>
                    <a:pt x="312315" y="436210"/>
                  </a:cubicBezTo>
                  <a:cubicBezTo>
                    <a:pt x="325914" y="433491"/>
                    <a:pt x="339512" y="433491"/>
                    <a:pt x="353110" y="430771"/>
                  </a:cubicBezTo>
                  <a:cubicBezTo>
                    <a:pt x="363989" y="430771"/>
                    <a:pt x="374867" y="430771"/>
                    <a:pt x="385746" y="430771"/>
                  </a:cubicBezTo>
                  <a:cubicBezTo>
                    <a:pt x="402064" y="430771"/>
                    <a:pt x="426541" y="428051"/>
                    <a:pt x="437420" y="428051"/>
                  </a:cubicBezTo>
                  <a:cubicBezTo>
                    <a:pt x="451018" y="419892"/>
                    <a:pt x="464616" y="425332"/>
                    <a:pt x="464616" y="436210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/>
            </a:p>
          </p:txBody>
        </p:sp>
        <p:sp>
          <p:nvSpPr>
            <p:cNvPr id="45" name="Freeform: Shape 44">
              <a:extLst>
                <a:ext uri="{FF2B5EF4-FFF2-40B4-BE49-F238E27FC236}">
                  <a16:creationId xmlns:a16="http://schemas.microsoft.com/office/drawing/2014/main" id="{2824A636-A433-4E44-BCE1-4D747AEE8B2B}"/>
                </a:ext>
              </a:extLst>
            </p:cNvPr>
            <p:cNvSpPr/>
            <p:nvPr/>
          </p:nvSpPr>
          <p:spPr>
            <a:xfrm>
              <a:off x="5651630" y="4181279"/>
              <a:ext cx="734308" cy="788700"/>
            </a:xfrm>
            <a:custGeom>
              <a:avLst/>
              <a:gdLst>
                <a:gd name="connsiteX0" fmla="*/ 653783 w 734307"/>
                <a:gd name="connsiteY0" fmla="*/ 678259 h 788699"/>
                <a:gd name="connsiteX1" fmla="*/ 691859 w 734307"/>
                <a:gd name="connsiteY1" fmla="*/ 694577 h 788699"/>
                <a:gd name="connsiteX2" fmla="*/ 686419 w 734307"/>
                <a:gd name="connsiteY2" fmla="*/ 710895 h 788699"/>
                <a:gd name="connsiteX3" fmla="*/ 670101 w 734307"/>
                <a:gd name="connsiteY3" fmla="*/ 719054 h 788699"/>
                <a:gd name="connsiteX4" fmla="*/ 648344 w 734307"/>
                <a:gd name="connsiteY4" fmla="*/ 721774 h 788699"/>
                <a:gd name="connsiteX5" fmla="*/ 618428 w 734307"/>
                <a:gd name="connsiteY5" fmla="*/ 721774 h 788699"/>
                <a:gd name="connsiteX6" fmla="*/ 572194 w 734307"/>
                <a:gd name="connsiteY6" fmla="*/ 735372 h 788699"/>
                <a:gd name="connsiteX7" fmla="*/ 544997 w 734307"/>
                <a:gd name="connsiteY7" fmla="*/ 729933 h 788699"/>
                <a:gd name="connsiteX8" fmla="*/ 534119 w 734307"/>
                <a:gd name="connsiteY8" fmla="*/ 721774 h 788699"/>
                <a:gd name="connsiteX9" fmla="*/ 496043 w 734307"/>
                <a:gd name="connsiteY9" fmla="*/ 721774 h 788699"/>
                <a:gd name="connsiteX10" fmla="*/ 471566 w 734307"/>
                <a:gd name="connsiteY10" fmla="*/ 721774 h 788699"/>
                <a:gd name="connsiteX11" fmla="*/ 444370 w 734307"/>
                <a:gd name="connsiteY11" fmla="*/ 716335 h 788699"/>
                <a:gd name="connsiteX12" fmla="*/ 428052 w 734307"/>
                <a:gd name="connsiteY12" fmla="*/ 700017 h 788699"/>
                <a:gd name="connsiteX13" fmla="*/ 433491 w 734307"/>
                <a:gd name="connsiteY13" fmla="*/ 691858 h 788699"/>
                <a:gd name="connsiteX14" fmla="*/ 455248 w 734307"/>
                <a:gd name="connsiteY14" fmla="*/ 683699 h 788699"/>
                <a:gd name="connsiteX15" fmla="*/ 506922 w 734307"/>
                <a:gd name="connsiteY15" fmla="*/ 678259 h 788699"/>
                <a:gd name="connsiteX16" fmla="*/ 509641 w 734307"/>
                <a:gd name="connsiteY16" fmla="*/ 678259 h 788699"/>
                <a:gd name="connsiteX17" fmla="*/ 506922 w 734307"/>
                <a:gd name="connsiteY17" fmla="*/ 664661 h 788699"/>
                <a:gd name="connsiteX18" fmla="*/ 498763 w 734307"/>
                <a:gd name="connsiteY18" fmla="*/ 580352 h 788699"/>
                <a:gd name="connsiteX19" fmla="*/ 496043 w 734307"/>
                <a:gd name="connsiteY19" fmla="*/ 479725 h 788699"/>
                <a:gd name="connsiteX20" fmla="*/ 493324 w 734307"/>
                <a:gd name="connsiteY20" fmla="*/ 389976 h 788699"/>
                <a:gd name="connsiteX21" fmla="*/ 490604 w 734307"/>
                <a:gd name="connsiteY21" fmla="*/ 302947 h 788699"/>
                <a:gd name="connsiteX22" fmla="*/ 487884 w 734307"/>
                <a:gd name="connsiteY22" fmla="*/ 229516 h 788699"/>
                <a:gd name="connsiteX23" fmla="*/ 485165 w 734307"/>
                <a:gd name="connsiteY23" fmla="*/ 221357 h 788699"/>
                <a:gd name="connsiteX24" fmla="*/ 482445 w 734307"/>
                <a:gd name="connsiteY24" fmla="*/ 226797 h 788699"/>
                <a:gd name="connsiteX25" fmla="*/ 477006 w 734307"/>
                <a:gd name="connsiteY25" fmla="*/ 262152 h 788699"/>
                <a:gd name="connsiteX26" fmla="*/ 460688 w 734307"/>
                <a:gd name="connsiteY26" fmla="*/ 341022 h 788699"/>
                <a:gd name="connsiteX27" fmla="*/ 444370 w 734307"/>
                <a:gd name="connsiteY27" fmla="*/ 417173 h 788699"/>
                <a:gd name="connsiteX28" fmla="*/ 436211 w 734307"/>
                <a:gd name="connsiteY28" fmla="*/ 455248 h 788699"/>
                <a:gd name="connsiteX29" fmla="*/ 425332 w 734307"/>
                <a:gd name="connsiteY29" fmla="*/ 493323 h 788699"/>
                <a:gd name="connsiteX30" fmla="*/ 411734 w 734307"/>
                <a:gd name="connsiteY30" fmla="*/ 531398 h 788699"/>
                <a:gd name="connsiteX31" fmla="*/ 376378 w 734307"/>
                <a:gd name="connsiteY31" fmla="*/ 547716 h 788699"/>
                <a:gd name="connsiteX32" fmla="*/ 319265 w 734307"/>
                <a:gd name="connsiteY32" fmla="*/ 525959 h 788699"/>
                <a:gd name="connsiteX33" fmla="*/ 289349 w 734307"/>
                <a:gd name="connsiteY33" fmla="*/ 455248 h 788699"/>
                <a:gd name="connsiteX34" fmla="*/ 273031 w 734307"/>
                <a:gd name="connsiteY34" fmla="*/ 373658 h 788699"/>
                <a:gd name="connsiteX35" fmla="*/ 262153 w 734307"/>
                <a:gd name="connsiteY35" fmla="*/ 316545 h 788699"/>
                <a:gd name="connsiteX36" fmla="*/ 245835 w 734307"/>
                <a:gd name="connsiteY36" fmla="*/ 237675 h 788699"/>
                <a:gd name="connsiteX37" fmla="*/ 234956 w 734307"/>
                <a:gd name="connsiteY37" fmla="*/ 196881 h 788699"/>
                <a:gd name="connsiteX38" fmla="*/ 232236 w 734307"/>
                <a:gd name="connsiteY38" fmla="*/ 191441 h 788699"/>
                <a:gd name="connsiteX39" fmla="*/ 226797 w 734307"/>
                <a:gd name="connsiteY39" fmla="*/ 207759 h 788699"/>
                <a:gd name="connsiteX40" fmla="*/ 226797 w 734307"/>
                <a:gd name="connsiteY40" fmla="*/ 232236 h 788699"/>
                <a:gd name="connsiteX41" fmla="*/ 224077 w 734307"/>
                <a:gd name="connsiteY41" fmla="*/ 267592 h 788699"/>
                <a:gd name="connsiteX42" fmla="*/ 221358 w 734307"/>
                <a:gd name="connsiteY42" fmla="*/ 311106 h 788699"/>
                <a:gd name="connsiteX43" fmla="*/ 218638 w 734307"/>
                <a:gd name="connsiteY43" fmla="*/ 360060 h 788699"/>
                <a:gd name="connsiteX44" fmla="*/ 215919 w 734307"/>
                <a:gd name="connsiteY44" fmla="*/ 398135 h 788699"/>
                <a:gd name="connsiteX45" fmla="*/ 213199 w 734307"/>
                <a:gd name="connsiteY45" fmla="*/ 430771 h 788699"/>
                <a:gd name="connsiteX46" fmla="*/ 213199 w 734307"/>
                <a:gd name="connsiteY46" fmla="*/ 455248 h 788699"/>
                <a:gd name="connsiteX47" fmla="*/ 213199 w 734307"/>
                <a:gd name="connsiteY47" fmla="*/ 477005 h 788699"/>
                <a:gd name="connsiteX48" fmla="*/ 207759 w 734307"/>
                <a:gd name="connsiteY48" fmla="*/ 520520 h 788699"/>
                <a:gd name="connsiteX49" fmla="*/ 196881 w 734307"/>
                <a:gd name="connsiteY49" fmla="*/ 610268 h 788699"/>
                <a:gd name="connsiteX50" fmla="*/ 194161 w 734307"/>
                <a:gd name="connsiteY50" fmla="*/ 653783 h 788699"/>
                <a:gd name="connsiteX51" fmla="*/ 191441 w 734307"/>
                <a:gd name="connsiteY51" fmla="*/ 667381 h 788699"/>
                <a:gd name="connsiteX52" fmla="*/ 243115 w 734307"/>
                <a:gd name="connsiteY52" fmla="*/ 667381 h 788699"/>
                <a:gd name="connsiteX53" fmla="*/ 273031 w 734307"/>
                <a:gd name="connsiteY53" fmla="*/ 683699 h 788699"/>
                <a:gd name="connsiteX54" fmla="*/ 262153 w 734307"/>
                <a:gd name="connsiteY54" fmla="*/ 697297 h 788699"/>
                <a:gd name="connsiteX55" fmla="*/ 248554 w 734307"/>
                <a:gd name="connsiteY55" fmla="*/ 705456 h 788699"/>
                <a:gd name="connsiteX56" fmla="*/ 232236 w 734307"/>
                <a:gd name="connsiteY56" fmla="*/ 708176 h 788699"/>
                <a:gd name="connsiteX57" fmla="*/ 166965 w 734307"/>
                <a:gd name="connsiteY57" fmla="*/ 708176 h 788699"/>
                <a:gd name="connsiteX58" fmla="*/ 109852 w 734307"/>
                <a:gd name="connsiteY58" fmla="*/ 708176 h 788699"/>
                <a:gd name="connsiteX59" fmla="*/ 90814 w 734307"/>
                <a:gd name="connsiteY59" fmla="*/ 708176 h 788699"/>
                <a:gd name="connsiteX60" fmla="*/ 69057 w 734307"/>
                <a:gd name="connsiteY60" fmla="*/ 702736 h 788699"/>
                <a:gd name="connsiteX61" fmla="*/ 58178 w 734307"/>
                <a:gd name="connsiteY61" fmla="*/ 686418 h 788699"/>
                <a:gd name="connsiteX62" fmla="*/ 60898 w 734307"/>
                <a:gd name="connsiteY62" fmla="*/ 678259 h 788699"/>
                <a:gd name="connsiteX63" fmla="*/ 77216 w 734307"/>
                <a:gd name="connsiteY63" fmla="*/ 670101 h 788699"/>
                <a:gd name="connsiteX64" fmla="*/ 126170 w 734307"/>
                <a:gd name="connsiteY64" fmla="*/ 664661 h 788699"/>
                <a:gd name="connsiteX65" fmla="*/ 142487 w 734307"/>
                <a:gd name="connsiteY65" fmla="*/ 664661 h 788699"/>
                <a:gd name="connsiteX66" fmla="*/ 147927 w 734307"/>
                <a:gd name="connsiteY66" fmla="*/ 588511 h 788699"/>
                <a:gd name="connsiteX67" fmla="*/ 153366 w 734307"/>
                <a:gd name="connsiteY67" fmla="*/ 493323 h 788699"/>
                <a:gd name="connsiteX68" fmla="*/ 156086 w 734307"/>
                <a:gd name="connsiteY68" fmla="*/ 411733 h 788699"/>
                <a:gd name="connsiteX69" fmla="*/ 161525 w 734307"/>
                <a:gd name="connsiteY69" fmla="*/ 297508 h 788699"/>
                <a:gd name="connsiteX70" fmla="*/ 166965 w 734307"/>
                <a:gd name="connsiteY70" fmla="*/ 240395 h 788699"/>
                <a:gd name="connsiteX71" fmla="*/ 177843 w 734307"/>
                <a:gd name="connsiteY71" fmla="*/ 161525 h 788699"/>
                <a:gd name="connsiteX72" fmla="*/ 183282 w 734307"/>
                <a:gd name="connsiteY72" fmla="*/ 118011 h 788699"/>
                <a:gd name="connsiteX73" fmla="*/ 183282 w 734307"/>
                <a:gd name="connsiteY73" fmla="*/ 115291 h 788699"/>
                <a:gd name="connsiteX74" fmla="*/ 161525 w 734307"/>
                <a:gd name="connsiteY74" fmla="*/ 115291 h 788699"/>
                <a:gd name="connsiteX75" fmla="*/ 137048 w 734307"/>
                <a:gd name="connsiteY75" fmla="*/ 115291 h 788699"/>
                <a:gd name="connsiteX76" fmla="*/ 109852 w 734307"/>
                <a:gd name="connsiteY76" fmla="*/ 109851 h 788699"/>
                <a:gd name="connsiteX77" fmla="*/ 93534 w 734307"/>
                <a:gd name="connsiteY77" fmla="*/ 93534 h 788699"/>
                <a:gd name="connsiteX78" fmla="*/ 98973 w 734307"/>
                <a:gd name="connsiteY78" fmla="*/ 85375 h 788699"/>
                <a:gd name="connsiteX79" fmla="*/ 120730 w 734307"/>
                <a:gd name="connsiteY79" fmla="*/ 77216 h 788699"/>
                <a:gd name="connsiteX80" fmla="*/ 172404 w 734307"/>
                <a:gd name="connsiteY80" fmla="*/ 71776 h 788699"/>
                <a:gd name="connsiteX81" fmla="*/ 234956 w 734307"/>
                <a:gd name="connsiteY81" fmla="*/ 69057 h 788699"/>
                <a:gd name="connsiteX82" fmla="*/ 243115 w 734307"/>
                <a:gd name="connsiteY82" fmla="*/ 69057 h 788699"/>
                <a:gd name="connsiteX83" fmla="*/ 270312 w 734307"/>
                <a:gd name="connsiteY83" fmla="*/ 74496 h 788699"/>
                <a:gd name="connsiteX84" fmla="*/ 308387 w 734307"/>
                <a:gd name="connsiteY84" fmla="*/ 123450 h 788699"/>
                <a:gd name="connsiteX85" fmla="*/ 332864 w 734307"/>
                <a:gd name="connsiteY85" fmla="*/ 202320 h 788699"/>
                <a:gd name="connsiteX86" fmla="*/ 338303 w 734307"/>
                <a:gd name="connsiteY86" fmla="*/ 237675 h 788699"/>
                <a:gd name="connsiteX87" fmla="*/ 349182 w 734307"/>
                <a:gd name="connsiteY87" fmla="*/ 281190 h 788699"/>
                <a:gd name="connsiteX88" fmla="*/ 357341 w 734307"/>
                <a:gd name="connsiteY88" fmla="*/ 316545 h 788699"/>
                <a:gd name="connsiteX89" fmla="*/ 365500 w 734307"/>
                <a:gd name="connsiteY89" fmla="*/ 351901 h 788699"/>
                <a:gd name="connsiteX90" fmla="*/ 376378 w 734307"/>
                <a:gd name="connsiteY90" fmla="*/ 389976 h 788699"/>
                <a:gd name="connsiteX91" fmla="*/ 387257 w 734307"/>
                <a:gd name="connsiteY91" fmla="*/ 414453 h 788699"/>
                <a:gd name="connsiteX92" fmla="*/ 398136 w 734307"/>
                <a:gd name="connsiteY92" fmla="*/ 376378 h 788699"/>
                <a:gd name="connsiteX93" fmla="*/ 406295 w 734307"/>
                <a:gd name="connsiteY93" fmla="*/ 332863 h 788699"/>
                <a:gd name="connsiteX94" fmla="*/ 425332 w 734307"/>
                <a:gd name="connsiteY94" fmla="*/ 243115 h 788699"/>
                <a:gd name="connsiteX95" fmla="*/ 444370 w 734307"/>
                <a:gd name="connsiteY95" fmla="*/ 150646 h 788699"/>
                <a:gd name="connsiteX96" fmla="*/ 477006 w 734307"/>
                <a:gd name="connsiteY96" fmla="*/ 79935 h 788699"/>
                <a:gd name="connsiteX97" fmla="*/ 523240 w 734307"/>
                <a:gd name="connsiteY97" fmla="*/ 58178 h 788699"/>
                <a:gd name="connsiteX98" fmla="*/ 544997 w 734307"/>
                <a:gd name="connsiteY98" fmla="*/ 63617 h 788699"/>
                <a:gd name="connsiteX99" fmla="*/ 612988 w 734307"/>
                <a:gd name="connsiteY99" fmla="*/ 63617 h 788699"/>
                <a:gd name="connsiteX100" fmla="*/ 651064 w 734307"/>
                <a:gd name="connsiteY100" fmla="*/ 79935 h 788699"/>
                <a:gd name="connsiteX101" fmla="*/ 645624 w 734307"/>
                <a:gd name="connsiteY101" fmla="*/ 96253 h 788699"/>
                <a:gd name="connsiteX102" fmla="*/ 629307 w 734307"/>
                <a:gd name="connsiteY102" fmla="*/ 104412 h 788699"/>
                <a:gd name="connsiteX103" fmla="*/ 607549 w 734307"/>
                <a:gd name="connsiteY103" fmla="*/ 107132 h 788699"/>
                <a:gd name="connsiteX104" fmla="*/ 580353 w 734307"/>
                <a:gd name="connsiteY104" fmla="*/ 107132 h 788699"/>
                <a:gd name="connsiteX105" fmla="*/ 583072 w 734307"/>
                <a:gd name="connsiteY105" fmla="*/ 115291 h 788699"/>
                <a:gd name="connsiteX106" fmla="*/ 588512 w 734307"/>
                <a:gd name="connsiteY106" fmla="*/ 156086 h 788699"/>
                <a:gd name="connsiteX107" fmla="*/ 593951 w 734307"/>
                <a:gd name="connsiteY107" fmla="*/ 196881 h 788699"/>
                <a:gd name="connsiteX108" fmla="*/ 599390 w 734307"/>
                <a:gd name="connsiteY108" fmla="*/ 226797 h 788699"/>
                <a:gd name="connsiteX109" fmla="*/ 599390 w 734307"/>
                <a:gd name="connsiteY109" fmla="*/ 232236 h 788699"/>
                <a:gd name="connsiteX110" fmla="*/ 599390 w 734307"/>
                <a:gd name="connsiteY110" fmla="*/ 240395 h 788699"/>
                <a:gd name="connsiteX111" fmla="*/ 602110 w 734307"/>
                <a:gd name="connsiteY111" fmla="*/ 270311 h 788699"/>
                <a:gd name="connsiteX112" fmla="*/ 607549 w 734307"/>
                <a:gd name="connsiteY112" fmla="*/ 308386 h 788699"/>
                <a:gd name="connsiteX113" fmla="*/ 607549 w 734307"/>
                <a:gd name="connsiteY113" fmla="*/ 319265 h 788699"/>
                <a:gd name="connsiteX114" fmla="*/ 612988 w 734307"/>
                <a:gd name="connsiteY114" fmla="*/ 335583 h 788699"/>
                <a:gd name="connsiteX115" fmla="*/ 612988 w 734307"/>
                <a:gd name="connsiteY115" fmla="*/ 346462 h 788699"/>
                <a:gd name="connsiteX116" fmla="*/ 612988 w 734307"/>
                <a:gd name="connsiteY116" fmla="*/ 370939 h 788699"/>
                <a:gd name="connsiteX117" fmla="*/ 612988 w 734307"/>
                <a:gd name="connsiteY117" fmla="*/ 395415 h 788699"/>
                <a:gd name="connsiteX118" fmla="*/ 615708 w 734307"/>
                <a:gd name="connsiteY118" fmla="*/ 422612 h 788699"/>
                <a:gd name="connsiteX119" fmla="*/ 618428 w 734307"/>
                <a:gd name="connsiteY119" fmla="*/ 441650 h 788699"/>
                <a:gd name="connsiteX120" fmla="*/ 618428 w 734307"/>
                <a:gd name="connsiteY120" fmla="*/ 455248 h 788699"/>
                <a:gd name="connsiteX121" fmla="*/ 621147 w 734307"/>
                <a:gd name="connsiteY121" fmla="*/ 463407 h 788699"/>
                <a:gd name="connsiteX122" fmla="*/ 626587 w 734307"/>
                <a:gd name="connsiteY122" fmla="*/ 482444 h 788699"/>
                <a:gd name="connsiteX123" fmla="*/ 629307 w 734307"/>
                <a:gd name="connsiteY123" fmla="*/ 517800 h 788699"/>
                <a:gd name="connsiteX124" fmla="*/ 634746 w 734307"/>
                <a:gd name="connsiteY124" fmla="*/ 561314 h 788699"/>
                <a:gd name="connsiteX125" fmla="*/ 634746 w 734307"/>
                <a:gd name="connsiteY125" fmla="*/ 566754 h 788699"/>
                <a:gd name="connsiteX126" fmla="*/ 634746 w 734307"/>
                <a:gd name="connsiteY126" fmla="*/ 583072 h 788699"/>
                <a:gd name="connsiteX127" fmla="*/ 637466 w 734307"/>
                <a:gd name="connsiteY127" fmla="*/ 607548 h 788699"/>
                <a:gd name="connsiteX128" fmla="*/ 640185 w 734307"/>
                <a:gd name="connsiteY128" fmla="*/ 618427 h 788699"/>
                <a:gd name="connsiteX129" fmla="*/ 640185 w 734307"/>
                <a:gd name="connsiteY129" fmla="*/ 632025 h 788699"/>
                <a:gd name="connsiteX130" fmla="*/ 640185 w 734307"/>
                <a:gd name="connsiteY130" fmla="*/ 640184 h 788699"/>
                <a:gd name="connsiteX131" fmla="*/ 642905 w 734307"/>
                <a:gd name="connsiteY131" fmla="*/ 659222 h 788699"/>
                <a:gd name="connsiteX132" fmla="*/ 642905 w 734307"/>
                <a:gd name="connsiteY132" fmla="*/ 664661 h 788699"/>
                <a:gd name="connsiteX133" fmla="*/ 653783 w 734307"/>
                <a:gd name="connsiteY133" fmla="*/ 678259 h 788699"/>
                <a:gd name="connsiteX134" fmla="*/ 653783 w 734307"/>
                <a:gd name="connsiteY134" fmla="*/ 678259 h 7886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</a:cxnLst>
              <a:rect l="l" t="t" r="r" b="b"/>
              <a:pathLst>
                <a:path w="734307" h="788699">
                  <a:moveTo>
                    <a:pt x="653783" y="678259"/>
                  </a:moveTo>
                  <a:cubicBezTo>
                    <a:pt x="667382" y="678259"/>
                    <a:pt x="691859" y="678259"/>
                    <a:pt x="691859" y="694577"/>
                  </a:cubicBezTo>
                  <a:cubicBezTo>
                    <a:pt x="691859" y="702736"/>
                    <a:pt x="689139" y="705456"/>
                    <a:pt x="686419" y="710895"/>
                  </a:cubicBezTo>
                  <a:cubicBezTo>
                    <a:pt x="683700" y="716335"/>
                    <a:pt x="675541" y="719054"/>
                    <a:pt x="670101" y="719054"/>
                  </a:cubicBezTo>
                  <a:cubicBezTo>
                    <a:pt x="661942" y="721774"/>
                    <a:pt x="653783" y="721774"/>
                    <a:pt x="648344" y="721774"/>
                  </a:cubicBezTo>
                  <a:cubicBezTo>
                    <a:pt x="645624" y="721774"/>
                    <a:pt x="634746" y="721774"/>
                    <a:pt x="618428" y="721774"/>
                  </a:cubicBezTo>
                  <a:cubicBezTo>
                    <a:pt x="604829" y="729933"/>
                    <a:pt x="588512" y="735372"/>
                    <a:pt x="572194" y="735372"/>
                  </a:cubicBezTo>
                  <a:cubicBezTo>
                    <a:pt x="564035" y="735372"/>
                    <a:pt x="553156" y="732653"/>
                    <a:pt x="544997" y="729933"/>
                  </a:cubicBezTo>
                  <a:cubicBezTo>
                    <a:pt x="539558" y="727213"/>
                    <a:pt x="536838" y="724494"/>
                    <a:pt x="534119" y="721774"/>
                  </a:cubicBezTo>
                  <a:cubicBezTo>
                    <a:pt x="520520" y="721774"/>
                    <a:pt x="509641" y="721774"/>
                    <a:pt x="496043" y="721774"/>
                  </a:cubicBezTo>
                  <a:cubicBezTo>
                    <a:pt x="487884" y="721774"/>
                    <a:pt x="479725" y="721774"/>
                    <a:pt x="471566" y="721774"/>
                  </a:cubicBezTo>
                  <a:cubicBezTo>
                    <a:pt x="463407" y="721774"/>
                    <a:pt x="452529" y="721774"/>
                    <a:pt x="444370" y="716335"/>
                  </a:cubicBezTo>
                  <a:cubicBezTo>
                    <a:pt x="436211" y="713615"/>
                    <a:pt x="428052" y="705456"/>
                    <a:pt x="428052" y="700017"/>
                  </a:cubicBezTo>
                  <a:cubicBezTo>
                    <a:pt x="428052" y="697297"/>
                    <a:pt x="428052" y="694577"/>
                    <a:pt x="433491" y="691858"/>
                  </a:cubicBezTo>
                  <a:cubicBezTo>
                    <a:pt x="438930" y="689138"/>
                    <a:pt x="449809" y="686418"/>
                    <a:pt x="455248" y="683699"/>
                  </a:cubicBezTo>
                  <a:cubicBezTo>
                    <a:pt x="474286" y="680979"/>
                    <a:pt x="498763" y="678259"/>
                    <a:pt x="506922" y="678259"/>
                  </a:cubicBezTo>
                  <a:cubicBezTo>
                    <a:pt x="506922" y="678259"/>
                    <a:pt x="509641" y="678259"/>
                    <a:pt x="509641" y="678259"/>
                  </a:cubicBezTo>
                  <a:cubicBezTo>
                    <a:pt x="509641" y="672820"/>
                    <a:pt x="506922" y="670101"/>
                    <a:pt x="506922" y="664661"/>
                  </a:cubicBezTo>
                  <a:cubicBezTo>
                    <a:pt x="501483" y="640184"/>
                    <a:pt x="501483" y="612988"/>
                    <a:pt x="498763" y="580352"/>
                  </a:cubicBezTo>
                  <a:cubicBezTo>
                    <a:pt x="496043" y="547716"/>
                    <a:pt x="498763" y="512361"/>
                    <a:pt x="496043" y="479725"/>
                  </a:cubicBezTo>
                  <a:cubicBezTo>
                    <a:pt x="493324" y="449808"/>
                    <a:pt x="493324" y="419892"/>
                    <a:pt x="493324" y="389976"/>
                  </a:cubicBezTo>
                  <a:cubicBezTo>
                    <a:pt x="493324" y="360060"/>
                    <a:pt x="490604" y="332863"/>
                    <a:pt x="490604" y="302947"/>
                  </a:cubicBezTo>
                  <a:cubicBezTo>
                    <a:pt x="487884" y="275751"/>
                    <a:pt x="487884" y="240395"/>
                    <a:pt x="487884" y="229516"/>
                  </a:cubicBezTo>
                  <a:cubicBezTo>
                    <a:pt x="487884" y="224077"/>
                    <a:pt x="487884" y="221357"/>
                    <a:pt x="485165" y="221357"/>
                  </a:cubicBezTo>
                  <a:cubicBezTo>
                    <a:pt x="485165" y="221357"/>
                    <a:pt x="482445" y="224077"/>
                    <a:pt x="482445" y="226797"/>
                  </a:cubicBezTo>
                  <a:cubicBezTo>
                    <a:pt x="479725" y="237675"/>
                    <a:pt x="479725" y="251274"/>
                    <a:pt x="477006" y="262152"/>
                  </a:cubicBezTo>
                  <a:cubicBezTo>
                    <a:pt x="471566" y="289349"/>
                    <a:pt x="466127" y="316545"/>
                    <a:pt x="460688" y="341022"/>
                  </a:cubicBezTo>
                  <a:cubicBezTo>
                    <a:pt x="455248" y="365499"/>
                    <a:pt x="447090" y="392696"/>
                    <a:pt x="444370" y="417173"/>
                  </a:cubicBezTo>
                  <a:cubicBezTo>
                    <a:pt x="441650" y="430771"/>
                    <a:pt x="438930" y="441650"/>
                    <a:pt x="436211" y="455248"/>
                  </a:cubicBezTo>
                  <a:cubicBezTo>
                    <a:pt x="433491" y="468846"/>
                    <a:pt x="428052" y="479725"/>
                    <a:pt x="425332" y="493323"/>
                  </a:cubicBezTo>
                  <a:cubicBezTo>
                    <a:pt x="422612" y="506921"/>
                    <a:pt x="419893" y="520520"/>
                    <a:pt x="411734" y="531398"/>
                  </a:cubicBezTo>
                  <a:cubicBezTo>
                    <a:pt x="406295" y="539557"/>
                    <a:pt x="395416" y="547716"/>
                    <a:pt x="376378" y="547716"/>
                  </a:cubicBezTo>
                  <a:cubicBezTo>
                    <a:pt x="357341" y="547716"/>
                    <a:pt x="335583" y="539557"/>
                    <a:pt x="319265" y="525959"/>
                  </a:cubicBezTo>
                  <a:cubicBezTo>
                    <a:pt x="300228" y="506921"/>
                    <a:pt x="294788" y="479725"/>
                    <a:pt x="289349" y="455248"/>
                  </a:cubicBezTo>
                  <a:cubicBezTo>
                    <a:pt x="283910" y="428051"/>
                    <a:pt x="278470" y="400855"/>
                    <a:pt x="273031" y="373658"/>
                  </a:cubicBezTo>
                  <a:cubicBezTo>
                    <a:pt x="273031" y="368219"/>
                    <a:pt x="267592" y="346462"/>
                    <a:pt x="262153" y="316545"/>
                  </a:cubicBezTo>
                  <a:cubicBezTo>
                    <a:pt x="256713" y="292068"/>
                    <a:pt x="251274" y="262152"/>
                    <a:pt x="245835" y="237675"/>
                  </a:cubicBezTo>
                  <a:cubicBezTo>
                    <a:pt x="240395" y="218638"/>
                    <a:pt x="237675" y="205039"/>
                    <a:pt x="234956" y="196881"/>
                  </a:cubicBezTo>
                  <a:cubicBezTo>
                    <a:pt x="232236" y="191441"/>
                    <a:pt x="232236" y="191441"/>
                    <a:pt x="232236" y="191441"/>
                  </a:cubicBezTo>
                  <a:cubicBezTo>
                    <a:pt x="229517" y="191441"/>
                    <a:pt x="229517" y="196881"/>
                    <a:pt x="226797" y="207759"/>
                  </a:cubicBezTo>
                  <a:cubicBezTo>
                    <a:pt x="226797" y="215918"/>
                    <a:pt x="226797" y="229516"/>
                    <a:pt x="226797" y="232236"/>
                  </a:cubicBezTo>
                  <a:cubicBezTo>
                    <a:pt x="226797" y="243115"/>
                    <a:pt x="224077" y="256713"/>
                    <a:pt x="224077" y="267592"/>
                  </a:cubicBezTo>
                  <a:cubicBezTo>
                    <a:pt x="224077" y="278470"/>
                    <a:pt x="224077" y="294788"/>
                    <a:pt x="221358" y="311106"/>
                  </a:cubicBezTo>
                  <a:cubicBezTo>
                    <a:pt x="221358" y="327424"/>
                    <a:pt x="218638" y="343742"/>
                    <a:pt x="218638" y="360060"/>
                  </a:cubicBezTo>
                  <a:cubicBezTo>
                    <a:pt x="218638" y="373658"/>
                    <a:pt x="215919" y="384537"/>
                    <a:pt x="215919" y="398135"/>
                  </a:cubicBezTo>
                  <a:cubicBezTo>
                    <a:pt x="215919" y="409014"/>
                    <a:pt x="213199" y="419892"/>
                    <a:pt x="213199" y="430771"/>
                  </a:cubicBezTo>
                  <a:cubicBezTo>
                    <a:pt x="213199" y="438930"/>
                    <a:pt x="213199" y="447089"/>
                    <a:pt x="213199" y="455248"/>
                  </a:cubicBezTo>
                  <a:cubicBezTo>
                    <a:pt x="213199" y="463407"/>
                    <a:pt x="213199" y="471566"/>
                    <a:pt x="213199" y="477005"/>
                  </a:cubicBezTo>
                  <a:cubicBezTo>
                    <a:pt x="210479" y="490603"/>
                    <a:pt x="207759" y="506921"/>
                    <a:pt x="207759" y="520520"/>
                  </a:cubicBezTo>
                  <a:cubicBezTo>
                    <a:pt x="202320" y="550436"/>
                    <a:pt x="199600" y="580352"/>
                    <a:pt x="196881" y="610268"/>
                  </a:cubicBezTo>
                  <a:cubicBezTo>
                    <a:pt x="196881" y="623866"/>
                    <a:pt x="196881" y="640184"/>
                    <a:pt x="194161" y="653783"/>
                  </a:cubicBezTo>
                  <a:cubicBezTo>
                    <a:pt x="194161" y="659222"/>
                    <a:pt x="194161" y="661942"/>
                    <a:pt x="191441" y="667381"/>
                  </a:cubicBezTo>
                  <a:cubicBezTo>
                    <a:pt x="213199" y="667381"/>
                    <a:pt x="232236" y="667381"/>
                    <a:pt x="243115" y="667381"/>
                  </a:cubicBezTo>
                  <a:cubicBezTo>
                    <a:pt x="253994" y="667381"/>
                    <a:pt x="273031" y="670101"/>
                    <a:pt x="273031" y="683699"/>
                  </a:cubicBezTo>
                  <a:cubicBezTo>
                    <a:pt x="273031" y="691858"/>
                    <a:pt x="267592" y="691858"/>
                    <a:pt x="262153" y="697297"/>
                  </a:cubicBezTo>
                  <a:cubicBezTo>
                    <a:pt x="259433" y="702736"/>
                    <a:pt x="253994" y="705456"/>
                    <a:pt x="248554" y="705456"/>
                  </a:cubicBezTo>
                  <a:cubicBezTo>
                    <a:pt x="240395" y="708176"/>
                    <a:pt x="234956" y="708176"/>
                    <a:pt x="232236" y="708176"/>
                  </a:cubicBezTo>
                  <a:cubicBezTo>
                    <a:pt x="226797" y="708176"/>
                    <a:pt x="175124" y="708176"/>
                    <a:pt x="166965" y="708176"/>
                  </a:cubicBezTo>
                  <a:cubicBezTo>
                    <a:pt x="156086" y="708176"/>
                    <a:pt x="120730" y="708176"/>
                    <a:pt x="109852" y="708176"/>
                  </a:cubicBezTo>
                  <a:cubicBezTo>
                    <a:pt x="104412" y="708176"/>
                    <a:pt x="96253" y="708176"/>
                    <a:pt x="90814" y="708176"/>
                  </a:cubicBezTo>
                  <a:cubicBezTo>
                    <a:pt x="85375" y="708176"/>
                    <a:pt x="77216" y="705456"/>
                    <a:pt x="69057" y="702736"/>
                  </a:cubicBezTo>
                  <a:cubicBezTo>
                    <a:pt x="63617" y="700017"/>
                    <a:pt x="58178" y="691858"/>
                    <a:pt x="58178" y="686418"/>
                  </a:cubicBezTo>
                  <a:cubicBezTo>
                    <a:pt x="58178" y="683699"/>
                    <a:pt x="58178" y="680979"/>
                    <a:pt x="60898" y="678259"/>
                  </a:cubicBezTo>
                  <a:cubicBezTo>
                    <a:pt x="63617" y="675540"/>
                    <a:pt x="71777" y="672820"/>
                    <a:pt x="77216" y="670101"/>
                  </a:cubicBezTo>
                  <a:cubicBezTo>
                    <a:pt x="90814" y="667381"/>
                    <a:pt x="120730" y="664661"/>
                    <a:pt x="126170" y="664661"/>
                  </a:cubicBezTo>
                  <a:cubicBezTo>
                    <a:pt x="128889" y="664661"/>
                    <a:pt x="134329" y="664661"/>
                    <a:pt x="142487" y="664661"/>
                  </a:cubicBezTo>
                  <a:cubicBezTo>
                    <a:pt x="142487" y="640184"/>
                    <a:pt x="147927" y="612988"/>
                    <a:pt x="147927" y="588511"/>
                  </a:cubicBezTo>
                  <a:cubicBezTo>
                    <a:pt x="150646" y="555875"/>
                    <a:pt x="153366" y="523239"/>
                    <a:pt x="153366" y="493323"/>
                  </a:cubicBezTo>
                  <a:cubicBezTo>
                    <a:pt x="153366" y="466126"/>
                    <a:pt x="156086" y="438930"/>
                    <a:pt x="156086" y="411733"/>
                  </a:cubicBezTo>
                  <a:cubicBezTo>
                    <a:pt x="158806" y="373658"/>
                    <a:pt x="158806" y="335583"/>
                    <a:pt x="161525" y="297508"/>
                  </a:cubicBezTo>
                  <a:cubicBezTo>
                    <a:pt x="161525" y="278470"/>
                    <a:pt x="164245" y="259433"/>
                    <a:pt x="166965" y="240395"/>
                  </a:cubicBezTo>
                  <a:cubicBezTo>
                    <a:pt x="169684" y="210479"/>
                    <a:pt x="172404" y="191441"/>
                    <a:pt x="177843" y="161525"/>
                  </a:cubicBezTo>
                  <a:cubicBezTo>
                    <a:pt x="180563" y="147927"/>
                    <a:pt x="180563" y="131609"/>
                    <a:pt x="183282" y="118011"/>
                  </a:cubicBezTo>
                  <a:cubicBezTo>
                    <a:pt x="183282" y="118011"/>
                    <a:pt x="183282" y="115291"/>
                    <a:pt x="183282" y="115291"/>
                  </a:cubicBezTo>
                  <a:cubicBezTo>
                    <a:pt x="177843" y="115291"/>
                    <a:pt x="172404" y="115291"/>
                    <a:pt x="161525" y="115291"/>
                  </a:cubicBezTo>
                  <a:cubicBezTo>
                    <a:pt x="153366" y="115291"/>
                    <a:pt x="145207" y="115291"/>
                    <a:pt x="137048" y="115291"/>
                  </a:cubicBezTo>
                  <a:cubicBezTo>
                    <a:pt x="128889" y="115291"/>
                    <a:pt x="118011" y="115291"/>
                    <a:pt x="109852" y="109851"/>
                  </a:cubicBezTo>
                  <a:cubicBezTo>
                    <a:pt x="101693" y="107132"/>
                    <a:pt x="93534" y="98973"/>
                    <a:pt x="93534" y="93534"/>
                  </a:cubicBezTo>
                  <a:cubicBezTo>
                    <a:pt x="93534" y="90814"/>
                    <a:pt x="93534" y="88094"/>
                    <a:pt x="98973" y="85375"/>
                  </a:cubicBezTo>
                  <a:cubicBezTo>
                    <a:pt x="104412" y="82655"/>
                    <a:pt x="115291" y="79935"/>
                    <a:pt x="120730" y="77216"/>
                  </a:cubicBezTo>
                  <a:cubicBezTo>
                    <a:pt x="139768" y="74496"/>
                    <a:pt x="164245" y="71776"/>
                    <a:pt x="172404" y="71776"/>
                  </a:cubicBezTo>
                  <a:cubicBezTo>
                    <a:pt x="194161" y="71776"/>
                    <a:pt x="210479" y="69057"/>
                    <a:pt x="234956" y="69057"/>
                  </a:cubicBezTo>
                  <a:cubicBezTo>
                    <a:pt x="237675" y="69057"/>
                    <a:pt x="240395" y="69057"/>
                    <a:pt x="243115" y="69057"/>
                  </a:cubicBezTo>
                  <a:cubicBezTo>
                    <a:pt x="251274" y="69057"/>
                    <a:pt x="262153" y="69057"/>
                    <a:pt x="270312" y="74496"/>
                  </a:cubicBezTo>
                  <a:cubicBezTo>
                    <a:pt x="283910" y="82655"/>
                    <a:pt x="300228" y="96253"/>
                    <a:pt x="308387" y="123450"/>
                  </a:cubicBezTo>
                  <a:cubicBezTo>
                    <a:pt x="316546" y="147927"/>
                    <a:pt x="327424" y="175123"/>
                    <a:pt x="332864" y="202320"/>
                  </a:cubicBezTo>
                  <a:cubicBezTo>
                    <a:pt x="335583" y="213198"/>
                    <a:pt x="335583" y="226797"/>
                    <a:pt x="338303" y="237675"/>
                  </a:cubicBezTo>
                  <a:cubicBezTo>
                    <a:pt x="343742" y="251274"/>
                    <a:pt x="346462" y="264872"/>
                    <a:pt x="349182" y="281190"/>
                  </a:cubicBezTo>
                  <a:cubicBezTo>
                    <a:pt x="351901" y="292068"/>
                    <a:pt x="351901" y="305667"/>
                    <a:pt x="357341" y="316545"/>
                  </a:cubicBezTo>
                  <a:cubicBezTo>
                    <a:pt x="362780" y="327424"/>
                    <a:pt x="362780" y="338303"/>
                    <a:pt x="365500" y="351901"/>
                  </a:cubicBezTo>
                  <a:cubicBezTo>
                    <a:pt x="365500" y="357340"/>
                    <a:pt x="373658" y="373658"/>
                    <a:pt x="376378" y="389976"/>
                  </a:cubicBezTo>
                  <a:cubicBezTo>
                    <a:pt x="381817" y="403574"/>
                    <a:pt x="384537" y="414453"/>
                    <a:pt x="387257" y="414453"/>
                  </a:cubicBezTo>
                  <a:cubicBezTo>
                    <a:pt x="392696" y="414453"/>
                    <a:pt x="395416" y="381817"/>
                    <a:pt x="398136" y="376378"/>
                  </a:cubicBezTo>
                  <a:cubicBezTo>
                    <a:pt x="400855" y="362779"/>
                    <a:pt x="403575" y="346462"/>
                    <a:pt x="406295" y="332863"/>
                  </a:cubicBezTo>
                  <a:cubicBezTo>
                    <a:pt x="411734" y="302947"/>
                    <a:pt x="417173" y="273031"/>
                    <a:pt x="425332" y="243115"/>
                  </a:cubicBezTo>
                  <a:cubicBezTo>
                    <a:pt x="430771" y="213198"/>
                    <a:pt x="436211" y="180563"/>
                    <a:pt x="444370" y="150646"/>
                  </a:cubicBezTo>
                  <a:cubicBezTo>
                    <a:pt x="449809" y="126170"/>
                    <a:pt x="460688" y="98973"/>
                    <a:pt x="477006" y="79935"/>
                  </a:cubicBezTo>
                  <a:cubicBezTo>
                    <a:pt x="487884" y="66337"/>
                    <a:pt x="506922" y="58178"/>
                    <a:pt x="523240" y="58178"/>
                  </a:cubicBezTo>
                  <a:cubicBezTo>
                    <a:pt x="528679" y="58178"/>
                    <a:pt x="539558" y="58178"/>
                    <a:pt x="544997" y="63617"/>
                  </a:cubicBezTo>
                  <a:lnTo>
                    <a:pt x="612988" y="63617"/>
                  </a:lnTo>
                  <a:cubicBezTo>
                    <a:pt x="626587" y="63617"/>
                    <a:pt x="651064" y="63617"/>
                    <a:pt x="651064" y="79935"/>
                  </a:cubicBezTo>
                  <a:cubicBezTo>
                    <a:pt x="651064" y="88094"/>
                    <a:pt x="648344" y="88094"/>
                    <a:pt x="645624" y="96253"/>
                  </a:cubicBezTo>
                  <a:cubicBezTo>
                    <a:pt x="640185" y="101693"/>
                    <a:pt x="634746" y="104412"/>
                    <a:pt x="629307" y="104412"/>
                  </a:cubicBezTo>
                  <a:cubicBezTo>
                    <a:pt x="621147" y="107132"/>
                    <a:pt x="612988" y="107132"/>
                    <a:pt x="607549" y="107132"/>
                  </a:cubicBezTo>
                  <a:cubicBezTo>
                    <a:pt x="604829" y="107132"/>
                    <a:pt x="591231" y="107132"/>
                    <a:pt x="580353" y="107132"/>
                  </a:cubicBezTo>
                  <a:cubicBezTo>
                    <a:pt x="580353" y="109851"/>
                    <a:pt x="583072" y="112571"/>
                    <a:pt x="583072" y="115291"/>
                  </a:cubicBezTo>
                  <a:cubicBezTo>
                    <a:pt x="585792" y="128889"/>
                    <a:pt x="585792" y="142487"/>
                    <a:pt x="588512" y="156086"/>
                  </a:cubicBezTo>
                  <a:cubicBezTo>
                    <a:pt x="591231" y="169684"/>
                    <a:pt x="591231" y="183282"/>
                    <a:pt x="593951" y="196881"/>
                  </a:cubicBezTo>
                  <a:cubicBezTo>
                    <a:pt x="593951" y="207759"/>
                    <a:pt x="599390" y="215918"/>
                    <a:pt x="599390" y="226797"/>
                  </a:cubicBezTo>
                  <a:cubicBezTo>
                    <a:pt x="599390" y="229516"/>
                    <a:pt x="599390" y="229516"/>
                    <a:pt x="599390" y="232236"/>
                  </a:cubicBezTo>
                  <a:cubicBezTo>
                    <a:pt x="599390" y="234956"/>
                    <a:pt x="599390" y="237675"/>
                    <a:pt x="599390" y="240395"/>
                  </a:cubicBezTo>
                  <a:cubicBezTo>
                    <a:pt x="599390" y="251274"/>
                    <a:pt x="599390" y="259433"/>
                    <a:pt x="602110" y="270311"/>
                  </a:cubicBezTo>
                  <a:cubicBezTo>
                    <a:pt x="604829" y="283909"/>
                    <a:pt x="607549" y="294788"/>
                    <a:pt x="607549" y="308386"/>
                  </a:cubicBezTo>
                  <a:cubicBezTo>
                    <a:pt x="607549" y="311106"/>
                    <a:pt x="607549" y="316545"/>
                    <a:pt x="607549" y="319265"/>
                  </a:cubicBezTo>
                  <a:cubicBezTo>
                    <a:pt x="607549" y="324704"/>
                    <a:pt x="610269" y="330144"/>
                    <a:pt x="612988" y="335583"/>
                  </a:cubicBezTo>
                  <a:cubicBezTo>
                    <a:pt x="612988" y="338303"/>
                    <a:pt x="612988" y="343742"/>
                    <a:pt x="612988" y="346462"/>
                  </a:cubicBezTo>
                  <a:cubicBezTo>
                    <a:pt x="612988" y="354620"/>
                    <a:pt x="612988" y="362779"/>
                    <a:pt x="612988" y="370939"/>
                  </a:cubicBezTo>
                  <a:cubicBezTo>
                    <a:pt x="612988" y="379097"/>
                    <a:pt x="612988" y="387256"/>
                    <a:pt x="612988" y="395415"/>
                  </a:cubicBezTo>
                  <a:cubicBezTo>
                    <a:pt x="612988" y="403574"/>
                    <a:pt x="615708" y="414453"/>
                    <a:pt x="615708" y="422612"/>
                  </a:cubicBezTo>
                  <a:cubicBezTo>
                    <a:pt x="618428" y="430771"/>
                    <a:pt x="618428" y="436210"/>
                    <a:pt x="618428" y="441650"/>
                  </a:cubicBezTo>
                  <a:cubicBezTo>
                    <a:pt x="618428" y="444369"/>
                    <a:pt x="618428" y="449808"/>
                    <a:pt x="618428" y="455248"/>
                  </a:cubicBezTo>
                  <a:cubicBezTo>
                    <a:pt x="618428" y="460687"/>
                    <a:pt x="618428" y="460687"/>
                    <a:pt x="621147" y="463407"/>
                  </a:cubicBezTo>
                  <a:cubicBezTo>
                    <a:pt x="623867" y="471566"/>
                    <a:pt x="623867" y="477005"/>
                    <a:pt x="626587" y="482444"/>
                  </a:cubicBezTo>
                  <a:cubicBezTo>
                    <a:pt x="629307" y="493323"/>
                    <a:pt x="629307" y="506921"/>
                    <a:pt x="629307" y="517800"/>
                  </a:cubicBezTo>
                  <a:cubicBezTo>
                    <a:pt x="632026" y="534118"/>
                    <a:pt x="632026" y="547716"/>
                    <a:pt x="634746" y="561314"/>
                  </a:cubicBezTo>
                  <a:cubicBezTo>
                    <a:pt x="634746" y="564034"/>
                    <a:pt x="634746" y="564034"/>
                    <a:pt x="634746" y="566754"/>
                  </a:cubicBezTo>
                  <a:cubicBezTo>
                    <a:pt x="634746" y="572193"/>
                    <a:pt x="634746" y="577632"/>
                    <a:pt x="634746" y="583072"/>
                  </a:cubicBezTo>
                  <a:cubicBezTo>
                    <a:pt x="634746" y="596670"/>
                    <a:pt x="637466" y="602109"/>
                    <a:pt x="637466" y="607548"/>
                  </a:cubicBezTo>
                  <a:cubicBezTo>
                    <a:pt x="637466" y="610268"/>
                    <a:pt x="640185" y="615708"/>
                    <a:pt x="640185" y="618427"/>
                  </a:cubicBezTo>
                  <a:cubicBezTo>
                    <a:pt x="640185" y="623866"/>
                    <a:pt x="640185" y="629306"/>
                    <a:pt x="640185" y="632025"/>
                  </a:cubicBezTo>
                  <a:cubicBezTo>
                    <a:pt x="640185" y="634745"/>
                    <a:pt x="640185" y="637465"/>
                    <a:pt x="640185" y="640184"/>
                  </a:cubicBezTo>
                  <a:cubicBezTo>
                    <a:pt x="640185" y="645624"/>
                    <a:pt x="642905" y="653783"/>
                    <a:pt x="642905" y="659222"/>
                  </a:cubicBezTo>
                  <a:cubicBezTo>
                    <a:pt x="642905" y="661942"/>
                    <a:pt x="642905" y="661942"/>
                    <a:pt x="642905" y="664661"/>
                  </a:cubicBezTo>
                  <a:cubicBezTo>
                    <a:pt x="645624" y="678259"/>
                    <a:pt x="651064" y="678259"/>
                    <a:pt x="653783" y="678259"/>
                  </a:cubicBezTo>
                  <a:lnTo>
                    <a:pt x="653783" y="678259"/>
                  </a:ln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/>
            </a:p>
          </p:txBody>
        </p:sp>
        <p:sp>
          <p:nvSpPr>
            <p:cNvPr id="46" name="Freeform: Shape 45">
              <a:extLst>
                <a:ext uri="{FF2B5EF4-FFF2-40B4-BE49-F238E27FC236}">
                  <a16:creationId xmlns:a16="http://schemas.microsoft.com/office/drawing/2014/main" id="{BC039864-996D-45FB-8953-B06D02EC1B41}"/>
                </a:ext>
              </a:extLst>
            </p:cNvPr>
            <p:cNvSpPr/>
            <p:nvPr/>
          </p:nvSpPr>
          <p:spPr>
            <a:xfrm>
              <a:off x="6362526" y="4242177"/>
              <a:ext cx="492259" cy="674476"/>
            </a:xfrm>
            <a:custGeom>
              <a:avLst/>
              <a:gdLst>
                <a:gd name="connsiteX0" fmla="*/ 225733 w 492259"/>
                <a:gd name="connsiteY0" fmla="*/ 97907 h 674476"/>
                <a:gd name="connsiteX1" fmla="*/ 209415 w 492259"/>
                <a:gd name="connsiteY1" fmla="*/ 119665 h 674476"/>
                <a:gd name="connsiteX2" fmla="*/ 201256 w 492259"/>
                <a:gd name="connsiteY2" fmla="*/ 152300 h 674476"/>
                <a:gd name="connsiteX3" fmla="*/ 198536 w 492259"/>
                <a:gd name="connsiteY3" fmla="*/ 168618 h 674476"/>
                <a:gd name="connsiteX4" fmla="*/ 195817 w 492259"/>
                <a:gd name="connsiteY4" fmla="*/ 184936 h 674476"/>
                <a:gd name="connsiteX5" fmla="*/ 187658 w 492259"/>
                <a:gd name="connsiteY5" fmla="*/ 220292 h 674476"/>
                <a:gd name="connsiteX6" fmla="*/ 168620 w 492259"/>
                <a:gd name="connsiteY6" fmla="*/ 291003 h 674476"/>
                <a:gd name="connsiteX7" fmla="*/ 160461 w 492259"/>
                <a:gd name="connsiteY7" fmla="*/ 323639 h 674476"/>
                <a:gd name="connsiteX8" fmla="*/ 149582 w 492259"/>
                <a:gd name="connsiteY8" fmla="*/ 361714 h 674476"/>
                <a:gd name="connsiteX9" fmla="*/ 144143 w 492259"/>
                <a:gd name="connsiteY9" fmla="*/ 388910 h 674476"/>
                <a:gd name="connsiteX10" fmla="*/ 149582 w 492259"/>
                <a:gd name="connsiteY10" fmla="*/ 391630 h 674476"/>
                <a:gd name="connsiteX11" fmla="*/ 171340 w 492259"/>
                <a:gd name="connsiteY11" fmla="*/ 391630 h 674476"/>
                <a:gd name="connsiteX12" fmla="*/ 193097 w 492259"/>
                <a:gd name="connsiteY12" fmla="*/ 388910 h 674476"/>
                <a:gd name="connsiteX13" fmla="*/ 212135 w 492259"/>
                <a:gd name="connsiteY13" fmla="*/ 388910 h 674476"/>
                <a:gd name="connsiteX14" fmla="*/ 236611 w 492259"/>
                <a:gd name="connsiteY14" fmla="*/ 388910 h 674476"/>
                <a:gd name="connsiteX15" fmla="*/ 250210 w 492259"/>
                <a:gd name="connsiteY15" fmla="*/ 386191 h 674476"/>
                <a:gd name="connsiteX16" fmla="*/ 258369 w 492259"/>
                <a:gd name="connsiteY16" fmla="*/ 386191 h 674476"/>
                <a:gd name="connsiteX17" fmla="*/ 255649 w 492259"/>
                <a:gd name="connsiteY17" fmla="*/ 367153 h 674476"/>
                <a:gd name="connsiteX18" fmla="*/ 250210 w 492259"/>
                <a:gd name="connsiteY18" fmla="*/ 331797 h 674476"/>
                <a:gd name="connsiteX19" fmla="*/ 247490 w 492259"/>
                <a:gd name="connsiteY19" fmla="*/ 244769 h 674476"/>
                <a:gd name="connsiteX20" fmla="*/ 242051 w 492259"/>
                <a:gd name="connsiteY20" fmla="*/ 203974 h 674476"/>
                <a:gd name="connsiteX21" fmla="*/ 236611 w 492259"/>
                <a:gd name="connsiteY21" fmla="*/ 157740 h 674476"/>
                <a:gd name="connsiteX22" fmla="*/ 233892 w 492259"/>
                <a:gd name="connsiteY22" fmla="*/ 119665 h 674476"/>
                <a:gd name="connsiteX23" fmla="*/ 225733 w 492259"/>
                <a:gd name="connsiteY23" fmla="*/ 97907 h 674476"/>
                <a:gd name="connsiteX24" fmla="*/ 274687 w 492259"/>
                <a:gd name="connsiteY24" fmla="*/ 0 h 674476"/>
                <a:gd name="connsiteX25" fmla="*/ 304603 w 492259"/>
                <a:gd name="connsiteY25" fmla="*/ 5439 h 674476"/>
                <a:gd name="connsiteX26" fmla="*/ 320921 w 492259"/>
                <a:gd name="connsiteY26" fmla="*/ 24477 h 674476"/>
                <a:gd name="connsiteX27" fmla="*/ 334519 w 492259"/>
                <a:gd name="connsiteY27" fmla="*/ 43515 h 674476"/>
                <a:gd name="connsiteX28" fmla="*/ 339959 w 492259"/>
                <a:gd name="connsiteY28" fmla="*/ 65272 h 674476"/>
                <a:gd name="connsiteX29" fmla="*/ 348118 w 492259"/>
                <a:gd name="connsiteY29" fmla="*/ 114226 h 674476"/>
                <a:gd name="connsiteX30" fmla="*/ 361716 w 492259"/>
                <a:gd name="connsiteY30" fmla="*/ 163180 h 674476"/>
                <a:gd name="connsiteX31" fmla="*/ 369875 w 492259"/>
                <a:gd name="connsiteY31" fmla="*/ 220293 h 674476"/>
                <a:gd name="connsiteX32" fmla="*/ 378034 w 492259"/>
                <a:gd name="connsiteY32" fmla="*/ 274686 h 674476"/>
                <a:gd name="connsiteX33" fmla="*/ 383473 w 492259"/>
                <a:gd name="connsiteY33" fmla="*/ 301883 h 674476"/>
                <a:gd name="connsiteX34" fmla="*/ 391632 w 492259"/>
                <a:gd name="connsiteY34" fmla="*/ 337238 h 674476"/>
                <a:gd name="connsiteX35" fmla="*/ 397071 w 492259"/>
                <a:gd name="connsiteY35" fmla="*/ 364435 h 674476"/>
                <a:gd name="connsiteX36" fmla="*/ 405230 w 492259"/>
                <a:gd name="connsiteY36" fmla="*/ 383473 h 674476"/>
                <a:gd name="connsiteX37" fmla="*/ 416109 w 492259"/>
                <a:gd name="connsiteY37" fmla="*/ 386192 h 674476"/>
                <a:gd name="connsiteX38" fmla="*/ 426988 w 492259"/>
                <a:gd name="connsiteY38" fmla="*/ 386192 h 674476"/>
                <a:gd name="connsiteX39" fmla="*/ 454184 w 492259"/>
                <a:gd name="connsiteY39" fmla="*/ 397071 h 674476"/>
                <a:gd name="connsiteX40" fmla="*/ 456904 w 492259"/>
                <a:gd name="connsiteY40" fmla="*/ 405230 h 674476"/>
                <a:gd name="connsiteX41" fmla="*/ 451464 w 492259"/>
                <a:gd name="connsiteY41" fmla="*/ 416108 h 674476"/>
                <a:gd name="connsiteX42" fmla="*/ 432427 w 492259"/>
                <a:gd name="connsiteY42" fmla="*/ 429707 h 674476"/>
                <a:gd name="connsiteX43" fmla="*/ 421548 w 492259"/>
                <a:gd name="connsiteY43" fmla="*/ 432426 h 674476"/>
                <a:gd name="connsiteX44" fmla="*/ 413389 w 492259"/>
                <a:gd name="connsiteY44" fmla="*/ 435146 h 674476"/>
                <a:gd name="connsiteX45" fmla="*/ 413389 w 492259"/>
                <a:gd name="connsiteY45" fmla="*/ 440585 h 674476"/>
                <a:gd name="connsiteX46" fmla="*/ 416109 w 492259"/>
                <a:gd name="connsiteY46" fmla="*/ 451464 h 674476"/>
                <a:gd name="connsiteX47" fmla="*/ 418829 w 492259"/>
                <a:gd name="connsiteY47" fmla="*/ 465062 h 674476"/>
                <a:gd name="connsiteX48" fmla="*/ 418829 w 492259"/>
                <a:gd name="connsiteY48" fmla="*/ 475941 h 674476"/>
                <a:gd name="connsiteX49" fmla="*/ 418829 w 492259"/>
                <a:gd name="connsiteY49" fmla="*/ 486820 h 674476"/>
                <a:gd name="connsiteX50" fmla="*/ 426988 w 492259"/>
                <a:gd name="connsiteY50" fmla="*/ 516736 h 674476"/>
                <a:gd name="connsiteX51" fmla="*/ 432427 w 492259"/>
                <a:gd name="connsiteY51" fmla="*/ 543932 h 674476"/>
                <a:gd name="connsiteX52" fmla="*/ 437866 w 492259"/>
                <a:gd name="connsiteY52" fmla="*/ 573848 h 674476"/>
                <a:gd name="connsiteX53" fmla="*/ 443306 w 492259"/>
                <a:gd name="connsiteY53" fmla="*/ 606484 h 674476"/>
                <a:gd name="connsiteX54" fmla="*/ 446025 w 492259"/>
                <a:gd name="connsiteY54" fmla="*/ 617363 h 674476"/>
                <a:gd name="connsiteX55" fmla="*/ 470502 w 492259"/>
                <a:gd name="connsiteY55" fmla="*/ 617363 h 674476"/>
                <a:gd name="connsiteX56" fmla="*/ 492259 w 492259"/>
                <a:gd name="connsiteY56" fmla="*/ 641840 h 674476"/>
                <a:gd name="connsiteX57" fmla="*/ 484101 w 492259"/>
                <a:gd name="connsiteY57" fmla="*/ 655438 h 674476"/>
                <a:gd name="connsiteX58" fmla="*/ 467782 w 492259"/>
                <a:gd name="connsiteY58" fmla="*/ 663597 h 674476"/>
                <a:gd name="connsiteX59" fmla="*/ 443306 w 492259"/>
                <a:gd name="connsiteY59" fmla="*/ 666317 h 674476"/>
                <a:gd name="connsiteX60" fmla="*/ 421548 w 492259"/>
                <a:gd name="connsiteY60" fmla="*/ 666317 h 674476"/>
                <a:gd name="connsiteX61" fmla="*/ 413389 w 492259"/>
                <a:gd name="connsiteY61" fmla="*/ 666317 h 674476"/>
                <a:gd name="connsiteX62" fmla="*/ 399791 w 492259"/>
                <a:gd name="connsiteY62" fmla="*/ 671756 h 674476"/>
                <a:gd name="connsiteX63" fmla="*/ 383473 w 492259"/>
                <a:gd name="connsiteY63" fmla="*/ 674476 h 674476"/>
                <a:gd name="connsiteX64" fmla="*/ 348118 w 492259"/>
                <a:gd name="connsiteY64" fmla="*/ 669036 h 674476"/>
                <a:gd name="connsiteX65" fmla="*/ 326360 w 492259"/>
                <a:gd name="connsiteY65" fmla="*/ 669036 h 674476"/>
                <a:gd name="connsiteX66" fmla="*/ 277406 w 492259"/>
                <a:gd name="connsiteY66" fmla="*/ 669036 h 674476"/>
                <a:gd name="connsiteX67" fmla="*/ 252930 w 492259"/>
                <a:gd name="connsiteY67" fmla="*/ 663597 h 674476"/>
                <a:gd name="connsiteX68" fmla="*/ 236611 w 492259"/>
                <a:gd name="connsiteY68" fmla="*/ 647279 h 674476"/>
                <a:gd name="connsiteX69" fmla="*/ 261088 w 492259"/>
                <a:gd name="connsiteY69" fmla="*/ 630961 h 674476"/>
                <a:gd name="connsiteX70" fmla="*/ 288285 w 492259"/>
                <a:gd name="connsiteY70" fmla="*/ 628241 h 674476"/>
                <a:gd name="connsiteX71" fmla="*/ 285565 w 492259"/>
                <a:gd name="connsiteY71" fmla="*/ 609204 h 674476"/>
                <a:gd name="connsiteX72" fmla="*/ 282846 w 492259"/>
                <a:gd name="connsiteY72" fmla="*/ 582007 h 674476"/>
                <a:gd name="connsiteX73" fmla="*/ 280126 w 492259"/>
                <a:gd name="connsiteY73" fmla="*/ 568409 h 674476"/>
                <a:gd name="connsiteX74" fmla="*/ 282846 w 492259"/>
                <a:gd name="connsiteY74" fmla="*/ 554811 h 674476"/>
                <a:gd name="connsiteX75" fmla="*/ 277406 w 492259"/>
                <a:gd name="connsiteY75" fmla="*/ 538493 h 674476"/>
                <a:gd name="connsiteX76" fmla="*/ 271967 w 492259"/>
                <a:gd name="connsiteY76" fmla="*/ 505857 h 674476"/>
                <a:gd name="connsiteX77" fmla="*/ 269247 w 492259"/>
                <a:gd name="connsiteY77" fmla="*/ 478660 h 674476"/>
                <a:gd name="connsiteX78" fmla="*/ 266528 w 492259"/>
                <a:gd name="connsiteY78" fmla="*/ 446025 h 674476"/>
                <a:gd name="connsiteX79" fmla="*/ 261088 w 492259"/>
                <a:gd name="connsiteY79" fmla="*/ 437866 h 674476"/>
                <a:gd name="connsiteX80" fmla="*/ 250210 w 492259"/>
                <a:gd name="connsiteY80" fmla="*/ 437866 h 674476"/>
                <a:gd name="connsiteX81" fmla="*/ 220293 w 492259"/>
                <a:gd name="connsiteY81" fmla="*/ 440585 h 674476"/>
                <a:gd name="connsiteX82" fmla="*/ 190377 w 492259"/>
                <a:gd name="connsiteY82" fmla="*/ 443305 h 674476"/>
                <a:gd name="connsiteX83" fmla="*/ 165900 w 492259"/>
                <a:gd name="connsiteY83" fmla="*/ 443305 h 674476"/>
                <a:gd name="connsiteX84" fmla="*/ 144143 w 492259"/>
                <a:gd name="connsiteY84" fmla="*/ 440585 h 674476"/>
                <a:gd name="connsiteX85" fmla="*/ 135984 w 492259"/>
                <a:gd name="connsiteY85" fmla="*/ 454184 h 674476"/>
                <a:gd name="connsiteX86" fmla="*/ 130545 w 492259"/>
                <a:gd name="connsiteY86" fmla="*/ 486820 h 674476"/>
                <a:gd name="connsiteX87" fmla="*/ 119666 w 492259"/>
                <a:gd name="connsiteY87" fmla="*/ 541213 h 674476"/>
                <a:gd name="connsiteX88" fmla="*/ 103348 w 492259"/>
                <a:gd name="connsiteY88" fmla="*/ 614643 h 674476"/>
                <a:gd name="connsiteX89" fmla="*/ 133264 w 492259"/>
                <a:gd name="connsiteY89" fmla="*/ 614643 h 674476"/>
                <a:gd name="connsiteX90" fmla="*/ 168620 w 492259"/>
                <a:gd name="connsiteY90" fmla="*/ 630961 h 674476"/>
                <a:gd name="connsiteX91" fmla="*/ 163181 w 492259"/>
                <a:gd name="connsiteY91" fmla="*/ 647279 h 674476"/>
                <a:gd name="connsiteX92" fmla="*/ 146863 w 492259"/>
                <a:gd name="connsiteY92" fmla="*/ 655438 h 674476"/>
                <a:gd name="connsiteX93" fmla="*/ 127825 w 492259"/>
                <a:gd name="connsiteY93" fmla="*/ 658158 h 674476"/>
                <a:gd name="connsiteX94" fmla="*/ 106068 w 492259"/>
                <a:gd name="connsiteY94" fmla="*/ 658158 h 674476"/>
                <a:gd name="connsiteX95" fmla="*/ 62552 w 492259"/>
                <a:gd name="connsiteY95" fmla="*/ 658158 h 674476"/>
                <a:gd name="connsiteX96" fmla="*/ 40795 w 492259"/>
                <a:gd name="connsiteY96" fmla="*/ 658158 h 674476"/>
                <a:gd name="connsiteX97" fmla="*/ 16318 w 492259"/>
                <a:gd name="connsiteY97" fmla="*/ 652718 h 674476"/>
                <a:gd name="connsiteX98" fmla="*/ 0 w 492259"/>
                <a:gd name="connsiteY98" fmla="*/ 636401 h 674476"/>
                <a:gd name="connsiteX99" fmla="*/ 2720 w 492259"/>
                <a:gd name="connsiteY99" fmla="*/ 628241 h 674476"/>
                <a:gd name="connsiteX100" fmla="*/ 24477 w 492259"/>
                <a:gd name="connsiteY100" fmla="*/ 620082 h 674476"/>
                <a:gd name="connsiteX101" fmla="*/ 62552 w 492259"/>
                <a:gd name="connsiteY101" fmla="*/ 617363 h 674476"/>
                <a:gd name="connsiteX102" fmla="*/ 62552 w 492259"/>
                <a:gd name="connsiteY102" fmla="*/ 614643 h 674476"/>
                <a:gd name="connsiteX103" fmla="*/ 65272 w 492259"/>
                <a:gd name="connsiteY103" fmla="*/ 587447 h 674476"/>
                <a:gd name="connsiteX104" fmla="*/ 76151 w 492259"/>
                <a:gd name="connsiteY104" fmla="*/ 522175 h 674476"/>
                <a:gd name="connsiteX105" fmla="*/ 87029 w 492259"/>
                <a:gd name="connsiteY105" fmla="*/ 470501 h 674476"/>
                <a:gd name="connsiteX106" fmla="*/ 92468 w 492259"/>
                <a:gd name="connsiteY106" fmla="*/ 446025 h 674476"/>
                <a:gd name="connsiteX107" fmla="*/ 65272 w 492259"/>
                <a:gd name="connsiteY107" fmla="*/ 432426 h 674476"/>
                <a:gd name="connsiteX108" fmla="*/ 54393 w 492259"/>
                <a:gd name="connsiteY108" fmla="*/ 421548 h 674476"/>
                <a:gd name="connsiteX109" fmla="*/ 73431 w 492259"/>
                <a:gd name="connsiteY109" fmla="*/ 407949 h 674476"/>
                <a:gd name="connsiteX110" fmla="*/ 100629 w 492259"/>
                <a:gd name="connsiteY110" fmla="*/ 399790 h 674476"/>
                <a:gd name="connsiteX111" fmla="*/ 108788 w 492259"/>
                <a:gd name="connsiteY111" fmla="*/ 369874 h 674476"/>
                <a:gd name="connsiteX112" fmla="*/ 125105 w 492259"/>
                <a:gd name="connsiteY112" fmla="*/ 307322 h 674476"/>
                <a:gd name="connsiteX113" fmla="*/ 141423 w 492259"/>
                <a:gd name="connsiteY113" fmla="*/ 242051 h 674476"/>
                <a:gd name="connsiteX114" fmla="*/ 155022 w 492259"/>
                <a:gd name="connsiteY114" fmla="*/ 179498 h 674476"/>
                <a:gd name="connsiteX115" fmla="*/ 168620 w 492259"/>
                <a:gd name="connsiteY115" fmla="*/ 119665 h 674476"/>
                <a:gd name="connsiteX116" fmla="*/ 193097 w 492259"/>
                <a:gd name="connsiteY116" fmla="*/ 57113 h 674476"/>
                <a:gd name="connsiteX117" fmla="*/ 201256 w 492259"/>
                <a:gd name="connsiteY117" fmla="*/ 38075 h 674476"/>
                <a:gd name="connsiteX118" fmla="*/ 217574 w 492259"/>
                <a:gd name="connsiteY118" fmla="*/ 13598 h 674476"/>
                <a:gd name="connsiteX119" fmla="*/ 274687 w 492259"/>
                <a:gd name="connsiteY119" fmla="*/ 0 h 6744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</a:cxnLst>
              <a:rect l="l" t="t" r="r" b="b"/>
              <a:pathLst>
                <a:path w="492259" h="674476">
                  <a:moveTo>
                    <a:pt x="225733" y="97907"/>
                  </a:moveTo>
                  <a:cubicBezTo>
                    <a:pt x="217574" y="97907"/>
                    <a:pt x="209415" y="114225"/>
                    <a:pt x="209415" y="119665"/>
                  </a:cubicBezTo>
                  <a:cubicBezTo>
                    <a:pt x="206695" y="130543"/>
                    <a:pt x="203976" y="144141"/>
                    <a:pt x="201256" y="152300"/>
                  </a:cubicBezTo>
                  <a:cubicBezTo>
                    <a:pt x="198536" y="157740"/>
                    <a:pt x="198536" y="163179"/>
                    <a:pt x="198536" y="168618"/>
                  </a:cubicBezTo>
                  <a:cubicBezTo>
                    <a:pt x="198536" y="174058"/>
                    <a:pt x="195817" y="179497"/>
                    <a:pt x="195817" y="184936"/>
                  </a:cubicBezTo>
                  <a:cubicBezTo>
                    <a:pt x="193097" y="195815"/>
                    <a:pt x="190377" y="209413"/>
                    <a:pt x="187658" y="220292"/>
                  </a:cubicBezTo>
                  <a:cubicBezTo>
                    <a:pt x="184938" y="244769"/>
                    <a:pt x="176779" y="269246"/>
                    <a:pt x="168620" y="291003"/>
                  </a:cubicBezTo>
                  <a:cubicBezTo>
                    <a:pt x="165900" y="301881"/>
                    <a:pt x="163181" y="312760"/>
                    <a:pt x="160461" y="323639"/>
                  </a:cubicBezTo>
                  <a:cubicBezTo>
                    <a:pt x="157742" y="337237"/>
                    <a:pt x="155022" y="348115"/>
                    <a:pt x="149582" y="361714"/>
                  </a:cubicBezTo>
                  <a:cubicBezTo>
                    <a:pt x="146863" y="367153"/>
                    <a:pt x="144143" y="383471"/>
                    <a:pt x="144143" y="388910"/>
                  </a:cubicBezTo>
                  <a:cubicBezTo>
                    <a:pt x="144143" y="391630"/>
                    <a:pt x="146863" y="391630"/>
                    <a:pt x="149582" y="391630"/>
                  </a:cubicBezTo>
                  <a:cubicBezTo>
                    <a:pt x="155022" y="391630"/>
                    <a:pt x="168620" y="391630"/>
                    <a:pt x="171340" y="391630"/>
                  </a:cubicBezTo>
                  <a:cubicBezTo>
                    <a:pt x="179498" y="391630"/>
                    <a:pt x="187658" y="391630"/>
                    <a:pt x="193097" y="388910"/>
                  </a:cubicBezTo>
                  <a:cubicBezTo>
                    <a:pt x="198536" y="388910"/>
                    <a:pt x="203976" y="388910"/>
                    <a:pt x="212135" y="388910"/>
                  </a:cubicBezTo>
                  <a:cubicBezTo>
                    <a:pt x="217574" y="388910"/>
                    <a:pt x="225733" y="388910"/>
                    <a:pt x="236611" y="388910"/>
                  </a:cubicBezTo>
                  <a:cubicBezTo>
                    <a:pt x="242051" y="388910"/>
                    <a:pt x="247490" y="388910"/>
                    <a:pt x="250210" y="386191"/>
                  </a:cubicBezTo>
                  <a:cubicBezTo>
                    <a:pt x="255649" y="391630"/>
                    <a:pt x="258369" y="388910"/>
                    <a:pt x="258369" y="386191"/>
                  </a:cubicBezTo>
                  <a:cubicBezTo>
                    <a:pt x="258369" y="380751"/>
                    <a:pt x="255649" y="372592"/>
                    <a:pt x="255649" y="367153"/>
                  </a:cubicBezTo>
                  <a:cubicBezTo>
                    <a:pt x="252930" y="353555"/>
                    <a:pt x="250210" y="342676"/>
                    <a:pt x="250210" y="331797"/>
                  </a:cubicBezTo>
                  <a:cubicBezTo>
                    <a:pt x="250210" y="301881"/>
                    <a:pt x="250210" y="274685"/>
                    <a:pt x="247490" y="244769"/>
                  </a:cubicBezTo>
                  <a:cubicBezTo>
                    <a:pt x="247490" y="231170"/>
                    <a:pt x="244771" y="217572"/>
                    <a:pt x="242051" y="203974"/>
                  </a:cubicBezTo>
                  <a:cubicBezTo>
                    <a:pt x="239331" y="187656"/>
                    <a:pt x="236611" y="174058"/>
                    <a:pt x="236611" y="157740"/>
                  </a:cubicBezTo>
                  <a:cubicBezTo>
                    <a:pt x="236611" y="152300"/>
                    <a:pt x="236611" y="133263"/>
                    <a:pt x="233892" y="119665"/>
                  </a:cubicBezTo>
                  <a:cubicBezTo>
                    <a:pt x="233892" y="106066"/>
                    <a:pt x="231172" y="97907"/>
                    <a:pt x="225733" y="97907"/>
                  </a:cubicBezTo>
                  <a:close/>
                  <a:moveTo>
                    <a:pt x="274687" y="0"/>
                  </a:moveTo>
                  <a:cubicBezTo>
                    <a:pt x="288285" y="0"/>
                    <a:pt x="293724" y="2720"/>
                    <a:pt x="304603" y="5439"/>
                  </a:cubicBezTo>
                  <a:cubicBezTo>
                    <a:pt x="315481" y="10879"/>
                    <a:pt x="315481" y="16318"/>
                    <a:pt x="320921" y="24477"/>
                  </a:cubicBezTo>
                  <a:cubicBezTo>
                    <a:pt x="326360" y="29916"/>
                    <a:pt x="331800" y="35356"/>
                    <a:pt x="334519" y="43515"/>
                  </a:cubicBezTo>
                  <a:cubicBezTo>
                    <a:pt x="337239" y="51674"/>
                    <a:pt x="337239" y="57113"/>
                    <a:pt x="339959" y="65272"/>
                  </a:cubicBezTo>
                  <a:cubicBezTo>
                    <a:pt x="345398" y="78870"/>
                    <a:pt x="342678" y="97908"/>
                    <a:pt x="348118" y="114226"/>
                  </a:cubicBezTo>
                  <a:cubicBezTo>
                    <a:pt x="350837" y="130544"/>
                    <a:pt x="358996" y="146863"/>
                    <a:pt x="361716" y="163180"/>
                  </a:cubicBezTo>
                  <a:cubicBezTo>
                    <a:pt x="364435" y="182218"/>
                    <a:pt x="364435" y="201256"/>
                    <a:pt x="369875" y="220293"/>
                  </a:cubicBezTo>
                  <a:cubicBezTo>
                    <a:pt x="375314" y="239331"/>
                    <a:pt x="378034" y="255649"/>
                    <a:pt x="378034" y="274686"/>
                  </a:cubicBezTo>
                  <a:cubicBezTo>
                    <a:pt x="378034" y="282845"/>
                    <a:pt x="380753" y="293724"/>
                    <a:pt x="383473" y="301883"/>
                  </a:cubicBezTo>
                  <a:cubicBezTo>
                    <a:pt x="386193" y="312762"/>
                    <a:pt x="388913" y="326360"/>
                    <a:pt x="391632" y="337238"/>
                  </a:cubicBezTo>
                  <a:cubicBezTo>
                    <a:pt x="391632" y="342678"/>
                    <a:pt x="394352" y="353556"/>
                    <a:pt x="397071" y="364435"/>
                  </a:cubicBezTo>
                  <a:cubicBezTo>
                    <a:pt x="399791" y="372594"/>
                    <a:pt x="402511" y="380753"/>
                    <a:pt x="405230" y="383473"/>
                  </a:cubicBezTo>
                  <a:cubicBezTo>
                    <a:pt x="407950" y="386192"/>
                    <a:pt x="413389" y="386192"/>
                    <a:pt x="416109" y="386192"/>
                  </a:cubicBezTo>
                  <a:cubicBezTo>
                    <a:pt x="418829" y="386192"/>
                    <a:pt x="424268" y="386192"/>
                    <a:pt x="426988" y="386192"/>
                  </a:cubicBezTo>
                  <a:cubicBezTo>
                    <a:pt x="437866" y="386192"/>
                    <a:pt x="448745" y="388912"/>
                    <a:pt x="454184" y="397071"/>
                  </a:cubicBezTo>
                  <a:cubicBezTo>
                    <a:pt x="456904" y="399790"/>
                    <a:pt x="456904" y="402510"/>
                    <a:pt x="456904" y="405230"/>
                  </a:cubicBezTo>
                  <a:cubicBezTo>
                    <a:pt x="456904" y="407949"/>
                    <a:pt x="454184" y="410669"/>
                    <a:pt x="451464" y="416108"/>
                  </a:cubicBezTo>
                  <a:cubicBezTo>
                    <a:pt x="446025" y="421548"/>
                    <a:pt x="440586" y="426987"/>
                    <a:pt x="432427" y="429707"/>
                  </a:cubicBezTo>
                  <a:cubicBezTo>
                    <a:pt x="429707" y="429707"/>
                    <a:pt x="426988" y="432426"/>
                    <a:pt x="421548" y="432426"/>
                  </a:cubicBezTo>
                  <a:cubicBezTo>
                    <a:pt x="418829" y="432426"/>
                    <a:pt x="416109" y="432426"/>
                    <a:pt x="413389" y="435146"/>
                  </a:cubicBezTo>
                  <a:cubicBezTo>
                    <a:pt x="413389" y="435146"/>
                    <a:pt x="413389" y="437866"/>
                    <a:pt x="413389" y="440585"/>
                  </a:cubicBezTo>
                  <a:cubicBezTo>
                    <a:pt x="413389" y="443305"/>
                    <a:pt x="413389" y="448744"/>
                    <a:pt x="416109" y="451464"/>
                  </a:cubicBezTo>
                  <a:cubicBezTo>
                    <a:pt x="416109" y="456903"/>
                    <a:pt x="418829" y="462343"/>
                    <a:pt x="418829" y="465062"/>
                  </a:cubicBezTo>
                  <a:lnTo>
                    <a:pt x="418829" y="475941"/>
                  </a:lnTo>
                  <a:cubicBezTo>
                    <a:pt x="418829" y="481380"/>
                    <a:pt x="418829" y="484100"/>
                    <a:pt x="418829" y="486820"/>
                  </a:cubicBezTo>
                  <a:cubicBezTo>
                    <a:pt x="421548" y="497698"/>
                    <a:pt x="424268" y="505857"/>
                    <a:pt x="426988" y="516736"/>
                  </a:cubicBezTo>
                  <a:cubicBezTo>
                    <a:pt x="426988" y="524895"/>
                    <a:pt x="429707" y="535773"/>
                    <a:pt x="432427" y="543932"/>
                  </a:cubicBezTo>
                  <a:cubicBezTo>
                    <a:pt x="435147" y="554811"/>
                    <a:pt x="437866" y="562970"/>
                    <a:pt x="437866" y="573848"/>
                  </a:cubicBezTo>
                  <a:cubicBezTo>
                    <a:pt x="437866" y="587447"/>
                    <a:pt x="440586" y="595606"/>
                    <a:pt x="443306" y="606484"/>
                  </a:cubicBezTo>
                  <a:cubicBezTo>
                    <a:pt x="443306" y="609204"/>
                    <a:pt x="446025" y="614643"/>
                    <a:pt x="446025" y="617363"/>
                  </a:cubicBezTo>
                  <a:cubicBezTo>
                    <a:pt x="454184" y="617363"/>
                    <a:pt x="462343" y="617363"/>
                    <a:pt x="470502" y="617363"/>
                  </a:cubicBezTo>
                  <a:cubicBezTo>
                    <a:pt x="475942" y="625522"/>
                    <a:pt x="492259" y="630961"/>
                    <a:pt x="492259" y="641840"/>
                  </a:cubicBezTo>
                  <a:cubicBezTo>
                    <a:pt x="492259" y="647279"/>
                    <a:pt x="486820" y="649999"/>
                    <a:pt x="484101" y="655438"/>
                  </a:cubicBezTo>
                  <a:cubicBezTo>
                    <a:pt x="481381" y="660877"/>
                    <a:pt x="473222" y="663597"/>
                    <a:pt x="467782" y="663597"/>
                  </a:cubicBezTo>
                  <a:cubicBezTo>
                    <a:pt x="456904" y="666317"/>
                    <a:pt x="451464" y="666317"/>
                    <a:pt x="443306" y="666317"/>
                  </a:cubicBezTo>
                  <a:cubicBezTo>
                    <a:pt x="437866" y="666317"/>
                    <a:pt x="429707" y="666317"/>
                    <a:pt x="421548" y="666317"/>
                  </a:cubicBezTo>
                  <a:cubicBezTo>
                    <a:pt x="418829" y="666317"/>
                    <a:pt x="416109" y="666317"/>
                    <a:pt x="413389" y="666317"/>
                  </a:cubicBezTo>
                  <a:cubicBezTo>
                    <a:pt x="407950" y="669036"/>
                    <a:pt x="405230" y="669036"/>
                    <a:pt x="399791" y="671756"/>
                  </a:cubicBezTo>
                  <a:cubicBezTo>
                    <a:pt x="394352" y="671756"/>
                    <a:pt x="388913" y="674476"/>
                    <a:pt x="383473" y="674476"/>
                  </a:cubicBezTo>
                  <a:cubicBezTo>
                    <a:pt x="372594" y="674476"/>
                    <a:pt x="358996" y="671756"/>
                    <a:pt x="348118" y="669036"/>
                  </a:cubicBezTo>
                  <a:cubicBezTo>
                    <a:pt x="339959" y="669036"/>
                    <a:pt x="331800" y="669036"/>
                    <a:pt x="326360" y="669036"/>
                  </a:cubicBezTo>
                  <a:cubicBezTo>
                    <a:pt x="304603" y="669036"/>
                    <a:pt x="285565" y="669036"/>
                    <a:pt x="277406" y="669036"/>
                  </a:cubicBezTo>
                  <a:cubicBezTo>
                    <a:pt x="269247" y="669036"/>
                    <a:pt x="258369" y="669036"/>
                    <a:pt x="252930" y="663597"/>
                  </a:cubicBezTo>
                  <a:cubicBezTo>
                    <a:pt x="247490" y="660877"/>
                    <a:pt x="236611" y="655438"/>
                    <a:pt x="236611" y="647279"/>
                  </a:cubicBezTo>
                  <a:cubicBezTo>
                    <a:pt x="236611" y="636401"/>
                    <a:pt x="252930" y="633681"/>
                    <a:pt x="261088" y="630961"/>
                  </a:cubicBezTo>
                  <a:cubicBezTo>
                    <a:pt x="266528" y="630961"/>
                    <a:pt x="274687" y="630961"/>
                    <a:pt x="288285" y="628241"/>
                  </a:cubicBezTo>
                  <a:cubicBezTo>
                    <a:pt x="288285" y="620082"/>
                    <a:pt x="288285" y="614643"/>
                    <a:pt x="285565" y="609204"/>
                  </a:cubicBezTo>
                  <a:cubicBezTo>
                    <a:pt x="285565" y="601045"/>
                    <a:pt x="282846" y="590166"/>
                    <a:pt x="282846" y="582007"/>
                  </a:cubicBezTo>
                  <a:cubicBezTo>
                    <a:pt x="282846" y="576568"/>
                    <a:pt x="280126" y="573848"/>
                    <a:pt x="280126" y="568409"/>
                  </a:cubicBezTo>
                  <a:cubicBezTo>
                    <a:pt x="280126" y="562970"/>
                    <a:pt x="282846" y="557531"/>
                    <a:pt x="282846" y="554811"/>
                  </a:cubicBezTo>
                  <a:cubicBezTo>
                    <a:pt x="282846" y="549371"/>
                    <a:pt x="280126" y="546652"/>
                    <a:pt x="277406" y="538493"/>
                  </a:cubicBezTo>
                  <a:cubicBezTo>
                    <a:pt x="277406" y="527614"/>
                    <a:pt x="271967" y="516736"/>
                    <a:pt x="271967" y="505857"/>
                  </a:cubicBezTo>
                  <a:cubicBezTo>
                    <a:pt x="271967" y="494978"/>
                    <a:pt x="271967" y="486820"/>
                    <a:pt x="269247" y="478660"/>
                  </a:cubicBezTo>
                  <a:cubicBezTo>
                    <a:pt x="266528" y="467782"/>
                    <a:pt x="266528" y="456903"/>
                    <a:pt x="266528" y="446025"/>
                  </a:cubicBezTo>
                  <a:cubicBezTo>
                    <a:pt x="266528" y="440585"/>
                    <a:pt x="263808" y="437866"/>
                    <a:pt x="261088" y="437866"/>
                  </a:cubicBezTo>
                  <a:cubicBezTo>
                    <a:pt x="258369" y="437866"/>
                    <a:pt x="255649" y="437866"/>
                    <a:pt x="250210" y="437866"/>
                  </a:cubicBezTo>
                  <a:cubicBezTo>
                    <a:pt x="239331" y="437866"/>
                    <a:pt x="228452" y="437866"/>
                    <a:pt x="220293" y="440585"/>
                  </a:cubicBezTo>
                  <a:cubicBezTo>
                    <a:pt x="209415" y="440585"/>
                    <a:pt x="201256" y="443305"/>
                    <a:pt x="190377" y="443305"/>
                  </a:cubicBezTo>
                  <a:cubicBezTo>
                    <a:pt x="182218" y="443305"/>
                    <a:pt x="174059" y="443305"/>
                    <a:pt x="165900" y="443305"/>
                  </a:cubicBezTo>
                  <a:cubicBezTo>
                    <a:pt x="163181" y="443305"/>
                    <a:pt x="152302" y="440585"/>
                    <a:pt x="144143" y="440585"/>
                  </a:cubicBezTo>
                  <a:cubicBezTo>
                    <a:pt x="135984" y="440585"/>
                    <a:pt x="135984" y="448744"/>
                    <a:pt x="135984" y="454184"/>
                  </a:cubicBezTo>
                  <a:cubicBezTo>
                    <a:pt x="135984" y="465062"/>
                    <a:pt x="133264" y="475941"/>
                    <a:pt x="130545" y="486820"/>
                  </a:cubicBezTo>
                  <a:cubicBezTo>
                    <a:pt x="127825" y="505857"/>
                    <a:pt x="122386" y="522175"/>
                    <a:pt x="119666" y="541213"/>
                  </a:cubicBezTo>
                  <a:cubicBezTo>
                    <a:pt x="116947" y="560250"/>
                    <a:pt x="108788" y="595606"/>
                    <a:pt x="103348" y="614643"/>
                  </a:cubicBezTo>
                  <a:cubicBezTo>
                    <a:pt x="111507" y="614643"/>
                    <a:pt x="122386" y="614643"/>
                    <a:pt x="133264" y="614643"/>
                  </a:cubicBezTo>
                  <a:cubicBezTo>
                    <a:pt x="146863" y="614643"/>
                    <a:pt x="168620" y="614643"/>
                    <a:pt x="168620" y="630961"/>
                  </a:cubicBezTo>
                  <a:cubicBezTo>
                    <a:pt x="168620" y="639120"/>
                    <a:pt x="165900" y="639120"/>
                    <a:pt x="163181" y="647279"/>
                  </a:cubicBezTo>
                  <a:cubicBezTo>
                    <a:pt x="160461" y="652718"/>
                    <a:pt x="152302" y="655438"/>
                    <a:pt x="146863" y="655438"/>
                  </a:cubicBezTo>
                  <a:cubicBezTo>
                    <a:pt x="138704" y="658158"/>
                    <a:pt x="133264" y="658158"/>
                    <a:pt x="127825" y="658158"/>
                  </a:cubicBezTo>
                  <a:cubicBezTo>
                    <a:pt x="122386" y="658158"/>
                    <a:pt x="116947" y="658158"/>
                    <a:pt x="106068" y="658158"/>
                  </a:cubicBezTo>
                  <a:cubicBezTo>
                    <a:pt x="92468" y="658158"/>
                    <a:pt x="78870" y="658158"/>
                    <a:pt x="62552" y="658158"/>
                  </a:cubicBezTo>
                  <a:cubicBezTo>
                    <a:pt x="54393" y="658158"/>
                    <a:pt x="46234" y="658158"/>
                    <a:pt x="40795" y="658158"/>
                  </a:cubicBezTo>
                  <a:cubicBezTo>
                    <a:pt x="32636" y="658158"/>
                    <a:pt x="21758" y="658158"/>
                    <a:pt x="16318" y="652718"/>
                  </a:cubicBezTo>
                  <a:cubicBezTo>
                    <a:pt x="8159" y="649999"/>
                    <a:pt x="0" y="641840"/>
                    <a:pt x="0" y="636401"/>
                  </a:cubicBezTo>
                  <a:cubicBezTo>
                    <a:pt x="0" y="633681"/>
                    <a:pt x="0" y="630961"/>
                    <a:pt x="2720" y="628241"/>
                  </a:cubicBezTo>
                  <a:cubicBezTo>
                    <a:pt x="8159" y="625522"/>
                    <a:pt x="16318" y="622802"/>
                    <a:pt x="24477" y="620082"/>
                  </a:cubicBezTo>
                  <a:cubicBezTo>
                    <a:pt x="38075" y="617363"/>
                    <a:pt x="48954" y="617363"/>
                    <a:pt x="62552" y="617363"/>
                  </a:cubicBezTo>
                  <a:cubicBezTo>
                    <a:pt x="62552" y="617363"/>
                    <a:pt x="62552" y="614643"/>
                    <a:pt x="62552" y="614643"/>
                  </a:cubicBezTo>
                  <a:cubicBezTo>
                    <a:pt x="62552" y="603765"/>
                    <a:pt x="65272" y="590166"/>
                    <a:pt x="65272" y="587447"/>
                  </a:cubicBezTo>
                  <a:cubicBezTo>
                    <a:pt x="67992" y="565689"/>
                    <a:pt x="73431" y="543932"/>
                    <a:pt x="76151" y="522175"/>
                  </a:cubicBezTo>
                  <a:cubicBezTo>
                    <a:pt x="78870" y="505857"/>
                    <a:pt x="81590" y="486820"/>
                    <a:pt x="87029" y="470501"/>
                  </a:cubicBezTo>
                  <a:cubicBezTo>
                    <a:pt x="87029" y="465062"/>
                    <a:pt x="92468" y="451464"/>
                    <a:pt x="92468" y="446025"/>
                  </a:cubicBezTo>
                  <a:cubicBezTo>
                    <a:pt x="92468" y="437866"/>
                    <a:pt x="73431" y="437866"/>
                    <a:pt x="65272" y="432426"/>
                  </a:cubicBezTo>
                  <a:cubicBezTo>
                    <a:pt x="59833" y="429707"/>
                    <a:pt x="54393" y="426987"/>
                    <a:pt x="54393" y="421548"/>
                  </a:cubicBezTo>
                  <a:cubicBezTo>
                    <a:pt x="54393" y="413389"/>
                    <a:pt x="62552" y="410669"/>
                    <a:pt x="73431" y="407949"/>
                  </a:cubicBezTo>
                  <a:cubicBezTo>
                    <a:pt x="78870" y="407949"/>
                    <a:pt x="92468" y="405230"/>
                    <a:pt x="100629" y="399790"/>
                  </a:cubicBezTo>
                  <a:cubicBezTo>
                    <a:pt x="106068" y="394351"/>
                    <a:pt x="106068" y="378033"/>
                    <a:pt x="108788" y="369874"/>
                  </a:cubicBezTo>
                  <a:cubicBezTo>
                    <a:pt x="114227" y="348117"/>
                    <a:pt x="119666" y="326360"/>
                    <a:pt x="125105" y="307322"/>
                  </a:cubicBezTo>
                  <a:cubicBezTo>
                    <a:pt x="130545" y="285565"/>
                    <a:pt x="135984" y="263808"/>
                    <a:pt x="141423" y="242051"/>
                  </a:cubicBezTo>
                  <a:cubicBezTo>
                    <a:pt x="146863" y="220293"/>
                    <a:pt x="152302" y="198536"/>
                    <a:pt x="155022" y="179498"/>
                  </a:cubicBezTo>
                  <a:cubicBezTo>
                    <a:pt x="157742" y="160461"/>
                    <a:pt x="163181" y="138703"/>
                    <a:pt x="168620" y="119665"/>
                  </a:cubicBezTo>
                  <a:cubicBezTo>
                    <a:pt x="176779" y="100627"/>
                    <a:pt x="182218" y="76150"/>
                    <a:pt x="193097" y="57113"/>
                  </a:cubicBezTo>
                  <a:lnTo>
                    <a:pt x="201256" y="38075"/>
                  </a:lnTo>
                  <a:cubicBezTo>
                    <a:pt x="206695" y="29916"/>
                    <a:pt x="209415" y="19038"/>
                    <a:pt x="217574" y="13598"/>
                  </a:cubicBezTo>
                  <a:cubicBezTo>
                    <a:pt x="231172" y="2720"/>
                    <a:pt x="255649" y="0"/>
                    <a:pt x="274687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/>
            </a:p>
          </p:txBody>
        </p:sp>
        <p:sp>
          <p:nvSpPr>
            <p:cNvPr id="47" name="Freeform: Shape 46">
              <a:extLst>
                <a:ext uri="{FF2B5EF4-FFF2-40B4-BE49-F238E27FC236}">
                  <a16:creationId xmlns:a16="http://schemas.microsoft.com/office/drawing/2014/main" id="{E252413E-95D4-436B-9CDD-1C43CDFDF645}"/>
                </a:ext>
              </a:extLst>
            </p:cNvPr>
            <p:cNvSpPr/>
            <p:nvPr/>
          </p:nvSpPr>
          <p:spPr>
            <a:xfrm>
              <a:off x="6876542" y="4244897"/>
              <a:ext cx="462342" cy="677195"/>
            </a:xfrm>
            <a:custGeom>
              <a:avLst/>
              <a:gdLst>
                <a:gd name="connsiteX0" fmla="*/ 214853 w 462342"/>
                <a:gd name="connsiteY0" fmla="*/ 65272 h 677195"/>
                <a:gd name="connsiteX1" fmla="*/ 195815 w 462342"/>
                <a:gd name="connsiteY1" fmla="*/ 73431 h 677195"/>
                <a:gd name="connsiteX2" fmla="*/ 193096 w 462342"/>
                <a:gd name="connsiteY2" fmla="*/ 125105 h 677195"/>
                <a:gd name="connsiteX3" fmla="*/ 190376 w 462342"/>
                <a:gd name="connsiteY3" fmla="*/ 280125 h 677195"/>
                <a:gd name="connsiteX4" fmla="*/ 190376 w 462342"/>
                <a:gd name="connsiteY4" fmla="*/ 301882 h 677195"/>
                <a:gd name="connsiteX5" fmla="*/ 193096 w 462342"/>
                <a:gd name="connsiteY5" fmla="*/ 342677 h 677195"/>
                <a:gd name="connsiteX6" fmla="*/ 195815 w 462342"/>
                <a:gd name="connsiteY6" fmla="*/ 397070 h 677195"/>
                <a:gd name="connsiteX7" fmla="*/ 195815 w 462342"/>
                <a:gd name="connsiteY7" fmla="*/ 443304 h 677195"/>
                <a:gd name="connsiteX8" fmla="*/ 195815 w 462342"/>
                <a:gd name="connsiteY8" fmla="*/ 530333 h 677195"/>
                <a:gd name="connsiteX9" fmla="*/ 193096 w 462342"/>
                <a:gd name="connsiteY9" fmla="*/ 554810 h 677195"/>
                <a:gd name="connsiteX10" fmla="*/ 190376 w 462342"/>
                <a:gd name="connsiteY10" fmla="*/ 603764 h 677195"/>
                <a:gd name="connsiteX11" fmla="*/ 198535 w 462342"/>
                <a:gd name="connsiteY11" fmla="*/ 611923 h 677195"/>
                <a:gd name="connsiteX12" fmla="*/ 214853 w 462342"/>
                <a:gd name="connsiteY12" fmla="*/ 611923 h 677195"/>
                <a:gd name="connsiteX13" fmla="*/ 236610 w 462342"/>
                <a:gd name="connsiteY13" fmla="*/ 611923 h 677195"/>
                <a:gd name="connsiteX14" fmla="*/ 263807 w 462342"/>
                <a:gd name="connsiteY14" fmla="*/ 598325 h 677195"/>
                <a:gd name="connsiteX15" fmla="*/ 277405 w 462342"/>
                <a:gd name="connsiteY15" fmla="*/ 592885 h 677195"/>
                <a:gd name="connsiteX16" fmla="*/ 291004 w 462342"/>
                <a:gd name="connsiteY16" fmla="*/ 573848 h 677195"/>
                <a:gd name="connsiteX17" fmla="*/ 307322 w 462342"/>
                <a:gd name="connsiteY17" fmla="*/ 543931 h 677195"/>
                <a:gd name="connsiteX18" fmla="*/ 326359 w 462342"/>
                <a:gd name="connsiteY18" fmla="*/ 481379 h 677195"/>
                <a:gd name="connsiteX19" fmla="*/ 337238 w 462342"/>
                <a:gd name="connsiteY19" fmla="*/ 413388 h 677195"/>
                <a:gd name="connsiteX20" fmla="*/ 337238 w 462342"/>
                <a:gd name="connsiteY20" fmla="*/ 350836 h 677195"/>
                <a:gd name="connsiteX21" fmla="*/ 334518 w 462342"/>
                <a:gd name="connsiteY21" fmla="*/ 296443 h 677195"/>
                <a:gd name="connsiteX22" fmla="*/ 329079 w 462342"/>
                <a:gd name="connsiteY22" fmla="*/ 244769 h 677195"/>
                <a:gd name="connsiteX23" fmla="*/ 307322 w 462342"/>
                <a:gd name="connsiteY23" fmla="*/ 135983 h 677195"/>
                <a:gd name="connsiteX24" fmla="*/ 271966 w 462342"/>
                <a:gd name="connsiteY24" fmla="*/ 78870 h 677195"/>
                <a:gd name="connsiteX25" fmla="*/ 214853 w 462342"/>
                <a:gd name="connsiteY25" fmla="*/ 65272 h 677195"/>
                <a:gd name="connsiteX26" fmla="*/ 114226 w 462342"/>
                <a:gd name="connsiteY26" fmla="*/ 0 h 677195"/>
                <a:gd name="connsiteX27" fmla="*/ 127824 w 462342"/>
                <a:gd name="connsiteY27" fmla="*/ 0 h 677195"/>
                <a:gd name="connsiteX28" fmla="*/ 146862 w 462342"/>
                <a:gd name="connsiteY28" fmla="*/ 2720 h 677195"/>
                <a:gd name="connsiteX29" fmla="*/ 174059 w 462342"/>
                <a:gd name="connsiteY29" fmla="*/ 21758 h 677195"/>
                <a:gd name="connsiteX30" fmla="*/ 193096 w 462342"/>
                <a:gd name="connsiteY30" fmla="*/ 21758 h 677195"/>
                <a:gd name="connsiteX31" fmla="*/ 261088 w 462342"/>
                <a:gd name="connsiteY31" fmla="*/ 27197 h 677195"/>
                <a:gd name="connsiteX32" fmla="*/ 310042 w 462342"/>
                <a:gd name="connsiteY32" fmla="*/ 35356 h 677195"/>
                <a:gd name="connsiteX33" fmla="*/ 334518 w 462342"/>
                <a:gd name="connsiteY33" fmla="*/ 40795 h 677195"/>
                <a:gd name="connsiteX34" fmla="*/ 356276 w 462342"/>
                <a:gd name="connsiteY34" fmla="*/ 59833 h 677195"/>
                <a:gd name="connsiteX35" fmla="*/ 372593 w 462342"/>
                <a:gd name="connsiteY35" fmla="*/ 76151 h 677195"/>
                <a:gd name="connsiteX36" fmla="*/ 380752 w 462342"/>
                <a:gd name="connsiteY36" fmla="*/ 95188 h 677195"/>
                <a:gd name="connsiteX37" fmla="*/ 405230 w 462342"/>
                <a:gd name="connsiteY37" fmla="*/ 114226 h 677195"/>
                <a:gd name="connsiteX38" fmla="*/ 416108 w 462342"/>
                <a:gd name="connsiteY38" fmla="*/ 141422 h 677195"/>
                <a:gd name="connsiteX39" fmla="*/ 451464 w 462342"/>
                <a:gd name="connsiteY39" fmla="*/ 201256 h 677195"/>
                <a:gd name="connsiteX40" fmla="*/ 456903 w 462342"/>
                <a:gd name="connsiteY40" fmla="*/ 252929 h 677195"/>
                <a:gd name="connsiteX41" fmla="*/ 456903 w 462342"/>
                <a:gd name="connsiteY41" fmla="*/ 291004 h 677195"/>
                <a:gd name="connsiteX42" fmla="*/ 459623 w 462342"/>
                <a:gd name="connsiteY42" fmla="*/ 318201 h 677195"/>
                <a:gd name="connsiteX43" fmla="*/ 459623 w 462342"/>
                <a:gd name="connsiteY43" fmla="*/ 326360 h 677195"/>
                <a:gd name="connsiteX44" fmla="*/ 459623 w 462342"/>
                <a:gd name="connsiteY44" fmla="*/ 348117 h 677195"/>
                <a:gd name="connsiteX45" fmla="*/ 462342 w 462342"/>
                <a:gd name="connsiteY45" fmla="*/ 367155 h 677195"/>
                <a:gd name="connsiteX46" fmla="*/ 456903 w 462342"/>
                <a:gd name="connsiteY46" fmla="*/ 391632 h 677195"/>
                <a:gd name="connsiteX47" fmla="*/ 456903 w 462342"/>
                <a:gd name="connsiteY47" fmla="*/ 418828 h 677195"/>
                <a:gd name="connsiteX48" fmla="*/ 451464 w 462342"/>
                <a:gd name="connsiteY48" fmla="*/ 437866 h 677195"/>
                <a:gd name="connsiteX49" fmla="*/ 446025 w 462342"/>
                <a:gd name="connsiteY49" fmla="*/ 454184 h 677195"/>
                <a:gd name="connsiteX50" fmla="*/ 440585 w 462342"/>
                <a:gd name="connsiteY50" fmla="*/ 481380 h 677195"/>
                <a:gd name="connsiteX51" fmla="*/ 432426 w 462342"/>
                <a:gd name="connsiteY51" fmla="*/ 508577 h 677195"/>
                <a:gd name="connsiteX52" fmla="*/ 418828 w 462342"/>
                <a:gd name="connsiteY52" fmla="*/ 530334 h 677195"/>
                <a:gd name="connsiteX53" fmla="*/ 410669 w 462342"/>
                <a:gd name="connsiteY53" fmla="*/ 549371 h 677195"/>
                <a:gd name="connsiteX54" fmla="*/ 391631 w 462342"/>
                <a:gd name="connsiteY54" fmla="*/ 579288 h 677195"/>
                <a:gd name="connsiteX55" fmla="*/ 337238 w 462342"/>
                <a:gd name="connsiteY55" fmla="*/ 630961 h 677195"/>
                <a:gd name="connsiteX56" fmla="*/ 301883 w 462342"/>
                <a:gd name="connsiteY56" fmla="*/ 647279 h 677195"/>
                <a:gd name="connsiteX57" fmla="*/ 263807 w 462342"/>
                <a:gd name="connsiteY57" fmla="*/ 652718 h 677195"/>
                <a:gd name="connsiteX58" fmla="*/ 233891 w 462342"/>
                <a:gd name="connsiteY58" fmla="*/ 649999 h 677195"/>
                <a:gd name="connsiteX59" fmla="*/ 187657 w 462342"/>
                <a:gd name="connsiteY59" fmla="*/ 652718 h 677195"/>
                <a:gd name="connsiteX60" fmla="*/ 171339 w 462342"/>
                <a:gd name="connsiteY60" fmla="*/ 669036 h 677195"/>
                <a:gd name="connsiteX61" fmla="*/ 155021 w 462342"/>
                <a:gd name="connsiteY61" fmla="*/ 671756 h 677195"/>
                <a:gd name="connsiteX62" fmla="*/ 138703 w 462342"/>
                <a:gd name="connsiteY62" fmla="*/ 674476 h 677195"/>
                <a:gd name="connsiteX63" fmla="*/ 125105 w 462342"/>
                <a:gd name="connsiteY63" fmla="*/ 677195 h 677195"/>
                <a:gd name="connsiteX64" fmla="*/ 106067 w 462342"/>
                <a:gd name="connsiteY64" fmla="*/ 671756 h 677195"/>
                <a:gd name="connsiteX65" fmla="*/ 87029 w 462342"/>
                <a:gd name="connsiteY65" fmla="*/ 658158 h 677195"/>
                <a:gd name="connsiteX66" fmla="*/ 81590 w 462342"/>
                <a:gd name="connsiteY66" fmla="*/ 652718 h 677195"/>
                <a:gd name="connsiteX67" fmla="*/ 67992 w 462342"/>
                <a:gd name="connsiteY67" fmla="*/ 652718 h 677195"/>
                <a:gd name="connsiteX68" fmla="*/ 43515 w 462342"/>
                <a:gd name="connsiteY68" fmla="*/ 652718 h 677195"/>
                <a:gd name="connsiteX69" fmla="*/ 16318 w 462342"/>
                <a:gd name="connsiteY69" fmla="*/ 647279 h 677195"/>
                <a:gd name="connsiteX70" fmla="*/ 0 w 462342"/>
                <a:gd name="connsiteY70" fmla="*/ 630961 h 677195"/>
                <a:gd name="connsiteX71" fmla="*/ 5439 w 462342"/>
                <a:gd name="connsiteY71" fmla="*/ 620083 h 677195"/>
                <a:gd name="connsiteX72" fmla="*/ 27197 w 462342"/>
                <a:gd name="connsiteY72" fmla="*/ 611924 h 677195"/>
                <a:gd name="connsiteX73" fmla="*/ 65272 w 462342"/>
                <a:gd name="connsiteY73" fmla="*/ 609204 h 677195"/>
                <a:gd name="connsiteX74" fmla="*/ 65272 w 462342"/>
                <a:gd name="connsiteY74" fmla="*/ 584727 h 677195"/>
                <a:gd name="connsiteX75" fmla="*/ 62552 w 462342"/>
                <a:gd name="connsiteY75" fmla="*/ 456903 h 677195"/>
                <a:gd name="connsiteX76" fmla="*/ 65272 w 462342"/>
                <a:gd name="connsiteY76" fmla="*/ 337238 h 677195"/>
                <a:gd name="connsiteX77" fmla="*/ 67992 w 462342"/>
                <a:gd name="connsiteY77" fmla="*/ 203975 h 677195"/>
                <a:gd name="connsiteX78" fmla="*/ 70712 w 462342"/>
                <a:gd name="connsiteY78" fmla="*/ 119665 h 677195"/>
                <a:gd name="connsiteX79" fmla="*/ 73431 w 462342"/>
                <a:gd name="connsiteY79" fmla="*/ 67992 h 677195"/>
                <a:gd name="connsiteX80" fmla="*/ 67992 w 462342"/>
                <a:gd name="connsiteY80" fmla="*/ 67992 h 677195"/>
                <a:gd name="connsiteX81" fmla="*/ 43515 w 462342"/>
                <a:gd name="connsiteY81" fmla="*/ 67992 h 677195"/>
                <a:gd name="connsiteX82" fmla="*/ 16318 w 462342"/>
                <a:gd name="connsiteY82" fmla="*/ 62552 h 677195"/>
                <a:gd name="connsiteX83" fmla="*/ 0 w 462342"/>
                <a:gd name="connsiteY83" fmla="*/ 46234 h 677195"/>
                <a:gd name="connsiteX84" fmla="*/ 5439 w 462342"/>
                <a:gd name="connsiteY84" fmla="*/ 35356 h 677195"/>
                <a:gd name="connsiteX85" fmla="*/ 27197 w 462342"/>
                <a:gd name="connsiteY85" fmla="*/ 27197 h 677195"/>
                <a:gd name="connsiteX86" fmla="*/ 76151 w 462342"/>
                <a:gd name="connsiteY86" fmla="*/ 21758 h 677195"/>
                <a:gd name="connsiteX87" fmla="*/ 81590 w 462342"/>
                <a:gd name="connsiteY87" fmla="*/ 13598 h 677195"/>
                <a:gd name="connsiteX88" fmla="*/ 97908 w 462342"/>
                <a:gd name="connsiteY88" fmla="*/ 5439 h 677195"/>
                <a:gd name="connsiteX89" fmla="*/ 114226 w 462342"/>
                <a:gd name="connsiteY89" fmla="*/ 0 h 6771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</a:cxnLst>
              <a:rect l="l" t="t" r="r" b="b"/>
              <a:pathLst>
                <a:path w="462342" h="677195">
                  <a:moveTo>
                    <a:pt x="214853" y="65272"/>
                  </a:moveTo>
                  <a:cubicBezTo>
                    <a:pt x="203975" y="65272"/>
                    <a:pt x="195815" y="67992"/>
                    <a:pt x="195815" y="73431"/>
                  </a:cubicBezTo>
                  <a:cubicBezTo>
                    <a:pt x="193096" y="78870"/>
                    <a:pt x="193096" y="100628"/>
                    <a:pt x="193096" y="125105"/>
                  </a:cubicBezTo>
                  <a:cubicBezTo>
                    <a:pt x="193096" y="182217"/>
                    <a:pt x="193096" y="266527"/>
                    <a:pt x="190376" y="280125"/>
                  </a:cubicBezTo>
                  <a:cubicBezTo>
                    <a:pt x="190376" y="288284"/>
                    <a:pt x="190376" y="293723"/>
                    <a:pt x="190376" y="301882"/>
                  </a:cubicBezTo>
                  <a:cubicBezTo>
                    <a:pt x="190376" y="315480"/>
                    <a:pt x="190376" y="329079"/>
                    <a:pt x="193096" y="342677"/>
                  </a:cubicBezTo>
                  <a:cubicBezTo>
                    <a:pt x="193096" y="361715"/>
                    <a:pt x="193096" y="378033"/>
                    <a:pt x="195815" y="397070"/>
                  </a:cubicBezTo>
                  <a:cubicBezTo>
                    <a:pt x="195815" y="413388"/>
                    <a:pt x="195815" y="426986"/>
                    <a:pt x="195815" y="443304"/>
                  </a:cubicBezTo>
                  <a:cubicBezTo>
                    <a:pt x="195815" y="465061"/>
                    <a:pt x="198535" y="508576"/>
                    <a:pt x="195815" y="530333"/>
                  </a:cubicBezTo>
                  <a:cubicBezTo>
                    <a:pt x="195815" y="538492"/>
                    <a:pt x="193096" y="546651"/>
                    <a:pt x="193096" y="554810"/>
                  </a:cubicBezTo>
                  <a:cubicBezTo>
                    <a:pt x="193096" y="560249"/>
                    <a:pt x="190376" y="590166"/>
                    <a:pt x="190376" y="603764"/>
                  </a:cubicBezTo>
                  <a:cubicBezTo>
                    <a:pt x="190376" y="609203"/>
                    <a:pt x="190376" y="611923"/>
                    <a:pt x="198535" y="611923"/>
                  </a:cubicBezTo>
                  <a:cubicBezTo>
                    <a:pt x="206694" y="611923"/>
                    <a:pt x="209414" y="611923"/>
                    <a:pt x="214853" y="611923"/>
                  </a:cubicBezTo>
                  <a:cubicBezTo>
                    <a:pt x="223012" y="611923"/>
                    <a:pt x="220293" y="611923"/>
                    <a:pt x="236610" y="611923"/>
                  </a:cubicBezTo>
                  <a:cubicBezTo>
                    <a:pt x="242050" y="611923"/>
                    <a:pt x="258368" y="601044"/>
                    <a:pt x="263807" y="598325"/>
                  </a:cubicBezTo>
                  <a:cubicBezTo>
                    <a:pt x="266527" y="598325"/>
                    <a:pt x="274686" y="592885"/>
                    <a:pt x="277405" y="592885"/>
                  </a:cubicBezTo>
                  <a:cubicBezTo>
                    <a:pt x="285564" y="587446"/>
                    <a:pt x="288284" y="579287"/>
                    <a:pt x="291004" y="573848"/>
                  </a:cubicBezTo>
                  <a:cubicBezTo>
                    <a:pt x="296443" y="562969"/>
                    <a:pt x="301882" y="554810"/>
                    <a:pt x="307322" y="543931"/>
                  </a:cubicBezTo>
                  <a:cubicBezTo>
                    <a:pt x="315481" y="524894"/>
                    <a:pt x="320920" y="524894"/>
                    <a:pt x="326359" y="481379"/>
                  </a:cubicBezTo>
                  <a:cubicBezTo>
                    <a:pt x="329079" y="456903"/>
                    <a:pt x="334518" y="435145"/>
                    <a:pt x="337238" y="413388"/>
                  </a:cubicBezTo>
                  <a:cubicBezTo>
                    <a:pt x="337238" y="391631"/>
                    <a:pt x="337238" y="369873"/>
                    <a:pt x="337238" y="350836"/>
                  </a:cubicBezTo>
                  <a:cubicBezTo>
                    <a:pt x="337238" y="339957"/>
                    <a:pt x="337238" y="320920"/>
                    <a:pt x="334518" y="296443"/>
                  </a:cubicBezTo>
                  <a:cubicBezTo>
                    <a:pt x="331798" y="269246"/>
                    <a:pt x="329079" y="250209"/>
                    <a:pt x="329079" y="244769"/>
                  </a:cubicBezTo>
                  <a:cubicBezTo>
                    <a:pt x="323640" y="206694"/>
                    <a:pt x="318200" y="174058"/>
                    <a:pt x="307322" y="135983"/>
                  </a:cubicBezTo>
                  <a:cubicBezTo>
                    <a:pt x="304602" y="125105"/>
                    <a:pt x="304602" y="108787"/>
                    <a:pt x="271966" y="78870"/>
                  </a:cubicBezTo>
                  <a:cubicBezTo>
                    <a:pt x="263807" y="73431"/>
                    <a:pt x="233891" y="65272"/>
                    <a:pt x="214853" y="65272"/>
                  </a:cubicBezTo>
                  <a:close/>
                  <a:moveTo>
                    <a:pt x="114226" y="0"/>
                  </a:moveTo>
                  <a:cubicBezTo>
                    <a:pt x="119665" y="0"/>
                    <a:pt x="125105" y="0"/>
                    <a:pt x="127824" y="0"/>
                  </a:cubicBezTo>
                  <a:cubicBezTo>
                    <a:pt x="133264" y="0"/>
                    <a:pt x="141422" y="0"/>
                    <a:pt x="146862" y="2720"/>
                  </a:cubicBezTo>
                  <a:cubicBezTo>
                    <a:pt x="157741" y="5439"/>
                    <a:pt x="165900" y="13598"/>
                    <a:pt x="174059" y="21758"/>
                  </a:cubicBezTo>
                  <a:cubicBezTo>
                    <a:pt x="179498" y="21758"/>
                    <a:pt x="187657" y="21758"/>
                    <a:pt x="193096" y="21758"/>
                  </a:cubicBezTo>
                  <a:cubicBezTo>
                    <a:pt x="212134" y="21758"/>
                    <a:pt x="228452" y="27197"/>
                    <a:pt x="261088" y="27197"/>
                  </a:cubicBezTo>
                  <a:cubicBezTo>
                    <a:pt x="277405" y="27197"/>
                    <a:pt x="293723" y="35356"/>
                    <a:pt x="310042" y="35356"/>
                  </a:cubicBezTo>
                  <a:cubicBezTo>
                    <a:pt x="318200" y="35356"/>
                    <a:pt x="329079" y="35356"/>
                    <a:pt x="334518" y="40795"/>
                  </a:cubicBezTo>
                  <a:cubicBezTo>
                    <a:pt x="342677" y="46234"/>
                    <a:pt x="348117" y="54393"/>
                    <a:pt x="356276" y="59833"/>
                  </a:cubicBezTo>
                  <a:cubicBezTo>
                    <a:pt x="361715" y="65272"/>
                    <a:pt x="369874" y="67992"/>
                    <a:pt x="372593" y="76151"/>
                  </a:cubicBezTo>
                  <a:cubicBezTo>
                    <a:pt x="375313" y="81590"/>
                    <a:pt x="378033" y="89749"/>
                    <a:pt x="380752" y="95188"/>
                  </a:cubicBezTo>
                  <a:cubicBezTo>
                    <a:pt x="386192" y="103347"/>
                    <a:pt x="391631" y="106067"/>
                    <a:pt x="405230" y="114226"/>
                  </a:cubicBezTo>
                  <a:cubicBezTo>
                    <a:pt x="413388" y="119665"/>
                    <a:pt x="410669" y="133263"/>
                    <a:pt x="416108" y="141422"/>
                  </a:cubicBezTo>
                  <a:cubicBezTo>
                    <a:pt x="426987" y="160461"/>
                    <a:pt x="446025" y="182218"/>
                    <a:pt x="451464" y="201256"/>
                  </a:cubicBezTo>
                  <a:cubicBezTo>
                    <a:pt x="456903" y="220293"/>
                    <a:pt x="456903" y="236611"/>
                    <a:pt x="456903" y="252929"/>
                  </a:cubicBezTo>
                  <a:cubicBezTo>
                    <a:pt x="456903" y="266527"/>
                    <a:pt x="456903" y="277406"/>
                    <a:pt x="456903" y="291004"/>
                  </a:cubicBezTo>
                  <a:cubicBezTo>
                    <a:pt x="456903" y="299163"/>
                    <a:pt x="456903" y="307322"/>
                    <a:pt x="459623" y="318201"/>
                  </a:cubicBezTo>
                  <a:cubicBezTo>
                    <a:pt x="459623" y="320921"/>
                    <a:pt x="459623" y="323640"/>
                    <a:pt x="459623" y="326360"/>
                  </a:cubicBezTo>
                  <a:cubicBezTo>
                    <a:pt x="462342" y="331799"/>
                    <a:pt x="459623" y="337238"/>
                    <a:pt x="459623" y="348117"/>
                  </a:cubicBezTo>
                  <a:cubicBezTo>
                    <a:pt x="459623" y="350837"/>
                    <a:pt x="462342" y="361715"/>
                    <a:pt x="462342" y="367155"/>
                  </a:cubicBezTo>
                  <a:cubicBezTo>
                    <a:pt x="462342" y="375314"/>
                    <a:pt x="456903" y="383473"/>
                    <a:pt x="456903" y="391632"/>
                  </a:cubicBezTo>
                  <a:cubicBezTo>
                    <a:pt x="456903" y="399790"/>
                    <a:pt x="456903" y="410669"/>
                    <a:pt x="456903" y="418828"/>
                  </a:cubicBezTo>
                  <a:cubicBezTo>
                    <a:pt x="456903" y="421548"/>
                    <a:pt x="454183" y="429707"/>
                    <a:pt x="451464" y="437866"/>
                  </a:cubicBezTo>
                  <a:cubicBezTo>
                    <a:pt x="448744" y="443305"/>
                    <a:pt x="448744" y="451464"/>
                    <a:pt x="446025" y="454184"/>
                  </a:cubicBezTo>
                  <a:cubicBezTo>
                    <a:pt x="443305" y="462343"/>
                    <a:pt x="440585" y="473221"/>
                    <a:pt x="440585" y="481380"/>
                  </a:cubicBezTo>
                  <a:cubicBezTo>
                    <a:pt x="437865" y="489539"/>
                    <a:pt x="437865" y="500418"/>
                    <a:pt x="432426" y="508577"/>
                  </a:cubicBezTo>
                  <a:cubicBezTo>
                    <a:pt x="429706" y="516736"/>
                    <a:pt x="424267" y="522175"/>
                    <a:pt x="418828" y="530334"/>
                  </a:cubicBezTo>
                  <a:cubicBezTo>
                    <a:pt x="416108" y="535773"/>
                    <a:pt x="413388" y="543932"/>
                    <a:pt x="410669" y="549371"/>
                  </a:cubicBezTo>
                  <a:cubicBezTo>
                    <a:pt x="405230" y="557531"/>
                    <a:pt x="397071" y="573848"/>
                    <a:pt x="391631" y="579288"/>
                  </a:cubicBezTo>
                  <a:cubicBezTo>
                    <a:pt x="369874" y="609204"/>
                    <a:pt x="350836" y="620083"/>
                    <a:pt x="337238" y="630961"/>
                  </a:cubicBezTo>
                  <a:cubicBezTo>
                    <a:pt x="326359" y="639120"/>
                    <a:pt x="315481" y="641840"/>
                    <a:pt x="301883" y="647279"/>
                  </a:cubicBezTo>
                  <a:cubicBezTo>
                    <a:pt x="291004" y="649999"/>
                    <a:pt x="277405" y="652718"/>
                    <a:pt x="263807" y="652718"/>
                  </a:cubicBezTo>
                  <a:cubicBezTo>
                    <a:pt x="252929" y="652718"/>
                    <a:pt x="244770" y="649999"/>
                    <a:pt x="233891" y="649999"/>
                  </a:cubicBezTo>
                  <a:cubicBezTo>
                    <a:pt x="206694" y="649999"/>
                    <a:pt x="217573" y="652718"/>
                    <a:pt x="187657" y="652718"/>
                  </a:cubicBezTo>
                  <a:cubicBezTo>
                    <a:pt x="184937" y="660877"/>
                    <a:pt x="179498" y="666317"/>
                    <a:pt x="171339" y="669036"/>
                  </a:cubicBezTo>
                  <a:cubicBezTo>
                    <a:pt x="165900" y="671756"/>
                    <a:pt x="160460" y="671756"/>
                    <a:pt x="155021" y="671756"/>
                  </a:cubicBezTo>
                  <a:cubicBezTo>
                    <a:pt x="149581" y="671756"/>
                    <a:pt x="144142" y="674476"/>
                    <a:pt x="138703" y="674476"/>
                  </a:cubicBezTo>
                  <a:cubicBezTo>
                    <a:pt x="135983" y="674476"/>
                    <a:pt x="127824" y="677195"/>
                    <a:pt x="125105" y="677195"/>
                  </a:cubicBezTo>
                  <a:cubicBezTo>
                    <a:pt x="116946" y="677195"/>
                    <a:pt x="108787" y="671756"/>
                    <a:pt x="106067" y="671756"/>
                  </a:cubicBezTo>
                  <a:cubicBezTo>
                    <a:pt x="100628" y="669036"/>
                    <a:pt x="95188" y="663597"/>
                    <a:pt x="87029" y="658158"/>
                  </a:cubicBezTo>
                  <a:cubicBezTo>
                    <a:pt x="84310" y="655438"/>
                    <a:pt x="81590" y="655438"/>
                    <a:pt x="81590" y="652718"/>
                  </a:cubicBezTo>
                  <a:cubicBezTo>
                    <a:pt x="73431" y="652718"/>
                    <a:pt x="81590" y="652718"/>
                    <a:pt x="67992" y="652718"/>
                  </a:cubicBezTo>
                  <a:cubicBezTo>
                    <a:pt x="59833" y="652718"/>
                    <a:pt x="51674" y="652718"/>
                    <a:pt x="43515" y="652718"/>
                  </a:cubicBezTo>
                  <a:cubicBezTo>
                    <a:pt x="35356" y="652718"/>
                    <a:pt x="24477" y="652718"/>
                    <a:pt x="16318" y="647279"/>
                  </a:cubicBezTo>
                  <a:cubicBezTo>
                    <a:pt x="8159" y="644559"/>
                    <a:pt x="0" y="636401"/>
                    <a:pt x="0" y="630961"/>
                  </a:cubicBezTo>
                  <a:cubicBezTo>
                    <a:pt x="0" y="625522"/>
                    <a:pt x="0" y="622802"/>
                    <a:pt x="5439" y="620083"/>
                  </a:cubicBezTo>
                  <a:cubicBezTo>
                    <a:pt x="10879" y="617363"/>
                    <a:pt x="21758" y="614643"/>
                    <a:pt x="27197" y="611924"/>
                  </a:cubicBezTo>
                  <a:cubicBezTo>
                    <a:pt x="38076" y="609204"/>
                    <a:pt x="54393" y="609204"/>
                    <a:pt x="65272" y="609204"/>
                  </a:cubicBezTo>
                  <a:cubicBezTo>
                    <a:pt x="65272" y="601045"/>
                    <a:pt x="65272" y="592886"/>
                    <a:pt x="65272" y="584727"/>
                  </a:cubicBezTo>
                  <a:cubicBezTo>
                    <a:pt x="65272" y="541213"/>
                    <a:pt x="62552" y="500418"/>
                    <a:pt x="62552" y="456903"/>
                  </a:cubicBezTo>
                  <a:cubicBezTo>
                    <a:pt x="62552" y="440585"/>
                    <a:pt x="65272" y="397071"/>
                    <a:pt x="65272" y="337238"/>
                  </a:cubicBezTo>
                  <a:cubicBezTo>
                    <a:pt x="65272" y="293724"/>
                    <a:pt x="67992" y="247490"/>
                    <a:pt x="67992" y="203975"/>
                  </a:cubicBezTo>
                  <a:cubicBezTo>
                    <a:pt x="67992" y="179498"/>
                    <a:pt x="67992" y="149582"/>
                    <a:pt x="70712" y="119665"/>
                  </a:cubicBezTo>
                  <a:cubicBezTo>
                    <a:pt x="70712" y="103347"/>
                    <a:pt x="73431" y="84309"/>
                    <a:pt x="73431" y="67992"/>
                  </a:cubicBezTo>
                  <a:cubicBezTo>
                    <a:pt x="73431" y="67992"/>
                    <a:pt x="70712" y="67992"/>
                    <a:pt x="67992" y="67992"/>
                  </a:cubicBezTo>
                  <a:cubicBezTo>
                    <a:pt x="59833" y="67992"/>
                    <a:pt x="51674" y="67992"/>
                    <a:pt x="43515" y="67992"/>
                  </a:cubicBezTo>
                  <a:cubicBezTo>
                    <a:pt x="35356" y="67992"/>
                    <a:pt x="24477" y="67992"/>
                    <a:pt x="16318" y="62552"/>
                  </a:cubicBezTo>
                  <a:cubicBezTo>
                    <a:pt x="8159" y="59833"/>
                    <a:pt x="0" y="51674"/>
                    <a:pt x="0" y="46234"/>
                  </a:cubicBezTo>
                  <a:cubicBezTo>
                    <a:pt x="0" y="43515"/>
                    <a:pt x="0" y="38075"/>
                    <a:pt x="5439" y="35356"/>
                  </a:cubicBezTo>
                  <a:cubicBezTo>
                    <a:pt x="10879" y="32636"/>
                    <a:pt x="21758" y="29916"/>
                    <a:pt x="27197" y="27197"/>
                  </a:cubicBezTo>
                  <a:cubicBezTo>
                    <a:pt x="46234" y="24477"/>
                    <a:pt x="65272" y="21758"/>
                    <a:pt x="76151" y="21758"/>
                  </a:cubicBezTo>
                  <a:cubicBezTo>
                    <a:pt x="76151" y="19038"/>
                    <a:pt x="78871" y="16318"/>
                    <a:pt x="81590" y="13598"/>
                  </a:cubicBezTo>
                  <a:cubicBezTo>
                    <a:pt x="84310" y="10879"/>
                    <a:pt x="92469" y="5439"/>
                    <a:pt x="97908" y="5439"/>
                  </a:cubicBezTo>
                  <a:cubicBezTo>
                    <a:pt x="103347" y="2720"/>
                    <a:pt x="108787" y="0"/>
                    <a:pt x="114226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/>
            </a:p>
          </p:txBody>
        </p:sp>
        <p:sp>
          <p:nvSpPr>
            <p:cNvPr id="48" name="Freeform: Shape 47">
              <a:extLst>
                <a:ext uri="{FF2B5EF4-FFF2-40B4-BE49-F238E27FC236}">
                  <a16:creationId xmlns:a16="http://schemas.microsoft.com/office/drawing/2014/main" id="{788C5136-65D1-40F1-A383-12AEB2FDD611}"/>
                </a:ext>
              </a:extLst>
            </p:cNvPr>
            <p:cNvSpPr/>
            <p:nvPr/>
          </p:nvSpPr>
          <p:spPr>
            <a:xfrm>
              <a:off x="7310622" y="4197597"/>
              <a:ext cx="489539" cy="761503"/>
            </a:xfrm>
            <a:custGeom>
              <a:avLst/>
              <a:gdLst>
                <a:gd name="connsiteX0" fmla="*/ 433491 w 489538"/>
                <a:gd name="connsiteY0" fmla="*/ 651063 h 761503"/>
                <a:gd name="connsiteX1" fmla="*/ 438930 w 489538"/>
                <a:gd name="connsiteY1" fmla="*/ 661942 h 761503"/>
                <a:gd name="connsiteX2" fmla="*/ 425332 w 489538"/>
                <a:gd name="connsiteY2" fmla="*/ 683699 h 761503"/>
                <a:gd name="connsiteX3" fmla="*/ 400855 w 489538"/>
                <a:gd name="connsiteY3" fmla="*/ 691858 h 761503"/>
                <a:gd name="connsiteX4" fmla="*/ 343742 w 489538"/>
                <a:gd name="connsiteY4" fmla="*/ 700017 h 761503"/>
                <a:gd name="connsiteX5" fmla="*/ 316546 w 489538"/>
                <a:gd name="connsiteY5" fmla="*/ 705456 h 761503"/>
                <a:gd name="connsiteX6" fmla="*/ 275751 w 489538"/>
                <a:gd name="connsiteY6" fmla="*/ 705456 h 761503"/>
                <a:gd name="connsiteX7" fmla="*/ 264872 w 489538"/>
                <a:gd name="connsiteY7" fmla="*/ 708176 h 761503"/>
                <a:gd name="connsiteX8" fmla="*/ 253994 w 489538"/>
                <a:gd name="connsiteY8" fmla="*/ 708176 h 761503"/>
                <a:gd name="connsiteX9" fmla="*/ 240395 w 489538"/>
                <a:gd name="connsiteY9" fmla="*/ 719054 h 761503"/>
                <a:gd name="connsiteX10" fmla="*/ 224077 w 489538"/>
                <a:gd name="connsiteY10" fmla="*/ 721774 h 761503"/>
                <a:gd name="connsiteX11" fmla="*/ 205040 w 489538"/>
                <a:gd name="connsiteY11" fmla="*/ 724494 h 761503"/>
                <a:gd name="connsiteX12" fmla="*/ 191441 w 489538"/>
                <a:gd name="connsiteY12" fmla="*/ 727213 h 761503"/>
                <a:gd name="connsiteX13" fmla="*/ 169684 w 489538"/>
                <a:gd name="connsiteY13" fmla="*/ 721774 h 761503"/>
                <a:gd name="connsiteX14" fmla="*/ 150646 w 489538"/>
                <a:gd name="connsiteY14" fmla="*/ 708176 h 761503"/>
                <a:gd name="connsiteX15" fmla="*/ 139768 w 489538"/>
                <a:gd name="connsiteY15" fmla="*/ 708176 h 761503"/>
                <a:gd name="connsiteX16" fmla="*/ 120730 w 489538"/>
                <a:gd name="connsiteY16" fmla="*/ 708176 h 761503"/>
                <a:gd name="connsiteX17" fmla="*/ 98973 w 489538"/>
                <a:gd name="connsiteY17" fmla="*/ 708176 h 761503"/>
                <a:gd name="connsiteX18" fmla="*/ 74496 w 489538"/>
                <a:gd name="connsiteY18" fmla="*/ 702736 h 761503"/>
                <a:gd name="connsiteX19" fmla="*/ 58178 w 489538"/>
                <a:gd name="connsiteY19" fmla="*/ 683699 h 761503"/>
                <a:gd name="connsiteX20" fmla="*/ 63617 w 489538"/>
                <a:gd name="connsiteY20" fmla="*/ 675540 h 761503"/>
                <a:gd name="connsiteX21" fmla="*/ 85375 w 489538"/>
                <a:gd name="connsiteY21" fmla="*/ 667381 h 761503"/>
                <a:gd name="connsiteX22" fmla="*/ 128889 w 489538"/>
                <a:gd name="connsiteY22" fmla="*/ 661942 h 761503"/>
                <a:gd name="connsiteX23" fmla="*/ 128889 w 489538"/>
                <a:gd name="connsiteY23" fmla="*/ 602109 h 761503"/>
                <a:gd name="connsiteX24" fmla="*/ 126170 w 489538"/>
                <a:gd name="connsiteY24" fmla="*/ 523239 h 761503"/>
                <a:gd name="connsiteX25" fmla="*/ 126170 w 489538"/>
                <a:gd name="connsiteY25" fmla="*/ 468846 h 761503"/>
                <a:gd name="connsiteX26" fmla="*/ 123450 w 489538"/>
                <a:gd name="connsiteY26" fmla="*/ 409014 h 761503"/>
                <a:gd name="connsiteX27" fmla="*/ 123450 w 489538"/>
                <a:gd name="connsiteY27" fmla="*/ 384537 h 761503"/>
                <a:gd name="connsiteX28" fmla="*/ 126170 w 489538"/>
                <a:gd name="connsiteY28" fmla="*/ 349181 h 761503"/>
                <a:gd name="connsiteX29" fmla="*/ 126170 w 489538"/>
                <a:gd name="connsiteY29" fmla="*/ 324704 h 761503"/>
                <a:gd name="connsiteX30" fmla="*/ 128889 w 489538"/>
                <a:gd name="connsiteY30" fmla="*/ 292068 h 761503"/>
                <a:gd name="connsiteX31" fmla="*/ 134329 w 489538"/>
                <a:gd name="connsiteY31" fmla="*/ 234956 h 761503"/>
                <a:gd name="connsiteX32" fmla="*/ 134329 w 489538"/>
                <a:gd name="connsiteY32" fmla="*/ 172404 h 761503"/>
                <a:gd name="connsiteX33" fmla="*/ 137048 w 489538"/>
                <a:gd name="connsiteY33" fmla="*/ 123450 h 761503"/>
                <a:gd name="connsiteX34" fmla="*/ 123450 w 489538"/>
                <a:gd name="connsiteY34" fmla="*/ 123450 h 761503"/>
                <a:gd name="connsiteX35" fmla="*/ 101693 w 489538"/>
                <a:gd name="connsiteY35" fmla="*/ 123450 h 761503"/>
                <a:gd name="connsiteX36" fmla="*/ 77216 w 489538"/>
                <a:gd name="connsiteY36" fmla="*/ 118011 h 761503"/>
                <a:gd name="connsiteX37" fmla="*/ 60898 w 489538"/>
                <a:gd name="connsiteY37" fmla="*/ 98973 h 761503"/>
                <a:gd name="connsiteX38" fmla="*/ 66337 w 489538"/>
                <a:gd name="connsiteY38" fmla="*/ 90814 h 761503"/>
                <a:gd name="connsiteX39" fmla="*/ 88094 w 489538"/>
                <a:gd name="connsiteY39" fmla="*/ 82655 h 761503"/>
                <a:gd name="connsiteX40" fmla="*/ 145207 w 489538"/>
                <a:gd name="connsiteY40" fmla="*/ 77216 h 761503"/>
                <a:gd name="connsiteX41" fmla="*/ 145207 w 489538"/>
                <a:gd name="connsiteY41" fmla="*/ 77216 h 761503"/>
                <a:gd name="connsiteX42" fmla="*/ 153366 w 489538"/>
                <a:gd name="connsiteY42" fmla="*/ 69057 h 761503"/>
                <a:gd name="connsiteX43" fmla="*/ 177843 w 489538"/>
                <a:gd name="connsiteY43" fmla="*/ 60898 h 761503"/>
                <a:gd name="connsiteX44" fmla="*/ 196881 w 489538"/>
                <a:gd name="connsiteY44" fmla="*/ 58178 h 761503"/>
                <a:gd name="connsiteX45" fmla="*/ 205040 w 489538"/>
                <a:gd name="connsiteY45" fmla="*/ 58178 h 761503"/>
                <a:gd name="connsiteX46" fmla="*/ 215919 w 489538"/>
                <a:gd name="connsiteY46" fmla="*/ 63617 h 761503"/>
                <a:gd name="connsiteX47" fmla="*/ 229517 w 489538"/>
                <a:gd name="connsiteY47" fmla="*/ 69057 h 761503"/>
                <a:gd name="connsiteX48" fmla="*/ 256713 w 489538"/>
                <a:gd name="connsiteY48" fmla="*/ 77216 h 761503"/>
                <a:gd name="connsiteX49" fmla="*/ 264872 w 489538"/>
                <a:gd name="connsiteY49" fmla="*/ 77216 h 761503"/>
                <a:gd name="connsiteX50" fmla="*/ 281190 w 489538"/>
                <a:gd name="connsiteY50" fmla="*/ 77216 h 761503"/>
                <a:gd name="connsiteX51" fmla="*/ 330144 w 489538"/>
                <a:gd name="connsiteY51" fmla="*/ 77216 h 761503"/>
                <a:gd name="connsiteX52" fmla="*/ 357341 w 489538"/>
                <a:gd name="connsiteY52" fmla="*/ 79935 h 761503"/>
                <a:gd name="connsiteX53" fmla="*/ 387257 w 489538"/>
                <a:gd name="connsiteY53" fmla="*/ 82655 h 761503"/>
                <a:gd name="connsiteX54" fmla="*/ 406295 w 489538"/>
                <a:gd name="connsiteY54" fmla="*/ 85375 h 761503"/>
                <a:gd name="connsiteX55" fmla="*/ 417173 w 489538"/>
                <a:gd name="connsiteY55" fmla="*/ 79935 h 761503"/>
                <a:gd name="connsiteX56" fmla="*/ 425332 w 489538"/>
                <a:gd name="connsiteY56" fmla="*/ 85375 h 761503"/>
                <a:gd name="connsiteX57" fmla="*/ 433491 w 489538"/>
                <a:gd name="connsiteY57" fmla="*/ 104412 h 761503"/>
                <a:gd name="connsiteX58" fmla="*/ 436211 w 489538"/>
                <a:gd name="connsiteY58" fmla="*/ 137048 h 761503"/>
                <a:gd name="connsiteX59" fmla="*/ 438930 w 489538"/>
                <a:gd name="connsiteY59" fmla="*/ 183282 h 761503"/>
                <a:gd name="connsiteX60" fmla="*/ 422612 w 489538"/>
                <a:gd name="connsiteY60" fmla="*/ 218638 h 761503"/>
                <a:gd name="connsiteX61" fmla="*/ 406295 w 489538"/>
                <a:gd name="connsiteY61" fmla="*/ 213198 h 761503"/>
                <a:gd name="connsiteX62" fmla="*/ 398136 w 489538"/>
                <a:gd name="connsiteY62" fmla="*/ 196881 h 761503"/>
                <a:gd name="connsiteX63" fmla="*/ 395416 w 489538"/>
                <a:gd name="connsiteY63" fmla="*/ 175123 h 761503"/>
                <a:gd name="connsiteX64" fmla="*/ 395416 w 489538"/>
                <a:gd name="connsiteY64" fmla="*/ 153366 h 761503"/>
                <a:gd name="connsiteX65" fmla="*/ 395416 w 489538"/>
                <a:gd name="connsiteY65" fmla="*/ 126170 h 761503"/>
                <a:gd name="connsiteX66" fmla="*/ 370939 w 489538"/>
                <a:gd name="connsiteY66" fmla="*/ 128889 h 761503"/>
                <a:gd name="connsiteX67" fmla="*/ 338303 w 489538"/>
                <a:gd name="connsiteY67" fmla="*/ 131609 h 761503"/>
                <a:gd name="connsiteX68" fmla="*/ 286629 w 489538"/>
                <a:gd name="connsiteY68" fmla="*/ 134328 h 761503"/>
                <a:gd name="connsiteX69" fmla="*/ 273031 w 489538"/>
                <a:gd name="connsiteY69" fmla="*/ 137048 h 761503"/>
                <a:gd name="connsiteX70" fmla="*/ 262153 w 489538"/>
                <a:gd name="connsiteY70" fmla="*/ 142487 h 761503"/>
                <a:gd name="connsiteX71" fmla="*/ 259433 w 489538"/>
                <a:gd name="connsiteY71" fmla="*/ 153366 h 761503"/>
                <a:gd name="connsiteX72" fmla="*/ 262153 w 489538"/>
                <a:gd name="connsiteY72" fmla="*/ 166964 h 761503"/>
                <a:gd name="connsiteX73" fmla="*/ 262153 w 489538"/>
                <a:gd name="connsiteY73" fmla="*/ 196881 h 761503"/>
                <a:gd name="connsiteX74" fmla="*/ 262153 w 489538"/>
                <a:gd name="connsiteY74" fmla="*/ 215918 h 761503"/>
                <a:gd name="connsiteX75" fmla="*/ 262153 w 489538"/>
                <a:gd name="connsiteY75" fmla="*/ 251274 h 761503"/>
                <a:gd name="connsiteX76" fmla="*/ 259433 w 489538"/>
                <a:gd name="connsiteY76" fmla="*/ 278470 h 761503"/>
                <a:gd name="connsiteX77" fmla="*/ 259433 w 489538"/>
                <a:gd name="connsiteY77" fmla="*/ 308386 h 761503"/>
                <a:gd name="connsiteX78" fmla="*/ 259433 w 489538"/>
                <a:gd name="connsiteY78" fmla="*/ 321985 h 761503"/>
                <a:gd name="connsiteX79" fmla="*/ 259433 w 489538"/>
                <a:gd name="connsiteY79" fmla="*/ 332863 h 761503"/>
                <a:gd name="connsiteX80" fmla="*/ 267592 w 489538"/>
                <a:gd name="connsiteY80" fmla="*/ 335583 h 761503"/>
                <a:gd name="connsiteX81" fmla="*/ 281190 w 489538"/>
                <a:gd name="connsiteY81" fmla="*/ 335583 h 761503"/>
                <a:gd name="connsiteX82" fmla="*/ 327424 w 489538"/>
                <a:gd name="connsiteY82" fmla="*/ 338303 h 761503"/>
                <a:gd name="connsiteX83" fmla="*/ 351901 w 489538"/>
                <a:gd name="connsiteY83" fmla="*/ 341022 h 761503"/>
                <a:gd name="connsiteX84" fmla="*/ 351901 w 489538"/>
                <a:gd name="connsiteY84" fmla="*/ 335583 h 761503"/>
                <a:gd name="connsiteX85" fmla="*/ 351901 w 489538"/>
                <a:gd name="connsiteY85" fmla="*/ 313826 h 761503"/>
                <a:gd name="connsiteX86" fmla="*/ 357341 w 489538"/>
                <a:gd name="connsiteY86" fmla="*/ 289349 h 761503"/>
                <a:gd name="connsiteX87" fmla="*/ 373658 w 489538"/>
                <a:gd name="connsiteY87" fmla="*/ 273031 h 761503"/>
                <a:gd name="connsiteX88" fmla="*/ 381817 w 489538"/>
                <a:gd name="connsiteY88" fmla="*/ 278470 h 761503"/>
                <a:gd name="connsiteX89" fmla="*/ 389977 w 489538"/>
                <a:gd name="connsiteY89" fmla="*/ 300228 h 761503"/>
                <a:gd name="connsiteX90" fmla="*/ 395416 w 489538"/>
                <a:gd name="connsiteY90" fmla="*/ 351901 h 761503"/>
                <a:gd name="connsiteX91" fmla="*/ 398136 w 489538"/>
                <a:gd name="connsiteY91" fmla="*/ 409014 h 761503"/>
                <a:gd name="connsiteX92" fmla="*/ 381817 w 489538"/>
                <a:gd name="connsiteY92" fmla="*/ 444369 h 761503"/>
                <a:gd name="connsiteX93" fmla="*/ 365500 w 489538"/>
                <a:gd name="connsiteY93" fmla="*/ 438930 h 761503"/>
                <a:gd name="connsiteX94" fmla="*/ 357341 w 489538"/>
                <a:gd name="connsiteY94" fmla="*/ 422612 h 761503"/>
                <a:gd name="connsiteX95" fmla="*/ 354621 w 489538"/>
                <a:gd name="connsiteY95" fmla="*/ 400855 h 761503"/>
                <a:gd name="connsiteX96" fmla="*/ 354621 w 489538"/>
                <a:gd name="connsiteY96" fmla="*/ 381817 h 761503"/>
                <a:gd name="connsiteX97" fmla="*/ 270312 w 489538"/>
                <a:gd name="connsiteY97" fmla="*/ 381817 h 761503"/>
                <a:gd name="connsiteX98" fmla="*/ 256713 w 489538"/>
                <a:gd name="connsiteY98" fmla="*/ 395415 h 761503"/>
                <a:gd name="connsiteX99" fmla="*/ 253994 w 489538"/>
                <a:gd name="connsiteY99" fmla="*/ 422612 h 761503"/>
                <a:gd name="connsiteX100" fmla="*/ 253994 w 489538"/>
                <a:gd name="connsiteY100" fmla="*/ 433490 h 761503"/>
                <a:gd name="connsiteX101" fmla="*/ 253994 w 489538"/>
                <a:gd name="connsiteY101" fmla="*/ 449809 h 761503"/>
                <a:gd name="connsiteX102" fmla="*/ 256713 w 489538"/>
                <a:gd name="connsiteY102" fmla="*/ 474285 h 761503"/>
                <a:gd name="connsiteX103" fmla="*/ 256713 w 489538"/>
                <a:gd name="connsiteY103" fmla="*/ 496043 h 761503"/>
                <a:gd name="connsiteX104" fmla="*/ 259433 w 489538"/>
                <a:gd name="connsiteY104" fmla="*/ 534118 h 761503"/>
                <a:gd name="connsiteX105" fmla="*/ 259433 w 489538"/>
                <a:gd name="connsiteY105" fmla="*/ 591231 h 761503"/>
                <a:gd name="connsiteX106" fmla="*/ 262153 w 489538"/>
                <a:gd name="connsiteY106" fmla="*/ 618427 h 761503"/>
                <a:gd name="connsiteX107" fmla="*/ 267592 w 489538"/>
                <a:gd name="connsiteY107" fmla="*/ 648343 h 761503"/>
                <a:gd name="connsiteX108" fmla="*/ 292069 w 489538"/>
                <a:gd name="connsiteY108" fmla="*/ 651063 h 761503"/>
                <a:gd name="connsiteX109" fmla="*/ 327424 w 489538"/>
                <a:gd name="connsiteY109" fmla="*/ 651063 h 761503"/>
                <a:gd name="connsiteX110" fmla="*/ 362780 w 489538"/>
                <a:gd name="connsiteY110" fmla="*/ 653783 h 761503"/>
                <a:gd name="connsiteX111" fmla="*/ 395416 w 489538"/>
                <a:gd name="connsiteY111" fmla="*/ 648343 h 761503"/>
                <a:gd name="connsiteX112" fmla="*/ 395416 w 489538"/>
                <a:gd name="connsiteY112" fmla="*/ 618427 h 761503"/>
                <a:gd name="connsiteX113" fmla="*/ 395416 w 489538"/>
                <a:gd name="connsiteY113" fmla="*/ 596670 h 761503"/>
                <a:gd name="connsiteX114" fmla="*/ 398136 w 489538"/>
                <a:gd name="connsiteY114" fmla="*/ 574913 h 761503"/>
                <a:gd name="connsiteX115" fmla="*/ 406295 w 489538"/>
                <a:gd name="connsiteY115" fmla="*/ 558595 h 761503"/>
                <a:gd name="connsiteX116" fmla="*/ 422612 w 489538"/>
                <a:gd name="connsiteY116" fmla="*/ 553155 h 761503"/>
                <a:gd name="connsiteX117" fmla="*/ 438930 w 489538"/>
                <a:gd name="connsiteY117" fmla="*/ 588511 h 761503"/>
                <a:gd name="connsiteX118" fmla="*/ 436211 w 489538"/>
                <a:gd name="connsiteY118" fmla="*/ 645624 h 761503"/>
                <a:gd name="connsiteX119" fmla="*/ 433491 w 489538"/>
                <a:gd name="connsiteY119" fmla="*/ 651063 h 761503"/>
                <a:gd name="connsiteX120" fmla="*/ 433491 w 489538"/>
                <a:gd name="connsiteY120" fmla="*/ 651063 h 761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</a:cxnLst>
              <a:rect l="l" t="t" r="r" b="b"/>
              <a:pathLst>
                <a:path w="489538" h="761503">
                  <a:moveTo>
                    <a:pt x="433491" y="651063"/>
                  </a:moveTo>
                  <a:cubicBezTo>
                    <a:pt x="436211" y="653783"/>
                    <a:pt x="438930" y="656502"/>
                    <a:pt x="438930" y="661942"/>
                  </a:cubicBezTo>
                  <a:cubicBezTo>
                    <a:pt x="438930" y="670101"/>
                    <a:pt x="433491" y="678259"/>
                    <a:pt x="425332" y="683699"/>
                  </a:cubicBezTo>
                  <a:cubicBezTo>
                    <a:pt x="417173" y="689138"/>
                    <a:pt x="409014" y="689138"/>
                    <a:pt x="400855" y="691858"/>
                  </a:cubicBezTo>
                  <a:cubicBezTo>
                    <a:pt x="381817" y="694578"/>
                    <a:pt x="362780" y="694578"/>
                    <a:pt x="343742" y="700017"/>
                  </a:cubicBezTo>
                  <a:cubicBezTo>
                    <a:pt x="335583" y="702736"/>
                    <a:pt x="324705" y="702736"/>
                    <a:pt x="316546" y="705456"/>
                  </a:cubicBezTo>
                  <a:cubicBezTo>
                    <a:pt x="308387" y="705456"/>
                    <a:pt x="289349" y="705456"/>
                    <a:pt x="275751" y="705456"/>
                  </a:cubicBezTo>
                  <a:cubicBezTo>
                    <a:pt x="270312" y="705456"/>
                    <a:pt x="267592" y="708176"/>
                    <a:pt x="264872" y="708176"/>
                  </a:cubicBezTo>
                  <a:cubicBezTo>
                    <a:pt x="264872" y="708176"/>
                    <a:pt x="259433" y="708176"/>
                    <a:pt x="253994" y="708176"/>
                  </a:cubicBezTo>
                  <a:cubicBezTo>
                    <a:pt x="251274" y="713615"/>
                    <a:pt x="245835" y="716335"/>
                    <a:pt x="240395" y="719054"/>
                  </a:cubicBezTo>
                  <a:cubicBezTo>
                    <a:pt x="234956" y="721774"/>
                    <a:pt x="229517" y="721774"/>
                    <a:pt x="224077" y="721774"/>
                  </a:cubicBezTo>
                  <a:cubicBezTo>
                    <a:pt x="218638" y="721774"/>
                    <a:pt x="213199" y="724494"/>
                    <a:pt x="205040" y="724494"/>
                  </a:cubicBezTo>
                  <a:cubicBezTo>
                    <a:pt x="202320" y="724494"/>
                    <a:pt x="194161" y="727213"/>
                    <a:pt x="191441" y="727213"/>
                  </a:cubicBezTo>
                  <a:cubicBezTo>
                    <a:pt x="183282" y="727213"/>
                    <a:pt x="172404" y="721774"/>
                    <a:pt x="169684" y="721774"/>
                  </a:cubicBezTo>
                  <a:cubicBezTo>
                    <a:pt x="164245" y="719054"/>
                    <a:pt x="156086" y="713615"/>
                    <a:pt x="150646" y="708176"/>
                  </a:cubicBezTo>
                  <a:cubicBezTo>
                    <a:pt x="145207" y="708176"/>
                    <a:pt x="139768" y="708176"/>
                    <a:pt x="139768" y="708176"/>
                  </a:cubicBezTo>
                  <a:cubicBezTo>
                    <a:pt x="126170" y="708176"/>
                    <a:pt x="137048" y="708176"/>
                    <a:pt x="120730" y="708176"/>
                  </a:cubicBezTo>
                  <a:cubicBezTo>
                    <a:pt x="112571" y="708176"/>
                    <a:pt x="104412" y="708176"/>
                    <a:pt x="98973" y="708176"/>
                  </a:cubicBezTo>
                  <a:cubicBezTo>
                    <a:pt x="90814" y="708176"/>
                    <a:pt x="79936" y="708176"/>
                    <a:pt x="74496" y="702736"/>
                  </a:cubicBezTo>
                  <a:cubicBezTo>
                    <a:pt x="66337" y="700017"/>
                    <a:pt x="58178" y="689138"/>
                    <a:pt x="58178" y="683699"/>
                  </a:cubicBezTo>
                  <a:cubicBezTo>
                    <a:pt x="58178" y="680979"/>
                    <a:pt x="58178" y="678259"/>
                    <a:pt x="63617" y="675540"/>
                  </a:cubicBezTo>
                  <a:cubicBezTo>
                    <a:pt x="69057" y="672820"/>
                    <a:pt x="77216" y="670101"/>
                    <a:pt x="85375" y="667381"/>
                  </a:cubicBezTo>
                  <a:cubicBezTo>
                    <a:pt x="98973" y="664661"/>
                    <a:pt x="115291" y="664661"/>
                    <a:pt x="128889" y="661942"/>
                  </a:cubicBezTo>
                  <a:cubicBezTo>
                    <a:pt x="128889" y="645624"/>
                    <a:pt x="128889" y="623866"/>
                    <a:pt x="128889" y="602109"/>
                  </a:cubicBezTo>
                  <a:cubicBezTo>
                    <a:pt x="128889" y="566754"/>
                    <a:pt x="128889" y="531398"/>
                    <a:pt x="126170" y="523239"/>
                  </a:cubicBezTo>
                  <a:cubicBezTo>
                    <a:pt x="126170" y="517800"/>
                    <a:pt x="126170" y="487884"/>
                    <a:pt x="126170" y="468846"/>
                  </a:cubicBezTo>
                  <a:cubicBezTo>
                    <a:pt x="126170" y="449809"/>
                    <a:pt x="123450" y="430771"/>
                    <a:pt x="123450" y="409014"/>
                  </a:cubicBezTo>
                  <a:cubicBezTo>
                    <a:pt x="123450" y="400855"/>
                    <a:pt x="123450" y="392696"/>
                    <a:pt x="123450" y="384537"/>
                  </a:cubicBezTo>
                  <a:cubicBezTo>
                    <a:pt x="123450" y="373658"/>
                    <a:pt x="126170" y="360060"/>
                    <a:pt x="126170" y="349181"/>
                  </a:cubicBezTo>
                  <a:cubicBezTo>
                    <a:pt x="126170" y="341022"/>
                    <a:pt x="126170" y="332863"/>
                    <a:pt x="126170" y="324704"/>
                  </a:cubicBezTo>
                  <a:cubicBezTo>
                    <a:pt x="126170" y="313826"/>
                    <a:pt x="126170" y="302947"/>
                    <a:pt x="128889" y="292068"/>
                  </a:cubicBezTo>
                  <a:cubicBezTo>
                    <a:pt x="131609" y="273031"/>
                    <a:pt x="134329" y="253993"/>
                    <a:pt x="134329" y="234956"/>
                  </a:cubicBezTo>
                  <a:cubicBezTo>
                    <a:pt x="134329" y="213198"/>
                    <a:pt x="134329" y="191441"/>
                    <a:pt x="134329" y="172404"/>
                  </a:cubicBezTo>
                  <a:cubicBezTo>
                    <a:pt x="134329" y="156086"/>
                    <a:pt x="134329" y="139768"/>
                    <a:pt x="137048" y="123450"/>
                  </a:cubicBezTo>
                  <a:cubicBezTo>
                    <a:pt x="131609" y="123450"/>
                    <a:pt x="134329" y="123450"/>
                    <a:pt x="123450" y="123450"/>
                  </a:cubicBezTo>
                  <a:cubicBezTo>
                    <a:pt x="115291" y="123450"/>
                    <a:pt x="107132" y="123450"/>
                    <a:pt x="101693" y="123450"/>
                  </a:cubicBezTo>
                  <a:cubicBezTo>
                    <a:pt x="93534" y="123450"/>
                    <a:pt x="82655" y="123450"/>
                    <a:pt x="77216" y="118011"/>
                  </a:cubicBezTo>
                  <a:cubicBezTo>
                    <a:pt x="69057" y="115291"/>
                    <a:pt x="60898" y="101693"/>
                    <a:pt x="60898" y="98973"/>
                  </a:cubicBezTo>
                  <a:cubicBezTo>
                    <a:pt x="60898" y="96253"/>
                    <a:pt x="60898" y="93534"/>
                    <a:pt x="66337" y="90814"/>
                  </a:cubicBezTo>
                  <a:cubicBezTo>
                    <a:pt x="71777" y="88094"/>
                    <a:pt x="79936" y="85375"/>
                    <a:pt x="88094" y="82655"/>
                  </a:cubicBezTo>
                  <a:cubicBezTo>
                    <a:pt x="104412" y="79935"/>
                    <a:pt x="131609" y="77216"/>
                    <a:pt x="145207" y="77216"/>
                  </a:cubicBezTo>
                  <a:cubicBezTo>
                    <a:pt x="145207" y="77216"/>
                    <a:pt x="145207" y="77216"/>
                    <a:pt x="145207" y="77216"/>
                  </a:cubicBezTo>
                  <a:cubicBezTo>
                    <a:pt x="145207" y="74496"/>
                    <a:pt x="150646" y="71776"/>
                    <a:pt x="153366" y="69057"/>
                  </a:cubicBezTo>
                  <a:cubicBezTo>
                    <a:pt x="161525" y="63617"/>
                    <a:pt x="169684" y="63617"/>
                    <a:pt x="177843" y="60898"/>
                  </a:cubicBezTo>
                  <a:cubicBezTo>
                    <a:pt x="183282" y="58178"/>
                    <a:pt x="191441" y="58178"/>
                    <a:pt x="196881" y="58178"/>
                  </a:cubicBezTo>
                  <a:cubicBezTo>
                    <a:pt x="199600" y="58178"/>
                    <a:pt x="202320" y="58178"/>
                    <a:pt x="205040" y="58178"/>
                  </a:cubicBezTo>
                  <a:cubicBezTo>
                    <a:pt x="207759" y="58178"/>
                    <a:pt x="213199" y="60898"/>
                    <a:pt x="215919" y="63617"/>
                  </a:cubicBezTo>
                  <a:cubicBezTo>
                    <a:pt x="221358" y="66337"/>
                    <a:pt x="224077" y="66337"/>
                    <a:pt x="229517" y="69057"/>
                  </a:cubicBezTo>
                  <a:cubicBezTo>
                    <a:pt x="237675" y="71776"/>
                    <a:pt x="245835" y="77216"/>
                    <a:pt x="256713" y="77216"/>
                  </a:cubicBezTo>
                  <a:cubicBezTo>
                    <a:pt x="259433" y="77216"/>
                    <a:pt x="262153" y="77216"/>
                    <a:pt x="264872" y="77216"/>
                  </a:cubicBezTo>
                  <a:cubicBezTo>
                    <a:pt x="270312" y="77216"/>
                    <a:pt x="275751" y="77216"/>
                    <a:pt x="281190" y="77216"/>
                  </a:cubicBezTo>
                  <a:cubicBezTo>
                    <a:pt x="292069" y="77216"/>
                    <a:pt x="321985" y="77216"/>
                    <a:pt x="330144" y="77216"/>
                  </a:cubicBezTo>
                  <a:cubicBezTo>
                    <a:pt x="338303" y="77216"/>
                    <a:pt x="349182" y="77216"/>
                    <a:pt x="357341" y="79935"/>
                  </a:cubicBezTo>
                  <a:cubicBezTo>
                    <a:pt x="368219" y="79935"/>
                    <a:pt x="379098" y="82655"/>
                    <a:pt x="387257" y="82655"/>
                  </a:cubicBezTo>
                  <a:cubicBezTo>
                    <a:pt x="392696" y="82655"/>
                    <a:pt x="400855" y="85375"/>
                    <a:pt x="406295" y="85375"/>
                  </a:cubicBezTo>
                  <a:cubicBezTo>
                    <a:pt x="409014" y="82655"/>
                    <a:pt x="414453" y="79935"/>
                    <a:pt x="417173" y="79935"/>
                  </a:cubicBezTo>
                  <a:cubicBezTo>
                    <a:pt x="419893" y="79935"/>
                    <a:pt x="422612" y="79935"/>
                    <a:pt x="425332" y="85375"/>
                  </a:cubicBezTo>
                  <a:cubicBezTo>
                    <a:pt x="428052" y="90814"/>
                    <a:pt x="433491" y="98973"/>
                    <a:pt x="433491" y="104412"/>
                  </a:cubicBezTo>
                  <a:cubicBezTo>
                    <a:pt x="436211" y="131609"/>
                    <a:pt x="436211" y="120730"/>
                    <a:pt x="436211" y="137048"/>
                  </a:cubicBezTo>
                  <a:cubicBezTo>
                    <a:pt x="438930" y="158805"/>
                    <a:pt x="438930" y="158805"/>
                    <a:pt x="438930" y="183282"/>
                  </a:cubicBezTo>
                  <a:cubicBezTo>
                    <a:pt x="438930" y="194161"/>
                    <a:pt x="438930" y="218638"/>
                    <a:pt x="422612" y="218638"/>
                  </a:cubicBezTo>
                  <a:cubicBezTo>
                    <a:pt x="414453" y="218638"/>
                    <a:pt x="411734" y="215918"/>
                    <a:pt x="406295" y="213198"/>
                  </a:cubicBezTo>
                  <a:cubicBezTo>
                    <a:pt x="400855" y="210479"/>
                    <a:pt x="398136" y="202320"/>
                    <a:pt x="398136" y="196881"/>
                  </a:cubicBezTo>
                  <a:cubicBezTo>
                    <a:pt x="395416" y="188722"/>
                    <a:pt x="395416" y="183282"/>
                    <a:pt x="395416" y="175123"/>
                  </a:cubicBezTo>
                  <a:cubicBezTo>
                    <a:pt x="395416" y="169684"/>
                    <a:pt x="395416" y="164245"/>
                    <a:pt x="395416" y="153366"/>
                  </a:cubicBezTo>
                  <a:cubicBezTo>
                    <a:pt x="395416" y="145207"/>
                    <a:pt x="395416" y="134328"/>
                    <a:pt x="395416" y="126170"/>
                  </a:cubicBezTo>
                  <a:cubicBezTo>
                    <a:pt x="387257" y="128889"/>
                    <a:pt x="379098" y="128889"/>
                    <a:pt x="370939" y="128889"/>
                  </a:cubicBezTo>
                  <a:cubicBezTo>
                    <a:pt x="360060" y="128889"/>
                    <a:pt x="349182" y="128889"/>
                    <a:pt x="338303" y="131609"/>
                  </a:cubicBezTo>
                  <a:cubicBezTo>
                    <a:pt x="327424" y="131609"/>
                    <a:pt x="319265" y="134328"/>
                    <a:pt x="286629" y="134328"/>
                  </a:cubicBezTo>
                  <a:cubicBezTo>
                    <a:pt x="281190" y="134328"/>
                    <a:pt x="278470" y="134328"/>
                    <a:pt x="273031" y="137048"/>
                  </a:cubicBezTo>
                  <a:cubicBezTo>
                    <a:pt x="270312" y="137048"/>
                    <a:pt x="264872" y="137048"/>
                    <a:pt x="262153" y="142487"/>
                  </a:cubicBezTo>
                  <a:cubicBezTo>
                    <a:pt x="259433" y="145207"/>
                    <a:pt x="259433" y="150647"/>
                    <a:pt x="259433" y="153366"/>
                  </a:cubicBezTo>
                  <a:cubicBezTo>
                    <a:pt x="259433" y="158805"/>
                    <a:pt x="259433" y="164245"/>
                    <a:pt x="262153" y="166964"/>
                  </a:cubicBezTo>
                  <a:cubicBezTo>
                    <a:pt x="262153" y="177843"/>
                    <a:pt x="262153" y="186002"/>
                    <a:pt x="262153" y="196881"/>
                  </a:cubicBezTo>
                  <a:cubicBezTo>
                    <a:pt x="262153" y="202320"/>
                    <a:pt x="262153" y="210479"/>
                    <a:pt x="262153" y="215918"/>
                  </a:cubicBezTo>
                  <a:cubicBezTo>
                    <a:pt x="262153" y="229516"/>
                    <a:pt x="262153" y="240395"/>
                    <a:pt x="262153" y="251274"/>
                  </a:cubicBezTo>
                  <a:cubicBezTo>
                    <a:pt x="262153" y="259433"/>
                    <a:pt x="259433" y="270311"/>
                    <a:pt x="259433" y="278470"/>
                  </a:cubicBezTo>
                  <a:cubicBezTo>
                    <a:pt x="259433" y="289349"/>
                    <a:pt x="259433" y="297508"/>
                    <a:pt x="259433" y="308386"/>
                  </a:cubicBezTo>
                  <a:cubicBezTo>
                    <a:pt x="259433" y="313826"/>
                    <a:pt x="259433" y="319265"/>
                    <a:pt x="259433" y="321985"/>
                  </a:cubicBezTo>
                  <a:cubicBezTo>
                    <a:pt x="259433" y="324704"/>
                    <a:pt x="259433" y="330144"/>
                    <a:pt x="259433" y="332863"/>
                  </a:cubicBezTo>
                  <a:cubicBezTo>
                    <a:pt x="262153" y="335583"/>
                    <a:pt x="264872" y="335583"/>
                    <a:pt x="267592" y="335583"/>
                  </a:cubicBezTo>
                  <a:cubicBezTo>
                    <a:pt x="273031" y="335583"/>
                    <a:pt x="275751" y="335583"/>
                    <a:pt x="281190" y="335583"/>
                  </a:cubicBezTo>
                  <a:cubicBezTo>
                    <a:pt x="311107" y="335583"/>
                    <a:pt x="319265" y="335583"/>
                    <a:pt x="327424" y="338303"/>
                  </a:cubicBezTo>
                  <a:cubicBezTo>
                    <a:pt x="335583" y="341022"/>
                    <a:pt x="343742" y="341022"/>
                    <a:pt x="351901" y="341022"/>
                  </a:cubicBezTo>
                  <a:cubicBezTo>
                    <a:pt x="351901" y="338303"/>
                    <a:pt x="351901" y="338303"/>
                    <a:pt x="351901" y="335583"/>
                  </a:cubicBezTo>
                  <a:cubicBezTo>
                    <a:pt x="351901" y="327424"/>
                    <a:pt x="351901" y="319265"/>
                    <a:pt x="351901" y="313826"/>
                  </a:cubicBezTo>
                  <a:cubicBezTo>
                    <a:pt x="351901" y="305667"/>
                    <a:pt x="351901" y="294788"/>
                    <a:pt x="357341" y="289349"/>
                  </a:cubicBezTo>
                  <a:cubicBezTo>
                    <a:pt x="360060" y="281190"/>
                    <a:pt x="368219" y="273031"/>
                    <a:pt x="373658" y="273031"/>
                  </a:cubicBezTo>
                  <a:cubicBezTo>
                    <a:pt x="376378" y="273031"/>
                    <a:pt x="379098" y="273031"/>
                    <a:pt x="381817" y="278470"/>
                  </a:cubicBezTo>
                  <a:cubicBezTo>
                    <a:pt x="384537" y="283909"/>
                    <a:pt x="387257" y="292068"/>
                    <a:pt x="389977" y="300228"/>
                  </a:cubicBezTo>
                  <a:cubicBezTo>
                    <a:pt x="392696" y="316545"/>
                    <a:pt x="392696" y="335583"/>
                    <a:pt x="395416" y="351901"/>
                  </a:cubicBezTo>
                  <a:cubicBezTo>
                    <a:pt x="398136" y="373658"/>
                    <a:pt x="398136" y="384537"/>
                    <a:pt x="398136" y="409014"/>
                  </a:cubicBezTo>
                  <a:cubicBezTo>
                    <a:pt x="398136" y="422612"/>
                    <a:pt x="398136" y="444369"/>
                    <a:pt x="381817" y="444369"/>
                  </a:cubicBezTo>
                  <a:cubicBezTo>
                    <a:pt x="373658" y="444369"/>
                    <a:pt x="370939" y="441650"/>
                    <a:pt x="365500" y="438930"/>
                  </a:cubicBezTo>
                  <a:cubicBezTo>
                    <a:pt x="360060" y="436210"/>
                    <a:pt x="357341" y="428051"/>
                    <a:pt x="357341" y="422612"/>
                  </a:cubicBezTo>
                  <a:cubicBezTo>
                    <a:pt x="354621" y="414453"/>
                    <a:pt x="354621" y="409014"/>
                    <a:pt x="354621" y="400855"/>
                  </a:cubicBezTo>
                  <a:cubicBezTo>
                    <a:pt x="354621" y="395415"/>
                    <a:pt x="354621" y="389976"/>
                    <a:pt x="354621" y="381817"/>
                  </a:cubicBezTo>
                  <a:cubicBezTo>
                    <a:pt x="335583" y="381817"/>
                    <a:pt x="308387" y="384537"/>
                    <a:pt x="270312" y="381817"/>
                  </a:cubicBezTo>
                  <a:cubicBezTo>
                    <a:pt x="262153" y="381817"/>
                    <a:pt x="256713" y="387256"/>
                    <a:pt x="256713" y="395415"/>
                  </a:cubicBezTo>
                  <a:cubicBezTo>
                    <a:pt x="256713" y="403574"/>
                    <a:pt x="256713" y="414453"/>
                    <a:pt x="253994" y="422612"/>
                  </a:cubicBezTo>
                  <a:cubicBezTo>
                    <a:pt x="253994" y="425332"/>
                    <a:pt x="253994" y="430771"/>
                    <a:pt x="253994" y="433490"/>
                  </a:cubicBezTo>
                  <a:cubicBezTo>
                    <a:pt x="253994" y="438930"/>
                    <a:pt x="253994" y="444369"/>
                    <a:pt x="253994" y="449809"/>
                  </a:cubicBezTo>
                  <a:cubicBezTo>
                    <a:pt x="253994" y="457967"/>
                    <a:pt x="256713" y="466126"/>
                    <a:pt x="256713" y="474285"/>
                  </a:cubicBezTo>
                  <a:cubicBezTo>
                    <a:pt x="256713" y="482444"/>
                    <a:pt x="256713" y="490603"/>
                    <a:pt x="256713" y="496043"/>
                  </a:cubicBezTo>
                  <a:cubicBezTo>
                    <a:pt x="256713" y="509641"/>
                    <a:pt x="259433" y="520520"/>
                    <a:pt x="259433" y="534118"/>
                  </a:cubicBezTo>
                  <a:cubicBezTo>
                    <a:pt x="259433" y="553155"/>
                    <a:pt x="259433" y="572193"/>
                    <a:pt x="259433" y="591231"/>
                  </a:cubicBezTo>
                  <a:cubicBezTo>
                    <a:pt x="259433" y="602109"/>
                    <a:pt x="262153" y="610268"/>
                    <a:pt x="262153" y="618427"/>
                  </a:cubicBezTo>
                  <a:cubicBezTo>
                    <a:pt x="264872" y="626586"/>
                    <a:pt x="262153" y="642904"/>
                    <a:pt x="267592" y="648343"/>
                  </a:cubicBezTo>
                  <a:cubicBezTo>
                    <a:pt x="270312" y="651063"/>
                    <a:pt x="275751" y="651063"/>
                    <a:pt x="292069" y="651063"/>
                  </a:cubicBezTo>
                  <a:cubicBezTo>
                    <a:pt x="305667" y="651063"/>
                    <a:pt x="319265" y="651063"/>
                    <a:pt x="327424" y="651063"/>
                  </a:cubicBezTo>
                  <a:cubicBezTo>
                    <a:pt x="338303" y="651063"/>
                    <a:pt x="351901" y="653783"/>
                    <a:pt x="362780" y="653783"/>
                  </a:cubicBezTo>
                  <a:cubicBezTo>
                    <a:pt x="376378" y="653783"/>
                    <a:pt x="384537" y="651063"/>
                    <a:pt x="395416" y="648343"/>
                  </a:cubicBezTo>
                  <a:cubicBezTo>
                    <a:pt x="395416" y="637465"/>
                    <a:pt x="395416" y="629306"/>
                    <a:pt x="395416" y="618427"/>
                  </a:cubicBezTo>
                  <a:cubicBezTo>
                    <a:pt x="395416" y="610268"/>
                    <a:pt x="395416" y="602109"/>
                    <a:pt x="395416" y="596670"/>
                  </a:cubicBezTo>
                  <a:cubicBezTo>
                    <a:pt x="395416" y="591231"/>
                    <a:pt x="395416" y="585791"/>
                    <a:pt x="398136" y="574913"/>
                  </a:cubicBezTo>
                  <a:cubicBezTo>
                    <a:pt x="400855" y="569473"/>
                    <a:pt x="400855" y="564034"/>
                    <a:pt x="406295" y="558595"/>
                  </a:cubicBezTo>
                  <a:cubicBezTo>
                    <a:pt x="411734" y="553155"/>
                    <a:pt x="414453" y="553155"/>
                    <a:pt x="422612" y="553155"/>
                  </a:cubicBezTo>
                  <a:cubicBezTo>
                    <a:pt x="436211" y="553155"/>
                    <a:pt x="438930" y="577632"/>
                    <a:pt x="438930" y="588511"/>
                  </a:cubicBezTo>
                  <a:cubicBezTo>
                    <a:pt x="438930" y="612988"/>
                    <a:pt x="438930" y="623866"/>
                    <a:pt x="436211" y="645624"/>
                  </a:cubicBezTo>
                  <a:cubicBezTo>
                    <a:pt x="433491" y="648343"/>
                    <a:pt x="433491" y="648343"/>
                    <a:pt x="433491" y="651063"/>
                  </a:cubicBezTo>
                  <a:lnTo>
                    <a:pt x="433491" y="651063"/>
                  </a:ln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/>
            </a:p>
          </p:txBody>
        </p:sp>
        <p:sp>
          <p:nvSpPr>
            <p:cNvPr id="49" name="Freeform: Shape 48">
              <a:extLst>
                <a:ext uri="{FF2B5EF4-FFF2-40B4-BE49-F238E27FC236}">
                  <a16:creationId xmlns:a16="http://schemas.microsoft.com/office/drawing/2014/main" id="{9724F851-AB55-47D5-B0E8-62214C52C678}"/>
                </a:ext>
              </a:extLst>
            </p:cNvPr>
            <p:cNvSpPr/>
            <p:nvPr/>
          </p:nvSpPr>
          <p:spPr>
            <a:xfrm>
              <a:off x="7912732" y="4250336"/>
              <a:ext cx="465062" cy="658157"/>
            </a:xfrm>
            <a:custGeom>
              <a:avLst/>
              <a:gdLst>
                <a:gd name="connsiteX0" fmla="*/ 193096 w 465062"/>
                <a:gd name="connsiteY0" fmla="*/ 59832 h 658157"/>
                <a:gd name="connsiteX1" fmla="*/ 193096 w 465062"/>
                <a:gd name="connsiteY1" fmla="*/ 114226 h 658157"/>
                <a:gd name="connsiteX2" fmla="*/ 198536 w 465062"/>
                <a:gd name="connsiteY2" fmla="*/ 209414 h 658157"/>
                <a:gd name="connsiteX3" fmla="*/ 201255 w 465062"/>
                <a:gd name="connsiteY3" fmla="*/ 282845 h 658157"/>
                <a:gd name="connsiteX4" fmla="*/ 203975 w 465062"/>
                <a:gd name="connsiteY4" fmla="*/ 315481 h 658157"/>
                <a:gd name="connsiteX5" fmla="*/ 203975 w 465062"/>
                <a:gd name="connsiteY5" fmla="*/ 320920 h 658157"/>
                <a:gd name="connsiteX6" fmla="*/ 212134 w 465062"/>
                <a:gd name="connsiteY6" fmla="*/ 329079 h 658157"/>
                <a:gd name="connsiteX7" fmla="*/ 223013 w 465062"/>
                <a:gd name="connsiteY7" fmla="*/ 329079 h 658157"/>
                <a:gd name="connsiteX8" fmla="*/ 239331 w 465062"/>
                <a:gd name="connsiteY8" fmla="*/ 329079 h 658157"/>
                <a:gd name="connsiteX9" fmla="*/ 280126 w 465062"/>
                <a:gd name="connsiteY9" fmla="*/ 312761 h 658157"/>
                <a:gd name="connsiteX10" fmla="*/ 296443 w 465062"/>
                <a:gd name="connsiteY10" fmla="*/ 288284 h 658157"/>
                <a:gd name="connsiteX11" fmla="*/ 304602 w 465062"/>
                <a:gd name="connsiteY11" fmla="*/ 258368 h 658157"/>
                <a:gd name="connsiteX12" fmla="*/ 312761 w 465062"/>
                <a:gd name="connsiteY12" fmla="*/ 225732 h 658157"/>
                <a:gd name="connsiteX13" fmla="*/ 315481 w 465062"/>
                <a:gd name="connsiteY13" fmla="*/ 195816 h 658157"/>
                <a:gd name="connsiteX14" fmla="*/ 318201 w 465062"/>
                <a:gd name="connsiteY14" fmla="*/ 168619 h 658157"/>
                <a:gd name="connsiteX15" fmla="*/ 312761 w 465062"/>
                <a:gd name="connsiteY15" fmla="*/ 135983 h 658157"/>
                <a:gd name="connsiteX16" fmla="*/ 312761 w 465062"/>
                <a:gd name="connsiteY16" fmla="*/ 122385 h 658157"/>
                <a:gd name="connsiteX17" fmla="*/ 293724 w 465062"/>
                <a:gd name="connsiteY17" fmla="*/ 84309 h 658157"/>
                <a:gd name="connsiteX18" fmla="*/ 280126 w 465062"/>
                <a:gd name="connsiteY18" fmla="*/ 73430 h 658157"/>
                <a:gd name="connsiteX19" fmla="*/ 258368 w 465062"/>
                <a:gd name="connsiteY19" fmla="*/ 62552 h 658157"/>
                <a:gd name="connsiteX20" fmla="*/ 217573 w 465062"/>
                <a:gd name="connsiteY20" fmla="*/ 59832 h 658157"/>
                <a:gd name="connsiteX21" fmla="*/ 111506 w 465062"/>
                <a:gd name="connsiteY21" fmla="*/ 0 h 658157"/>
                <a:gd name="connsiteX22" fmla="*/ 127824 w 465062"/>
                <a:gd name="connsiteY22" fmla="*/ 0 h 658157"/>
                <a:gd name="connsiteX23" fmla="*/ 157741 w 465062"/>
                <a:gd name="connsiteY23" fmla="*/ 5440 h 658157"/>
                <a:gd name="connsiteX24" fmla="*/ 179497 w 465062"/>
                <a:gd name="connsiteY24" fmla="*/ 16318 h 658157"/>
                <a:gd name="connsiteX25" fmla="*/ 209414 w 465062"/>
                <a:gd name="connsiteY25" fmla="*/ 16318 h 658157"/>
                <a:gd name="connsiteX26" fmla="*/ 247489 w 465062"/>
                <a:gd name="connsiteY26" fmla="*/ 16318 h 658157"/>
                <a:gd name="connsiteX27" fmla="*/ 266527 w 465062"/>
                <a:gd name="connsiteY27" fmla="*/ 16318 h 658157"/>
                <a:gd name="connsiteX28" fmla="*/ 312761 w 465062"/>
                <a:gd name="connsiteY28" fmla="*/ 27197 h 658157"/>
                <a:gd name="connsiteX29" fmla="*/ 337238 w 465062"/>
                <a:gd name="connsiteY29" fmla="*/ 38075 h 658157"/>
                <a:gd name="connsiteX30" fmla="*/ 364434 w 465062"/>
                <a:gd name="connsiteY30" fmla="*/ 54393 h 658157"/>
                <a:gd name="connsiteX31" fmla="*/ 386192 w 465062"/>
                <a:gd name="connsiteY31" fmla="*/ 73431 h 658157"/>
                <a:gd name="connsiteX32" fmla="*/ 407949 w 465062"/>
                <a:gd name="connsiteY32" fmla="*/ 103347 h 658157"/>
                <a:gd name="connsiteX33" fmla="*/ 416108 w 465062"/>
                <a:gd name="connsiteY33" fmla="*/ 141422 h 658157"/>
                <a:gd name="connsiteX34" fmla="*/ 418828 w 465062"/>
                <a:gd name="connsiteY34" fmla="*/ 163179 h 658157"/>
                <a:gd name="connsiteX35" fmla="*/ 418828 w 465062"/>
                <a:gd name="connsiteY35" fmla="*/ 171339 h 658157"/>
                <a:gd name="connsiteX36" fmla="*/ 421547 w 465062"/>
                <a:gd name="connsiteY36" fmla="*/ 187656 h 658157"/>
                <a:gd name="connsiteX37" fmla="*/ 418828 w 465062"/>
                <a:gd name="connsiteY37" fmla="*/ 206694 h 658157"/>
                <a:gd name="connsiteX38" fmla="*/ 416108 w 465062"/>
                <a:gd name="connsiteY38" fmla="*/ 233891 h 658157"/>
                <a:gd name="connsiteX39" fmla="*/ 405229 w 465062"/>
                <a:gd name="connsiteY39" fmla="*/ 263807 h 658157"/>
                <a:gd name="connsiteX40" fmla="*/ 394351 w 465062"/>
                <a:gd name="connsiteY40" fmla="*/ 274686 h 658157"/>
                <a:gd name="connsiteX41" fmla="*/ 388912 w 465062"/>
                <a:gd name="connsiteY41" fmla="*/ 285564 h 658157"/>
                <a:gd name="connsiteX42" fmla="*/ 369874 w 465062"/>
                <a:gd name="connsiteY42" fmla="*/ 304602 h 658157"/>
                <a:gd name="connsiteX43" fmla="*/ 358995 w 465062"/>
                <a:gd name="connsiteY43" fmla="*/ 310041 h 658157"/>
                <a:gd name="connsiteX44" fmla="*/ 348117 w 465062"/>
                <a:gd name="connsiteY44" fmla="*/ 320920 h 658157"/>
                <a:gd name="connsiteX45" fmla="*/ 326359 w 465062"/>
                <a:gd name="connsiteY45" fmla="*/ 339957 h 658157"/>
                <a:gd name="connsiteX46" fmla="*/ 312761 w 465062"/>
                <a:gd name="connsiteY46" fmla="*/ 353555 h 658157"/>
                <a:gd name="connsiteX47" fmla="*/ 337238 w 465062"/>
                <a:gd name="connsiteY47" fmla="*/ 380752 h 658157"/>
                <a:gd name="connsiteX48" fmla="*/ 358995 w 465062"/>
                <a:gd name="connsiteY48" fmla="*/ 421547 h 658157"/>
                <a:gd name="connsiteX49" fmla="*/ 372593 w 465062"/>
                <a:gd name="connsiteY49" fmla="*/ 459622 h 658157"/>
                <a:gd name="connsiteX50" fmla="*/ 386192 w 465062"/>
                <a:gd name="connsiteY50" fmla="*/ 514015 h 658157"/>
                <a:gd name="connsiteX51" fmla="*/ 407949 w 465062"/>
                <a:gd name="connsiteY51" fmla="*/ 568408 h 658157"/>
                <a:gd name="connsiteX52" fmla="*/ 421547 w 465062"/>
                <a:gd name="connsiteY52" fmla="*/ 598324 h 658157"/>
                <a:gd name="connsiteX53" fmla="*/ 451463 w 465062"/>
                <a:gd name="connsiteY53" fmla="*/ 628241 h 658157"/>
                <a:gd name="connsiteX54" fmla="*/ 465062 w 465062"/>
                <a:gd name="connsiteY54" fmla="*/ 644559 h 658157"/>
                <a:gd name="connsiteX55" fmla="*/ 462342 w 465062"/>
                <a:gd name="connsiteY55" fmla="*/ 649998 h 658157"/>
                <a:gd name="connsiteX56" fmla="*/ 437865 w 465062"/>
                <a:gd name="connsiteY56" fmla="*/ 658157 h 658157"/>
                <a:gd name="connsiteX57" fmla="*/ 361715 w 465062"/>
                <a:gd name="connsiteY57" fmla="*/ 622801 h 658157"/>
                <a:gd name="connsiteX58" fmla="*/ 320920 w 465062"/>
                <a:gd name="connsiteY58" fmla="*/ 565689 h 658157"/>
                <a:gd name="connsiteX59" fmla="*/ 304602 w 465062"/>
                <a:gd name="connsiteY59" fmla="*/ 530333 h 658157"/>
                <a:gd name="connsiteX60" fmla="*/ 293723 w 465062"/>
                <a:gd name="connsiteY60" fmla="*/ 497697 h 658157"/>
                <a:gd name="connsiteX61" fmla="*/ 282845 w 465062"/>
                <a:gd name="connsiteY61" fmla="*/ 462342 h 658157"/>
                <a:gd name="connsiteX62" fmla="*/ 269246 w 465062"/>
                <a:gd name="connsiteY62" fmla="*/ 424267 h 658157"/>
                <a:gd name="connsiteX63" fmla="*/ 255648 w 465062"/>
                <a:gd name="connsiteY63" fmla="*/ 391631 h 658157"/>
                <a:gd name="connsiteX64" fmla="*/ 236610 w 465062"/>
                <a:gd name="connsiteY64" fmla="*/ 367154 h 658157"/>
                <a:gd name="connsiteX65" fmla="*/ 217573 w 465062"/>
                <a:gd name="connsiteY65" fmla="*/ 361714 h 658157"/>
                <a:gd name="connsiteX66" fmla="*/ 201255 w 465062"/>
                <a:gd name="connsiteY66" fmla="*/ 361714 h 658157"/>
                <a:gd name="connsiteX67" fmla="*/ 198535 w 465062"/>
                <a:gd name="connsiteY67" fmla="*/ 367154 h 658157"/>
                <a:gd name="connsiteX68" fmla="*/ 201255 w 465062"/>
                <a:gd name="connsiteY68" fmla="*/ 388911 h 658157"/>
                <a:gd name="connsiteX69" fmla="*/ 198535 w 465062"/>
                <a:gd name="connsiteY69" fmla="*/ 426986 h 658157"/>
                <a:gd name="connsiteX70" fmla="*/ 203975 w 465062"/>
                <a:gd name="connsiteY70" fmla="*/ 478660 h 658157"/>
                <a:gd name="connsiteX71" fmla="*/ 198535 w 465062"/>
                <a:gd name="connsiteY71" fmla="*/ 552090 h 658157"/>
                <a:gd name="connsiteX72" fmla="*/ 195816 w 465062"/>
                <a:gd name="connsiteY72" fmla="*/ 576567 h 658157"/>
                <a:gd name="connsiteX73" fmla="*/ 198535 w 465062"/>
                <a:gd name="connsiteY73" fmla="*/ 592885 h 658157"/>
                <a:gd name="connsiteX74" fmla="*/ 233891 w 465062"/>
                <a:gd name="connsiteY74" fmla="*/ 592885 h 658157"/>
                <a:gd name="connsiteX75" fmla="*/ 271966 w 465062"/>
                <a:gd name="connsiteY75" fmla="*/ 611923 h 658157"/>
                <a:gd name="connsiteX76" fmla="*/ 266527 w 465062"/>
                <a:gd name="connsiteY76" fmla="*/ 628241 h 658157"/>
                <a:gd name="connsiteX77" fmla="*/ 250209 w 465062"/>
                <a:gd name="connsiteY77" fmla="*/ 636400 h 658157"/>
                <a:gd name="connsiteX78" fmla="*/ 228451 w 465062"/>
                <a:gd name="connsiteY78" fmla="*/ 639119 h 658157"/>
                <a:gd name="connsiteX79" fmla="*/ 187657 w 465062"/>
                <a:gd name="connsiteY79" fmla="*/ 639119 h 658157"/>
                <a:gd name="connsiteX80" fmla="*/ 152301 w 465062"/>
                <a:gd name="connsiteY80" fmla="*/ 652717 h 658157"/>
                <a:gd name="connsiteX81" fmla="*/ 133263 w 465062"/>
                <a:gd name="connsiteY81" fmla="*/ 655437 h 658157"/>
                <a:gd name="connsiteX82" fmla="*/ 122385 w 465062"/>
                <a:gd name="connsiteY82" fmla="*/ 652717 h 658157"/>
                <a:gd name="connsiteX83" fmla="*/ 97908 w 465062"/>
                <a:gd name="connsiteY83" fmla="*/ 639119 h 658157"/>
                <a:gd name="connsiteX84" fmla="*/ 70711 w 465062"/>
                <a:gd name="connsiteY84" fmla="*/ 639119 h 658157"/>
                <a:gd name="connsiteX85" fmla="*/ 46234 w 465062"/>
                <a:gd name="connsiteY85" fmla="*/ 639119 h 658157"/>
                <a:gd name="connsiteX86" fmla="*/ 19038 w 465062"/>
                <a:gd name="connsiteY86" fmla="*/ 630960 h 658157"/>
                <a:gd name="connsiteX87" fmla="*/ 2720 w 465062"/>
                <a:gd name="connsiteY87" fmla="*/ 614642 h 658157"/>
                <a:gd name="connsiteX88" fmla="*/ 8159 w 465062"/>
                <a:gd name="connsiteY88" fmla="*/ 606483 h 658157"/>
                <a:gd name="connsiteX89" fmla="*/ 29916 w 465062"/>
                <a:gd name="connsiteY89" fmla="*/ 598324 h 658157"/>
                <a:gd name="connsiteX90" fmla="*/ 76151 w 465062"/>
                <a:gd name="connsiteY90" fmla="*/ 592885 h 658157"/>
                <a:gd name="connsiteX91" fmla="*/ 73431 w 465062"/>
                <a:gd name="connsiteY91" fmla="*/ 573848 h 658157"/>
                <a:gd name="connsiteX92" fmla="*/ 70711 w 465062"/>
                <a:gd name="connsiteY92" fmla="*/ 500417 h 658157"/>
                <a:gd name="connsiteX93" fmla="*/ 73431 w 465062"/>
                <a:gd name="connsiteY93" fmla="*/ 437865 h 658157"/>
                <a:gd name="connsiteX94" fmla="*/ 70711 w 465062"/>
                <a:gd name="connsiteY94" fmla="*/ 369873 h 658157"/>
                <a:gd name="connsiteX95" fmla="*/ 70711 w 465062"/>
                <a:gd name="connsiteY95" fmla="*/ 293723 h 658157"/>
                <a:gd name="connsiteX96" fmla="*/ 73431 w 465062"/>
                <a:gd name="connsiteY96" fmla="*/ 212133 h 658157"/>
                <a:gd name="connsiteX97" fmla="*/ 76151 w 465062"/>
                <a:gd name="connsiteY97" fmla="*/ 155021 h 658157"/>
                <a:gd name="connsiteX98" fmla="*/ 76151 w 465062"/>
                <a:gd name="connsiteY98" fmla="*/ 119665 h 658157"/>
                <a:gd name="connsiteX99" fmla="*/ 78870 w 465062"/>
                <a:gd name="connsiteY99" fmla="*/ 84310 h 658157"/>
                <a:gd name="connsiteX100" fmla="*/ 76151 w 465062"/>
                <a:gd name="connsiteY100" fmla="*/ 62552 h 658157"/>
                <a:gd name="connsiteX101" fmla="*/ 67992 w 465062"/>
                <a:gd name="connsiteY101" fmla="*/ 62552 h 658157"/>
                <a:gd name="connsiteX102" fmla="*/ 43515 w 465062"/>
                <a:gd name="connsiteY102" fmla="*/ 62552 h 658157"/>
                <a:gd name="connsiteX103" fmla="*/ 16318 w 465062"/>
                <a:gd name="connsiteY103" fmla="*/ 57113 h 658157"/>
                <a:gd name="connsiteX104" fmla="*/ 0 w 465062"/>
                <a:gd name="connsiteY104" fmla="*/ 40795 h 658157"/>
                <a:gd name="connsiteX105" fmla="*/ 5439 w 465062"/>
                <a:gd name="connsiteY105" fmla="*/ 32636 h 658157"/>
                <a:gd name="connsiteX106" fmla="*/ 27197 w 465062"/>
                <a:gd name="connsiteY106" fmla="*/ 24477 h 658157"/>
                <a:gd name="connsiteX107" fmla="*/ 76151 w 465062"/>
                <a:gd name="connsiteY107" fmla="*/ 19038 h 658157"/>
                <a:gd name="connsiteX108" fmla="*/ 78870 w 465062"/>
                <a:gd name="connsiteY108" fmla="*/ 13598 h 658157"/>
                <a:gd name="connsiteX109" fmla="*/ 95188 w 465062"/>
                <a:gd name="connsiteY109" fmla="*/ 5440 h 658157"/>
                <a:gd name="connsiteX110" fmla="*/ 111506 w 465062"/>
                <a:gd name="connsiteY110" fmla="*/ 0 h 6581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</a:cxnLst>
              <a:rect l="l" t="t" r="r" b="b"/>
              <a:pathLst>
                <a:path w="465062" h="658157">
                  <a:moveTo>
                    <a:pt x="193096" y="59832"/>
                  </a:moveTo>
                  <a:cubicBezTo>
                    <a:pt x="193096" y="73430"/>
                    <a:pt x="193096" y="89748"/>
                    <a:pt x="193096" y="114226"/>
                  </a:cubicBezTo>
                  <a:cubicBezTo>
                    <a:pt x="193096" y="144142"/>
                    <a:pt x="195816" y="176778"/>
                    <a:pt x="198536" y="209414"/>
                  </a:cubicBezTo>
                  <a:cubicBezTo>
                    <a:pt x="198536" y="247489"/>
                    <a:pt x="201255" y="277406"/>
                    <a:pt x="201255" y="282845"/>
                  </a:cubicBezTo>
                  <a:cubicBezTo>
                    <a:pt x="201255" y="293723"/>
                    <a:pt x="203975" y="304602"/>
                    <a:pt x="203975" y="315481"/>
                  </a:cubicBezTo>
                  <a:cubicBezTo>
                    <a:pt x="203975" y="318200"/>
                    <a:pt x="203975" y="318200"/>
                    <a:pt x="203975" y="320920"/>
                  </a:cubicBezTo>
                  <a:cubicBezTo>
                    <a:pt x="203975" y="326359"/>
                    <a:pt x="206695" y="329079"/>
                    <a:pt x="212134" y="329079"/>
                  </a:cubicBezTo>
                  <a:cubicBezTo>
                    <a:pt x="214854" y="329079"/>
                    <a:pt x="220293" y="329079"/>
                    <a:pt x="223013" y="329079"/>
                  </a:cubicBezTo>
                  <a:cubicBezTo>
                    <a:pt x="228452" y="329079"/>
                    <a:pt x="233891" y="329079"/>
                    <a:pt x="239331" y="329079"/>
                  </a:cubicBezTo>
                  <a:cubicBezTo>
                    <a:pt x="252929" y="329079"/>
                    <a:pt x="271967" y="323640"/>
                    <a:pt x="280126" y="312761"/>
                  </a:cubicBezTo>
                  <a:cubicBezTo>
                    <a:pt x="288284" y="304602"/>
                    <a:pt x="291004" y="299163"/>
                    <a:pt x="296443" y="288284"/>
                  </a:cubicBezTo>
                  <a:cubicBezTo>
                    <a:pt x="299163" y="277406"/>
                    <a:pt x="301883" y="269247"/>
                    <a:pt x="304602" y="258368"/>
                  </a:cubicBezTo>
                  <a:cubicBezTo>
                    <a:pt x="307322" y="244770"/>
                    <a:pt x="310042" y="239330"/>
                    <a:pt x="312761" y="225732"/>
                  </a:cubicBezTo>
                  <a:cubicBezTo>
                    <a:pt x="315481" y="212134"/>
                    <a:pt x="315481" y="209414"/>
                    <a:pt x="315481" y="195816"/>
                  </a:cubicBezTo>
                  <a:cubicBezTo>
                    <a:pt x="315481" y="179498"/>
                    <a:pt x="315481" y="184937"/>
                    <a:pt x="318201" y="168619"/>
                  </a:cubicBezTo>
                  <a:cubicBezTo>
                    <a:pt x="312761" y="152302"/>
                    <a:pt x="312761" y="149582"/>
                    <a:pt x="312761" y="135983"/>
                  </a:cubicBezTo>
                  <a:cubicBezTo>
                    <a:pt x="312761" y="133264"/>
                    <a:pt x="312761" y="127825"/>
                    <a:pt x="312761" y="122385"/>
                  </a:cubicBezTo>
                  <a:cubicBezTo>
                    <a:pt x="312761" y="111507"/>
                    <a:pt x="301883" y="95188"/>
                    <a:pt x="293724" y="84309"/>
                  </a:cubicBezTo>
                  <a:cubicBezTo>
                    <a:pt x="288284" y="78870"/>
                    <a:pt x="285565" y="76150"/>
                    <a:pt x="280126" y="73430"/>
                  </a:cubicBezTo>
                  <a:cubicBezTo>
                    <a:pt x="271967" y="67991"/>
                    <a:pt x="266527" y="65271"/>
                    <a:pt x="258368" y="62552"/>
                  </a:cubicBezTo>
                  <a:cubicBezTo>
                    <a:pt x="244770" y="59832"/>
                    <a:pt x="228452" y="59832"/>
                    <a:pt x="217573" y="59832"/>
                  </a:cubicBezTo>
                  <a:close/>
                  <a:moveTo>
                    <a:pt x="111506" y="0"/>
                  </a:moveTo>
                  <a:cubicBezTo>
                    <a:pt x="114226" y="0"/>
                    <a:pt x="122385" y="0"/>
                    <a:pt x="127824" y="0"/>
                  </a:cubicBezTo>
                  <a:cubicBezTo>
                    <a:pt x="135983" y="0"/>
                    <a:pt x="146862" y="2720"/>
                    <a:pt x="157741" y="5440"/>
                  </a:cubicBezTo>
                  <a:cubicBezTo>
                    <a:pt x="168619" y="8159"/>
                    <a:pt x="176778" y="10879"/>
                    <a:pt x="179497" y="16318"/>
                  </a:cubicBezTo>
                  <a:cubicBezTo>
                    <a:pt x="193096" y="16318"/>
                    <a:pt x="201255" y="16318"/>
                    <a:pt x="209414" y="16318"/>
                  </a:cubicBezTo>
                  <a:cubicBezTo>
                    <a:pt x="220292" y="16318"/>
                    <a:pt x="231171" y="16318"/>
                    <a:pt x="247489" y="16318"/>
                  </a:cubicBezTo>
                  <a:cubicBezTo>
                    <a:pt x="250209" y="16318"/>
                    <a:pt x="258368" y="16318"/>
                    <a:pt x="266527" y="16318"/>
                  </a:cubicBezTo>
                  <a:cubicBezTo>
                    <a:pt x="277405" y="16318"/>
                    <a:pt x="291004" y="21758"/>
                    <a:pt x="312761" y="27197"/>
                  </a:cubicBezTo>
                  <a:cubicBezTo>
                    <a:pt x="320920" y="29917"/>
                    <a:pt x="329079" y="35356"/>
                    <a:pt x="337238" y="38075"/>
                  </a:cubicBezTo>
                  <a:cubicBezTo>
                    <a:pt x="342677" y="40795"/>
                    <a:pt x="353556" y="48954"/>
                    <a:pt x="364434" y="54393"/>
                  </a:cubicBezTo>
                  <a:cubicBezTo>
                    <a:pt x="375313" y="62552"/>
                    <a:pt x="386192" y="67992"/>
                    <a:pt x="386192" y="73431"/>
                  </a:cubicBezTo>
                  <a:cubicBezTo>
                    <a:pt x="391631" y="84310"/>
                    <a:pt x="402510" y="92469"/>
                    <a:pt x="407949" y="103347"/>
                  </a:cubicBezTo>
                  <a:cubicBezTo>
                    <a:pt x="413388" y="116945"/>
                    <a:pt x="416108" y="130544"/>
                    <a:pt x="416108" y="141422"/>
                  </a:cubicBezTo>
                  <a:cubicBezTo>
                    <a:pt x="416108" y="152301"/>
                    <a:pt x="418828" y="157740"/>
                    <a:pt x="418828" y="163179"/>
                  </a:cubicBezTo>
                  <a:cubicBezTo>
                    <a:pt x="418828" y="165899"/>
                    <a:pt x="418828" y="168619"/>
                    <a:pt x="418828" y="171339"/>
                  </a:cubicBezTo>
                  <a:cubicBezTo>
                    <a:pt x="418828" y="174058"/>
                    <a:pt x="421547" y="182217"/>
                    <a:pt x="421547" y="187656"/>
                  </a:cubicBezTo>
                  <a:cubicBezTo>
                    <a:pt x="421547" y="193096"/>
                    <a:pt x="418828" y="201255"/>
                    <a:pt x="418828" y="206694"/>
                  </a:cubicBezTo>
                  <a:cubicBezTo>
                    <a:pt x="418828" y="217573"/>
                    <a:pt x="418828" y="223012"/>
                    <a:pt x="416108" y="233891"/>
                  </a:cubicBezTo>
                  <a:cubicBezTo>
                    <a:pt x="413388" y="244769"/>
                    <a:pt x="410668" y="255648"/>
                    <a:pt x="405229" y="263807"/>
                  </a:cubicBezTo>
                  <a:cubicBezTo>
                    <a:pt x="402510" y="269246"/>
                    <a:pt x="397070" y="269246"/>
                    <a:pt x="394351" y="274686"/>
                  </a:cubicBezTo>
                  <a:cubicBezTo>
                    <a:pt x="391631" y="277405"/>
                    <a:pt x="391631" y="282844"/>
                    <a:pt x="388912" y="285564"/>
                  </a:cubicBezTo>
                  <a:cubicBezTo>
                    <a:pt x="383472" y="291003"/>
                    <a:pt x="375313" y="301882"/>
                    <a:pt x="369874" y="304602"/>
                  </a:cubicBezTo>
                  <a:cubicBezTo>
                    <a:pt x="367154" y="307321"/>
                    <a:pt x="361715" y="307321"/>
                    <a:pt x="358995" y="310041"/>
                  </a:cubicBezTo>
                  <a:cubicBezTo>
                    <a:pt x="356275" y="312761"/>
                    <a:pt x="350836" y="318200"/>
                    <a:pt x="348117" y="320920"/>
                  </a:cubicBezTo>
                  <a:cubicBezTo>
                    <a:pt x="339958" y="326359"/>
                    <a:pt x="334518" y="334518"/>
                    <a:pt x="326359" y="339957"/>
                  </a:cubicBezTo>
                  <a:cubicBezTo>
                    <a:pt x="320920" y="342677"/>
                    <a:pt x="312761" y="342677"/>
                    <a:pt x="312761" y="353555"/>
                  </a:cubicBezTo>
                  <a:cubicBezTo>
                    <a:pt x="312761" y="361714"/>
                    <a:pt x="334518" y="372593"/>
                    <a:pt x="337238" y="380752"/>
                  </a:cubicBezTo>
                  <a:cubicBezTo>
                    <a:pt x="345397" y="394350"/>
                    <a:pt x="353556" y="407948"/>
                    <a:pt x="358995" y="421547"/>
                  </a:cubicBezTo>
                  <a:cubicBezTo>
                    <a:pt x="364434" y="435145"/>
                    <a:pt x="367154" y="446024"/>
                    <a:pt x="372593" y="459622"/>
                  </a:cubicBezTo>
                  <a:cubicBezTo>
                    <a:pt x="378033" y="478660"/>
                    <a:pt x="383472" y="494978"/>
                    <a:pt x="386192" y="514015"/>
                  </a:cubicBezTo>
                  <a:cubicBezTo>
                    <a:pt x="391631" y="533053"/>
                    <a:pt x="402510" y="549371"/>
                    <a:pt x="407949" y="568408"/>
                  </a:cubicBezTo>
                  <a:cubicBezTo>
                    <a:pt x="410668" y="579287"/>
                    <a:pt x="416108" y="590165"/>
                    <a:pt x="421547" y="598324"/>
                  </a:cubicBezTo>
                  <a:cubicBezTo>
                    <a:pt x="435146" y="614642"/>
                    <a:pt x="443305" y="622801"/>
                    <a:pt x="451463" y="628241"/>
                  </a:cubicBezTo>
                  <a:cubicBezTo>
                    <a:pt x="456903" y="630960"/>
                    <a:pt x="465062" y="636400"/>
                    <a:pt x="465062" y="644559"/>
                  </a:cubicBezTo>
                  <a:cubicBezTo>
                    <a:pt x="465062" y="647278"/>
                    <a:pt x="465062" y="647278"/>
                    <a:pt x="462342" y="649998"/>
                  </a:cubicBezTo>
                  <a:cubicBezTo>
                    <a:pt x="456903" y="655437"/>
                    <a:pt x="446024" y="658157"/>
                    <a:pt x="437865" y="658157"/>
                  </a:cubicBezTo>
                  <a:cubicBezTo>
                    <a:pt x="413388" y="658157"/>
                    <a:pt x="378033" y="641839"/>
                    <a:pt x="361715" y="622801"/>
                  </a:cubicBezTo>
                  <a:cubicBezTo>
                    <a:pt x="345397" y="606483"/>
                    <a:pt x="334518" y="584726"/>
                    <a:pt x="320920" y="565689"/>
                  </a:cubicBezTo>
                  <a:cubicBezTo>
                    <a:pt x="315480" y="554810"/>
                    <a:pt x="310041" y="543931"/>
                    <a:pt x="304602" y="530333"/>
                  </a:cubicBezTo>
                  <a:cubicBezTo>
                    <a:pt x="299163" y="519454"/>
                    <a:pt x="296443" y="508576"/>
                    <a:pt x="293723" y="497697"/>
                  </a:cubicBezTo>
                  <a:cubicBezTo>
                    <a:pt x="291004" y="486819"/>
                    <a:pt x="288284" y="473220"/>
                    <a:pt x="282845" y="462342"/>
                  </a:cubicBezTo>
                  <a:cubicBezTo>
                    <a:pt x="280125" y="448743"/>
                    <a:pt x="274686" y="437865"/>
                    <a:pt x="269246" y="424267"/>
                  </a:cubicBezTo>
                  <a:cubicBezTo>
                    <a:pt x="266527" y="416108"/>
                    <a:pt x="261087" y="402509"/>
                    <a:pt x="255648" y="391631"/>
                  </a:cubicBezTo>
                  <a:cubicBezTo>
                    <a:pt x="250209" y="380752"/>
                    <a:pt x="244770" y="375313"/>
                    <a:pt x="236610" y="367154"/>
                  </a:cubicBezTo>
                  <a:cubicBezTo>
                    <a:pt x="231171" y="361714"/>
                    <a:pt x="223012" y="361714"/>
                    <a:pt x="217573" y="361714"/>
                  </a:cubicBezTo>
                  <a:cubicBezTo>
                    <a:pt x="212134" y="361714"/>
                    <a:pt x="206694" y="361714"/>
                    <a:pt x="201255" y="361714"/>
                  </a:cubicBezTo>
                  <a:cubicBezTo>
                    <a:pt x="198535" y="361714"/>
                    <a:pt x="198535" y="364434"/>
                    <a:pt x="198535" y="367154"/>
                  </a:cubicBezTo>
                  <a:cubicBezTo>
                    <a:pt x="198535" y="375313"/>
                    <a:pt x="201255" y="386191"/>
                    <a:pt x="201255" y="388911"/>
                  </a:cubicBezTo>
                  <a:cubicBezTo>
                    <a:pt x="201255" y="402509"/>
                    <a:pt x="198535" y="413388"/>
                    <a:pt x="198535" y="426986"/>
                  </a:cubicBezTo>
                  <a:cubicBezTo>
                    <a:pt x="198535" y="446024"/>
                    <a:pt x="203975" y="456902"/>
                    <a:pt x="203975" y="478660"/>
                  </a:cubicBezTo>
                  <a:cubicBezTo>
                    <a:pt x="203975" y="503136"/>
                    <a:pt x="201255" y="527613"/>
                    <a:pt x="198535" y="552090"/>
                  </a:cubicBezTo>
                  <a:cubicBezTo>
                    <a:pt x="198535" y="560249"/>
                    <a:pt x="195816" y="568408"/>
                    <a:pt x="195816" y="576567"/>
                  </a:cubicBezTo>
                  <a:cubicBezTo>
                    <a:pt x="195816" y="582006"/>
                    <a:pt x="195816" y="587446"/>
                    <a:pt x="198535" y="592885"/>
                  </a:cubicBezTo>
                  <a:cubicBezTo>
                    <a:pt x="212134" y="592885"/>
                    <a:pt x="225732" y="592885"/>
                    <a:pt x="233891" y="592885"/>
                  </a:cubicBezTo>
                  <a:cubicBezTo>
                    <a:pt x="247489" y="592885"/>
                    <a:pt x="271966" y="592885"/>
                    <a:pt x="271966" y="611923"/>
                  </a:cubicBezTo>
                  <a:cubicBezTo>
                    <a:pt x="271966" y="620082"/>
                    <a:pt x="269246" y="622801"/>
                    <a:pt x="266527" y="628241"/>
                  </a:cubicBezTo>
                  <a:cubicBezTo>
                    <a:pt x="261087" y="633680"/>
                    <a:pt x="255648" y="636400"/>
                    <a:pt x="250209" y="636400"/>
                  </a:cubicBezTo>
                  <a:cubicBezTo>
                    <a:pt x="239330" y="639119"/>
                    <a:pt x="233891" y="639119"/>
                    <a:pt x="228451" y="639119"/>
                  </a:cubicBezTo>
                  <a:cubicBezTo>
                    <a:pt x="223012" y="639119"/>
                    <a:pt x="206694" y="639119"/>
                    <a:pt x="187657" y="639119"/>
                  </a:cubicBezTo>
                  <a:cubicBezTo>
                    <a:pt x="176778" y="647278"/>
                    <a:pt x="163180" y="649998"/>
                    <a:pt x="152301" y="652717"/>
                  </a:cubicBezTo>
                  <a:cubicBezTo>
                    <a:pt x="146862" y="652717"/>
                    <a:pt x="138703" y="655437"/>
                    <a:pt x="133263" y="655437"/>
                  </a:cubicBezTo>
                  <a:cubicBezTo>
                    <a:pt x="130544" y="655437"/>
                    <a:pt x="125104" y="655437"/>
                    <a:pt x="122385" y="652717"/>
                  </a:cubicBezTo>
                  <a:cubicBezTo>
                    <a:pt x="114226" y="649998"/>
                    <a:pt x="103347" y="644559"/>
                    <a:pt x="97908" y="639119"/>
                  </a:cubicBezTo>
                  <a:cubicBezTo>
                    <a:pt x="87029" y="639119"/>
                    <a:pt x="78870" y="639119"/>
                    <a:pt x="70711" y="639119"/>
                  </a:cubicBezTo>
                  <a:cubicBezTo>
                    <a:pt x="62552" y="639119"/>
                    <a:pt x="54393" y="639119"/>
                    <a:pt x="46234" y="639119"/>
                  </a:cubicBezTo>
                  <a:cubicBezTo>
                    <a:pt x="38075" y="639119"/>
                    <a:pt x="27197" y="633680"/>
                    <a:pt x="19038" y="630960"/>
                  </a:cubicBezTo>
                  <a:cubicBezTo>
                    <a:pt x="10879" y="628241"/>
                    <a:pt x="2720" y="620082"/>
                    <a:pt x="2720" y="614642"/>
                  </a:cubicBezTo>
                  <a:cubicBezTo>
                    <a:pt x="2720" y="611923"/>
                    <a:pt x="2720" y="609203"/>
                    <a:pt x="8159" y="606483"/>
                  </a:cubicBezTo>
                  <a:cubicBezTo>
                    <a:pt x="13599" y="603764"/>
                    <a:pt x="24477" y="601044"/>
                    <a:pt x="29916" y="598324"/>
                  </a:cubicBezTo>
                  <a:cubicBezTo>
                    <a:pt x="43515" y="595605"/>
                    <a:pt x="62552" y="595605"/>
                    <a:pt x="76151" y="592885"/>
                  </a:cubicBezTo>
                  <a:cubicBezTo>
                    <a:pt x="76151" y="587446"/>
                    <a:pt x="73431" y="582006"/>
                    <a:pt x="73431" y="573848"/>
                  </a:cubicBezTo>
                  <a:cubicBezTo>
                    <a:pt x="73431" y="565689"/>
                    <a:pt x="70711" y="516735"/>
                    <a:pt x="70711" y="500417"/>
                  </a:cubicBezTo>
                  <a:cubicBezTo>
                    <a:pt x="70711" y="481379"/>
                    <a:pt x="73431" y="456902"/>
                    <a:pt x="73431" y="437865"/>
                  </a:cubicBezTo>
                  <a:cubicBezTo>
                    <a:pt x="73431" y="416108"/>
                    <a:pt x="70711" y="391631"/>
                    <a:pt x="70711" y="369873"/>
                  </a:cubicBezTo>
                  <a:cubicBezTo>
                    <a:pt x="70711" y="345397"/>
                    <a:pt x="70711" y="318200"/>
                    <a:pt x="70711" y="293723"/>
                  </a:cubicBezTo>
                  <a:cubicBezTo>
                    <a:pt x="70711" y="266526"/>
                    <a:pt x="73431" y="239330"/>
                    <a:pt x="73431" y="212133"/>
                  </a:cubicBezTo>
                  <a:cubicBezTo>
                    <a:pt x="73431" y="187656"/>
                    <a:pt x="76151" y="179498"/>
                    <a:pt x="76151" y="155021"/>
                  </a:cubicBezTo>
                  <a:cubicBezTo>
                    <a:pt x="76151" y="144142"/>
                    <a:pt x="76151" y="130544"/>
                    <a:pt x="76151" y="119665"/>
                  </a:cubicBezTo>
                  <a:cubicBezTo>
                    <a:pt x="76151" y="106067"/>
                    <a:pt x="78870" y="95188"/>
                    <a:pt x="78870" y="84310"/>
                  </a:cubicBezTo>
                  <a:cubicBezTo>
                    <a:pt x="78870" y="78870"/>
                    <a:pt x="78870" y="70711"/>
                    <a:pt x="76151" y="62552"/>
                  </a:cubicBezTo>
                  <a:cubicBezTo>
                    <a:pt x="76151" y="62552"/>
                    <a:pt x="73431" y="62552"/>
                    <a:pt x="67992" y="62552"/>
                  </a:cubicBezTo>
                  <a:cubicBezTo>
                    <a:pt x="59833" y="62552"/>
                    <a:pt x="51674" y="62552"/>
                    <a:pt x="43515" y="62552"/>
                  </a:cubicBezTo>
                  <a:cubicBezTo>
                    <a:pt x="35356" y="62552"/>
                    <a:pt x="24477" y="59833"/>
                    <a:pt x="16318" y="57113"/>
                  </a:cubicBezTo>
                  <a:cubicBezTo>
                    <a:pt x="8159" y="54393"/>
                    <a:pt x="0" y="43515"/>
                    <a:pt x="0" y="40795"/>
                  </a:cubicBezTo>
                  <a:cubicBezTo>
                    <a:pt x="0" y="38075"/>
                    <a:pt x="0" y="35356"/>
                    <a:pt x="5439" y="32636"/>
                  </a:cubicBezTo>
                  <a:cubicBezTo>
                    <a:pt x="10879" y="29917"/>
                    <a:pt x="21758" y="27197"/>
                    <a:pt x="27197" y="24477"/>
                  </a:cubicBezTo>
                  <a:cubicBezTo>
                    <a:pt x="46234" y="21758"/>
                    <a:pt x="62552" y="19038"/>
                    <a:pt x="76151" y="19038"/>
                  </a:cubicBezTo>
                  <a:cubicBezTo>
                    <a:pt x="76151" y="16318"/>
                    <a:pt x="78870" y="16318"/>
                    <a:pt x="78870" y="13598"/>
                  </a:cubicBezTo>
                  <a:cubicBezTo>
                    <a:pt x="84309" y="10879"/>
                    <a:pt x="89749" y="8159"/>
                    <a:pt x="95188" y="5440"/>
                  </a:cubicBezTo>
                  <a:cubicBezTo>
                    <a:pt x="100628" y="2720"/>
                    <a:pt x="106067" y="0"/>
                    <a:pt x="111506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/>
            </a:p>
          </p:txBody>
        </p:sp>
        <p:sp>
          <p:nvSpPr>
            <p:cNvPr id="50" name="Freeform: Shape 49">
              <a:extLst>
                <a:ext uri="{FF2B5EF4-FFF2-40B4-BE49-F238E27FC236}">
                  <a16:creationId xmlns:a16="http://schemas.microsoft.com/office/drawing/2014/main" id="{100ABB2F-82B3-4313-9667-9D4CAE736D8E}"/>
                </a:ext>
              </a:extLst>
            </p:cNvPr>
            <p:cNvSpPr/>
            <p:nvPr/>
          </p:nvSpPr>
          <p:spPr>
            <a:xfrm>
              <a:off x="8346812" y="4186718"/>
              <a:ext cx="353556" cy="761503"/>
            </a:xfrm>
            <a:custGeom>
              <a:avLst/>
              <a:gdLst>
                <a:gd name="connsiteX0" fmla="*/ 283910 w 353555"/>
                <a:gd name="connsiteY0" fmla="*/ 672820 h 761503"/>
                <a:gd name="connsiteX1" fmla="*/ 321985 w 353555"/>
                <a:gd name="connsiteY1" fmla="*/ 689138 h 761503"/>
                <a:gd name="connsiteX2" fmla="*/ 316546 w 353555"/>
                <a:gd name="connsiteY2" fmla="*/ 705456 h 761503"/>
                <a:gd name="connsiteX3" fmla="*/ 300228 w 353555"/>
                <a:gd name="connsiteY3" fmla="*/ 713615 h 761503"/>
                <a:gd name="connsiteX4" fmla="*/ 278471 w 353555"/>
                <a:gd name="connsiteY4" fmla="*/ 716335 h 761503"/>
                <a:gd name="connsiteX5" fmla="*/ 237676 w 353555"/>
                <a:gd name="connsiteY5" fmla="*/ 716335 h 761503"/>
                <a:gd name="connsiteX6" fmla="*/ 180563 w 353555"/>
                <a:gd name="connsiteY6" fmla="*/ 719054 h 761503"/>
                <a:gd name="connsiteX7" fmla="*/ 126170 w 353555"/>
                <a:gd name="connsiteY7" fmla="*/ 719054 h 761503"/>
                <a:gd name="connsiteX8" fmla="*/ 101693 w 353555"/>
                <a:gd name="connsiteY8" fmla="*/ 719054 h 761503"/>
                <a:gd name="connsiteX9" fmla="*/ 74496 w 353555"/>
                <a:gd name="connsiteY9" fmla="*/ 713615 h 761503"/>
                <a:gd name="connsiteX10" fmla="*/ 58178 w 353555"/>
                <a:gd name="connsiteY10" fmla="*/ 697297 h 761503"/>
                <a:gd name="connsiteX11" fmla="*/ 63618 w 353555"/>
                <a:gd name="connsiteY11" fmla="*/ 689138 h 761503"/>
                <a:gd name="connsiteX12" fmla="*/ 85375 w 353555"/>
                <a:gd name="connsiteY12" fmla="*/ 680979 h 761503"/>
                <a:gd name="connsiteX13" fmla="*/ 131609 w 353555"/>
                <a:gd name="connsiteY13" fmla="*/ 675540 h 761503"/>
                <a:gd name="connsiteX14" fmla="*/ 142488 w 353555"/>
                <a:gd name="connsiteY14" fmla="*/ 675540 h 761503"/>
                <a:gd name="connsiteX15" fmla="*/ 131609 w 353555"/>
                <a:gd name="connsiteY15" fmla="*/ 653783 h 761503"/>
                <a:gd name="connsiteX16" fmla="*/ 128890 w 353555"/>
                <a:gd name="connsiteY16" fmla="*/ 640184 h 761503"/>
                <a:gd name="connsiteX17" fmla="*/ 128890 w 353555"/>
                <a:gd name="connsiteY17" fmla="*/ 629306 h 761503"/>
                <a:gd name="connsiteX18" fmla="*/ 128890 w 353555"/>
                <a:gd name="connsiteY18" fmla="*/ 621147 h 761503"/>
                <a:gd name="connsiteX19" fmla="*/ 128890 w 353555"/>
                <a:gd name="connsiteY19" fmla="*/ 593950 h 761503"/>
                <a:gd name="connsiteX20" fmla="*/ 128890 w 353555"/>
                <a:gd name="connsiteY20" fmla="*/ 583072 h 761503"/>
                <a:gd name="connsiteX21" fmla="*/ 128890 w 353555"/>
                <a:gd name="connsiteY21" fmla="*/ 436210 h 761503"/>
                <a:gd name="connsiteX22" fmla="*/ 128890 w 353555"/>
                <a:gd name="connsiteY22" fmla="*/ 357340 h 761503"/>
                <a:gd name="connsiteX23" fmla="*/ 131609 w 353555"/>
                <a:gd name="connsiteY23" fmla="*/ 289349 h 761503"/>
                <a:gd name="connsiteX24" fmla="*/ 131609 w 353555"/>
                <a:gd name="connsiteY24" fmla="*/ 251274 h 761503"/>
                <a:gd name="connsiteX25" fmla="*/ 131609 w 353555"/>
                <a:gd name="connsiteY25" fmla="*/ 205040 h 761503"/>
                <a:gd name="connsiteX26" fmla="*/ 131609 w 353555"/>
                <a:gd name="connsiteY26" fmla="*/ 139768 h 761503"/>
                <a:gd name="connsiteX27" fmla="*/ 131609 w 353555"/>
                <a:gd name="connsiteY27" fmla="*/ 128889 h 761503"/>
                <a:gd name="connsiteX28" fmla="*/ 126170 w 353555"/>
                <a:gd name="connsiteY28" fmla="*/ 128889 h 761503"/>
                <a:gd name="connsiteX29" fmla="*/ 101693 w 353555"/>
                <a:gd name="connsiteY29" fmla="*/ 128889 h 761503"/>
                <a:gd name="connsiteX30" fmla="*/ 74496 w 353555"/>
                <a:gd name="connsiteY30" fmla="*/ 123450 h 761503"/>
                <a:gd name="connsiteX31" fmla="*/ 58178 w 353555"/>
                <a:gd name="connsiteY31" fmla="*/ 107132 h 761503"/>
                <a:gd name="connsiteX32" fmla="*/ 60898 w 353555"/>
                <a:gd name="connsiteY32" fmla="*/ 98973 h 761503"/>
                <a:gd name="connsiteX33" fmla="*/ 82655 w 353555"/>
                <a:gd name="connsiteY33" fmla="*/ 93534 h 761503"/>
                <a:gd name="connsiteX34" fmla="*/ 131609 w 353555"/>
                <a:gd name="connsiteY34" fmla="*/ 88094 h 761503"/>
                <a:gd name="connsiteX35" fmla="*/ 131609 w 353555"/>
                <a:gd name="connsiteY35" fmla="*/ 82655 h 761503"/>
                <a:gd name="connsiteX36" fmla="*/ 134329 w 353555"/>
                <a:gd name="connsiteY36" fmla="*/ 71776 h 761503"/>
                <a:gd name="connsiteX37" fmla="*/ 147927 w 353555"/>
                <a:gd name="connsiteY37" fmla="*/ 63617 h 761503"/>
                <a:gd name="connsiteX38" fmla="*/ 164245 w 353555"/>
                <a:gd name="connsiteY38" fmla="*/ 58178 h 761503"/>
                <a:gd name="connsiteX39" fmla="*/ 177843 w 353555"/>
                <a:gd name="connsiteY39" fmla="*/ 58178 h 761503"/>
                <a:gd name="connsiteX40" fmla="*/ 196881 w 353555"/>
                <a:gd name="connsiteY40" fmla="*/ 60898 h 761503"/>
                <a:gd name="connsiteX41" fmla="*/ 232237 w 353555"/>
                <a:gd name="connsiteY41" fmla="*/ 88094 h 761503"/>
                <a:gd name="connsiteX42" fmla="*/ 278471 w 353555"/>
                <a:gd name="connsiteY42" fmla="*/ 88094 h 761503"/>
                <a:gd name="connsiteX43" fmla="*/ 316546 w 353555"/>
                <a:gd name="connsiteY43" fmla="*/ 104412 h 761503"/>
                <a:gd name="connsiteX44" fmla="*/ 311107 w 353555"/>
                <a:gd name="connsiteY44" fmla="*/ 120730 h 761503"/>
                <a:gd name="connsiteX45" fmla="*/ 294789 w 353555"/>
                <a:gd name="connsiteY45" fmla="*/ 128889 h 761503"/>
                <a:gd name="connsiteX46" fmla="*/ 273032 w 353555"/>
                <a:gd name="connsiteY46" fmla="*/ 131609 h 761503"/>
                <a:gd name="connsiteX47" fmla="*/ 243115 w 353555"/>
                <a:gd name="connsiteY47" fmla="*/ 131609 h 761503"/>
                <a:gd name="connsiteX48" fmla="*/ 243115 w 353555"/>
                <a:gd name="connsiteY48" fmla="*/ 134329 h 761503"/>
                <a:gd name="connsiteX49" fmla="*/ 248554 w 353555"/>
                <a:gd name="connsiteY49" fmla="*/ 169684 h 761503"/>
                <a:gd name="connsiteX50" fmla="*/ 251274 w 353555"/>
                <a:gd name="connsiteY50" fmla="*/ 205040 h 761503"/>
                <a:gd name="connsiteX51" fmla="*/ 251274 w 353555"/>
                <a:gd name="connsiteY51" fmla="*/ 240395 h 761503"/>
                <a:gd name="connsiteX52" fmla="*/ 251274 w 353555"/>
                <a:gd name="connsiteY52" fmla="*/ 256713 h 761503"/>
                <a:gd name="connsiteX53" fmla="*/ 253994 w 353555"/>
                <a:gd name="connsiteY53" fmla="*/ 270311 h 761503"/>
                <a:gd name="connsiteX54" fmla="*/ 259433 w 353555"/>
                <a:gd name="connsiteY54" fmla="*/ 343742 h 761503"/>
                <a:gd name="connsiteX55" fmla="*/ 262153 w 353555"/>
                <a:gd name="connsiteY55" fmla="*/ 425332 h 761503"/>
                <a:gd name="connsiteX56" fmla="*/ 264872 w 353555"/>
                <a:gd name="connsiteY56" fmla="*/ 490603 h 761503"/>
                <a:gd name="connsiteX57" fmla="*/ 270312 w 353555"/>
                <a:gd name="connsiteY57" fmla="*/ 564034 h 761503"/>
                <a:gd name="connsiteX58" fmla="*/ 270312 w 353555"/>
                <a:gd name="connsiteY58" fmla="*/ 599390 h 761503"/>
                <a:gd name="connsiteX59" fmla="*/ 270312 w 353555"/>
                <a:gd name="connsiteY59" fmla="*/ 637465 h 761503"/>
                <a:gd name="connsiteX60" fmla="*/ 264872 w 353555"/>
                <a:gd name="connsiteY60" fmla="*/ 670101 h 761503"/>
                <a:gd name="connsiteX61" fmla="*/ 283910 w 353555"/>
                <a:gd name="connsiteY61" fmla="*/ 672820 h 761503"/>
                <a:gd name="connsiteX62" fmla="*/ 283910 w 353555"/>
                <a:gd name="connsiteY62" fmla="*/ 672820 h 761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</a:cxnLst>
              <a:rect l="l" t="t" r="r" b="b"/>
              <a:pathLst>
                <a:path w="353555" h="761503">
                  <a:moveTo>
                    <a:pt x="283910" y="672820"/>
                  </a:moveTo>
                  <a:cubicBezTo>
                    <a:pt x="297508" y="672820"/>
                    <a:pt x="321985" y="672820"/>
                    <a:pt x="321985" y="689138"/>
                  </a:cubicBezTo>
                  <a:cubicBezTo>
                    <a:pt x="321985" y="697297"/>
                    <a:pt x="319266" y="697297"/>
                    <a:pt x="316546" y="705456"/>
                  </a:cubicBezTo>
                  <a:cubicBezTo>
                    <a:pt x="311107" y="710895"/>
                    <a:pt x="305667" y="713615"/>
                    <a:pt x="300228" y="713615"/>
                  </a:cubicBezTo>
                  <a:cubicBezTo>
                    <a:pt x="292069" y="716335"/>
                    <a:pt x="283910" y="716335"/>
                    <a:pt x="278471" y="716335"/>
                  </a:cubicBezTo>
                  <a:cubicBezTo>
                    <a:pt x="275751" y="716335"/>
                    <a:pt x="256713" y="716335"/>
                    <a:pt x="237676" y="716335"/>
                  </a:cubicBezTo>
                  <a:cubicBezTo>
                    <a:pt x="213199" y="716335"/>
                    <a:pt x="186003" y="719054"/>
                    <a:pt x="180563" y="719054"/>
                  </a:cubicBezTo>
                  <a:cubicBezTo>
                    <a:pt x="166965" y="719054"/>
                    <a:pt x="142488" y="719054"/>
                    <a:pt x="126170" y="719054"/>
                  </a:cubicBezTo>
                  <a:cubicBezTo>
                    <a:pt x="118011" y="719054"/>
                    <a:pt x="109852" y="719054"/>
                    <a:pt x="101693" y="719054"/>
                  </a:cubicBezTo>
                  <a:cubicBezTo>
                    <a:pt x="93534" y="719054"/>
                    <a:pt x="82655" y="719054"/>
                    <a:pt x="74496" y="713615"/>
                  </a:cubicBezTo>
                  <a:cubicBezTo>
                    <a:pt x="66337" y="710895"/>
                    <a:pt x="58178" y="702736"/>
                    <a:pt x="58178" y="697297"/>
                  </a:cubicBezTo>
                  <a:cubicBezTo>
                    <a:pt x="58178" y="694578"/>
                    <a:pt x="58178" y="691858"/>
                    <a:pt x="63618" y="689138"/>
                  </a:cubicBezTo>
                  <a:cubicBezTo>
                    <a:pt x="69057" y="686418"/>
                    <a:pt x="79936" y="683699"/>
                    <a:pt x="85375" y="680979"/>
                  </a:cubicBezTo>
                  <a:cubicBezTo>
                    <a:pt x="104413" y="678260"/>
                    <a:pt x="123450" y="675540"/>
                    <a:pt x="131609" y="675540"/>
                  </a:cubicBezTo>
                  <a:cubicBezTo>
                    <a:pt x="134329" y="675540"/>
                    <a:pt x="137049" y="675540"/>
                    <a:pt x="142488" y="675540"/>
                  </a:cubicBezTo>
                  <a:cubicBezTo>
                    <a:pt x="134329" y="670101"/>
                    <a:pt x="131609" y="661942"/>
                    <a:pt x="131609" y="653783"/>
                  </a:cubicBezTo>
                  <a:cubicBezTo>
                    <a:pt x="131609" y="648343"/>
                    <a:pt x="131609" y="642904"/>
                    <a:pt x="128890" y="640184"/>
                  </a:cubicBezTo>
                  <a:cubicBezTo>
                    <a:pt x="128890" y="637465"/>
                    <a:pt x="128890" y="634745"/>
                    <a:pt x="128890" y="629306"/>
                  </a:cubicBezTo>
                  <a:cubicBezTo>
                    <a:pt x="128890" y="626586"/>
                    <a:pt x="128890" y="623867"/>
                    <a:pt x="128890" y="621147"/>
                  </a:cubicBezTo>
                  <a:cubicBezTo>
                    <a:pt x="128890" y="612988"/>
                    <a:pt x="128890" y="604829"/>
                    <a:pt x="128890" y="593950"/>
                  </a:cubicBezTo>
                  <a:cubicBezTo>
                    <a:pt x="128890" y="591231"/>
                    <a:pt x="128890" y="585791"/>
                    <a:pt x="128890" y="583072"/>
                  </a:cubicBezTo>
                  <a:cubicBezTo>
                    <a:pt x="128890" y="534118"/>
                    <a:pt x="131609" y="485164"/>
                    <a:pt x="128890" y="436210"/>
                  </a:cubicBezTo>
                  <a:cubicBezTo>
                    <a:pt x="128890" y="409014"/>
                    <a:pt x="128890" y="384537"/>
                    <a:pt x="128890" y="357340"/>
                  </a:cubicBezTo>
                  <a:cubicBezTo>
                    <a:pt x="128890" y="335583"/>
                    <a:pt x="131609" y="313826"/>
                    <a:pt x="131609" y="289349"/>
                  </a:cubicBezTo>
                  <a:cubicBezTo>
                    <a:pt x="131609" y="275751"/>
                    <a:pt x="131609" y="264872"/>
                    <a:pt x="131609" y="251274"/>
                  </a:cubicBezTo>
                  <a:cubicBezTo>
                    <a:pt x="131609" y="234956"/>
                    <a:pt x="131609" y="221357"/>
                    <a:pt x="131609" y="205040"/>
                  </a:cubicBezTo>
                  <a:cubicBezTo>
                    <a:pt x="131609" y="183282"/>
                    <a:pt x="131609" y="161525"/>
                    <a:pt x="131609" y="139768"/>
                  </a:cubicBezTo>
                  <a:cubicBezTo>
                    <a:pt x="131609" y="137048"/>
                    <a:pt x="131609" y="134329"/>
                    <a:pt x="131609" y="128889"/>
                  </a:cubicBezTo>
                  <a:cubicBezTo>
                    <a:pt x="128890" y="128889"/>
                    <a:pt x="126170" y="128889"/>
                    <a:pt x="126170" y="128889"/>
                  </a:cubicBezTo>
                  <a:cubicBezTo>
                    <a:pt x="118011" y="128889"/>
                    <a:pt x="109852" y="128889"/>
                    <a:pt x="101693" y="128889"/>
                  </a:cubicBezTo>
                  <a:cubicBezTo>
                    <a:pt x="93534" y="128889"/>
                    <a:pt x="82655" y="128889"/>
                    <a:pt x="74496" y="123450"/>
                  </a:cubicBezTo>
                  <a:cubicBezTo>
                    <a:pt x="66337" y="120730"/>
                    <a:pt x="58178" y="112571"/>
                    <a:pt x="58178" y="107132"/>
                  </a:cubicBezTo>
                  <a:cubicBezTo>
                    <a:pt x="58178" y="104412"/>
                    <a:pt x="58178" y="101693"/>
                    <a:pt x="60898" y="98973"/>
                  </a:cubicBezTo>
                  <a:cubicBezTo>
                    <a:pt x="63618" y="96253"/>
                    <a:pt x="77216" y="93534"/>
                    <a:pt x="82655" y="93534"/>
                  </a:cubicBezTo>
                  <a:cubicBezTo>
                    <a:pt x="98973" y="90814"/>
                    <a:pt x="123450" y="88094"/>
                    <a:pt x="131609" y="88094"/>
                  </a:cubicBezTo>
                  <a:cubicBezTo>
                    <a:pt x="131609" y="85375"/>
                    <a:pt x="131609" y="85375"/>
                    <a:pt x="131609" y="82655"/>
                  </a:cubicBezTo>
                  <a:cubicBezTo>
                    <a:pt x="131609" y="77216"/>
                    <a:pt x="131609" y="74496"/>
                    <a:pt x="134329" y="71776"/>
                  </a:cubicBezTo>
                  <a:cubicBezTo>
                    <a:pt x="137049" y="69057"/>
                    <a:pt x="145208" y="66337"/>
                    <a:pt x="147927" y="63617"/>
                  </a:cubicBezTo>
                  <a:cubicBezTo>
                    <a:pt x="153366" y="60898"/>
                    <a:pt x="158806" y="58178"/>
                    <a:pt x="164245" y="58178"/>
                  </a:cubicBezTo>
                  <a:cubicBezTo>
                    <a:pt x="169684" y="58178"/>
                    <a:pt x="175124" y="58178"/>
                    <a:pt x="177843" y="58178"/>
                  </a:cubicBezTo>
                  <a:cubicBezTo>
                    <a:pt x="183283" y="58178"/>
                    <a:pt x="191442" y="58178"/>
                    <a:pt x="196881" y="60898"/>
                  </a:cubicBezTo>
                  <a:cubicBezTo>
                    <a:pt x="213199" y="63617"/>
                    <a:pt x="224078" y="74496"/>
                    <a:pt x="232237" y="88094"/>
                  </a:cubicBezTo>
                  <a:cubicBezTo>
                    <a:pt x="253994" y="88094"/>
                    <a:pt x="270312" y="88094"/>
                    <a:pt x="278471" y="88094"/>
                  </a:cubicBezTo>
                  <a:cubicBezTo>
                    <a:pt x="292069" y="88094"/>
                    <a:pt x="316546" y="88094"/>
                    <a:pt x="316546" y="104412"/>
                  </a:cubicBezTo>
                  <a:cubicBezTo>
                    <a:pt x="316546" y="112571"/>
                    <a:pt x="313826" y="112571"/>
                    <a:pt x="311107" y="120730"/>
                  </a:cubicBezTo>
                  <a:cubicBezTo>
                    <a:pt x="305667" y="126170"/>
                    <a:pt x="300228" y="128889"/>
                    <a:pt x="294789" y="128889"/>
                  </a:cubicBezTo>
                  <a:cubicBezTo>
                    <a:pt x="286630" y="131609"/>
                    <a:pt x="278471" y="131609"/>
                    <a:pt x="273032" y="131609"/>
                  </a:cubicBezTo>
                  <a:cubicBezTo>
                    <a:pt x="270312" y="131609"/>
                    <a:pt x="259433" y="131609"/>
                    <a:pt x="243115" y="131609"/>
                  </a:cubicBezTo>
                  <a:lnTo>
                    <a:pt x="243115" y="134329"/>
                  </a:lnTo>
                  <a:cubicBezTo>
                    <a:pt x="245835" y="145207"/>
                    <a:pt x="245835" y="158805"/>
                    <a:pt x="248554" y="169684"/>
                  </a:cubicBezTo>
                  <a:cubicBezTo>
                    <a:pt x="251274" y="180563"/>
                    <a:pt x="251274" y="194161"/>
                    <a:pt x="251274" y="205040"/>
                  </a:cubicBezTo>
                  <a:cubicBezTo>
                    <a:pt x="251274" y="215918"/>
                    <a:pt x="251274" y="226797"/>
                    <a:pt x="251274" y="240395"/>
                  </a:cubicBezTo>
                  <a:cubicBezTo>
                    <a:pt x="251274" y="245834"/>
                    <a:pt x="251274" y="251274"/>
                    <a:pt x="251274" y="256713"/>
                  </a:cubicBezTo>
                  <a:cubicBezTo>
                    <a:pt x="251274" y="262152"/>
                    <a:pt x="251274" y="267592"/>
                    <a:pt x="253994" y="270311"/>
                  </a:cubicBezTo>
                  <a:cubicBezTo>
                    <a:pt x="256713" y="294788"/>
                    <a:pt x="256713" y="319265"/>
                    <a:pt x="259433" y="343742"/>
                  </a:cubicBezTo>
                  <a:cubicBezTo>
                    <a:pt x="259433" y="370939"/>
                    <a:pt x="262153" y="398135"/>
                    <a:pt x="262153" y="425332"/>
                  </a:cubicBezTo>
                  <a:cubicBezTo>
                    <a:pt x="262153" y="447089"/>
                    <a:pt x="262153" y="468846"/>
                    <a:pt x="264872" y="490603"/>
                  </a:cubicBezTo>
                  <a:cubicBezTo>
                    <a:pt x="264872" y="515080"/>
                    <a:pt x="270312" y="539557"/>
                    <a:pt x="270312" y="564034"/>
                  </a:cubicBezTo>
                  <a:cubicBezTo>
                    <a:pt x="270312" y="574913"/>
                    <a:pt x="270312" y="588511"/>
                    <a:pt x="270312" y="599390"/>
                  </a:cubicBezTo>
                  <a:cubicBezTo>
                    <a:pt x="270312" y="612988"/>
                    <a:pt x="270312" y="623867"/>
                    <a:pt x="270312" y="637465"/>
                  </a:cubicBezTo>
                  <a:cubicBezTo>
                    <a:pt x="270312" y="648343"/>
                    <a:pt x="270312" y="661942"/>
                    <a:pt x="264872" y="670101"/>
                  </a:cubicBezTo>
                  <a:cubicBezTo>
                    <a:pt x="273032" y="672820"/>
                    <a:pt x="278471" y="672820"/>
                    <a:pt x="283910" y="672820"/>
                  </a:cubicBezTo>
                  <a:lnTo>
                    <a:pt x="283910" y="672820"/>
                  </a:ln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/>
            </a:p>
          </p:txBody>
        </p:sp>
        <p:sp>
          <p:nvSpPr>
            <p:cNvPr id="51" name="Freeform: Shape 50">
              <a:extLst>
                <a:ext uri="{FF2B5EF4-FFF2-40B4-BE49-F238E27FC236}">
                  <a16:creationId xmlns:a16="http://schemas.microsoft.com/office/drawing/2014/main" id="{BF1535FC-5A93-427B-B4B5-A62EC2FC69C2}"/>
                </a:ext>
              </a:extLst>
            </p:cNvPr>
            <p:cNvSpPr/>
            <p:nvPr/>
          </p:nvSpPr>
          <p:spPr>
            <a:xfrm>
              <a:off x="8652924" y="4192158"/>
              <a:ext cx="516735" cy="788700"/>
            </a:xfrm>
            <a:custGeom>
              <a:avLst/>
              <a:gdLst>
                <a:gd name="connsiteX0" fmla="*/ 464616 w 516735"/>
                <a:gd name="connsiteY0" fmla="*/ 436210 h 788699"/>
                <a:gd name="connsiteX1" fmla="*/ 445578 w 516735"/>
                <a:gd name="connsiteY1" fmla="*/ 455248 h 788699"/>
                <a:gd name="connsiteX2" fmla="*/ 404783 w 516735"/>
                <a:gd name="connsiteY2" fmla="*/ 466126 h 788699"/>
                <a:gd name="connsiteX3" fmla="*/ 385746 w 516735"/>
                <a:gd name="connsiteY3" fmla="*/ 479725 h 788699"/>
                <a:gd name="connsiteX4" fmla="*/ 388466 w 516735"/>
                <a:gd name="connsiteY4" fmla="*/ 512361 h 788699"/>
                <a:gd name="connsiteX5" fmla="*/ 388466 w 516735"/>
                <a:gd name="connsiteY5" fmla="*/ 544997 h 788699"/>
                <a:gd name="connsiteX6" fmla="*/ 388466 w 516735"/>
                <a:gd name="connsiteY6" fmla="*/ 566754 h 788699"/>
                <a:gd name="connsiteX7" fmla="*/ 391185 w 516735"/>
                <a:gd name="connsiteY7" fmla="*/ 632026 h 788699"/>
                <a:gd name="connsiteX8" fmla="*/ 393905 w 516735"/>
                <a:gd name="connsiteY8" fmla="*/ 683699 h 788699"/>
                <a:gd name="connsiteX9" fmla="*/ 377587 w 516735"/>
                <a:gd name="connsiteY9" fmla="*/ 724494 h 788699"/>
                <a:gd name="connsiteX10" fmla="*/ 361269 w 516735"/>
                <a:gd name="connsiteY10" fmla="*/ 719054 h 788699"/>
                <a:gd name="connsiteX11" fmla="*/ 353110 w 516735"/>
                <a:gd name="connsiteY11" fmla="*/ 702737 h 788699"/>
                <a:gd name="connsiteX12" fmla="*/ 350390 w 516735"/>
                <a:gd name="connsiteY12" fmla="*/ 686419 h 788699"/>
                <a:gd name="connsiteX13" fmla="*/ 353110 w 516735"/>
                <a:gd name="connsiteY13" fmla="*/ 659222 h 788699"/>
                <a:gd name="connsiteX14" fmla="*/ 353110 w 516735"/>
                <a:gd name="connsiteY14" fmla="*/ 656502 h 788699"/>
                <a:gd name="connsiteX15" fmla="*/ 317754 w 516735"/>
                <a:gd name="connsiteY15" fmla="*/ 708176 h 788699"/>
                <a:gd name="connsiteX16" fmla="*/ 241604 w 516735"/>
                <a:gd name="connsiteY16" fmla="*/ 735372 h 788699"/>
                <a:gd name="connsiteX17" fmla="*/ 187211 w 516735"/>
                <a:gd name="connsiteY17" fmla="*/ 727214 h 788699"/>
                <a:gd name="connsiteX18" fmla="*/ 135537 w 516735"/>
                <a:gd name="connsiteY18" fmla="*/ 694578 h 788699"/>
                <a:gd name="connsiteX19" fmla="*/ 86583 w 516735"/>
                <a:gd name="connsiteY19" fmla="*/ 621147 h 788699"/>
                <a:gd name="connsiteX20" fmla="*/ 67546 w 516735"/>
                <a:gd name="connsiteY20" fmla="*/ 555875 h 788699"/>
                <a:gd name="connsiteX21" fmla="*/ 59387 w 516735"/>
                <a:gd name="connsiteY21" fmla="*/ 509641 h 788699"/>
                <a:gd name="connsiteX22" fmla="*/ 59387 w 516735"/>
                <a:gd name="connsiteY22" fmla="*/ 468846 h 788699"/>
                <a:gd name="connsiteX23" fmla="*/ 86583 w 516735"/>
                <a:gd name="connsiteY23" fmla="*/ 302947 h 788699"/>
                <a:gd name="connsiteX24" fmla="*/ 108341 w 516735"/>
                <a:gd name="connsiteY24" fmla="*/ 224077 h 788699"/>
                <a:gd name="connsiteX25" fmla="*/ 146416 w 516735"/>
                <a:gd name="connsiteY25" fmla="*/ 145207 h 788699"/>
                <a:gd name="connsiteX26" fmla="*/ 198090 w 516735"/>
                <a:gd name="connsiteY26" fmla="*/ 85375 h 788699"/>
                <a:gd name="connsiteX27" fmla="*/ 228006 w 516735"/>
                <a:gd name="connsiteY27" fmla="*/ 69057 h 788699"/>
                <a:gd name="connsiteX28" fmla="*/ 268801 w 516735"/>
                <a:gd name="connsiteY28" fmla="*/ 58178 h 788699"/>
                <a:gd name="connsiteX29" fmla="*/ 274240 w 516735"/>
                <a:gd name="connsiteY29" fmla="*/ 58178 h 788699"/>
                <a:gd name="connsiteX30" fmla="*/ 295997 w 516735"/>
                <a:gd name="connsiteY30" fmla="*/ 60898 h 788699"/>
                <a:gd name="connsiteX31" fmla="*/ 331353 w 516735"/>
                <a:gd name="connsiteY31" fmla="*/ 71776 h 788699"/>
                <a:gd name="connsiteX32" fmla="*/ 350390 w 516735"/>
                <a:gd name="connsiteY32" fmla="*/ 93534 h 788699"/>
                <a:gd name="connsiteX33" fmla="*/ 353110 w 516735"/>
                <a:gd name="connsiteY33" fmla="*/ 74496 h 788699"/>
                <a:gd name="connsiteX34" fmla="*/ 358549 w 516735"/>
                <a:gd name="connsiteY34" fmla="*/ 63618 h 788699"/>
                <a:gd name="connsiteX35" fmla="*/ 366708 w 516735"/>
                <a:gd name="connsiteY35" fmla="*/ 58178 h 788699"/>
                <a:gd name="connsiteX36" fmla="*/ 374867 w 516735"/>
                <a:gd name="connsiteY36" fmla="*/ 63618 h 788699"/>
                <a:gd name="connsiteX37" fmla="*/ 383027 w 516735"/>
                <a:gd name="connsiteY37" fmla="*/ 82655 h 788699"/>
                <a:gd name="connsiteX38" fmla="*/ 385746 w 516735"/>
                <a:gd name="connsiteY38" fmla="*/ 126170 h 788699"/>
                <a:gd name="connsiteX39" fmla="*/ 388466 w 516735"/>
                <a:gd name="connsiteY39" fmla="*/ 186002 h 788699"/>
                <a:gd name="connsiteX40" fmla="*/ 391185 w 516735"/>
                <a:gd name="connsiteY40" fmla="*/ 237676 h 788699"/>
                <a:gd name="connsiteX41" fmla="*/ 374867 w 516735"/>
                <a:gd name="connsiteY41" fmla="*/ 278470 h 788699"/>
                <a:gd name="connsiteX42" fmla="*/ 358549 w 516735"/>
                <a:gd name="connsiteY42" fmla="*/ 273031 h 788699"/>
                <a:gd name="connsiteX43" fmla="*/ 350390 w 516735"/>
                <a:gd name="connsiteY43" fmla="*/ 256713 h 788699"/>
                <a:gd name="connsiteX44" fmla="*/ 347671 w 516735"/>
                <a:gd name="connsiteY44" fmla="*/ 240395 h 788699"/>
                <a:gd name="connsiteX45" fmla="*/ 347671 w 516735"/>
                <a:gd name="connsiteY45" fmla="*/ 213199 h 788699"/>
                <a:gd name="connsiteX46" fmla="*/ 344951 w 516735"/>
                <a:gd name="connsiteY46" fmla="*/ 194161 h 788699"/>
                <a:gd name="connsiteX47" fmla="*/ 339512 w 516735"/>
                <a:gd name="connsiteY47" fmla="*/ 150647 h 788699"/>
                <a:gd name="connsiteX48" fmla="*/ 323194 w 516735"/>
                <a:gd name="connsiteY48" fmla="*/ 112571 h 788699"/>
                <a:gd name="connsiteX49" fmla="*/ 293278 w 516735"/>
                <a:gd name="connsiteY49" fmla="*/ 101693 h 788699"/>
                <a:gd name="connsiteX50" fmla="*/ 263361 w 516735"/>
                <a:gd name="connsiteY50" fmla="*/ 120730 h 788699"/>
                <a:gd name="connsiteX51" fmla="*/ 241604 w 516735"/>
                <a:gd name="connsiteY51" fmla="*/ 153366 h 788699"/>
                <a:gd name="connsiteX52" fmla="*/ 233445 w 516735"/>
                <a:gd name="connsiteY52" fmla="*/ 194161 h 788699"/>
                <a:gd name="connsiteX53" fmla="*/ 225286 w 516735"/>
                <a:gd name="connsiteY53" fmla="*/ 232236 h 788699"/>
                <a:gd name="connsiteX54" fmla="*/ 217127 w 516735"/>
                <a:gd name="connsiteY54" fmla="*/ 275751 h 788699"/>
                <a:gd name="connsiteX55" fmla="*/ 211688 w 516735"/>
                <a:gd name="connsiteY55" fmla="*/ 316545 h 788699"/>
                <a:gd name="connsiteX56" fmla="*/ 206249 w 516735"/>
                <a:gd name="connsiteY56" fmla="*/ 354621 h 788699"/>
                <a:gd name="connsiteX57" fmla="*/ 200809 w 516735"/>
                <a:gd name="connsiteY57" fmla="*/ 398135 h 788699"/>
                <a:gd name="connsiteX58" fmla="*/ 195370 w 516735"/>
                <a:gd name="connsiteY58" fmla="*/ 438930 h 788699"/>
                <a:gd name="connsiteX59" fmla="*/ 192650 w 516735"/>
                <a:gd name="connsiteY59" fmla="*/ 474286 h 788699"/>
                <a:gd name="connsiteX60" fmla="*/ 195370 w 516735"/>
                <a:gd name="connsiteY60" fmla="*/ 525959 h 788699"/>
                <a:gd name="connsiteX61" fmla="*/ 208968 w 516735"/>
                <a:gd name="connsiteY61" fmla="*/ 596670 h 788699"/>
                <a:gd name="connsiteX62" fmla="*/ 214407 w 516735"/>
                <a:gd name="connsiteY62" fmla="*/ 623867 h 788699"/>
                <a:gd name="connsiteX63" fmla="*/ 228006 w 516735"/>
                <a:gd name="connsiteY63" fmla="*/ 656502 h 788699"/>
                <a:gd name="connsiteX64" fmla="*/ 271520 w 516735"/>
                <a:gd name="connsiteY64" fmla="*/ 689138 h 788699"/>
                <a:gd name="connsiteX65" fmla="*/ 306876 w 516735"/>
                <a:gd name="connsiteY65" fmla="*/ 664661 h 788699"/>
                <a:gd name="connsiteX66" fmla="*/ 331353 w 516735"/>
                <a:gd name="connsiteY66" fmla="*/ 602109 h 788699"/>
                <a:gd name="connsiteX67" fmla="*/ 336792 w 516735"/>
                <a:gd name="connsiteY67" fmla="*/ 544997 h 788699"/>
                <a:gd name="connsiteX68" fmla="*/ 336792 w 516735"/>
                <a:gd name="connsiteY68" fmla="*/ 498762 h 788699"/>
                <a:gd name="connsiteX69" fmla="*/ 336792 w 516735"/>
                <a:gd name="connsiteY69" fmla="*/ 490603 h 788699"/>
                <a:gd name="connsiteX70" fmla="*/ 320474 w 516735"/>
                <a:gd name="connsiteY70" fmla="*/ 477005 h 788699"/>
                <a:gd name="connsiteX71" fmla="*/ 282399 w 516735"/>
                <a:gd name="connsiteY71" fmla="*/ 479725 h 788699"/>
                <a:gd name="connsiteX72" fmla="*/ 252483 w 516735"/>
                <a:gd name="connsiteY72" fmla="*/ 474286 h 788699"/>
                <a:gd name="connsiteX73" fmla="*/ 247044 w 516735"/>
                <a:gd name="connsiteY73" fmla="*/ 466126 h 788699"/>
                <a:gd name="connsiteX74" fmla="*/ 249763 w 516735"/>
                <a:gd name="connsiteY74" fmla="*/ 457968 h 788699"/>
                <a:gd name="connsiteX75" fmla="*/ 268801 w 516735"/>
                <a:gd name="connsiteY75" fmla="*/ 447089 h 788699"/>
                <a:gd name="connsiteX76" fmla="*/ 312315 w 516735"/>
                <a:gd name="connsiteY76" fmla="*/ 436210 h 788699"/>
                <a:gd name="connsiteX77" fmla="*/ 353110 w 516735"/>
                <a:gd name="connsiteY77" fmla="*/ 430771 h 788699"/>
                <a:gd name="connsiteX78" fmla="*/ 385746 w 516735"/>
                <a:gd name="connsiteY78" fmla="*/ 430771 h 788699"/>
                <a:gd name="connsiteX79" fmla="*/ 437420 w 516735"/>
                <a:gd name="connsiteY79" fmla="*/ 428051 h 788699"/>
                <a:gd name="connsiteX80" fmla="*/ 464616 w 516735"/>
                <a:gd name="connsiteY80" fmla="*/ 436210 h 7886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</a:cxnLst>
              <a:rect l="l" t="t" r="r" b="b"/>
              <a:pathLst>
                <a:path w="516735" h="788699">
                  <a:moveTo>
                    <a:pt x="464616" y="436210"/>
                  </a:moveTo>
                  <a:cubicBezTo>
                    <a:pt x="464616" y="447089"/>
                    <a:pt x="453738" y="452528"/>
                    <a:pt x="445578" y="455248"/>
                  </a:cubicBezTo>
                  <a:cubicBezTo>
                    <a:pt x="434700" y="460687"/>
                    <a:pt x="415662" y="463407"/>
                    <a:pt x="404783" y="466126"/>
                  </a:cubicBezTo>
                  <a:cubicBezTo>
                    <a:pt x="393905" y="466126"/>
                    <a:pt x="385746" y="468846"/>
                    <a:pt x="385746" y="479725"/>
                  </a:cubicBezTo>
                  <a:cubicBezTo>
                    <a:pt x="385746" y="487884"/>
                    <a:pt x="388466" y="506921"/>
                    <a:pt x="388466" y="512361"/>
                  </a:cubicBezTo>
                  <a:cubicBezTo>
                    <a:pt x="388466" y="515080"/>
                    <a:pt x="388466" y="539557"/>
                    <a:pt x="388466" y="544997"/>
                  </a:cubicBezTo>
                  <a:cubicBezTo>
                    <a:pt x="388466" y="550436"/>
                    <a:pt x="388466" y="558595"/>
                    <a:pt x="388466" y="566754"/>
                  </a:cubicBezTo>
                  <a:cubicBezTo>
                    <a:pt x="388466" y="591231"/>
                    <a:pt x="388466" y="621147"/>
                    <a:pt x="391185" y="632026"/>
                  </a:cubicBezTo>
                  <a:cubicBezTo>
                    <a:pt x="393905" y="653783"/>
                    <a:pt x="393905" y="661942"/>
                    <a:pt x="393905" y="683699"/>
                  </a:cubicBezTo>
                  <a:cubicBezTo>
                    <a:pt x="393905" y="694578"/>
                    <a:pt x="393905" y="724494"/>
                    <a:pt x="377587" y="724494"/>
                  </a:cubicBezTo>
                  <a:cubicBezTo>
                    <a:pt x="369428" y="724494"/>
                    <a:pt x="366708" y="721774"/>
                    <a:pt x="361269" y="719054"/>
                  </a:cubicBezTo>
                  <a:cubicBezTo>
                    <a:pt x="355830" y="716335"/>
                    <a:pt x="353110" y="708176"/>
                    <a:pt x="353110" y="702737"/>
                  </a:cubicBezTo>
                  <a:cubicBezTo>
                    <a:pt x="350390" y="694578"/>
                    <a:pt x="350390" y="689138"/>
                    <a:pt x="350390" y="686419"/>
                  </a:cubicBezTo>
                  <a:cubicBezTo>
                    <a:pt x="350390" y="678260"/>
                    <a:pt x="353110" y="672820"/>
                    <a:pt x="353110" y="659222"/>
                  </a:cubicBezTo>
                  <a:lnTo>
                    <a:pt x="353110" y="656502"/>
                  </a:lnTo>
                  <a:cubicBezTo>
                    <a:pt x="347671" y="675540"/>
                    <a:pt x="334073" y="694578"/>
                    <a:pt x="317754" y="708176"/>
                  </a:cubicBezTo>
                  <a:cubicBezTo>
                    <a:pt x="293278" y="727214"/>
                    <a:pt x="274240" y="735372"/>
                    <a:pt x="241604" y="735372"/>
                  </a:cubicBezTo>
                  <a:cubicBezTo>
                    <a:pt x="222566" y="735372"/>
                    <a:pt x="203529" y="732653"/>
                    <a:pt x="187211" y="727214"/>
                  </a:cubicBezTo>
                  <a:cubicBezTo>
                    <a:pt x="165454" y="719054"/>
                    <a:pt x="149136" y="708176"/>
                    <a:pt x="135537" y="694578"/>
                  </a:cubicBezTo>
                  <a:cubicBezTo>
                    <a:pt x="113780" y="672820"/>
                    <a:pt x="100182" y="648343"/>
                    <a:pt x="86583" y="621147"/>
                  </a:cubicBezTo>
                  <a:cubicBezTo>
                    <a:pt x="75705" y="599390"/>
                    <a:pt x="70266" y="580352"/>
                    <a:pt x="67546" y="555875"/>
                  </a:cubicBezTo>
                  <a:cubicBezTo>
                    <a:pt x="64826" y="539557"/>
                    <a:pt x="62107" y="525959"/>
                    <a:pt x="59387" y="509641"/>
                  </a:cubicBezTo>
                  <a:cubicBezTo>
                    <a:pt x="56667" y="493323"/>
                    <a:pt x="59387" y="485164"/>
                    <a:pt x="59387" y="468846"/>
                  </a:cubicBezTo>
                  <a:cubicBezTo>
                    <a:pt x="59387" y="414453"/>
                    <a:pt x="72985" y="362780"/>
                    <a:pt x="86583" y="302947"/>
                  </a:cubicBezTo>
                  <a:cubicBezTo>
                    <a:pt x="92023" y="275751"/>
                    <a:pt x="100182" y="248554"/>
                    <a:pt x="108341" y="224077"/>
                  </a:cubicBezTo>
                  <a:cubicBezTo>
                    <a:pt x="116500" y="196881"/>
                    <a:pt x="130098" y="169684"/>
                    <a:pt x="146416" y="145207"/>
                  </a:cubicBezTo>
                  <a:cubicBezTo>
                    <a:pt x="160014" y="123450"/>
                    <a:pt x="176332" y="101693"/>
                    <a:pt x="198090" y="85375"/>
                  </a:cubicBezTo>
                  <a:cubicBezTo>
                    <a:pt x="206249" y="77216"/>
                    <a:pt x="217127" y="71776"/>
                    <a:pt x="228006" y="69057"/>
                  </a:cubicBezTo>
                  <a:cubicBezTo>
                    <a:pt x="241604" y="63618"/>
                    <a:pt x="255202" y="58178"/>
                    <a:pt x="268801" y="58178"/>
                  </a:cubicBezTo>
                  <a:cubicBezTo>
                    <a:pt x="271520" y="58178"/>
                    <a:pt x="274240" y="58178"/>
                    <a:pt x="274240" y="58178"/>
                  </a:cubicBezTo>
                  <a:cubicBezTo>
                    <a:pt x="279679" y="58178"/>
                    <a:pt x="285119" y="58178"/>
                    <a:pt x="295997" y="60898"/>
                  </a:cubicBezTo>
                  <a:cubicBezTo>
                    <a:pt x="309595" y="63618"/>
                    <a:pt x="320474" y="66337"/>
                    <a:pt x="331353" y="71776"/>
                  </a:cubicBezTo>
                  <a:cubicBezTo>
                    <a:pt x="339512" y="77216"/>
                    <a:pt x="347671" y="85375"/>
                    <a:pt x="350390" y="93534"/>
                  </a:cubicBezTo>
                  <a:cubicBezTo>
                    <a:pt x="350390" y="88095"/>
                    <a:pt x="353110" y="79936"/>
                    <a:pt x="353110" y="74496"/>
                  </a:cubicBezTo>
                  <a:cubicBezTo>
                    <a:pt x="355830" y="71776"/>
                    <a:pt x="355830" y="69057"/>
                    <a:pt x="358549" y="63618"/>
                  </a:cubicBezTo>
                  <a:cubicBezTo>
                    <a:pt x="361269" y="60898"/>
                    <a:pt x="363989" y="58178"/>
                    <a:pt x="366708" y="58178"/>
                  </a:cubicBezTo>
                  <a:cubicBezTo>
                    <a:pt x="369428" y="58178"/>
                    <a:pt x="372148" y="60898"/>
                    <a:pt x="374867" y="63618"/>
                  </a:cubicBezTo>
                  <a:cubicBezTo>
                    <a:pt x="377587" y="69057"/>
                    <a:pt x="380307" y="77216"/>
                    <a:pt x="383027" y="82655"/>
                  </a:cubicBezTo>
                  <a:cubicBezTo>
                    <a:pt x="383027" y="90814"/>
                    <a:pt x="385746" y="107132"/>
                    <a:pt x="385746" y="126170"/>
                  </a:cubicBezTo>
                  <a:cubicBezTo>
                    <a:pt x="385746" y="150647"/>
                    <a:pt x="385746" y="177843"/>
                    <a:pt x="388466" y="186002"/>
                  </a:cubicBezTo>
                  <a:cubicBezTo>
                    <a:pt x="391185" y="207759"/>
                    <a:pt x="391185" y="215918"/>
                    <a:pt x="391185" y="237676"/>
                  </a:cubicBezTo>
                  <a:cubicBezTo>
                    <a:pt x="391185" y="248554"/>
                    <a:pt x="391185" y="278470"/>
                    <a:pt x="374867" y="278470"/>
                  </a:cubicBezTo>
                  <a:cubicBezTo>
                    <a:pt x="366708" y="278470"/>
                    <a:pt x="363989" y="275751"/>
                    <a:pt x="358549" y="273031"/>
                  </a:cubicBezTo>
                  <a:cubicBezTo>
                    <a:pt x="353110" y="270311"/>
                    <a:pt x="350390" y="262152"/>
                    <a:pt x="350390" y="256713"/>
                  </a:cubicBezTo>
                  <a:cubicBezTo>
                    <a:pt x="350390" y="251274"/>
                    <a:pt x="347671" y="245834"/>
                    <a:pt x="347671" y="240395"/>
                  </a:cubicBezTo>
                  <a:cubicBezTo>
                    <a:pt x="347671" y="232236"/>
                    <a:pt x="347671" y="224077"/>
                    <a:pt x="347671" y="213199"/>
                  </a:cubicBezTo>
                  <a:cubicBezTo>
                    <a:pt x="347671" y="207759"/>
                    <a:pt x="347671" y="199600"/>
                    <a:pt x="344951" y="194161"/>
                  </a:cubicBezTo>
                  <a:cubicBezTo>
                    <a:pt x="342232" y="180563"/>
                    <a:pt x="342232" y="164245"/>
                    <a:pt x="339512" y="150647"/>
                  </a:cubicBezTo>
                  <a:cubicBezTo>
                    <a:pt x="336792" y="137048"/>
                    <a:pt x="331353" y="123450"/>
                    <a:pt x="323194" y="112571"/>
                  </a:cubicBezTo>
                  <a:cubicBezTo>
                    <a:pt x="317754" y="104412"/>
                    <a:pt x="304156" y="101693"/>
                    <a:pt x="293278" y="101693"/>
                  </a:cubicBezTo>
                  <a:cubicBezTo>
                    <a:pt x="279679" y="101693"/>
                    <a:pt x="271520" y="109852"/>
                    <a:pt x="263361" y="120730"/>
                  </a:cubicBezTo>
                  <a:cubicBezTo>
                    <a:pt x="257922" y="131609"/>
                    <a:pt x="247044" y="139768"/>
                    <a:pt x="241604" y="153366"/>
                  </a:cubicBezTo>
                  <a:cubicBezTo>
                    <a:pt x="236165" y="166964"/>
                    <a:pt x="233445" y="180563"/>
                    <a:pt x="233445" y="194161"/>
                  </a:cubicBezTo>
                  <a:cubicBezTo>
                    <a:pt x="233445" y="207759"/>
                    <a:pt x="230725" y="218638"/>
                    <a:pt x="225286" y="232236"/>
                  </a:cubicBezTo>
                  <a:cubicBezTo>
                    <a:pt x="219847" y="245834"/>
                    <a:pt x="219847" y="262152"/>
                    <a:pt x="217127" y="275751"/>
                  </a:cubicBezTo>
                  <a:cubicBezTo>
                    <a:pt x="214407" y="289349"/>
                    <a:pt x="214407" y="302947"/>
                    <a:pt x="211688" y="316545"/>
                  </a:cubicBezTo>
                  <a:cubicBezTo>
                    <a:pt x="211688" y="330144"/>
                    <a:pt x="206249" y="341022"/>
                    <a:pt x="206249" y="354621"/>
                  </a:cubicBezTo>
                  <a:cubicBezTo>
                    <a:pt x="203529" y="368219"/>
                    <a:pt x="203529" y="381817"/>
                    <a:pt x="200809" y="398135"/>
                  </a:cubicBezTo>
                  <a:cubicBezTo>
                    <a:pt x="198090" y="411733"/>
                    <a:pt x="198090" y="425332"/>
                    <a:pt x="195370" y="438930"/>
                  </a:cubicBezTo>
                  <a:cubicBezTo>
                    <a:pt x="195370" y="449809"/>
                    <a:pt x="192650" y="463407"/>
                    <a:pt x="192650" y="474286"/>
                  </a:cubicBezTo>
                  <a:cubicBezTo>
                    <a:pt x="192650" y="490603"/>
                    <a:pt x="195370" y="509641"/>
                    <a:pt x="195370" y="525959"/>
                  </a:cubicBezTo>
                  <a:cubicBezTo>
                    <a:pt x="195370" y="550436"/>
                    <a:pt x="203529" y="572193"/>
                    <a:pt x="208968" y="596670"/>
                  </a:cubicBezTo>
                  <a:cubicBezTo>
                    <a:pt x="211688" y="604829"/>
                    <a:pt x="211688" y="615708"/>
                    <a:pt x="214407" y="623867"/>
                  </a:cubicBezTo>
                  <a:cubicBezTo>
                    <a:pt x="217127" y="634745"/>
                    <a:pt x="222566" y="645624"/>
                    <a:pt x="228006" y="656502"/>
                  </a:cubicBezTo>
                  <a:cubicBezTo>
                    <a:pt x="236165" y="670101"/>
                    <a:pt x="252483" y="689138"/>
                    <a:pt x="271520" y="689138"/>
                  </a:cubicBezTo>
                  <a:cubicBezTo>
                    <a:pt x="287838" y="689138"/>
                    <a:pt x="298717" y="675540"/>
                    <a:pt x="306876" y="664661"/>
                  </a:cubicBezTo>
                  <a:cubicBezTo>
                    <a:pt x="320474" y="645624"/>
                    <a:pt x="325914" y="623867"/>
                    <a:pt x="331353" y="602109"/>
                  </a:cubicBezTo>
                  <a:cubicBezTo>
                    <a:pt x="334073" y="583072"/>
                    <a:pt x="336792" y="564034"/>
                    <a:pt x="336792" y="544997"/>
                  </a:cubicBezTo>
                  <a:cubicBezTo>
                    <a:pt x="336792" y="531398"/>
                    <a:pt x="336792" y="512361"/>
                    <a:pt x="336792" y="498762"/>
                  </a:cubicBezTo>
                  <a:cubicBezTo>
                    <a:pt x="336792" y="496043"/>
                    <a:pt x="336792" y="493323"/>
                    <a:pt x="336792" y="490603"/>
                  </a:cubicBezTo>
                  <a:cubicBezTo>
                    <a:pt x="336792" y="479725"/>
                    <a:pt x="336792" y="477005"/>
                    <a:pt x="320474" y="477005"/>
                  </a:cubicBezTo>
                  <a:cubicBezTo>
                    <a:pt x="309595" y="477005"/>
                    <a:pt x="295997" y="479725"/>
                    <a:pt x="282399" y="479725"/>
                  </a:cubicBezTo>
                  <a:cubicBezTo>
                    <a:pt x="271520" y="479725"/>
                    <a:pt x="260642" y="479725"/>
                    <a:pt x="252483" y="474286"/>
                  </a:cubicBezTo>
                  <a:cubicBezTo>
                    <a:pt x="249763" y="471566"/>
                    <a:pt x="247044" y="468846"/>
                    <a:pt x="247044" y="466126"/>
                  </a:cubicBezTo>
                  <a:cubicBezTo>
                    <a:pt x="247044" y="463407"/>
                    <a:pt x="247044" y="460687"/>
                    <a:pt x="249763" y="457968"/>
                  </a:cubicBezTo>
                  <a:cubicBezTo>
                    <a:pt x="255202" y="452528"/>
                    <a:pt x="260642" y="449809"/>
                    <a:pt x="268801" y="447089"/>
                  </a:cubicBezTo>
                  <a:cubicBezTo>
                    <a:pt x="282399" y="441650"/>
                    <a:pt x="295997" y="438930"/>
                    <a:pt x="312315" y="436210"/>
                  </a:cubicBezTo>
                  <a:cubicBezTo>
                    <a:pt x="325914" y="433491"/>
                    <a:pt x="339512" y="433491"/>
                    <a:pt x="353110" y="430771"/>
                  </a:cubicBezTo>
                  <a:cubicBezTo>
                    <a:pt x="363989" y="430771"/>
                    <a:pt x="374867" y="430771"/>
                    <a:pt x="385746" y="430771"/>
                  </a:cubicBezTo>
                  <a:cubicBezTo>
                    <a:pt x="402064" y="430771"/>
                    <a:pt x="426541" y="428051"/>
                    <a:pt x="437420" y="428051"/>
                  </a:cubicBezTo>
                  <a:cubicBezTo>
                    <a:pt x="451018" y="422612"/>
                    <a:pt x="464616" y="425332"/>
                    <a:pt x="464616" y="436210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/>
            </a:p>
          </p:txBody>
        </p:sp>
        <p:sp>
          <p:nvSpPr>
            <p:cNvPr id="52" name="Freeform: Shape 51">
              <a:extLst>
                <a:ext uri="{FF2B5EF4-FFF2-40B4-BE49-F238E27FC236}">
                  <a16:creationId xmlns:a16="http://schemas.microsoft.com/office/drawing/2014/main" id="{B88832EF-632C-43A0-AFE1-06D043A20CAF}"/>
                </a:ext>
              </a:extLst>
            </p:cNvPr>
            <p:cNvSpPr/>
            <p:nvPr/>
          </p:nvSpPr>
          <p:spPr>
            <a:xfrm>
              <a:off x="9053923" y="4178559"/>
              <a:ext cx="625521" cy="788700"/>
            </a:xfrm>
            <a:custGeom>
              <a:avLst/>
              <a:gdLst>
                <a:gd name="connsiteX0" fmla="*/ 536838 w 625521"/>
                <a:gd name="connsiteY0" fmla="*/ 680979 h 788699"/>
                <a:gd name="connsiteX1" fmla="*/ 574913 w 625521"/>
                <a:gd name="connsiteY1" fmla="*/ 697297 h 788699"/>
                <a:gd name="connsiteX2" fmla="*/ 566755 w 625521"/>
                <a:gd name="connsiteY2" fmla="*/ 713615 h 788699"/>
                <a:gd name="connsiteX3" fmla="*/ 550437 w 625521"/>
                <a:gd name="connsiteY3" fmla="*/ 721774 h 788699"/>
                <a:gd name="connsiteX4" fmla="*/ 528680 w 625521"/>
                <a:gd name="connsiteY4" fmla="*/ 724494 h 788699"/>
                <a:gd name="connsiteX5" fmla="*/ 417174 w 625521"/>
                <a:gd name="connsiteY5" fmla="*/ 724494 h 788699"/>
                <a:gd name="connsiteX6" fmla="*/ 398136 w 625521"/>
                <a:gd name="connsiteY6" fmla="*/ 724494 h 788699"/>
                <a:gd name="connsiteX7" fmla="*/ 373659 w 625521"/>
                <a:gd name="connsiteY7" fmla="*/ 724494 h 788699"/>
                <a:gd name="connsiteX8" fmla="*/ 346462 w 625521"/>
                <a:gd name="connsiteY8" fmla="*/ 719054 h 788699"/>
                <a:gd name="connsiteX9" fmla="*/ 330144 w 625521"/>
                <a:gd name="connsiteY9" fmla="*/ 702737 h 788699"/>
                <a:gd name="connsiteX10" fmla="*/ 335584 w 625521"/>
                <a:gd name="connsiteY10" fmla="*/ 694578 h 788699"/>
                <a:gd name="connsiteX11" fmla="*/ 357341 w 625521"/>
                <a:gd name="connsiteY11" fmla="*/ 686419 h 788699"/>
                <a:gd name="connsiteX12" fmla="*/ 395416 w 625521"/>
                <a:gd name="connsiteY12" fmla="*/ 680979 h 788699"/>
                <a:gd name="connsiteX13" fmla="*/ 381817 w 625521"/>
                <a:gd name="connsiteY13" fmla="*/ 656502 h 788699"/>
                <a:gd name="connsiteX14" fmla="*/ 379098 w 625521"/>
                <a:gd name="connsiteY14" fmla="*/ 585791 h 788699"/>
                <a:gd name="connsiteX15" fmla="*/ 379098 w 625521"/>
                <a:gd name="connsiteY15" fmla="*/ 517800 h 788699"/>
                <a:gd name="connsiteX16" fmla="*/ 379098 w 625521"/>
                <a:gd name="connsiteY16" fmla="*/ 474286 h 788699"/>
                <a:gd name="connsiteX17" fmla="*/ 379098 w 625521"/>
                <a:gd name="connsiteY17" fmla="*/ 430771 h 788699"/>
                <a:gd name="connsiteX18" fmla="*/ 381817 w 625521"/>
                <a:gd name="connsiteY18" fmla="*/ 411733 h 788699"/>
                <a:gd name="connsiteX19" fmla="*/ 379098 w 625521"/>
                <a:gd name="connsiteY19" fmla="*/ 400855 h 788699"/>
                <a:gd name="connsiteX20" fmla="*/ 370939 w 625521"/>
                <a:gd name="connsiteY20" fmla="*/ 398135 h 788699"/>
                <a:gd name="connsiteX21" fmla="*/ 338304 w 625521"/>
                <a:gd name="connsiteY21" fmla="*/ 400855 h 788699"/>
                <a:gd name="connsiteX22" fmla="*/ 289349 w 625521"/>
                <a:gd name="connsiteY22" fmla="*/ 403575 h 788699"/>
                <a:gd name="connsiteX23" fmla="*/ 264872 w 625521"/>
                <a:gd name="connsiteY23" fmla="*/ 400855 h 788699"/>
                <a:gd name="connsiteX24" fmla="*/ 259433 w 625521"/>
                <a:gd name="connsiteY24" fmla="*/ 406294 h 788699"/>
                <a:gd name="connsiteX25" fmla="*/ 259433 w 625521"/>
                <a:gd name="connsiteY25" fmla="*/ 425332 h 788699"/>
                <a:gd name="connsiteX26" fmla="*/ 259433 w 625521"/>
                <a:gd name="connsiteY26" fmla="*/ 449809 h 788699"/>
                <a:gd name="connsiteX27" fmla="*/ 259433 w 625521"/>
                <a:gd name="connsiteY27" fmla="*/ 471566 h 788699"/>
                <a:gd name="connsiteX28" fmla="*/ 259433 w 625521"/>
                <a:gd name="connsiteY28" fmla="*/ 504202 h 788699"/>
                <a:gd name="connsiteX29" fmla="*/ 259433 w 625521"/>
                <a:gd name="connsiteY29" fmla="*/ 509641 h 788699"/>
                <a:gd name="connsiteX30" fmla="*/ 256714 w 625521"/>
                <a:gd name="connsiteY30" fmla="*/ 542277 h 788699"/>
                <a:gd name="connsiteX31" fmla="*/ 256714 w 625521"/>
                <a:gd name="connsiteY31" fmla="*/ 577632 h 788699"/>
                <a:gd name="connsiteX32" fmla="*/ 256714 w 625521"/>
                <a:gd name="connsiteY32" fmla="*/ 612988 h 788699"/>
                <a:gd name="connsiteX33" fmla="*/ 253994 w 625521"/>
                <a:gd name="connsiteY33" fmla="*/ 656502 h 788699"/>
                <a:gd name="connsiteX34" fmla="*/ 256714 w 625521"/>
                <a:gd name="connsiteY34" fmla="*/ 678260 h 788699"/>
                <a:gd name="connsiteX35" fmla="*/ 286629 w 625521"/>
                <a:gd name="connsiteY35" fmla="*/ 694578 h 788699"/>
                <a:gd name="connsiteX36" fmla="*/ 281191 w 625521"/>
                <a:gd name="connsiteY36" fmla="*/ 710895 h 788699"/>
                <a:gd name="connsiteX37" fmla="*/ 264872 w 625521"/>
                <a:gd name="connsiteY37" fmla="*/ 719054 h 788699"/>
                <a:gd name="connsiteX38" fmla="*/ 243116 w 625521"/>
                <a:gd name="connsiteY38" fmla="*/ 721774 h 788699"/>
                <a:gd name="connsiteX39" fmla="*/ 243116 w 625521"/>
                <a:gd name="connsiteY39" fmla="*/ 721774 h 788699"/>
                <a:gd name="connsiteX40" fmla="*/ 232236 w 625521"/>
                <a:gd name="connsiteY40" fmla="*/ 727214 h 788699"/>
                <a:gd name="connsiteX41" fmla="*/ 224078 w 625521"/>
                <a:gd name="connsiteY41" fmla="*/ 735372 h 788699"/>
                <a:gd name="connsiteX42" fmla="*/ 213199 w 625521"/>
                <a:gd name="connsiteY42" fmla="*/ 738092 h 788699"/>
                <a:gd name="connsiteX43" fmla="*/ 183283 w 625521"/>
                <a:gd name="connsiteY43" fmla="*/ 727214 h 788699"/>
                <a:gd name="connsiteX44" fmla="*/ 175124 w 625521"/>
                <a:gd name="connsiteY44" fmla="*/ 719054 h 788699"/>
                <a:gd name="connsiteX45" fmla="*/ 145208 w 625521"/>
                <a:gd name="connsiteY45" fmla="*/ 719054 h 788699"/>
                <a:gd name="connsiteX46" fmla="*/ 126170 w 625521"/>
                <a:gd name="connsiteY46" fmla="*/ 719054 h 788699"/>
                <a:gd name="connsiteX47" fmla="*/ 101693 w 625521"/>
                <a:gd name="connsiteY47" fmla="*/ 719054 h 788699"/>
                <a:gd name="connsiteX48" fmla="*/ 74496 w 625521"/>
                <a:gd name="connsiteY48" fmla="*/ 713615 h 788699"/>
                <a:gd name="connsiteX49" fmla="*/ 58178 w 625521"/>
                <a:gd name="connsiteY49" fmla="*/ 697297 h 788699"/>
                <a:gd name="connsiteX50" fmla="*/ 63618 w 625521"/>
                <a:gd name="connsiteY50" fmla="*/ 689138 h 788699"/>
                <a:gd name="connsiteX51" fmla="*/ 85375 w 625521"/>
                <a:gd name="connsiteY51" fmla="*/ 680979 h 788699"/>
                <a:gd name="connsiteX52" fmla="*/ 131609 w 625521"/>
                <a:gd name="connsiteY52" fmla="*/ 675540 h 788699"/>
                <a:gd name="connsiteX53" fmla="*/ 131609 w 625521"/>
                <a:gd name="connsiteY53" fmla="*/ 667381 h 788699"/>
                <a:gd name="connsiteX54" fmla="*/ 131609 w 625521"/>
                <a:gd name="connsiteY54" fmla="*/ 651063 h 788699"/>
                <a:gd name="connsiteX55" fmla="*/ 131609 w 625521"/>
                <a:gd name="connsiteY55" fmla="*/ 618427 h 788699"/>
                <a:gd name="connsiteX56" fmla="*/ 131609 w 625521"/>
                <a:gd name="connsiteY56" fmla="*/ 580352 h 788699"/>
                <a:gd name="connsiteX57" fmla="*/ 131609 w 625521"/>
                <a:gd name="connsiteY57" fmla="*/ 531398 h 788699"/>
                <a:gd name="connsiteX58" fmla="*/ 131609 w 625521"/>
                <a:gd name="connsiteY58" fmla="*/ 466126 h 788699"/>
                <a:gd name="connsiteX59" fmla="*/ 131609 w 625521"/>
                <a:gd name="connsiteY59" fmla="*/ 422612 h 788699"/>
                <a:gd name="connsiteX60" fmla="*/ 131609 w 625521"/>
                <a:gd name="connsiteY60" fmla="*/ 411733 h 788699"/>
                <a:gd name="connsiteX61" fmla="*/ 131609 w 625521"/>
                <a:gd name="connsiteY61" fmla="*/ 398135 h 788699"/>
                <a:gd name="connsiteX62" fmla="*/ 126170 w 625521"/>
                <a:gd name="connsiteY62" fmla="*/ 389976 h 788699"/>
                <a:gd name="connsiteX63" fmla="*/ 101693 w 625521"/>
                <a:gd name="connsiteY63" fmla="*/ 387257 h 788699"/>
                <a:gd name="connsiteX64" fmla="*/ 77216 w 625521"/>
                <a:gd name="connsiteY64" fmla="*/ 376378 h 788699"/>
                <a:gd name="connsiteX65" fmla="*/ 82655 w 625521"/>
                <a:gd name="connsiteY65" fmla="*/ 368219 h 788699"/>
                <a:gd name="connsiteX66" fmla="*/ 98973 w 625521"/>
                <a:gd name="connsiteY66" fmla="*/ 360060 h 788699"/>
                <a:gd name="connsiteX67" fmla="*/ 118011 w 625521"/>
                <a:gd name="connsiteY67" fmla="*/ 357340 h 788699"/>
                <a:gd name="connsiteX68" fmla="*/ 131609 w 625521"/>
                <a:gd name="connsiteY68" fmla="*/ 351901 h 788699"/>
                <a:gd name="connsiteX69" fmla="*/ 131609 w 625521"/>
                <a:gd name="connsiteY69" fmla="*/ 343742 h 788699"/>
                <a:gd name="connsiteX70" fmla="*/ 131609 w 625521"/>
                <a:gd name="connsiteY70" fmla="*/ 270311 h 788699"/>
                <a:gd name="connsiteX71" fmla="*/ 137048 w 625521"/>
                <a:gd name="connsiteY71" fmla="*/ 145207 h 788699"/>
                <a:gd name="connsiteX72" fmla="*/ 139768 w 625521"/>
                <a:gd name="connsiteY72" fmla="*/ 123450 h 788699"/>
                <a:gd name="connsiteX73" fmla="*/ 123450 w 625521"/>
                <a:gd name="connsiteY73" fmla="*/ 123450 h 788699"/>
                <a:gd name="connsiteX74" fmla="*/ 118011 w 625521"/>
                <a:gd name="connsiteY74" fmla="*/ 123450 h 788699"/>
                <a:gd name="connsiteX75" fmla="*/ 101693 w 625521"/>
                <a:gd name="connsiteY75" fmla="*/ 123450 h 788699"/>
                <a:gd name="connsiteX76" fmla="*/ 74496 w 625521"/>
                <a:gd name="connsiteY76" fmla="*/ 118011 h 788699"/>
                <a:gd name="connsiteX77" fmla="*/ 58178 w 625521"/>
                <a:gd name="connsiteY77" fmla="*/ 101693 h 788699"/>
                <a:gd name="connsiteX78" fmla="*/ 63618 w 625521"/>
                <a:gd name="connsiteY78" fmla="*/ 93534 h 788699"/>
                <a:gd name="connsiteX79" fmla="*/ 85375 w 625521"/>
                <a:gd name="connsiteY79" fmla="*/ 85375 h 788699"/>
                <a:gd name="connsiteX80" fmla="*/ 137048 w 625521"/>
                <a:gd name="connsiteY80" fmla="*/ 82655 h 788699"/>
                <a:gd name="connsiteX81" fmla="*/ 147927 w 625521"/>
                <a:gd name="connsiteY81" fmla="*/ 82655 h 788699"/>
                <a:gd name="connsiteX82" fmla="*/ 186003 w 625521"/>
                <a:gd name="connsiteY82" fmla="*/ 58178 h 788699"/>
                <a:gd name="connsiteX83" fmla="*/ 226797 w 625521"/>
                <a:gd name="connsiteY83" fmla="*/ 79936 h 788699"/>
                <a:gd name="connsiteX84" fmla="*/ 253994 w 625521"/>
                <a:gd name="connsiteY84" fmla="*/ 79936 h 788699"/>
                <a:gd name="connsiteX85" fmla="*/ 294789 w 625521"/>
                <a:gd name="connsiteY85" fmla="*/ 96253 h 788699"/>
                <a:gd name="connsiteX86" fmla="*/ 283910 w 625521"/>
                <a:gd name="connsiteY86" fmla="*/ 112571 h 788699"/>
                <a:gd name="connsiteX87" fmla="*/ 267592 w 625521"/>
                <a:gd name="connsiteY87" fmla="*/ 120730 h 788699"/>
                <a:gd name="connsiteX88" fmla="*/ 245835 w 625521"/>
                <a:gd name="connsiteY88" fmla="*/ 123450 h 788699"/>
                <a:gd name="connsiteX89" fmla="*/ 237676 w 625521"/>
                <a:gd name="connsiteY89" fmla="*/ 123450 h 788699"/>
                <a:gd name="connsiteX90" fmla="*/ 240396 w 625521"/>
                <a:gd name="connsiteY90" fmla="*/ 128889 h 788699"/>
                <a:gd name="connsiteX91" fmla="*/ 251274 w 625521"/>
                <a:gd name="connsiteY91" fmla="*/ 177843 h 788699"/>
                <a:gd name="connsiteX92" fmla="*/ 256714 w 625521"/>
                <a:gd name="connsiteY92" fmla="*/ 226797 h 788699"/>
                <a:gd name="connsiteX93" fmla="*/ 262153 w 625521"/>
                <a:gd name="connsiteY93" fmla="*/ 273031 h 788699"/>
                <a:gd name="connsiteX94" fmla="*/ 262153 w 625521"/>
                <a:gd name="connsiteY94" fmla="*/ 289349 h 788699"/>
                <a:gd name="connsiteX95" fmla="*/ 262153 w 625521"/>
                <a:gd name="connsiteY95" fmla="*/ 297508 h 788699"/>
                <a:gd name="connsiteX96" fmla="*/ 264872 w 625521"/>
                <a:gd name="connsiteY96" fmla="*/ 321985 h 788699"/>
                <a:gd name="connsiteX97" fmla="*/ 270312 w 625521"/>
                <a:gd name="connsiteY97" fmla="*/ 335583 h 788699"/>
                <a:gd name="connsiteX98" fmla="*/ 270312 w 625521"/>
                <a:gd name="connsiteY98" fmla="*/ 338303 h 788699"/>
                <a:gd name="connsiteX99" fmla="*/ 270312 w 625521"/>
                <a:gd name="connsiteY99" fmla="*/ 346462 h 788699"/>
                <a:gd name="connsiteX100" fmla="*/ 278471 w 625521"/>
                <a:gd name="connsiteY100" fmla="*/ 354621 h 788699"/>
                <a:gd name="connsiteX101" fmla="*/ 338304 w 625521"/>
                <a:gd name="connsiteY101" fmla="*/ 349181 h 788699"/>
                <a:gd name="connsiteX102" fmla="*/ 365500 w 625521"/>
                <a:gd name="connsiteY102" fmla="*/ 349181 h 788699"/>
                <a:gd name="connsiteX103" fmla="*/ 381817 w 625521"/>
                <a:gd name="connsiteY103" fmla="*/ 349181 h 788699"/>
                <a:gd name="connsiteX104" fmla="*/ 392697 w 625521"/>
                <a:gd name="connsiteY104" fmla="*/ 338303 h 788699"/>
                <a:gd name="connsiteX105" fmla="*/ 389977 w 625521"/>
                <a:gd name="connsiteY105" fmla="*/ 313826 h 788699"/>
                <a:gd name="connsiteX106" fmla="*/ 392697 w 625521"/>
                <a:gd name="connsiteY106" fmla="*/ 262152 h 788699"/>
                <a:gd name="connsiteX107" fmla="*/ 395416 w 625521"/>
                <a:gd name="connsiteY107" fmla="*/ 224077 h 788699"/>
                <a:gd name="connsiteX108" fmla="*/ 398136 w 625521"/>
                <a:gd name="connsiteY108" fmla="*/ 177843 h 788699"/>
                <a:gd name="connsiteX109" fmla="*/ 395416 w 625521"/>
                <a:gd name="connsiteY109" fmla="*/ 153366 h 788699"/>
                <a:gd name="connsiteX110" fmla="*/ 395416 w 625521"/>
                <a:gd name="connsiteY110" fmla="*/ 137048 h 788699"/>
                <a:gd name="connsiteX111" fmla="*/ 379098 w 625521"/>
                <a:gd name="connsiteY111" fmla="*/ 137048 h 788699"/>
                <a:gd name="connsiteX112" fmla="*/ 351902 w 625521"/>
                <a:gd name="connsiteY112" fmla="*/ 131609 h 788699"/>
                <a:gd name="connsiteX113" fmla="*/ 338304 w 625521"/>
                <a:gd name="connsiteY113" fmla="*/ 115291 h 788699"/>
                <a:gd name="connsiteX114" fmla="*/ 343742 w 625521"/>
                <a:gd name="connsiteY114" fmla="*/ 107132 h 788699"/>
                <a:gd name="connsiteX115" fmla="*/ 362780 w 625521"/>
                <a:gd name="connsiteY115" fmla="*/ 98973 h 788699"/>
                <a:gd name="connsiteX116" fmla="*/ 395416 w 625521"/>
                <a:gd name="connsiteY116" fmla="*/ 96253 h 788699"/>
                <a:gd name="connsiteX117" fmla="*/ 403575 w 625521"/>
                <a:gd name="connsiteY117" fmla="*/ 90814 h 788699"/>
                <a:gd name="connsiteX118" fmla="*/ 422612 w 625521"/>
                <a:gd name="connsiteY118" fmla="*/ 88095 h 788699"/>
                <a:gd name="connsiteX119" fmla="*/ 428052 w 625521"/>
                <a:gd name="connsiteY119" fmla="*/ 88095 h 788699"/>
                <a:gd name="connsiteX120" fmla="*/ 447090 w 625521"/>
                <a:gd name="connsiteY120" fmla="*/ 90814 h 788699"/>
                <a:gd name="connsiteX121" fmla="*/ 455249 w 625521"/>
                <a:gd name="connsiteY121" fmla="*/ 96253 h 788699"/>
                <a:gd name="connsiteX122" fmla="*/ 525960 w 625521"/>
                <a:gd name="connsiteY122" fmla="*/ 93534 h 788699"/>
                <a:gd name="connsiteX123" fmla="*/ 561315 w 625521"/>
                <a:gd name="connsiteY123" fmla="*/ 109852 h 788699"/>
                <a:gd name="connsiteX124" fmla="*/ 555876 w 625521"/>
                <a:gd name="connsiteY124" fmla="*/ 126170 h 788699"/>
                <a:gd name="connsiteX125" fmla="*/ 539558 w 625521"/>
                <a:gd name="connsiteY125" fmla="*/ 134329 h 788699"/>
                <a:gd name="connsiteX126" fmla="*/ 517800 w 625521"/>
                <a:gd name="connsiteY126" fmla="*/ 137048 h 788699"/>
                <a:gd name="connsiteX127" fmla="*/ 477006 w 625521"/>
                <a:gd name="connsiteY127" fmla="*/ 137048 h 788699"/>
                <a:gd name="connsiteX128" fmla="*/ 485165 w 625521"/>
                <a:gd name="connsiteY128" fmla="*/ 161525 h 788699"/>
                <a:gd name="connsiteX129" fmla="*/ 496043 w 625521"/>
                <a:gd name="connsiteY129" fmla="*/ 210479 h 788699"/>
                <a:gd name="connsiteX130" fmla="*/ 501483 w 625521"/>
                <a:gd name="connsiteY130" fmla="*/ 251274 h 788699"/>
                <a:gd name="connsiteX131" fmla="*/ 506922 w 625521"/>
                <a:gd name="connsiteY131" fmla="*/ 292069 h 788699"/>
                <a:gd name="connsiteX132" fmla="*/ 506922 w 625521"/>
                <a:gd name="connsiteY132" fmla="*/ 321985 h 788699"/>
                <a:gd name="connsiteX133" fmla="*/ 509642 w 625521"/>
                <a:gd name="connsiteY133" fmla="*/ 341022 h 788699"/>
                <a:gd name="connsiteX134" fmla="*/ 509642 w 625521"/>
                <a:gd name="connsiteY134" fmla="*/ 343742 h 788699"/>
                <a:gd name="connsiteX135" fmla="*/ 517800 w 625521"/>
                <a:gd name="connsiteY135" fmla="*/ 349181 h 788699"/>
                <a:gd name="connsiteX136" fmla="*/ 528680 w 625521"/>
                <a:gd name="connsiteY136" fmla="*/ 349181 h 788699"/>
                <a:gd name="connsiteX137" fmla="*/ 550437 w 625521"/>
                <a:gd name="connsiteY137" fmla="*/ 357340 h 788699"/>
                <a:gd name="connsiteX138" fmla="*/ 550437 w 625521"/>
                <a:gd name="connsiteY138" fmla="*/ 362780 h 788699"/>
                <a:gd name="connsiteX139" fmla="*/ 534119 w 625521"/>
                <a:gd name="connsiteY139" fmla="*/ 384537 h 788699"/>
                <a:gd name="connsiteX140" fmla="*/ 520520 w 625521"/>
                <a:gd name="connsiteY140" fmla="*/ 389976 h 788699"/>
                <a:gd name="connsiteX141" fmla="*/ 512362 w 625521"/>
                <a:gd name="connsiteY141" fmla="*/ 395415 h 788699"/>
                <a:gd name="connsiteX142" fmla="*/ 512362 w 625521"/>
                <a:gd name="connsiteY142" fmla="*/ 398135 h 788699"/>
                <a:gd name="connsiteX143" fmla="*/ 512362 w 625521"/>
                <a:gd name="connsiteY143" fmla="*/ 409014 h 788699"/>
                <a:gd name="connsiteX144" fmla="*/ 512362 w 625521"/>
                <a:gd name="connsiteY144" fmla="*/ 414453 h 788699"/>
                <a:gd name="connsiteX145" fmla="*/ 512362 w 625521"/>
                <a:gd name="connsiteY145" fmla="*/ 438930 h 788699"/>
                <a:gd name="connsiteX146" fmla="*/ 515081 w 625521"/>
                <a:gd name="connsiteY146" fmla="*/ 504202 h 788699"/>
                <a:gd name="connsiteX147" fmla="*/ 520520 w 625521"/>
                <a:gd name="connsiteY147" fmla="*/ 572193 h 788699"/>
                <a:gd name="connsiteX148" fmla="*/ 517800 w 625521"/>
                <a:gd name="connsiteY148" fmla="*/ 604829 h 788699"/>
                <a:gd name="connsiteX149" fmla="*/ 512362 w 625521"/>
                <a:gd name="connsiteY149" fmla="*/ 661942 h 788699"/>
                <a:gd name="connsiteX150" fmla="*/ 509642 w 625521"/>
                <a:gd name="connsiteY150" fmla="*/ 670101 h 788699"/>
                <a:gd name="connsiteX151" fmla="*/ 512362 w 625521"/>
                <a:gd name="connsiteY151" fmla="*/ 680979 h 788699"/>
                <a:gd name="connsiteX152" fmla="*/ 512362 w 625521"/>
                <a:gd name="connsiteY152" fmla="*/ 686419 h 788699"/>
                <a:gd name="connsiteX153" fmla="*/ 536838 w 625521"/>
                <a:gd name="connsiteY153" fmla="*/ 680979 h 788699"/>
                <a:gd name="connsiteX154" fmla="*/ 536838 w 625521"/>
                <a:gd name="connsiteY154" fmla="*/ 680979 h 7886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</a:cxnLst>
              <a:rect l="l" t="t" r="r" b="b"/>
              <a:pathLst>
                <a:path w="625521" h="788699">
                  <a:moveTo>
                    <a:pt x="536838" y="680979"/>
                  </a:moveTo>
                  <a:cubicBezTo>
                    <a:pt x="550437" y="680979"/>
                    <a:pt x="574913" y="680979"/>
                    <a:pt x="574913" y="697297"/>
                  </a:cubicBezTo>
                  <a:cubicBezTo>
                    <a:pt x="574913" y="705456"/>
                    <a:pt x="572194" y="708176"/>
                    <a:pt x="566755" y="713615"/>
                  </a:cubicBezTo>
                  <a:cubicBezTo>
                    <a:pt x="561315" y="719054"/>
                    <a:pt x="555876" y="721774"/>
                    <a:pt x="550437" y="721774"/>
                  </a:cubicBezTo>
                  <a:cubicBezTo>
                    <a:pt x="539558" y="724494"/>
                    <a:pt x="534119" y="724494"/>
                    <a:pt x="528680" y="724494"/>
                  </a:cubicBezTo>
                  <a:cubicBezTo>
                    <a:pt x="517800" y="724494"/>
                    <a:pt x="428052" y="724494"/>
                    <a:pt x="417174" y="724494"/>
                  </a:cubicBezTo>
                  <a:cubicBezTo>
                    <a:pt x="403575" y="724494"/>
                    <a:pt x="414454" y="724494"/>
                    <a:pt x="398136" y="724494"/>
                  </a:cubicBezTo>
                  <a:cubicBezTo>
                    <a:pt x="389977" y="724494"/>
                    <a:pt x="381817" y="724494"/>
                    <a:pt x="373659" y="724494"/>
                  </a:cubicBezTo>
                  <a:cubicBezTo>
                    <a:pt x="365500" y="724494"/>
                    <a:pt x="354621" y="721774"/>
                    <a:pt x="346462" y="719054"/>
                  </a:cubicBezTo>
                  <a:cubicBezTo>
                    <a:pt x="338304" y="716335"/>
                    <a:pt x="330144" y="708176"/>
                    <a:pt x="330144" y="702737"/>
                  </a:cubicBezTo>
                  <a:cubicBezTo>
                    <a:pt x="330144" y="700017"/>
                    <a:pt x="330144" y="697297"/>
                    <a:pt x="335584" y="694578"/>
                  </a:cubicBezTo>
                  <a:cubicBezTo>
                    <a:pt x="341023" y="691858"/>
                    <a:pt x="351902" y="689138"/>
                    <a:pt x="357341" y="686419"/>
                  </a:cubicBezTo>
                  <a:cubicBezTo>
                    <a:pt x="373659" y="683699"/>
                    <a:pt x="387257" y="680979"/>
                    <a:pt x="395416" y="680979"/>
                  </a:cubicBezTo>
                  <a:cubicBezTo>
                    <a:pt x="387257" y="675540"/>
                    <a:pt x="384537" y="670101"/>
                    <a:pt x="381817" y="656502"/>
                  </a:cubicBezTo>
                  <a:cubicBezTo>
                    <a:pt x="379098" y="632026"/>
                    <a:pt x="379098" y="610268"/>
                    <a:pt x="379098" y="585791"/>
                  </a:cubicBezTo>
                  <a:cubicBezTo>
                    <a:pt x="379098" y="564034"/>
                    <a:pt x="379098" y="542277"/>
                    <a:pt x="379098" y="517800"/>
                  </a:cubicBezTo>
                  <a:cubicBezTo>
                    <a:pt x="379098" y="504202"/>
                    <a:pt x="379098" y="487884"/>
                    <a:pt x="379098" y="474286"/>
                  </a:cubicBezTo>
                  <a:cubicBezTo>
                    <a:pt x="379098" y="457968"/>
                    <a:pt x="376379" y="444369"/>
                    <a:pt x="379098" y="430771"/>
                  </a:cubicBezTo>
                  <a:cubicBezTo>
                    <a:pt x="379098" y="425332"/>
                    <a:pt x="381817" y="417173"/>
                    <a:pt x="381817" y="411733"/>
                  </a:cubicBezTo>
                  <a:cubicBezTo>
                    <a:pt x="381817" y="406294"/>
                    <a:pt x="381817" y="403575"/>
                    <a:pt x="379098" y="400855"/>
                  </a:cubicBezTo>
                  <a:cubicBezTo>
                    <a:pt x="376379" y="400855"/>
                    <a:pt x="373659" y="398135"/>
                    <a:pt x="370939" y="398135"/>
                  </a:cubicBezTo>
                  <a:cubicBezTo>
                    <a:pt x="360061" y="398135"/>
                    <a:pt x="343742" y="400855"/>
                    <a:pt x="338304" y="400855"/>
                  </a:cubicBezTo>
                  <a:cubicBezTo>
                    <a:pt x="330144" y="400855"/>
                    <a:pt x="319266" y="403575"/>
                    <a:pt x="289349" y="403575"/>
                  </a:cubicBezTo>
                  <a:cubicBezTo>
                    <a:pt x="275751" y="403575"/>
                    <a:pt x="267592" y="400855"/>
                    <a:pt x="264872" y="400855"/>
                  </a:cubicBezTo>
                  <a:cubicBezTo>
                    <a:pt x="262153" y="400855"/>
                    <a:pt x="259433" y="400855"/>
                    <a:pt x="259433" y="406294"/>
                  </a:cubicBezTo>
                  <a:cubicBezTo>
                    <a:pt x="259433" y="414453"/>
                    <a:pt x="259433" y="419892"/>
                    <a:pt x="259433" y="425332"/>
                  </a:cubicBezTo>
                  <a:cubicBezTo>
                    <a:pt x="259433" y="433491"/>
                    <a:pt x="259433" y="441650"/>
                    <a:pt x="259433" y="449809"/>
                  </a:cubicBezTo>
                  <a:cubicBezTo>
                    <a:pt x="259433" y="457968"/>
                    <a:pt x="259433" y="463407"/>
                    <a:pt x="259433" y="471566"/>
                  </a:cubicBezTo>
                  <a:cubicBezTo>
                    <a:pt x="259433" y="482445"/>
                    <a:pt x="259433" y="493323"/>
                    <a:pt x="259433" y="504202"/>
                  </a:cubicBezTo>
                  <a:cubicBezTo>
                    <a:pt x="259433" y="506921"/>
                    <a:pt x="259433" y="506921"/>
                    <a:pt x="259433" y="509641"/>
                  </a:cubicBezTo>
                  <a:cubicBezTo>
                    <a:pt x="259433" y="520520"/>
                    <a:pt x="256714" y="531398"/>
                    <a:pt x="256714" y="542277"/>
                  </a:cubicBezTo>
                  <a:cubicBezTo>
                    <a:pt x="256714" y="553156"/>
                    <a:pt x="256714" y="566754"/>
                    <a:pt x="256714" y="577632"/>
                  </a:cubicBezTo>
                  <a:cubicBezTo>
                    <a:pt x="256714" y="588511"/>
                    <a:pt x="256714" y="599390"/>
                    <a:pt x="256714" y="612988"/>
                  </a:cubicBezTo>
                  <a:cubicBezTo>
                    <a:pt x="256714" y="629306"/>
                    <a:pt x="253994" y="642904"/>
                    <a:pt x="253994" y="656502"/>
                  </a:cubicBezTo>
                  <a:cubicBezTo>
                    <a:pt x="253994" y="664661"/>
                    <a:pt x="256714" y="672820"/>
                    <a:pt x="256714" y="678260"/>
                  </a:cubicBezTo>
                  <a:cubicBezTo>
                    <a:pt x="270312" y="678260"/>
                    <a:pt x="286629" y="680979"/>
                    <a:pt x="286629" y="694578"/>
                  </a:cubicBezTo>
                  <a:cubicBezTo>
                    <a:pt x="286629" y="702737"/>
                    <a:pt x="283910" y="705456"/>
                    <a:pt x="281191" y="710895"/>
                  </a:cubicBezTo>
                  <a:cubicBezTo>
                    <a:pt x="275751" y="716335"/>
                    <a:pt x="270312" y="719054"/>
                    <a:pt x="264872" y="719054"/>
                  </a:cubicBezTo>
                  <a:cubicBezTo>
                    <a:pt x="256714" y="721774"/>
                    <a:pt x="248554" y="721774"/>
                    <a:pt x="243116" y="721774"/>
                  </a:cubicBezTo>
                  <a:cubicBezTo>
                    <a:pt x="243116" y="721774"/>
                    <a:pt x="243116" y="721774"/>
                    <a:pt x="243116" y="721774"/>
                  </a:cubicBezTo>
                  <a:cubicBezTo>
                    <a:pt x="237676" y="724494"/>
                    <a:pt x="237676" y="724494"/>
                    <a:pt x="232236" y="727214"/>
                  </a:cubicBezTo>
                  <a:cubicBezTo>
                    <a:pt x="229517" y="729933"/>
                    <a:pt x="229517" y="732653"/>
                    <a:pt x="224078" y="735372"/>
                  </a:cubicBezTo>
                  <a:cubicBezTo>
                    <a:pt x="221358" y="738092"/>
                    <a:pt x="215919" y="738092"/>
                    <a:pt x="213199" y="738092"/>
                  </a:cubicBezTo>
                  <a:cubicBezTo>
                    <a:pt x="199601" y="738092"/>
                    <a:pt x="188722" y="735372"/>
                    <a:pt x="183283" y="727214"/>
                  </a:cubicBezTo>
                  <a:cubicBezTo>
                    <a:pt x="180563" y="724494"/>
                    <a:pt x="177843" y="721774"/>
                    <a:pt x="175124" y="719054"/>
                  </a:cubicBezTo>
                  <a:cubicBezTo>
                    <a:pt x="161526" y="719054"/>
                    <a:pt x="150646" y="719054"/>
                    <a:pt x="145208" y="719054"/>
                  </a:cubicBezTo>
                  <a:cubicBezTo>
                    <a:pt x="131609" y="719054"/>
                    <a:pt x="142488" y="719054"/>
                    <a:pt x="126170" y="719054"/>
                  </a:cubicBezTo>
                  <a:cubicBezTo>
                    <a:pt x="118011" y="719054"/>
                    <a:pt x="109852" y="719054"/>
                    <a:pt x="101693" y="719054"/>
                  </a:cubicBezTo>
                  <a:cubicBezTo>
                    <a:pt x="93534" y="719054"/>
                    <a:pt x="82655" y="719054"/>
                    <a:pt x="74496" y="713615"/>
                  </a:cubicBezTo>
                  <a:cubicBezTo>
                    <a:pt x="66338" y="710895"/>
                    <a:pt x="58178" y="702737"/>
                    <a:pt x="58178" y="697297"/>
                  </a:cubicBezTo>
                  <a:cubicBezTo>
                    <a:pt x="58178" y="694578"/>
                    <a:pt x="58178" y="691858"/>
                    <a:pt x="63618" y="689138"/>
                  </a:cubicBezTo>
                  <a:cubicBezTo>
                    <a:pt x="69057" y="686419"/>
                    <a:pt x="79936" y="683699"/>
                    <a:pt x="85375" y="680979"/>
                  </a:cubicBezTo>
                  <a:cubicBezTo>
                    <a:pt x="98973" y="678260"/>
                    <a:pt x="118011" y="678260"/>
                    <a:pt x="131609" y="675540"/>
                  </a:cubicBezTo>
                  <a:cubicBezTo>
                    <a:pt x="131609" y="672820"/>
                    <a:pt x="131609" y="670101"/>
                    <a:pt x="131609" y="667381"/>
                  </a:cubicBezTo>
                  <a:cubicBezTo>
                    <a:pt x="131609" y="661942"/>
                    <a:pt x="131609" y="656502"/>
                    <a:pt x="131609" y="651063"/>
                  </a:cubicBezTo>
                  <a:cubicBezTo>
                    <a:pt x="131609" y="640184"/>
                    <a:pt x="131609" y="629306"/>
                    <a:pt x="131609" y="618427"/>
                  </a:cubicBezTo>
                  <a:cubicBezTo>
                    <a:pt x="131609" y="604829"/>
                    <a:pt x="131609" y="593950"/>
                    <a:pt x="131609" y="580352"/>
                  </a:cubicBezTo>
                  <a:cubicBezTo>
                    <a:pt x="131609" y="564034"/>
                    <a:pt x="131609" y="547716"/>
                    <a:pt x="131609" y="531398"/>
                  </a:cubicBezTo>
                  <a:cubicBezTo>
                    <a:pt x="131609" y="509641"/>
                    <a:pt x="131609" y="487884"/>
                    <a:pt x="131609" y="466126"/>
                  </a:cubicBezTo>
                  <a:cubicBezTo>
                    <a:pt x="131609" y="452528"/>
                    <a:pt x="131609" y="436210"/>
                    <a:pt x="131609" y="422612"/>
                  </a:cubicBezTo>
                  <a:cubicBezTo>
                    <a:pt x="131609" y="419892"/>
                    <a:pt x="131609" y="414453"/>
                    <a:pt x="131609" y="411733"/>
                  </a:cubicBezTo>
                  <a:cubicBezTo>
                    <a:pt x="131609" y="409014"/>
                    <a:pt x="131609" y="400855"/>
                    <a:pt x="131609" y="398135"/>
                  </a:cubicBezTo>
                  <a:cubicBezTo>
                    <a:pt x="131609" y="392696"/>
                    <a:pt x="131609" y="392696"/>
                    <a:pt x="126170" y="389976"/>
                  </a:cubicBezTo>
                  <a:cubicBezTo>
                    <a:pt x="123450" y="389976"/>
                    <a:pt x="109852" y="387257"/>
                    <a:pt x="101693" y="387257"/>
                  </a:cubicBezTo>
                  <a:cubicBezTo>
                    <a:pt x="90814" y="384537"/>
                    <a:pt x="77216" y="381817"/>
                    <a:pt x="77216" y="376378"/>
                  </a:cubicBezTo>
                  <a:cubicBezTo>
                    <a:pt x="77216" y="373658"/>
                    <a:pt x="79936" y="370939"/>
                    <a:pt x="82655" y="368219"/>
                  </a:cubicBezTo>
                  <a:cubicBezTo>
                    <a:pt x="88095" y="365499"/>
                    <a:pt x="93534" y="362780"/>
                    <a:pt x="98973" y="360060"/>
                  </a:cubicBezTo>
                  <a:cubicBezTo>
                    <a:pt x="104413" y="360060"/>
                    <a:pt x="112571" y="357340"/>
                    <a:pt x="118011" y="357340"/>
                  </a:cubicBezTo>
                  <a:cubicBezTo>
                    <a:pt x="126170" y="354621"/>
                    <a:pt x="128890" y="357340"/>
                    <a:pt x="131609" y="351901"/>
                  </a:cubicBezTo>
                  <a:cubicBezTo>
                    <a:pt x="131609" y="349181"/>
                    <a:pt x="131609" y="346462"/>
                    <a:pt x="131609" y="343742"/>
                  </a:cubicBezTo>
                  <a:cubicBezTo>
                    <a:pt x="131609" y="319265"/>
                    <a:pt x="131609" y="294788"/>
                    <a:pt x="131609" y="270311"/>
                  </a:cubicBezTo>
                  <a:cubicBezTo>
                    <a:pt x="131609" y="226797"/>
                    <a:pt x="131609" y="186002"/>
                    <a:pt x="137048" y="145207"/>
                  </a:cubicBezTo>
                  <a:cubicBezTo>
                    <a:pt x="137048" y="139768"/>
                    <a:pt x="137048" y="131609"/>
                    <a:pt x="139768" y="123450"/>
                  </a:cubicBezTo>
                  <a:cubicBezTo>
                    <a:pt x="134329" y="123450"/>
                    <a:pt x="137048" y="123450"/>
                    <a:pt x="123450" y="123450"/>
                  </a:cubicBezTo>
                  <a:cubicBezTo>
                    <a:pt x="120731" y="123450"/>
                    <a:pt x="120731" y="123450"/>
                    <a:pt x="118011" y="123450"/>
                  </a:cubicBezTo>
                  <a:cubicBezTo>
                    <a:pt x="112571" y="123450"/>
                    <a:pt x="107133" y="123450"/>
                    <a:pt x="101693" y="123450"/>
                  </a:cubicBezTo>
                  <a:cubicBezTo>
                    <a:pt x="93534" y="123450"/>
                    <a:pt x="82655" y="120730"/>
                    <a:pt x="74496" y="118011"/>
                  </a:cubicBezTo>
                  <a:cubicBezTo>
                    <a:pt x="66338" y="115291"/>
                    <a:pt x="58178" y="107132"/>
                    <a:pt x="58178" y="101693"/>
                  </a:cubicBezTo>
                  <a:cubicBezTo>
                    <a:pt x="58178" y="98973"/>
                    <a:pt x="58178" y="96253"/>
                    <a:pt x="63618" y="93534"/>
                  </a:cubicBezTo>
                  <a:cubicBezTo>
                    <a:pt x="66338" y="90814"/>
                    <a:pt x="77216" y="88095"/>
                    <a:pt x="85375" y="85375"/>
                  </a:cubicBezTo>
                  <a:cubicBezTo>
                    <a:pt x="104413" y="82655"/>
                    <a:pt x="128890" y="82655"/>
                    <a:pt x="137048" y="82655"/>
                  </a:cubicBezTo>
                  <a:cubicBezTo>
                    <a:pt x="139768" y="82655"/>
                    <a:pt x="142488" y="82655"/>
                    <a:pt x="147927" y="82655"/>
                  </a:cubicBezTo>
                  <a:cubicBezTo>
                    <a:pt x="153366" y="69057"/>
                    <a:pt x="164245" y="58178"/>
                    <a:pt x="186003" y="58178"/>
                  </a:cubicBezTo>
                  <a:cubicBezTo>
                    <a:pt x="202321" y="58178"/>
                    <a:pt x="215919" y="66337"/>
                    <a:pt x="226797" y="79936"/>
                  </a:cubicBezTo>
                  <a:cubicBezTo>
                    <a:pt x="237676" y="79936"/>
                    <a:pt x="248554" y="79936"/>
                    <a:pt x="253994" y="79936"/>
                  </a:cubicBezTo>
                  <a:cubicBezTo>
                    <a:pt x="267592" y="79936"/>
                    <a:pt x="294789" y="79936"/>
                    <a:pt x="294789" y="96253"/>
                  </a:cubicBezTo>
                  <a:cubicBezTo>
                    <a:pt x="294789" y="104412"/>
                    <a:pt x="289349" y="107132"/>
                    <a:pt x="283910" y="112571"/>
                  </a:cubicBezTo>
                  <a:cubicBezTo>
                    <a:pt x="278471" y="118011"/>
                    <a:pt x="273031" y="120730"/>
                    <a:pt x="267592" y="120730"/>
                  </a:cubicBezTo>
                  <a:cubicBezTo>
                    <a:pt x="259433" y="123450"/>
                    <a:pt x="251274" y="123450"/>
                    <a:pt x="245835" y="123450"/>
                  </a:cubicBezTo>
                  <a:cubicBezTo>
                    <a:pt x="245835" y="123450"/>
                    <a:pt x="243116" y="123450"/>
                    <a:pt x="237676" y="123450"/>
                  </a:cubicBezTo>
                  <a:cubicBezTo>
                    <a:pt x="237676" y="126170"/>
                    <a:pt x="237676" y="126170"/>
                    <a:pt x="240396" y="128889"/>
                  </a:cubicBezTo>
                  <a:cubicBezTo>
                    <a:pt x="245835" y="145207"/>
                    <a:pt x="248554" y="161525"/>
                    <a:pt x="251274" y="177843"/>
                  </a:cubicBezTo>
                  <a:cubicBezTo>
                    <a:pt x="253994" y="194161"/>
                    <a:pt x="253994" y="210479"/>
                    <a:pt x="256714" y="226797"/>
                  </a:cubicBezTo>
                  <a:cubicBezTo>
                    <a:pt x="259433" y="243115"/>
                    <a:pt x="262153" y="256713"/>
                    <a:pt x="262153" y="273031"/>
                  </a:cubicBezTo>
                  <a:cubicBezTo>
                    <a:pt x="262153" y="278470"/>
                    <a:pt x="262153" y="283910"/>
                    <a:pt x="262153" y="289349"/>
                  </a:cubicBezTo>
                  <a:lnTo>
                    <a:pt x="262153" y="297508"/>
                  </a:lnTo>
                  <a:cubicBezTo>
                    <a:pt x="262153" y="305667"/>
                    <a:pt x="262153" y="313826"/>
                    <a:pt x="264872" y="321985"/>
                  </a:cubicBezTo>
                  <a:cubicBezTo>
                    <a:pt x="264872" y="327424"/>
                    <a:pt x="270312" y="330144"/>
                    <a:pt x="270312" y="335583"/>
                  </a:cubicBezTo>
                  <a:cubicBezTo>
                    <a:pt x="270312" y="335583"/>
                    <a:pt x="270312" y="338303"/>
                    <a:pt x="270312" y="338303"/>
                  </a:cubicBezTo>
                  <a:cubicBezTo>
                    <a:pt x="270312" y="341022"/>
                    <a:pt x="270312" y="343742"/>
                    <a:pt x="270312" y="346462"/>
                  </a:cubicBezTo>
                  <a:cubicBezTo>
                    <a:pt x="270312" y="351901"/>
                    <a:pt x="273031" y="354621"/>
                    <a:pt x="278471" y="354621"/>
                  </a:cubicBezTo>
                  <a:cubicBezTo>
                    <a:pt x="289349" y="354621"/>
                    <a:pt x="335584" y="351901"/>
                    <a:pt x="338304" y="349181"/>
                  </a:cubicBezTo>
                  <a:cubicBezTo>
                    <a:pt x="346462" y="349181"/>
                    <a:pt x="357341" y="349181"/>
                    <a:pt x="365500" y="349181"/>
                  </a:cubicBezTo>
                  <a:cubicBezTo>
                    <a:pt x="370939" y="349181"/>
                    <a:pt x="376379" y="349181"/>
                    <a:pt x="381817" y="349181"/>
                  </a:cubicBezTo>
                  <a:cubicBezTo>
                    <a:pt x="387257" y="349181"/>
                    <a:pt x="392697" y="346462"/>
                    <a:pt x="392697" y="338303"/>
                  </a:cubicBezTo>
                  <a:cubicBezTo>
                    <a:pt x="392697" y="330144"/>
                    <a:pt x="389977" y="316545"/>
                    <a:pt x="389977" y="313826"/>
                  </a:cubicBezTo>
                  <a:cubicBezTo>
                    <a:pt x="389977" y="294788"/>
                    <a:pt x="389977" y="278470"/>
                    <a:pt x="392697" y="262152"/>
                  </a:cubicBezTo>
                  <a:cubicBezTo>
                    <a:pt x="392697" y="259433"/>
                    <a:pt x="395416" y="243115"/>
                    <a:pt x="395416" y="224077"/>
                  </a:cubicBezTo>
                  <a:cubicBezTo>
                    <a:pt x="395416" y="207759"/>
                    <a:pt x="398136" y="188722"/>
                    <a:pt x="398136" y="177843"/>
                  </a:cubicBezTo>
                  <a:cubicBezTo>
                    <a:pt x="398136" y="169684"/>
                    <a:pt x="395416" y="158806"/>
                    <a:pt x="395416" y="153366"/>
                  </a:cubicBezTo>
                  <a:cubicBezTo>
                    <a:pt x="395416" y="145207"/>
                    <a:pt x="395416" y="142488"/>
                    <a:pt x="395416" y="137048"/>
                  </a:cubicBezTo>
                  <a:cubicBezTo>
                    <a:pt x="389977" y="137048"/>
                    <a:pt x="384537" y="137048"/>
                    <a:pt x="379098" y="137048"/>
                  </a:cubicBezTo>
                  <a:cubicBezTo>
                    <a:pt x="370939" y="137048"/>
                    <a:pt x="360061" y="134329"/>
                    <a:pt x="351902" y="131609"/>
                  </a:cubicBezTo>
                  <a:cubicBezTo>
                    <a:pt x="343742" y="128889"/>
                    <a:pt x="338304" y="120730"/>
                    <a:pt x="338304" y="115291"/>
                  </a:cubicBezTo>
                  <a:cubicBezTo>
                    <a:pt x="338304" y="112571"/>
                    <a:pt x="338304" y="109852"/>
                    <a:pt x="343742" y="107132"/>
                  </a:cubicBezTo>
                  <a:cubicBezTo>
                    <a:pt x="349182" y="104412"/>
                    <a:pt x="357341" y="101693"/>
                    <a:pt x="362780" y="98973"/>
                  </a:cubicBezTo>
                  <a:cubicBezTo>
                    <a:pt x="373659" y="96253"/>
                    <a:pt x="387257" y="96253"/>
                    <a:pt x="395416" y="96253"/>
                  </a:cubicBezTo>
                  <a:cubicBezTo>
                    <a:pt x="398136" y="93534"/>
                    <a:pt x="400855" y="90814"/>
                    <a:pt x="403575" y="90814"/>
                  </a:cubicBezTo>
                  <a:cubicBezTo>
                    <a:pt x="411734" y="90814"/>
                    <a:pt x="419893" y="88095"/>
                    <a:pt x="422612" y="88095"/>
                  </a:cubicBezTo>
                  <a:cubicBezTo>
                    <a:pt x="425332" y="88095"/>
                    <a:pt x="425332" y="88095"/>
                    <a:pt x="428052" y="88095"/>
                  </a:cubicBezTo>
                  <a:cubicBezTo>
                    <a:pt x="433492" y="88095"/>
                    <a:pt x="441650" y="88095"/>
                    <a:pt x="447090" y="90814"/>
                  </a:cubicBezTo>
                  <a:cubicBezTo>
                    <a:pt x="449809" y="90814"/>
                    <a:pt x="452529" y="93534"/>
                    <a:pt x="455249" y="96253"/>
                  </a:cubicBezTo>
                  <a:cubicBezTo>
                    <a:pt x="482445" y="96253"/>
                    <a:pt x="509642" y="93534"/>
                    <a:pt x="525960" y="93534"/>
                  </a:cubicBezTo>
                  <a:cubicBezTo>
                    <a:pt x="539558" y="93534"/>
                    <a:pt x="561315" y="93534"/>
                    <a:pt x="561315" y="109852"/>
                  </a:cubicBezTo>
                  <a:cubicBezTo>
                    <a:pt x="561315" y="118011"/>
                    <a:pt x="561315" y="120730"/>
                    <a:pt x="555876" y="126170"/>
                  </a:cubicBezTo>
                  <a:cubicBezTo>
                    <a:pt x="550437" y="131609"/>
                    <a:pt x="544997" y="134329"/>
                    <a:pt x="539558" y="134329"/>
                  </a:cubicBezTo>
                  <a:cubicBezTo>
                    <a:pt x="531399" y="137048"/>
                    <a:pt x="523240" y="137048"/>
                    <a:pt x="517800" y="137048"/>
                  </a:cubicBezTo>
                  <a:cubicBezTo>
                    <a:pt x="515081" y="137048"/>
                    <a:pt x="498763" y="137048"/>
                    <a:pt x="477006" y="137048"/>
                  </a:cubicBezTo>
                  <a:cubicBezTo>
                    <a:pt x="479725" y="145207"/>
                    <a:pt x="485165" y="153366"/>
                    <a:pt x="485165" y="161525"/>
                  </a:cubicBezTo>
                  <a:cubicBezTo>
                    <a:pt x="487885" y="177843"/>
                    <a:pt x="493324" y="194161"/>
                    <a:pt x="496043" y="210479"/>
                  </a:cubicBezTo>
                  <a:cubicBezTo>
                    <a:pt x="498763" y="224077"/>
                    <a:pt x="498763" y="237676"/>
                    <a:pt x="501483" y="251274"/>
                  </a:cubicBezTo>
                  <a:cubicBezTo>
                    <a:pt x="504202" y="264872"/>
                    <a:pt x="506922" y="275751"/>
                    <a:pt x="506922" y="292069"/>
                  </a:cubicBezTo>
                  <a:cubicBezTo>
                    <a:pt x="506922" y="302947"/>
                    <a:pt x="506922" y="311106"/>
                    <a:pt x="506922" y="321985"/>
                  </a:cubicBezTo>
                  <a:cubicBezTo>
                    <a:pt x="506922" y="327424"/>
                    <a:pt x="509642" y="335583"/>
                    <a:pt x="509642" y="341022"/>
                  </a:cubicBezTo>
                  <a:cubicBezTo>
                    <a:pt x="509642" y="343742"/>
                    <a:pt x="509642" y="343742"/>
                    <a:pt x="509642" y="343742"/>
                  </a:cubicBezTo>
                  <a:cubicBezTo>
                    <a:pt x="509642" y="349181"/>
                    <a:pt x="515081" y="349181"/>
                    <a:pt x="517800" y="349181"/>
                  </a:cubicBezTo>
                  <a:cubicBezTo>
                    <a:pt x="520520" y="349181"/>
                    <a:pt x="523240" y="349181"/>
                    <a:pt x="528680" y="349181"/>
                  </a:cubicBezTo>
                  <a:cubicBezTo>
                    <a:pt x="536838" y="349181"/>
                    <a:pt x="547717" y="349181"/>
                    <a:pt x="550437" y="357340"/>
                  </a:cubicBezTo>
                  <a:cubicBezTo>
                    <a:pt x="550437" y="360060"/>
                    <a:pt x="550437" y="360060"/>
                    <a:pt x="550437" y="362780"/>
                  </a:cubicBezTo>
                  <a:cubicBezTo>
                    <a:pt x="550437" y="370939"/>
                    <a:pt x="539558" y="381817"/>
                    <a:pt x="534119" y="384537"/>
                  </a:cubicBezTo>
                  <a:cubicBezTo>
                    <a:pt x="531399" y="387257"/>
                    <a:pt x="523240" y="387257"/>
                    <a:pt x="520520" y="389976"/>
                  </a:cubicBezTo>
                  <a:cubicBezTo>
                    <a:pt x="515081" y="389976"/>
                    <a:pt x="512362" y="392696"/>
                    <a:pt x="512362" y="395415"/>
                  </a:cubicBezTo>
                  <a:cubicBezTo>
                    <a:pt x="512362" y="395415"/>
                    <a:pt x="512362" y="398135"/>
                    <a:pt x="512362" y="398135"/>
                  </a:cubicBezTo>
                  <a:cubicBezTo>
                    <a:pt x="512362" y="400855"/>
                    <a:pt x="512362" y="406294"/>
                    <a:pt x="512362" y="409014"/>
                  </a:cubicBezTo>
                  <a:cubicBezTo>
                    <a:pt x="512362" y="411733"/>
                    <a:pt x="512362" y="411733"/>
                    <a:pt x="512362" y="414453"/>
                  </a:cubicBezTo>
                  <a:cubicBezTo>
                    <a:pt x="512362" y="422612"/>
                    <a:pt x="512362" y="430771"/>
                    <a:pt x="512362" y="438930"/>
                  </a:cubicBezTo>
                  <a:cubicBezTo>
                    <a:pt x="512362" y="460687"/>
                    <a:pt x="512362" y="482445"/>
                    <a:pt x="515081" y="504202"/>
                  </a:cubicBezTo>
                  <a:cubicBezTo>
                    <a:pt x="517800" y="525959"/>
                    <a:pt x="520520" y="550436"/>
                    <a:pt x="520520" y="572193"/>
                  </a:cubicBezTo>
                  <a:cubicBezTo>
                    <a:pt x="520520" y="583072"/>
                    <a:pt x="520520" y="593950"/>
                    <a:pt x="517800" y="604829"/>
                  </a:cubicBezTo>
                  <a:cubicBezTo>
                    <a:pt x="515081" y="623867"/>
                    <a:pt x="515081" y="642904"/>
                    <a:pt x="512362" y="661942"/>
                  </a:cubicBezTo>
                  <a:cubicBezTo>
                    <a:pt x="512362" y="664661"/>
                    <a:pt x="509642" y="667381"/>
                    <a:pt x="509642" y="670101"/>
                  </a:cubicBezTo>
                  <a:cubicBezTo>
                    <a:pt x="509642" y="672820"/>
                    <a:pt x="512362" y="678260"/>
                    <a:pt x="512362" y="680979"/>
                  </a:cubicBezTo>
                  <a:cubicBezTo>
                    <a:pt x="512362" y="683699"/>
                    <a:pt x="512362" y="686419"/>
                    <a:pt x="512362" y="686419"/>
                  </a:cubicBezTo>
                  <a:cubicBezTo>
                    <a:pt x="517800" y="680979"/>
                    <a:pt x="528680" y="680979"/>
                    <a:pt x="536838" y="680979"/>
                  </a:cubicBezTo>
                  <a:lnTo>
                    <a:pt x="536838" y="680979"/>
                  </a:ln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/>
            </a:p>
          </p:txBody>
        </p:sp>
        <p:sp>
          <p:nvSpPr>
            <p:cNvPr id="53" name="Freeform: Shape 52">
              <a:extLst>
                <a:ext uri="{FF2B5EF4-FFF2-40B4-BE49-F238E27FC236}">
                  <a16:creationId xmlns:a16="http://schemas.microsoft.com/office/drawing/2014/main" id="{872BE12F-3FBC-4635-99C7-4788DC937AE2}"/>
                </a:ext>
              </a:extLst>
            </p:cNvPr>
            <p:cNvSpPr/>
            <p:nvPr/>
          </p:nvSpPr>
          <p:spPr>
            <a:xfrm>
              <a:off x="9592416" y="4192158"/>
              <a:ext cx="516735" cy="761503"/>
            </a:xfrm>
            <a:custGeom>
              <a:avLst/>
              <a:gdLst>
                <a:gd name="connsiteX0" fmla="*/ 463407 w 516735"/>
                <a:gd name="connsiteY0" fmla="*/ 194161 h 761503"/>
                <a:gd name="connsiteX1" fmla="*/ 447089 w 516735"/>
                <a:gd name="connsiteY1" fmla="*/ 226797 h 761503"/>
                <a:gd name="connsiteX2" fmla="*/ 430771 w 516735"/>
                <a:gd name="connsiteY2" fmla="*/ 221357 h 761503"/>
                <a:gd name="connsiteX3" fmla="*/ 422612 w 516735"/>
                <a:gd name="connsiteY3" fmla="*/ 207759 h 761503"/>
                <a:gd name="connsiteX4" fmla="*/ 419893 w 516735"/>
                <a:gd name="connsiteY4" fmla="*/ 188722 h 761503"/>
                <a:gd name="connsiteX5" fmla="*/ 419893 w 516735"/>
                <a:gd name="connsiteY5" fmla="*/ 139768 h 761503"/>
                <a:gd name="connsiteX6" fmla="*/ 419893 w 516735"/>
                <a:gd name="connsiteY6" fmla="*/ 120730 h 761503"/>
                <a:gd name="connsiteX7" fmla="*/ 395416 w 516735"/>
                <a:gd name="connsiteY7" fmla="*/ 120730 h 761503"/>
                <a:gd name="connsiteX8" fmla="*/ 370939 w 516735"/>
                <a:gd name="connsiteY8" fmla="*/ 120730 h 761503"/>
                <a:gd name="connsiteX9" fmla="*/ 346461 w 516735"/>
                <a:gd name="connsiteY9" fmla="*/ 123450 h 761503"/>
                <a:gd name="connsiteX10" fmla="*/ 335583 w 516735"/>
                <a:gd name="connsiteY10" fmla="*/ 123450 h 761503"/>
                <a:gd name="connsiteX11" fmla="*/ 335583 w 516735"/>
                <a:gd name="connsiteY11" fmla="*/ 123450 h 761503"/>
                <a:gd name="connsiteX12" fmla="*/ 324704 w 516735"/>
                <a:gd name="connsiteY12" fmla="*/ 128889 h 761503"/>
                <a:gd name="connsiteX13" fmla="*/ 327424 w 516735"/>
                <a:gd name="connsiteY13" fmla="*/ 139768 h 761503"/>
                <a:gd name="connsiteX14" fmla="*/ 330144 w 516735"/>
                <a:gd name="connsiteY14" fmla="*/ 175123 h 761503"/>
                <a:gd name="connsiteX15" fmla="*/ 330144 w 516735"/>
                <a:gd name="connsiteY15" fmla="*/ 199600 h 761503"/>
                <a:gd name="connsiteX16" fmla="*/ 327424 w 516735"/>
                <a:gd name="connsiteY16" fmla="*/ 224077 h 761503"/>
                <a:gd name="connsiteX17" fmla="*/ 330144 w 516735"/>
                <a:gd name="connsiteY17" fmla="*/ 251274 h 761503"/>
                <a:gd name="connsiteX18" fmla="*/ 327424 w 516735"/>
                <a:gd name="connsiteY18" fmla="*/ 278470 h 761503"/>
                <a:gd name="connsiteX19" fmla="*/ 327424 w 516735"/>
                <a:gd name="connsiteY19" fmla="*/ 332864 h 761503"/>
                <a:gd name="connsiteX20" fmla="*/ 330144 w 516735"/>
                <a:gd name="connsiteY20" fmla="*/ 357340 h 761503"/>
                <a:gd name="connsiteX21" fmla="*/ 330144 w 516735"/>
                <a:gd name="connsiteY21" fmla="*/ 368219 h 761503"/>
                <a:gd name="connsiteX22" fmla="*/ 332863 w 516735"/>
                <a:gd name="connsiteY22" fmla="*/ 387257 h 761503"/>
                <a:gd name="connsiteX23" fmla="*/ 332863 w 516735"/>
                <a:gd name="connsiteY23" fmla="*/ 433491 h 761503"/>
                <a:gd name="connsiteX24" fmla="*/ 332863 w 516735"/>
                <a:gd name="connsiteY24" fmla="*/ 487884 h 761503"/>
                <a:gd name="connsiteX25" fmla="*/ 330144 w 516735"/>
                <a:gd name="connsiteY25" fmla="*/ 512361 h 761503"/>
                <a:gd name="connsiteX26" fmla="*/ 330144 w 516735"/>
                <a:gd name="connsiteY26" fmla="*/ 539557 h 761503"/>
                <a:gd name="connsiteX27" fmla="*/ 332863 w 516735"/>
                <a:gd name="connsiteY27" fmla="*/ 593950 h 761503"/>
                <a:gd name="connsiteX28" fmla="*/ 332863 w 516735"/>
                <a:gd name="connsiteY28" fmla="*/ 648343 h 761503"/>
                <a:gd name="connsiteX29" fmla="*/ 332863 w 516735"/>
                <a:gd name="connsiteY29" fmla="*/ 656502 h 761503"/>
                <a:gd name="connsiteX30" fmla="*/ 357341 w 516735"/>
                <a:gd name="connsiteY30" fmla="*/ 656502 h 761503"/>
                <a:gd name="connsiteX31" fmla="*/ 395416 w 516735"/>
                <a:gd name="connsiteY31" fmla="*/ 675540 h 761503"/>
                <a:gd name="connsiteX32" fmla="*/ 389976 w 516735"/>
                <a:gd name="connsiteY32" fmla="*/ 691858 h 761503"/>
                <a:gd name="connsiteX33" fmla="*/ 373658 w 516735"/>
                <a:gd name="connsiteY33" fmla="*/ 700017 h 761503"/>
                <a:gd name="connsiteX34" fmla="*/ 351901 w 516735"/>
                <a:gd name="connsiteY34" fmla="*/ 702737 h 761503"/>
                <a:gd name="connsiteX35" fmla="*/ 319265 w 516735"/>
                <a:gd name="connsiteY35" fmla="*/ 702737 h 761503"/>
                <a:gd name="connsiteX36" fmla="*/ 311106 w 516735"/>
                <a:gd name="connsiteY36" fmla="*/ 708176 h 761503"/>
                <a:gd name="connsiteX37" fmla="*/ 289349 w 516735"/>
                <a:gd name="connsiteY37" fmla="*/ 713615 h 761503"/>
                <a:gd name="connsiteX38" fmla="*/ 270311 w 516735"/>
                <a:gd name="connsiteY38" fmla="*/ 713615 h 761503"/>
                <a:gd name="connsiteX39" fmla="*/ 243115 w 516735"/>
                <a:gd name="connsiteY39" fmla="*/ 705456 h 761503"/>
                <a:gd name="connsiteX40" fmla="*/ 237675 w 516735"/>
                <a:gd name="connsiteY40" fmla="*/ 702737 h 761503"/>
                <a:gd name="connsiteX41" fmla="*/ 199600 w 516735"/>
                <a:gd name="connsiteY41" fmla="*/ 702737 h 761503"/>
                <a:gd name="connsiteX42" fmla="*/ 175123 w 516735"/>
                <a:gd name="connsiteY42" fmla="*/ 702737 h 761503"/>
                <a:gd name="connsiteX43" fmla="*/ 147927 w 516735"/>
                <a:gd name="connsiteY43" fmla="*/ 697297 h 761503"/>
                <a:gd name="connsiteX44" fmla="*/ 131609 w 516735"/>
                <a:gd name="connsiteY44" fmla="*/ 678260 h 761503"/>
                <a:gd name="connsiteX45" fmla="*/ 137048 w 516735"/>
                <a:gd name="connsiteY45" fmla="*/ 670101 h 761503"/>
                <a:gd name="connsiteX46" fmla="*/ 158805 w 516735"/>
                <a:gd name="connsiteY46" fmla="*/ 661942 h 761503"/>
                <a:gd name="connsiteX47" fmla="*/ 199600 w 516735"/>
                <a:gd name="connsiteY47" fmla="*/ 659222 h 761503"/>
                <a:gd name="connsiteX48" fmla="*/ 199600 w 516735"/>
                <a:gd name="connsiteY48" fmla="*/ 659222 h 761503"/>
                <a:gd name="connsiteX49" fmla="*/ 196880 w 516735"/>
                <a:gd name="connsiteY49" fmla="*/ 629306 h 761503"/>
                <a:gd name="connsiteX50" fmla="*/ 199600 w 516735"/>
                <a:gd name="connsiteY50" fmla="*/ 574913 h 761503"/>
                <a:gd name="connsiteX51" fmla="*/ 202320 w 516735"/>
                <a:gd name="connsiteY51" fmla="*/ 523239 h 761503"/>
                <a:gd name="connsiteX52" fmla="*/ 205040 w 516735"/>
                <a:gd name="connsiteY52" fmla="*/ 460687 h 761503"/>
                <a:gd name="connsiteX53" fmla="*/ 205040 w 516735"/>
                <a:gd name="connsiteY53" fmla="*/ 417173 h 761503"/>
                <a:gd name="connsiteX54" fmla="*/ 207759 w 516735"/>
                <a:gd name="connsiteY54" fmla="*/ 392696 h 761503"/>
                <a:gd name="connsiteX55" fmla="*/ 210478 w 516735"/>
                <a:gd name="connsiteY55" fmla="*/ 368219 h 761503"/>
                <a:gd name="connsiteX56" fmla="*/ 210478 w 516735"/>
                <a:gd name="connsiteY56" fmla="*/ 313826 h 761503"/>
                <a:gd name="connsiteX57" fmla="*/ 210478 w 516735"/>
                <a:gd name="connsiteY57" fmla="*/ 259433 h 761503"/>
                <a:gd name="connsiteX58" fmla="*/ 210478 w 516735"/>
                <a:gd name="connsiteY58" fmla="*/ 213199 h 761503"/>
                <a:gd name="connsiteX59" fmla="*/ 210478 w 516735"/>
                <a:gd name="connsiteY59" fmla="*/ 145207 h 761503"/>
                <a:gd name="connsiteX60" fmla="*/ 213198 w 516735"/>
                <a:gd name="connsiteY60" fmla="*/ 131609 h 761503"/>
                <a:gd name="connsiteX61" fmla="*/ 205040 w 516735"/>
                <a:gd name="connsiteY61" fmla="*/ 123450 h 761503"/>
                <a:gd name="connsiteX62" fmla="*/ 161525 w 516735"/>
                <a:gd name="connsiteY62" fmla="*/ 123450 h 761503"/>
                <a:gd name="connsiteX63" fmla="*/ 112571 w 516735"/>
                <a:gd name="connsiteY63" fmla="*/ 120730 h 761503"/>
                <a:gd name="connsiteX64" fmla="*/ 104412 w 516735"/>
                <a:gd name="connsiteY64" fmla="*/ 118011 h 761503"/>
                <a:gd name="connsiteX65" fmla="*/ 107132 w 516735"/>
                <a:gd name="connsiteY65" fmla="*/ 191441 h 761503"/>
                <a:gd name="connsiteX66" fmla="*/ 90814 w 516735"/>
                <a:gd name="connsiteY66" fmla="*/ 224077 h 761503"/>
                <a:gd name="connsiteX67" fmla="*/ 74496 w 516735"/>
                <a:gd name="connsiteY67" fmla="*/ 218638 h 761503"/>
                <a:gd name="connsiteX68" fmla="*/ 66337 w 516735"/>
                <a:gd name="connsiteY68" fmla="*/ 205040 h 761503"/>
                <a:gd name="connsiteX69" fmla="*/ 63617 w 516735"/>
                <a:gd name="connsiteY69" fmla="*/ 186002 h 761503"/>
                <a:gd name="connsiteX70" fmla="*/ 63617 w 516735"/>
                <a:gd name="connsiteY70" fmla="*/ 145207 h 761503"/>
                <a:gd name="connsiteX71" fmla="*/ 63617 w 516735"/>
                <a:gd name="connsiteY71" fmla="*/ 109852 h 761503"/>
                <a:gd name="connsiteX72" fmla="*/ 58178 w 516735"/>
                <a:gd name="connsiteY72" fmla="*/ 96253 h 761503"/>
                <a:gd name="connsiteX73" fmla="*/ 66337 w 516735"/>
                <a:gd name="connsiteY73" fmla="*/ 85375 h 761503"/>
                <a:gd name="connsiteX74" fmla="*/ 93533 w 516735"/>
                <a:gd name="connsiteY74" fmla="*/ 77216 h 761503"/>
                <a:gd name="connsiteX75" fmla="*/ 115290 w 516735"/>
                <a:gd name="connsiteY75" fmla="*/ 77216 h 761503"/>
                <a:gd name="connsiteX76" fmla="*/ 169684 w 516735"/>
                <a:gd name="connsiteY76" fmla="*/ 74496 h 761503"/>
                <a:gd name="connsiteX77" fmla="*/ 194161 w 516735"/>
                <a:gd name="connsiteY77" fmla="*/ 71776 h 761503"/>
                <a:gd name="connsiteX78" fmla="*/ 196880 w 516735"/>
                <a:gd name="connsiteY78" fmla="*/ 71776 h 761503"/>
                <a:gd name="connsiteX79" fmla="*/ 210478 w 516735"/>
                <a:gd name="connsiteY79" fmla="*/ 71776 h 761503"/>
                <a:gd name="connsiteX80" fmla="*/ 218638 w 516735"/>
                <a:gd name="connsiteY80" fmla="*/ 71776 h 761503"/>
                <a:gd name="connsiteX81" fmla="*/ 237675 w 516735"/>
                <a:gd name="connsiteY81" fmla="*/ 60898 h 761503"/>
                <a:gd name="connsiteX82" fmla="*/ 253993 w 516735"/>
                <a:gd name="connsiteY82" fmla="*/ 58178 h 761503"/>
                <a:gd name="connsiteX83" fmla="*/ 283910 w 516735"/>
                <a:gd name="connsiteY83" fmla="*/ 60898 h 761503"/>
                <a:gd name="connsiteX84" fmla="*/ 294788 w 516735"/>
                <a:gd name="connsiteY84" fmla="*/ 66337 h 761503"/>
                <a:gd name="connsiteX85" fmla="*/ 305667 w 516735"/>
                <a:gd name="connsiteY85" fmla="*/ 74496 h 761503"/>
                <a:gd name="connsiteX86" fmla="*/ 313826 w 516735"/>
                <a:gd name="connsiteY86" fmla="*/ 74496 h 761503"/>
                <a:gd name="connsiteX87" fmla="*/ 327424 w 516735"/>
                <a:gd name="connsiteY87" fmla="*/ 74496 h 761503"/>
                <a:gd name="connsiteX88" fmla="*/ 354621 w 516735"/>
                <a:gd name="connsiteY88" fmla="*/ 74496 h 761503"/>
                <a:gd name="connsiteX89" fmla="*/ 422612 w 516735"/>
                <a:gd name="connsiteY89" fmla="*/ 74496 h 761503"/>
                <a:gd name="connsiteX90" fmla="*/ 455248 w 516735"/>
                <a:gd name="connsiteY90" fmla="*/ 79936 h 761503"/>
                <a:gd name="connsiteX91" fmla="*/ 466127 w 516735"/>
                <a:gd name="connsiteY91" fmla="*/ 98973 h 761503"/>
                <a:gd name="connsiteX92" fmla="*/ 463407 w 516735"/>
                <a:gd name="connsiteY92" fmla="*/ 109852 h 761503"/>
                <a:gd name="connsiteX93" fmla="*/ 463407 w 516735"/>
                <a:gd name="connsiteY93" fmla="*/ 120730 h 761503"/>
                <a:gd name="connsiteX94" fmla="*/ 463407 w 516735"/>
                <a:gd name="connsiteY94" fmla="*/ 194161 h 761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</a:cxnLst>
              <a:rect l="l" t="t" r="r" b="b"/>
              <a:pathLst>
                <a:path w="516735" h="761503">
                  <a:moveTo>
                    <a:pt x="463407" y="194161"/>
                  </a:moveTo>
                  <a:cubicBezTo>
                    <a:pt x="463407" y="205040"/>
                    <a:pt x="463407" y="226797"/>
                    <a:pt x="447089" y="226797"/>
                  </a:cubicBezTo>
                  <a:cubicBezTo>
                    <a:pt x="438930" y="226797"/>
                    <a:pt x="436211" y="226797"/>
                    <a:pt x="430771" y="221357"/>
                  </a:cubicBezTo>
                  <a:cubicBezTo>
                    <a:pt x="425332" y="218638"/>
                    <a:pt x="422612" y="210479"/>
                    <a:pt x="422612" y="207759"/>
                  </a:cubicBezTo>
                  <a:cubicBezTo>
                    <a:pt x="419893" y="199600"/>
                    <a:pt x="419893" y="194161"/>
                    <a:pt x="419893" y="188722"/>
                  </a:cubicBezTo>
                  <a:cubicBezTo>
                    <a:pt x="419893" y="183282"/>
                    <a:pt x="419893" y="147927"/>
                    <a:pt x="419893" y="139768"/>
                  </a:cubicBezTo>
                  <a:cubicBezTo>
                    <a:pt x="419893" y="134329"/>
                    <a:pt x="419893" y="128889"/>
                    <a:pt x="419893" y="120730"/>
                  </a:cubicBezTo>
                  <a:cubicBezTo>
                    <a:pt x="411734" y="120730"/>
                    <a:pt x="403574" y="120730"/>
                    <a:pt x="395416" y="120730"/>
                  </a:cubicBezTo>
                  <a:cubicBezTo>
                    <a:pt x="387256" y="120730"/>
                    <a:pt x="379098" y="120730"/>
                    <a:pt x="370939" y="120730"/>
                  </a:cubicBezTo>
                  <a:cubicBezTo>
                    <a:pt x="362780" y="120730"/>
                    <a:pt x="354621" y="123450"/>
                    <a:pt x="346461" y="123450"/>
                  </a:cubicBezTo>
                  <a:cubicBezTo>
                    <a:pt x="343742" y="123450"/>
                    <a:pt x="341023" y="123450"/>
                    <a:pt x="335583" y="123450"/>
                  </a:cubicBezTo>
                  <a:cubicBezTo>
                    <a:pt x="335583" y="123450"/>
                    <a:pt x="335583" y="123450"/>
                    <a:pt x="335583" y="123450"/>
                  </a:cubicBezTo>
                  <a:cubicBezTo>
                    <a:pt x="327424" y="123450"/>
                    <a:pt x="324704" y="126170"/>
                    <a:pt x="324704" y="128889"/>
                  </a:cubicBezTo>
                  <a:cubicBezTo>
                    <a:pt x="324704" y="131609"/>
                    <a:pt x="324704" y="137048"/>
                    <a:pt x="327424" y="139768"/>
                  </a:cubicBezTo>
                  <a:cubicBezTo>
                    <a:pt x="330144" y="147927"/>
                    <a:pt x="330144" y="166964"/>
                    <a:pt x="330144" y="175123"/>
                  </a:cubicBezTo>
                  <a:cubicBezTo>
                    <a:pt x="330144" y="183282"/>
                    <a:pt x="330144" y="191441"/>
                    <a:pt x="330144" y="199600"/>
                  </a:cubicBezTo>
                  <a:cubicBezTo>
                    <a:pt x="330144" y="207759"/>
                    <a:pt x="327424" y="215918"/>
                    <a:pt x="327424" y="224077"/>
                  </a:cubicBezTo>
                  <a:cubicBezTo>
                    <a:pt x="327424" y="232236"/>
                    <a:pt x="330144" y="243115"/>
                    <a:pt x="330144" y="251274"/>
                  </a:cubicBezTo>
                  <a:cubicBezTo>
                    <a:pt x="330144" y="259433"/>
                    <a:pt x="330144" y="267592"/>
                    <a:pt x="327424" y="278470"/>
                  </a:cubicBezTo>
                  <a:cubicBezTo>
                    <a:pt x="327424" y="294788"/>
                    <a:pt x="327424" y="313826"/>
                    <a:pt x="327424" y="332864"/>
                  </a:cubicBezTo>
                  <a:cubicBezTo>
                    <a:pt x="327424" y="341022"/>
                    <a:pt x="327424" y="349181"/>
                    <a:pt x="330144" y="357340"/>
                  </a:cubicBezTo>
                  <a:cubicBezTo>
                    <a:pt x="330144" y="360060"/>
                    <a:pt x="330144" y="365499"/>
                    <a:pt x="330144" y="368219"/>
                  </a:cubicBezTo>
                  <a:cubicBezTo>
                    <a:pt x="330144" y="373658"/>
                    <a:pt x="332863" y="384537"/>
                    <a:pt x="332863" y="387257"/>
                  </a:cubicBezTo>
                  <a:cubicBezTo>
                    <a:pt x="332863" y="406294"/>
                    <a:pt x="332863" y="414453"/>
                    <a:pt x="332863" y="433491"/>
                  </a:cubicBezTo>
                  <a:cubicBezTo>
                    <a:pt x="332863" y="452528"/>
                    <a:pt x="335583" y="468846"/>
                    <a:pt x="332863" y="487884"/>
                  </a:cubicBezTo>
                  <a:cubicBezTo>
                    <a:pt x="332863" y="496043"/>
                    <a:pt x="330144" y="504202"/>
                    <a:pt x="330144" y="512361"/>
                  </a:cubicBezTo>
                  <a:cubicBezTo>
                    <a:pt x="330144" y="520520"/>
                    <a:pt x="330144" y="531398"/>
                    <a:pt x="330144" y="539557"/>
                  </a:cubicBezTo>
                  <a:cubicBezTo>
                    <a:pt x="330144" y="558595"/>
                    <a:pt x="330144" y="574913"/>
                    <a:pt x="332863" y="593950"/>
                  </a:cubicBezTo>
                  <a:cubicBezTo>
                    <a:pt x="332863" y="610268"/>
                    <a:pt x="332863" y="632026"/>
                    <a:pt x="332863" y="648343"/>
                  </a:cubicBezTo>
                  <a:cubicBezTo>
                    <a:pt x="332863" y="651063"/>
                    <a:pt x="332863" y="653783"/>
                    <a:pt x="332863" y="656502"/>
                  </a:cubicBezTo>
                  <a:cubicBezTo>
                    <a:pt x="343742" y="656502"/>
                    <a:pt x="351901" y="656502"/>
                    <a:pt x="357341" y="656502"/>
                  </a:cubicBezTo>
                  <a:cubicBezTo>
                    <a:pt x="370939" y="656502"/>
                    <a:pt x="395416" y="659222"/>
                    <a:pt x="395416" y="675540"/>
                  </a:cubicBezTo>
                  <a:cubicBezTo>
                    <a:pt x="395416" y="683699"/>
                    <a:pt x="392696" y="686419"/>
                    <a:pt x="389976" y="691858"/>
                  </a:cubicBezTo>
                  <a:cubicBezTo>
                    <a:pt x="384537" y="697297"/>
                    <a:pt x="379098" y="700017"/>
                    <a:pt x="373658" y="700017"/>
                  </a:cubicBezTo>
                  <a:cubicBezTo>
                    <a:pt x="365499" y="702737"/>
                    <a:pt x="357341" y="702737"/>
                    <a:pt x="351901" y="702737"/>
                  </a:cubicBezTo>
                  <a:cubicBezTo>
                    <a:pt x="349181" y="702737"/>
                    <a:pt x="335583" y="702737"/>
                    <a:pt x="319265" y="702737"/>
                  </a:cubicBezTo>
                  <a:cubicBezTo>
                    <a:pt x="316546" y="705456"/>
                    <a:pt x="313826" y="705456"/>
                    <a:pt x="311106" y="708176"/>
                  </a:cubicBezTo>
                  <a:cubicBezTo>
                    <a:pt x="302948" y="713615"/>
                    <a:pt x="297508" y="713615"/>
                    <a:pt x="289349" y="713615"/>
                  </a:cubicBezTo>
                  <a:cubicBezTo>
                    <a:pt x="283910" y="713615"/>
                    <a:pt x="278470" y="713615"/>
                    <a:pt x="270311" y="713615"/>
                  </a:cubicBezTo>
                  <a:cubicBezTo>
                    <a:pt x="259433" y="713615"/>
                    <a:pt x="251273" y="710895"/>
                    <a:pt x="243115" y="705456"/>
                  </a:cubicBezTo>
                  <a:cubicBezTo>
                    <a:pt x="240395" y="705456"/>
                    <a:pt x="237675" y="702737"/>
                    <a:pt x="237675" y="702737"/>
                  </a:cubicBezTo>
                  <a:cubicBezTo>
                    <a:pt x="224077" y="702737"/>
                    <a:pt x="213198" y="702737"/>
                    <a:pt x="199600" y="702737"/>
                  </a:cubicBezTo>
                  <a:cubicBezTo>
                    <a:pt x="191441" y="702737"/>
                    <a:pt x="183282" y="702737"/>
                    <a:pt x="175123" y="702737"/>
                  </a:cubicBezTo>
                  <a:cubicBezTo>
                    <a:pt x="166965" y="702737"/>
                    <a:pt x="156085" y="702737"/>
                    <a:pt x="147927" y="697297"/>
                  </a:cubicBezTo>
                  <a:cubicBezTo>
                    <a:pt x="139768" y="694578"/>
                    <a:pt x="131609" y="680979"/>
                    <a:pt x="131609" y="678260"/>
                  </a:cubicBezTo>
                  <a:cubicBezTo>
                    <a:pt x="131609" y="675540"/>
                    <a:pt x="131609" y="672820"/>
                    <a:pt x="137048" y="670101"/>
                  </a:cubicBezTo>
                  <a:cubicBezTo>
                    <a:pt x="142487" y="667381"/>
                    <a:pt x="153366" y="664661"/>
                    <a:pt x="158805" y="661942"/>
                  </a:cubicBezTo>
                  <a:cubicBezTo>
                    <a:pt x="175123" y="659222"/>
                    <a:pt x="191441" y="659222"/>
                    <a:pt x="199600" y="659222"/>
                  </a:cubicBezTo>
                  <a:lnTo>
                    <a:pt x="199600" y="659222"/>
                  </a:lnTo>
                  <a:cubicBezTo>
                    <a:pt x="199600" y="648343"/>
                    <a:pt x="196880" y="640184"/>
                    <a:pt x="196880" y="629306"/>
                  </a:cubicBezTo>
                  <a:cubicBezTo>
                    <a:pt x="196880" y="612988"/>
                    <a:pt x="196880" y="591231"/>
                    <a:pt x="199600" y="574913"/>
                  </a:cubicBezTo>
                  <a:cubicBezTo>
                    <a:pt x="199600" y="558595"/>
                    <a:pt x="199600" y="539557"/>
                    <a:pt x="202320" y="523239"/>
                  </a:cubicBezTo>
                  <a:cubicBezTo>
                    <a:pt x="202320" y="501482"/>
                    <a:pt x="205040" y="482445"/>
                    <a:pt x="205040" y="460687"/>
                  </a:cubicBezTo>
                  <a:cubicBezTo>
                    <a:pt x="205040" y="447089"/>
                    <a:pt x="205040" y="430771"/>
                    <a:pt x="205040" y="417173"/>
                  </a:cubicBezTo>
                  <a:cubicBezTo>
                    <a:pt x="205040" y="409014"/>
                    <a:pt x="207759" y="400855"/>
                    <a:pt x="207759" y="392696"/>
                  </a:cubicBezTo>
                  <a:cubicBezTo>
                    <a:pt x="207759" y="384537"/>
                    <a:pt x="210478" y="376378"/>
                    <a:pt x="210478" y="368219"/>
                  </a:cubicBezTo>
                  <a:cubicBezTo>
                    <a:pt x="210478" y="351901"/>
                    <a:pt x="210478" y="332864"/>
                    <a:pt x="210478" y="313826"/>
                  </a:cubicBezTo>
                  <a:cubicBezTo>
                    <a:pt x="210478" y="294788"/>
                    <a:pt x="210478" y="275751"/>
                    <a:pt x="210478" y="259433"/>
                  </a:cubicBezTo>
                  <a:cubicBezTo>
                    <a:pt x="210478" y="243115"/>
                    <a:pt x="210478" y="226797"/>
                    <a:pt x="210478" y="213199"/>
                  </a:cubicBezTo>
                  <a:cubicBezTo>
                    <a:pt x="210478" y="194161"/>
                    <a:pt x="210478" y="164245"/>
                    <a:pt x="210478" y="145207"/>
                  </a:cubicBezTo>
                  <a:cubicBezTo>
                    <a:pt x="210478" y="139768"/>
                    <a:pt x="213198" y="134329"/>
                    <a:pt x="213198" y="131609"/>
                  </a:cubicBezTo>
                  <a:cubicBezTo>
                    <a:pt x="213198" y="126170"/>
                    <a:pt x="207759" y="123450"/>
                    <a:pt x="205040" y="123450"/>
                  </a:cubicBezTo>
                  <a:cubicBezTo>
                    <a:pt x="199600" y="123450"/>
                    <a:pt x="166965" y="123450"/>
                    <a:pt x="161525" y="123450"/>
                  </a:cubicBezTo>
                  <a:cubicBezTo>
                    <a:pt x="145207" y="123450"/>
                    <a:pt x="128889" y="123450"/>
                    <a:pt x="112571" y="120730"/>
                  </a:cubicBezTo>
                  <a:cubicBezTo>
                    <a:pt x="109852" y="120730"/>
                    <a:pt x="107132" y="120730"/>
                    <a:pt x="104412" y="118011"/>
                  </a:cubicBezTo>
                  <a:cubicBezTo>
                    <a:pt x="107132" y="137048"/>
                    <a:pt x="107132" y="172404"/>
                    <a:pt x="107132" y="191441"/>
                  </a:cubicBezTo>
                  <a:cubicBezTo>
                    <a:pt x="107132" y="202320"/>
                    <a:pt x="107132" y="224077"/>
                    <a:pt x="90814" y="224077"/>
                  </a:cubicBezTo>
                  <a:cubicBezTo>
                    <a:pt x="82655" y="224077"/>
                    <a:pt x="79935" y="221357"/>
                    <a:pt x="74496" y="218638"/>
                  </a:cubicBezTo>
                  <a:cubicBezTo>
                    <a:pt x="69057" y="215918"/>
                    <a:pt x="66337" y="210479"/>
                    <a:pt x="66337" y="205040"/>
                  </a:cubicBezTo>
                  <a:cubicBezTo>
                    <a:pt x="63617" y="196881"/>
                    <a:pt x="63617" y="191441"/>
                    <a:pt x="63617" y="186002"/>
                  </a:cubicBezTo>
                  <a:cubicBezTo>
                    <a:pt x="63617" y="180563"/>
                    <a:pt x="63617" y="153366"/>
                    <a:pt x="63617" y="145207"/>
                  </a:cubicBezTo>
                  <a:cubicBezTo>
                    <a:pt x="63617" y="134329"/>
                    <a:pt x="63617" y="120730"/>
                    <a:pt x="63617" y="109852"/>
                  </a:cubicBezTo>
                  <a:cubicBezTo>
                    <a:pt x="60897" y="104412"/>
                    <a:pt x="58178" y="101693"/>
                    <a:pt x="58178" y="96253"/>
                  </a:cubicBezTo>
                  <a:cubicBezTo>
                    <a:pt x="58178" y="93534"/>
                    <a:pt x="60897" y="88095"/>
                    <a:pt x="66337" y="85375"/>
                  </a:cubicBezTo>
                  <a:cubicBezTo>
                    <a:pt x="74496" y="79936"/>
                    <a:pt x="77215" y="77216"/>
                    <a:pt x="93533" y="77216"/>
                  </a:cubicBezTo>
                  <a:cubicBezTo>
                    <a:pt x="101692" y="77216"/>
                    <a:pt x="109852" y="77216"/>
                    <a:pt x="115290" y="77216"/>
                  </a:cubicBezTo>
                  <a:cubicBezTo>
                    <a:pt x="134328" y="77216"/>
                    <a:pt x="150646" y="77216"/>
                    <a:pt x="169684" y="74496"/>
                  </a:cubicBezTo>
                  <a:cubicBezTo>
                    <a:pt x="177843" y="74496"/>
                    <a:pt x="186002" y="71776"/>
                    <a:pt x="194161" y="71776"/>
                  </a:cubicBezTo>
                  <a:cubicBezTo>
                    <a:pt x="194161" y="71776"/>
                    <a:pt x="196880" y="71776"/>
                    <a:pt x="196880" y="71776"/>
                  </a:cubicBezTo>
                  <a:cubicBezTo>
                    <a:pt x="199600" y="71776"/>
                    <a:pt x="205040" y="71776"/>
                    <a:pt x="210478" y="71776"/>
                  </a:cubicBezTo>
                  <a:cubicBezTo>
                    <a:pt x="213198" y="71776"/>
                    <a:pt x="215918" y="71776"/>
                    <a:pt x="218638" y="71776"/>
                  </a:cubicBezTo>
                  <a:cubicBezTo>
                    <a:pt x="224077" y="69057"/>
                    <a:pt x="229516" y="63618"/>
                    <a:pt x="237675" y="60898"/>
                  </a:cubicBezTo>
                  <a:cubicBezTo>
                    <a:pt x="243115" y="58178"/>
                    <a:pt x="248554" y="58178"/>
                    <a:pt x="253993" y="58178"/>
                  </a:cubicBezTo>
                  <a:cubicBezTo>
                    <a:pt x="264872" y="58178"/>
                    <a:pt x="273031" y="58178"/>
                    <a:pt x="283910" y="60898"/>
                  </a:cubicBezTo>
                  <a:cubicBezTo>
                    <a:pt x="286629" y="60898"/>
                    <a:pt x="292068" y="63618"/>
                    <a:pt x="294788" y="66337"/>
                  </a:cubicBezTo>
                  <a:cubicBezTo>
                    <a:pt x="297508" y="69057"/>
                    <a:pt x="302948" y="71776"/>
                    <a:pt x="305667" y="74496"/>
                  </a:cubicBezTo>
                  <a:cubicBezTo>
                    <a:pt x="308386" y="74496"/>
                    <a:pt x="311106" y="74496"/>
                    <a:pt x="313826" y="74496"/>
                  </a:cubicBezTo>
                  <a:cubicBezTo>
                    <a:pt x="319265" y="74496"/>
                    <a:pt x="321985" y="74496"/>
                    <a:pt x="327424" y="74496"/>
                  </a:cubicBezTo>
                  <a:cubicBezTo>
                    <a:pt x="335583" y="74496"/>
                    <a:pt x="346461" y="74496"/>
                    <a:pt x="354621" y="74496"/>
                  </a:cubicBezTo>
                  <a:cubicBezTo>
                    <a:pt x="376378" y="74496"/>
                    <a:pt x="400855" y="74496"/>
                    <a:pt x="422612" y="74496"/>
                  </a:cubicBezTo>
                  <a:cubicBezTo>
                    <a:pt x="433491" y="74496"/>
                    <a:pt x="447089" y="74496"/>
                    <a:pt x="455248" y="79936"/>
                  </a:cubicBezTo>
                  <a:cubicBezTo>
                    <a:pt x="460687" y="82655"/>
                    <a:pt x="466127" y="90814"/>
                    <a:pt x="466127" y="98973"/>
                  </a:cubicBezTo>
                  <a:cubicBezTo>
                    <a:pt x="466127" y="101693"/>
                    <a:pt x="466127" y="107132"/>
                    <a:pt x="463407" y="109852"/>
                  </a:cubicBezTo>
                  <a:cubicBezTo>
                    <a:pt x="463407" y="112571"/>
                    <a:pt x="463407" y="112571"/>
                    <a:pt x="463407" y="120730"/>
                  </a:cubicBezTo>
                  <a:cubicBezTo>
                    <a:pt x="463407" y="142488"/>
                    <a:pt x="463407" y="172404"/>
                    <a:pt x="463407" y="194161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/>
            </a:p>
          </p:txBody>
        </p:sp>
      </p:grpSp>
    </p:spTree>
    <p:extLst>
      <p:ext uri="{BB962C8B-B14F-4D97-AF65-F5344CB8AC3E}">
        <p14:creationId xmlns:p14="http://schemas.microsoft.com/office/powerpoint/2010/main" val="25853577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DD82B1C-9D1C-470A-8DAC-872C6F3CE17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1" y="152400"/>
            <a:ext cx="11430001" cy="485335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D815023-C126-4128-BC8F-1BB4CB113EE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055389" y="6307159"/>
            <a:ext cx="914400" cy="158954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CFFE3BA-31F8-4FB8-B78F-6C12DFB24A3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32534" y="6307159"/>
            <a:ext cx="7104770" cy="158954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CDE704-6759-4C07-BC57-03EACFFCB1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F95A1E-4E3E-4AAD-A517-7DAD9580D6B2}" type="slidenum">
              <a:rPr lang="en-US"/>
              <a:t>‹N›</a:t>
            </a:fld>
            <a:endParaRPr lang="en-US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92438078-B9DB-364E-B727-B3AF80660079}"/>
              </a:ext>
            </a:extLst>
          </p:cNvPr>
          <p:cNvSpPr txBox="1"/>
          <p:nvPr userDrawn="1"/>
        </p:nvSpPr>
        <p:spPr>
          <a:xfrm>
            <a:off x="5072063" y="1785938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>
              <a:lnSpc>
                <a:spcPct val="90000"/>
              </a:lnSpc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73945554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C182308-D8FD-4D2D-A4A4-0AB7B42613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1" y="152400"/>
            <a:ext cx="11430001" cy="485335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5C24ADA-2B35-4506-BCFE-28F2ED617C2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055389" y="6307159"/>
            <a:ext cx="914400" cy="158954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2EABF83-04BE-4745-A7CD-9BF29745610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32534" y="6307159"/>
            <a:ext cx="7104770" cy="158954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1FB1B30-07A6-4897-BFAA-775293B4CC0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5A54F4-DB31-4FC5-B748-3F06867349C3}" type="slidenum">
              <a:rPr lang="en-US"/>
              <a:pPr/>
              <a:t>‹N›</a:t>
            </a:fld>
            <a:endParaRPr lang="en-US"/>
          </a:p>
        </p:txBody>
      </p:sp>
      <p:sp>
        <p:nvSpPr>
          <p:cNvPr id="6" name="Text Placeholder 53">
            <a:extLst>
              <a:ext uri="{FF2B5EF4-FFF2-40B4-BE49-F238E27FC236}">
                <a16:creationId xmlns:a16="http://schemas.microsoft.com/office/drawing/2014/main" id="{AC1DD188-8160-4400-A56B-985CF10D490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1000" y="731530"/>
            <a:ext cx="11429998" cy="365739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2000">
                <a:solidFill>
                  <a:srgbClr val="724D8D"/>
                </a:solidFill>
              </a:defRPr>
            </a:lvl1pPr>
            <a:lvl2pPr marL="0" indent="0">
              <a:spcBef>
                <a:spcPts val="0"/>
              </a:spcBef>
              <a:buNone/>
              <a:defRPr sz="2000">
                <a:solidFill>
                  <a:srgbClr val="724D8D"/>
                </a:solidFill>
              </a:defRPr>
            </a:lvl2pPr>
            <a:lvl3pPr marL="0" indent="0">
              <a:spcBef>
                <a:spcPts val="0"/>
              </a:spcBef>
              <a:buNone/>
              <a:defRPr sz="2000">
                <a:solidFill>
                  <a:srgbClr val="724D8D"/>
                </a:solidFill>
              </a:defRPr>
            </a:lvl3pPr>
            <a:lvl4pPr marL="0" indent="0">
              <a:spcBef>
                <a:spcPts val="0"/>
              </a:spcBef>
              <a:buNone/>
              <a:defRPr sz="2000">
                <a:solidFill>
                  <a:srgbClr val="724D8D"/>
                </a:solidFill>
              </a:defRPr>
            </a:lvl4pPr>
            <a:lvl5pPr marL="0" indent="0">
              <a:spcBef>
                <a:spcPts val="0"/>
              </a:spcBef>
              <a:buNone/>
              <a:defRPr sz="2000">
                <a:solidFill>
                  <a:srgbClr val="724D8D"/>
                </a:solidFill>
              </a:defRPr>
            </a:lvl5pPr>
            <a:lvl6pPr marL="0" indent="0">
              <a:spcBef>
                <a:spcPts val="0"/>
              </a:spcBef>
              <a:buNone/>
              <a:defRPr sz="2000">
                <a:solidFill>
                  <a:srgbClr val="724D8D"/>
                </a:solidFill>
              </a:defRPr>
            </a:lvl6pPr>
            <a:lvl7pPr marL="0" indent="0">
              <a:spcBef>
                <a:spcPts val="0"/>
              </a:spcBef>
              <a:buNone/>
              <a:defRPr sz="2000">
                <a:solidFill>
                  <a:srgbClr val="724D8D"/>
                </a:solidFill>
              </a:defRPr>
            </a:lvl7pPr>
            <a:lvl8pPr marL="0" indent="0">
              <a:spcBef>
                <a:spcPts val="0"/>
              </a:spcBef>
              <a:buNone/>
              <a:defRPr sz="2000">
                <a:solidFill>
                  <a:srgbClr val="724D8D"/>
                </a:solidFill>
              </a:defRPr>
            </a:lvl8pPr>
            <a:lvl9pPr marL="0" indent="0">
              <a:spcBef>
                <a:spcPts val="0"/>
              </a:spcBef>
              <a:buNone/>
              <a:defRPr sz="2000">
                <a:solidFill>
                  <a:srgbClr val="724D8D"/>
                </a:solidFill>
              </a:defRPr>
            </a:lvl9pPr>
          </a:lstStyle>
          <a:p>
            <a:pPr lvl="0"/>
            <a:r>
              <a:rPr lang="en-US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3211751818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B36DCD65-4054-4059-9788-175B50658EF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055389" y="6307159"/>
            <a:ext cx="914400" cy="158954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009CC7B-BD5E-4DEB-98F7-581E73AB0D9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32534" y="6307159"/>
            <a:ext cx="7104770" cy="158954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AB1890A-9F5B-4D33-B25B-84BA80C938A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5A54F4-DB31-4FC5-B748-3F06867349C3}" type="slidenum">
              <a:rPr lang="en-US"/>
              <a:t>‹N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25631697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Pictures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Picture Placeholder 17">
            <a:extLst>
              <a:ext uri="{FF2B5EF4-FFF2-40B4-BE49-F238E27FC236}">
                <a16:creationId xmlns:a16="http://schemas.microsoft.com/office/drawing/2014/main" id="{A63F8DDC-ACF7-4A20-8541-378AD67A6BE4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905999" y="5020104"/>
            <a:ext cx="2797175" cy="1837896"/>
          </a:xfrm>
          <a:custGeom>
            <a:avLst/>
            <a:gdLst>
              <a:gd name="connsiteX0" fmla="*/ 1477209 w 2797175"/>
              <a:gd name="connsiteY0" fmla="*/ 25 h 1837896"/>
              <a:gd name="connsiteX1" fmla="*/ 1754297 w 2797175"/>
              <a:gd name="connsiteY1" fmla="*/ 32364 h 1837896"/>
              <a:gd name="connsiteX2" fmla="*/ 2791755 w 2797175"/>
              <a:gd name="connsiteY2" fmla="*/ 1570484 h 1837896"/>
              <a:gd name="connsiteX3" fmla="*/ 2761264 w 2797175"/>
              <a:gd name="connsiteY3" fmla="*/ 1772753 h 1837896"/>
              <a:gd name="connsiteX4" fmla="*/ 2740822 w 2797175"/>
              <a:gd name="connsiteY4" fmla="*/ 1837896 h 1837896"/>
              <a:gd name="connsiteX5" fmla="*/ 40031 w 2797175"/>
              <a:gd name="connsiteY5" fmla="*/ 1837896 h 1837896"/>
              <a:gd name="connsiteX6" fmla="*/ 14140 w 2797175"/>
              <a:gd name="connsiteY6" fmla="*/ 1713596 h 1837896"/>
              <a:gd name="connsiteX7" fmla="*/ 35516 w 2797175"/>
              <a:gd name="connsiteY7" fmla="*/ 1142084 h 1837896"/>
              <a:gd name="connsiteX8" fmla="*/ 1477209 w 2797175"/>
              <a:gd name="connsiteY8" fmla="*/ 25 h 18378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797175" h="1837896">
                <a:moveTo>
                  <a:pt x="1477209" y="25"/>
                </a:moveTo>
                <a:cubicBezTo>
                  <a:pt x="1570418" y="590"/>
                  <a:pt x="1663325" y="11074"/>
                  <a:pt x="1754297" y="32364"/>
                </a:cubicBezTo>
                <a:cubicBezTo>
                  <a:pt x="2456261" y="197531"/>
                  <a:pt x="2848534" y="884010"/>
                  <a:pt x="2791755" y="1570484"/>
                </a:cubicBezTo>
                <a:cubicBezTo>
                  <a:pt x="2786271" y="1641777"/>
                  <a:pt x="2775928" y="1709139"/>
                  <a:pt x="2761264" y="1772753"/>
                </a:cubicBezTo>
                <a:lnTo>
                  <a:pt x="2740822" y="1837896"/>
                </a:lnTo>
                <a:lnTo>
                  <a:pt x="40031" y="1837896"/>
                </a:lnTo>
                <a:lnTo>
                  <a:pt x="14140" y="1713596"/>
                </a:lnTo>
                <a:cubicBezTo>
                  <a:pt x="-15049" y="1510297"/>
                  <a:pt x="5355" y="1310638"/>
                  <a:pt x="35516" y="1142084"/>
                </a:cubicBezTo>
                <a:cubicBezTo>
                  <a:pt x="157459" y="478188"/>
                  <a:pt x="824742" y="-3925"/>
                  <a:pt x="1477209" y="25"/>
                </a:cubicBezTo>
                <a:close/>
              </a:path>
            </a:pathLst>
          </a:custGeom>
          <a:solidFill>
            <a:srgbClr val="D9D9D9"/>
          </a:solidFill>
        </p:spPr>
        <p:txBody>
          <a:bodyPr wrap="square" tIns="1097280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Arial" panose="020B0604020202020204" pitchFamily="34" charset="0"/>
              <a:buNone/>
              <a:tabLst/>
              <a:defRPr sz="14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insert picture</a:t>
            </a:r>
            <a:br>
              <a:rPr lang="en-US"/>
            </a:br>
            <a:r>
              <a:rPr lang="en-US"/>
              <a:t>(minimum size 320 x 320 pixels)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C2924F1-A0DC-49D4-96C4-A482D4DF75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29100" y="152400"/>
            <a:ext cx="7581902" cy="485335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A32D13B-5124-4E72-BA9F-FE8C6BFCCC0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055389" y="6307159"/>
            <a:ext cx="914400" cy="158954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FA0BBFE-DFC3-45FF-B281-F9BC65C1B49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32534" y="6307159"/>
            <a:ext cx="7104770" cy="158954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B7E582E-199C-40D6-A654-4D49AF0C7D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5A54F4-DB31-4FC5-B748-3F06867349C3}" type="slidenum">
              <a:rPr lang="en-US"/>
              <a:pPr/>
              <a:t>‹N›</a:t>
            </a:fld>
            <a:endParaRPr lang="en-US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C7104F46-245D-486A-B90A-2D0951EDC204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4229100" y="1383792"/>
            <a:ext cx="7581900" cy="4636008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 or choose an icon below to insert other conten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Text Placeholder 53">
            <a:extLst>
              <a:ext uri="{FF2B5EF4-FFF2-40B4-BE49-F238E27FC236}">
                <a16:creationId xmlns:a16="http://schemas.microsoft.com/office/drawing/2014/main" id="{EF7030FC-3432-442B-80CB-FA420E440CA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229100" y="731530"/>
            <a:ext cx="7581898" cy="365739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2000">
                <a:solidFill>
                  <a:srgbClr val="724D8D"/>
                </a:solidFill>
              </a:defRPr>
            </a:lvl1pPr>
            <a:lvl2pPr marL="0" indent="0">
              <a:spcBef>
                <a:spcPts val="0"/>
              </a:spcBef>
              <a:buNone/>
              <a:defRPr sz="2000">
                <a:solidFill>
                  <a:srgbClr val="724D8D"/>
                </a:solidFill>
              </a:defRPr>
            </a:lvl2pPr>
            <a:lvl3pPr marL="0" indent="0">
              <a:spcBef>
                <a:spcPts val="0"/>
              </a:spcBef>
              <a:buNone/>
              <a:defRPr sz="2000">
                <a:solidFill>
                  <a:srgbClr val="724D8D"/>
                </a:solidFill>
              </a:defRPr>
            </a:lvl3pPr>
            <a:lvl4pPr marL="0" indent="0">
              <a:spcBef>
                <a:spcPts val="0"/>
              </a:spcBef>
              <a:buNone/>
              <a:defRPr sz="2000">
                <a:solidFill>
                  <a:srgbClr val="724D8D"/>
                </a:solidFill>
              </a:defRPr>
            </a:lvl4pPr>
            <a:lvl5pPr marL="0" indent="0">
              <a:spcBef>
                <a:spcPts val="0"/>
              </a:spcBef>
              <a:buNone/>
              <a:defRPr sz="2000">
                <a:solidFill>
                  <a:srgbClr val="724D8D"/>
                </a:solidFill>
              </a:defRPr>
            </a:lvl5pPr>
            <a:lvl6pPr marL="0" indent="0">
              <a:spcBef>
                <a:spcPts val="0"/>
              </a:spcBef>
              <a:buNone/>
              <a:defRPr sz="2000">
                <a:solidFill>
                  <a:srgbClr val="724D8D"/>
                </a:solidFill>
              </a:defRPr>
            </a:lvl6pPr>
            <a:lvl7pPr marL="0" indent="0">
              <a:spcBef>
                <a:spcPts val="0"/>
              </a:spcBef>
              <a:buNone/>
              <a:defRPr sz="2000">
                <a:solidFill>
                  <a:srgbClr val="724D8D"/>
                </a:solidFill>
              </a:defRPr>
            </a:lvl7pPr>
            <a:lvl8pPr marL="0" indent="0">
              <a:spcBef>
                <a:spcPts val="0"/>
              </a:spcBef>
              <a:buNone/>
              <a:defRPr sz="2000">
                <a:solidFill>
                  <a:srgbClr val="724D8D"/>
                </a:solidFill>
              </a:defRPr>
            </a:lvl8pPr>
            <a:lvl9pPr marL="0" indent="0">
              <a:spcBef>
                <a:spcPts val="0"/>
              </a:spcBef>
              <a:buNone/>
              <a:defRPr sz="2000">
                <a:solidFill>
                  <a:srgbClr val="724D8D"/>
                </a:solidFill>
              </a:defRPr>
            </a:lvl9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5D6B7F4B-2B1B-4CC9-B4BE-A27597837E20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905996" y="1"/>
            <a:ext cx="2797176" cy="1905875"/>
          </a:xfrm>
          <a:custGeom>
            <a:avLst/>
            <a:gdLst>
              <a:gd name="connsiteX0" fmla="*/ 126450 w 2797176"/>
              <a:gd name="connsiteY0" fmla="*/ 0 h 1905875"/>
              <a:gd name="connsiteX1" fmla="*/ 2684933 w 2797176"/>
              <a:gd name="connsiteY1" fmla="*/ 0 h 1905875"/>
              <a:gd name="connsiteX2" fmla="*/ 2717681 w 2797176"/>
              <a:gd name="connsiteY2" fmla="*/ 86895 h 1905875"/>
              <a:gd name="connsiteX3" fmla="*/ 2791756 w 2797176"/>
              <a:gd name="connsiteY3" fmla="*/ 714556 h 1905875"/>
              <a:gd name="connsiteX4" fmla="*/ 1000720 w 2797176"/>
              <a:gd name="connsiteY4" fmla="*/ 1870727 h 1905875"/>
              <a:gd name="connsiteX5" fmla="*/ 35517 w 2797176"/>
              <a:gd name="connsiteY5" fmla="*/ 286156 h 1905875"/>
              <a:gd name="connsiteX6" fmla="*/ 119533 w 2797176"/>
              <a:gd name="connsiteY6" fmla="*/ 13646 h 1905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797176" h="1905875">
                <a:moveTo>
                  <a:pt x="126450" y="0"/>
                </a:moveTo>
                <a:lnTo>
                  <a:pt x="2684933" y="0"/>
                </a:lnTo>
                <a:lnTo>
                  <a:pt x="2717681" y="86895"/>
                </a:lnTo>
                <a:cubicBezTo>
                  <a:pt x="2783390" y="285509"/>
                  <a:pt x="2809500" y="500033"/>
                  <a:pt x="2791756" y="714556"/>
                </a:cubicBezTo>
                <a:cubicBezTo>
                  <a:pt x="2704013" y="1855245"/>
                  <a:pt x="1372347" y="1989443"/>
                  <a:pt x="1000720" y="1870727"/>
                </a:cubicBezTo>
                <a:cubicBezTo>
                  <a:pt x="-57390" y="1530069"/>
                  <a:pt x="-52226" y="776494"/>
                  <a:pt x="35517" y="286156"/>
                </a:cubicBezTo>
                <a:cubicBezTo>
                  <a:pt x="52937" y="191314"/>
                  <a:pt x="81487" y="100181"/>
                  <a:pt x="119533" y="13646"/>
                </a:cubicBezTo>
                <a:close/>
              </a:path>
            </a:pathLst>
          </a:custGeom>
          <a:solidFill>
            <a:srgbClr val="D9D9D9"/>
          </a:solidFill>
        </p:spPr>
        <p:txBody>
          <a:bodyPr wrap="square" tIns="365760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Arial" panose="020B0604020202020204" pitchFamily="34" charset="0"/>
              <a:buNone/>
              <a:tabLst/>
              <a:defRPr sz="14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insert picture</a:t>
            </a:r>
            <a:br>
              <a:rPr lang="en-US"/>
            </a:br>
            <a:r>
              <a:rPr lang="en-US"/>
              <a:t>(minimum size 320 x 320 pixels)</a:t>
            </a:r>
          </a:p>
        </p:txBody>
      </p:sp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DF9C56AD-BDF6-4DD3-BCC6-F6A6E7ADA300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905996" y="2082136"/>
            <a:ext cx="2797176" cy="2761803"/>
          </a:xfrm>
          <a:custGeom>
            <a:avLst/>
            <a:gdLst>
              <a:gd name="connsiteX0" fmla="*/ 1477210 w 2797176"/>
              <a:gd name="connsiteY0" fmla="*/ 25 h 2761803"/>
              <a:gd name="connsiteX1" fmla="*/ 1754298 w 2797176"/>
              <a:gd name="connsiteY1" fmla="*/ 32364 h 2761803"/>
              <a:gd name="connsiteX2" fmla="*/ 2791756 w 2797176"/>
              <a:gd name="connsiteY2" fmla="*/ 1570484 h 2761803"/>
              <a:gd name="connsiteX3" fmla="*/ 1000720 w 2797176"/>
              <a:gd name="connsiteY3" fmla="*/ 2726655 h 2761803"/>
              <a:gd name="connsiteX4" fmla="*/ 35517 w 2797176"/>
              <a:gd name="connsiteY4" fmla="*/ 1142084 h 2761803"/>
              <a:gd name="connsiteX5" fmla="*/ 1477210 w 2797176"/>
              <a:gd name="connsiteY5" fmla="*/ 25 h 27618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797176" h="2761803">
                <a:moveTo>
                  <a:pt x="1477210" y="25"/>
                </a:moveTo>
                <a:cubicBezTo>
                  <a:pt x="1570419" y="589"/>
                  <a:pt x="1663326" y="11073"/>
                  <a:pt x="1754298" y="32364"/>
                </a:cubicBezTo>
                <a:cubicBezTo>
                  <a:pt x="2456262" y="197531"/>
                  <a:pt x="2848535" y="884010"/>
                  <a:pt x="2791756" y="1570484"/>
                </a:cubicBezTo>
                <a:cubicBezTo>
                  <a:pt x="2704013" y="2711173"/>
                  <a:pt x="1372347" y="2845371"/>
                  <a:pt x="1000720" y="2726655"/>
                </a:cubicBezTo>
                <a:cubicBezTo>
                  <a:pt x="-57390" y="2385997"/>
                  <a:pt x="-52226" y="1632422"/>
                  <a:pt x="35517" y="1142084"/>
                </a:cubicBezTo>
                <a:cubicBezTo>
                  <a:pt x="157460" y="478187"/>
                  <a:pt x="824743" y="-3925"/>
                  <a:pt x="1477210" y="25"/>
                </a:cubicBezTo>
                <a:close/>
              </a:path>
            </a:pathLst>
          </a:custGeom>
          <a:solidFill>
            <a:srgbClr val="D9D9D9"/>
          </a:solidFill>
        </p:spPr>
        <p:txBody>
          <a:bodyPr wrap="square" tIns="731520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Arial" panose="020B0604020202020204" pitchFamily="34" charset="0"/>
              <a:buNone/>
              <a:tabLst/>
              <a:defRPr sz="14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insert picture</a:t>
            </a:r>
            <a:br>
              <a:rPr lang="en-US"/>
            </a:br>
            <a:r>
              <a:rPr lang="en-US"/>
              <a:t>(minimum size 320 x 320 pixels)</a:t>
            </a:r>
          </a:p>
        </p:txBody>
      </p:sp>
    </p:spTree>
    <p:extLst>
      <p:ext uri="{BB962C8B-B14F-4D97-AF65-F5344CB8AC3E}">
        <p14:creationId xmlns:p14="http://schemas.microsoft.com/office/powerpoint/2010/main" val="3280118064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ircle Picture wit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10">
            <a:extLst>
              <a:ext uri="{FF2B5EF4-FFF2-40B4-BE49-F238E27FC236}">
                <a16:creationId xmlns:a16="http://schemas.microsoft.com/office/drawing/2014/main" id="{A2733906-1C03-4012-B214-1CE93389DA79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2"/>
            <a:ext cx="5266036" cy="6857999"/>
          </a:xfrm>
          <a:custGeom>
            <a:avLst/>
            <a:gdLst>
              <a:gd name="connsiteX0" fmla="*/ 0 w 5266036"/>
              <a:gd name="connsiteY0" fmla="*/ 0 h 6857999"/>
              <a:gd name="connsiteX1" fmla="*/ 3014696 w 5266036"/>
              <a:gd name="connsiteY1" fmla="*/ 0 h 6857999"/>
              <a:gd name="connsiteX2" fmla="*/ 3040982 w 5266036"/>
              <a:gd name="connsiteY2" fmla="*/ 11408 h 6857999"/>
              <a:gd name="connsiteX3" fmla="*/ 5250901 w 5266036"/>
              <a:gd name="connsiteY3" fmla="*/ 4085922 h 6857999"/>
              <a:gd name="connsiteX4" fmla="*/ 3435696 w 5266036"/>
              <a:gd name="connsiteY4" fmla="*/ 6839477 h 6857999"/>
              <a:gd name="connsiteX5" fmla="*/ 3398838 w 5266036"/>
              <a:gd name="connsiteY5" fmla="*/ 6857999 h 6857999"/>
              <a:gd name="connsiteX6" fmla="*/ 0 w 5266036"/>
              <a:gd name="connsiteY6" fmla="*/ 6857999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266036" h="6857999">
                <a:moveTo>
                  <a:pt x="0" y="0"/>
                </a:moveTo>
                <a:lnTo>
                  <a:pt x="3014696" y="0"/>
                </a:lnTo>
                <a:lnTo>
                  <a:pt x="3040982" y="11408"/>
                </a:lnTo>
                <a:cubicBezTo>
                  <a:pt x="4562919" y="717837"/>
                  <a:pt x="5390071" y="2397951"/>
                  <a:pt x="5250901" y="4085922"/>
                </a:cubicBezTo>
                <a:cubicBezTo>
                  <a:pt x="5138669" y="5484335"/>
                  <a:pt x="4361602" y="6343612"/>
                  <a:pt x="3435696" y="6839477"/>
                </a:cubicBezTo>
                <a:lnTo>
                  <a:pt x="3398838" y="6857999"/>
                </a:lnTo>
                <a:lnTo>
                  <a:pt x="0" y="6857999"/>
                </a:lnTo>
                <a:close/>
              </a:path>
            </a:pathLst>
          </a:custGeom>
          <a:solidFill>
            <a:srgbClr val="D9D9D9"/>
          </a:solidFill>
        </p:spPr>
        <p:txBody>
          <a:bodyPr wrap="square" tIns="3657600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Arial" panose="020B0604020202020204" pitchFamily="34" charset="0"/>
              <a:buNone/>
              <a:tabLst/>
              <a:defRPr sz="16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insert picture</a:t>
            </a:r>
            <a:br>
              <a:rPr lang="en-US"/>
            </a:br>
            <a:r>
              <a:rPr lang="en-US"/>
              <a:t>(minimum recommended size for </a:t>
            </a:r>
            <a:br>
              <a:rPr lang="en-US"/>
            </a:br>
            <a:r>
              <a:rPr lang="en-US"/>
              <a:t>half slide image is 640 x 720 pixels)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8AEA02C-1880-4C71-86A6-34ED8A6721F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0" y="152400"/>
            <a:ext cx="5715002" cy="9017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720C5055-7E08-43F9-85F7-AF9A137CF041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6096000" y="1383792"/>
            <a:ext cx="5715000" cy="4636008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 or choose an icon below to insert other conten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164272870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ull Picture with Circl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: Shape 6">
            <a:extLst>
              <a:ext uri="{FF2B5EF4-FFF2-40B4-BE49-F238E27FC236}">
                <a16:creationId xmlns:a16="http://schemas.microsoft.com/office/drawing/2014/main" id="{B66CA63B-C1B1-43E5-8904-2600EAA42658}"/>
              </a:ext>
            </a:extLst>
          </p:cNvPr>
          <p:cNvSpPr/>
          <p:nvPr/>
        </p:nvSpPr>
        <p:spPr bwMode="ltGray">
          <a:xfrm>
            <a:off x="10451952" y="5963196"/>
            <a:ext cx="1606316" cy="894804"/>
          </a:xfrm>
          <a:custGeom>
            <a:avLst/>
            <a:gdLst>
              <a:gd name="connsiteX0" fmla="*/ 838774 w 1585477"/>
              <a:gd name="connsiteY0" fmla="*/ 14 h 883197"/>
              <a:gd name="connsiteX1" fmla="*/ 996107 w 1585477"/>
              <a:gd name="connsiteY1" fmla="*/ 18377 h 883197"/>
              <a:gd name="connsiteX2" fmla="*/ 1585477 w 1585477"/>
              <a:gd name="connsiteY2" fmla="*/ 746145 h 883197"/>
              <a:gd name="connsiteX3" fmla="*/ 1585202 w 1585477"/>
              <a:gd name="connsiteY3" fmla="*/ 883197 h 883197"/>
              <a:gd name="connsiteX4" fmla="*/ 695 w 1585477"/>
              <a:gd name="connsiteY4" fmla="*/ 883197 h 883197"/>
              <a:gd name="connsiteX5" fmla="*/ 294 w 1585477"/>
              <a:gd name="connsiteY5" fmla="*/ 879328 h 883197"/>
              <a:gd name="connsiteX6" fmla="*/ 20167 w 1585477"/>
              <a:gd name="connsiteY6" fmla="*/ 648487 h 883197"/>
              <a:gd name="connsiteX7" fmla="*/ 838774 w 1585477"/>
              <a:gd name="connsiteY7" fmla="*/ 14 h 8831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585477" h="883197">
                <a:moveTo>
                  <a:pt x="838774" y="14"/>
                </a:moveTo>
                <a:cubicBezTo>
                  <a:pt x="891699" y="335"/>
                  <a:pt x="944452" y="6288"/>
                  <a:pt x="996107" y="18377"/>
                </a:cubicBezTo>
                <a:cubicBezTo>
                  <a:pt x="1344865" y="100437"/>
                  <a:pt x="1558993" y="409128"/>
                  <a:pt x="1585477" y="746145"/>
                </a:cubicBezTo>
                <a:lnTo>
                  <a:pt x="1585202" y="883197"/>
                </a:lnTo>
                <a:lnTo>
                  <a:pt x="695" y="883197"/>
                </a:lnTo>
                <a:lnTo>
                  <a:pt x="294" y="879328"/>
                </a:lnTo>
                <a:cubicBezTo>
                  <a:pt x="-1813" y="797038"/>
                  <a:pt x="7712" y="718092"/>
                  <a:pt x="20167" y="648487"/>
                </a:cubicBezTo>
                <a:cubicBezTo>
                  <a:pt x="89408" y="271519"/>
                  <a:pt x="468297" y="-2229"/>
                  <a:pt x="838774" y="14"/>
                </a:cubicBezTo>
                <a:close/>
              </a:path>
            </a:pathLst>
          </a:custGeom>
          <a:solidFill>
            <a:srgbClr val="4F2170"/>
          </a:solidFill>
          <a:ln w="9525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>
              <a:lnSpc>
                <a:spcPct val="90000"/>
              </a:lnSpc>
            </a:pPr>
            <a:endParaRPr lang="en-US">
              <a:solidFill>
                <a:schemeClr val="bg1"/>
              </a:solidFill>
            </a:endParaRPr>
          </a:p>
        </p:txBody>
      </p:sp>
      <p:sp>
        <p:nvSpPr>
          <p:cNvPr id="56" name="Picture Placeholder 55">
            <a:extLst>
              <a:ext uri="{FF2B5EF4-FFF2-40B4-BE49-F238E27FC236}">
                <a16:creationId xmlns:a16="http://schemas.microsoft.com/office/drawing/2014/main" id="{A5EAFFDE-7D79-4F83-9864-FE3F4E8DFC8B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2 h 6858000"/>
              <a:gd name="connsiteX3" fmla="*/ 7663103 w 12192000"/>
              <a:gd name="connsiteY3" fmla="*/ 2 h 6858000"/>
              <a:gd name="connsiteX4" fmla="*/ 7480204 w 12192000"/>
              <a:gd name="connsiteY4" fmla="*/ 153025 h 6858000"/>
              <a:gd name="connsiteX5" fmla="*/ 6428049 w 12192000"/>
              <a:gd name="connsiteY5" fmla="*/ 1989352 h 6858000"/>
              <a:gd name="connsiteX6" fmla="*/ 8885900 w 12192000"/>
              <a:gd name="connsiteY6" fmla="*/ 5978297 h 6858000"/>
              <a:gd name="connsiteX7" fmla="*/ 12154972 w 12192000"/>
              <a:gd name="connsiteY7" fmla="*/ 5329397 h 6858000"/>
              <a:gd name="connsiteX8" fmla="*/ 12192000 w 12192000"/>
              <a:gd name="connsiteY8" fmla="*/ 5302368 h 6858000"/>
              <a:gd name="connsiteX9" fmla="*/ 12192000 w 12192000"/>
              <a:gd name="connsiteY9" fmla="*/ 6858000 h 6858000"/>
              <a:gd name="connsiteX10" fmla="*/ 12047573 w 12192000"/>
              <a:gd name="connsiteY10" fmla="*/ 6858000 h 6858000"/>
              <a:gd name="connsiteX11" fmla="*/ 12047848 w 12192000"/>
              <a:gd name="connsiteY11" fmla="*/ 6720949 h 6858000"/>
              <a:gd name="connsiteX12" fmla="*/ 11458478 w 12192000"/>
              <a:gd name="connsiteY12" fmla="*/ 5993181 h 6858000"/>
              <a:gd name="connsiteX13" fmla="*/ 11301145 w 12192000"/>
              <a:gd name="connsiteY13" fmla="*/ 5974818 h 6858000"/>
              <a:gd name="connsiteX14" fmla="*/ 10482538 w 12192000"/>
              <a:gd name="connsiteY14" fmla="*/ 6623291 h 6858000"/>
              <a:gd name="connsiteX15" fmla="*/ 10462665 w 12192000"/>
              <a:gd name="connsiteY15" fmla="*/ 6854132 h 6858000"/>
              <a:gd name="connsiteX16" fmla="*/ 10463066 w 12192000"/>
              <a:gd name="connsiteY16" fmla="*/ 6858000 h 6858000"/>
              <a:gd name="connsiteX17" fmla="*/ 0 w 12192000"/>
              <a:gd name="connsiteY1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2"/>
                </a:lnTo>
                <a:lnTo>
                  <a:pt x="7663103" y="2"/>
                </a:lnTo>
                <a:lnTo>
                  <a:pt x="7480204" y="153025"/>
                </a:lnTo>
                <a:cubicBezTo>
                  <a:pt x="6949276" y="640885"/>
                  <a:pt x="6561130" y="1273092"/>
                  <a:pt x="6428049" y="1989352"/>
                </a:cubicBezTo>
                <a:cubicBezTo>
                  <a:pt x="6204615" y="3223711"/>
                  <a:pt x="6191465" y="5120738"/>
                  <a:pt x="8885900" y="5978297"/>
                </a:cubicBezTo>
                <a:cubicBezTo>
                  <a:pt x="9477360" y="6165081"/>
                  <a:pt x="11023781" y="6103162"/>
                  <a:pt x="12154972" y="5329397"/>
                </a:cubicBezTo>
                <a:lnTo>
                  <a:pt x="12192000" y="5302368"/>
                </a:lnTo>
                <a:lnTo>
                  <a:pt x="12192000" y="6858000"/>
                </a:lnTo>
                <a:lnTo>
                  <a:pt x="12047573" y="6858000"/>
                </a:lnTo>
                <a:lnTo>
                  <a:pt x="12047848" y="6720949"/>
                </a:lnTo>
                <a:cubicBezTo>
                  <a:pt x="12021364" y="6383932"/>
                  <a:pt x="11807236" y="6075241"/>
                  <a:pt x="11458478" y="5993181"/>
                </a:cubicBezTo>
                <a:cubicBezTo>
                  <a:pt x="11406823" y="5981092"/>
                  <a:pt x="11354070" y="5975139"/>
                  <a:pt x="11301145" y="5974818"/>
                </a:cubicBezTo>
                <a:cubicBezTo>
                  <a:pt x="10930668" y="5972575"/>
                  <a:pt x="10551779" y="6246323"/>
                  <a:pt x="10482538" y="6623291"/>
                </a:cubicBezTo>
                <a:cubicBezTo>
                  <a:pt x="10470083" y="6692896"/>
                  <a:pt x="10460558" y="6771842"/>
                  <a:pt x="10462665" y="6854132"/>
                </a:cubicBezTo>
                <a:lnTo>
                  <a:pt x="10463066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D9D9D9"/>
          </a:solidFill>
        </p:spPr>
        <p:txBody>
          <a:bodyPr wrap="square" lIns="0" rIns="3474720" anchor="ctr" anchorCtr="0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Arial" panose="020B0604020202020204" pitchFamily="34" charset="0"/>
              <a:buNone/>
              <a:tabLst/>
              <a:defRPr sz="16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insert picture</a:t>
            </a:r>
            <a:br>
              <a:rPr lang="en-US"/>
            </a:br>
            <a:r>
              <a:rPr lang="en-US"/>
              <a:t>(minimum recommended size for </a:t>
            </a:r>
            <a:br>
              <a:rPr lang="en-US"/>
            </a:br>
            <a:r>
              <a:rPr lang="en-US"/>
              <a:t>full slide image is 1280 x 720 pixels)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054D87F-D170-4CA6-B8DB-A068AAB2EE6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84556" y="909045"/>
            <a:ext cx="4626444" cy="841828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DBB3B4C9-10AF-4C1C-BD4C-19B5526DA837}"/>
              </a:ext>
            </a:extLst>
          </p:cNvPr>
          <p:cNvGrpSpPr>
            <a:grpSpLocks noChangeAspect="1"/>
          </p:cNvGrpSpPr>
          <p:nvPr/>
        </p:nvGrpSpPr>
        <p:grpSpPr>
          <a:xfrm>
            <a:off x="10676779" y="6205751"/>
            <a:ext cx="1143000" cy="440144"/>
            <a:chOff x="2078951" y="1888610"/>
            <a:chExt cx="8030200" cy="3092248"/>
          </a:xfrm>
          <a:solidFill>
            <a:srgbClr val="FFFFFF"/>
          </a:solidFill>
        </p:grpSpPr>
        <p:sp>
          <p:nvSpPr>
            <p:cNvPr id="9" name="Freeform: Shape 8">
              <a:extLst>
                <a:ext uri="{FF2B5EF4-FFF2-40B4-BE49-F238E27FC236}">
                  <a16:creationId xmlns:a16="http://schemas.microsoft.com/office/drawing/2014/main" id="{2AA55965-C91C-46A8-84D3-9426B2920951}"/>
                </a:ext>
              </a:extLst>
            </p:cNvPr>
            <p:cNvSpPr/>
            <p:nvPr/>
          </p:nvSpPr>
          <p:spPr>
            <a:xfrm>
              <a:off x="2078951" y="2872694"/>
              <a:ext cx="951880" cy="652717"/>
            </a:xfrm>
            <a:custGeom>
              <a:avLst/>
              <a:gdLst>
                <a:gd name="connsiteX0" fmla="*/ 903041 w 951880"/>
                <a:gd name="connsiteY0" fmla="*/ 330574 h 652717"/>
                <a:gd name="connsiteX1" fmla="*/ 780656 w 951880"/>
                <a:gd name="connsiteY1" fmla="*/ 379528 h 652717"/>
                <a:gd name="connsiteX2" fmla="*/ 598439 w 951880"/>
                <a:gd name="connsiteY2" fmla="*/ 311537 h 652717"/>
                <a:gd name="connsiteX3" fmla="*/ 505970 w 951880"/>
                <a:gd name="connsiteY3" fmla="*/ 164675 h 652717"/>
                <a:gd name="connsiteX4" fmla="*/ 266640 w 951880"/>
                <a:gd name="connsiteY4" fmla="*/ 61329 h 652717"/>
                <a:gd name="connsiteX5" fmla="*/ 103461 w 951880"/>
                <a:gd name="connsiteY5" fmla="*/ 458398 h 652717"/>
                <a:gd name="connsiteX6" fmla="*/ 756179 w 951880"/>
                <a:gd name="connsiteY6" fmla="*/ 485595 h 652717"/>
                <a:gd name="connsiteX7" fmla="*/ 903041 w 951880"/>
                <a:gd name="connsiteY7" fmla="*/ 330574 h 6527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51880" h="652717">
                  <a:moveTo>
                    <a:pt x="903041" y="330574"/>
                  </a:moveTo>
                  <a:cubicBezTo>
                    <a:pt x="867685" y="363210"/>
                    <a:pt x="813292" y="374089"/>
                    <a:pt x="780656" y="379528"/>
                  </a:cubicBezTo>
                  <a:cubicBezTo>
                    <a:pt x="712664" y="387687"/>
                    <a:pt x="641953" y="365930"/>
                    <a:pt x="598439" y="311537"/>
                  </a:cubicBezTo>
                  <a:cubicBezTo>
                    <a:pt x="563083" y="268022"/>
                    <a:pt x="544046" y="210910"/>
                    <a:pt x="505970" y="164675"/>
                  </a:cubicBezTo>
                  <a:cubicBezTo>
                    <a:pt x="448858" y="93964"/>
                    <a:pt x="359109" y="45011"/>
                    <a:pt x="266640" y="61329"/>
                  </a:cubicBezTo>
                  <a:cubicBezTo>
                    <a:pt x="81704" y="93964"/>
                    <a:pt x="114" y="308817"/>
                    <a:pt x="103461" y="458398"/>
                  </a:cubicBezTo>
                  <a:cubicBezTo>
                    <a:pt x="253042" y="670531"/>
                    <a:pt x="584840" y="635176"/>
                    <a:pt x="756179" y="485595"/>
                  </a:cubicBezTo>
                  <a:cubicBezTo>
                    <a:pt x="813292" y="442080"/>
                    <a:pt x="862246" y="390407"/>
                    <a:pt x="903041" y="330574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" name="Freeform: Shape 9">
              <a:extLst>
                <a:ext uri="{FF2B5EF4-FFF2-40B4-BE49-F238E27FC236}">
                  <a16:creationId xmlns:a16="http://schemas.microsoft.com/office/drawing/2014/main" id="{FA7C3306-5AFD-4197-B039-52B9B3D0AC6E}"/>
                </a:ext>
              </a:extLst>
            </p:cNvPr>
            <p:cNvSpPr/>
            <p:nvPr/>
          </p:nvSpPr>
          <p:spPr>
            <a:xfrm>
              <a:off x="9151831" y="2872694"/>
              <a:ext cx="951880" cy="652717"/>
            </a:xfrm>
            <a:custGeom>
              <a:avLst/>
              <a:gdLst>
                <a:gd name="connsiteX0" fmla="*/ 58178 w 951880"/>
                <a:gd name="connsiteY0" fmla="*/ 330574 h 652717"/>
                <a:gd name="connsiteX1" fmla="*/ 180563 w 951880"/>
                <a:gd name="connsiteY1" fmla="*/ 379528 h 652717"/>
                <a:gd name="connsiteX2" fmla="*/ 362780 w 951880"/>
                <a:gd name="connsiteY2" fmla="*/ 311537 h 652717"/>
                <a:gd name="connsiteX3" fmla="*/ 455249 w 951880"/>
                <a:gd name="connsiteY3" fmla="*/ 164675 h 652717"/>
                <a:gd name="connsiteX4" fmla="*/ 694578 w 951880"/>
                <a:gd name="connsiteY4" fmla="*/ 61329 h 652717"/>
                <a:gd name="connsiteX5" fmla="*/ 857758 w 951880"/>
                <a:gd name="connsiteY5" fmla="*/ 458398 h 652717"/>
                <a:gd name="connsiteX6" fmla="*/ 205040 w 951880"/>
                <a:gd name="connsiteY6" fmla="*/ 485595 h 652717"/>
                <a:gd name="connsiteX7" fmla="*/ 58178 w 951880"/>
                <a:gd name="connsiteY7" fmla="*/ 330574 h 6527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51880" h="652717">
                  <a:moveTo>
                    <a:pt x="58178" y="330574"/>
                  </a:moveTo>
                  <a:cubicBezTo>
                    <a:pt x="96253" y="363210"/>
                    <a:pt x="147927" y="374089"/>
                    <a:pt x="180563" y="379528"/>
                  </a:cubicBezTo>
                  <a:cubicBezTo>
                    <a:pt x="248554" y="387687"/>
                    <a:pt x="319266" y="365930"/>
                    <a:pt x="362780" y="311537"/>
                  </a:cubicBezTo>
                  <a:cubicBezTo>
                    <a:pt x="398136" y="268022"/>
                    <a:pt x="417174" y="210910"/>
                    <a:pt x="455249" y="164675"/>
                  </a:cubicBezTo>
                  <a:cubicBezTo>
                    <a:pt x="512362" y="93964"/>
                    <a:pt x="602110" y="45011"/>
                    <a:pt x="694578" y="61329"/>
                  </a:cubicBezTo>
                  <a:cubicBezTo>
                    <a:pt x="879515" y="93964"/>
                    <a:pt x="961105" y="308817"/>
                    <a:pt x="857758" y="458398"/>
                  </a:cubicBezTo>
                  <a:cubicBezTo>
                    <a:pt x="708176" y="670531"/>
                    <a:pt x="376379" y="635176"/>
                    <a:pt x="205040" y="485595"/>
                  </a:cubicBezTo>
                  <a:cubicBezTo>
                    <a:pt x="150646" y="442080"/>
                    <a:pt x="101693" y="390407"/>
                    <a:pt x="58178" y="330574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5C31767F-4ADA-45F2-B354-AEF2579A6A70}"/>
                </a:ext>
              </a:extLst>
            </p:cNvPr>
            <p:cNvSpPr/>
            <p:nvPr/>
          </p:nvSpPr>
          <p:spPr>
            <a:xfrm>
              <a:off x="8001294" y="2010994"/>
              <a:ext cx="734308" cy="299162"/>
            </a:xfrm>
            <a:custGeom>
              <a:avLst/>
              <a:gdLst>
                <a:gd name="connsiteX0" fmla="*/ 596792 w 734307"/>
                <a:gd name="connsiteY0" fmla="*/ 58178 h 299162"/>
                <a:gd name="connsiteX1" fmla="*/ 148048 w 734307"/>
                <a:gd name="connsiteY1" fmla="*/ 58178 h 299162"/>
                <a:gd name="connsiteX2" fmla="*/ 58299 w 734307"/>
                <a:gd name="connsiteY2" fmla="*/ 150646 h 299162"/>
                <a:gd name="connsiteX3" fmla="*/ 148048 w 734307"/>
                <a:gd name="connsiteY3" fmla="*/ 251274 h 299162"/>
                <a:gd name="connsiteX4" fmla="*/ 596792 w 734307"/>
                <a:gd name="connsiteY4" fmla="*/ 251274 h 299162"/>
                <a:gd name="connsiteX5" fmla="*/ 686541 w 734307"/>
                <a:gd name="connsiteY5" fmla="*/ 158805 h 299162"/>
                <a:gd name="connsiteX6" fmla="*/ 596792 w 734307"/>
                <a:gd name="connsiteY6" fmla="*/ 58178 h 2991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34307" h="299162">
                  <a:moveTo>
                    <a:pt x="596792" y="58178"/>
                  </a:moveTo>
                  <a:cubicBezTo>
                    <a:pt x="591353" y="58178"/>
                    <a:pt x="153487" y="58178"/>
                    <a:pt x="148048" y="58178"/>
                  </a:cubicBezTo>
                  <a:cubicBezTo>
                    <a:pt x="99094" y="60898"/>
                    <a:pt x="61019" y="104412"/>
                    <a:pt x="58299" y="150646"/>
                  </a:cubicBezTo>
                  <a:cubicBezTo>
                    <a:pt x="55580" y="199600"/>
                    <a:pt x="99094" y="248554"/>
                    <a:pt x="148048" y="251274"/>
                  </a:cubicBezTo>
                  <a:cubicBezTo>
                    <a:pt x="153487" y="251274"/>
                    <a:pt x="591353" y="251274"/>
                    <a:pt x="596792" y="251274"/>
                  </a:cubicBezTo>
                  <a:cubicBezTo>
                    <a:pt x="645746" y="248554"/>
                    <a:pt x="683821" y="205040"/>
                    <a:pt x="686541" y="158805"/>
                  </a:cubicBezTo>
                  <a:cubicBezTo>
                    <a:pt x="689260" y="109852"/>
                    <a:pt x="648465" y="60898"/>
                    <a:pt x="596792" y="58178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CB6DA548-0CD9-4078-B433-D61F10371744}"/>
                </a:ext>
              </a:extLst>
            </p:cNvPr>
            <p:cNvSpPr/>
            <p:nvPr/>
          </p:nvSpPr>
          <p:spPr>
            <a:xfrm>
              <a:off x="4920042" y="2277520"/>
              <a:ext cx="1006274" cy="951879"/>
            </a:xfrm>
            <a:custGeom>
              <a:avLst/>
              <a:gdLst>
                <a:gd name="connsiteX0" fmla="*/ 884954 w 1006273"/>
                <a:gd name="connsiteY0" fmla="*/ 746251 h 951879"/>
                <a:gd name="connsiteX1" fmla="*/ 874076 w 1006273"/>
                <a:gd name="connsiteY1" fmla="*/ 670101 h 951879"/>
                <a:gd name="connsiteX2" fmla="*/ 874076 w 1006273"/>
                <a:gd name="connsiteY2" fmla="*/ 536837 h 951879"/>
                <a:gd name="connsiteX3" fmla="*/ 689139 w 1006273"/>
                <a:gd name="connsiteY3" fmla="*/ 88094 h 951879"/>
                <a:gd name="connsiteX4" fmla="*/ 428052 w 1006273"/>
                <a:gd name="connsiteY4" fmla="*/ 253993 h 951879"/>
                <a:gd name="connsiteX5" fmla="*/ 196881 w 1006273"/>
                <a:gd name="connsiteY5" fmla="*/ 58178 h 951879"/>
                <a:gd name="connsiteX6" fmla="*/ 58178 w 1006273"/>
                <a:gd name="connsiteY6" fmla="*/ 128889 h 951879"/>
                <a:gd name="connsiteX7" fmla="*/ 142488 w 1006273"/>
                <a:gd name="connsiteY7" fmla="*/ 273031 h 951879"/>
                <a:gd name="connsiteX8" fmla="*/ 142488 w 1006273"/>
                <a:gd name="connsiteY8" fmla="*/ 757130 h 951879"/>
                <a:gd name="connsiteX9" fmla="*/ 283910 w 1006273"/>
                <a:gd name="connsiteY9" fmla="*/ 895832 h 951879"/>
                <a:gd name="connsiteX10" fmla="*/ 428052 w 1006273"/>
                <a:gd name="connsiteY10" fmla="*/ 757130 h 951879"/>
                <a:gd name="connsiteX11" fmla="*/ 428052 w 1006273"/>
                <a:gd name="connsiteY11" fmla="*/ 400855 h 951879"/>
                <a:gd name="connsiteX12" fmla="*/ 523240 w 1006273"/>
                <a:gd name="connsiteY12" fmla="*/ 283910 h 951879"/>
                <a:gd name="connsiteX13" fmla="*/ 591231 w 1006273"/>
                <a:gd name="connsiteY13" fmla="*/ 354621 h 951879"/>
                <a:gd name="connsiteX14" fmla="*/ 591231 w 1006273"/>
                <a:gd name="connsiteY14" fmla="*/ 697297 h 951879"/>
                <a:gd name="connsiteX15" fmla="*/ 593951 w 1006273"/>
                <a:gd name="connsiteY15" fmla="*/ 729933 h 951879"/>
                <a:gd name="connsiteX16" fmla="*/ 610269 w 1006273"/>
                <a:gd name="connsiteY16" fmla="*/ 778887 h 951879"/>
                <a:gd name="connsiteX17" fmla="*/ 822402 w 1006273"/>
                <a:gd name="connsiteY17" fmla="*/ 893112 h 951879"/>
                <a:gd name="connsiteX18" fmla="*/ 961105 w 1006273"/>
                <a:gd name="connsiteY18" fmla="*/ 822401 h 951879"/>
                <a:gd name="connsiteX19" fmla="*/ 884954 w 1006273"/>
                <a:gd name="connsiteY19" fmla="*/ 746251 h 9518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006273" h="951879">
                  <a:moveTo>
                    <a:pt x="884954" y="746251"/>
                  </a:moveTo>
                  <a:cubicBezTo>
                    <a:pt x="879515" y="721774"/>
                    <a:pt x="876795" y="694578"/>
                    <a:pt x="874076" y="670101"/>
                  </a:cubicBezTo>
                  <a:cubicBezTo>
                    <a:pt x="874076" y="634745"/>
                    <a:pt x="874076" y="583072"/>
                    <a:pt x="874076" y="536837"/>
                  </a:cubicBezTo>
                  <a:cubicBezTo>
                    <a:pt x="879515" y="373658"/>
                    <a:pt x="909431" y="88094"/>
                    <a:pt x="689139" y="88094"/>
                  </a:cubicBezTo>
                  <a:cubicBezTo>
                    <a:pt x="539558" y="88094"/>
                    <a:pt x="452529" y="213199"/>
                    <a:pt x="428052" y="253993"/>
                  </a:cubicBezTo>
                  <a:cubicBezTo>
                    <a:pt x="425332" y="139768"/>
                    <a:pt x="335583" y="58178"/>
                    <a:pt x="196881" y="58178"/>
                  </a:cubicBezTo>
                  <a:cubicBezTo>
                    <a:pt x="109852" y="58178"/>
                    <a:pt x="58178" y="128889"/>
                    <a:pt x="58178" y="128889"/>
                  </a:cubicBezTo>
                  <a:cubicBezTo>
                    <a:pt x="58178" y="128889"/>
                    <a:pt x="142488" y="158805"/>
                    <a:pt x="142488" y="273031"/>
                  </a:cubicBezTo>
                  <a:cubicBezTo>
                    <a:pt x="142488" y="354621"/>
                    <a:pt x="142488" y="757130"/>
                    <a:pt x="142488" y="757130"/>
                  </a:cubicBezTo>
                  <a:cubicBezTo>
                    <a:pt x="145207" y="827841"/>
                    <a:pt x="194161" y="895832"/>
                    <a:pt x="283910" y="895832"/>
                  </a:cubicBezTo>
                  <a:cubicBezTo>
                    <a:pt x="373659" y="895832"/>
                    <a:pt x="428052" y="827841"/>
                    <a:pt x="428052" y="757130"/>
                  </a:cubicBezTo>
                  <a:lnTo>
                    <a:pt x="428052" y="400855"/>
                  </a:lnTo>
                  <a:cubicBezTo>
                    <a:pt x="441650" y="343742"/>
                    <a:pt x="474286" y="283910"/>
                    <a:pt x="523240" y="283910"/>
                  </a:cubicBezTo>
                  <a:cubicBezTo>
                    <a:pt x="585792" y="283910"/>
                    <a:pt x="591231" y="354621"/>
                    <a:pt x="591231" y="354621"/>
                  </a:cubicBezTo>
                  <a:lnTo>
                    <a:pt x="591231" y="697297"/>
                  </a:lnTo>
                  <a:cubicBezTo>
                    <a:pt x="591231" y="708176"/>
                    <a:pt x="593951" y="719054"/>
                    <a:pt x="593951" y="729933"/>
                  </a:cubicBezTo>
                  <a:cubicBezTo>
                    <a:pt x="596671" y="748971"/>
                    <a:pt x="602110" y="765289"/>
                    <a:pt x="610269" y="778887"/>
                  </a:cubicBezTo>
                  <a:cubicBezTo>
                    <a:pt x="645624" y="846878"/>
                    <a:pt x="719055" y="893112"/>
                    <a:pt x="822402" y="893112"/>
                  </a:cubicBezTo>
                  <a:cubicBezTo>
                    <a:pt x="909431" y="893112"/>
                    <a:pt x="961105" y="822401"/>
                    <a:pt x="961105" y="822401"/>
                  </a:cubicBezTo>
                  <a:cubicBezTo>
                    <a:pt x="961105" y="822401"/>
                    <a:pt x="909431" y="808803"/>
                    <a:pt x="884954" y="746251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8D688978-BCBB-42C3-8877-14A7C1EF64F9}"/>
                </a:ext>
              </a:extLst>
            </p:cNvPr>
            <p:cNvSpPr/>
            <p:nvPr/>
          </p:nvSpPr>
          <p:spPr>
            <a:xfrm>
              <a:off x="7552331" y="1888610"/>
              <a:ext cx="489539" cy="1332631"/>
            </a:xfrm>
            <a:custGeom>
              <a:avLst/>
              <a:gdLst>
                <a:gd name="connsiteX0" fmla="*/ 368560 w 489538"/>
                <a:gd name="connsiteY0" fmla="*/ 1135162 h 1332630"/>
                <a:gd name="connsiteX1" fmla="*/ 357681 w 489538"/>
                <a:gd name="connsiteY1" fmla="*/ 1059011 h 1332630"/>
                <a:gd name="connsiteX2" fmla="*/ 357681 w 489538"/>
                <a:gd name="connsiteY2" fmla="*/ 207759 h 1332630"/>
                <a:gd name="connsiteX3" fmla="*/ 208099 w 489538"/>
                <a:gd name="connsiteY3" fmla="*/ 58178 h 1332630"/>
                <a:gd name="connsiteX4" fmla="*/ 58518 w 489538"/>
                <a:gd name="connsiteY4" fmla="*/ 207759 h 1332630"/>
                <a:gd name="connsiteX5" fmla="*/ 58518 w 489538"/>
                <a:gd name="connsiteY5" fmla="*/ 961104 h 1332630"/>
                <a:gd name="connsiteX6" fmla="*/ 85715 w 489538"/>
                <a:gd name="connsiteY6" fmla="*/ 1159639 h 1332630"/>
                <a:gd name="connsiteX7" fmla="*/ 306007 w 489538"/>
                <a:gd name="connsiteY7" fmla="*/ 1282023 h 1332630"/>
                <a:gd name="connsiteX8" fmla="*/ 444710 w 489538"/>
                <a:gd name="connsiteY8" fmla="*/ 1211312 h 1332630"/>
                <a:gd name="connsiteX9" fmla="*/ 368560 w 489538"/>
                <a:gd name="connsiteY9" fmla="*/ 1135162 h 13326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89538" h="1332630">
                  <a:moveTo>
                    <a:pt x="368560" y="1135162"/>
                  </a:moveTo>
                  <a:cubicBezTo>
                    <a:pt x="363120" y="1110685"/>
                    <a:pt x="357681" y="1083488"/>
                    <a:pt x="357681" y="1059011"/>
                  </a:cubicBezTo>
                  <a:lnTo>
                    <a:pt x="357681" y="207759"/>
                  </a:lnTo>
                  <a:cubicBezTo>
                    <a:pt x="357681" y="126170"/>
                    <a:pt x="289689" y="58178"/>
                    <a:pt x="208099" y="58178"/>
                  </a:cubicBezTo>
                  <a:cubicBezTo>
                    <a:pt x="126510" y="58178"/>
                    <a:pt x="58518" y="126170"/>
                    <a:pt x="58518" y="207759"/>
                  </a:cubicBezTo>
                  <a:lnTo>
                    <a:pt x="58518" y="961104"/>
                  </a:lnTo>
                  <a:cubicBezTo>
                    <a:pt x="58518" y="1029095"/>
                    <a:pt x="53079" y="1097086"/>
                    <a:pt x="85715" y="1159639"/>
                  </a:cubicBezTo>
                  <a:cubicBezTo>
                    <a:pt x="118351" y="1227630"/>
                    <a:pt x="202660" y="1282023"/>
                    <a:pt x="306007" y="1282023"/>
                  </a:cubicBezTo>
                  <a:cubicBezTo>
                    <a:pt x="393036" y="1282023"/>
                    <a:pt x="444710" y="1211312"/>
                    <a:pt x="444710" y="1211312"/>
                  </a:cubicBezTo>
                  <a:cubicBezTo>
                    <a:pt x="444710" y="1211312"/>
                    <a:pt x="393036" y="1197714"/>
                    <a:pt x="368560" y="1135162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D3EAD6C8-DC12-4BCC-8993-9CD4B9FF1B4B}"/>
                </a:ext>
              </a:extLst>
            </p:cNvPr>
            <p:cNvSpPr/>
            <p:nvPr/>
          </p:nvSpPr>
          <p:spPr>
            <a:xfrm>
              <a:off x="4162324" y="2357456"/>
              <a:ext cx="815899" cy="815898"/>
            </a:xfrm>
            <a:custGeom>
              <a:avLst/>
              <a:gdLst>
                <a:gd name="connsiteX0" fmla="*/ 407949 w 815899"/>
                <a:gd name="connsiteY0" fmla="*/ 174058 h 815898"/>
                <a:gd name="connsiteX1" fmla="*/ 293723 w 815899"/>
                <a:gd name="connsiteY1" fmla="*/ 407950 h 815898"/>
                <a:gd name="connsiteX2" fmla="*/ 410669 w 815899"/>
                <a:gd name="connsiteY2" fmla="*/ 641840 h 815898"/>
                <a:gd name="connsiteX3" fmla="*/ 522175 w 815899"/>
                <a:gd name="connsiteY3" fmla="*/ 407950 h 815898"/>
                <a:gd name="connsiteX4" fmla="*/ 407949 w 815899"/>
                <a:gd name="connsiteY4" fmla="*/ 174058 h 815898"/>
                <a:gd name="connsiteX5" fmla="*/ 407950 w 815899"/>
                <a:gd name="connsiteY5" fmla="*/ 0 h 815898"/>
                <a:gd name="connsiteX6" fmla="*/ 815899 w 815899"/>
                <a:gd name="connsiteY6" fmla="*/ 407949 h 815898"/>
                <a:gd name="connsiteX7" fmla="*/ 407950 w 815899"/>
                <a:gd name="connsiteY7" fmla="*/ 815898 h 815898"/>
                <a:gd name="connsiteX8" fmla="*/ 0 w 815899"/>
                <a:gd name="connsiteY8" fmla="*/ 407949 h 815898"/>
                <a:gd name="connsiteX9" fmla="*/ 407950 w 815899"/>
                <a:gd name="connsiteY9" fmla="*/ 0 h 815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15899" h="815898">
                  <a:moveTo>
                    <a:pt x="407949" y="174058"/>
                  </a:moveTo>
                  <a:cubicBezTo>
                    <a:pt x="342677" y="174058"/>
                    <a:pt x="293723" y="263807"/>
                    <a:pt x="293723" y="407950"/>
                  </a:cubicBezTo>
                  <a:cubicBezTo>
                    <a:pt x="293723" y="552091"/>
                    <a:pt x="331799" y="639120"/>
                    <a:pt x="410669" y="641840"/>
                  </a:cubicBezTo>
                  <a:cubicBezTo>
                    <a:pt x="489539" y="641840"/>
                    <a:pt x="527614" y="552091"/>
                    <a:pt x="522175" y="407950"/>
                  </a:cubicBezTo>
                  <a:cubicBezTo>
                    <a:pt x="522175" y="263807"/>
                    <a:pt x="473221" y="176778"/>
                    <a:pt x="407949" y="174058"/>
                  </a:cubicBezTo>
                  <a:close/>
                  <a:moveTo>
                    <a:pt x="407950" y="0"/>
                  </a:moveTo>
                  <a:cubicBezTo>
                    <a:pt x="633682" y="0"/>
                    <a:pt x="815899" y="182217"/>
                    <a:pt x="815899" y="407949"/>
                  </a:cubicBezTo>
                  <a:cubicBezTo>
                    <a:pt x="815899" y="633681"/>
                    <a:pt x="633682" y="815898"/>
                    <a:pt x="407950" y="815898"/>
                  </a:cubicBezTo>
                  <a:cubicBezTo>
                    <a:pt x="182218" y="815898"/>
                    <a:pt x="0" y="633681"/>
                    <a:pt x="0" y="407949"/>
                  </a:cubicBezTo>
                  <a:cubicBezTo>
                    <a:pt x="0" y="182217"/>
                    <a:pt x="182218" y="0"/>
                    <a:pt x="407950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10A3D4A8-5179-4579-86DA-E3BE1D9939BC}"/>
                </a:ext>
              </a:extLst>
            </p:cNvPr>
            <p:cNvSpPr/>
            <p:nvPr/>
          </p:nvSpPr>
          <p:spPr>
            <a:xfrm>
              <a:off x="5884871" y="1946788"/>
              <a:ext cx="912802" cy="1223846"/>
            </a:xfrm>
            <a:custGeom>
              <a:avLst/>
              <a:gdLst>
                <a:gd name="connsiteX0" fmla="*/ 387907 w 912802"/>
                <a:gd name="connsiteY0" fmla="*/ 620081 h 1223846"/>
                <a:gd name="connsiteX1" fmla="*/ 273681 w 912802"/>
                <a:gd name="connsiteY1" fmla="*/ 824055 h 1223846"/>
                <a:gd name="connsiteX2" fmla="*/ 390627 w 912802"/>
                <a:gd name="connsiteY2" fmla="*/ 1028029 h 1223846"/>
                <a:gd name="connsiteX3" fmla="*/ 502132 w 912802"/>
                <a:gd name="connsiteY3" fmla="*/ 824055 h 1223846"/>
                <a:gd name="connsiteX4" fmla="*/ 387907 w 912802"/>
                <a:gd name="connsiteY4" fmla="*/ 620081 h 1223846"/>
                <a:gd name="connsiteX5" fmla="*/ 676192 w 912802"/>
                <a:gd name="connsiteY5" fmla="*/ 0 h 1223846"/>
                <a:gd name="connsiteX6" fmla="*/ 825773 w 912802"/>
                <a:gd name="connsiteY6" fmla="*/ 149581 h 1223846"/>
                <a:gd name="connsiteX7" fmla="*/ 825773 w 912802"/>
                <a:gd name="connsiteY7" fmla="*/ 1000834 h 1223846"/>
                <a:gd name="connsiteX8" fmla="*/ 836651 w 912802"/>
                <a:gd name="connsiteY8" fmla="*/ 1076985 h 1223846"/>
                <a:gd name="connsiteX9" fmla="*/ 912802 w 912802"/>
                <a:gd name="connsiteY9" fmla="*/ 1150415 h 1223846"/>
                <a:gd name="connsiteX10" fmla="*/ 774099 w 912802"/>
                <a:gd name="connsiteY10" fmla="*/ 1221126 h 1223846"/>
                <a:gd name="connsiteX11" fmla="*/ 553807 w 912802"/>
                <a:gd name="connsiteY11" fmla="*/ 1098742 h 1223846"/>
                <a:gd name="connsiteX12" fmla="*/ 548367 w 912802"/>
                <a:gd name="connsiteY12" fmla="*/ 1085144 h 1223846"/>
                <a:gd name="connsiteX13" fmla="*/ 398786 w 912802"/>
                <a:gd name="connsiteY13" fmla="*/ 1212967 h 1223846"/>
                <a:gd name="connsiteX14" fmla="*/ 156736 w 912802"/>
                <a:gd name="connsiteY14" fmla="*/ 1180332 h 1223846"/>
                <a:gd name="connsiteX15" fmla="*/ 287280 w 912802"/>
                <a:gd name="connsiteY15" fmla="*/ 416107 h 1223846"/>
                <a:gd name="connsiteX16" fmla="*/ 526611 w 912802"/>
                <a:gd name="connsiteY16" fmla="*/ 552091 h 1223846"/>
                <a:gd name="connsiteX17" fmla="*/ 526611 w 912802"/>
                <a:gd name="connsiteY17" fmla="*/ 149581 h 1223846"/>
                <a:gd name="connsiteX18" fmla="*/ 676192 w 912802"/>
                <a:gd name="connsiteY18" fmla="*/ 0 h 1223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912802" h="1223846">
                  <a:moveTo>
                    <a:pt x="387907" y="620081"/>
                  </a:moveTo>
                  <a:cubicBezTo>
                    <a:pt x="322635" y="620081"/>
                    <a:pt x="273681" y="698951"/>
                    <a:pt x="273681" y="824055"/>
                  </a:cubicBezTo>
                  <a:cubicBezTo>
                    <a:pt x="273681" y="949160"/>
                    <a:pt x="311756" y="1028029"/>
                    <a:pt x="390627" y="1028029"/>
                  </a:cubicBezTo>
                  <a:cubicBezTo>
                    <a:pt x="466777" y="1025310"/>
                    <a:pt x="504852" y="949160"/>
                    <a:pt x="502132" y="824055"/>
                  </a:cubicBezTo>
                  <a:cubicBezTo>
                    <a:pt x="502132" y="698951"/>
                    <a:pt x="455898" y="622801"/>
                    <a:pt x="387907" y="620081"/>
                  </a:cubicBezTo>
                  <a:close/>
                  <a:moveTo>
                    <a:pt x="676192" y="0"/>
                  </a:moveTo>
                  <a:cubicBezTo>
                    <a:pt x="757781" y="0"/>
                    <a:pt x="825773" y="67992"/>
                    <a:pt x="825773" y="149581"/>
                  </a:cubicBezTo>
                  <a:lnTo>
                    <a:pt x="825773" y="1000834"/>
                  </a:lnTo>
                  <a:cubicBezTo>
                    <a:pt x="828492" y="1025311"/>
                    <a:pt x="831212" y="1052508"/>
                    <a:pt x="836651" y="1076985"/>
                  </a:cubicBezTo>
                  <a:cubicBezTo>
                    <a:pt x="861128" y="1139537"/>
                    <a:pt x="912802" y="1150415"/>
                    <a:pt x="912802" y="1150415"/>
                  </a:cubicBezTo>
                  <a:cubicBezTo>
                    <a:pt x="912802" y="1150415"/>
                    <a:pt x="861128" y="1221126"/>
                    <a:pt x="774099" y="1221126"/>
                  </a:cubicBezTo>
                  <a:cubicBezTo>
                    <a:pt x="670752" y="1221126"/>
                    <a:pt x="589162" y="1166733"/>
                    <a:pt x="553807" y="1098742"/>
                  </a:cubicBezTo>
                  <a:cubicBezTo>
                    <a:pt x="551087" y="1093303"/>
                    <a:pt x="551087" y="1090583"/>
                    <a:pt x="548367" y="1085144"/>
                  </a:cubicBezTo>
                  <a:cubicBezTo>
                    <a:pt x="534769" y="1147696"/>
                    <a:pt x="450460" y="1199369"/>
                    <a:pt x="398786" y="1212967"/>
                  </a:cubicBezTo>
                  <a:cubicBezTo>
                    <a:pt x="322636" y="1234725"/>
                    <a:pt x="222008" y="1223846"/>
                    <a:pt x="156736" y="1180332"/>
                  </a:cubicBezTo>
                  <a:cubicBezTo>
                    <a:pt x="-79874" y="1028031"/>
                    <a:pt x="-58117" y="416107"/>
                    <a:pt x="287280" y="416107"/>
                  </a:cubicBezTo>
                  <a:cubicBezTo>
                    <a:pt x="412385" y="416107"/>
                    <a:pt x="491255" y="503137"/>
                    <a:pt x="526611" y="552091"/>
                  </a:cubicBezTo>
                  <a:lnTo>
                    <a:pt x="526611" y="149581"/>
                  </a:lnTo>
                  <a:cubicBezTo>
                    <a:pt x="526611" y="67992"/>
                    <a:pt x="594602" y="0"/>
                    <a:pt x="676192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1DB9A871-4A68-495F-A3EF-392427AED281}"/>
                </a:ext>
              </a:extLst>
            </p:cNvPr>
            <p:cNvSpPr/>
            <p:nvPr/>
          </p:nvSpPr>
          <p:spPr>
            <a:xfrm>
              <a:off x="6789513" y="2362895"/>
              <a:ext cx="747906" cy="810458"/>
            </a:xfrm>
            <a:custGeom>
              <a:avLst/>
              <a:gdLst>
                <a:gd name="connsiteX0" fmla="*/ 394818 w 747906"/>
                <a:gd name="connsiteY0" fmla="*/ 163222 h 810458"/>
                <a:gd name="connsiteX1" fmla="*/ 356275 w 747906"/>
                <a:gd name="connsiteY1" fmla="*/ 174058 h 810458"/>
                <a:gd name="connsiteX2" fmla="*/ 274685 w 747906"/>
                <a:gd name="connsiteY2" fmla="*/ 356275 h 810458"/>
                <a:gd name="connsiteX3" fmla="*/ 375313 w 747906"/>
                <a:gd name="connsiteY3" fmla="*/ 358994 h 810458"/>
                <a:gd name="connsiteX4" fmla="*/ 473220 w 747906"/>
                <a:gd name="connsiteY4" fmla="*/ 239329 h 810458"/>
                <a:gd name="connsiteX5" fmla="*/ 394818 w 747906"/>
                <a:gd name="connsiteY5" fmla="*/ 163222 h 810458"/>
                <a:gd name="connsiteX6" fmla="*/ 386192 w 747906"/>
                <a:gd name="connsiteY6" fmla="*/ 0 h 810458"/>
                <a:gd name="connsiteX7" fmla="*/ 747906 w 747906"/>
                <a:gd name="connsiteY7" fmla="*/ 266526 h 810458"/>
                <a:gd name="connsiteX8" fmla="*/ 291004 w 747906"/>
                <a:gd name="connsiteY8" fmla="*/ 484100 h 810458"/>
                <a:gd name="connsiteX9" fmla="*/ 497698 w 747906"/>
                <a:gd name="connsiteY9" fmla="*/ 617363 h 810458"/>
                <a:gd name="connsiteX10" fmla="*/ 712551 w 747906"/>
                <a:gd name="connsiteY10" fmla="*/ 557530 h 810458"/>
                <a:gd name="connsiteX11" fmla="*/ 388912 w 747906"/>
                <a:gd name="connsiteY11" fmla="*/ 810458 h 810458"/>
                <a:gd name="connsiteX12" fmla="*/ 0 w 747906"/>
                <a:gd name="connsiteY12" fmla="*/ 413389 h 810458"/>
                <a:gd name="connsiteX13" fmla="*/ 386192 w 747906"/>
                <a:gd name="connsiteY13" fmla="*/ 0 h 8104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747906" h="810458">
                  <a:moveTo>
                    <a:pt x="394818" y="163222"/>
                  </a:moveTo>
                  <a:cubicBezTo>
                    <a:pt x="381772" y="163179"/>
                    <a:pt x="368514" y="166579"/>
                    <a:pt x="356275" y="174058"/>
                  </a:cubicBezTo>
                  <a:cubicBezTo>
                    <a:pt x="299162" y="212133"/>
                    <a:pt x="282844" y="291003"/>
                    <a:pt x="274685" y="356275"/>
                  </a:cubicBezTo>
                  <a:cubicBezTo>
                    <a:pt x="274685" y="364434"/>
                    <a:pt x="369873" y="358994"/>
                    <a:pt x="375313" y="358994"/>
                  </a:cubicBezTo>
                  <a:cubicBezTo>
                    <a:pt x="432425" y="345396"/>
                    <a:pt x="473220" y="301881"/>
                    <a:pt x="473220" y="239329"/>
                  </a:cubicBezTo>
                  <a:cubicBezTo>
                    <a:pt x="471181" y="194455"/>
                    <a:pt x="433956" y="163349"/>
                    <a:pt x="394818" y="163222"/>
                  </a:cubicBezTo>
                  <a:close/>
                  <a:moveTo>
                    <a:pt x="386192" y="0"/>
                  </a:moveTo>
                  <a:cubicBezTo>
                    <a:pt x="519455" y="0"/>
                    <a:pt x="747906" y="65272"/>
                    <a:pt x="747906" y="266526"/>
                  </a:cubicBezTo>
                  <a:cubicBezTo>
                    <a:pt x="747906" y="467782"/>
                    <a:pt x="538493" y="484100"/>
                    <a:pt x="291004" y="484100"/>
                  </a:cubicBezTo>
                  <a:cubicBezTo>
                    <a:pt x="291004" y="484100"/>
                    <a:pt x="326359" y="617363"/>
                    <a:pt x="497698" y="617363"/>
                  </a:cubicBezTo>
                  <a:cubicBezTo>
                    <a:pt x="669036" y="617363"/>
                    <a:pt x="712551" y="557530"/>
                    <a:pt x="712551" y="557530"/>
                  </a:cubicBezTo>
                  <a:cubicBezTo>
                    <a:pt x="712551" y="557530"/>
                    <a:pt x="696233" y="810458"/>
                    <a:pt x="388912" y="810458"/>
                  </a:cubicBezTo>
                  <a:cubicBezTo>
                    <a:pt x="212134" y="810458"/>
                    <a:pt x="0" y="677195"/>
                    <a:pt x="0" y="413389"/>
                  </a:cubicBezTo>
                  <a:cubicBezTo>
                    <a:pt x="0" y="176778"/>
                    <a:pt x="163180" y="0"/>
                    <a:pt x="386192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1001B3D6-C1BC-4979-BF9B-2956B2C7EC99}"/>
                </a:ext>
              </a:extLst>
            </p:cNvPr>
            <p:cNvSpPr/>
            <p:nvPr/>
          </p:nvSpPr>
          <p:spPr>
            <a:xfrm>
              <a:off x="7988882" y="2362895"/>
              <a:ext cx="747906" cy="810458"/>
            </a:xfrm>
            <a:custGeom>
              <a:avLst/>
              <a:gdLst>
                <a:gd name="connsiteX0" fmla="*/ 394818 w 747906"/>
                <a:gd name="connsiteY0" fmla="*/ 163222 h 810458"/>
                <a:gd name="connsiteX1" fmla="*/ 356275 w 747906"/>
                <a:gd name="connsiteY1" fmla="*/ 174058 h 810458"/>
                <a:gd name="connsiteX2" fmla="*/ 274685 w 747906"/>
                <a:gd name="connsiteY2" fmla="*/ 356275 h 810458"/>
                <a:gd name="connsiteX3" fmla="*/ 375313 w 747906"/>
                <a:gd name="connsiteY3" fmla="*/ 358994 h 810458"/>
                <a:gd name="connsiteX4" fmla="*/ 473220 w 747906"/>
                <a:gd name="connsiteY4" fmla="*/ 239329 h 810458"/>
                <a:gd name="connsiteX5" fmla="*/ 394818 w 747906"/>
                <a:gd name="connsiteY5" fmla="*/ 163222 h 810458"/>
                <a:gd name="connsiteX6" fmla="*/ 386192 w 747906"/>
                <a:gd name="connsiteY6" fmla="*/ 0 h 810458"/>
                <a:gd name="connsiteX7" fmla="*/ 747906 w 747906"/>
                <a:gd name="connsiteY7" fmla="*/ 266526 h 810458"/>
                <a:gd name="connsiteX8" fmla="*/ 291004 w 747906"/>
                <a:gd name="connsiteY8" fmla="*/ 484100 h 810458"/>
                <a:gd name="connsiteX9" fmla="*/ 497697 w 747906"/>
                <a:gd name="connsiteY9" fmla="*/ 617363 h 810458"/>
                <a:gd name="connsiteX10" fmla="*/ 712551 w 747906"/>
                <a:gd name="connsiteY10" fmla="*/ 557530 h 810458"/>
                <a:gd name="connsiteX11" fmla="*/ 388911 w 747906"/>
                <a:gd name="connsiteY11" fmla="*/ 810458 h 810458"/>
                <a:gd name="connsiteX12" fmla="*/ 0 w 747906"/>
                <a:gd name="connsiteY12" fmla="*/ 413389 h 810458"/>
                <a:gd name="connsiteX13" fmla="*/ 386192 w 747906"/>
                <a:gd name="connsiteY13" fmla="*/ 0 h 8104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747906" h="810458">
                  <a:moveTo>
                    <a:pt x="394818" y="163222"/>
                  </a:moveTo>
                  <a:cubicBezTo>
                    <a:pt x="381772" y="163179"/>
                    <a:pt x="368514" y="166579"/>
                    <a:pt x="356275" y="174058"/>
                  </a:cubicBezTo>
                  <a:cubicBezTo>
                    <a:pt x="299162" y="212133"/>
                    <a:pt x="282844" y="291003"/>
                    <a:pt x="274685" y="356275"/>
                  </a:cubicBezTo>
                  <a:cubicBezTo>
                    <a:pt x="274685" y="364434"/>
                    <a:pt x="369873" y="358994"/>
                    <a:pt x="375313" y="358994"/>
                  </a:cubicBezTo>
                  <a:cubicBezTo>
                    <a:pt x="432426" y="345396"/>
                    <a:pt x="473220" y="301881"/>
                    <a:pt x="473220" y="239329"/>
                  </a:cubicBezTo>
                  <a:cubicBezTo>
                    <a:pt x="471181" y="194455"/>
                    <a:pt x="433955" y="163349"/>
                    <a:pt x="394818" y="163222"/>
                  </a:cubicBezTo>
                  <a:close/>
                  <a:moveTo>
                    <a:pt x="386192" y="0"/>
                  </a:moveTo>
                  <a:cubicBezTo>
                    <a:pt x="519455" y="0"/>
                    <a:pt x="747906" y="65272"/>
                    <a:pt x="747906" y="266526"/>
                  </a:cubicBezTo>
                  <a:cubicBezTo>
                    <a:pt x="747906" y="467782"/>
                    <a:pt x="538492" y="484100"/>
                    <a:pt x="291004" y="484100"/>
                  </a:cubicBezTo>
                  <a:cubicBezTo>
                    <a:pt x="291004" y="484100"/>
                    <a:pt x="326359" y="617363"/>
                    <a:pt x="497697" y="617363"/>
                  </a:cubicBezTo>
                  <a:cubicBezTo>
                    <a:pt x="669036" y="617363"/>
                    <a:pt x="712551" y="557530"/>
                    <a:pt x="712551" y="557530"/>
                  </a:cubicBezTo>
                  <a:cubicBezTo>
                    <a:pt x="712551" y="557530"/>
                    <a:pt x="696233" y="810458"/>
                    <a:pt x="388911" y="810458"/>
                  </a:cubicBezTo>
                  <a:cubicBezTo>
                    <a:pt x="212133" y="810458"/>
                    <a:pt x="0" y="677195"/>
                    <a:pt x="0" y="413389"/>
                  </a:cubicBezTo>
                  <a:cubicBezTo>
                    <a:pt x="0" y="176778"/>
                    <a:pt x="163180" y="0"/>
                    <a:pt x="386192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16367185-B7D6-4C5F-BFDB-408FCE04E3F2}"/>
                </a:ext>
              </a:extLst>
            </p:cNvPr>
            <p:cNvSpPr/>
            <p:nvPr/>
          </p:nvSpPr>
          <p:spPr>
            <a:xfrm>
              <a:off x="8683414" y="2274801"/>
              <a:ext cx="897487" cy="951879"/>
            </a:xfrm>
            <a:custGeom>
              <a:avLst/>
              <a:gdLst>
                <a:gd name="connsiteX0" fmla="*/ 580988 w 897487"/>
                <a:gd name="connsiteY0" fmla="*/ 667381 h 951879"/>
                <a:gd name="connsiteX1" fmla="*/ 409649 w 897487"/>
                <a:gd name="connsiteY1" fmla="*/ 667381 h 951879"/>
                <a:gd name="connsiteX2" fmla="*/ 591866 w 897487"/>
                <a:gd name="connsiteY2" fmla="*/ 525959 h 951879"/>
                <a:gd name="connsiteX3" fmla="*/ 842075 w 897487"/>
                <a:gd name="connsiteY3" fmla="*/ 123450 h 951879"/>
                <a:gd name="connsiteX4" fmla="*/ 842075 w 897487"/>
                <a:gd name="connsiteY4" fmla="*/ 123450 h 951879"/>
                <a:gd name="connsiteX5" fmla="*/ 798560 w 897487"/>
                <a:gd name="connsiteY5" fmla="*/ 58178 h 951879"/>
                <a:gd name="connsiteX6" fmla="*/ 746887 w 897487"/>
                <a:gd name="connsiteY6" fmla="*/ 107132 h 951879"/>
                <a:gd name="connsiteX7" fmla="*/ 697933 w 897487"/>
                <a:gd name="connsiteY7" fmla="*/ 115291 h 951879"/>
                <a:gd name="connsiteX8" fmla="*/ 219273 w 897487"/>
                <a:gd name="connsiteY8" fmla="*/ 115291 h 951879"/>
                <a:gd name="connsiteX9" fmla="*/ 102328 w 897487"/>
                <a:gd name="connsiteY9" fmla="*/ 224077 h 951879"/>
                <a:gd name="connsiteX10" fmla="*/ 213834 w 897487"/>
                <a:gd name="connsiteY10" fmla="*/ 332863 h 951879"/>
                <a:gd name="connsiteX11" fmla="*/ 485800 w 897487"/>
                <a:gd name="connsiteY11" fmla="*/ 335583 h 951879"/>
                <a:gd name="connsiteX12" fmla="*/ 134964 w 897487"/>
                <a:gd name="connsiteY12" fmla="*/ 615708 h 951879"/>
                <a:gd name="connsiteX13" fmla="*/ 61533 w 897487"/>
                <a:gd name="connsiteY13" fmla="*/ 884953 h 951879"/>
                <a:gd name="connsiteX14" fmla="*/ 398771 w 897487"/>
                <a:gd name="connsiteY14" fmla="*/ 806083 h 951879"/>
                <a:gd name="connsiteX15" fmla="*/ 529314 w 897487"/>
                <a:gd name="connsiteY15" fmla="*/ 863196 h 951879"/>
                <a:gd name="connsiteX16" fmla="*/ 782242 w 897487"/>
                <a:gd name="connsiteY16" fmla="*/ 607549 h 951879"/>
                <a:gd name="connsiteX17" fmla="*/ 580988 w 897487"/>
                <a:gd name="connsiteY17" fmla="*/ 667381 h 9518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897487" h="951879">
                  <a:moveTo>
                    <a:pt x="580988" y="667381"/>
                  </a:moveTo>
                  <a:lnTo>
                    <a:pt x="409649" y="667381"/>
                  </a:lnTo>
                  <a:cubicBezTo>
                    <a:pt x="423248" y="667381"/>
                    <a:pt x="548352" y="561314"/>
                    <a:pt x="591866" y="525959"/>
                  </a:cubicBezTo>
                  <a:cubicBezTo>
                    <a:pt x="700653" y="433491"/>
                    <a:pt x="899188" y="297508"/>
                    <a:pt x="842075" y="123450"/>
                  </a:cubicBezTo>
                  <a:lnTo>
                    <a:pt x="842075" y="123450"/>
                  </a:lnTo>
                  <a:cubicBezTo>
                    <a:pt x="831197" y="82655"/>
                    <a:pt x="798560" y="58178"/>
                    <a:pt x="798560" y="58178"/>
                  </a:cubicBezTo>
                  <a:cubicBezTo>
                    <a:pt x="798560" y="58178"/>
                    <a:pt x="787682" y="90814"/>
                    <a:pt x="746887" y="107132"/>
                  </a:cubicBezTo>
                  <a:cubicBezTo>
                    <a:pt x="730569" y="109852"/>
                    <a:pt x="714251" y="115291"/>
                    <a:pt x="697933" y="115291"/>
                  </a:cubicBezTo>
                  <a:cubicBezTo>
                    <a:pt x="684334" y="115291"/>
                    <a:pt x="219273" y="115291"/>
                    <a:pt x="219273" y="115291"/>
                  </a:cubicBezTo>
                  <a:cubicBezTo>
                    <a:pt x="156721" y="115291"/>
                    <a:pt x="105048" y="166964"/>
                    <a:pt x="102328" y="224077"/>
                  </a:cubicBezTo>
                  <a:cubicBezTo>
                    <a:pt x="102328" y="283910"/>
                    <a:pt x="151282" y="332863"/>
                    <a:pt x="213834" y="332863"/>
                  </a:cubicBezTo>
                  <a:lnTo>
                    <a:pt x="485800" y="335583"/>
                  </a:lnTo>
                  <a:cubicBezTo>
                    <a:pt x="360695" y="406294"/>
                    <a:pt x="211114" y="487884"/>
                    <a:pt x="134964" y="615708"/>
                  </a:cubicBezTo>
                  <a:cubicBezTo>
                    <a:pt x="91449" y="689138"/>
                    <a:pt x="45215" y="800644"/>
                    <a:pt x="61533" y="884953"/>
                  </a:cubicBezTo>
                  <a:cubicBezTo>
                    <a:pt x="121366" y="830560"/>
                    <a:pt x="279106" y="778887"/>
                    <a:pt x="398771" y="806083"/>
                  </a:cubicBezTo>
                  <a:cubicBezTo>
                    <a:pt x="445005" y="814242"/>
                    <a:pt x="491239" y="838719"/>
                    <a:pt x="529314" y="863196"/>
                  </a:cubicBezTo>
                  <a:cubicBezTo>
                    <a:pt x="755046" y="1004618"/>
                    <a:pt x="891029" y="727213"/>
                    <a:pt x="782242" y="607549"/>
                  </a:cubicBezTo>
                  <a:cubicBezTo>
                    <a:pt x="784962" y="607549"/>
                    <a:pt x="722410" y="667381"/>
                    <a:pt x="580988" y="667381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17770C8A-5B84-4503-8D5D-B710B131CCB1}"/>
                </a:ext>
              </a:extLst>
            </p:cNvPr>
            <p:cNvSpPr/>
            <p:nvPr/>
          </p:nvSpPr>
          <p:spPr>
            <a:xfrm>
              <a:off x="2624650" y="1948442"/>
              <a:ext cx="1903761" cy="1577400"/>
            </a:xfrm>
            <a:custGeom>
              <a:avLst/>
              <a:gdLst>
                <a:gd name="connsiteX0" fmla="*/ 1559430 w 1903760"/>
                <a:gd name="connsiteY0" fmla="*/ 1165078 h 1577399"/>
                <a:gd name="connsiteX1" fmla="*/ 1369054 w 1903760"/>
                <a:gd name="connsiteY1" fmla="*/ 593950 h 1577399"/>
                <a:gd name="connsiteX2" fmla="*/ 1483279 w 1903760"/>
                <a:gd name="connsiteY2" fmla="*/ 126170 h 1577399"/>
                <a:gd name="connsiteX3" fmla="*/ 1311941 w 1903760"/>
                <a:gd name="connsiteY3" fmla="*/ 58178 h 1577399"/>
                <a:gd name="connsiteX4" fmla="*/ 1078050 w 1903760"/>
                <a:gd name="connsiteY4" fmla="*/ 205040 h 1577399"/>
                <a:gd name="connsiteX5" fmla="*/ 846879 w 1903760"/>
                <a:gd name="connsiteY5" fmla="*/ 523239 h 1577399"/>
                <a:gd name="connsiteX6" fmla="*/ 645624 w 1903760"/>
                <a:gd name="connsiteY6" fmla="*/ 210479 h 1577399"/>
                <a:gd name="connsiteX7" fmla="*/ 455248 w 1903760"/>
                <a:gd name="connsiteY7" fmla="*/ 63617 h 1577399"/>
                <a:gd name="connsiteX8" fmla="*/ 234956 w 1903760"/>
                <a:gd name="connsiteY8" fmla="*/ 137048 h 1577399"/>
                <a:gd name="connsiteX9" fmla="*/ 316546 w 1903760"/>
                <a:gd name="connsiteY9" fmla="*/ 588511 h 1577399"/>
                <a:gd name="connsiteX10" fmla="*/ 58178 w 1903760"/>
                <a:gd name="connsiteY10" fmla="*/ 1072610 h 1577399"/>
                <a:gd name="connsiteX11" fmla="*/ 474286 w 1903760"/>
                <a:gd name="connsiteY11" fmla="*/ 1020936 h 1577399"/>
                <a:gd name="connsiteX12" fmla="*/ 555876 w 1903760"/>
                <a:gd name="connsiteY12" fmla="*/ 572193 h 1577399"/>
                <a:gd name="connsiteX13" fmla="*/ 830561 w 1903760"/>
                <a:gd name="connsiteY13" fmla="*/ 993740 h 1577399"/>
                <a:gd name="connsiteX14" fmla="*/ 1140602 w 1903760"/>
                <a:gd name="connsiteY14" fmla="*/ 574913 h 1577399"/>
                <a:gd name="connsiteX15" fmla="*/ 1567589 w 1903760"/>
                <a:gd name="connsiteY15" fmla="*/ 1526792 h 1577399"/>
                <a:gd name="connsiteX16" fmla="*/ 1866751 w 1903760"/>
                <a:gd name="connsiteY16" fmla="*/ 1322818 h 1577399"/>
                <a:gd name="connsiteX17" fmla="*/ 1559430 w 1903760"/>
                <a:gd name="connsiteY17" fmla="*/ 1165078 h 15773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903760" h="1577399">
                  <a:moveTo>
                    <a:pt x="1559430" y="1165078"/>
                  </a:moveTo>
                  <a:cubicBezTo>
                    <a:pt x="1420727" y="1012777"/>
                    <a:pt x="1377213" y="762569"/>
                    <a:pt x="1369054" y="593950"/>
                  </a:cubicBezTo>
                  <a:cubicBezTo>
                    <a:pt x="1360895" y="449809"/>
                    <a:pt x="1369054" y="199600"/>
                    <a:pt x="1483279" y="126170"/>
                  </a:cubicBezTo>
                  <a:cubicBezTo>
                    <a:pt x="1445204" y="77216"/>
                    <a:pt x="1369054" y="58178"/>
                    <a:pt x="1311941" y="58178"/>
                  </a:cubicBezTo>
                  <a:cubicBezTo>
                    <a:pt x="1184117" y="58178"/>
                    <a:pt x="1121565" y="142488"/>
                    <a:pt x="1078050" y="205040"/>
                  </a:cubicBezTo>
                  <a:cubicBezTo>
                    <a:pt x="1064452" y="224077"/>
                    <a:pt x="846879" y="523239"/>
                    <a:pt x="846879" y="523239"/>
                  </a:cubicBezTo>
                  <a:cubicBezTo>
                    <a:pt x="846879" y="523239"/>
                    <a:pt x="667382" y="243115"/>
                    <a:pt x="645624" y="210479"/>
                  </a:cubicBezTo>
                  <a:cubicBezTo>
                    <a:pt x="615708" y="164245"/>
                    <a:pt x="555876" y="77216"/>
                    <a:pt x="455248" y="63617"/>
                  </a:cubicBezTo>
                  <a:cubicBezTo>
                    <a:pt x="411734" y="58178"/>
                    <a:pt x="297508" y="52739"/>
                    <a:pt x="234956" y="137048"/>
                  </a:cubicBezTo>
                  <a:cubicBezTo>
                    <a:pt x="341023" y="221357"/>
                    <a:pt x="338303" y="438930"/>
                    <a:pt x="316546" y="588511"/>
                  </a:cubicBezTo>
                  <a:cubicBezTo>
                    <a:pt x="248554" y="1031815"/>
                    <a:pt x="58178" y="1072610"/>
                    <a:pt x="58178" y="1072610"/>
                  </a:cubicBezTo>
                  <a:cubicBezTo>
                    <a:pt x="156086" y="1333696"/>
                    <a:pt x="403575" y="1230350"/>
                    <a:pt x="474286" y="1020936"/>
                  </a:cubicBezTo>
                  <a:cubicBezTo>
                    <a:pt x="520520" y="884953"/>
                    <a:pt x="550436" y="713615"/>
                    <a:pt x="555876" y="572193"/>
                  </a:cubicBezTo>
                  <a:lnTo>
                    <a:pt x="830561" y="993740"/>
                  </a:lnTo>
                  <a:cubicBezTo>
                    <a:pt x="830561" y="993740"/>
                    <a:pt x="1140602" y="574913"/>
                    <a:pt x="1140602" y="574913"/>
                  </a:cubicBezTo>
                  <a:cubicBezTo>
                    <a:pt x="1088929" y="1314659"/>
                    <a:pt x="1344577" y="1526792"/>
                    <a:pt x="1567589" y="1526792"/>
                  </a:cubicBezTo>
                  <a:cubicBezTo>
                    <a:pt x="1790601" y="1526792"/>
                    <a:pt x="1866751" y="1322818"/>
                    <a:pt x="1866751" y="1322818"/>
                  </a:cubicBezTo>
                  <a:cubicBezTo>
                    <a:pt x="1744367" y="1314659"/>
                    <a:pt x="1641019" y="1252107"/>
                    <a:pt x="1559430" y="1165078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A7E3A062-DDC7-49B6-A3D5-B32A3A38D180}"/>
                </a:ext>
              </a:extLst>
            </p:cNvPr>
            <p:cNvSpPr/>
            <p:nvPr/>
          </p:nvSpPr>
          <p:spPr>
            <a:xfrm>
              <a:off x="4792218" y="3234839"/>
              <a:ext cx="271966" cy="652717"/>
            </a:xfrm>
            <a:custGeom>
              <a:avLst/>
              <a:gdLst>
                <a:gd name="connsiteX0" fmla="*/ 88095 w 271965"/>
                <a:gd name="connsiteY0" fmla="*/ 120730 h 652717"/>
                <a:gd name="connsiteX1" fmla="*/ 93534 w 271965"/>
                <a:gd name="connsiteY1" fmla="*/ 153366 h 652717"/>
                <a:gd name="connsiteX2" fmla="*/ 93534 w 271965"/>
                <a:gd name="connsiteY2" fmla="*/ 544997 h 652717"/>
                <a:gd name="connsiteX3" fmla="*/ 156086 w 271965"/>
                <a:gd name="connsiteY3" fmla="*/ 604829 h 652717"/>
                <a:gd name="connsiteX4" fmla="*/ 221358 w 271965"/>
                <a:gd name="connsiteY4" fmla="*/ 544997 h 652717"/>
                <a:gd name="connsiteX5" fmla="*/ 221358 w 271965"/>
                <a:gd name="connsiteY5" fmla="*/ 194161 h 652717"/>
                <a:gd name="connsiteX6" fmla="*/ 210479 w 271965"/>
                <a:gd name="connsiteY6" fmla="*/ 109852 h 652717"/>
                <a:gd name="connsiteX7" fmla="*/ 118011 w 271965"/>
                <a:gd name="connsiteY7" fmla="*/ 58178 h 652717"/>
                <a:gd name="connsiteX8" fmla="*/ 58178 w 271965"/>
                <a:gd name="connsiteY8" fmla="*/ 88094 h 652717"/>
                <a:gd name="connsiteX9" fmla="*/ 88095 w 271965"/>
                <a:gd name="connsiteY9" fmla="*/ 120730 h 6527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71965" h="652717">
                  <a:moveTo>
                    <a:pt x="88095" y="120730"/>
                  </a:moveTo>
                  <a:cubicBezTo>
                    <a:pt x="90814" y="131609"/>
                    <a:pt x="90814" y="142487"/>
                    <a:pt x="93534" y="153366"/>
                  </a:cubicBezTo>
                  <a:cubicBezTo>
                    <a:pt x="93534" y="156086"/>
                    <a:pt x="93534" y="542277"/>
                    <a:pt x="93534" y="544997"/>
                  </a:cubicBezTo>
                  <a:cubicBezTo>
                    <a:pt x="93534" y="577632"/>
                    <a:pt x="123450" y="604829"/>
                    <a:pt x="156086" y="604829"/>
                  </a:cubicBezTo>
                  <a:cubicBezTo>
                    <a:pt x="188722" y="607548"/>
                    <a:pt x="221358" y="577632"/>
                    <a:pt x="221358" y="544997"/>
                  </a:cubicBezTo>
                  <a:cubicBezTo>
                    <a:pt x="221358" y="539557"/>
                    <a:pt x="221358" y="194161"/>
                    <a:pt x="221358" y="194161"/>
                  </a:cubicBezTo>
                  <a:cubicBezTo>
                    <a:pt x="221358" y="164245"/>
                    <a:pt x="224078" y="134329"/>
                    <a:pt x="210479" y="109852"/>
                  </a:cubicBezTo>
                  <a:cubicBezTo>
                    <a:pt x="196881" y="79935"/>
                    <a:pt x="158806" y="58178"/>
                    <a:pt x="118011" y="58178"/>
                  </a:cubicBezTo>
                  <a:cubicBezTo>
                    <a:pt x="79936" y="58178"/>
                    <a:pt x="58178" y="88094"/>
                    <a:pt x="58178" y="88094"/>
                  </a:cubicBezTo>
                  <a:cubicBezTo>
                    <a:pt x="58178" y="88094"/>
                    <a:pt x="77216" y="93534"/>
                    <a:pt x="88095" y="120730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DB52140B-5C19-4D8B-93F0-72CFECE86CC0}"/>
                </a:ext>
              </a:extLst>
            </p:cNvPr>
            <p:cNvSpPr/>
            <p:nvPr/>
          </p:nvSpPr>
          <p:spPr>
            <a:xfrm>
              <a:off x="8751819" y="3234667"/>
              <a:ext cx="271966" cy="652717"/>
            </a:xfrm>
            <a:custGeom>
              <a:avLst/>
              <a:gdLst>
                <a:gd name="connsiteX0" fmla="*/ 191663 w 271965"/>
                <a:gd name="connsiteY0" fmla="*/ 542449 h 652717"/>
                <a:gd name="connsiteX1" fmla="*/ 186224 w 271965"/>
                <a:gd name="connsiteY1" fmla="*/ 509813 h 652717"/>
                <a:gd name="connsiteX2" fmla="*/ 186224 w 271965"/>
                <a:gd name="connsiteY2" fmla="*/ 118183 h 652717"/>
                <a:gd name="connsiteX3" fmla="*/ 123672 w 271965"/>
                <a:gd name="connsiteY3" fmla="*/ 58350 h 652717"/>
                <a:gd name="connsiteX4" fmla="*/ 58400 w 271965"/>
                <a:gd name="connsiteY4" fmla="*/ 118183 h 652717"/>
                <a:gd name="connsiteX5" fmla="*/ 58400 w 271965"/>
                <a:gd name="connsiteY5" fmla="*/ 469018 h 652717"/>
                <a:gd name="connsiteX6" fmla="*/ 69279 w 271965"/>
                <a:gd name="connsiteY6" fmla="*/ 553328 h 652717"/>
                <a:gd name="connsiteX7" fmla="*/ 161747 w 271965"/>
                <a:gd name="connsiteY7" fmla="*/ 605001 h 652717"/>
                <a:gd name="connsiteX8" fmla="*/ 221580 w 271965"/>
                <a:gd name="connsiteY8" fmla="*/ 575085 h 652717"/>
                <a:gd name="connsiteX9" fmla="*/ 191663 w 271965"/>
                <a:gd name="connsiteY9" fmla="*/ 542449 h 6527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71965" h="652717">
                  <a:moveTo>
                    <a:pt x="191663" y="542449"/>
                  </a:moveTo>
                  <a:cubicBezTo>
                    <a:pt x="188944" y="531570"/>
                    <a:pt x="186224" y="520692"/>
                    <a:pt x="186224" y="509813"/>
                  </a:cubicBezTo>
                  <a:cubicBezTo>
                    <a:pt x="186224" y="507093"/>
                    <a:pt x="186224" y="120902"/>
                    <a:pt x="186224" y="118183"/>
                  </a:cubicBezTo>
                  <a:cubicBezTo>
                    <a:pt x="186224" y="85547"/>
                    <a:pt x="156308" y="58350"/>
                    <a:pt x="123672" y="58350"/>
                  </a:cubicBezTo>
                  <a:cubicBezTo>
                    <a:pt x="91036" y="55631"/>
                    <a:pt x="58400" y="85547"/>
                    <a:pt x="58400" y="118183"/>
                  </a:cubicBezTo>
                  <a:cubicBezTo>
                    <a:pt x="58400" y="123622"/>
                    <a:pt x="58400" y="469018"/>
                    <a:pt x="58400" y="469018"/>
                  </a:cubicBezTo>
                  <a:cubicBezTo>
                    <a:pt x="58400" y="498934"/>
                    <a:pt x="55680" y="528851"/>
                    <a:pt x="69279" y="553328"/>
                  </a:cubicBezTo>
                  <a:cubicBezTo>
                    <a:pt x="82877" y="583244"/>
                    <a:pt x="120953" y="605001"/>
                    <a:pt x="161747" y="605001"/>
                  </a:cubicBezTo>
                  <a:cubicBezTo>
                    <a:pt x="199822" y="605001"/>
                    <a:pt x="221580" y="575085"/>
                    <a:pt x="221580" y="575085"/>
                  </a:cubicBezTo>
                  <a:cubicBezTo>
                    <a:pt x="221580" y="575085"/>
                    <a:pt x="202542" y="566926"/>
                    <a:pt x="191663" y="542449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79A100D8-96DD-4438-B034-852ACD48360A}"/>
                </a:ext>
              </a:extLst>
            </p:cNvPr>
            <p:cNvSpPr/>
            <p:nvPr/>
          </p:nvSpPr>
          <p:spPr>
            <a:xfrm>
              <a:off x="6320666" y="3416868"/>
              <a:ext cx="435145" cy="462341"/>
            </a:xfrm>
            <a:custGeom>
              <a:avLst/>
              <a:gdLst>
                <a:gd name="connsiteX0" fmla="*/ 302948 w 435145"/>
                <a:gd name="connsiteY0" fmla="*/ 74684 h 462341"/>
                <a:gd name="connsiteX1" fmla="*/ 186003 w 435145"/>
                <a:gd name="connsiteY1" fmla="*/ 148115 h 462341"/>
                <a:gd name="connsiteX2" fmla="*/ 186003 w 435145"/>
                <a:gd name="connsiteY2" fmla="*/ 148115 h 462341"/>
                <a:gd name="connsiteX3" fmla="*/ 186003 w 435145"/>
                <a:gd name="connsiteY3" fmla="*/ 115479 h 462341"/>
                <a:gd name="connsiteX4" fmla="*/ 123450 w 435145"/>
                <a:gd name="connsiteY4" fmla="*/ 58366 h 462341"/>
                <a:gd name="connsiteX5" fmla="*/ 58178 w 435145"/>
                <a:gd name="connsiteY5" fmla="*/ 115479 h 462341"/>
                <a:gd name="connsiteX6" fmla="*/ 58178 w 435145"/>
                <a:gd name="connsiteY6" fmla="*/ 362967 h 462341"/>
                <a:gd name="connsiteX7" fmla="*/ 120730 w 435145"/>
                <a:gd name="connsiteY7" fmla="*/ 422800 h 462341"/>
                <a:gd name="connsiteX8" fmla="*/ 186003 w 435145"/>
                <a:gd name="connsiteY8" fmla="*/ 362967 h 462341"/>
                <a:gd name="connsiteX9" fmla="*/ 186003 w 435145"/>
                <a:gd name="connsiteY9" fmla="*/ 213386 h 462341"/>
                <a:gd name="connsiteX10" fmla="*/ 186003 w 435145"/>
                <a:gd name="connsiteY10" fmla="*/ 213386 h 462341"/>
                <a:gd name="connsiteX11" fmla="*/ 229517 w 435145"/>
                <a:gd name="connsiteY11" fmla="*/ 161713 h 462341"/>
                <a:gd name="connsiteX12" fmla="*/ 259433 w 435145"/>
                <a:gd name="connsiteY12" fmla="*/ 194349 h 462341"/>
                <a:gd name="connsiteX13" fmla="*/ 259433 w 435145"/>
                <a:gd name="connsiteY13" fmla="*/ 362967 h 462341"/>
                <a:gd name="connsiteX14" fmla="*/ 321985 w 435145"/>
                <a:gd name="connsiteY14" fmla="*/ 422800 h 462341"/>
                <a:gd name="connsiteX15" fmla="*/ 387257 w 435145"/>
                <a:gd name="connsiteY15" fmla="*/ 362967 h 462341"/>
                <a:gd name="connsiteX16" fmla="*/ 387257 w 435145"/>
                <a:gd name="connsiteY16" fmla="*/ 273219 h 462341"/>
                <a:gd name="connsiteX17" fmla="*/ 302948 w 435145"/>
                <a:gd name="connsiteY17" fmla="*/ 74684 h 4623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435145" h="462341">
                  <a:moveTo>
                    <a:pt x="302948" y="74684"/>
                  </a:moveTo>
                  <a:cubicBezTo>
                    <a:pt x="234956" y="74684"/>
                    <a:pt x="196881" y="131797"/>
                    <a:pt x="186003" y="148115"/>
                  </a:cubicBezTo>
                  <a:lnTo>
                    <a:pt x="186003" y="148115"/>
                  </a:lnTo>
                  <a:cubicBezTo>
                    <a:pt x="186003" y="129077"/>
                    <a:pt x="186003" y="115479"/>
                    <a:pt x="186003" y="115479"/>
                  </a:cubicBezTo>
                  <a:cubicBezTo>
                    <a:pt x="186003" y="82843"/>
                    <a:pt x="156086" y="58366"/>
                    <a:pt x="123450" y="58366"/>
                  </a:cubicBezTo>
                  <a:cubicBezTo>
                    <a:pt x="90814" y="55646"/>
                    <a:pt x="58178" y="82843"/>
                    <a:pt x="58178" y="115479"/>
                  </a:cubicBezTo>
                  <a:cubicBezTo>
                    <a:pt x="58178" y="120918"/>
                    <a:pt x="58178" y="360248"/>
                    <a:pt x="58178" y="362967"/>
                  </a:cubicBezTo>
                  <a:cubicBezTo>
                    <a:pt x="58178" y="395603"/>
                    <a:pt x="88095" y="422800"/>
                    <a:pt x="120730" y="422800"/>
                  </a:cubicBezTo>
                  <a:cubicBezTo>
                    <a:pt x="153366" y="425519"/>
                    <a:pt x="186003" y="395603"/>
                    <a:pt x="186003" y="362967"/>
                  </a:cubicBezTo>
                  <a:cubicBezTo>
                    <a:pt x="186003" y="360248"/>
                    <a:pt x="186003" y="281378"/>
                    <a:pt x="186003" y="213386"/>
                  </a:cubicBezTo>
                  <a:lnTo>
                    <a:pt x="186003" y="213386"/>
                  </a:lnTo>
                  <a:cubicBezTo>
                    <a:pt x="191442" y="186190"/>
                    <a:pt x="205040" y="161713"/>
                    <a:pt x="229517" y="161713"/>
                  </a:cubicBezTo>
                  <a:cubicBezTo>
                    <a:pt x="259433" y="161713"/>
                    <a:pt x="259433" y="194349"/>
                    <a:pt x="259433" y="194349"/>
                  </a:cubicBezTo>
                  <a:lnTo>
                    <a:pt x="259433" y="362967"/>
                  </a:lnTo>
                  <a:cubicBezTo>
                    <a:pt x="259433" y="395603"/>
                    <a:pt x="289349" y="422800"/>
                    <a:pt x="321985" y="422800"/>
                  </a:cubicBezTo>
                  <a:cubicBezTo>
                    <a:pt x="354621" y="425519"/>
                    <a:pt x="387257" y="395603"/>
                    <a:pt x="387257" y="362967"/>
                  </a:cubicBezTo>
                  <a:lnTo>
                    <a:pt x="387257" y="273219"/>
                  </a:lnTo>
                  <a:cubicBezTo>
                    <a:pt x="387257" y="183470"/>
                    <a:pt x="395416" y="71964"/>
                    <a:pt x="302948" y="74684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E4435034-3BFA-4E05-A947-D42274FB4ACD}"/>
                </a:ext>
              </a:extLst>
            </p:cNvPr>
            <p:cNvSpPr/>
            <p:nvPr/>
          </p:nvSpPr>
          <p:spPr>
            <a:xfrm>
              <a:off x="7960620" y="3416868"/>
              <a:ext cx="435145" cy="462341"/>
            </a:xfrm>
            <a:custGeom>
              <a:avLst/>
              <a:gdLst>
                <a:gd name="connsiteX0" fmla="*/ 302948 w 435145"/>
                <a:gd name="connsiteY0" fmla="*/ 74684 h 462341"/>
                <a:gd name="connsiteX1" fmla="*/ 186002 w 435145"/>
                <a:gd name="connsiteY1" fmla="*/ 148115 h 462341"/>
                <a:gd name="connsiteX2" fmla="*/ 186002 w 435145"/>
                <a:gd name="connsiteY2" fmla="*/ 148115 h 462341"/>
                <a:gd name="connsiteX3" fmla="*/ 186002 w 435145"/>
                <a:gd name="connsiteY3" fmla="*/ 115479 h 462341"/>
                <a:gd name="connsiteX4" fmla="*/ 123450 w 435145"/>
                <a:gd name="connsiteY4" fmla="*/ 58366 h 462341"/>
                <a:gd name="connsiteX5" fmla="*/ 58178 w 435145"/>
                <a:gd name="connsiteY5" fmla="*/ 115479 h 462341"/>
                <a:gd name="connsiteX6" fmla="*/ 58178 w 435145"/>
                <a:gd name="connsiteY6" fmla="*/ 362967 h 462341"/>
                <a:gd name="connsiteX7" fmla="*/ 120730 w 435145"/>
                <a:gd name="connsiteY7" fmla="*/ 422800 h 462341"/>
                <a:gd name="connsiteX8" fmla="*/ 186002 w 435145"/>
                <a:gd name="connsiteY8" fmla="*/ 362967 h 462341"/>
                <a:gd name="connsiteX9" fmla="*/ 186002 w 435145"/>
                <a:gd name="connsiteY9" fmla="*/ 213386 h 462341"/>
                <a:gd name="connsiteX10" fmla="*/ 186002 w 435145"/>
                <a:gd name="connsiteY10" fmla="*/ 213386 h 462341"/>
                <a:gd name="connsiteX11" fmla="*/ 229517 w 435145"/>
                <a:gd name="connsiteY11" fmla="*/ 161713 h 462341"/>
                <a:gd name="connsiteX12" fmla="*/ 259433 w 435145"/>
                <a:gd name="connsiteY12" fmla="*/ 194349 h 462341"/>
                <a:gd name="connsiteX13" fmla="*/ 259433 w 435145"/>
                <a:gd name="connsiteY13" fmla="*/ 362967 h 462341"/>
                <a:gd name="connsiteX14" fmla="*/ 321985 w 435145"/>
                <a:gd name="connsiteY14" fmla="*/ 422800 h 462341"/>
                <a:gd name="connsiteX15" fmla="*/ 387257 w 435145"/>
                <a:gd name="connsiteY15" fmla="*/ 362967 h 462341"/>
                <a:gd name="connsiteX16" fmla="*/ 387257 w 435145"/>
                <a:gd name="connsiteY16" fmla="*/ 273219 h 462341"/>
                <a:gd name="connsiteX17" fmla="*/ 302948 w 435145"/>
                <a:gd name="connsiteY17" fmla="*/ 74684 h 4623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435145" h="462341">
                  <a:moveTo>
                    <a:pt x="302948" y="74684"/>
                  </a:moveTo>
                  <a:cubicBezTo>
                    <a:pt x="234956" y="74684"/>
                    <a:pt x="196881" y="131797"/>
                    <a:pt x="186002" y="148115"/>
                  </a:cubicBezTo>
                  <a:lnTo>
                    <a:pt x="186002" y="148115"/>
                  </a:lnTo>
                  <a:cubicBezTo>
                    <a:pt x="186002" y="129077"/>
                    <a:pt x="186002" y="115479"/>
                    <a:pt x="186002" y="115479"/>
                  </a:cubicBezTo>
                  <a:cubicBezTo>
                    <a:pt x="186002" y="82843"/>
                    <a:pt x="156086" y="58366"/>
                    <a:pt x="123450" y="58366"/>
                  </a:cubicBezTo>
                  <a:cubicBezTo>
                    <a:pt x="90814" y="55646"/>
                    <a:pt x="58178" y="82843"/>
                    <a:pt x="58178" y="115479"/>
                  </a:cubicBezTo>
                  <a:cubicBezTo>
                    <a:pt x="58178" y="120918"/>
                    <a:pt x="58178" y="360248"/>
                    <a:pt x="58178" y="362967"/>
                  </a:cubicBezTo>
                  <a:cubicBezTo>
                    <a:pt x="58178" y="395603"/>
                    <a:pt x="88095" y="422800"/>
                    <a:pt x="120730" y="422800"/>
                  </a:cubicBezTo>
                  <a:cubicBezTo>
                    <a:pt x="153366" y="425519"/>
                    <a:pt x="186002" y="395603"/>
                    <a:pt x="186002" y="362967"/>
                  </a:cubicBezTo>
                  <a:cubicBezTo>
                    <a:pt x="186002" y="360248"/>
                    <a:pt x="186002" y="281378"/>
                    <a:pt x="186002" y="213386"/>
                  </a:cubicBezTo>
                  <a:lnTo>
                    <a:pt x="186002" y="213386"/>
                  </a:lnTo>
                  <a:cubicBezTo>
                    <a:pt x="191442" y="186190"/>
                    <a:pt x="205040" y="161713"/>
                    <a:pt x="229517" y="161713"/>
                  </a:cubicBezTo>
                  <a:cubicBezTo>
                    <a:pt x="259433" y="161713"/>
                    <a:pt x="259433" y="194349"/>
                    <a:pt x="259433" y="194349"/>
                  </a:cubicBezTo>
                  <a:lnTo>
                    <a:pt x="259433" y="362967"/>
                  </a:lnTo>
                  <a:cubicBezTo>
                    <a:pt x="259433" y="395603"/>
                    <a:pt x="289349" y="422800"/>
                    <a:pt x="321985" y="422800"/>
                  </a:cubicBezTo>
                  <a:cubicBezTo>
                    <a:pt x="354621" y="425519"/>
                    <a:pt x="387257" y="395603"/>
                    <a:pt x="387257" y="362967"/>
                  </a:cubicBezTo>
                  <a:lnTo>
                    <a:pt x="387257" y="273219"/>
                  </a:lnTo>
                  <a:cubicBezTo>
                    <a:pt x="384537" y="183470"/>
                    <a:pt x="395416" y="71964"/>
                    <a:pt x="302948" y="74684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1F94EEDF-4DA9-4C49-8D81-4FEAA7A00790}"/>
                </a:ext>
              </a:extLst>
            </p:cNvPr>
            <p:cNvSpPr/>
            <p:nvPr/>
          </p:nvSpPr>
          <p:spPr>
            <a:xfrm>
              <a:off x="5020669" y="3416868"/>
              <a:ext cx="435145" cy="462341"/>
            </a:xfrm>
            <a:custGeom>
              <a:avLst/>
              <a:gdLst>
                <a:gd name="connsiteX0" fmla="*/ 302948 w 435145"/>
                <a:gd name="connsiteY0" fmla="*/ 74684 h 462341"/>
                <a:gd name="connsiteX1" fmla="*/ 186002 w 435145"/>
                <a:gd name="connsiteY1" fmla="*/ 148115 h 462341"/>
                <a:gd name="connsiteX2" fmla="*/ 186002 w 435145"/>
                <a:gd name="connsiteY2" fmla="*/ 148115 h 462341"/>
                <a:gd name="connsiteX3" fmla="*/ 186002 w 435145"/>
                <a:gd name="connsiteY3" fmla="*/ 115479 h 462341"/>
                <a:gd name="connsiteX4" fmla="*/ 123450 w 435145"/>
                <a:gd name="connsiteY4" fmla="*/ 58366 h 462341"/>
                <a:gd name="connsiteX5" fmla="*/ 58178 w 435145"/>
                <a:gd name="connsiteY5" fmla="*/ 115479 h 462341"/>
                <a:gd name="connsiteX6" fmla="*/ 58178 w 435145"/>
                <a:gd name="connsiteY6" fmla="*/ 362967 h 462341"/>
                <a:gd name="connsiteX7" fmla="*/ 120730 w 435145"/>
                <a:gd name="connsiteY7" fmla="*/ 422800 h 462341"/>
                <a:gd name="connsiteX8" fmla="*/ 186002 w 435145"/>
                <a:gd name="connsiteY8" fmla="*/ 362967 h 462341"/>
                <a:gd name="connsiteX9" fmla="*/ 186002 w 435145"/>
                <a:gd name="connsiteY9" fmla="*/ 213386 h 462341"/>
                <a:gd name="connsiteX10" fmla="*/ 186002 w 435145"/>
                <a:gd name="connsiteY10" fmla="*/ 213386 h 462341"/>
                <a:gd name="connsiteX11" fmla="*/ 229517 w 435145"/>
                <a:gd name="connsiteY11" fmla="*/ 161713 h 462341"/>
                <a:gd name="connsiteX12" fmla="*/ 259433 w 435145"/>
                <a:gd name="connsiteY12" fmla="*/ 194349 h 462341"/>
                <a:gd name="connsiteX13" fmla="*/ 259433 w 435145"/>
                <a:gd name="connsiteY13" fmla="*/ 362967 h 462341"/>
                <a:gd name="connsiteX14" fmla="*/ 321985 w 435145"/>
                <a:gd name="connsiteY14" fmla="*/ 422800 h 462341"/>
                <a:gd name="connsiteX15" fmla="*/ 387257 w 435145"/>
                <a:gd name="connsiteY15" fmla="*/ 362967 h 462341"/>
                <a:gd name="connsiteX16" fmla="*/ 387257 w 435145"/>
                <a:gd name="connsiteY16" fmla="*/ 273219 h 462341"/>
                <a:gd name="connsiteX17" fmla="*/ 302948 w 435145"/>
                <a:gd name="connsiteY17" fmla="*/ 74684 h 4623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435145" h="462341">
                  <a:moveTo>
                    <a:pt x="302948" y="74684"/>
                  </a:moveTo>
                  <a:cubicBezTo>
                    <a:pt x="234956" y="74684"/>
                    <a:pt x="196881" y="131797"/>
                    <a:pt x="186002" y="148115"/>
                  </a:cubicBezTo>
                  <a:lnTo>
                    <a:pt x="186002" y="148115"/>
                  </a:lnTo>
                  <a:cubicBezTo>
                    <a:pt x="186002" y="129077"/>
                    <a:pt x="186002" y="115479"/>
                    <a:pt x="186002" y="115479"/>
                  </a:cubicBezTo>
                  <a:cubicBezTo>
                    <a:pt x="186002" y="82843"/>
                    <a:pt x="156086" y="58366"/>
                    <a:pt x="123450" y="58366"/>
                  </a:cubicBezTo>
                  <a:cubicBezTo>
                    <a:pt x="90814" y="55646"/>
                    <a:pt x="58178" y="82843"/>
                    <a:pt x="58178" y="115479"/>
                  </a:cubicBezTo>
                  <a:cubicBezTo>
                    <a:pt x="58178" y="120918"/>
                    <a:pt x="58178" y="360248"/>
                    <a:pt x="58178" y="362967"/>
                  </a:cubicBezTo>
                  <a:cubicBezTo>
                    <a:pt x="58178" y="395603"/>
                    <a:pt x="88094" y="422800"/>
                    <a:pt x="120730" y="422800"/>
                  </a:cubicBezTo>
                  <a:cubicBezTo>
                    <a:pt x="153366" y="425519"/>
                    <a:pt x="186002" y="395603"/>
                    <a:pt x="186002" y="362967"/>
                  </a:cubicBezTo>
                  <a:cubicBezTo>
                    <a:pt x="186002" y="360248"/>
                    <a:pt x="186002" y="281378"/>
                    <a:pt x="186002" y="213386"/>
                  </a:cubicBezTo>
                  <a:lnTo>
                    <a:pt x="186002" y="213386"/>
                  </a:lnTo>
                  <a:cubicBezTo>
                    <a:pt x="191442" y="186190"/>
                    <a:pt x="205040" y="161713"/>
                    <a:pt x="229517" y="161713"/>
                  </a:cubicBezTo>
                  <a:cubicBezTo>
                    <a:pt x="259433" y="161713"/>
                    <a:pt x="259433" y="194349"/>
                    <a:pt x="259433" y="194349"/>
                  </a:cubicBezTo>
                  <a:lnTo>
                    <a:pt x="259433" y="362967"/>
                  </a:lnTo>
                  <a:cubicBezTo>
                    <a:pt x="259433" y="395603"/>
                    <a:pt x="289349" y="422800"/>
                    <a:pt x="321985" y="422800"/>
                  </a:cubicBezTo>
                  <a:cubicBezTo>
                    <a:pt x="354621" y="425519"/>
                    <a:pt x="387257" y="395603"/>
                    <a:pt x="387257" y="362967"/>
                  </a:cubicBezTo>
                  <a:lnTo>
                    <a:pt x="387257" y="273219"/>
                  </a:lnTo>
                  <a:cubicBezTo>
                    <a:pt x="384537" y="183470"/>
                    <a:pt x="395416" y="71964"/>
                    <a:pt x="302948" y="74684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847FAE4D-6929-4A6E-B735-59F6ED016FDD}"/>
                </a:ext>
              </a:extLst>
            </p:cNvPr>
            <p:cNvSpPr/>
            <p:nvPr/>
          </p:nvSpPr>
          <p:spPr>
            <a:xfrm>
              <a:off x="7616289" y="3475234"/>
              <a:ext cx="364436" cy="364434"/>
            </a:xfrm>
            <a:custGeom>
              <a:avLst/>
              <a:gdLst>
                <a:gd name="connsiteX0" fmla="*/ 182218 w 364436"/>
                <a:gd name="connsiteY0" fmla="*/ 73431 h 364434"/>
                <a:gd name="connsiteX1" fmla="*/ 130544 w 364436"/>
                <a:gd name="connsiteY1" fmla="*/ 179499 h 364434"/>
                <a:gd name="connsiteX2" fmla="*/ 182218 w 364436"/>
                <a:gd name="connsiteY2" fmla="*/ 285565 h 364434"/>
                <a:gd name="connsiteX3" fmla="*/ 233891 w 364436"/>
                <a:gd name="connsiteY3" fmla="*/ 179499 h 364434"/>
                <a:gd name="connsiteX4" fmla="*/ 182218 w 364436"/>
                <a:gd name="connsiteY4" fmla="*/ 73431 h 364434"/>
                <a:gd name="connsiteX5" fmla="*/ 182219 w 364436"/>
                <a:gd name="connsiteY5" fmla="*/ 0 h 364434"/>
                <a:gd name="connsiteX6" fmla="*/ 364436 w 364436"/>
                <a:gd name="connsiteY6" fmla="*/ 182217 h 364434"/>
                <a:gd name="connsiteX7" fmla="*/ 182219 w 364436"/>
                <a:gd name="connsiteY7" fmla="*/ 364434 h 364434"/>
                <a:gd name="connsiteX8" fmla="*/ 0 w 364436"/>
                <a:gd name="connsiteY8" fmla="*/ 182217 h 364434"/>
                <a:gd name="connsiteX9" fmla="*/ 182219 w 364436"/>
                <a:gd name="connsiteY9" fmla="*/ 0 h 3644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64436" h="364434">
                  <a:moveTo>
                    <a:pt x="182218" y="73431"/>
                  </a:moveTo>
                  <a:cubicBezTo>
                    <a:pt x="152302" y="76151"/>
                    <a:pt x="130544" y="114226"/>
                    <a:pt x="130544" y="179499"/>
                  </a:cubicBezTo>
                  <a:cubicBezTo>
                    <a:pt x="130544" y="244770"/>
                    <a:pt x="146862" y="285565"/>
                    <a:pt x="182218" y="285565"/>
                  </a:cubicBezTo>
                  <a:cubicBezTo>
                    <a:pt x="217573" y="285565"/>
                    <a:pt x="233891" y="247490"/>
                    <a:pt x="233891" y="179499"/>
                  </a:cubicBezTo>
                  <a:cubicBezTo>
                    <a:pt x="233891" y="114226"/>
                    <a:pt x="212134" y="73431"/>
                    <a:pt x="182218" y="73431"/>
                  </a:cubicBezTo>
                  <a:close/>
                  <a:moveTo>
                    <a:pt x="182219" y="0"/>
                  </a:moveTo>
                  <a:cubicBezTo>
                    <a:pt x="282846" y="0"/>
                    <a:pt x="364436" y="81590"/>
                    <a:pt x="364436" y="182217"/>
                  </a:cubicBezTo>
                  <a:cubicBezTo>
                    <a:pt x="364436" y="282844"/>
                    <a:pt x="282846" y="364434"/>
                    <a:pt x="182219" y="364434"/>
                  </a:cubicBezTo>
                  <a:cubicBezTo>
                    <a:pt x="81591" y="364434"/>
                    <a:pt x="0" y="282844"/>
                    <a:pt x="0" y="182217"/>
                  </a:cubicBezTo>
                  <a:cubicBezTo>
                    <a:pt x="0" y="81590"/>
                    <a:pt x="81591" y="0"/>
                    <a:pt x="182219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A61A7D8E-A6BF-40D7-95EB-1191999BD2EC}"/>
                </a:ext>
              </a:extLst>
            </p:cNvPr>
            <p:cNvSpPr/>
            <p:nvPr/>
          </p:nvSpPr>
          <p:spPr>
            <a:xfrm>
              <a:off x="6743101" y="3464184"/>
              <a:ext cx="372773" cy="375657"/>
            </a:xfrm>
            <a:custGeom>
              <a:avLst/>
              <a:gdLst>
                <a:gd name="connsiteX0" fmla="*/ 176958 w 372773"/>
                <a:gd name="connsiteY0" fmla="*/ 98080 h 375657"/>
                <a:gd name="connsiteX1" fmla="*/ 125284 w 372773"/>
                <a:gd name="connsiteY1" fmla="*/ 190548 h 375657"/>
                <a:gd name="connsiteX2" fmla="*/ 176958 w 372773"/>
                <a:gd name="connsiteY2" fmla="*/ 283017 h 375657"/>
                <a:gd name="connsiteX3" fmla="*/ 228631 w 372773"/>
                <a:gd name="connsiteY3" fmla="*/ 190548 h 375657"/>
                <a:gd name="connsiteX4" fmla="*/ 176958 w 372773"/>
                <a:gd name="connsiteY4" fmla="*/ 98080 h 375657"/>
                <a:gd name="connsiteX5" fmla="*/ 307501 w 372773"/>
                <a:gd name="connsiteY5" fmla="*/ 172 h 375657"/>
                <a:gd name="connsiteX6" fmla="*/ 372773 w 372773"/>
                <a:gd name="connsiteY6" fmla="*/ 62724 h 375657"/>
                <a:gd name="connsiteX7" fmla="*/ 372773 w 372773"/>
                <a:gd name="connsiteY7" fmla="*/ 312934 h 375657"/>
                <a:gd name="connsiteX8" fmla="*/ 302061 w 372773"/>
                <a:gd name="connsiteY8" fmla="*/ 375486 h 375657"/>
                <a:gd name="connsiteX9" fmla="*/ 239509 w 372773"/>
                <a:gd name="connsiteY9" fmla="*/ 326532 h 375657"/>
                <a:gd name="connsiteX10" fmla="*/ 179677 w 372773"/>
                <a:gd name="connsiteY10" fmla="*/ 370046 h 375657"/>
                <a:gd name="connsiteX11" fmla="*/ 70890 w 372773"/>
                <a:gd name="connsiteY11" fmla="*/ 353728 h 375657"/>
                <a:gd name="connsiteX12" fmla="*/ 128003 w 372773"/>
                <a:gd name="connsiteY12" fmla="*/ 11051 h 375657"/>
                <a:gd name="connsiteX13" fmla="*/ 236790 w 372773"/>
                <a:gd name="connsiteY13" fmla="*/ 70883 h 375657"/>
                <a:gd name="connsiteX14" fmla="*/ 236790 w 372773"/>
                <a:gd name="connsiteY14" fmla="*/ 62724 h 375657"/>
                <a:gd name="connsiteX15" fmla="*/ 307501 w 372773"/>
                <a:gd name="connsiteY15" fmla="*/ 172 h 3756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72773" h="375657">
                  <a:moveTo>
                    <a:pt x="176958" y="98080"/>
                  </a:moveTo>
                  <a:cubicBezTo>
                    <a:pt x="147042" y="100800"/>
                    <a:pt x="125284" y="133436"/>
                    <a:pt x="125284" y="190548"/>
                  </a:cubicBezTo>
                  <a:cubicBezTo>
                    <a:pt x="125284" y="247661"/>
                    <a:pt x="141602" y="283017"/>
                    <a:pt x="176958" y="283017"/>
                  </a:cubicBezTo>
                  <a:cubicBezTo>
                    <a:pt x="212314" y="283017"/>
                    <a:pt x="228631" y="247661"/>
                    <a:pt x="228631" y="190548"/>
                  </a:cubicBezTo>
                  <a:cubicBezTo>
                    <a:pt x="228631" y="133436"/>
                    <a:pt x="206874" y="98080"/>
                    <a:pt x="176958" y="98080"/>
                  </a:cubicBezTo>
                  <a:close/>
                  <a:moveTo>
                    <a:pt x="307501" y="172"/>
                  </a:moveTo>
                  <a:cubicBezTo>
                    <a:pt x="340137" y="172"/>
                    <a:pt x="372773" y="30088"/>
                    <a:pt x="372773" y="62724"/>
                  </a:cubicBezTo>
                  <a:cubicBezTo>
                    <a:pt x="372773" y="65444"/>
                    <a:pt x="372773" y="307494"/>
                    <a:pt x="372773" y="312934"/>
                  </a:cubicBezTo>
                  <a:cubicBezTo>
                    <a:pt x="370053" y="348289"/>
                    <a:pt x="337417" y="378205"/>
                    <a:pt x="302061" y="375486"/>
                  </a:cubicBezTo>
                  <a:cubicBezTo>
                    <a:pt x="274865" y="372766"/>
                    <a:pt x="247668" y="353728"/>
                    <a:pt x="239509" y="326532"/>
                  </a:cubicBezTo>
                  <a:cubicBezTo>
                    <a:pt x="225911" y="348289"/>
                    <a:pt x="198715" y="364607"/>
                    <a:pt x="179677" y="370046"/>
                  </a:cubicBezTo>
                  <a:cubicBezTo>
                    <a:pt x="147041" y="378205"/>
                    <a:pt x="100807" y="372766"/>
                    <a:pt x="70890" y="353728"/>
                  </a:cubicBezTo>
                  <a:cubicBezTo>
                    <a:pt x="-35177" y="285737"/>
                    <a:pt x="-27018" y="11051"/>
                    <a:pt x="128003" y="11051"/>
                  </a:cubicBezTo>
                  <a:cubicBezTo>
                    <a:pt x="185116" y="11051"/>
                    <a:pt x="220471" y="49126"/>
                    <a:pt x="236790" y="70883"/>
                  </a:cubicBezTo>
                  <a:cubicBezTo>
                    <a:pt x="236790" y="70883"/>
                    <a:pt x="236790" y="65444"/>
                    <a:pt x="236790" y="62724"/>
                  </a:cubicBezTo>
                  <a:cubicBezTo>
                    <a:pt x="239509" y="27369"/>
                    <a:pt x="272145" y="-2547"/>
                    <a:pt x="307501" y="172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41409C27-3D54-4E7E-B608-F8D1F36BC68E}"/>
                </a:ext>
              </a:extLst>
            </p:cNvPr>
            <p:cNvSpPr/>
            <p:nvPr/>
          </p:nvSpPr>
          <p:spPr>
            <a:xfrm>
              <a:off x="8380335" y="3464184"/>
              <a:ext cx="372772" cy="375657"/>
            </a:xfrm>
            <a:custGeom>
              <a:avLst/>
              <a:gdLst>
                <a:gd name="connsiteX0" fmla="*/ 176957 w 372772"/>
                <a:gd name="connsiteY0" fmla="*/ 98080 h 375657"/>
                <a:gd name="connsiteX1" fmla="*/ 125282 w 372772"/>
                <a:gd name="connsiteY1" fmla="*/ 190548 h 375657"/>
                <a:gd name="connsiteX2" fmla="*/ 176957 w 372772"/>
                <a:gd name="connsiteY2" fmla="*/ 283017 h 375657"/>
                <a:gd name="connsiteX3" fmla="*/ 228630 w 372772"/>
                <a:gd name="connsiteY3" fmla="*/ 190548 h 375657"/>
                <a:gd name="connsiteX4" fmla="*/ 176957 w 372772"/>
                <a:gd name="connsiteY4" fmla="*/ 98080 h 375657"/>
                <a:gd name="connsiteX5" fmla="*/ 307501 w 372772"/>
                <a:gd name="connsiteY5" fmla="*/ 172 h 375657"/>
                <a:gd name="connsiteX6" fmla="*/ 372772 w 372772"/>
                <a:gd name="connsiteY6" fmla="*/ 62724 h 375657"/>
                <a:gd name="connsiteX7" fmla="*/ 372772 w 372772"/>
                <a:gd name="connsiteY7" fmla="*/ 312934 h 375657"/>
                <a:gd name="connsiteX8" fmla="*/ 302062 w 372772"/>
                <a:gd name="connsiteY8" fmla="*/ 375486 h 375657"/>
                <a:gd name="connsiteX9" fmla="*/ 239509 w 372772"/>
                <a:gd name="connsiteY9" fmla="*/ 326532 h 375657"/>
                <a:gd name="connsiteX10" fmla="*/ 179677 w 372772"/>
                <a:gd name="connsiteY10" fmla="*/ 370046 h 375657"/>
                <a:gd name="connsiteX11" fmla="*/ 70890 w 372772"/>
                <a:gd name="connsiteY11" fmla="*/ 353728 h 375657"/>
                <a:gd name="connsiteX12" fmla="*/ 128002 w 372772"/>
                <a:gd name="connsiteY12" fmla="*/ 11051 h 375657"/>
                <a:gd name="connsiteX13" fmla="*/ 236790 w 372772"/>
                <a:gd name="connsiteY13" fmla="*/ 70883 h 375657"/>
                <a:gd name="connsiteX14" fmla="*/ 236790 w 372772"/>
                <a:gd name="connsiteY14" fmla="*/ 62724 h 375657"/>
                <a:gd name="connsiteX15" fmla="*/ 307501 w 372772"/>
                <a:gd name="connsiteY15" fmla="*/ 172 h 3756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72772" h="375657">
                  <a:moveTo>
                    <a:pt x="176957" y="98080"/>
                  </a:moveTo>
                  <a:cubicBezTo>
                    <a:pt x="147039" y="100800"/>
                    <a:pt x="125282" y="133436"/>
                    <a:pt x="125282" y="190548"/>
                  </a:cubicBezTo>
                  <a:cubicBezTo>
                    <a:pt x="125282" y="247661"/>
                    <a:pt x="141600" y="283017"/>
                    <a:pt x="176957" y="283017"/>
                  </a:cubicBezTo>
                  <a:cubicBezTo>
                    <a:pt x="212312" y="283017"/>
                    <a:pt x="228630" y="247661"/>
                    <a:pt x="228630" y="190548"/>
                  </a:cubicBezTo>
                  <a:cubicBezTo>
                    <a:pt x="228630" y="133436"/>
                    <a:pt x="206873" y="98080"/>
                    <a:pt x="176957" y="98080"/>
                  </a:cubicBezTo>
                  <a:close/>
                  <a:moveTo>
                    <a:pt x="307501" y="172"/>
                  </a:moveTo>
                  <a:cubicBezTo>
                    <a:pt x="340137" y="172"/>
                    <a:pt x="372772" y="30088"/>
                    <a:pt x="372772" y="62724"/>
                  </a:cubicBezTo>
                  <a:cubicBezTo>
                    <a:pt x="372772" y="65444"/>
                    <a:pt x="372772" y="307494"/>
                    <a:pt x="372772" y="312934"/>
                  </a:cubicBezTo>
                  <a:cubicBezTo>
                    <a:pt x="370053" y="348289"/>
                    <a:pt x="337417" y="378205"/>
                    <a:pt x="302062" y="375486"/>
                  </a:cubicBezTo>
                  <a:cubicBezTo>
                    <a:pt x="274865" y="372766"/>
                    <a:pt x="247668" y="353728"/>
                    <a:pt x="239509" y="326532"/>
                  </a:cubicBezTo>
                  <a:cubicBezTo>
                    <a:pt x="228630" y="348289"/>
                    <a:pt x="198714" y="364607"/>
                    <a:pt x="179677" y="370046"/>
                  </a:cubicBezTo>
                  <a:cubicBezTo>
                    <a:pt x="147040" y="378205"/>
                    <a:pt x="100806" y="372766"/>
                    <a:pt x="70890" y="353728"/>
                  </a:cubicBezTo>
                  <a:cubicBezTo>
                    <a:pt x="-35177" y="285737"/>
                    <a:pt x="-27018" y="11051"/>
                    <a:pt x="128002" y="11051"/>
                  </a:cubicBezTo>
                  <a:cubicBezTo>
                    <a:pt x="185116" y="11051"/>
                    <a:pt x="220472" y="49126"/>
                    <a:pt x="236790" y="70883"/>
                  </a:cubicBezTo>
                  <a:cubicBezTo>
                    <a:pt x="236790" y="70883"/>
                    <a:pt x="236790" y="65444"/>
                    <a:pt x="236790" y="62724"/>
                  </a:cubicBezTo>
                  <a:cubicBezTo>
                    <a:pt x="239509" y="27369"/>
                    <a:pt x="272145" y="-2547"/>
                    <a:pt x="307501" y="172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DD063CBE-F520-471D-99C8-586943DE0D8C}"/>
                </a:ext>
              </a:extLst>
            </p:cNvPr>
            <p:cNvSpPr/>
            <p:nvPr/>
          </p:nvSpPr>
          <p:spPr>
            <a:xfrm>
              <a:off x="7389492" y="3444253"/>
              <a:ext cx="217573" cy="435145"/>
            </a:xfrm>
            <a:custGeom>
              <a:avLst/>
              <a:gdLst>
                <a:gd name="connsiteX0" fmla="*/ 186002 w 217572"/>
                <a:gd name="connsiteY0" fmla="*/ 118011 h 435144"/>
                <a:gd name="connsiteX1" fmla="*/ 128890 w 217572"/>
                <a:gd name="connsiteY1" fmla="*/ 58178 h 435144"/>
                <a:gd name="connsiteX2" fmla="*/ 123450 w 217572"/>
                <a:gd name="connsiteY2" fmla="*/ 58178 h 435144"/>
                <a:gd name="connsiteX3" fmla="*/ 58178 w 217572"/>
                <a:gd name="connsiteY3" fmla="*/ 115291 h 435144"/>
                <a:gd name="connsiteX4" fmla="*/ 58178 w 217572"/>
                <a:gd name="connsiteY4" fmla="*/ 232236 h 435144"/>
                <a:gd name="connsiteX5" fmla="*/ 58178 w 217572"/>
                <a:gd name="connsiteY5" fmla="*/ 232236 h 435144"/>
                <a:gd name="connsiteX6" fmla="*/ 58178 w 217572"/>
                <a:gd name="connsiteY6" fmla="*/ 335583 h 435144"/>
                <a:gd name="connsiteX7" fmla="*/ 115291 w 217572"/>
                <a:gd name="connsiteY7" fmla="*/ 395415 h 435144"/>
                <a:gd name="connsiteX8" fmla="*/ 120730 w 217572"/>
                <a:gd name="connsiteY8" fmla="*/ 395415 h 435144"/>
                <a:gd name="connsiteX9" fmla="*/ 186002 w 217572"/>
                <a:gd name="connsiteY9" fmla="*/ 338303 h 435144"/>
                <a:gd name="connsiteX10" fmla="*/ 186002 w 217572"/>
                <a:gd name="connsiteY10" fmla="*/ 240395 h 435144"/>
                <a:gd name="connsiteX11" fmla="*/ 186002 w 217572"/>
                <a:gd name="connsiteY11" fmla="*/ 240395 h 435144"/>
                <a:gd name="connsiteX12" fmla="*/ 186002 w 217572"/>
                <a:gd name="connsiteY12" fmla="*/ 118011 h 4351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17572" h="435144">
                  <a:moveTo>
                    <a:pt x="186002" y="118011"/>
                  </a:moveTo>
                  <a:cubicBezTo>
                    <a:pt x="183283" y="85375"/>
                    <a:pt x="158806" y="60898"/>
                    <a:pt x="128890" y="58178"/>
                  </a:cubicBezTo>
                  <a:cubicBezTo>
                    <a:pt x="126170" y="58178"/>
                    <a:pt x="126170" y="58178"/>
                    <a:pt x="123450" y="58178"/>
                  </a:cubicBezTo>
                  <a:cubicBezTo>
                    <a:pt x="96254" y="58178"/>
                    <a:pt x="58178" y="82655"/>
                    <a:pt x="58178" y="115291"/>
                  </a:cubicBezTo>
                  <a:lnTo>
                    <a:pt x="58178" y="232236"/>
                  </a:lnTo>
                  <a:lnTo>
                    <a:pt x="58178" y="232236"/>
                  </a:lnTo>
                  <a:cubicBezTo>
                    <a:pt x="58178" y="270311"/>
                    <a:pt x="58178" y="335583"/>
                    <a:pt x="58178" y="335583"/>
                  </a:cubicBezTo>
                  <a:cubicBezTo>
                    <a:pt x="60898" y="368219"/>
                    <a:pt x="85375" y="392696"/>
                    <a:pt x="115291" y="395415"/>
                  </a:cubicBezTo>
                  <a:cubicBezTo>
                    <a:pt x="118011" y="395415"/>
                    <a:pt x="118011" y="395415"/>
                    <a:pt x="120730" y="395415"/>
                  </a:cubicBezTo>
                  <a:cubicBezTo>
                    <a:pt x="147927" y="395415"/>
                    <a:pt x="186002" y="370938"/>
                    <a:pt x="186002" y="338303"/>
                  </a:cubicBezTo>
                  <a:lnTo>
                    <a:pt x="186002" y="240395"/>
                  </a:lnTo>
                  <a:lnTo>
                    <a:pt x="186002" y="240395"/>
                  </a:lnTo>
                  <a:cubicBezTo>
                    <a:pt x="186002" y="202320"/>
                    <a:pt x="186002" y="118011"/>
                    <a:pt x="186002" y="118011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8DC003CD-8A26-432E-9060-84F8E0B2AA1B}"/>
                </a:ext>
              </a:extLst>
            </p:cNvPr>
            <p:cNvSpPr/>
            <p:nvPr/>
          </p:nvSpPr>
          <p:spPr>
            <a:xfrm>
              <a:off x="7392212" y="3280901"/>
              <a:ext cx="217573" cy="217572"/>
            </a:xfrm>
            <a:custGeom>
              <a:avLst/>
              <a:gdLst>
                <a:gd name="connsiteX0" fmla="*/ 183282 w 217572"/>
                <a:gd name="connsiteY0" fmla="*/ 120902 h 217572"/>
                <a:gd name="connsiteX1" fmla="*/ 120730 w 217572"/>
                <a:gd name="connsiteY1" fmla="*/ 183454 h 217572"/>
                <a:gd name="connsiteX2" fmla="*/ 58178 w 217572"/>
                <a:gd name="connsiteY2" fmla="*/ 120902 h 217572"/>
                <a:gd name="connsiteX3" fmla="*/ 120730 w 217572"/>
                <a:gd name="connsiteY3" fmla="*/ 58350 h 217572"/>
                <a:gd name="connsiteX4" fmla="*/ 183282 w 217572"/>
                <a:gd name="connsiteY4" fmla="*/ 120902 h 2175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17572" h="217572">
                  <a:moveTo>
                    <a:pt x="183282" y="120902"/>
                  </a:moveTo>
                  <a:cubicBezTo>
                    <a:pt x="183282" y="156258"/>
                    <a:pt x="156086" y="183454"/>
                    <a:pt x="120730" y="183454"/>
                  </a:cubicBezTo>
                  <a:cubicBezTo>
                    <a:pt x="85375" y="183454"/>
                    <a:pt x="58178" y="156258"/>
                    <a:pt x="58178" y="120902"/>
                  </a:cubicBezTo>
                  <a:cubicBezTo>
                    <a:pt x="58178" y="85547"/>
                    <a:pt x="85375" y="58350"/>
                    <a:pt x="120730" y="58350"/>
                  </a:cubicBezTo>
                  <a:cubicBezTo>
                    <a:pt x="153366" y="55630"/>
                    <a:pt x="183282" y="85547"/>
                    <a:pt x="183282" y="120902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8EA46793-C37F-42AD-B0A2-1B9D19975188}"/>
                </a:ext>
              </a:extLst>
            </p:cNvPr>
            <p:cNvSpPr/>
            <p:nvPr/>
          </p:nvSpPr>
          <p:spPr>
            <a:xfrm>
              <a:off x="6005186" y="3416884"/>
              <a:ext cx="380752" cy="462341"/>
            </a:xfrm>
            <a:custGeom>
              <a:avLst/>
              <a:gdLst>
                <a:gd name="connsiteX0" fmla="*/ 270312 w 380752"/>
                <a:gd name="connsiteY0" fmla="*/ 69229 h 462341"/>
                <a:gd name="connsiteX1" fmla="*/ 188722 w 380752"/>
                <a:gd name="connsiteY1" fmla="*/ 134501 h 462341"/>
                <a:gd name="connsiteX2" fmla="*/ 188722 w 380752"/>
                <a:gd name="connsiteY2" fmla="*/ 118183 h 462341"/>
                <a:gd name="connsiteX3" fmla="*/ 126170 w 380752"/>
                <a:gd name="connsiteY3" fmla="*/ 58350 h 462341"/>
                <a:gd name="connsiteX4" fmla="*/ 58178 w 380752"/>
                <a:gd name="connsiteY4" fmla="*/ 118183 h 462341"/>
                <a:gd name="connsiteX5" fmla="*/ 58178 w 380752"/>
                <a:gd name="connsiteY5" fmla="*/ 210651 h 462341"/>
                <a:gd name="connsiteX6" fmla="*/ 58178 w 380752"/>
                <a:gd name="connsiteY6" fmla="*/ 365671 h 462341"/>
                <a:gd name="connsiteX7" fmla="*/ 58178 w 380752"/>
                <a:gd name="connsiteY7" fmla="*/ 365671 h 462341"/>
                <a:gd name="connsiteX8" fmla="*/ 120730 w 380752"/>
                <a:gd name="connsiteY8" fmla="*/ 425504 h 462341"/>
                <a:gd name="connsiteX9" fmla="*/ 186002 w 380752"/>
                <a:gd name="connsiteY9" fmla="*/ 365671 h 462341"/>
                <a:gd name="connsiteX10" fmla="*/ 186002 w 380752"/>
                <a:gd name="connsiteY10" fmla="*/ 365671 h 462341"/>
                <a:gd name="connsiteX11" fmla="*/ 186002 w 380752"/>
                <a:gd name="connsiteY11" fmla="*/ 210651 h 462341"/>
                <a:gd name="connsiteX12" fmla="*/ 215919 w 380752"/>
                <a:gd name="connsiteY12" fmla="*/ 158978 h 462341"/>
                <a:gd name="connsiteX13" fmla="*/ 275751 w 380752"/>
                <a:gd name="connsiteY13" fmla="*/ 221530 h 462341"/>
                <a:gd name="connsiteX14" fmla="*/ 270312 w 380752"/>
                <a:gd name="connsiteY14" fmla="*/ 69229 h 4623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80752" h="462341">
                  <a:moveTo>
                    <a:pt x="270312" y="69229"/>
                  </a:moveTo>
                  <a:cubicBezTo>
                    <a:pt x="232236" y="71949"/>
                    <a:pt x="213199" y="99145"/>
                    <a:pt x="188722" y="134501"/>
                  </a:cubicBezTo>
                  <a:cubicBezTo>
                    <a:pt x="188722" y="134501"/>
                    <a:pt x="188722" y="118183"/>
                    <a:pt x="188722" y="118183"/>
                  </a:cubicBezTo>
                  <a:cubicBezTo>
                    <a:pt x="188722" y="85547"/>
                    <a:pt x="158806" y="58350"/>
                    <a:pt x="126170" y="58350"/>
                  </a:cubicBezTo>
                  <a:cubicBezTo>
                    <a:pt x="93534" y="55631"/>
                    <a:pt x="60898" y="85547"/>
                    <a:pt x="58178" y="118183"/>
                  </a:cubicBezTo>
                  <a:lnTo>
                    <a:pt x="58178" y="210651"/>
                  </a:lnTo>
                  <a:lnTo>
                    <a:pt x="58178" y="365671"/>
                  </a:lnTo>
                  <a:lnTo>
                    <a:pt x="58178" y="365671"/>
                  </a:lnTo>
                  <a:cubicBezTo>
                    <a:pt x="58178" y="398307"/>
                    <a:pt x="88094" y="425504"/>
                    <a:pt x="120730" y="425504"/>
                  </a:cubicBezTo>
                  <a:cubicBezTo>
                    <a:pt x="153366" y="428224"/>
                    <a:pt x="186002" y="398307"/>
                    <a:pt x="186002" y="365671"/>
                  </a:cubicBezTo>
                  <a:lnTo>
                    <a:pt x="186002" y="365671"/>
                  </a:lnTo>
                  <a:lnTo>
                    <a:pt x="186002" y="210651"/>
                  </a:lnTo>
                  <a:cubicBezTo>
                    <a:pt x="188722" y="188894"/>
                    <a:pt x="196881" y="158978"/>
                    <a:pt x="215919" y="158978"/>
                  </a:cubicBezTo>
                  <a:cubicBezTo>
                    <a:pt x="243115" y="158978"/>
                    <a:pt x="215919" y="221530"/>
                    <a:pt x="275751" y="221530"/>
                  </a:cubicBezTo>
                  <a:cubicBezTo>
                    <a:pt x="362780" y="221530"/>
                    <a:pt x="373658" y="63790"/>
                    <a:pt x="270312" y="69229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00046F6B-E5D4-4598-93CE-3280F6A1E048}"/>
                </a:ext>
              </a:extLst>
            </p:cNvPr>
            <p:cNvSpPr/>
            <p:nvPr/>
          </p:nvSpPr>
          <p:spPr>
            <a:xfrm>
              <a:off x="5693490" y="3475234"/>
              <a:ext cx="337238" cy="364434"/>
            </a:xfrm>
            <a:custGeom>
              <a:avLst/>
              <a:gdLst>
                <a:gd name="connsiteX0" fmla="*/ 180433 w 337238"/>
                <a:gd name="connsiteY0" fmla="*/ 73984 h 364434"/>
                <a:gd name="connsiteX1" fmla="*/ 163180 w 337238"/>
                <a:gd name="connsiteY1" fmla="*/ 78870 h 364434"/>
                <a:gd name="connsiteX2" fmla="*/ 125105 w 337238"/>
                <a:gd name="connsiteY2" fmla="*/ 160461 h 364434"/>
                <a:gd name="connsiteX3" fmla="*/ 171339 w 337238"/>
                <a:gd name="connsiteY3" fmla="*/ 163180 h 364434"/>
                <a:gd name="connsiteX4" fmla="*/ 214854 w 337238"/>
                <a:gd name="connsiteY4" fmla="*/ 108787 h 364434"/>
                <a:gd name="connsiteX5" fmla="*/ 180433 w 337238"/>
                <a:gd name="connsiteY5" fmla="*/ 73984 h 364434"/>
                <a:gd name="connsiteX6" fmla="*/ 174059 w 337238"/>
                <a:gd name="connsiteY6" fmla="*/ 0 h 364434"/>
                <a:gd name="connsiteX7" fmla="*/ 337238 w 337238"/>
                <a:gd name="connsiteY7" fmla="*/ 119665 h 364434"/>
                <a:gd name="connsiteX8" fmla="*/ 133264 w 337238"/>
                <a:gd name="connsiteY8" fmla="*/ 217573 h 364434"/>
                <a:gd name="connsiteX9" fmla="*/ 225732 w 337238"/>
                <a:gd name="connsiteY9" fmla="*/ 277405 h 364434"/>
                <a:gd name="connsiteX10" fmla="*/ 320920 w 337238"/>
                <a:gd name="connsiteY10" fmla="*/ 250208 h 364434"/>
                <a:gd name="connsiteX11" fmla="*/ 174059 w 337238"/>
                <a:gd name="connsiteY11" fmla="*/ 364434 h 364434"/>
                <a:gd name="connsiteX12" fmla="*/ 0 w 337238"/>
                <a:gd name="connsiteY12" fmla="*/ 184937 h 364434"/>
                <a:gd name="connsiteX13" fmla="*/ 174059 w 337238"/>
                <a:gd name="connsiteY13" fmla="*/ 0 h 3644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37238" h="364434">
                  <a:moveTo>
                    <a:pt x="180433" y="73984"/>
                  </a:moveTo>
                  <a:cubicBezTo>
                    <a:pt x="174569" y="73941"/>
                    <a:pt x="168620" y="75471"/>
                    <a:pt x="163180" y="78870"/>
                  </a:cubicBezTo>
                  <a:cubicBezTo>
                    <a:pt x="135984" y="95189"/>
                    <a:pt x="127825" y="130544"/>
                    <a:pt x="125105" y="160461"/>
                  </a:cubicBezTo>
                  <a:cubicBezTo>
                    <a:pt x="125105" y="163180"/>
                    <a:pt x="168620" y="160461"/>
                    <a:pt x="171339" y="163180"/>
                  </a:cubicBezTo>
                  <a:cubicBezTo>
                    <a:pt x="195816" y="157741"/>
                    <a:pt x="214854" y="135984"/>
                    <a:pt x="214854" y="108787"/>
                  </a:cubicBezTo>
                  <a:cubicBezTo>
                    <a:pt x="214854" y="88389"/>
                    <a:pt x="198026" y="74111"/>
                    <a:pt x="180433" y="73984"/>
                  </a:cubicBezTo>
                  <a:close/>
                  <a:moveTo>
                    <a:pt x="174059" y="0"/>
                  </a:moveTo>
                  <a:cubicBezTo>
                    <a:pt x="233891" y="0"/>
                    <a:pt x="337238" y="29916"/>
                    <a:pt x="337238" y="119665"/>
                  </a:cubicBezTo>
                  <a:cubicBezTo>
                    <a:pt x="337238" y="209414"/>
                    <a:pt x="244770" y="217573"/>
                    <a:pt x="133264" y="217573"/>
                  </a:cubicBezTo>
                  <a:cubicBezTo>
                    <a:pt x="133264" y="217573"/>
                    <a:pt x="149581" y="277405"/>
                    <a:pt x="225732" y="277405"/>
                  </a:cubicBezTo>
                  <a:cubicBezTo>
                    <a:pt x="301883" y="277405"/>
                    <a:pt x="320920" y="250208"/>
                    <a:pt x="320920" y="250208"/>
                  </a:cubicBezTo>
                  <a:cubicBezTo>
                    <a:pt x="320920" y="250208"/>
                    <a:pt x="315481" y="364434"/>
                    <a:pt x="174059" y="364434"/>
                  </a:cubicBezTo>
                  <a:cubicBezTo>
                    <a:pt x="95188" y="364434"/>
                    <a:pt x="0" y="304602"/>
                    <a:pt x="0" y="184937"/>
                  </a:cubicBezTo>
                  <a:cubicBezTo>
                    <a:pt x="0" y="78870"/>
                    <a:pt x="73431" y="0"/>
                    <a:pt x="174059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D9E3FEEA-893B-4BCB-878A-93F25BBD9C29}"/>
                </a:ext>
              </a:extLst>
            </p:cNvPr>
            <p:cNvSpPr/>
            <p:nvPr/>
          </p:nvSpPr>
          <p:spPr>
            <a:xfrm>
              <a:off x="5376945" y="3338014"/>
              <a:ext cx="353556" cy="543931"/>
            </a:xfrm>
            <a:custGeom>
              <a:avLst/>
              <a:gdLst>
                <a:gd name="connsiteX0" fmla="*/ 311107 w 353555"/>
                <a:gd name="connsiteY0" fmla="*/ 433663 h 543931"/>
                <a:gd name="connsiteX1" fmla="*/ 215919 w 353555"/>
                <a:gd name="connsiteY1" fmla="*/ 501654 h 543931"/>
                <a:gd name="connsiteX2" fmla="*/ 98973 w 353555"/>
                <a:gd name="connsiteY2" fmla="*/ 392868 h 543931"/>
                <a:gd name="connsiteX3" fmla="*/ 98973 w 353555"/>
                <a:gd name="connsiteY3" fmla="*/ 221530 h 543931"/>
                <a:gd name="connsiteX4" fmla="*/ 82655 w 353555"/>
                <a:gd name="connsiteY4" fmla="*/ 221530 h 543931"/>
                <a:gd name="connsiteX5" fmla="*/ 58178 w 353555"/>
                <a:gd name="connsiteY5" fmla="*/ 191614 h 543931"/>
                <a:gd name="connsiteX6" fmla="*/ 85375 w 353555"/>
                <a:gd name="connsiteY6" fmla="*/ 164417 h 543931"/>
                <a:gd name="connsiteX7" fmla="*/ 101693 w 353555"/>
                <a:gd name="connsiteY7" fmla="*/ 164417 h 543931"/>
                <a:gd name="connsiteX8" fmla="*/ 101693 w 353555"/>
                <a:gd name="connsiteY8" fmla="*/ 118183 h 543931"/>
                <a:gd name="connsiteX9" fmla="*/ 166965 w 353555"/>
                <a:gd name="connsiteY9" fmla="*/ 58350 h 543931"/>
                <a:gd name="connsiteX10" fmla="*/ 229517 w 353555"/>
                <a:gd name="connsiteY10" fmla="*/ 118183 h 543931"/>
                <a:gd name="connsiteX11" fmla="*/ 229517 w 353555"/>
                <a:gd name="connsiteY11" fmla="*/ 118183 h 543931"/>
                <a:gd name="connsiteX12" fmla="*/ 229517 w 353555"/>
                <a:gd name="connsiteY12" fmla="*/ 164417 h 543931"/>
                <a:gd name="connsiteX13" fmla="*/ 283910 w 353555"/>
                <a:gd name="connsiteY13" fmla="*/ 164417 h 543931"/>
                <a:gd name="connsiteX14" fmla="*/ 308387 w 353555"/>
                <a:gd name="connsiteY14" fmla="*/ 194333 h 543931"/>
                <a:gd name="connsiteX15" fmla="*/ 281190 w 353555"/>
                <a:gd name="connsiteY15" fmla="*/ 221530 h 543931"/>
                <a:gd name="connsiteX16" fmla="*/ 229517 w 353555"/>
                <a:gd name="connsiteY16" fmla="*/ 221530 h 543931"/>
                <a:gd name="connsiteX17" fmla="*/ 229517 w 353555"/>
                <a:gd name="connsiteY17" fmla="*/ 365671 h 543931"/>
                <a:gd name="connsiteX18" fmla="*/ 311107 w 353555"/>
                <a:gd name="connsiteY18" fmla="*/ 433663 h 5439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353555" h="543931">
                  <a:moveTo>
                    <a:pt x="311107" y="433663"/>
                  </a:moveTo>
                  <a:cubicBezTo>
                    <a:pt x="311107" y="433663"/>
                    <a:pt x="278471" y="501654"/>
                    <a:pt x="215919" y="501654"/>
                  </a:cubicBezTo>
                  <a:cubicBezTo>
                    <a:pt x="164245" y="501654"/>
                    <a:pt x="101693" y="458140"/>
                    <a:pt x="98973" y="392868"/>
                  </a:cubicBezTo>
                  <a:cubicBezTo>
                    <a:pt x="98973" y="392868"/>
                    <a:pt x="98973" y="297680"/>
                    <a:pt x="98973" y="221530"/>
                  </a:cubicBezTo>
                  <a:lnTo>
                    <a:pt x="82655" y="221530"/>
                  </a:lnTo>
                  <a:cubicBezTo>
                    <a:pt x="74496" y="221530"/>
                    <a:pt x="58178" y="216090"/>
                    <a:pt x="58178" y="191614"/>
                  </a:cubicBezTo>
                  <a:cubicBezTo>
                    <a:pt x="58178" y="167137"/>
                    <a:pt x="77216" y="164417"/>
                    <a:pt x="85375" y="164417"/>
                  </a:cubicBezTo>
                  <a:lnTo>
                    <a:pt x="101693" y="164417"/>
                  </a:lnTo>
                  <a:cubicBezTo>
                    <a:pt x="101693" y="137220"/>
                    <a:pt x="101693" y="118183"/>
                    <a:pt x="101693" y="118183"/>
                  </a:cubicBezTo>
                  <a:cubicBezTo>
                    <a:pt x="104413" y="85547"/>
                    <a:pt x="134329" y="55631"/>
                    <a:pt x="166965" y="58350"/>
                  </a:cubicBezTo>
                  <a:cubicBezTo>
                    <a:pt x="196881" y="61070"/>
                    <a:pt x="229517" y="85547"/>
                    <a:pt x="229517" y="118183"/>
                  </a:cubicBezTo>
                  <a:lnTo>
                    <a:pt x="229517" y="118183"/>
                  </a:lnTo>
                  <a:lnTo>
                    <a:pt x="229517" y="164417"/>
                  </a:lnTo>
                  <a:lnTo>
                    <a:pt x="283910" y="164417"/>
                  </a:lnTo>
                  <a:cubicBezTo>
                    <a:pt x="292069" y="164417"/>
                    <a:pt x="308387" y="169856"/>
                    <a:pt x="308387" y="194333"/>
                  </a:cubicBezTo>
                  <a:cubicBezTo>
                    <a:pt x="308387" y="218810"/>
                    <a:pt x="292069" y="221530"/>
                    <a:pt x="281190" y="221530"/>
                  </a:cubicBezTo>
                  <a:lnTo>
                    <a:pt x="229517" y="221530"/>
                  </a:lnTo>
                  <a:lnTo>
                    <a:pt x="229517" y="365671"/>
                  </a:lnTo>
                  <a:cubicBezTo>
                    <a:pt x="226797" y="409186"/>
                    <a:pt x="267592" y="433663"/>
                    <a:pt x="311107" y="433663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0C294731-92AD-4771-A321-6B09FBA089E6}"/>
                </a:ext>
              </a:extLst>
            </p:cNvPr>
            <p:cNvSpPr/>
            <p:nvPr/>
          </p:nvSpPr>
          <p:spPr>
            <a:xfrm>
              <a:off x="7090329" y="3338014"/>
              <a:ext cx="353556" cy="543931"/>
            </a:xfrm>
            <a:custGeom>
              <a:avLst/>
              <a:gdLst>
                <a:gd name="connsiteX0" fmla="*/ 311107 w 353555"/>
                <a:gd name="connsiteY0" fmla="*/ 433663 h 543931"/>
                <a:gd name="connsiteX1" fmla="*/ 215919 w 353555"/>
                <a:gd name="connsiteY1" fmla="*/ 501654 h 543931"/>
                <a:gd name="connsiteX2" fmla="*/ 98973 w 353555"/>
                <a:gd name="connsiteY2" fmla="*/ 392868 h 543931"/>
                <a:gd name="connsiteX3" fmla="*/ 98973 w 353555"/>
                <a:gd name="connsiteY3" fmla="*/ 221530 h 543931"/>
                <a:gd name="connsiteX4" fmla="*/ 82655 w 353555"/>
                <a:gd name="connsiteY4" fmla="*/ 221530 h 543931"/>
                <a:gd name="connsiteX5" fmla="*/ 58178 w 353555"/>
                <a:gd name="connsiteY5" fmla="*/ 191614 h 543931"/>
                <a:gd name="connsiteX6" fmla="*/ 85375 w 353555"/>
                <a:gd name="connsiteY6" fmla="*/ 164417 h 543931"/>
                <a:gd name="connsiteX7" fmla="*/ 101693 w 353555"/>
                <a:gd name="connsiteY7" fmla="*/ 164417 h 543931"/>
                <a:gd name="connsiteX8" fmla="*/ 101693 w 353555"/>
                <a:gd name="connsiteY8" fmla="*/ 118183 h 543931"/>
                <a:gd name="connsiteX9" fmla="*/ 166965 w 353555"/>
                <a:gd name="connsiteY9" fmla="*/ 58350 h 543931"/>
                <a:gd name="connsiteX10" fmla="*/ 229517 w 353555"/>
                <a:gd name="connsiteY10" fmla="*/ 118183 h 543931"/>
                <a:gd name="connsiteX11" fmla="*/ 229517 w 353555"/>
                <a:gd name="connsiteY11" fmla="*/ 118183 h 543931"/>
                <a:gd name="connsiteX12" fmla="*/ 229517 w 353555"/>
                <a:gd name="connsiteY12" fmla="*/ 164417 h 543931"/>
                <a:gd name="connsiteX13" fmla="*/ 283910 w 353555"/>
                <a:gd name="connsiteY13" fmla="*/ 164417 h 543931"/>
                <a:gd name="connsiteX14" fmla="*/ 308387 w 353555"/>
                <a:gd name="connsiteY14" fmla="*/ 194333 h 543931"/>
                <a:gd name="connsiteX15" fmla="*/ 281190 w 353555"/>
                <a:gd name="connsiteY15" fmla="*/ 221530 h 543931"/>
                <a:gd name="connsiteX16" fmla="*/ 229517 w 353555"/>
                <a:gd name="connsiteY16" fmla="*/ 221530 h 543931"/>
                <a:gd name="connsiteX17" fmla="*/ 229517 w 353555"/>
                <a:gd name="connsiteY17" fmla="*/ 365671 h 543931"/>
                <a:gd name="connsiteX18" fmla="*/ 311107 w 353555"/>
                <a:gd name="connsiteY18" fmla="*/ 433663 h 5439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353555" h="543931">
                  <a:moveTo>
                    <a:pt x="311107" y="433663"/>
                  </a:moveTo>
                  <a:cubicBezTo>
                    <a:pt x="311107" y="433663"/>
                    <a:pt x="278471" y="501654"/>
                    <a:pt x="215919" y="501654"/>
                  </a:cubicBezTo>
                  <a:cubicBezTo>
                    <a:pt x="164245" y="501654"/>
                    <a:pt x="101693" y="458140"/>
                    <a:pt x="98973" y="392868"/>
                  </a:cubicBezTo>
                  <a:cubicBezTo>
                    <a:pt x="98973" y="392868"/>
                    <a:pt x="98973" y="297680"/>
                    <a:pt x="98973" y="221530"/>
                  </a:cubicBezTo>
                  <a:lnTo>
                    <a:pt x="82655" y="221530"/>
                  </a:lnTo>
                  <a:cubicBezTo>
                    <a:pt x="74496" y="221530"/>
                    <a:pt x="58178" y="216090"/>
                    <a:pt x="58178" y="191614"/>
                  </a:cubicBezTo>
                  <a:cubicBezTo>
                    <a:pt x="58178" y="167137"/>
                    <a:pt x="77216" y="164417"/>
                    <a:pt x="85375" y="164417"/>
                  </a:cubicBezTo>
                  <a:lnTo>
                    <a:pt x="101693" y="164417"/>
                  </a:lnTo>
                  <a:cubicBezTo>
                    <a:pt x="101693" y="137220"/>
                    <a:pt x="101693" y="118183"/>
                    <a:pt x="101693" y="118183"/>
                  </a:cubicBezTo>
                  <a:cubicBezTo>
                    <a:pt x="104412" y="85547"/>
                    <a:pt x="134329" y="55631"/>
                    <a:pt x="166965" y="58350"/>
                  </a:cubicBezTo>
                  <a:cubicBezTo>
                    <a:pt x="196881" y="61070"/>
                    <a:pt x="229517" y="85547"/>
                    <a:pt x="229517" y="118183"/>
                  </a:cubicBezTo>
                  <a:lnTo>
                    <a:pt x="229517" y="118183"/>
                  </a:lnTo>
                  <a:lnTo>
                    <a:pt x="229517" y="164417"/>
                  </a:lnTo>
                  <a:lnTo>
                    <a:pt x="283910" y="164417"/>
                  </a:lnTo>
                  <a:cubicBezTo>
                    <a:pt x="292069" y="164417"/>
                    <a:pt x="308387" y="169856"/>
                    <a:pt x="308387" y="194333"/>
                  </a:cubicBezTo>
                  <a:cubicBezTo>
                    <a:pt x="308387" y="218810"/>
                    <a:pt x="292069" y="221530"/>
                    <a:pt x="281190" y="221530"/>
                  </a:cubicBezTo>
                  <a:lnTo>
                    <a:pt x="229517" y="221530"/>
                  </a:lnTo>
                  <a:lnTo>
                    <a:pt x="229517" y="365671"/>
                  </a:lnTo>
                  <a:cubicBezTo>
                    <a:pt x="229517" y="409186"/>
                    <a:pt x="270312" y="433663"/>
                    <a:pt x="311107" y="433663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id="{4E06B157-DBF4-4A2A-A41B-A23CBB507D06}"/>
                </a:ext>
              </a:extLst>
            </p:cNvPr>
            <p:cNvSpPr/>
            <p:nvPr/>
          </p:nvSpPr>
          <p:spPr>
            <a:xfrm>
              <a:off x="2080719" y="4178559"/>
              <a:ext cx="462342" cy="788700"/>
            </a:xfrm>
            <a:custGeom>
              <a:avLst/>
              <a:gdLst>
                <a:gd name="connsiteX0" fmla="*/ 403575 w 462341"/>
                <a:gd name="connsiteY0" fmla="*/ 583072 h 788699"/>
                <a:gd name="connsiteX1" fmla="*/ 406295 w 462341"/>
                <a:gd name="connsiteY1" fmla="*/ 596670 h 788699"/>
                <a:gd name="connsiteX2" fmla="*/ 400855 w 462341"/>
                <a:gd name="connsiteY2" fmla="*/ 610268 h 788699"/>
                <a:gd name="connsiteX3" fmla="*/ 389977 w 462341"/>
                <a:gd name="connsiteY3" fmla="*/ 626586 h 788699"/>
                <a:gd name="connsiteX4" fmla="*/ 354621 w 462341"/>
                <a:gd name="connsiteY4" fmla="*/ 675540 h 788699"/>
                <a:gd name="connsiteX5" fmla="*/ 327424 w 462341"/>
                <a:gd name="connsiteY5" fmla="*/ 691858 h 788699"/>
                <a:gd name="connsiteX6" fmla="*/ 292069 w 462341"/>
                <a:gd name="connsiteY6" fmla="*/ 713615 h 788699"/>
                <a:gd name="connsiteX7" fmla="*/ 251274 w 462341"/>
                <a:gd name="connsiteY7" fmla="*/ 724494 h 788699"/>
                <a:gd name="connsiteX8" fmla="*/ 221358 w 462341"/>
                <a:gd name="connsiteY8" fmla="*/ 721774 h 788699"/>
                <a:gd name="connsiteX9" fmla="*/ 191442 w 462341"/>
                <a:gd name="connsiteY9" fmla="*/ 721774 h 788699"/>
                <a:gd name="connsiteX10" fmla="*/ 153366 w 462341"/>
                <a:gd name="connsiteY10" fmla="*/ 713615 h 788699"/>
                <a:gd name="connsiteX11" fmla="*/ 104412 w 462341"/>
                <a:gd name="connsiteY11" fmla="*/ 675540 h 788699"/>
                <a:gd name="connsiteX12" fmla="*/ 104412 w 462341"/>
                <a:gd name="connsiteY12" fmla="*/ 689138 h 788699"/>
                <a:gd name="connsiteX13" fmla="*/ 101693 w 462341"/>
                <a:gd name="connsiteY13" fmla="*/ 710895 h 788699"/>
                <a:gd name="connsiteX14" fmla="*/ 85375 w 462341"/>
                <a:gd name="connsiteY14" fmla="*/ 732653 h 788699"/>
                <a:gd name="connsiteX15" fmla="*/ 69057 w 462341"/>
                <a:gd name="connsiteY15" fmla="*/ 727214 h 788699"/>
                <a:gd name="connsiteX16" fmla="*/ 60898 w 462341"/>
                <a:gd name="connsiteY16" fmla="*/ 710895 h 788699"/>
                <a:gd name="connsiteX17" fmla="*/ 58178 w 462341"/>
                <a:gd name="connsiteY17" fmla="*/ 691858 h 788699"/>
                <a:gd name="connsiteX18" fmla="*/ 60898 w 462341"/>
                <a:gd name="connsiteY18" fmla="*/ 664661 h 788699"/>
                <a:gd name="connsiteX19" fmla="*/ 60898 w 462341"/>
                <a:gd name="connsiteY19" fmla="*/ 607549 h 788699"/>
                <a:gd name="connsiteX20" fmla="*/ 63618 w 462341"/>
                <a:gd name="connsiteY20" fmla="*/ 528679 h 788699"/>
                <a:gd name="connsiteX21" fmla="*/ 69057 w 462341"/>
                <a:gd name="connsiteY21" fmla="*/ 504202 h 788699"/>
                <a:gd name="connsiteX22" fmla="*/ 74496 w 462341"/>
                <a:gd name="connsiteY22" fmla="*/ 493323 h 788699"/>
                <a:gd name="connsiteX23" fmla="*/ 82655 w 462341"/>
                <a:gd name="connsiteY23" fmla="*/ 487884 h 788699"/>
                <a:gd name="connsiteX24" fmla="*/ 90814 w 462341"/>
                <a:gd name="connsiteY24" fmla="*/ 493323 h 788699"/>
                <a:gd name="connsiteX25" fmla="*/ 98973 w 462341"/>
                <a:gd name="connsiteY25" fmla="*/ 512361 h 788699"/>
                <a:gd name="connsiteX26" fmla="*/ 101693 w 462341"/>
                <a:gd name="connsiteY26" fmla="*/ 555875 h 788699"/>
                <a:gd name="connsiteX27" fmla="*/ 101693 w 462341"/>
                <a:gd name="connsiteY27" fmla="*/ 596670 h 788699"/>
                <a:gd name="connsiteX28" fmla="*/ 109852 w 462341"/>
                <a:gd name="connsiteY28" fmla="*/ 626586 h 788699"/>
                <a:gd name="connsiteX29" fmla="*/ 128889 w 462341"/>
                <a:gd name="connsiteY29" fmla="*/ 651063 h 788699"/>
                <a:gd name="connsiteX30" fmla="*/ 153366 w 462341"/>
                <a:gd name="connsiteY30" fmla="*/ 670101 h 788699"/>
                <a:gd name="connsiteX31" fmla="*/ 196881 w 462341"/>
                <a:gd name="connsiteY31" fmla="*/ 678260 h 788699"/>
                <a:gd name="connsiteX32" fmla="*/ 221358 w 462341"/>
                <a:gd name="connsiteY32" fmla="*/ 667381 h 788699"/>
                <a:gd name="connsiteX33" fmla="*/ 253994 w 462341"/>
                <a:gd name="connsiteY33" fmla="*/ 659222 h 788699"/>
                <a:gd name="connsiteX34" fmla="*/ 275751 w 462341"/>
                <a:gd name="connsiteY34" fmla="*/ 637465 h 788699"/>
                <a:gd name="connsiteX35" fmla="*/ 281190 w 462341"/>
                <a:gd name="connsiteY35" fmla="*/ 615708 h 788699"/>
                <a:gd name="connsiteX36" fmla="*/ 278471 w 462341"/>
                <a:gd name="connsiteY36" fmla="*/ 602109 h 788699"/>
                <a:gd name="connsiteX37" fmla="*/ 262153 w 462341"/>
                <a:gd name="connsiteY37" fmla="*/ 572193 h 788699"/>
                <a:gd name="connsiteX38" fmla="*/ 245835 w 462341"/>
                <a:gd name="connsiteY38" fmla="*/ 536838 h 788699"/>
                <a:gd name="connsiteX39" fmla="*/ 196881 w 462341"/>
                <a:gd name="connsiteY39" fmla="*/ 477005 h 788699"/>
                <a:gd name="connsiteX40" fmla="*/ 145207 w 462341"/>
                <a:gd name="connsiteY40" fmla="*/ 419892 h 788699"/>
                <a:gd name="connsiteX41" fmla="*/ 93534 w 462341"/>
                <a:gd name="connsiteY41" fmla="*/ 357340 h 788699"/>
                <a:gd name="connsiteX42" fmla="*/ 66337 w 462341"/>
                <a:gd name="connsiteY42" fmla="*/ 283910 h 788699"/>
                <a:gd name="connsiteX43" fmla="*/ 58178 w 462341"/>
                <a:gd name="connsiteY43" fmla="*/ 224077 h 788699"/>
                <a:gd name="connsiteX44" fmla="*/ 82655 w 462341"/>
                <a:gd name="connsiteY44" fmla="*/ 150647 h 788699"/>
                <a:gd name="connsiteX45" fmla="*/ 137048 w 462341"/>
                <a:gd name="connsiteY45" fmla="*/ 96253 h 788699"/>
                <a:gd name="connsiteX46" fmla="*/ 196881 w 462341"/>
                <a:gd name="connsiteY46" fmla="*/ 77216 h 788699"/>
                <a:gd name="connsiteX47" fmla="*/ 232236 w 462341"/>
                <a:gd name="connsiteY47" fmla="*/ 69057 h 788699"/>
                <a:gd name="connsiteX48" fmla="*/ 262153 w 462341"/>
                <a:gd name="connsiteY48" fmla="*/ 74496 h 788699"/>
                <a:gd name="connsiteX49" fmla="*/ 294789 w 462341"/>
                <a:gd name="connsiteY49" fmla="*/ 85375 h 788699"/>
                <a:gd name="connsiteX50" fmla="*/ 327424 w 462341"/>
                <a:gd name="connsiteY50" fmla="*/ 104412 h 788699"/>
                <a:gd name="connsiteX51" fmla="*/ 332864 w 462341"/>
                <a:gd name="connsiteY51" fmla="*/ 74496 h 788699"/>
                <a:gd name="connsiteX52" fmla="*/ 338303 w 462341"/>
                <a:gd name="connsiteY52" fmla="*/ 63618 h 788699"/>
                <a:gd name="connsiteX53" fmla="*/ 349182 w 462341"/>
                <a:gd name="connsiteY53" fmla="*/ 58178 h 788699"/>
                <a:gd name="connsiteX54" fmla="*/ 357341 w 462341"/>
                <a:gd name="connsiteY54" fmla="*/ 63618 h 788699"/>
                <a:gd name="connsiteX55" fmla="*/ 365500 w 462341"/>
                <a:gd name="connsiteY55" fmla="*/ 82655 h 788699"/>
                <a:gd name="connsiteX56" fmla="*/ 368219 w 462341"/>
                <a:gd name="connsiteY56" fmla="*/ 142488 h 788699"/>
                <a:gd name="connsiteX57" fmla="*/ 368219 w 462341"/>
                <a:gd name="connsiteY57" fmla="*/ 188722 h 788699"/>
                <a:gd name="connsiteX58" fmla="*/ 370939 w 462341"/>
                <a:gd name="connsiteY58" fmla="*/ 245834 h 788699"/>
                <a:gd name="connsiteX59" fmla="*/ 354621 w 462341"/>
                <a:gd name="connsiteY59" fmla="*/ 286629 h 788699"/>
                <a:gd name="connsiteX60" fmla="*/ 338303 w 462341"/>
                <a:gd name="connsiteY60" fmla="*/ 281190 h 788699"/>
                <a:gd name="connsiteX61" fmla="*/ 330144 w 462341"/>
                <a:gd name="connsiteY61" fmla="*/ 264872 h 788699"/>
                <a:gd name="connsiteX62" fmla="*/ 327424 w 462341"/>
                <a:gd name="connsiteY62" fmla="*/ 248554 h 788699"/>
                <a:gd name="connsiteX63" fmla="*/ 330144 w 462341"/>
                <a:gd name="connsiteY63" fmla="*/ 221357 h 788699"/>
                <a:gd name="connsiteX64" fmla="*/ 330144 w 462341"/>
                <a:gd name="connsiteY64" fmla="*/ 188722 h 788699"/>
                <a:gd name="connsiteX65" fmla="*/ 327424 w 462341"/>
                <a:gd name="connsiteY65" fmla="*/ 164245 h 788699"/>
                <a:gd name="connsiteX66" fmla="*/ 311107 w 462341"/>
                <a:gd name="connsiteY66" fmla="*/ 134329 h 788699"/>
                <a:gd name="connsiteX67" fmla="*/ 283910 w 462341"/>
                <a:gd name="connsiteY67" fmla="*/ 118011 h 788699"/>
                <a:gd name="connsiteX68" fmla="*/ 251274 w 462341"/>
                <a:gd name="connsiteY68" fmla="*/ 112571 h 788699"/>
                <a:gd name="connsiteX69" fmla="*/ 215918 w 462341"/>
                <a:gd name="connsiteY69" fmla="*/ 123450 h 788699"/>
                <a:gd name="connsiteX70" fmla="*/ 202320 w 462341"/>
                <a:gd name="connsiteY70" fmla="*/ 147927 h 788699"/>
                <a:gd name="connsiteX71" fmla="*/ 188722 w 462341"/>
                <a:gd name="connsiteY71" fmla="*/ 180563 h 788699"/>
                <a:gd name="connsiteX72" fmla="*/ 183283 w 462341"/>
                <a:gd name="connsiteY72" fmla="*/ 210479 h 788699"/>
                <a:gd name="connsiteX73" fmla="*/ 188722 w 462341"/>
                <a:gd name="connsiteY73" fmla="*/ 226797 h 788699"/>
                <a:gd name="connsiteX74" fmla="*/ 188722 w 462341"/>
                <a:gd name="connsiteY74" fmla="*/ 248554 h 788699"/>
                <a:gd name="connsiteX75" fmla="*/ 210479 w 462341"/>
                <a:gd name="connsiteY75" fmla="*/ 273031 h 788699"/>
                <a:gd name="connsiteX76" fmla="*/ 226797 w 462341"/>
                <a:gd name="connsiteY76" fmla="*/ 300228 h 788699"/>
                <a:gd name="connsiteX77" fmla="*/ 256713 w 462341"/>
                <a:gd name="connsiteY77" fmla="*/ 332864 h 788699"/>
                <a:gd name="connsiteX78" fmla="*/ 275751 w 462341"/>
                <a:gd name="connsiteY78" fmla="*/ 351901 h 788699"/>
                <a:gd name="connsiteX79" fmla="*/ 324705 w 462341"/>
                <a:gd name="connsiteY79" fmla="*/ 400855 h 788699"/>
                <a:gd name="connsiteX80" fmla="*/ 343742 w 462341"/>
                <a:gd name="connsiteY80" fmla="*/ 428051 h 788699"/>
                <a:gd name="connsiteX81" fmla="*/ 351901 w 462341"/>
                <a:gd name="connsiteY81" fmla="*/ 433491 h 788699"/>
                <a:gd name="connsiteX82" fmla="*/ 360060 w 462341"/>
                <a:gd name="connsiteY82" fmla="*/ 447089 h 788699"/>
                <a:gd name="connsiteX83" fmla="*/ 384537 w 462341"/>
                <a:gd name="connsiteY83" fmla="*/ 474286 h 788699"/>
                <a:gd name="connsiteX84" fmla="*/ 395416 w 462341"/>
                <a:gd name="connsiteY84" fmla="*/ 506921 h 788699"/>
                <a:gd name="connsiteX85" fmla="*/ 406295 w 462341"/>
                <a:gd name="connsiteY85" fmla="*/ 536838 h 788699"/>
                <a:gd name="connsiteX86" fmla="*/ 409014 w 462341"/>
                <a:gd name="connsiteY86" fmla="*/ 547716 h 788699"/>
                <a:gd name="connsiteX87" fmla="*/ 406295 w 462341"/>
                <a:gd name="connsiteY87" fmla="*/ 569473 h 788699"/>
                <a:gd name="connsiteX88" fmla="*/ 403575 w 462341"/>
                <a:gd name="connsiteY88" fmla="*/ 583072 h 788699"/>
                <a:gd name="connsiteX89" fmla="*/ 403575 w 462341"/>
                <a:gd name="connsiteY89" fmla="*/ 583072 h 7886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</a:cxnLst>
              <a:rect l="l" t="t" r="r" b="b"/>
              <a:pathLst>
                <a:path w="462341" h="788699">
                  <a:moveTo>
                    <a:pt x="403575" y="583072"/>
                  </a:moveTo>
                  <a:cubicBezTo>
                    <a:pt x="403575" y="588511"/>
                    <a:pt x="406295" y="591231"/>
                    <a:pt x="406295" y="596670"/>
                  </a:cubicBezTo>
                  <a:cubicBezTo>
                    <a:pt x="406295" y="602109"/>
                    <a:pt x="403575" y="604829"/>
                    <a:pt x="400855" y="610268"/>
                  </a:cubicBezTo>
                  <a:cubicBezTo>
                    <a:pt x="398136" y="615708"/>
                    <a:pt x="392696" y="621147"/>
                    <a:pt x="389977" y="626586"/>
                  </a:cubicBezTo>
                  <a:cubicBezTo>
                    <a:pt x="381818" y="645624"/>
                    <a:pt x="368219" y="661942"/>
                    <a:pt x="354621" y="675540"/>
                  </a:cubicBezTo>
                  <a:cubicBezTo>
                    <a:pt x="346462" y="683699"/>
                    <a:pt x="338303" y="686419"/>
                    <a:pt x="327424" y="691858"/>
                  </a:cubicBezTo>
                  <a:cubicBezTo>
                    <a:pt x="316546" y="700017"/>
                    <a:pt x="302948" y="708176"/>
                    <a:pt x="292069" y="713615"/>
                  </a:cubicBezTo>
                  <a:cubicBezTo>
                    <a:pt x="281190" y="719054"/>
                    <a:pt x="264872" y="724494"/>
                    <a:pt x="251274" y="724494"/>
                  </a:cubicBezTo>
                  <a:cubicBezTo>
                    <a:pt x="240395" y="724494"/>
                    <a:pt x="229517" y="721774"/>
                    <a:pt x="221358" y="721774"/>
                  </a:cubicBezTo>
                  <a:cubicBezTo>
                    <a:pt x="213199" y="721774"/>
                    <a:pt x="202320" y="721774"/>
                    <a:pt x="191442" y="721774"/>
                  </a:cubicBezTo>
                  <a:cubicBezTo>
                    <a:pt x="172404" y="721774"/>
                    <a:pt x="172404" y="721774"/>
                    <a:pt x="153366" y="713615"/>
                  </a:cubicBezTo>
                  <a:cubicBezTo>
                    <a:pt x="134329" y="708176"/>
                    <a:pt x="118011" y="691858"/>
                    <a:pt x="104412" y="675540"/>
                  </a:cubicBezTo>
                  <a:cubicBezTo>
                    <a:pt x="104412" y="678260"/>
                    <a:pt x="104412" y="680979"/>
                    <a:pt x="104412" y="689138"/>
                  </a:cubicBezTo>
                  <a:cubicBezTo>
                    <a:pt x="104412" y="694578"/>
                    <a:pt x="104412" y="702737"/>
                    <a:pt x="101693" y="710895"/>
                  </a:cubicBezTo>
                  <a:cubicBezTo>
                    <a:pt x="101693" y="721774"/>
                    <a:pt x="96253" y="732653"/>
                    <a:pt x="85375" y="732653"/>
                  </a:cubicBezTo>
                  <a:cubicBezTo>
                    <a:pt x="77216" y="732653"/>
                    <a:pt x="74496" y="729933"/>
                    <a:pt x="69057" y="727214"/>
                  </a:cubicBezTo>
                  <a:cubicBezTo>
                    <a:pt x="63618" y="724494"/>
                    <a:pt x="60898" y="716335"/>
                    <a:pt x="60898" y="710895"/>
                  </a:cubicBezTo>
                  <a:cubicBezTo>
                    <a:pt x="58178" y="702737"/>
                    <a:pt x="58178" y="697297"/>
                    <a:pt x="58178" y="691858"/>
                  </a:cubicBezTo>
                  <a:cubicBezTo>
                    <a:pt x="58178" y="683699"/>
                    <a:pt x="60898" y="678260"/>
                    <a:pt x="60898" y="664661"/>
                  </a:cubicBezTo>
                  <a:cubicBezTo>
                    <a:pt x="60898" y="656502"/>
                    <a:pt x="60898" y="632026"/>
                    <a:pt x="60898" y="607549"/>
                  </a:cubicBezTo>
                  <a:cubicBezTo>
                    <a:pt x="60898" y="574913"/>
                    <a:pt x="60898" y="542277"/>
                    <a:pt x="63618" y="528679"/>
                  </a:cubicBezTo>
                  <a:cubicBezTo>
                    <a:pt x="63618" y="520520"/>
                    <a:pt x="63618" y="509641"/>
                    <a:pt x="69057" y="504202"/>
                  </a:cubicBezTo>
                  <a:cubicBezTo>
                    <a:pt x="71777" y="501482"/>
                    <a:pt x="71777" y="498762"/>
                    <a:pt x="74496" y="493323"/>
                  </a:cubicBezTo>
                  <a:cubicBezTo>
                    <a:pt x="77216" y="490603"/>
                    <a:pt x="79936" y="487884"/>
                    <a:pt x="82655" y="487884"/>
                  </a:cubicBezTo>
                  <a:cubicBezTo>
                    <a:pt x="85375" y="487884"/>
                    <a:pt x="90814" y="490603"/>
                    <a:pt x="90814" y="493323"/>
                  </a:cubicBezTo>
                  <a:cubicBezTo>
                    <a:pt x="93534" y="498762"/>
                    <a:pt x="98973" y="506921"/>
                    <a:pt x="98973" y="512361"/>
                  </a:cubicBezTo>
                  <a:cubicBezTo>
                    <a:pt x="98973" y="520520"/>
                    <a:pt x="101693" y="536838"/>
                    <a:pt x="101693" y="555875"/>
                  </a:cubicBezTo>
                  <a:cubicBezTo>
                    <a:pt x="101693" y="569473"/>
                    <a:pt x="101693" y="583072"/>
                    <a:pt x="101693" y="596670"/>
                  </a:cubicBezTo>
                  <a:cubicBezTo>
                    <a:pt x="101693" y="607549"/>
                    <a:pt x="104412" y="618427"/>
                    <a:pt x="109852" y="626586"/>
                  </a:cubicBezTo>
                  <a:cubicBezTo>
                    <a:pt x="115291" y="637465"/>
                    <a:pt x="123450" y="642904"/>
                    <a:pt x="128889" y="651063"/>
                  </a:cubicBezTo>
                  <a:cubicBezTo>
                    <a:pt x="137048" y="661942"/>
                    <a:pt x="139768" y="667381"/>
                    <a:pt x="153366" y="670101"/>
                  </a:cubicBezTo>
                  <a:cubicBezTo>
                    <a:pt x="161525" y="670101"/>
                    <a:pt x="183283" y="678260"/>
                    <a:pt x="196881" y="678260"/>
                  </a:cubicBezTo>
                  <a:cubicBezTo>
                    <a:pt x="207759" y="678260"/>
                    <a:pt x="210479" y="672820"/>
                    <a:pt x="221358" y="667381"/>
                  </a:cubicBezTo>
                  <a:cubicBezTo>
                    <a:pt x="232236" y="661942"/>
                    <a:pt x="245835" y="664661"/>
                    <a:pt x="253994" y="659222"/>
                  </a:cubicBezTo>
                  <a:cubicBezTo>
                    <a:pt x="262153" y="653783"/>
                    <a:pt x="273031" y="645624"/>
                    <a:pt x="275751" y="637465"/>
                  </a:cubicBezTo>
                  <a:cubicBezTo>
                    <a:pt x="281190" y="629306"/>
                    <a:pt x="281190" y="621147"/>
                    <a:pt x="281190" y="615708"/>
                  </a:cubicBezTo>
                  <a:cubicBezTo>
                    <a:pt x="281190" y="610268"/>
                    <a:pt x="281190" y="607549"/>
                    <a:pt x="278471" y="602109"/>
                  </a:cubicBezTo>
                  <a:cubicBezTo>
                    <a:pt x="275751" y="591231"/>
                    <a:pt x="267592" y="583072"/>
                    <a:pt x="262153" y="572193"/>
                  </a:cubicBezTo>
                  <a:cubicBezTo>
                    <a:pt x="256713" y="561314"/>
                    <a:pt x="253994" y="547716"/>
                    <a:pt x="245835" y="536838"/>
                  </a:cubicBezTo>
                  <a:cubicBezTo>
                    <a:pt x="232236" y="515080"/>
                    <a:pt x="213199" y="498762"/>
                    <a:pt x="196881" y="477005"/>
                  </a:cubicBezTo>
                  <a:cubicBezTo>
                    <a:pt x="180563" y="457968"/>
                    <a:pt x="164245" y="438930"/>
                    <a:pt x="145207" y="419892"/>
                  </a:cubicBezTo>
                  <a:cubicBezTo>
                    <a:pt x="126170" y="400855"/>
                    <a:pt x="109852" y="379098"/>
                    <a:pt x="93534" y="357340"/>
                  </a:cubicBezTo>
                  <a:cubicBezTo>
                    <a:pt x="77216" y="335583"/>
                    <a:pt x="71777" y="308387"/>
                    <a:pt x="66337" y="283910"/>
                  </a:cubicBezTo>
                  <a:cubicBezTo>
                    <a:pt x="63618" y="267592"/>
                    <a:pt x="58178" y="245834"/>
                    <a:pt x="58178" y="224077"/>
                  </a:cubicBezTo>
                  <a:cubicBezTo>
                    <a:pt x="58178" y="194161"/>
                    <a:pt x="69057" y="175123"/>
                    <a:pt x="82655" y="150647"/>
                  </a:cubicBezTo>
                  <a:cubicBezTo>
                    <a:pt x="96253" y="128889"/>
                    <a:pt x="115291" y="109852"/>
                    <a:pt x="137048" y="96253"/>
                  </a:cubicBezTo>
                  <a:cubicBezTo>
                    <a:pt x="158806" y="82655"/>
                    <a:pt x="172404" y="79936"/>
                    <a:pt x="196881" y="77216"/>
                  </a:cubicBezTo>
                  <a:cubicBezTo>
                    <a:pt x="210479" y="77216"/>
                    <a:pt x="215918" y="69057"/>
                    <a:pt x="232236" y="69057"/>
                  </a:cubicBezTo>
                  <a:cubicBezTo>
                    <a:pt x="243115" y="69057"/>
                    <a:pt x="251274" y="71776"/>
                    <a:pt x="262153" y="74496"/>
                  </a:cubicBezTo>
                  <a:cubicBezTo>
                    <a:pt x="273031" y="77216"/>
                    <a:pt x="283910" y="82655"/>
                    <a:pt x="294789" y="85375"/>
                  </a:cubicBezTo>
                  <a:cubicBezTo>
                    <a:pt x="308387" y="90814"/>
                    <a:pt x="319265" y="96253"/>
                    <a:pt x="327424" y="104412"/>
                  </a:cubicBezTo>
                  <a:cubicBezTo>
                    <a:pt x="327424" y="90814"/>
                    <a:pt x="327424" y="79936"/>
                    <a:pt x="332864" y="74496"/>
                  </a:cubicBezTo>
                  <a:cubicBezTo>
                    <a:pt x="335583" y="71776"/>
                    <a:pt x="335583" y="69057"/>
                    <a:pt x="338303" y="63618"/>
                  </a:cubicBezTo>
                  <a:cubicBezTo>
                    <a:pt x="341023" y="60898"/>
                    <a:pt x="346462" y="58178"/>
                    <a:pt x="349182" y="58178"/>
                  </a:cubicBezTo>
                  <a:cubicBezTo>
                    <a:pt x="351901" y="58178"/>
                    <a:pt x="357341" y="60898"/>
                    <a:pt x="357341" y="63618"/>
                  </a:cubicBezTo>
                  <a:cubicBezTo>
                    <a:pt x="360060" y="69057"/>
                    <a:pt x="365500" y="77216"/>
                    <a:pt x="365500" y="82655"/>
                  </a:cubicBezTo>
                  <a:cubicBezTo>
                    <a:pt x="365500" y="90814"/>
                    <a:pt x="368219" y="123450"/>
                    <a:pt x="368219" y="142488"/>
                  </a:cubicBezTo>
                  <a:cubicBezTo>
                    <a:pt x="368219" y="158806"/>
                    <a:pt x="368219" y="177843"/>
                    <a:pt x="368219" y="188722"/>
                  </a:cubicBezTo>
                  <a:cubicBezTo>
                    <a:pt x="368219" y="213199"/>
                    <a:pt x="370939" y="224077"/>
                    <a:pt x="370939" y="245834"/>
                  </a:cubicBezTo>
                  <a:cubicBezTo>
                    <a:pt x="370939" y="256713"/>
                    <a:pt x="370939" y="286629"/>
                    <a:pt x="354621" y="286629"/>
                  </a:cubicBezTo>
                  <a:cubicBezTo>
                    <a:pt x="346462" y="286629"/>
                    <a:pt x="343742" y="283910"/>
                    <a:pt x="338303" y="281190"/>
                  </a:cubicBezTo>
                  <a:cubicBezTo>
                    <a:pt x="332864" y="278470"/>
                    <a:pt x="330144" y="270311"/>
                    <a:pt x="330144" y="264872"/>
                  </a:cubicBezTo>
                  <a:cubicBezTo>
                    <a:pt x="327424" y="256713"/>
                    <a:pt x="327424" y="251274"/>
                    <a:pt x="327424" y="248554"/>
                  </a:cubicBezTo>
                  <a:cubicBezTo>
                    <a:pt x="327424" y="240395"/>
                    <a:pt x="330144" y="234956"/>
                    <a:pt x="330144" y="221357"/>
                  </a:cubicBezTo>
                  <a:cubicBezTo>
                    <a:pt x="330144" y="213199"/>
                    <a:pt x="330144" y="202320"/>
                    <a:pt x="330144" y="188722"/>
                  </a:cubicBezTo>
                  <a:cubicBezTo>
                    <a:pt x="330144" y="180563"/>
                    <a:pt x="327424" y="172404"/>
                    <a:pt x="327424" y="164245"/>
                  </a:cubicBezTo>
                  <a:cubicBezTo>
                    <a:pt x="324705" y="153366"/>
                    <a:pt x="319265" y="142488"/>
                    <a:pt x="311107" y="134329"/>
                  </a:cubicBezTo>
                  <a:cubicBezTo>
                    <a:pt x="302948" y="126170"/>
                    <a:pt x="294789" y="120730"/>
                    <a:pt x="283910" y="118011"/>
                  </a:cubicBezTo>
                  <a:cubicBezTo>
                    <a:pt x="275751" y="115291"/>
                    <a:pt x="262153" y="112571"/>
                    <a:pt x="251274" y="112571"/>
                  </a:cubicBezTo>
                  <a:cubicBezTo>
                    <a:pt x="237676" y="112571"/>
                    <a:pt x="224077" y="115291"/>
                    <a:pt x="215918" y="123450"/>
                  </a:cubicBezTo>
                  <a:cubicBezTo>
                    <a:pt x="207759" y="128889"/>
                    <a:pt x="205040" y="139768"/>
                    <a:pt x="202320" y="147927"/>
                  </a:cubicBezTo>
                  <a:cubicBezTo>
                    <a:pt x="196881" y="158806"/>
                    <a:pt x="191442" y="166964"/>
                    <a:pt x="188722" y="180563"/>
                  </a:cubicBezTo>
                  <a:cubicBezTo>
                    <a:pt x="186002" y="191441"/>
                    <a:pt x="183283" y="199600"/>
                    <a:pt x="183283" y="210479"/>
                  </a:cubicBezTo>
                  <a:cubicBezTo>
                    <a:pt x="183283" y="215918"/>
                    <a:pt x="186002" y="221357"/>
                    <a:pt x="188722" y="226797"/>
                  </a:cubicBezTo>
                  <a:cubicBezTo>
                    <a:pt x="191442" y="234956"/>
                    <a:pt x="188722" y="243115"/>
                    <a:pt x="188722" y="248554"/>
                  </a:cubicBezTo>
                  <a:cubicBezTo>
                    <a:pt x="191442" y="259433"/>
                    <a:pt x="202320" y="264872"/>
                    <a:pt x="210479" y="273031"/>
                  </a:cubicBezTo>
                  <a:cubicBezTo>
                    <a:pt x="218638" y="281190"/>
                    <a:pt x="221358" y="292069"/>
                    <a:pt x="226797" y="300228"/>
                  </a:cubicBezTo>
                  <a:cubicBezTo>
                    <a:pt x="234956" y="311106"/>
                    <a:pt x="245835" y="321985"/>
                    <a:pt x="256713" y="332864"/>
                  </a:cubicBezTo>
                  <a:cubicBezTo>
                    <a:pt x="259433" y="338303"/>
                    <a:pt x="267592" y="343742"/>
                    <a:pt x="275751" y="351901"/>
                  </a:cubicBezTo>
                  <a:cubicBezTo>
                    <a:pt x="292069" y="368219"/>
                    <a:pt x="311107" y="384537"/>
                    <a:pt x="324705" y="400855"/>
                  </a:cubicBezTo>
                  <a:cubicBezTo>
                    <a:pt x="332864" y="409014"/>
                    <a:pt x="335583" y="419892"/>
                    <a:pt x="343742" y="428051"/>
                  </a:cubicBezTo>
                  <a:cubicBezTo>
                    <a:pt x="346462" y="430771"/>
                    <a:pt x="349182" y="430771"/>
                    <a:pt x="351901" y="433491"/>
                  </a:cubicBezTo>
                  <a:cubicBezTo>
                    <a:pt x="354621" y="436210"/>
                    <a:pt x="357341" y="441650"/>
                    <a:pt x="360060" y="447089"/>
                  </a:cubicBezTo>
                  <a:cubicBezTo>
                    <a:pt x="368219" y="455248"/>
                    <a:pt x="376378" y="463407"/>
                    <a:pt x="384537" y="474286"/>
                  </a:cubicBezTo>
                  <a:cubicBezTo>
                    <a:pt x="389977" y="482445"/>
                    <a:pt x="392696" y="496043"/>
                    <a:pt x="395416" y="506921"/>
                  </a:cubicBezTo>
                  <a:cubicBezTo>
                    <a:pt x="400855" y="517800"/>
                    <a:pt x="400855" y="528679"/>
                    <a:pt x="406295" y="536838"/>
                  </a:cubicBezTo>
                  <a:cubicBezTo>
                    <a:pt x="409014" y="539557"/>
                    <a:pt x="409014" y="544997"/>
                    <a:pt x="409014" y="547716"/>
                  </a:cubicBezTo>
                  <a:cubicBezTo>
                    <a:pt x="409014" y="555875"/>
                    <a:pt x="406295" y="561314"/>
                    <a:pt x="406295" y="569473"/>
                  </a:cubicBezTo>
                  <a:cubicBezTo>
                    <a:pt x="406295" y="574913"/>
                    <a:pt x="403575" y="577632"/>
                    <a:pt x="403575" y="583072"/>
                  </a:cubicBezTo>
                  <a:lnTo>
                    <a:pt x="403575" y="583072"/>
                  </a:ln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5" name="Freeform: Shape 34">
              <a:extLst>
                <a:ext uri="{FF2B5EF4-FFF2-40B4-BE49-F238E27FC236}">
                  <a16:creationId xmlns:a16="http://schemas.microsoft.com/office/drawing/2014/main" id="{006E6070-9EF3-4ED3-9C75-E6CAC8EA9E4A}"/>
                </a:ext>
              </a:extLst>
            </p:cNvPr>
            <p:cNvSpPr/>
            <p:nvPr/>
          </p:nvSpPr>
          <p:spPr>
            <a:xfrm>
              <a:off x="2456032" y="4192158"/>
              <a:ext cx="571128" cy="761503"/>
            </a:xfrm>
            <a:custGeom>
              <a:avLst/>
              <a:gdLst>
                <a:gd name="connsiteX0" fmla="*/ 512361 w 571128"/>
                <a:gd name="connsiteY0" fmla="*/ 79936 h 761503"/>
                <a:gd name="connsiteX1" fmla="*/ 539558 w 571128"/>
                <a:gd name="connsiteY1" fmla="*/ 96253 h 761503"/>
                <a:gd name="connsiteX2" fmla="*/ 534118 w 571128"/>
                <a:gd name="connsiteY2" fmla="*/ 112571 h 761503"/>
                <a:gd name="connsiteX3" fmla="*/ 523240 w 571128"/>
                <a:gd name="connsiteY3" fmla="*/ 120730 h 761503"/>
                <a:gd name="connsiteX4" fmla="*/ 506922 w 571128"/>
                <a:gd name="connsiteY4" fmla="*/ 123450 h 761503"/>
                <a:gd name="connsiteX5" fmla="*/ 477006 w 571128"/>
                <a:gd name="connsiteY5" fmla="*/ 123450 h 761503"/>
                <a:gd name="connsiteX6" fmla="*/ 479725 w 571128"/>
                <a:gd name="connsiteY6" fmla="*/ 145207 h 761503"/>
                <a:gd name="connsiteX7" fmla="*/ 477006 w 571128"/>
                <a:gd name="connsiteY7" fmla="*/ 180563 h 761503"/>
                <a:gd name="connsiteX8" fmla="*/ 482445 w 571128"/>
                <a:gd name="connsiteY8" fmla="*/ 232236 h 761503"/>
                <a:gd name="connsiteX9" fmla="*/ 485165 w 571128"/>
                <a:gd name="connsiteY9" fmla="*/ 283910 h 761503"/>
                <a:gd name="connsiteX10" fmla="*/ 485165 w 571128"/>
                <a:gd name="connsiteY10" fmla="*/ 327424 h 761503"/>
                <a:gd name="connsiteX11" fmla="*/ 487884 w 571128"/>
                <a:gd name="connsiteY11" fmla="*/ 373658 h 761503"/>
                <a:gd name="connsiteX12" fmla="*/ 485165 w 571128"/>
                <a:gd name="connsiteY12" fmla="*/ 419892 h 761503"/>
                <a:gd name="connsiteX13" fmla="*/ 485165 w 571128"/>
                <a:gd name="connsiteY13" fmla="*/ 463407 h 761503"/>
                <a:gd name="connsiteX14" fmla="*/ 482445 w 571128"/>
                <a:gd name="connsiteY14" fmla="*/ 515080 h 761503"/>
                <a:gd name="connsiteX15" fmla="*/ 482445 w 571128"/>
                <a:gd name="connsiteY15" fmla="*/ 558595 h 761503"/>
                <a:gd name="connsiteX16" fmla="*/ 479725 w 571128"/>
                <a:gd name="connsiteY16" fmla="*/ 602109 h 761503"/>
                <a:gd name="connsiteX17" fmla="*/ 485165 w 571128"/>
                <a:gd name="connsiteY17" fmla="*/ 648343 h 761503"/>
                <a:gd name="connsiteX18" fmla="*/ 474286 w 571128"/>
                <a:gd name="connsiteY18" fmla="*/ 675540 h 761503"/>
                <a:gd name="connsiteX19" fmla="*/ 428052 w 571128"/>
                <a:gd name="connsiteY19" fmla="*/ 691858 h 761503"/>
                <a:gd name="connsiteX20" fmla="*/ 387257 w 571128"/>
                <a:gd name="connsiteY20" fmla="*/ 683699 h 761503"/>
                <a:gd name="connsiteX21" fmla="*/ 351901 w 571128"/>
                <a:gd name="connsiteY21" fmla="*/ 664661 h 761503"/>
                <a:gd name="connsiteX22" fmla="*/ 305667 w 571128"/>
                <a:gd name="connsiteY22" fmla="*/ 596670 h 761503"/>
                <a:gd name="connsiteX23" fmla="*/ 270312 w 571128"/>
                <a:gd name="connsiteY23" fmla="*/ 509641 h 761503"/>
                <a:gd name="connsiteX24" fmla="*/ 251274 w 571128"/>
                <a:gd name="connsiteY24" fmla="*/ 460687 h 761503"/>
                <a:gd name="connsiteX25" fmla="*/ 224077 w 571128"/>
                <a:gd name="connsiteY25" fmla="*/ 381817 h 761503"/>
                <a:gd name="connsiteX26" fmla="*/ 207759 w 571128"/>
                <a:gd name="connsiteY26" fmla="*/ 330144 h 761503"/>
                <a:gd name="connsiteX27" fmla="*/ 191442 w 571128"/>
                <a:gd name="connsiteY27" fmla="*/ 286629 h 761503"/>
                <a:gd name="connsiteX28" fmla="*/ 183283 w 571128"/>
                <a:gd name="connsiteY28" fmla="*/ 278470 h 761503"/>
                <a:gd name="connsiteX29" fmla="*/ 180563 w 571128"/>
                <a:gd name="connsiteY29" fmla="*/ 292069 h 761503"/>
                <a:gd name="connsiteX30" fmla="*/ 180563 w 571128"/>
                <a:gd name="connsiteY30" fmla="*/ 305667 h 761503"/>
                <a:gd name="connsiteX31" fmla="*/ 183283 w 571128"/>
                <a:gd name="connsiteY31" fmla="*/ 354621 h 761503"/>
                <a:gd name="connsiteX32" fmla="*/ 188722 w 571128"/>
                <a:gd name="connsiteY32" fmla="*/ 449809 h 761503"/>
                <a:gd name="connsiteX33" fmla="*/ 188722 w 571128"/>
                <a:gd name="connsiteY33" fmla="*/ 479725 h 761503"/>
                <a:gd name="connsiteX34" fmla="*/ 188722 w 571128"/>
                <a:gd name="connsiteY34" fmla="*/ 542277 h 761503"/>
                <a:gd name="connsiteX35" fmla="*/ 186002 w 571128"/>
                <a:gd name="connsiteY35" fmla="*/ 615708 h 761503"/>
                <a:gd name="connsiteX36" fmla="*/ 186002 w 571128"/>
                <a:gd name="connsiteY36" fmla="*/ 637465 h 761503"/>
                <a:gd name="connsiteX37" fmla="*/ 183283 w 571128"/>
                <a:gd name="connsiteY37" fmla="*/ 664661 h 761503"/>
                <a:gd name="connsiteX38" fmla="*/ 226797 w 571128"/>
                <a:gd name="connsiteY38" fmla="*/ 664661 h 761503"/>
                <a:gd name="connsiteX39" fmla="*/ 253994 w 571128"/>
                <a:gd name="connsiteY39" fmla="*/ 680979 h 761503"/>
                <a:gd name="connsiteX40" fmla="*/ 248554 w 571128"/>
                <a:gd name="connsiteY40" fmla="*/ 697297 h 761503"/>
                <a:gd name="connsiteX41" fmla="*/ 234956 w 571128"/>
                <a:gd name="connsiteY41" fmla="*/ 705456 h 761503"/>
                <a:gd name="connsiteX42" fmla="*/ 218638 w 571128"/>
                <a:gd name="connsiteY42" fmla="*/ 708176 h 761503"/>
                <a:gd name="connsiteX43" fmla="*/ 183283 w 571128"/>
                <a:gd name="connsiteY43" fmla="*/ 708176 h 761503"/>
                <a:gd name="connsiteX44" fmla="*/ 150647 w 571128"/>
                <a:gd name="connsiteY44" fmla="*/ 708176 h 761503"/>
                <a:gd name="connsiteX45" fmla="*/ 107132 w 571128"/>
                <a:gd name="connsiteY45" fmla="*/ 708176 h 761503"/>
                <a:gd name="connsiteX46" fmla="*/ 88094 w 571128"/>
                <a:gd name="connsiteY46" fmla="*/ 708176 h 761503"/>
                <a:gd name="connsiteX47" fmla="*/ 69057 w 571128"/>
                <a:gd name="connsiteY47" fmla="*/ 702737 h 761503"/>
                <a:gd name="connsiteX48" fmla="*/ 58178 w 571128"/>
                <a:gd name="connsiteY48" fmla="*/ 686419 h 761503"/>
                <a:gd name="connsiteX49" fmla="*/ 60898 w 571128"/>
                <a:gd name="connsiteY49" fmla="*/ 678260 h 761503"/>
                <a:gd name="connsiteX50" fmla="*/ 77216 w 571128"/>
                <a:gd name="connsiteY50" fmla="*/ 670101 h 761503"/>
                <a:gd name="connsiteX51" fmla="*/ 120730 w 571128"/>
                <a:gd name="connsiteY51" fmla="*/ 664661 h 761503"/>
                <a:gd name="connsiteX52" fmla="*/ 131609 w 571128"/>
                <a:gd name="connsiteY52" fmla="*/ 664661 h 761503"/>
                <a:gd name="connsiteX53" fmla="*/ 134329 w 571128"/>
                <a:gd name="connsiteY53" fmla="*/ 539557 h 761503"/>
                <a:gd name="connsiteX54" fmla="*/ 134329 w 571128"/>
                <a:gd name="connsiteY54" fmla="*/ 504202 h 761503"/>
                <a:gd name="connsiteX55" fmla="*/ 131609 w 571128"/>
                <a:gd name="connsiteY55" fmla="*/ 376378 h 761503"/>
                <a:gd name="connsiteX56" fmla="*/ 131609 w 571128"/>
                <a:gd name="connsiteY56" fmla="*/ 302947 h 761503"/>
                <a:gd name="connsiteX57" fmla="*/ 134329 w 571128"/>
                <a:gd name="connsiteY57" fmla="*/ 221357 h 761503"/>
                <a:gd name="connsiteX58" fmla="*/ 137048 w 571128"/>
                <a:gd name="connsiteY58" fmla="*/ 123450 h 761503"/>
                <a:gd name="connsiteX59" fmla="*/ 107132 w 571128"/>
                <a:gd name="connsiteY59" fmla="*/ 123450 h 761503"/>
                <a:gd name="connsiteX60" fmla="*/ 88094 w 571128"/>
                <a:gd name="connsiteY60" fmla="*/ 123450 h 761503"/>
                <a:gd name="connsiteX61" fmla="*/ 69057 w 571128"/>
                <a:gd name="connsiteY61" fmla="*/ 118011 h 761503"/>
                <a:gd name="connsiteX62" fmla="*/ 58178 w 571128"/>
                <a:gd name="connsiteY62" fmla="*/ 101693 h 761503"/>
                <a:gd name="connsiteX63" fmla="*/ 60898 w 571128"/>
                <a:gd name="connsiteY63" fmla="*/ 93534 h 761503"/>
                <a:gd name="connsiteX64" fmla="*/ 77216 w 571128"/>
                <a:gd name="connsiteY64" fmla="*/ 85375 h 761503"/>
                <a:gd name="connsiteX65" fmla="*/ 131609 w 571128"/>
                <a:gd name="connsiteY65" fmla="*/ 79936 h 761503"/>
                <a:gd name="connsiteX66" fmla="*/ 161525 w 571128"/>
                <a:gd name="connsiteY66" fmla="*/ 79936 h 761503"/>
                <a:gd name="connsiteX67" fmla="*/ 177843 w 571128"/>
                <a:gd name="connsiteY67" fmla="*/ 66337 h 761503"/>
                <a:gd name="connsiteX68" fmla="*/ 202320 w 571128"/>
                <a:gd name="connsiteY68" fmla="*/ 58178 h 761503"/>
                <a:gd name="connsiteX69" fmla="*/ 234956 w 571128"/>
                <a:gd name="connsiteY69" fmla="*/ 77216 h 761503"/>
                <a:gd name="connsiteX70" fmla="*/ 251274 w 571128"/>
                <a:gd name="connsiteY70" fmla="*/ 107132 h 761503"/>
                <a:gd name="connsiteX71" fmla="*/ 267592 w 571128"/>
                <a:gd name="connsiteY71" fmla="*/ 147927 h 761503"/>
                <a:gd name="connsiteX72" fmla="*/ 281190 w 571128"/>
                <a:gd name="connsiteY72" fmla="*/ 183282 h 761503"/>
                <a:gd name="connsiteX73" fmla="*/ 297508 w 571128"/>
                <a:gd name="connsiteY73" fmla="*/ 224077 h 761503"/>
                <a:gd name="connsiteX74" fmla="*/ 308387 w 571128"/>
                <a:gd name="connsiteY74" fmla="*/ 264872 h 761503"/>
                <a:gd name="connsiteX75" fmla="*/ 319265 w 571128"/>
                <a:gd name="connsiteY75" fmla="*/ 300228 h 761503"/>
                <a:gd name="connsiteX76" fmla="*/ 351901 w 571128"/>
                <a:gd name="connsiteY76" fmla="*/ 379098 h 761503"/>
                <a:gd name="connsiteX77" fmla="*/ 365500 w 571128"/>
                <a:gd name="connsiteY77" fmla="*/ 417173 h 761503"/>
                <a:gd name="connsiteX78" fmla="*/ 379098 w 571128"/>
                <a:gd name="connsiteY78" fmla="*/ 457968 h 761503"/>
                <a:gd name="connsiteX79" fmla="*/ 395416 w 571128"/>
                <a:gd name="connsiteY79" fmla="*/ 496043 h 761503"/>
                <a:gd name="connsiteX80" fmla="*/ 406295 w 571128"/>
                <a:gd name="connsiteY80" fmla="*/ 512361 h 761503"/>
                <a:gd name="connsiteX81" fmla="*/ 411734 w 571128"/>
                <a:gd name="connsiteY81" fmla="*/ 531398 h 761503"/>
                <a:gd name="connsiteX82" fmla="*/ 419893 w 571128"/>
                <a:gd name="connsiteY82" fmla="*/ 558595 h 761503"/>
                <a:gd name="connsiteX83" fmla="*/ 425332 w 571128"/>
                <a:gd name="connsiteY83" fmla="*/ 564034 h 761503"/>
                <a:gd name="connsiteX84" fmla="*/ 430771 w 571128"/>
                <a:gd name="connsiteY84" fmla="*/ 558595 h 761503"/>
                <a:gd name="connsiteX85" fmla="*/ 430771 w 571128"/>
                <a:gd name="connsiteY85" fmla="*/ 550436 h 761503"/>
                <a:gd name="connsiteX86" fmla="*/ 430771 w 571128"/>
                <a:gd name="connsiteY86" fmla="*/ 501482 h 761503"/>
                <a:gd name="connsiteX87" fmla="*/ 430771 w 571128"/>
                <a:gd name="connsiteY87" fmla="*/ 403575 h 761503"/>
                <a:gd name="connsiteX88" fmla="*/ 425332 w 571128"/>
                <a:gd name="connsiteY88" fmla="*/ 313826 h 761503"/>
                <a:gd name="connsiteX89" fmla="*/ 425332 w 571128"/>
                <a:gd name="connsiteY89" fmla="*/ 248554 h 761503"/>
                <a:gd name="connsiteX90" fmla="*/ 425332 w 571128"/>
                <a:gd name="connsiteY90" fmla="*/ 210479 h 761503"/>
                <a:gd name="connsiteX91" fmla="*/ 422613 w 571128"/>
                <a:gd name="connsiteY91" fmla="*/ 153366 h 761503"/>
                <a:gd name="connsiteX92" fmla="*/ 425332 w 571128"/>
                <a:gd name="connsiteY92" fmla="*/ 123450 h 761503"/>
                <a:gd name="connsiteX93" fmla="*/ 398136 w 571128"/>
                <a:gd name="connsiteY93" fmla="*/ 123450 h 761503"/>
                <a:gd name="connsiteX94" fmla="*/ 379098 w 571128"/>
                <a:gd name="connsiteY94" fmla="*/ 123450 h 761503"/>
                <a:gd name="connsiteX95" fmla="*/ 360060 w 571128"/>
                <a:gd name="connsiteY95" fmla="*/ 118011 h 761503"/>
                <a:gd name="connsiteX96" fmla="*/ 349182 w 571128"/>
                <a:gd name="connsiteY96" fmla="*/ 101693 h 761503"/>
                <a:gd name="connsiteX97" fmla="*/ 351901 w 571128"/>
                <a:gd name="connsiteY97" fmla="*/ 93534 h 761503"/>
                <a:gd name="connsiteX98" fmla="*/ 368219 w 571128"/>
                <a:gd name="connsiteY98" fmla="*/ 85375 h 761503"/>
                <a:gd name="connsiteX99" fmla="*/ 422613 w 571128"/>
                <a:gd name="connsiteY99" fmla="*/ 79936 h 761503"/>
                <a:gd name="connsiteX100" fmla="*/ 444370 w 571128"/>
                <a:gd name="connsiteY100" fmla="*/ 79936 h 761503"/>
                <a:gd name="connsiteX101" fmla="*/ 463407 w 571128"/>
                <a:gd name="connsiteY101" fmla="*/ 71776 h 761503"/>
                <a:gd name="connsiteX102" fmla="*/ 477006 w 571128"/>
                <a:gd name="connsiteY102" fmla="*/ 79936 h 761503"/>
                <a:gd name="connsiteX103" fmla="*/ 512361 w 571128"/>
                <a:gd name="connsiteY103" fmla="*/ 79936 h 761503"/>
                <a:gd name="connsiteX104" fmla="*/ 512361 w 571128"/>
                <a:gd name="connsiteY104" fmla="*/ 79936 h 761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</a:cxnLst>
              <a:rect l="l" t="t" r="r" b="b"/>
              <a:pathLst>
                <a:path w="571128" h="761503">
                  <a:moveTo>
                    <a:pt x="512361" y="79936"/>
                  </a:moveTo>
                  <a:cubicBezTo>
                    <a:pt x="520520" y="79936"/>
                    <a:pt x="539558" y="79936"/>
                    <a:pt x="539558" y="96253"/>
                  </a:cubicBezTo>
                  <a:cubicBezTo>
                    <a:pt x="539558" y="104412"/>
                    <a:pt x="539558" y="107132"/>
                    <a:pt x="534118" y="112571"/>
                  </a:cubicBezTo>
                  <a:cubicBezTo>
                    <a:pt x="531399" y="118011"/>
                    <a:pt x="525960" y="120730"/>
                    <a:pt x="523240" y="120730"/>
                  </a:cubicBezTo>
                  <a:cubicBezTo>
                    <a:pt x="515081" y="123450"/>
                    <a:pt x="512361" y="123450"/>
                    <a:pt x="506922" y="123450"/>
                  </a:cubicBezTo>
                  <a:cubicBezTo>
                    <a:pt x="504202" y="123450"/>
                    <a:pt x="490604" y="123450"/>
                    <a:pt x="477006" y="123450"/>
                  </a:cubicBezTo>
                  <a:cubicBezTo>
                    <a:pt x="477006" y="131609"/>
                    <a:pt x="479725" y="137048"/>
                    <a:pt x="479725" y="145207"/>
                  </a:cubicBezTo>
                  <a:cubicBezTo>
                    <a:pt x="479725" y="156086"/>
                    <a:pt x="477006" y="166964"/>
                    <a:pt x="477006" y="180563"/>
                  </a:cubicBezTo>
                  <a:cubicBezTo>
                    <a:pt x="477006" y="196881"/>
                    <a:pt x="479725" y="215918"/>
                    <a:pt x="482445" y="232236"/>
                  </a:cubicBezTo>
                  <a:cubicBezTo>
                    <a:pt x="485165" y="248554"/>
                    <a:pt x="485165" y="267592"/>
                    <a:pt x="485165" y="283910"/>
                  </a:cubicBezTo>
                  <a:cubicBezTo>
                    <a:pt x="485165" y="297508"/>
                    <a:pt x="485165" y="313826"/>
                    <a:pt x="485165" y="327424"/>
                  </a:cubicBezTo>
                  <a:cubicBezTo>
                    <a:pt x="485165" y="343742"/>
                    <a:pt x="487884" y="357340"/>
                    <a:pt x="487884" y="373658"/>
                  </a:cubicBezTo>
                  <a:cubicBezTo>
                    <a:pt x="487884" y="389976"/>
                    <a:pt x="485165" y="403575"/>
                    <a:pt x="485165" y="419892"/>
                  </a:cubicBezTo>
                  <a:cubicBezTo>
                    <a:pt x="485165" y="436210"/>
                    <a:pt x="485165" y="449809"/>
                    <a:pt x="485165" y="463407"/>
                  </a:cubicBezTo>
                  <a:cubicBezTo>
                    <a:pt x="485165" y="479725"/>
                    <a:pt x="485165" y="498762"/>
                    <a:pt x="482445" y="515080"/>
                  </a:cubicBezTo>
                  <a:cubicBezTo>
                    <a:pt x="482445" y="528679"/>
                    <a:pt x="482445" y="542277"/>
                    <a:pt x="482445" y="558595"/>
                  </a:cubicBezTo>
                  <a:cubicBezTo>
                    <a:pt x="482445" y="572193"/>
                    <a:pt x="479725" y="588511"/>
                    <a:pt x="479725" y="602109"/>
                  </a:cubicBezTo>
                  <a:cubicBezTo>
                    <a:pt x="479725" y="615708"/>
                    <a:pt x="485165" y="632026"/>
                    <a:pt x="485165" y="648343"/>
                  </a:cubicBezTo>
                  <a:cubicBezTo>
                    <a:pt x="485165" y="659222"/>
                    <a:pt x="482445" y="670101"/>
                    <a:pt x="474286" y="675540"/>
                  </a:cubicBezTo>
                  <a:cubicBezTo>
                    <a:pt x="460688" y="686419"/>
                    <a:pt x="444370" y="691858"/>
                    <a:pt x="428052" y="691858"/>
                  </a:cubicBezTo>
                  <a:cubicBezTo>
                    <a:pt x="414454" y="691858"/>
                    <a:pt x="400855" y="689138"/>
                    <a:pt x="387257" y="683699"/>
                  </a:cubicBezTo>
                  <a:cubicBezTo>
                    <a:pt x="373659" y="678260"/>
                    <a:pt x="360060" y="672820"/>
                    <a:pt x="351901" y="664661"/>
                  </a:cubicBezTo>
                  <a:cubicBezTo>
                    <a:pt x="330144" y="645624"/>
                    <a:pt x="316546" y="621147"/>
                    <a:pt x="305667" y="596670"/>
                  </a:cubicBezTo>
                  <a:cubicBezTo>
                    <a:pt x="292069" y="569473"/>
                    <a:pt x="281190" y="539557"/>
                    <a:pt x="270312" y="509641"/>
                  </a:cubicBezTo>
                  <a:cubicBezTo>
                    <a:pt x="264872" y="493323"/>
                    <a:pt x="256713" y="477005"/>
                    <a:pt x="251274" y="460687"/>
                  </a:cubicBezTo>
                  <a:cubicBezTo>
                    <a:pt x="240395" y="433491"/>
                    <a:pt x="232236" y="409014"/>
                    <a:pt x="224077" y="381817"/>
                  </a:cubicBezTo>
                  <a:cubicBezTo>
                    <a:pt x="218638" y="365499"/>
                    <a:pt x="213199" y="346462"/>
                    <a:pt x="207759" y="330144"/>
                  </a:cubicBezTo>
                  <a:cubicBezTo>
                    <a:pt x="202320" y="316545"/>
                    <a:pt x="196881" y="300228"/>
                    <a:pt x="191442" y="286629"/>
                  </a:cubicBezTo>
                  <a:cubicBezTo>
                    <a:pt x="188722" y="281190"/>
                    <a:pt x="186002" y="278470"/>
                    <a:pt x="183283" y="278470"/>
                  </a:cubicBezTo>
                  <a:cubicBezTo>
                    <a:pt x="180563" y="278470"/>
                    <a:pt x="180563" y="286629"/>
                    <a:pt x="180563" y="292069"/>
                  </a:cubicBezTo>
                  <a:cubicBezTo>
                    <a:pt x="180563" y="297508"/>
                    <a:pt x="180563" y="302947"/>
                    <a:pt x="180563" y="305667"/>
                  </a:cubicBezTo>
                  <a:cubicBezTo>
                    <a:pt x="180563" y="321985"/>
                    <a:pt x="183283" y="338303"/>
                    <a:pt x="183283" y="354621"/>
                  </a:cubicBezTo>
                  <a:cubicBezTo>
                    <a:pt x="183283" y="387257"/>
                    <a:pt x="186002" y="417173"/>
                    <a:pt x="188722" y="449809"/>
                  </a:cubicBezTo>
                  <a:cubicBezTo>
                    <a:pt x="188722" y="460687"/>
                    <a:pt x="188722" y="468846"/>
                    <a:pt x="188722" y="479725"/>
                  </a:cubicBezTo>
                  <a:cubicBezTo>
                    <a:pt x="188722" y="501482"/>
                    <a:pt x="188722" y="523239"/>
                    <a:pt x="188722" y="542277"/>
                  </a:cubicBezTo>
                  <a:cubicBezTo>
                    <a:pt x="188722" y="566754"/>
                    <a:pt x="186002" y="591231"/>
                    <a:pt x="186002" y="615708"/>
                  </a:cubicBezTo>
                  <a:cubicBezTo>
                    <a:pt x="186002" y="623867"/>
                    <a:pt x="186002" y="632026"/>
                    <a:pt x="186002" y="637465"/>
                  </a:cubicBezTo>
                  <a:cubicBezTo>
                    <a:pt x="186002" y="645624"/>
                    <a:pt x="183283" y="656502"/>
                    <a:pt x="183283" y="664661"/>
                  </a:cubicBezTo>
                  <a:cubicBezTo>
                    <a:pt x="202320" y="664661"/>
                    <a:pt x="218638" y="664661"/>
                    <a:pt x="226797" y="664661"/>
                  </a:cubicBezTo>
                  <a:cubicBezTo>
                    <a:pt x="234956" y="664661"/>
                    <a:pt x="253994" y="664661"/>
                    <a:pt x="253994" y="680979"/>
                  </a:cubicBezTo>
                  <a:cubicBezTo>
                    <a:pt x="253994" y="689138"/>
                    <a:pt x="253994" y="691858"/>
                    <a:pt x="248554" y="697297"/>
                  </a:cubicBezTo>
                  <a:cubicBezTo>
                    <a:pt x="245835" y="702737"/>
                    <a:pt x="240395" y="705456"/>
                    <a:pt x="234956" y="705456"/>
                  </a:cubicBezTo>
                  <a:cubicBezTo>
                    <a:pt x="226797" y="708176"/>
                    <a:pt x="224077" y="708176"/>
                    <a:pt x="218638" y="708176"/>
                  </a:cubicBezTo>
                  <a:cubicBezTo>
                    <a:pt x="215918" y="708176"/>
                    <a:pt x="199600" y="708176"/>
                    <a:pt x="183283" y="708176"/>
                  </a:cubicBezTo>
                  <a:cubicBezTo>
                    <a:pt x="166965" y="708176"/>
                    <a:pt x="153366" y="708176"/>
                    <a:pt x="150647" y="708176"/>
                  </a:cubicBezTo>
                  <a:cubicBezTo>
                    <a:pt x="139768" y="708176"/>
                    <a:pt x="120730" y="708176"/>
                    <a:pt x="107132" y="708176"/>
                  </a:cubicBezTo>
                  <a:cubicBezTo>
                    <a:pt x="101693" y="708176"/>
                    <a:pt x="96253" y="708176"/>
                    <a:pt x="88094" y="708176"/>
                  </a:cubicBezTo>
                  <a:cubicBezTo>
                    <a:pt x="82655" y="708176"/>
                    <a:pt x="74496" y="708176"/>
                    <a:pt x="69057" y="702737"/>
                  </a:cubicBezTo>
                  <a:cubicBezTo>
                    <a:pt x="63618" y="700017"/>
                    <a:pt x="58178" y="691858"/>
                    <a:pt x="58178" y="686419"/>
                  </a:cubicBezTo>
                  <a:cubicBezTo>
                    <a:pt x="58178" y="683699"/>
                    <a:pt x="58178" y="680979"/>
                    <a:pt x="60898" y="678260"/>
                  </a:cubicBezTo>
                  <a:cubicBezTo>
                    <a:pt x="63618" y="675540"/>
                    <a:pt x="71777" y="672820"/>
                    <a:pt x="77216" y="670101"/>
                  </a:cubicBezTo>
                  <a:cubicBezTo>
                    <a:pt x="90814" y="667381"/>
                    <a:pt x="115291" y="664661"/>
                    <a:pt x="120730" y="664661"/>
                  </a:cubicBezTo>
                  <a:cubicBezTo>
                    <a:pt x="123450" y="664661"/>
                    <a:pt x="126170" y="664661"/>
                    <a:pt x="131609" y="664661"/>
                  </a:cubicBezTo>
                  <a:cubicBezTo>
                    <a:pt x="131609" y="623867"/>
                    <a:pt x="134329" y="583072"/>
                    <a:pt x="134329" y="539557"/>
                  </a:cubicBezTo>
                  <a:cubicBezTo>
                    <a:pt x="134329" y="528679"/>
                    <a:pt x="134329" y="515080"/>
                    <a:pt x="134329" y="504202"/>
                  </a:cubicBezTo>
                  <a:cubicBezTo>
                    <a:pt x="131609" y="460687"/>
                    <a:pt x="131609" y="417173"/>
                    <a:pt x="131609" y="376378"/>
                  </a:cubicBezTo>
                  <a:cubicBezTo>
                    <a:pt x="131609" y="351901"/>
                    <a:pt x="131609" y="327424"/>
                    <a:pt x="131609" y="302947"/>
                  </a:cubicBezTo>
                  <a:cubicBezTo>
                    <a:pt x="131609" y="275751"/>
                    <a:pt x="131609" y="248554"/>
                    <a:pt x="134329" y="221357"/>
                  </a:cubicBezTo>
                  <a:cubicBezTo>
                    <a:pt x="134329" y="188722"/>
                    <a:pt x="137048" y="156086"/>
                    <a:pt x="137048" y="123450"/>
                  </a:cubicBezTo>
                  <a:cubicBezTo>
                    <a:pt x="126170" y="123450"/>
                    <a:pt x="115291" y="123450"/>
                    <a:pt x="107132" y="123450"/>
                  </a:cubicBezTo>
                  <a:cubicBezTo>
                    <a:pt x="101693" y="123450"/>
                    <a:pt x="96253" y="123450"/>
                    <a:pt x="88094" y="123450"/>
                  </a:cubicBezTo>
                  <a:cubicBezTo>
                    <a:pt x="82655" y="123450"/>
                    <a:pt x="74496" y="120730"/>
                    <a:pt x="69057" y="118011"/>
                  </a:cubicBezTo>
                  <a:cubicBezTo>
                    <a:pt x="63618" y="115291"/>
                    <a:pt x="58178" y="107132"/>
                    <a:pt x="58178" y="101693"/>
                  </a:cubicBezTo>
                  <a:cubicBezTo>
                    <a:pt x="58178" y="98973"/>
                    <a:pt x="58178" y="96253"/>
                    <a:pt x="60898" y="93534"/>
                  </a:cubicBezTo>
                  <a:cubicBezTo>
                    <a:pt x="63618" y="90814"/>
                    <a:pt x="71777" y="88095"/>
                    <a:pt x="77216" y="85375"/>
                  </a:cubicBezTo>
                  <a:cubicBezTo>
                    <a:pt x="90814" y="82655"/>
                    <a:pt x="126170" y="79936"/>
                    <a:pt x="131609" y="79936"/>
                  </a:cubicBezTo>
                  <a:cubicBezTo>
                    <a:pt x="137048" y="79936"/>
                    <a:pt x="147927" y="79936"/>
                    <a:pt x="161525" y="79936"/>
                  </a:cubicBezTo>
                  <a:cubicBezTo>
                    <a:pt x="166965" y="74496"/>
                    <a:pt x="172404" y="71776"/>
                    <a:pt x="177843" y="66337"/>
                  </a:cubicBezTo>
                  <a:cubicBezTo>
                    <a:pt x="186002" y="60898"/>
                    <a:pt x="194161" y="58178"/>
                    <a:pt x="202320" y="58178"/>
                  </a:cubicBezTo>
                  <a:cubicBezTo>
                    <a:pt x="215918" y="58178"/>
                    <a:pt x="226797" y="63618"/>
                    <a:pt x="234956" y="77216"/>
                  </a:cubicBezTo>
                  <a:cubicBezTo>
                    <a:pt x="240395" y="88095"/>
                    <a:pt x="248554" y="96253"/>
                    <a:pt x="251274" y="107132"/>
                  </a:cubicBezTo>
                  <a:cubicBezTo>
                    <a:pt x="256713" y="120730"/>
                    <a:pt x="259433" y="134329"/>
                    <a:pt x="267592" y="147927"/>
                  </a:cubicBezTo>
                  <a:cubicBezTo>
                    <a:pt x="273031" y="158806"/>
                    <a:pt x="275751" y="172404"/>
                    <a:pt x="281190" y="183282"/>
                  </a:cubicBezTo>
                  <a:cubicBezTo>
                    <a:pt x="286630" y="196881"/>
                    <a:pt x="292069" y="210479"/>
                    <a:pt x="297508" y="224077"/>
                  </a:cubicBezTo>
                  <a:cubicBezTo>
                    <a:pt x="300228" y="237676"/>
                    <a:pt x="305667" y="251274"/>
                    <a:pt x="308387" y="264872"/>
                  </a:cubicBezTo>
                  <a:cubicBezTo>
                    <a:pt x="311107" y="278470"/>
                    <a:pt x="311107" y="289349"/>
                    <a:pt x="319265" y="300228"/>
                  </a:cubicBezTo>
                  <a:cubicBezTo>
                    <a:pt x="332864" y="324704"/>
                    <a:pt x="346462" y="351901"/>
                    <a:pt x="351901" y="379098"/>
                  </a:cubicBezTo>
                  <a:cubicBezTo>
                    <a:pt x="354621" y="392696"/>
                    <a:pt x="360060" y="403575"/>
                    <a:pt x="365500" y="417173"/>
                  </a:cubicBezTo>
                  <a:cubicBezTo>
                    <a:pt x="373659" y="430771"/>
                    <a:pt x="373659" y="444369"/>
                    <a:pt x="379098" y="457968"/>
                  </a:cubicBezTo>
                  <a:cubicBezTo>
                    <a:pt x="381818" y="471566"/>
                    <a:pt x="387257" y="482445"/>
                    <a:pt x="395416" y="496043"/>
                  </a:cubicBezTo>
                  <a:cubicBezTo>
                    <a:pt x="398136" y="501482"/>
                    <a:pt x="403575" y="506921"/>
                    <a:pt x="406295" y="512361"/>
                  </a:cubicBezTo>
                  <a:cubicBezTo>
                    <a:pt x="409014" y="517800"/>
                    <a:pt x="409014" y="525959"/>
                    <a:pt x="411734" y="531398"/>
                  </a:cubicBezTo>
                  <a:cubicBezTo>
                    <a:pt x="414454" y="539557"/>
                    <a:pt x="417173" y="550436"/>
                    <a:pt x="419893" y="558595"/>
                  </a:cubicBezTo>
                  <a:cubicBezTo>
                    <a:pt x="422613" y="561314"/>
                    <a:pt x="422613" y="564034"/>
                    <a:pt x="425332" y="564034"/>
                  </a:cubicBezTo>
                  <a:cubicBezTo>
                    <a:pt x="428052" y="564034"/>
                    <a:pt x="428052" y="561314"/>
                    <a:pt x="430771" y="558595"/>
                  </a:cubicBezTo>
                  <a:cubicBezTo>
                    <a:pt x="430771" y="555875"/>
                    <a:pt x="430771" y="553156"/>
                    <a:pt x="430771" y="550436"/>
                  </a:cubicBezTo>
                  <a:cubicBezTo>
                    <a:pt x="430771" y="534118"/>
                    <a:pt x="430771" y="517800"/>
                    <a:pt x="430771" y="501482"/>
                  </a:cubicBezTo>
                  <a:cubicBezTo>
                    <a:pt x="430771" y="468846"/>
                    <a:pt x="433491" y="436210"/>
                    <a:pt x="430771" y="403575"/>
                  </a:cubicBezTo>
                  <a:cubicBezTo>
                    <a:pt x="430771" y="373658"/>
                    <a:pt x="425332" y="343742"/>
                    <a:pt x="425332" y="313826"/>
                  </a:cubicBezTo>
                  <a:cubicBezTo>
                    <a:pt x="425332" y="292069"/>
                    <a:pt x="425332" y="270311"/>
                    <a:pt x="425332" y="248554"/>
                  </a:cubicBezTo>
                  <a:cubicBezTo>
                    <a:pt x="425332" y="234956"/>
                    <a:pt x="425332" y="224077"/>
                    <a:pt x="425332" y="210479"/>
                  </a:cubicBezTo>
                  <a:cubicBezTo>
                    <a:pt x="425332" y="191441"/>
                    <a:pt x="422613" y="172404"/>
                    <a:pt x="422613" y="153366"/>
                  </a:cubicBezTo>
                  <a:cubicBezTo>
                    <a:pt x="422613" y="142488"/>
                    <a:pt x="422613" y="134329"/>
                    <a:pt x="425332" y="123450"/>
                  </a:cubicBezTo>
                  <a:cubicBezTo>
                    <a:pt x="417173" y="123450"/>
                    <a:pt x="406295" y="123450"/>
                    <a:pt x="398136" y="123450"/>
                  </a:cubicBezTo>
                  <a:cubicBezTo>
                    <a:pt x="392696" y="123450"/>
                    <a:pt x="387257" y="123450"/>
                    <a:pt x="379098" y="123450"/>
                  </a:cubicBezTo>
                  <a:cubicBezTo>
                    <a:pt x="373659" y="123450"/>
                    <a:pt x="365500" y="120730"/>
                    <a:pt x="360060" y="118011"/>
                  </a:cubicBezTo>
                  <a:cubicBezTo>
                    <a:pt x="354621" y="115291"/>
                    <a:pt x="349182" y="107132"/>
                    <a:pt x="349182" y="101693"/>
                  </a:cubicBezTo>
                  <a:cubicBezTo>
                    <a:pt x="349182" y="98973"/>
                    <a:pt x="349182" y="96253"/>
                    <a:pt x="351901" y="93534"/>
                  </a:cubicBezTo>
                  <a:cubicBezTo>
                    <a:pt x="354621" y="90814"/>
                    <a:pt x="362780" y="88095"/>
                    <a:pt x="368219" y="85375"/>
                  </a:cubicBezTo>
                  <a:cubicBezTo>
                    <a:pt x="381818" y="82655"/>
                    <a:pt x="417173" y="79936"/>
                    <a:pt x="422613" y="79936"/>
                  </a:cubicBezTo>
                  <a:cubicBezTo>
                    <a:pt x="428052" y="79936"/>
                    <a:pt x="433491" y="79936"/>
                    <a:pt x="444370" y="79936"/>
                  </a:cubicBezTo>
                  <a:cubicBezTo>
                    <a:pt x="449809" y="74496"/>
                    <a:pt x="455248" y="71776"/>
                    <a:pt x="463407" y="71776"/>
                  </a:cubicBezTo>
                  <a:cubicBezTo>
                    <a:pt x="471566" y="71776"/>
                    <a:pt x="477006" y="74496"/>
                    <a:pt x="477006" y="79936"/>
                  </a:cubicBezTo>
                  <a:cubicBezTo>
                    <a:pt x="490604" y="82655"/>
                    <a:pt x="504202" y="79936"/>
                    <a:pt x="512361" y="79936"/>
                  </a:cubicBezTo>
                  <a:lnTo>
                    <a:pt x="512361" y="79936"/>
                  </a:ln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6" name="Freeform: Shape 35">
              <a:extLst>
                <a:ext uri="{FF2B5EF4-FFF2-40B4-BE49-F238E27FC236}">
                  <a16:creationId xmlns:a16="http://schemas.microsoft.com/office/drawing/2014/main" id="{417FE90C-6359-4A38-A932-B9E34A36EB87}"/>
                </a:ext>
              </a:extLst>
            </p:cNvPr>
            <p:cNvSpPr/>
            <p:nvPr/>
          </p:nvSpPr>
          <p:spPr>
            <a:xfrm>
              <a:off x="2987430" y="4242177"/>
              <a:ext cx="494979" cy="674476"/>
            </a:xfrm>
            <a:custGeom>
              <a:avLst/>
              <a:gdLst>
                <a:gd name="connsiteX0" fmla="*/ 228453 w 494979"/>
                <a:gd name="connsiteY0" fmla="*/ 97907 h 674476"/>
                <a:gd name="connsiteX1" fmla="*/ 212135 w 494979"/>
                <a:gd name="connsiteY1" fmla="*/ 119665 h 674476"/>
                <a:gd name="connsiteX2" fmla="*/ 203976 w 494979"/>
                <a:gd name="connsiteY2" fmla="*/ 152300 h 674476"/>
                <a:gd name="connsiteX3" fmla="*/ 201256 w 494979"/>
                <a:gd name="connsiteY3" fmla="*/ 168618 h 674476"/>
                <a:gd name="connsiteX4" fmla="*/ 198537 w 494979"/>
                <a:gd name="connsiteY4" fmla="*/ 184936 h 674476"/>
                <a:gd name="connsiteX5" fmla="*/ 190378 w 494979"/>
                <a:gd name="connsiteY5" fmla="*/ 220292 h 674476"/>
                <a:gd name="connsiteX6" fmla="*/ 171340 w 494979"/>
                <a:gd name="connsiteY6" fmla="*/ 291003 h 674476"/>
                <a:gd name="connsiteX7" fmla="*/ 163180 w 494979"/>
                <a:gd name="connsiteY7" fmla="*/ 323639 h 674476"/>
                <a:gd name="connsiteX8" fmla="*/ 152302 w 494979"/>
                <a:gd name="connsiteY8" fmla="*/ 361714 h 674476"/>
                <a:gd name="connsiteX9" fmla="*/ 146862 w 494979"/>
                <a:gd name="connsiteY9" fmla="*/ 388910 h 674476"/>
                <a:gd name="connsiteX10" fmla="*/ 152302 w 494979"/>
                <a:gd name="connsiteY10" fmla="*/ 391630 h 674476"/>
                <a:gd name="connsiteX11" fmla="*/ 174060 w 494979"/>
                <a:gd name="connsiteY11" fmla="*/ 391630 h 674476"/>
                <a:gd name="connsiteX12" fmla="*/ 195817 w 494979"/>
                <a:gd name="connsiteY12" fmla="*/ 388910 h 674476"/>
                <a:gd name="connsiteX13" fmla="*/ 214855 w 494979"/>
                <a:gd name="connsiteY13" fmla="*/ 388910 h 674476"/>
                <a:gd name="connsiteX14" fmla="*/ 239332 w 494979"/>
                <a:gd name="connsiteY14" fmla="*/ 388910 h 674476"/>
                <a:gd name="connsiteX15" fmla="*/ 252930 w 494979"/>
                <a:gd name="connsiteY15" fmla="*/ 386191 h 674476"/>
                <a:gd name="connsiteX16" fmla="*/ 261089 w 494979"/>
                <a:gd name="connsiteY16" fmla="*/ 386191 h 674476"/>
                <a:gd name="connsiteX17" fmla="*/ 258369 w 494979"/>
                <a:gd name="connsiteY17" fmla="*/ 367153 h 674476"/>
                <a:gd name="connsiteX18" fmla="*/ 252930 w 494979"/>
                <a:gd name="connsiteY18" fmla="*/ 331797 h 674476"/>
                <a:gd name="connsiteX19" fmla="*/ 250210 w 494979"/>
                <a:gd name="connsiteY19" fmla="*/ 244769 h 674476"/>
                <a:gd name="connsiteX20" fmla="*/ 244771 w 494979"/>
                <a:gd name="connsiteY20" fmla="*/ 203974 h 674476"/>
                <a:gd name="connsiteX21" fmla="*/ 239332 w 494979"/>
                <a:gd name="connsiteY21" fmla="*/ 157740 h 674476"/>
                <a:gd name="connsiteX22" fmla="*/ 236612 w 494979"/>
                <a:gd name="connsiteY22" fmla="*/ 119665 h 674476"/>
                <a:gd name="connsiteX23" fmla="*/ 228453 w 494979"/>
                <a:gd name="connsiteY23" fmla="*/ 97907 h 674476"/>
                <a:gd name="connsiteX24" fmla="*/ 274687 w 494979"/>
                <a:gd name="connsiteY24" fmla="*/ 0 h 674476"/>
                <a:gd name="connsiteX25" fmla="*/ 304603 w 494979"/>
                <a:gd name="connsiteY25" fmla="*/ 5439 h 674476"/>
                <a:gd name="connsiteX26" fmla="*/ 320921 w 494979"/>
                <a:gd name="connsiteY26" fmla="*/ 24477 h 674476"/>
                <a:gd name="connsiteX27" fmla="*/ 334519 w 494979"/>
                <a:gd name="connsiteY27" fmla="*/ 43515 h 674476"/>
                <a:gd name="connsiteX28" fmla="*/ 339959 w 494979"/>
                <a:gd name="connsiteY28" fmla="*/ 65272 h 674476"/>
                <a:gd name="connsiteX29" fmla="*/ 348118 w 494979"/>
                <a:gd name="connsiteY29" fmla="*/ 114226 h 674476"/>
                <a:gd name="connsiteX30" fmla="*/ 361716 w 494979"/>
                <a:gd name="connsiteY30" fmla="*/ 163180 h 674476"/>
                <a:gd name="connsiteX31" fmla="*/ 369875 w 494979"/>
                <a:gd name="connsiteY31" fmla="*/ 220293 h 674476"/>
                <a:gd name="connsiteX32" fmla="*/ 378034 w 494979"/>
                <a:gd name="connsiteY32" fmla="*/ 274686 h 674476"/>
                <a:gd name="connsiteX33" fmla="*/ 383473 w 494979"/>
                <a:gd name="connsiteY33" fmla="*/ 301883 h 674476"/>
                <a:gd name="connsiteX34" fmla="*/ 391632 w 494979"/>
                <a:gd name="connsiteY34" fmla="*/ 337238 h 674476"/>
                <a:gd name="connsiteX35" fmla="*/ 397071 w 494979"/>
                <a:gd name="connsiteY35" fmla="*/ 364435 h 674476"/>
                <a:gd name="connsiteX36" fmla="*/ 405230 w 494979"/>
                <a:gd name="connsiteY36" fmla="*/ 383473 h 674476"/>
                <a:gd name="connsiteX37" fmla="*/ 416109 w 494979"/>
                <a:gd name="connsiteY37" fmla="*/ 386192 h 674476"/>
                <a:gd name="connsiteX38" fmla="*/ 426988 w 494979"/>
                <a:gd name="connsiteY38" fmla="*/ 386192 h 674476"/>
                <a:gd name="connsiteX39" fmla="*/ 454184 w 494979"/>
                <a:gd name="connsiteY39" fmla="*/ 397071 h 674476"/>
                <a:gd name="connsiteX40" fmla="*/ 456904 w 494979"/>
                <a:gd name="connsiteY40" fmla="*/ 405230 h 674476"/>
                <a:gd name="connsiteX41" fmla="*/ 451465 w 494979"/>
                <a:gd name="connsiteY41" fmla="*/ 416108 h 674476"/>
                <a:gd name="connsiteX42" fmla="*/ 432427 w 494979"/>
                <a:gd name="connsiteY42" fmla="*/ 429707 h 674476"/>
                <a:gd name="connsiteX43" fmla="*/ 421548 w 494979"/>
                <a:gd name="connsiteY43" fmla="*/ 432426 h 674476"/>
                <a:gd name="connsiteX44" fmla="*/ 413389 w 494979"/>
                <a:gd name="connsiteY44" fmla="*/ 435146 h 674476"/>
                <a:gd name="connsiteX45" fmla="*/ 413389 w 494979"/>
                <a:gd name="connsiteY45" fmla="*/ 440585 h 674476"/>
                <a:gd name="connsiteX46" fmla="*/ 416109 w 494979"/>
                <a:gd name="connsiteY46" fmla="*/ 451464 h 674476"/>
                <a:gd name="connsiteX47" fmla="*/ 418829 w 494979"/>
                <a:gd name="connsiteY47" fmla="*/ 465062 h 674476"/>
                <a:gd name="connsiteX48" fmla="*/ 418829 w 494979"/>
                <a:gd name="connsiteY48" fmla="*/ 475941 h 674476"/>
                <a:gd name="connsiteX49" fmla="*/ 418829 w 494979"/>
                <a:gd name="connsiteY49" fmla="*/ 486820 h 674476"/>
                <a:gd name="connsiteX50" fmla="*/ 426988 w 494979"/>
                <a:gd name="connsiteY50" fmla="*/ 516736 h 674476"/>
                <a:gd name="connsiteX51" fmla="*/ 432427 w 494979"/>
                <a:gd name="connsiteY51" fmla="*/ 543932 h 674476"/>
                <a:gd name="connsiteX52" fmla="*/ 437866 w 494979"/>
                <a:gd name="connsiteY52" fmla="*/ 573848 h 674476"/>
                <a:gd name="connsiteX53" fmla="*/ 443306 w 494979"/>
                <a:gd name="connsiteY53" fmla="*/ 606484 h 674476"/>
                <a:gd name="connsiteX54" fmla="*/ 446025 w 494979"/>
                <a:gd name="connsiteY54" fmla="*/ 617363 h 674476"/>
                <a:gd name="connsiteX55" fmla="*/ 470502 w 494979"/>
                <a:gd name="connsiteY55" fmla="*/ 617363 h 674476"/>
                <a:gd name="connsiteX56" fmla="*/ 494979 w 494979"/>
                <a:gd name="connsiteY56" fmla="*/ 641840 h 674476"/>
                <a:gd name="connsiteX57" fmla="*/ 486820 w 494979"/>
                <a:gd name="connsiteY57" fmla="*/ 655438 h 674476"/>
                <a:gd name="connsiteX58" fmla="*/ 470502 w 494979"/>
                <a:gd name="connsiteY58" fmla="*/ 663597 h 674476"/>
                <a:gd name="connsiteX59" fmla="*/ 446025 w 494979"/>
                <a:gd name="connsiteY59" fmla="*/ 666317 h 674476"/>
                <a:gd name="connsiteX60" fmla="*/ 424268 w 494979"/>
                <a:gd name="connsiteY60" fmla="*/ 666317 h 674476"/>
                <a:gd name="connsiteX61" fmla="*/ 416109 w 494979"/>
                <a:gd name="connsiteY61" fmla="*/ 666317 h 674476"/>
                <a:gd name="connsiteX62" fmla="*/ 402511 w 494979"/>
                <a:gd name="connsiteY62" fmla="*/ 671756 h 674476"/>
                <a:gd name="connsiteX63" fmla="*/ 386193 w 494979"/>
                <a:gd name="connsiteY63" fmla="*/ 674476 h 674476"/>
                <a:gd name="connsiteX64" fmla="*/ 350837 w 494979"/>
                <a:gd name="connsiteY64" fmla="*/ 669036 h 674476"/>
                <a:gd name="connsiteX65" fmla="*/ 329080 w 494979"/>
                <a:gd name="connsiteY65" fmla="*/ 669036 h 674476"/>
                <a:gd name="connsiteX66" fmla="*/ 280126 w 494979"/>
                <a:gd name="connsiteY66" fmla="*/ 669036 h 674476"/>
                <a:gd name="connsiteX67" fmla="*/ 255649 w 494979"/>
                <a:gd name="connsiteY67" fmla="*/ 663597 h 674476"/>
                <a:gd name="connsiteX68" fmla="*/ 239331 w 494979"/>
                <a:gd name="connsiteY68" fmla="*/ 647279 h 674476"/>
                <a:gd name="connsiteX69" fmla="*/ 263808 w 494979"/>
                <a:gd name="connsiteY69" fmla="*/ 630961 h 674476"/>
                <a:gd name="connsiteX70" fmla="*/ 291005 w 494979"/>
                <a:gd name="connsiteY70" fmla="*/ 628241 h 674476"/>
                <a:gd name="connsiteX71" fmla="*/ 288285 w 494979"/>
                <a:gd name="connsiteY71" fmla="*/ 609204 h 674476"/>
                <a:gd name="connsiteX72" fmla="*/ 285565 w 494979"/>
                <a:gd name="connsiteY72" fmla="*/ 582007 h 674476"/>
                <a:gd name="connsiteX73" fmla="*/ 282846 w 494979"/>
                <a:gd name="connsiteY73" fmla="*/ 568409 h 674476"/>
                <a:gd name="connsiteX74" fmla="*/ 285565 w 494979"/>
                <a:gd name="connsiteY74" fmla="*/ 554811 h 674476"/>
                <a:gd name="connsiteX75" fmla="*/ 280126 w 494979"/>
                <a:gd name="connsiteY75" fmla="*/ 538493 h 674476"/>
                <a:gd name="connsiteX76" fmla="*/ 274687 w 494979"/>
                <a:gd name="connsiteY76" fmla="*/ 505857 h 674476"/>
                <a:gd name="connsiteX77" fmla="*/ 271967 w 494979"/>
                <a:gd name="connsiteY77" fmla="*/ 478660 h 674476"/>
                <a:gd name="connsiteX78" fmla="*/ 269247 w 494979"/>
                <a:gd name="connsiteY78" fmla="*/ 446025 h 674476"/>
                <a:gd name="connsiteX79" fmla="*/ 263808 w 494979"/>
                <a:gd name="connsiteY79" fmla="*/ 437866 h 674476"/>
                <a:gd name="connsiteX80" fmla="*/ 252929 w 494979"/>
                <a:gd name="connsiteY80" fmla="*/ 437866 h 674476"/>
                <a:gd name="connsiteX81" fmla="*/ 223013 w 494979"/>
                <a:gd name="connsiteY81" fmla="*/ 440585 h 674476"/>
                <a:gd name="connsiteX82" fmla="*/ 193097 w 494979"/>
                <a:gd name="connsiteY82" fmla="*/ 443305 h 674476"/>
                <a:gd name="connsiteX83" fmla="*/ 168620 w 494979"/>
                <a:gd name="connsiteY83" fmla="*/ 443305 h 674476"/>
                <a:gd name="connsiteX84" fmla="*/ 146862 w 494979"/>
                <a:gd name="connsiteY84" fmla="*/ 440585 h 674476"/>
                <a:gd name="connsiteX85" fmla="*/ 138703 w 494979"/>
                <a:gd name="connsiteY85" fmla="*/ 454184 h 674476"/>
                <a:gd name="connsiteX86" fmla="*/ 133263 w 494979"/>
                <a:gd name="connsiteY86" fmla="*/ 486820 h 674476"/>
                <a:gd name="connsiteX87" fmla="*/ 122385 w 494979"/>
                <a:gd name="connsiteY87" fmla="*/ 541213 h 674476"/>
                <a:gd name="connsiteX88" fmla="*/ 106067 w 494979"/>
                <a:gd name="connsiteY88" fmla="*/ 614643 h 674476"/>
                <a:gd name="connsiteX89" fmla="*/ 135983 w 494979"/>
                <a:gd name="connsiteY89" fmla="*/ 614643 h 674476"/>
                <a:gd name="connsiteX90" fmla="*/ 171340 w 494979"/>
                <a:gd name="connsiteY90" fmla="*/ 630961 h 674476"/>
                <a:gd name="connsiteX91" fmla="*/ 165900 w 494979"/>
                <a:gd name="connsiteY91" fmla="*/ 647279 h 674476"/>
                <a:gd name="connsiteX92" fmla="*/ 149581 w 494979"/>
                <a:gd name="connsiteY92" fmla="*/ 655438 h 674476"/>
                <a:gd name="connsiteX93" fmla="*/ 127824 w 494979"/>
                <a:gd name="connsiteY93" fmla="*/ 658158 h 674476"/>
                <a:gd name="connsiteX94" fmla="*/ 106067 w 494979"/>
                <a:gd name="connsiteY94" fmla="*/ 658158 h 674476"/>
                <a:gd name="connsiteX95" fmla="*/ 62552 w 494979"/>
                <a:gd name="connsiteY95" fmla="*/ 658158 h 674476"/>
                <a:gd name="connsiteX96" fmla="*/ 40795 w 494979"/>
                <a:gd name="connsiteY96" fmla="*/ 658158 h 674476"/>
                <a:gd name="connsiteX97" fmla="*/ 16318 w 494979"/>
                <a:gd name="connsiteY97" fmla="*/ 652718 h 674476"/>
                <a:gd name="connsiteX98" fmla="*/ 0 w 494979"/>
                <a:gd name="connsiteY98" fmla="*/ 636401 h 674476"/>
                <a:gd name="connsiteX99" fmla="*/ 2720 w 494979"/>
                <a:gd name="connsiteY99" fmla="*/ 628241 h 674476"/>
                <a:gd name="connsiteX100" fmla="*/ 24477 w 494979"/>
                <a:gd name="connsiteY100" fmla="*/ 620082 h 674476"/>
                <a:gd name="connsiteX101" fmla="*/ 62552 w 494979"/>
                <a:gd name="connsiteY101" fmla="*/ 617363 h 674476"/>
                <a:gd name="connsiteX102" fmla="*/ 62552 w 494979"/>
                <a:gd name="connsiteY102" fmla="*/ 614643 h 674476"/>
                <a:gd name="connsiteX103" fmla="*/ 65272 w 494979"/>
                <a:gd name="connsiteY103" fmla="*/ 587447 h 674476"/>
                <a:gd name="connsiteX104" fmla="*/ 76151 w 494979"/>
                <a:gd name="connsiteY104" fmla="*/ 522175 h 674476"/>
                <a:gd name="connsiteX105" fmla="*/ 87029 w 494979"/>
                <a:gd name="connsiteY105" fmla="*/ 470501 h 674476"/>
                <a:gd name="connsiteX106" fmla="*/ 92469 w 494979"/>
                <a:gd name="connsiteY106" fmla="*/ 446025 h 674476"/>
                <a:gd name="connsiteX107" fmla="*/ 65272 w 494979"/>
                <a:gd name="connsiteY107" fmla="*/ 432426 h 674476"/>
                <a:gd name="connsiteX108" fmla="*/ 54393 w 494979"/>
                <a:gd name="connsiteY108" fmla="*/ 421548 h 674476"/>
                <a:gd name="connsiteX109" fmla="*/ 73431 w 494979"/>
                <a:gd name="connsiteY109" fmla="*/ 407949 h 674476"/>
                <a:gd name="connsiteX110" fmla="*/ 100628 w 494979"/>
                <a:gd name="connsiteY110" fmla="*/ 399790 h 674476"/>
                <a:gd name="connsiteX111" fmla="*/ 108787 w 494979"/>
                <a:gd name="connsiteY111" fmla="*/ 369874 h 674476"/>
                <a:gd name="connsiteX112" fmla="*/ 125105 w 494979"/>
                <a:gd name="connsiteY112" fmla="*/ 307322 h 674476"/>
                <a:gd name="connsiteX113" fmla="*/ 141423 w 494979"/>
                <a:gd name="connsiteY113" fmla="*/ 242051 h 674476"/>
                <a:gd name="connsiteX114" fmla="*/ 155021 w 494979"/>
                <a:gd name="connsiteY114" fmla="*/ 179498 h 674476"/>
                <a:gd name="connsiteX115" fmla="*/ 168620 w 494979"/>
                <a:gd name="connsiteY115" fmla="*/ 119665 h 674476"/>
                <a:gd name="connsiteX116" fmla="*/ 193097 w 494979"/>
                <a:gd name="connsiteY116" fmla="*/ 57113 h 674476"/>
                <a:gd name="connsiteX117" fmla="*/ 201256 w 494979"/>
                <a:gd name="connsiteY117" fmla="*/ 38075 h 674476"/>
                <a:gd name="connsiteX118" fmla="*/ 217574 w 494979"/>
                <a:gd name="connsiteY118" fmla="*/ 13598 h 674476"/>
                <a:gd name="connsiteX119" fmla="*/ 274687 w 494979"/>
                <a:gd name="connsiteY119" fmla="*/ 0 h 6744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</a:cxnLst>
              <a:rect l="l" t="t" r="r" b="b"/>
              <a:pathLst>
                <a:path w="494979" h="674476">
                  <a:moveTo>
                    <a:pt x="228453" y="97907"/>
                  </a:moveTo>
                  <a:cubicBezTo>
                    <a:pt x="220294" y="97907"/>
                    <a:pt x="212135" y="114225"/>
                    <a:pt x="212135" y="119665"/>
                  </a:cubicBezTo>
                  <a:cubicBezTo>
                    <a:pt x="209415" y="130543"/>
                    <a:pt x="206696" y="144141"/>
                    <a:pt x="203976" y="152300"/>
                  </a:cubicBezTo>
                  <a:cubicBezTo>
                    <a:pt x="201256" y="157740"/>
                    <a:pt x="201256" y="163179"/>
                    <a:pt x="201256" y="168618"/>
                  </a:cubicBezTo>
                  <a:cubicBezTo>
                    <a:pt x="201256" y="174058"/>
                    <a:pt x="198537" y="179497"/>
                    <a:pt x="198537" y="184936"/>
                  </a:cubicBezTo>
                  <a:cubicBezTo>
                    <a:pt x="195817" y="195815"/>
                    <a:pt x="193097" y="209413"/>
                    <a:pt x="190378" y="220292"/>
                  </a:cubicBezTo>
                  <a:cubicBezTo>
                    <a:pt x="187658" y="244769"/>
                    <a:pt x="179499" y="269246"/>
                    <a:pt x="171340" y="291003"/>
                  </a:cubicBezTo>
                  <a:cubicBezTo>
                    <a:pt x="168620" y="301881"/>
                    <a:pt x="165900" y="312760"/>
                    <a:pt x="163180" y="323639"/>
                  </a:cubicBezTo>
                  <a:cubicBezTo>
                    <a:pt x="160461" y="337237"/>
                    <a:pt x="157741" y="348115"/>
                    <a:pt x="152302" y="361714"/>
                  </a:cubicBezTo>
                  <a:cubicBezTo>
                    <a:pt x="149582" y="367153"/>
                    <a:pt x="146862" y="383471"/>
                    <a:pt x="146862" y="388910"/>
                  </a:cubicBezTo>
                  <a:cubicBezTo>
                    <a:pt x="146862" y="391630"/>
                    <a:pt x="149582" y="391630"/>
                    <a:pt x="152302" y="391630"/>
                  </a:cubicBezTo>
                  <a:cubicBezTo>
                    <a:pt x="157741" y="391630"/>
                    <a:pt x="171340" y="391630"/>
                    <a:pt x="174060" y="391630"/>
                  </a:cubicBezTo>
                  <a:cubicBezTo>
                    <a:pt x="182219" y="391630"/>
                    <a:pt x="190378" y="391630"/>
                    <a:pt x="195817" y="388910"/>
                  </a:cubicBezTo>
                  <a:cubicBezTo>
                    <a:pt x="201256" y="388910"/>
                    <a:pt x="206696" y="388910"/>
                    <a:pt x="214855" y="388910"/>
                  </a:cubicBezTo>
                  <a:cubicBezTo>
                    <a:pt x="220294" y="388910"/>
                    <a:pt x="228453" y="388910"/>
                    <a:pt x="239332" y="388910"/>
                  </a:cubicBezTo>
                  <a:cubicBezTo>
                    <a:pt x="244771" y="388910"/>
                    <a:pt x="250210" y="388910"/>
                    <a:pt x="252930" y="386191"/>
                  </a:cubicBezTo>
                  <a:cubicBezTo>
                    <a:pt x="258369" y="391630"/>
                    <a:pt x="261089" y="388910"/>
                    <a:pt x="261089" y="386191"/>
                  </a:cubicBezTo>
                  <a:cubicBezTo>
                    <a:pt x="261089" y="380751"/>
                    <a:pt x="258369" y="372592"/>
                    <a:pt x="258369" y="367153"/>
                  </a:cubicBezTo>
                  <a:cubicBezTo>
                    <a:pt x="255650" y="353555"/>
                    <a:pt x="252930" y="342676"/>
                    <a:pt x="252930" y="331797"/>
                  </a:cubicBezTo>
                  <a:cubicBezTo>
                    <a:pt x="252930" y="301881"/>
                    <a:pt x="252930" y="274685"/>
                    <a:pt x="250210" y="244769"/>
                  </a:cubicBezTo>
                  <a:cubicBezTo>
                    <a:pt x="250210" y="231170"/>
                    <a:pt x="247491" y="217572"/>
                    <a:pt x="244771" y="203974"/>
                  </a:cubicBezTo>
                  <a:cubicBezTo>
                    <a:pt x="242051" y="187656"/>
                    <a:pt x="239332" y="174058"/>
                    <a:pt x="239332" y="157740"/>
                  </a:cubicBezTo>
                  <a:cubicBezTo>
                    <a:pt x="239332" y="152300"/>
                    <a:pt x="239332" y="133263"/>
                    <a:pt x="236612" y="119665"/>
                  </a:cubicBezTo>
                  <a:cubicBezTo>
                    <a:pt x="236612" y="106066"/>
                    <a:pt x="233892" y="97907"/>
                    <a:pt x="228453" y="97907"/>
                  </a:cubicBezTo>
                  <a:close/>
                  <a:moveTo>
                    <a:pt x="274687" y="0"/>
                  </a:moveTo>
                  <a:cubicBezTo>
                    <a:pt x="288285" y="0"/>
                    <a:pt x="293724" y="2720"/>
                    <a:pt x="304603" y="5439"/>
                  </a:cubicBezTo>
                  <a:cubicBezTo>
                    <a:pt x="315482" y="10879"/>
                    <a:pt x="315482" y="16318"/>
                    <a:pt x="320921" y="24477"/>
                  </a:cubicBezTo>
                  <a:cubicBezTo>
                    <a:pt x="326360" y="29916"/>
                    <a:pt x="331800" y="35356"/>
                    <a:pt x="334519" y="43515"/>
                  </a:cubicBezTo>
                  <a:cubicBezTo>
                    <a:pt x="337239" y="51674"/>
                    <a:pt x="337239" y="57113"/>
                    <a:pt x="339959" y="65272"/>
                  </a:cubicBezTo>
                  <a:cubicBezTo>
                    <a:pt x="345398" y="78870"/>
                    <a:pt x="342678" y="97908"/>
                    <a:pt x="348118" y="114226"/>
                  </a:cubicBezTo>
                  <a:cubicBezTo>
                    <a:pt x="350837" y="130544"/>
                    <a:pt x="358996" y="146863"/>
                    <a:pt x="361716" y="163180"/>
                  </a:cubicBezTo>
                  <a:cubicBezTo>
                    <a:pt x="364435" y="182218"/>
                    <a:pt x="364435" y="201256"/>
                    <a:pt x="369875" y="220293"/>
                  </a:cubicBezTo>
                  <a:cubicBezTo>
                    <a:pt x="375314" y="239331"/>
                    <a:pt x="378034" y="255649"/>
                    <a:pt x="378034" y="274686"/>
                  </a:cubicBezTo>
                  <a:cubicBezTo>
                    <a:pt x="378034" y="282845"/>
                    <a:pt x="380753" y="293724"/>
                    <a:pt x="383473" y="301883"/>
                  </a:cubicBezTo>
                  <a:cubicBezTo>
                    <a:pt x="386193" y="312762"/>
                    <a:pt x="388912" y="326360"/>
                    <a:pt x="391632" y="337238"/>
                  </a:cubicBezTo>
                  <a:cubicBezTo>
                    <a:pt x="391632" y="342678"/>
                    <a:pt x="394352" y="353556"/>
                    <a:pt x="397071" y="364435"/>
                  </a:cubicBezTo>
                  <a:cubicBezTo>
                    <a:pt x="399791" y="372594"/>
                    <a:pt x="402511" y="380753"/>
                    <a:pt x="405230" y="383473"/>
                  </a:cubicBezTo>
                  <a:cubicBezTo>
                    <a:pt x="407950" y="386192"/>
                    <a:pt x="413389" y="386192"/>
                    <a:pt x="416109" y="386192"/>
                  </a:cubicBezTo>
                  <a:cubicBezTo>
                    <a:pt x="418829" y="386192"/>
                    <a:pt x="424268" y="386192"/>
                    <a:pt x="426988" y="386192"/>
                  </a:cubicBezTo>
                  <a:cubicBezTo>
                    <a:pt x="437866" y="386192"/>
                    <a:pt x="448745" y="388912"/>
                    <a:pt x="454184" y="397071"/>
                  </a:cubicBezTo>
                  <a:cubicBezTo>
                    <a:pt x="456904" y="399790"/>
                    <a:pt x="456904" y="402510"/>
                    <a:pt x="456904" y="405230"/>
                  </a:cubicBezTo>
                  <a:cubicBezTo>
                    <a:pt x="456904" y="407949"/>
                    <a:pt x="454184" y="410669"/>
                    <a:pt x="451465" y="416108"/>
                  </a:cubicBezTo>
                  <a:cubicBezTo>
                    <a:pt x="446025" y="421548"/>
                    <a:pt x="440586" y="426987"/>
                    <a:pt x="432427" y="429707"/>
                  </a:cubicBezTo>
                  <a:cubicBezTo>
                    <a:pt x="429707" y="429707"/>
                    <a:pt x="426988" y="432426"/>
                    <a:pt x="421548" y="432426"/>
                  </a:cubicBezTo>
                  <a:cubicBezTo>
                    <a:pt x="418829" y="432426"/>
                    <a:pt x="416109" y="432426"/>
                    <a:pt x="413389" y="435146"/>
                  </a:cubicBezTo>
                  <a:cubicBezTo>
                    <a:pt x="413389" y="435146"/>
                    <a:pt x="413389" y="437866"/>
                    <a:pt x="413389" y="440585"/>
                  </a:cubicBezTo>
                  <a:cubicBezTo>
                    <a:pt x="413389" y="443305"/>
                    <a:pt x="413389" y="448744"/>
                    <a:pt x="416109" y="451464"/>
                  </a:cubicBezTo>
                  <a:cubicBezTo>
                    <a:pt x="416109" y="456903"/>
                    <a:pt x="418829" y="462343"/>
                    <a:pt x="418829" y="465062"/>
                  </a:cubicBezTo>
                  <a:lnTo>
                    <a:pt x="418829" y="475941"/>
                  </a:lnTo>
                  <a:cubicBezTo>
                    <a:pt x="418829" y="481380"/>
                    <a:pt x="418829" y="484100"/>
                    <a:pt x="418829" y="486820"/>
                  </a:cubicBezTo>
                  <a:cubicBezTo>
                    <a:pt x="421548" y="497698"/>
                    <a:pt x="424268" y="505857"/>
                    <a:pt x="426988" y="516736"/>
                  </a:cubicBezTo>
                  <a:cubicBezTo>
                    <a:pt x="426988" y="524895"/>
                    <a:pt x="429707" y="535773"/>
                    <a:pt x="432427" y="543932"/>
                  </a:cubicBezTo>
                  <a:cubicBezTo>
                    <a:pt x="435147" y="554811"/>
                    <a:pt x="437866" y="562970"/>
                    <a:pt x="437866" y="573848"/>
                  </a:cubicBezTo>
                  <a:cubicBezTo>
                    <a:pt x="437866" y="587447"/>
                    <a:pt x="440586" y="595606"/>
                    <a:pt x="443306" y="606484"/>
                  </a:cubicBezTo>
                  <a:cubicBezTo>
                    <a:pt x="443306" y="609204"/>
                    <a:pt x="446025" y="614643"/>
                    <a:pt x="446025" y="617363"/>
                  </a:cubicBezTo>
                  <a:cubicBezTo>
                    <a:pt x="454184" y="617363"/>
                    <a:pt x="462343" y="617363"/>
                    <a:pt x="470502" y="617363"/>
                  </a:cubicBezTo>
                  <a:cubicBezTo>
                    <a:pt x="478661" y="625522"/>
                    <a:pt x="492259" y="630961"/>
                    <a:pt x="494979" y="641840"/>
                  </a:cubicBezTo>
                  <a:cubicBezTo>
                    <a:pt x="494979" y="647279"/>
                    <a:pt x="489540" y="649999"/>
                    <a:pt x="486820" y="655438"/>
                  </a:cubicBezTo>
                  <a:cubicBezTo>
                    <a:pt x="484100" y="660877"/>
                    <a:pt x="475942" y="663597"/>
                    <a:pt x="470502" y="663597"/>
                  </a:cubicBezTo>
                  <a:cubicBezTo>
                    <a:pt x="459623" y="666317"/>
                    <a:pt x="454184" y="666317"/>
                    <a:pt x="446025" y="666317"/>
                  </a:cubicBezTo>
                  <a:cubicBezTo>
                    <a:pt x="440586" y="666317"/>
                    <a:pt x="432427" y="666317"/>
                    <a:pt x="424268" y="666317"/>
                  </a:cubicBezTo>
                  <a:cubicBezTo>
                    <a:pt x="421548" y="666317"/>
                    <a:pt x="418829" y="666317"/>
                    <a:pt x="416109" y="666317"/>
                  </a:cubicBezTo>
                  <a:cubicBezTo>
                    <a:pt x="410670" y="669036"/>
                    <a:pt x="407950" y="669036"/>
                    <a:pt x="402511" y="671756"/>
                  </a:cubicBezTo>
                  <a:cubicBezTo>
                    <a:pt x="397071" y="671756"/>
                    <a:pt x="391632" y="674476"/>
                    <a:pt x="386193" y="674476"/>
                  </a:cubicBezTo>
                  <a:cubicBezTo>
                    <a:pt x="375314" y="674476"/>
                    <a:pt x="361716" y="671756"/>
                    <a:pt x="350837" y="669036"/>
                  </a:cubicBezTo>
                  <a:cubicBezTo>
                    <a:pt x="342678" y="669036"/>
                    <a:pt x="334519" y="669036"/>
                    <a:pt x="329080" y="669036"/>
                  </a:cubicBezTo>
                  <a:cubicBezTo>
                    <a:pt x="307323" y="669036"/>
                    <a:pt x="288285" y="669036"/>
                    <a:pt x="280126" y="669036"/>
                  </a:cubicBezTo>
                  <a:cubicBezTo>
                    <a:pt x="271967" y="669036"/>
                    <a:pt x="261088" y="669036"/>
                    <a:pt x="255649" y="663597"/>
                  </a:cubicBezTo>
                  <a:cubicBezTo>
                    <a:pt x="250210" y="660877"/>
                    <a:pt x="239331" y="655438"/>
                    <a:pt x="239331" y="647279"/>
                  </a:cubicBezTo>
                  <a:cubicBezTo>
                    <a:pt x="239331" y="636401"/>
                    <a:pt x="255649" y="633681"/>
                    <a:pt x="263808" y="630961"/>
                  </a:cubicBezTo>
                  <a:cubicBezTo>
                    <a:pt x="269247" y="630961"/>
                    <a:pt x="277406" y="630961"/>
                    <a:pt x="291005" y="628241"/>
                  </a:cubicBezTo>
                  <a:cubicBezTo>
                    <a:pt x="291005" y="620082"/>
                    <a:pt x="291005" y="614643"/>
                    <a:pt x="288285" y="609204"/>
                  </a:cubicBezTo>
                  <a:cubicBezTo>
                    <a:pt x="288285" y="601045"/>
                    <a:pt x="285565" y="590166"/>
                    <a:pt x="285565" y="582007"/>
                  </a:cubicBezTo>
                  <a:cubicBezTo>
                    <a:pt x="285565" y="576568"/>
                    <a:pt x="282846" y="573848"/>
                    <a:pt x="282846" y="568409"/>
                  </a:cubicBezTo>
                  <a:cubicBezTo>
                    <a:pt x="282846" y="562970"/>
                    <a:pt x="285565" y="557531"/>
                    <a:pt x="285565" y="554811"/>
                  </a:cubicBezTo>
                  <a:cubicBezTo>
                    <a:pt x="285565" y="549371"/>
                    <a:pt x="282846" y="546652"/>
                    <a:pt x="280126" y="538493"/>
                  </a:cubicBezTo>
                  <a:cubicBezTo>
                    <a:pt x="280126" y="527614"/>
                    <a:pt x="274687" y="516736"/>
                    <a:pt x="274687" y="505857"/>
                  </a:cubicBezTo>
                  <a:cubicBezTo>
                    <a:pt x="274687" y="494978"/>
                    <a:pt x="274687" y="486820"/>
                    <a:pt x="271967" y="478660"/>
                  </a:cubicBezTo>
                  <a:cubicBezTo>
                    <a:pt x="269247" y="467782"/>
                    <a:pt x="269247" y="456903"/>
                    <a:pt x="269247" y="446025"/>
                  </a:cubicBezTo>
                  <a:cubicBezTo>
                    <a:pt x="269247" y="440585"/>
                    <a:pt x="266528" y="437866"/>
                    <a:pt x="263808" y="437866"/>
                  </a:cubicBezTo>
                  <a:cubicBezTo>
                    <a:pt x="261088" y="437866"/>
                    <a:pt x="258369" y="437866"/>
                    <a:pt x="252929" y="437866"/>
                  </a:cubicBezTo>
                  <a:cubicBezTo>
                    <a:pt x="242051" y="437866"/>
                    <a:pt x="231172" y="437866"/>
                    <a:pt x="223013" y="440585"/>
                  </a:cubicBezTo>
                  <a:cubicBezTo>
                    <a:pt x="212135" y="440585"/>
                    <a:pt x="203976" y="443305"/>
                    <a:pt x="193097" y="443305"/>
                  </a:cubicBezTo>
                  <a:cubicBezTo>
                    <a:pt x="184938" y="443305"/>
                    <a:pt x="176779" y="443305"/>
                    <a:pt x="168620" y="443305"/>
                  </a:cubicBezTo>
                  <a:cubicBezTo>
                    <a:pt x="165900" y="443305"/>
                    <a:pt x="155021" y="440585"/>
                    <a:pt x="146862" y="440585"/>
                  </a:cubicBezTo>
                  <a:cubicBezTo>
                    <a:pt x="138703" y="440585"/>
                    <a:pt x="138703" y="448744"/>
                    <a:pt x="138703" y="454184"/>
                  </a:cubicBezTo>
                  <a:cubicBezTo>
                    <a:pt x="138703" y="465062"/>
                    <a:pt x="135983" y="475941"/>
                    <a:pt x="133263" y="486820"/>
                  </a:cubicBezTo>
                  <a:cubicBezTo>
                    <a:pt x="130544" y="505857"/>
                    <a:pt x="125105" y="522175"/>
                    <a:pt x="122385" y="541213"/>
                  </a:cubicBezTo>
                  <a:cubicBezTo>
                    <a:pt x="119665" y="560250"/>
                    <a:pt x="111506" y="595606"/>
                    <a:pt x="106067" y="614643"/>
                  </a:cubicBezTo>
                  <a:cubicBezTo>
                    <a:pt x="114226" y="614643"/>
                    <a:pt x="125105" y="614643"/>
                    <a:pt x="135983" y="614643"/>
                  </a:cubicBezTo>
                  <a:cubicBezTo>
                    <a:pt x="149581" y="614643"/>
                    <a:pt x="171340" y="614643"/>
                    <a:pt x="171340" y="630961"/>
                  </a:cubicBezTo>
                  <a:cubicBezTo>
                    <a:pt x="171340" y="639120"/>
                    <a:pt x="168620" y="639120"/>
                    <a:pt x="165900" y="647279"/>
                  </a:cubicBezTo>
                  <a:cubicBezTo>
                    <a:pt x="163181" y="652718"/>
                    <a:pt x="155021" y="655438"/>
                    <a:pt x="149581" y="655438"/>
                  </a:cubicBezTo>
                  <a:cubicBezTo>
                    <a:pt x="141423" y="658158"/>
                    <a:pt x="135983" y="658158"/>
                    <a:pt x="127824" y="658158"/>
                  </a:cubicBezTo>
                  <a:cubicBezTo>
                    <a:pt x="122385" y="658158"/>
                    <a:pt x="116946" y="658158"/>
                    <a:pt x="106067" y="658158"/>
                  </a:cubicBezTo>
                  <a:cubicBezTo>
                    <a:pt x="92469" y="658158"/>
                    <a:pt x="78870" y="658158"/>
                    <a:pt x="62552" y="658158"/>
                  </a:cubicBezTo>
                  <a:cubicBezTo>
                    <a:pt x="54393" y="658158"/>
                    <a:pt x="46234" y="658158"/>
                    <a:pt x="40795" y="658158"/>
                  </a:cubicBezTo>
                  <a:cubicBezTo>
                    <a:pt x="32636" y="658158"/>
                    <a:pt x="21758" y="658158"/>
                    <a:pt x="16318" y="652718"/>
                  </a:cubicBezTo>
                  <a:cubicBezTo>
                    <a:pt x="8159" y="649999"/>
                    <a:pt x="0" y="641840"/>
                    <a:pt x="0" y="636401"/>
                  </a:cubicBezTo>
                  <a:cubicBezTo>
                    <a:pt x="0" y="633681"/>
                    <a:pt x="0" y="630961"/>
                    <a:pt x="2720" y="628241"/>
                  </a:cubicBezTo>
                  <a:cubicBezTo>
                    <a:pt x="8159" y="625522"/>
                    <a:pt x="16318" y="622802"/>
                    <a:pt x="24477" y="620082"/>
                  </a:cubicBezTo>
                  <a:cubicBezTo>
                    <a:pt x="38075" y="617363"/>
                    <a:pt x="48954" y="617363"/>
                    <a:pt x="62552" y="617363"/>
                  </a:cubicBezTo>
                  <a:cubicBezTo>
                    <a:pt x="62552" y="617363"/>
                    <a:pt x="62552" y="614643"/>
                    <a:pt x="62552" y="614643"/>
                  </a:cubicBezTo>
                  <a:cubicBezTo>
                    <a:pt x="62552" y="603765"/>
                    <a:pt x="65272" y="590166"/>
                    <a:pt x="65272" y="587447"/>
                  </a:cubicBezTo>
                  <a:cubicBezTo>
                    <a:pt x="67992" y="565689"/>
                    <a:pt x="73431" y="543932"/>
                    <a:pt x="76151" y="522175"/>
                  </a:cubicBezTo>
                  <a:cubicBezTo>
                    <a:pt x="78870" y="505857"/>
                    <a:pt x="81590" y="486820"/>
                    <a:pt x="87029" y="470501"/>
                  </a:cubicBezTo>
                  <a:cubicBezTo>
                    <a:pt x="87029" y="465062"/>
                    <a:pt x="92469" y="451464"/>
                    <a:pt x="92469" y="446025"/>
                  </a:cubicBezTo>
                  <a:cubicBezTo>
                    <a:pt x="92469" y="437866"/>
                    <a:pt x="73431" y="437866"/>
                    <a:pt x="65272" y="432426"/>
                  </a:cubicBezTo>
                  <a:cubicBezTo>
                    <a:pt x="59833" y="429707"/>
                    <a:pt x="54393" y="426987"/>
                    <a:pt x="54393" y="421548"/>
                  </a:cubicBezTo>
                  <a:cubicBezTo>
                    <a:pt x="54393" y="413389"/>
                    <a:pt x="62552" y="410669"/>
                    <a:pt x="73431" y="407949"/>
                  </a:cubicBezTo>
                  <a:cubicBezTo>
                    <a:pt x="78870" y="407949"/>
                    <a:pt x="92469" y="405230"/>
                    <a:pt x="100628" y="399790"/>
                  </a:cubicBezTo>
                  <a:cubicBezTo>
                    <a:pt x="106067" y="394351"/>
                    <a:pt x="106067" y="378033"/>
                    <a:pt x="108787" y="369874"/>
                  </a:cubicBezTo>
                  <a:cubicBezTo>
                    <a:pt x="114226" y="348117"/>
                    <a:pt x="119665" y="326360"/>
                    <a:pt x="125105" y="307322"/>
                  </a:cubicBezTo>
                  <a:cubicBezTo>
                    <a:pt x="130544" y="285565"/>
                    <a:pt x="135983" y="263808"/>
                    <a:pt x="141423" y="242051"/>
                  </a:cubicBezTo>
                  <a:cubicBezTo>
                    <a:pt x="146862" y="220293"/>
                    <a:pt x="152301" y="198536"/>
                    <a:pt x="155021" y="179498"/>
                  </a:cubicBezTo>
                  <a:cubicBezTo>
                    <a:pt x="157740" y="160461"/>
                    <a:pt x="163181" y="138703"/>
                    <a:pt x="168620" y="119665"/>
                  </a:cubicBezTo>
                  <a:cubicBezTo>
                    <a:pt x="176779" y="100627"/>
                    <a:pt x="182218" y="76150"/>
                    <a:pt x="193097" y="57113"/>
                  </a:cubicBezTo>
                  <a:lnTo>
                    <a:pt x="201256" y="38075"/>
                  </a:lnTo>
                  <a:cubicBezTo>
                    <a:pt x="206695" y="29916"/>
                    <a:pt x="209415" y="19038"/>
                    <a:pt x="217574" y="13598"/>
                  </a:cubicBezTo>
                  <a:cubicBezTo>
                    <a:pt x="231172" y="2720"/>
                    <a:pt x="255649" y="0"/>
                    <a:pt x="274687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7" name="Freeform: Shape 36">
              <a:extLst>
                <a:ext uri="{FF2B5EF4-FFF2-40B4-BE49-F238E27FC236}">
                  <a16:creationId xmlns:a16="http://schemas.microsoft.com/office/drawing/2014/main" id="{0195EC85-116E-4D1D-AAC5-E1EE778E9F14}"/>
                </a:ext>
              </a:extLst>
            </p:cNvPr>
            <p:cNvSpPr/>
            <p:nvPr/>
          </p:nvSpPr>
          <p:spPr>
            <a:xfrm>
              <a:off x="3443268" y="4186718"/>
              <a:ext cx="435145" cy="761503"/>
            </a:xfrm>
            <a:custGeom>
              <a:avLst/>
              <a:gdLst>
                <a:gd name="connsiteX0" fmla="*/ 400855 w 435145"/>
                <a:gd name="connsiteY0" fmla="*/ 678260 h 761503"/>
                <a:gd name="connsiteX1" fmla="*/ 384537 w 435145"/>
                <a:gd name="connsiteY1" fmla="*/ 719054 h 761503"/>
                <a:gd name="connsiteX2" fmla="*/ 368219 w 435145"/>
                <a:gd name="connsiteY2" fmla="*/ 713615 h 761503"/>
                <a:gd name="connsiteX3" fmla="*/ 360060 w 435145"/>
                <a:gd name="connsiteY3" fmla="*/ 697297 h 761503"/>
                <a:gd name="connsiteX4" fmla="*/ 360060 w 435145"/>
                <a:gd name="connsiteY4" fmla="*/ 651063 h 761503"/>
                <a:gd name="connsiteX5" fmla="*/ 332864 w 435145"/>
                <a:gd name="connsiteY5" fmla="*/ 686418 h 761503"/>
                <a:gd name="connsiteX6" fmla="*/ 251274 w 435145"/>
                <a:gd name="connsiteY6" fmla="*/ 721774 h 761503"/>
                <a:gd name="connsiteX7" fmla="*/ 229517 w 435145"/>
                <a:gd name="connsiteY7" fmla="*/ 719054 h 761503"/>
                <a:gd name="connsiteX8" fmla="*/ 158806 w 435145"/>
                <a:gd name="connsiteY8" fmla="*/ 694578 h 761503"/>
                <a:gd name="connsiteX9" fmla="*/ 112571 w 435145"/>
                <a:gd name="connsiteY9" fmla="*/ 659222 h 761503"/>
                <a:gd name="connsiteX10" fmla="*/ 79936 w 435145"/>
                <a:gd name="connsiteY10" fmla="*/ 607548 h 761503"/>
                <a:gd name="connsiteX11" fmla="*/ 63618 w 435145"/>
                <a:gd name="connsiteY11" fmla="*/ 542277 h 761503"/>
                <a:gd name="connsiteX12" fmla="*/ 58178 w 435145"/>
                <a:gd name="connsiteY12" fmla="*/ 471566 h 761503"/>
                <a:gd name="connsiteX13" fmla="*/ 60898 w 435145"/>
                <a:gd name="connsiteY13" fmla="*/ 400855 h 761503"/>
                <a:gd name="connsiteX14" fmla="*/ 66337 w 435145"/>
                <a:gd name="connsiteY14" fmla="*/ 335583 h 761503"/>
                <a:gd name="connsiteX15" fmla="*/ 85375 w 435145"/>
                <a:gd name="connsiteY15" fmla="*/ 267592 h 761503"/>
                <a:gd name="connsiteX16" fmla="*/ 109852 w 435145"/>
                <a:gd name="connsiteY16" fmla="*/ 199600 h 761503"/>
                <a:gd name="connsiteX17" fmla="*/ 145207 w 435145"/>
                <a:gd name="connsiteY17" fmla="*/ 145207 h 761503"/>
                <a:gd name="connsiteX18" fmla="*/ 188722 w 435145"/>
                <a:gd name="connsiteY18" fmla="*/ 96253 h 761503"/>
                <a:gd name="connsiteX19" fmla="*/ 243115 w 435145"/>
                <a:gd name="connsiteY19" fmla="*/ 71776 h 761503"/>
                <a:gd name="connsiteX20" fmla="*/ 286630 w 435145"/>
                <a:gd name="connsiteY20" fmla="*/ 63617 h 761503"/>
                <a:gd name="connsiteX21" fmla="*/ 305667 w 435145"/>
                <a:gd name="connsiteY21" fmla="*/ 66337 h 761503"/>
                <a:gd name="connsiteX22" fmla="*/ 324705 w 435145"/>
                <a:gd name="connsiteY22" fmla="*/ 79936 h 761503"/>
                <a:gd name="connsiteX23" fmla="*/ 341023 w 435145"/>
                <a:gd name="connsiteY23" fmla="*/ 101693 h 761503"/>
                <a:gd name="connsiteX24" fmla="*/ 354621 w 435145"/>
                <a:gd name="connsiteY24" fmla="*/ 123450 h 761503"/>
                <a:gd name="connsiteX25" fmla="*/ 354621 w 435145"/>
                <a:gd name="connsiteY25" fmla="*/ 98973 h 761503"/>
                <a:gd name="connsiteX26" fmla="*/ 360060 w 435145"/>
                <a:gd name="connsiteY26" fmla="*/ 74496 h 761503"/>
                <a:gd name="connsiteX27" fmla="*/ 365500 w 435145"/>
                <a:gd name="connsiteY27" fmla="*/ 63617 h 761503"/>
                <a:gd name="connsiteX28" fmla="*/ 373659 w 435145"/>
                <a:gd name="connsiteY28" fmla="*/ 58178 h 761503"/>
                <a:gd name="connsiteX29" fmla="*/ 381818 w 435145"/>
                <a:gd name="connsiteY29" fmla="*/ 63617 h 761503"/>
                <a:gd name="connsiteX30" fmla="*/ 389977 w 435145"/>
                <a:gd name="connsiteY30" fmla="*/ 82655 h 761503"/>
                <a:gd name="connsiteX31" fmla="*/ 392696 w 435145"/>
                <a:gd name="connsiteY31" fmla="*/ 126170 h 761503"/>
                <a:gd name="connsiteX32" fmla="*/ 395416 w 435145"/>
                <a:gd name="connsiteY32" fmla="*/ 186002 h 761503"/>
                <a:gd name="connsiteX33" fmla="*/ 398136 w 435145"/>
                <a:gd name="connsiteY33" fmla="*/ 237675 h 761503"/>
                <a:gd name="connsiteX34" fmla="*/ 398136 w 435145"/>
                <a:gd name="connsiteY34" fmla="*/ 243115 h 761503"/>
                <a:gd name="connsiteX35" fmla="*/ 395416 w 435145"/>
                <a:gd name="connsiteY35" fmla="*/ 256713 h 761503"/>
                <a:gd name="connsiteX36" fmla="*/ 379098 w 435145"/>
                <a:gd name="connsiteY36" fmla="*/ 278470 h 761503"/>
                <a:gd name="connsiteX37" fmla="*/ 362780 w 435145"/>
                <a:gd name="connsiteY37" fmla="*/ 273031 h 761503"/>
                <a:gd name="connsiteX38" fmla="*/ 354621 w 435145"/>
                <a:gd name="connsiteY38" fmla="*/ 256713 h 761503"/>
                <a:gd name="connsiteX39" fmla="*/ 354621 w 435145"/>
                <a:gd name="connsiteY39" fmla="*/ 213198 h 761503"/>
                <a:gd name="connsiteX40" fmla="*/ 354621 w 435145"/>
                <a:gd name="connsiteY40" fmla="*/ 205040 h 761503"/>
                <a:gd name="connsiteX41" fmla="*/ 338303 w 435145"/>
                <a:gd name="connsiteY41" fmla="*/ 147927 h 761503"/>
                <a:gd name="connsiteX42" fmla="*/ 292069 w 435145"/>
                <a:gd name="connsiteY42" fmla="*/ 107132 h 761503"/>
                <a:gd name="connsiteX43" fmla="*/ 262153 w 435145"/>
                <a:gd name="connsiteY43" fmla="*/ 120730 h 761503"/>
                <a:gd name="connsiteX44" fmla="*/ 251274 w 435145"/>
                <a:gd name="connsiteY44" fmla="*/ 131609 h 761503"/>
                <a:gd name="connsiteX45" fmla="*/ 240395 w 435145"/>
                <a:gd name="connsiteY45" fmla="*/ 139768 h 761503"/>
                <a:gd name="connsiteX46" fmla="*/ 237676 w 435145"/>
                <a:gd name="connsiteY46" fmla="*/ 164245 h 761503"/>
                <a:gd name="connsiteX47" fmla="*/ 226797 w 435145"/>
                <a:gd name="connsiteY47" fmla="*/ 196881 h 761503"/>
                <a:gd name="connsiteX48" fmla="*/ 213199 w 435145"/>
                <a:gd name="connsiteY48" fmla="*/ 259433 h 761503"/>
                <a:gd name="connsiteX49" fmla="*/ 207759 w 435145"/>
                <a:gd name="connsiteY49" fmla="*/ 324704 h 761503"/>
                <a:gd name="connsiteX50" fmla="*/ 207759 w 435145"/>
                <a:gd name="connsiteY50" fmla="*/ 335583 h 761503"/>
                <a:gd name="connsiteX51" fmla="*/ 205040 w 435145"/>
                <a:gd name="connsiteY51" fmla="*/ 349181 h 761503"/>
                <a:gd name="connsiteX52" fmla="*/ 207759 w 435145"/>
                <a:gd name="connsiteY52" fmla="*/ 368219 h 761503"/>
                <a:gd name="connsiteX53" fmla="*/ 207759 w 435145"/>
                <a:gd name="connsiteY53" fmla="*/ 376378 h 761503"/>
                <a:gd name="connsiteX54" fmla="*/ 205040 w 435145"/>
                <a:gd name="connsiteY54" fmla="*/ 387256 h 761503"/>
                <a:gd name="connsiteX55" fmla="*/ 205040 w 435145"/>
                <a:gd name="connsiteY55" fmla="*/ 395415 h 761503"/>
                <a:gd name="connsiteX56" fmla="*/ 205040 w 435145"/>
                <a:gd name="connsiteY56" fmla="*/ 406294 h 761503"/>
                <a:gd name="connsiteX57" fmla="*/ 205040 w 435145"/>
                <a:gd name="connsiteY57" fmla="*/ 425332 h 761503"/>
                <a:gd name="connsiteX58" fmla="*/ 213199 w 435145"/>
                <a:gd name="connsiteY58" fmla="*/ 493323 h 761503"/>
                <a:gd name="connsiteX59" fmla="*/ 221358 w 435145"/>
                <a:gd name="connsiteY59" fmla="*/ 561314 h 761503"/>
                <a:gd name="connsiteX60" fmla="*/ 226797 w 435145"/>
                <a:gd name="connsiteY60" fmla="*/ 591231 h 761503"/>
                <a:gd name="connsiteX61" fmla="*/ 240395 w 435145"/>
                <a:gd name="connsiteY61" fmla="*/ 618427 h 761503"/>
                <a:gd name="connsiteX62" fmla="*/ 283910 w 435145"/>
                <a:gd name="connsiteY62" fmla="*/ 651063 h 761503"/>
                <a:gd name="connsiteX63" fmla="*/ 338303 w 435145"/>
                <a:gd name="connsiteY63" fmla="*/ 612988 h 761503"/>
                <a:gd name="connsiteX64" fmla="*/ 354621 w 435145"/>
                <a:gd name="connsiteY64" fmla="*/ 577632 h 761503"/>
                <a:gd name="connsiteX65" fmla="*/ 357341 w 435145"/>
                <a:gd name="connsiteY65" fmla="*/ 509641 h 761503"/>
                <a:gd name="connsiteX66" fmla="*/ 362780 w 435145"/>
                <a:gd name="connsiteY66" fmla="*/ 485164 h 761503"/>
                <a:gd name="connsiteX67" fmla="*/ 368219 w 435145"/>
                <a:gd name="connsiteY67" fmla="*/ 474286 h 761503"/>
                <a:gd name="connsiteX68" fmla="*/ 376378 w 435145"/>
                <a:gd name="connsiteY68" fmla="*/ 468846 h 761503"/>
                <a:gd name="connsiteX69" fmla="*/ 384537 w 435145"/>
                <a:gd name="connsiteY69" fmla="*/ 474286 h 761503"/>
                <a:gd name="connsiteX70" fmla="*/ 392696 w 435145"/>
                <a:gd name="connsiteY70" fmla="*/ 493323 h 761503"/>
                <a:gd name="connsiteX71" fmla="*/ 395416 w 435145"/>
                <a:gd name="connsiteY71" fmla="*/ 558595 h 761503"/>
                <a:gd name="connsiteX72" fmla="*/ 398136 w 435145"/>
                <a:gd name="connsiteY72" fmla="*/ 618427 h 761503"/>
                <a:gd name="connsiteX73" fmla="*/ 400855 w 435145"/>
                <a:gd name="connsiteY73" fmla="*/ 678260 h 761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</a:cxnLst>
              <a:rect l="l" t="t" r="r" b="b"/>
              <a:pathLst>
                <a:path w="435145" h="761503">
                  <a:moveTo>
                    <a:pt x="400855" y="678260"/>
                  </a:moveTo>
                  <a:cubicBezTo>
                    <a:pt x="400855" y="689138"/>
                    <a:pt x="400855" y="719054"/>
                    <a:pt x="384537" y="719054"/>
                  </a:cubicBezTo>
                  <a:cubicBezTo>
                    <a:pt x="376378" y="719054"/>
                    <a:pt x="373659" y="716335"/>
                    <a:pt x="368219" y="713615"/>
                  </a:cubicBezTo>
                  <a:cubicBezTo>
                    <a:pt x="362780" y="710895"/>
                    <a:pt x="360060" y="702736"/>
                    <a:pt x="360060" y="697297"/>
                  </a:cubicBezTo>
                  <a:cubicBezTo>
                    <a:pt x="357341" y="680979"/>
                    <a:pt x="357341" y="664661"/>
                    <a:pt x="360060" y="651063"/>
                  </a:cubicBezTo>
                  <a:cubicBezTo>
                    <a:pt x="354621" y="659222"/>
                    <a:pt x="341023" y="678260"/>
                    <a:pt x="332864" y="686418"/>
                  </a:cubicBezTo>
                  <a:cubicBezTo>
                    <a:pt x="311107" y="708176"/>
                    <a:pt x="283910" y="721774"/>
                    <a:pt x="251274" y="721774"/>
                  </a:cubicBezTo>
                  <a:cubicBezTo>
                    <a:pt x="243115" y="721774"/>
                    <a:pt x="237676" y="721774"/>
                    <a:pt x="229517" y="719054"/>
                  </a:cubicBezTo>
                  <a:cubicBezTo>
                    <a:pt x="207759" y="716335"/>
                    <a:pt x="183283" y="708176"/>
                    <a:pt x="158806" y="694578"/>
                  </a:cubicBezTo>
                  <a:cubicBezTo>
                    <a:pt x="142488" y="686418"/>
                    <a:pt x="126170" y="672820"/>
                    <a:pt x="112571" y="659222"/>
                  </a:cubicBezTo>
                  <a:cubicBezTo>
                    <a:pt x="98973" y="642904"/>
                    <a:pt x="88095" y="626586"/>
                    <a:pt x="79936" y="607548"/>
                  </a:cubicBezTo>
                  <a:cubicBezTo>
                    <a:pt x="71777" y="585791"/>
                    <a:pt x="66337" y="566754"/>
                    <a:pt x="63618" y="542277"/>
                  </a:cubicBezTo>
                  <a:cubicBezTo>
                    <a:pt x="60898" y="517800"/>
                    <a:pt x="58178" y="493323"/>
                    <a:pt x="58178" y="471566"/>
                  </a:cubicBezTo>
                  <a:cubicBezTo>
                    <a:pt x="58178" y="447089"/>
                    <a:pt x="58178" y="425332"/>
                    <a:pt x="60898" y="400855"/>
                  </a:cubicBezTo>
                  <a:cubicBezTo>
                    <a:pt x="63618" y="379098"/>
                    <a:pt x="60898" y="357340"/>
                    <a:pt x="66337" y="335583"/>
                  </a:cubicBezTo>
                  <a:cubicBezTo>
                    <a:pt x="69057" y="313826"/>
                    <a:pt x="77216" y="289349"/>
                    <a:pt x="85375" y="267592"/>
                  </a:cubicBezTo>
                  <a:cubicBezTo>
                    <a:pt x="93534" y="243115"/>
                    <a:pt x="98973" y="221357"/>
                    <a:pt x="109852" y="199600"/>
                  </a:cubicBezTo>
                  <a:cubicBezTo>
                    <a:pt x="118011" y="177843"/>
                    <a:pt x="131609" y="161525"/>
                    <a:pt x="145207" y="145207"/>
                  </a:cubicBezTo>
                  <a:cubicBezTo>
                    <a:pt x="158806" y="128889"/>
                    <a:pt x="172404" y="109852"/>
                    <a:pt x="188722" y="96253"/>
                  </a:cubicBezTo>
                  <a:cubicBezTo>
                    <a:pt x="205040" y="82655"/>
                    <a:pt x="224077" y="77216"/>
                    <a:pt x="243115" y="71776"/>
                  </a:cubicBezTo>
                  <a:cubicBezTo>
                    <a:pt x="256713" y="69057"/>
                    <a:pt x="273031" y="63617"/>
                    <a:pt x="286630" y="63617"/>
                  </a:cubicBezTo>
                  <a:cubicBezTo>
                    <a:pt x="292069" y="63617"/>
                    <a:pt x="297508" y="63617"/>
                    <a:pt x="305667" y="66337"/>
                  </a:cubicBezTo>
                  <a:cubicBezTo>
                    <a:pt x="313826" y="69057"/>
                    <a:pt x="319266" y="74496"/>
                    <a:pt x="324705" y="79936"/>
                  </a:cubicBezTo>
                  <a:cubicBezTo>
                    <a:pt x="332864" y="85375"/>
                    <a:pt x="332864" y="93534"/>
                    <a:pt x="341023" y="101693"/>
                  </a:cubicBezTo>
                  <a:cubicBezTo>
                    <a:pt x="346462" y="107132"/>
                    <a:pt x="349182" y="118011"/>
                    <a:pt x="354621" y="123450"/>
                  </a:cubicBezTo>
                  <a:cubicBezTo>
                    <a:pt x="354621" y="115291"/>
                    <a:pt x="354621" y="101693"/>
                    <a:pt x="354621" y="98973"/>
                  </a:cubicBezTo>
                  <a:cubicBezTo>
                    <a:pt x="354621" y="90814"/>
                    <a:pt x="354621" y="79936"/>
                    <a:pt x="360060" y="74496"/>
                  </a:cubicBezTo>
                  <a:cubicBezTo>
                    <a:pt x="362780" y="71776"/>
                    <a:pt x="362780" y="69057"/>
                    <a:pt x="365500" y="63617"/>
                  </a:cubicBezTo>
                  <a:cubicBezTo>
                    <a:pt x="368219" y="60898"/>
                    <a:pt x="370939" y="58178"/>
                    <a:pt x="373659" y="58178"/>
                  </a:cubicBezTo>
                  <a:cubicBezTo>
                    <a:pt x="376378" y="58178"/>
                    <a:pt x="379098" y="60898"/>
                    <a:pt x="381818" y="63617"/>
                  </a:cubicBezTo>
                  <a:cubicBezTo>
                    <a:pt x="384537" y="69057"/>
                    <a:pt x="387257" y="77216"/>
                    <a:pt x="389977" y="82655"/>
                  </a:cubicBezTo>
                  <a:cubicBezTo>
                    <a:pt x="389977" y="90814"/>
                    <a:pt x="392696" y="107132"/>
                    <a:pt x="392696" y="126170"/>
                  </a:cubicBezTo>
                  <a:cubicBezTo>
                    <a:pt x="392696" y="150647"/>
                    <a:pt x="392696" y="177843"/>
                    <a:pt x="395416" y="186002"/>
                  </a:cubicBezTo>
                  <a:cubicBezTo>
                    <a:pt x="398136" y="205040"/>
                    <a:pt x="398136" y="215918"/>
                    <a:pt x="398136" y="237675"/>
                  </a:cubicBezTo>
                  <a:cubicBezTo>
                    <a:pt x="398136" y="240395"/>
                    <a:pt x="398136" y="243115"/>
                    <a:pt x="398136" y="243115"/>
                  </a:cubicBezTo>
                  <a:cubicBezTo>
                    <a:pt x="398136" y="248554"/>
                    <a:pt x="398136" y="251274"/>
                    <a:pt x="395416" y="256713"/>
                  </a:cubicBezTo>
                  <a:cubicBezTo>
                    <a:pt x="392696" y="267592"/>
                    <a:pt x="389977" y="278470"/>
                    <a:pt x="379098" y="278470"/>
                  </a:cubicBezTo>
                  <a:cubicBezTo>
                    <a:pt x="370939" y="278470"/>
                    <a:pt x="368219" y="275751"/>
                    <a:pt x="362780" y="273031"/>
                  </a:cubicBezTo>
                  <a:cubicBezTo>
                    <a:pt x="357341" y="270311"/>
                    <a:pt x="354621" y="262152"/>
                    <a:pt x="354621" y="256713"/>
                  </a:cubicBezTo>
                  <a:cubicBezTo>
                    <a:pt x="349182" y="237675"/>
                    <a:pt x="354621" y="232236"/>
                    <a:pt x="354621" y="213198"/>
                  </a:cubicBezTo>
                  <a:cubicBezTo>
                    <a:pt x="354621" y="210479"/>
                    <a:pt x="354621" y="207759"/>
                    <a:pt x="354621" y="205040"/>
                  </a:cubicBezTo>
                  <a:cubicBezTo>
                    <a:pt x="349182" y="186002"/>
                    <a:pt x="343742" y="169684"/>
                    <a:pt x="338303" y="147927"/>
                  </a:cubicBezTo>
                  <a:cubicBezTo>
                    <a:pt x="332864" y="131609"/>
                    <a:pt x="311107" y="107132"/>
                    <a:pt x="292069" y="107132"/>
                  </a:cubicBezTo>
                  <a:cubicBezTo>
                    <a:pt x="281190" y="107132"/>
                    <a:pt x="270312" y="115291"/>
                    <a:pt x="262153" y="120730"/>
                  </a:cubicBezTo>
                  <a:cubicBezTo>
                    <a:pt x="259433" y="123450"/>
                    <a:pt x="256713" y="126170"/>
                    <a:pt x="251274" y="131609"/>
                  </a:cubicBezTo>
                  <a:cubicBezTo>
                    <a:pt x="248554" y="134329"/>
                    <a:pt x="243115" y="137048"/>
                    <a:pt x="240395" y="139768"/>
                  </a:cubicBezTo>
                  <a:cubicBezTo>
                    <a:pt x="237676" y="145207"/>
                    <a:pt x="240395" y="156086"/>
                    <a:pt x="237676" y="164245"/>
                  </a:cubicBezTo>
                  <a:cubicBezTo>
                    <a:pt x="232236" y="175123"/>
                    <a:pt x="229517" y="186002"/>
                    <a:pt x="226797" y="196881"/>
                  </a:cubicBezTo>
                  <a:cubicBezTo>
                    <a:pt x="221358" y="218638"/>
                    <a:pt x="218638" y="237675"/>
                    <a:pt x="213199" y="259433"/>
                  </a:cubicBezTo>
                  <a:cubicBezTo>
                    <a:pt x="210479" y="281190"/>
                    <a:pt x="207759" y="302947"/>
                    <a:pt x="207759" y="324704"/>
                  </a:cubicBezTo>
                  <a:cubicBezTo>
                    <a:pt x="207759" y="327424"/>
                    <a:pt x="207759" y="332863"/>
                    <a:pt x="207759" y="335583"/>
                  </a:cubicBezTo>
                  <a:cubicBezTo>
                    <a:pt x="207759" y="341022"/>
                    <a:pt x="205040" y="343742"/>
                    <a:pt x="205040" y="349181"/>
                  </a:cubicBezTo>
                  <a:cubicBezTo>
                    <a:pt x="205040" y="354621"/>
                    <a:pt x="207759" y="362779"/>
                    <a:pt x="207759" y="368219"/>
                  </a:cubicBezTo>
                  <a:cubicBezTo>
                    <a:pt x="207759" y="370939"/>
                    <a:pt x="207759" y="373658"/>
                    <a:pt x="207759" y="376378"/>
                  </a:cubicBezTo>
                  <a:cubicBezTo>
                    <a:pt x="205040" y="381817"/>
                    <a:pt x="205040" y="384537"/>
                    <a:pt x="205040" y="387256"/>
                  </a:cubicBezTo>
                  <a:cubicBezTo>
                    <a:pt x="205040" y="389976"/>
                    <a:pt x="205040" y="392696"/>
                    <a:pt x="205040" y="395415"/>
                  </a:cubicBezTo>
                  <a:cubicBezTo>
                    <a:pt x="205040" y="398135"/>
                    <a:pt x="205040" y="403574"/>
                    <a:pt x="205040" y="406294"/>
                  </a:cubicBezTo>
                  <a:cubicBezTo>
                    <a:pt x="205040" y="411733"/>
                    <a:pt x="205040" y="417173"/>
                    <a:pt x="205040" y="425332"/>
                  </a:cubicBezTo>
                  <a:cubicBezTo>
                    <a:pt x="205040" y="449809"/>
                    <a:pt x="213199" y="471566"/>
                    <a:pt x="213199" y="493323"/>
                  </a:cubicBezTo>
                  <a:cubicBezTo>
                    <a:pt x="213199" y="517800"/>
                    <a:pt x="215919" y="539557"/>
                    <a:pt x="221358" y="561314"/>
                  </a:cubicBezTo>
                  <a:cubicBezTo>
                    <a:pt x="224077" y="572193"/>
                    <a:pt x="224077" y="580352"/>
                    <a:pt x="226797" y="591231"/>
                  </a:cubicBezTo>
                  <a:cubicBezTo>
                    <a:pt x="229517" y="599390"/>
                    <a:pt x="237676" y="607548"/>
                    <a:pt x="240395" y="618427"/>
                  </a:cubicBezTo>
                  <a:cubicBezTo>
                    <a:pt x="248554" y="637465"/>
                    <a:pt x="262153" y="651063"/>
                    <a:pt x="283910" y="651063"/>
                  </a:cubicBezTo>
                  <a:cubicBezTo>
                    <a:pt x="302948" y="651063"/>
                    <a:pt x="330144" y="629306"/>
                    <a:pt x="338303" y="612988"/>
                  </a:cubicBezTo>
                  <a:cubicBezTo>
                    <a:pt x="346462" y="599390"/>
                    <a:pt x="351901" y="591231"/>
                    <a:pt x="354621" y="577632"/>
                  </a:cubicBezTo>
                  <a:cubicBezTo>
                    <a:pt x="354621" y="550436"/>
                    <a:pt x="354621" y="517800"/>
                    <a:pt x="357341" y="509641"/>
                  </a:cubicBezTo>
                  <a:cubicBezTo>
                    <a:pt x="357341" y="501482"/>
                    <a:pt x="357341" y="490603"/>
                    <a:pt x="362780" y="485164"/>
                  </a:cubicBezTo>
                  <a:cubicBezTo>
                    <a:pt x="365500" y="482444"/>
                    <a:pt x="365500" y="479725"/>
                    <a:pt x="368219" y="474286"/>
                  </a:cubicBezTo>
                  <a:cubicBezTo>
                    <a:pt x="370939" y="471566"/>
                    <a:pt x="373659" y="468846"/>
                    <a:pt x="376378" y="468846"/>
                  </a:cubicBezTo>
                  <a:cubicBezTo>
                    <a:pt x="379098" y="468846"/>
                    <a:pt x="381818" y="471566"/>
                    <a:pt x="384537" y="474286"/>
                  </a:cubicBezTo>
                  <a:cubicBezTo>
                    <a:pt x="387257" y="479725"/>
                    <a:pt x="389977" y="487884"/>
                    <a:pt x="392696" y="493323"/>
                  </a:cubicBezTo>
                  <a:cubicBezTo>
                    <a:pt x="392696" y="501482"/>
                    <a:pt x="395416" y="539557"/>
                    <a:pt x="395416" y="558595"/>
                  </a:cubicBezTo>
                  <a:cubicBezTo>
                    <a:pt x="395416" y="583072"/>
                    <a:pt x="395416" y="610268"/>
                    <a:pt x="398136" y="618427"/>
                  </a:cubicBezTo>
                  <a:cubicBezTo>
                    <a:pt x="398136" y="648343"/>
                    <a:pt x="400855" y="659222"/>
                    <a:pt x="400855" y="678260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8" name="Freeform: Shape 37">
              <a:extLst>
                <a:ext uri="{FF2B5EF4-FFF2-40B4-BE49-F238E27FC236}">
                  <a16:creationId xmlns:a16="http://schemas.microsoft.com/office/drawing/2014/main" id="{91199EB2-8CF7-412C-88D7-2C906A9B506E}"/>
                </a:ext>
              </a:extLst>
            </p:cNvPr>
            <p:cNvSpPr/>
            <p:nvPr/>
          </p:nvSpPr>
          <p:spPr>
            <a:xfrm>
              <a:off x="3829459" y="4200317"/>
              <a:ext cx="598325" cy="761503"/>
            </a:xfrm>
            <a:custGeom>
              <a:avLst/>
              <a:gdLst>
                <a:gd name="connsiteX0" fmla="*/ 360060 w 598324"/>
                <a:gd name="connsiteY0" fmla="*/ 332863 h 761503"/>
                <a:gd name="connsiteX1" fmla="*/ 341023 w 598324"/>
                <a:gd name="connsiteY1" fmla="*/ 370939 h 761503"/>
                <a:gd name="connsiteX2" fmla="*/ 376378 w 598324"/>
                <a:gd name="connsiteY2" fmla="*/ 389976 h 761503"/>
                <a:gd name="connsiteX3" fmla="*/ 425332 w 598324"/>
                <a:gd name="connsiteY3" fmla="*/ 433491 h 761503"/>
                <a:gd name="connsiteX4" fmla="*/ 438930 w 598324"/>
                <a:gd name="connsiteY4" fmla="*/ 463407 h 761503"/>
                <a:gd name="connsiteX5" fmla="*/ 449809 w 598324"/>
                <a:gd name="connsiteY5" fmla="*/ 498762 h 761503"/>
                <a:gd name="connsiteX6" fmla="*/ 457968 w 598324"/>
                <a:gd name="connsiteY6" fmla="*/ 528679 h 761503"/>
                <a:gd name="connsiteX7" fmla="*/ 466127 w 598324"/>
                <a:gd name="connsiteY7" fmla="*/ 564034 h 761503"/>
                <a:gd name="connsiteX8" fmla="*/ 471566 w 598324"/>
                <a:gd name="connsiteY8" fmla="*/ 593950 h 761503"/>
                <a:gd name="connsiteX9" fmla="*/ 479725 w 598324"/>
                <a:gd name="connsiteY9" fmla="*/ 607548 h 761503"/>
                <a:gd name="connsiteX10" fmla="*/ 487884 w 598324"/>
                <a:gd name="connsiteY10" fmla="*/ 623867 h 761503"/>
                <a:gd name="connsiteX11" fmla="*/ 501482 w 598324"/>
                <a:gd name="connsiteY11" fmla="*/ 651063 h 761503"/>
                <a:gd name="connsiteX12" fmla="*/ 523240 w 598324"/>
                <a:gd name="connsiteY12" fmla="*/ 670101 h 761503"/>
                <a:gd name="connsiteX13" fmla="*/ 534119 w 598324"/>
                <a:gd name="connsiteY13" fmla="*/ 686418 h 761503"/>
                <a:gd name="connsiteX14" fmla="*/ 531399 w 598324"/>
                <a:gd name="connsiteY14" fmla="*/ 694578 h 761503"/>
                <a:gd name="connsiteX15" fmla="*/ 498763 w 598324"/>
                <a:gd name="connsiteY15" fmla="*/ 708176 h 761503"/>
                <a:gd name="connsiteX16" fmla="*/ 449809 w 598324"/>
                <a:gd name="connsiteY16" fmla="*/ 700017 h 761503"/>
                <a:gd name="connsiteX17" fmla="*/ 400855 w 598324"/>
                <a:gd name="connsiteY17" fmla="*/ 667381 h 761503"/>
                <a:gd name="connsiteX18" fmla="*/ 381817 w 598324"/>
                <a:gd name="connsiteY18" fmla="*/ 642904 h 761503"/>
                <a:gd name="connsiteX19" fmla="*/ 368219 w 598324"/>
                <a:gd name="connsiteY19" fmla="*/ 610268 h 761503"/>
                <a:gd name="connsiteX20" fmla="*/ 349182 w 598324"/>
                <a:gd name="connsiteY20" fmla="*/ 550436 h 761503"/>
                <a:gd name="connsiteX21" fmla="*/ 338303 w 598324"/>
                <a:gd name="connsiteY21" fmla="*/ 504202 h 761503"/>
                <a:gd name="connsiteX22" fmla="*/ 330144 w 598324"/>
                <a:gd name="connsiteY22" fmla="*/ 477005 h 761503"/>
                <a:gd name="connsiteX23" fmla="*/ 321985 w 598324"/>
                <a:gd name="connsiteY23" fmla="*/ 455248 h 761503"/>
                <a:gd name="connsiteX24" fmla="*/ 305667 w 598324"/>
                <a:gd name="connsiteY24" fmla="*/ 436210 h 761503"/>
                <a:gd name="connsiteX25" fmla="*/ 294788 w 598324"/>
                <a:gd name="connsiteY25" fmla="*/ 441650 h 761503"/>
                <a:gd name="connsiteX26" fmla="*/ 278471 w 598324"/>
                <a:gd name="connsiteY26" fmla="*/ 463407 h 761503"/>
                <a:gd name="connsiteX27" fmla="*/ 264872 w 598324"/>
                <a:gd name="connsiteY27" fmla="*/ 496043 h 761503"/>
                <a:gd name="connsiteX28" fmla="*/ 262153 w 598324"/>
                <a:gd name="connsiteY28" fmla="*/ 517800 h 761503"/>
                <a:gd name="connsiteX29" fmla="*/ 262153 w 598324"/>
                <a:gd name="connsiteY29" fmla="*/ 523239 h 761503"/>
                <a:gd name="connsiteX30" fmla="*/ 262153 w 598324"/>
                <a:gd name="connsiteY30" fmla="*/ 553155 h 761503"/>
                <a:gd name="connsiteX31" fmla="*/ 262153 w 598324"/>
                <a:gd name="connsiteY31" fmla="*/ 629306 h 761503"/>
                <a:gd name="connsiteX32" fmla="*/ 259433 w 598324"/>
                <a:gd name="connsiteY32" fmla="*/ 659222 h 761503"/>
                <a:gd name="connsiteX33" fmla="*/ 283910 w 598324"/>
                <a:gd name="connsiteY33" fmla="*/ 659222 h 761503"/>
                <a:gd name="connsiteX34" fmla="*/ 321985 w 598324"/>
                <a:gd name="connsiteY34" fmla="*/ 675540 h 761503"/>
                <a:gd name="connsiteX35" fmla="*/ 316546 w 598324"/>
                <a:gd name="connsiteY35" fmla="*/ 691858 h 761503"/>
                <a:gd name="connsiteX36" fmla="*/ 300228 w 598324"/>
                <a:gd name="connsiteY36" fmla="*/ 700017 h 761503"/>
                <a:gd name="connsiteX37" fmla="*/ 278471 w 598324"/>
                <a:gd name="connsiteY37" fmla="*/ 702736 h 761503"/>
                <a:gd name="connsiteX38" fmla="*/ 243115 w 598324"/>
                <a:gd name="connsiteY38" fmla="*/ 702736 h 761503"/>
                <a:gd name="connsiteX39" fmla="*/ 221358 w 598324"/>
                <a:gd name="connsiteY39" fmla="*/ 710895 h 761503"/>
                <a:gd name="connsiteX40" fmla="*/ 194161 w 598324"/>
                <a:gd name="connsiteY40" fmla="*/ 702736 h 761503"/>
                <a:gd name="connsiteX41" fmla="*/ 177843 w 598324"/>
                <a:gd name="connsiteY41" fmla="*/ 702736 h 761503"/>
                <a:gd name="connsiteX42" fmla="*/ 126170 w 598324"/>
                <a:gd name="connsiteY42" fmla="*/ 702736 h 761503"/>
                <a:gd name="connsiteX43" fmla="*/ 101693 w 598324"/>
                <a:gd name="connsiteY43" fmla="*/ 702736 h 761503"/>
                <a:gd name="connsiteX44" fmla="*/ 74496 w 598324"/>
                <a:gd name="connsiteY44" fmla="*/ 697297 h 761503"/>
                <a:gd name="connsiteX45" fmla="*/ 58178 w 598324"/>
                <a:gd name="connsiteY45" fmla="*/ 680979 h 761503"/>
                <a:gd name="connsiteX46" fmla="*/ 63617 w 598324"/>
                <a:gd name="connsiteY46" fmla="*/ 672820 h 761503"/>
                <a:gd name="connsiteX47" fmla="*/ 85375 w 598324"/>
                <a:gd name="connsiteY47" fmla="*/ 664661 h 761503"/>
                <a:gd name="connsiteX48" fmla="*/ 128889 w 598324"/>
                <a:gd name="connsiteY48" fmla="*/ 659222 h 761503"/>
                <a:gd name="connsiteX49" fmla="*/ 147927 w 598324"/>
                <a:gd name="connsiteY49" fmla="*/ 659222 h 761503"/>
                <a:gd name="connsiteX50" fmla="*/ 145207 w 598324"/>
                <a:gd name="connsiteY50" fmla="*/ 653783 h 761503"/>
                <a:gd name="connsiteX51" fmla="*/ 131609 w 598324"/>
                <a:gd name="connsiteY51" fmla="*/ 585791 h 761503"/>
                <a:gd name="connsiteX52" fmla="*/ 134329 w 598324"/>
                <a:gd name="connsiteY52" fmla="*/ 498762 h 761503"/>
                <a:gd name="connsiteX53" fmla="*/ 137048 w 598324"/>
                <a:gd name="connsiteY53" fmla="*/ 406294 h 761503"/>
                <a:gd name="connsiteX54" fmla="*/ 134329 w 598324"/>
                <a:gd name="connsiteY54" fmla="*/ 327424 h 761503"/>
                <a:gd name="connsiteX55" fmla="*/ 137048 w 598324"/>
                <a:gd name="connsiteY55" fmla="*/ 253993 h 761503"/>
                <a:gd name="connsiteX56" fmla="*/ 139768 w 598324"/>
                <a:gd name="connsiteY56" fmla="*/ 207759 h 761503"/>
                <a:gd name="connsiteX57" fmla="*/ 137048 w 598324"/>
                <a:gd name="connsiteY57" fmla="*/ 172404 h 761503"/>
                <a:gd name="connsiteX58" fmla="*/ 137048 w 598324"/>
                <a:gd name="connsiteY58" fmla="*/ 112571 h 761503"/>
                <a:gd name="connsiteX59" fmla="*/ 126170 w 598324"/>
                <a:gd name="connsiteY59" fmla="*/ 112571 h 761503"/>
                <a:gd name="connsiteX60" fmla="*/ 101693 w 598324"/>
                <a:gd name="connsiteY60" fmla="*/ 112571 h 761503"/>
                <a:gd name="connsiteX61" fmla="*/ 74496 w 598324"/>
                <a:gd name="connsiteY61" fmla="*/ 107132 h 761503"/>
                <a:gd name="connsiteX62" fmla="*/ 58178 w 598324"/>
                <a:gd name="connsiteY62" fmla="*/ 90814 h 761503"/>
                <a:gd name="connsiteX63" fmla="*/ 63617 w 598324"/>
                <a:gd name="connsiteY63" fmla="*/ 82655 h 761503"/>
                <a:gd name="connsiteX64" fmla="*/ 85375 w 598324"/>
                <a:gd name="connsiteY64" fmla="*/ 74496 h 761503"/>
                <a:gd name="connsiteX65" fmla="*/ 137048 w 598324"/>
                <a:gd name="connsiteY65" fmla="*/ 69057 h 761503"/>
                <a:gd name="connsiteX66" fmla="*/ 145207 w 598324"/>
                <a:gd name="connsiteY66" fmla="*/ 69057 h 761503"/>
                <a:gd name="connsiteX67" fmla="*/ 169684 w 598324"/>
                <a:gd name="connsiteY67" fmla="*/ 58178 h 761503"/>
                <a:gd name="connsiteX68" fmla="*/ 177843 w 598324"/>
                <a:gd name="connsiteY68" fmla="*/ 58178 h 761503"/>
                <a:gd name="connsiteX69" fmla="*/ 205040 w 598324"/>
                <a:gd name="connsiteY69" fmla="*/ 66337 h 761503"/>
                <a:gd name="connsiteX70" fmla="*/ 286629 w 598324"/>
                <a:gd name="connsiteY70" fmla="*/ 63617 h 761503"/>
                <a:gd name="connsiteX71" fmla="*/ 324705 w 598324"/>
                <a:gd name="connsiteY71" fmla="*/ 79936 h 761503"/>
                <a:gd name="connsiteX72" fmla="*/ 319265 w 598324"/>
                <a:gd name="connsiteY72" fmla="*/ 96253 h 761503"/>
                <a:gd name="connsiteX73" fmla="*/ 302948 w 598324"/>
                <a:gd name="connsiteY73" fmla="*/ 104412 h 761503"/>
                <a:gd name="connsiteX74" fmla="*/ 278471 w 598324"/>
                <a:gd name="connsiteY74" fmla="*/ 112571 h 761503"/>
                <a:gd name="connsiteX75" fmla="*/ 232236 w 598324"/>
                <a:gd name="connsiteY75" fmla="*/ 112571 h 761503"/>
                <a:gd name="connsiteX76" fmla="*/ 240395 w 598324"/>
                <a:gd name="connsiteY76" fmla="*/ 137048 h 761503"/>
                <a:gd name="connsiteX77" fmla="*/ 240395 w 598324"/>
                <a:gd name="connsiteY77" fmla="*/ 150647 h 761503"/>
                <a:gd name="connsiteX78" fmla="*/ 243115 w 598324"/>
                <a:gd name="connsiteY78" fmla="*/ 158805 h 761503"/>
                <a:gd name="connsiteX79" fmla="*/ 248554 w 598324"/>
                <a:gd name="connsiteY79" fmla="*/ 188722 h 761503"/>
                <a:gd name="connsiteX80" fmla="*/ 248554 w 598324"/>
                <a:gd name="connsiteY80" fmla="*/ 199600 h 761503"/>
                <a:gd name="connsiteX81" fmla="*/ 248554 w 598324"/>
                <a:gd name="connsiteY81" fmla="*/ 221357 h 761503"/>
                <a:gd name="connsiteX82" fmla="*/ 253994 w 598324"/>
                <a:gd name="connsiteY82" fmla="*/ 264872 h 761503"/>
                <a:gd name="connsiteX83" fmla="*/ 262153 w 598324"/>
                <a:gd name="connsiteY83" fmla="*/ 297508 h 761503"/>
                <a:gd name="connsiteX84" fmla="*/ 264872 w 598324"/>
                <a:gd name="connsiteY84" fmla="*/ 324704 h 761503"/>
                <a:gd name="connsiteX85" fmla="*/ 264872 w 598324"/>
                <a:gd name="connsiteY85" fmla="*/ 332863 h 761503"/>
                <a:gd name="connsiteX86" fmla="*/ 264872 w 598324"/>
                <a:gd name="connsiteY86" fmla="*/ 351901 h 761503"/>
                <a:gd name="connsiteX87" fmla="*/ 262153 w 598324"/>
                <a:gd name="connsiteY87" fmla="*/ 370939 h 761503"/>
                <a:gd name="connsiteX88" fmla="*/ 267592 w 598324"/>
                <a:gd name="connsiteY88" fmla="*/ 384537 h 761503"/>
                <a:gd name="connsiteX89" fmla="*/ 278471 w 598324"/>
                <a:gd name="connsiteY89" fmla="*/ 370939 h 761503"/>
                <a:gd name="connsiteX90" fmla="*/ 297508 w 598324"/>
                <a:gd name="connsiteY90" fmla="*/ 332863 h 761503"/>
                <a:gd name="connsiteX91" fmla="*/ 311106 w 598324"/>
                <a:gd name="connsiteY91" fmla="*/ 305667 h 761503"/>
                <a:gd name="connsiteX92" fmla="*/ 335583 w 598324"/>
                <a:gd name="connsiteY92" fmla="*/ 259433 h 761503"/>
                <a:gd name="connsiteX93" fmla="*/ 354621 w 598324"/>
                <a:gd name="connsiteY93" fmla="*/ 224077 h 761503"/>
                <a:gd name="connsiteX94" fmla="*/ 381817 w 598324"/>
                <a:gd name="connsiteY94" fmla="*/ 172404 h 761503"/>
                <a:gd name="connsiteX95" fmla="*/ 409014 w 598324"/>
                <a:gd name="connsiteY95" fmla="*/ 118011 h 761503"/>
                <a:gd name="connsiteX96" fmla="*/ 411734 w 598324"/>
                <a:gd name="connsiteY96" fmla="*/ 115291 h 761503"/>
                <a:gd name="connsiteX97" fmla="*/ 398136 w 598324"/>
                <a:gd name="connsiteY97" fmla="*/ 115291 h 761503"/>
                <a:gd name="connsiteX98" fmla="*/ 379098 w 598324"/>
                <a:gd name="connsiteY98" fmla="*/ 109852 h 761503"/>
                <a:gd name="connsiteX99" fmla="*/ 368219 w 598324"/>
                <a:gd name="connsiteY99" fmla="*/ 93534 h 761503"/>
                <a:gd name="connsiteX100" fmla="*/ 370939 w 598324"/>
                <a:gd name="connsiteY100" fmla="*/ 85375 h 761503"/>
                <a:gd name="connsiteX101" fmla="*/ 387257 w 598324"/>
                <a:gd name="connsiteY101" fmla="*/ 77216 h 761503"/>
                <a:gd name="connsiteX102" fmla="*/ 422612 w 598324"/>
                <a:gd name="connsiteY102" fmla="*/ 71776 h 761503"/>
                <a:gd name="connsiteX103" fmla="*/ 436211 w 598324"/>
                <a:gd name="connsiteY103" fmla="*/ 71776 h 761503"/>
                <a:gd name="connsiteX104" fmla="*/ 438930 w 598324"/>
                <a:gd name="connsiteY104" fmla="*/ 69057 h 761503"/>
                <a:gd name="connsiteX105" fmla="*/ 452529 w 598324"/>
                <a:gd name="connsiteY105" fmla="*/ 66337 h 761503"/>
                <a:gd name="connsiteX106" fmla="*/ 466127 w 598324"/>
                <a:gd name="connsiteY106" fmla="*/ 69057 h 761503"/>
                <a:gd name="connsiteX107" fmla="*/ 471566 w 598324"/>
                <a:gd name="connsiteY107" fmla="*/ 71776 h 761503"/>
                <a:gd name="connsiteX108" fmla="*/ 515081 w 598324"/>
                <a:gd name="connsiteY108" fmla="*/ 71776 h 761503"/>
                <a:gd name="connsiteX109" fmla="*/ 542277 w 598324"/>
                <a:gd name="connsiteY109" fmla="*/ 88094 h 761503"/>
                <a:gd name="connsiteX110" fmla="*/ 536838 w 598324"/>
                <a:gd name="connsiteY110" fmla="*/ 104412 h 761503"/>
                <a:gd name="connsiteX111" fmla="*/ 525959 w 598324"/>
                <a:gd name="connsiteY111" fmla="*/ 112571 h 761503"/>
                <a:gd name="connsiteX112" fmla="*/ 509642 w 598324"/>
                <a:gd name="connsiteY112" fmla="*/ 115291 h 761503"/>
                <a:gd name="connsiteX113" fmla="*/ 468847 w 598324"/>
                <a:gd name="connsiteY113" fmla="*/ 115291 h 761503"/>
                <a:gd name="connsiteX114" fmla="*/ 457968 w 598324"/>
                <a:gd name="connsiteY114" fmla="*/ 137048 h 761503"/>
                <a:gd name="connsiteX115" fmla="*/ 430771 w 598324"/>
                <a:gd name="connsiteY115" fmla="*/ 194161 h 761503"/>
                <a:gd name="connsiteX116" fmla="*/ 400855 w 598324"/>
                <a:gd name="connsiteY116" fmla="*/ 262152 h 761503"/>
                <a:gd name="connsiteX117" fmla="*/ 360060 w 598324"/>
                <a:gd name="connsiteY117" fmla="*/ 332863 h 761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</a:cxnLst>
              <a:rect l="l" t="t" r="r" b="b"/>
              <a:pathLst>
                <a:path w="598324" h="761503">
                  <a:moveTo>
                    <a:pt x="360060" y="332863"/>
                  </a:moveTo>
                  <a:cubicBezTo>
                    <a:pt x="351901" y="343742"/>
                    <a:pt x="341023" y="357340"/>
                    <a:pt x="341023" y="370939"/>
                  </a:cubicBezTo>
                  <a:cubicBezTo>
                    <a:pt x="341023" y="379098"/>
                    <a:pt x="357341" y="381817"/>
                    <a:pt x="376378" y="389976"/>
                  </a:cubicBezTo>
                  <a:cubicBezTo>
                    <a:pt x="395416" y="398135"/>
                    <a:pt x="417173" y="417173"/>
                    <a:pt x="425332" y="433491"/>
                  </a:cubicBezTo>
                  <a:cubicBezTo>
                    <a:pt x="430771" y="444369"/>
                    <a:pt x="436211" y="452528"/>
                    <a:pt x="438930" y="463407"/>
                  </a:cubicBezTo>
                  <a:cubicBezTo>
                    <a:pt x="444370" y="474286"/>
                    <a:pt x="447089" y="487884"/>
                    <a:pt x="449809" y="498762"/>
                  </a:cubicBezTo>
                  <a:cubicBezTo>
                    <a:pt x="452529" y="512361"/>
                    <a:pt x="452529" y="517800"/>
                    <a:pt x="457968" y="528679"/>
                  </a:cubicBezTo>
                  <a:cubicBezTo>
                    <a:pt x="463407" y="539557"/>
                    <a:pt x="463407" y="553155"/>
                    <a:pt x="466127" y="564034"/>
                  </a:cubicBezTo>
                  <a:cubicBezTo>
                    <a:pt x="468847" y="572193"/>
                    <a:pt x="468847" y="585791"/>
                    <a:pt x="471566" y="593950"/>
                  </a:cubicBezTo>
                  <a:cubicBezTo>
                    <a:pt x="474286" y="599390"/>
                    <a:pt x="477006" y="602109"/>
                    <a:pt x="479725" y="607548"/>
                  </a:cubicBezTo>
                  <a:cubicBezTo>
                    <a:pt x="482445" y="612988"/>
                    <a:pt x="487884" y="618427"/>
                    <a:pt x="487884" y="623867"/>
                  </a:cubicBezTo>
                  <a:cubicBezTo>
                    <a:pt x="490604" y="634745"/>
                    <a:pt x="496043" y="642904"/>
                    <a:pt x="501482" y="651063"/>
                  </a:cubicBezTo>
                  <a:cubicBezTo>
                    <a:pt x="506922" y="661942"/>
                    <a:pt x="512361" y="664661"/>
                    <a:pt x="523240" y="670101"/>
                  </a:cubicBezTo>
                  <a:cubicBezTo>
                    <a:pt x="528679" y="672820"/>
                    <a:pt x="534119" y="680979"/>
                    <a:pt x="534119" y="686418"/>
                  </a:cubicBezTo>
                  <a:cubicBezTo>
                    <a:pt x="534119" y="689138"/>
                    <a:pt x="534119" y="691858"/>
                    <a:pt x="531399" y="694578"/>
                  </a:cubicBezTo>
                  <a:cubicBezTo>
                    <a:pt x="525959" y="702736"/>
                    <a:pt x="512361" y="708176"/>
                    <a:pt x="498763" y="708176"/>
                  </a:cubicBezTo>
                  <a:cubicBezTo>
                    <a:pt x="485165" y="708176"/>
                    <a:pt x="466127" y="705456"/>
                    <a:pt x="449809" y="700017"/>
                  </a:cubicBezTo>
                  <a:cubicBezTo>
                    <a:pt x="430771" y="694578"/>
                    <a:pt x="409014" y="675540"/>
                    <a:pt x="400855" y="667381"/>
                  </a:cubicBezTo>
                  <a:cubicBezTo>
                    <a:pt x="392696" y="659222"/>
                    <a:pt x="387257" y="651063"/>
                    <a:pt x="381817" y="642904"/>
                  </a:cubicBezTo>
                  <a:cubicBezTo>
                    <a:pt x="376378" y="632025"/>
                    <a:pt x="370939" y="623867"/>
                    <a:pt x="368219" y="610268"/>
                  </a:cubicBezTo>
                  <a:cubicBezTo>
                    <a:pt x="360060" y="588511"/>
                    <a:pt x="357341" y="574913"/>
                    <a:pt x="349182" y="550436"/>
                  </a:cubicBezTo>
                  <a:cubicBezTo>
                    <a:pt x="343742" y="534118"/>
                    <a:pt x="341023" y="520520"/>
                    <a:pt x="338303" y="504202"/>
                  </a:cubicBezTo>
                  <a:cubicBezTo>
                    <a:pt x="335583" y="493323"/>
                    <a:pt x="332864" y="485164"/>
                    <a:pt x="330144" y="477005"/>
                  </a:cubicBezTo>
                  <a:cubicBezTo>
                    <a:pt x="327424" y="471566"/>
                    <a:pt x="324705" y="463407"/>
                    <a:pt x="321985" y="455248"/>
                  </a:cubicBezTo>
                  <a:cubicBezTo>
                    <a:pt x="316546" y="444369"/>
                    <a:pt x="311106" y="436210"/>
                    <a:pt x="305667" y="436210"/>
                  </a:cubicBezTo>
                  <a:cubicBezTo>
                    <a:pt x="302948" y="436210"/>
                    <a:pt x="300228" y="438930"/>
                    <a:pt x="294788" y="441650"/>
                  </a:cubicBezTo>
                  <a:cubicBezTo>
                    <a:pt x="289349" y="447089"/>
                    <a:pt x="283910" y="455248"/>
                    <a:pt x="278471" y="463407"/>
                  </a:cubicBezTo>
                  <a:cubicBezTo>
                    <a:pt x="270312" y="474286"/>
                    <a:pt x="267592" y="485164"/>
                    <a:pt x="264872" y="496043"/>
                  </a:cubicBezTo>
                  <a:cubicBezTo>
                    <a:pt x="264872" y="504202"/>
                    <a:pt x="262153" y="512361"/>
                    <a:pt x="262153" y="517800"/>
                  </a:cubicBezTo>
                  <a:cubicBezTo>
                    <a:pt x="262153" y="520520"/>
                    <a:pt x="262153" y="520520"/>
                    <a:pt x="262153" y="523239"/>
                  </a:cubicBezTo>
                  <a:cubicBezTo>
                    <a:pt x="262153" y="528679"/>
                    <a:pt x="262153" y="544997"/>
                    <a:pt x="262153" y="553155"/>
                  </a:cubicBezTo>
                  <a:cubicBezTo>
                    <a:pt x="262153" y="583072"/>
                    <a:pt x="264872" y="599390"/>
                    <a:pt x="262153" y="629306"/>
                  </a:cubicBezTo>
                  <a:cubicBezTo>
                    <a:pt x="262153" y="640184"/>
                    <a:pt x="262153" y="648343"/>
                    <a:pt x="259433" y="659222"/>
                  </a:cubicBezTo>
                  <a:cubicBezTo>
                    <a:pt x="270312" y="659222"/>
                    <a:pt x="278471" y="659222"/>
                    <a:pt x="283910" y="659222"/>
                  </a:cubicBezTo>
                  <a:cubicBezTo>
                    <a:pt x="297508" y="659222"/>
                    <a:pt x="321985" y="659222"/>
                    <a:pt x="321985" y="675540"/>
                  </a:cubicBezTo>
                  <a:cubicBezTo>
                    <a:pt x="321985" y="683699"/>
                    <a:pt x="319265" y="686418"/>
                    <a:pt x="316546" y="691858"/>
                  </a:cubicBezTo>
                  <a:cubicBezTo>
                    <a:pt x="311106" y="697297"/>
                    <a:pt x="305667" y="700017"/>
                    <a:pt x="300228" y="700017"/>
                  </a:cubicBezTo>
                  <a:cubicBezTo>
                    <a:pt x="292069" y="702736"/>
                    <a:pt x="283910" y="702736"/>
                    <a:pt x="278471" y="702736"/>
                  </a:cubicBezTo>
                  <a:cubicBezTo>
                    <a:pt x="275751" y="702736"/>
                    <a:pt x="259433" y="702736"/>
                    <a:pt x="243115" y="702736"/>
                  </a:cubicBezTo>
                  <a:cubicBezTo>
                    <a:pt x="237676" y="708176"/>
                    <a:pt x="229517" y="710895"/>
                    <a:pt x="221358" y="710895"/>
                  </a:cubicBezTo>
                  <a:cubicBezTo>
                    <a:pt x="213199" y="710895"/>
                    <a:pt x="202320" y="708176"/>
                    <a:pt x="194161" y="702736"/>
                  </a:cubicBezTo>
                  <a:cubicBezTo>
                    <a:pt x="186002" y="702736"/>
                    <a:pt x="180563" y="702736"/>
                    <a:pt x="177843" y="702736"/>
                  </a:cubicBezTo>
                  <a:cubicBezTo>
                    <a:pt x="164245" y="702736"/>
                    <a:pt x="139768" y="702736"/>
                    <a:pt x="126170" y="702736"/>
                  </a:cubicBezTo>
                  <a:cubicBezTo>
                    <a:pt x="118011" y="702736"/>
                    <a:pt x="109852" y="702736"/>
                    <a:pt x="101693" y="702736"/>
                  </a:cubicBezTo>
                  <a:cubicBezTo>
                    <a:pt x="93534" y="702736"/>
                    <a:pt x="82655" y="702736"/>
                    <a:pt x="74496" y="697297"/>
                  </a:cubicBezTo>
                  <a:cubicBezTo>
                    <a:pt x="66337" y="694578"/>
                    <a:pt x="58178" y="686418"/>
                    <a:pt x="58178" y="680979"/>
                  </a:cubicBezTo>
                  <a:cubicBezTo>
                    <a:pt x="58178" y="678260"/>
                    <a:pt x="58178" y="675540"/>
                    <a:pt x="63617" y="672820"/>
                  </a:cubicBezTo>
                  <a:cubicBezTo>
                    <a:pt x="69057" y="670101"/>
                    <a:pt x="79935" y="667381"/>
                    <a:pt x="85375" y="664661"/>
                  </a:cubicBezTo>
                  <a:cubicBezTo>
                    <a:pt x="104412" y="661942"/>
                    <a:pt x="123450" y="659222"/>
                    <a:pt x="128889" y="659222"/>
                  </a:cubicBezTo>
                  <a:cubicBezTo>
                    <a:pt x="134329" y="659222"/>
                    <a:pt x="139768" y="659222"/>
                    <a:pt x="147927" y="659222"/>
                  </a:cubicBezTo>
                  <a:cubicBezTo>
                    <a:pt x="147927" y="656502"/>
                    <a:pt x="145207" y="653783"/>
                    <a:pt x="145207" y="653783"/>
                  </a:cubicBezTo>
                  <a:cubicBezTo>
                    <a:pt x="131609" y="632025"/>
                    <a:pt x="131609" y="610268"/>
                    <a:pt x="131609" y="585791"/>
                  </a:cubicBezTo>
                  <a:cubicBezTo>
                    <a:pt x="131609" y="555875"/>
                    <a:pt x="131609" y="528679"/>
                    <a:pt x="134329" y="498762"/>
                  </a:cubicBezTo>
                  <a:cubicBezTo>
                    <a:pt x="134329" y="468846"/>
                    <a:pt x="137048" y="436210"/>
                    <a:pt x="137048" y="406294"/>
                  </a:cubicBezTo>
                  <a:cubicBezTo>
                    <a:pt x="137048" y="379098"/>
                    <a:pt x="134329" y="354621"/>
                    <a:pt x="134329" y="327424"/>
                  </a:cubicBezTo>
                  <a:cubicBezTo>
                    <a:pt x="134329" y="302947"/>
                    <a:pt x="137048" y="278470"/>
                    <a:pt x="137048" y="253993"/>
                  </a:cubicBezTo>
                  <a:cubicBezTo>
                    <a:pt x="137048" y="237675"/>
                    <a:pt x="139768" y="224077"/>
                    <a:pt x="139768" y="207759"/>
                  </a:cubicBezTo>
                  <a:cubicBezTo>
                    <a:pt x="139768" y="196881"/>
                    <a:pt x="137048" y="183282"/>
                    <a:pt x="137048" y="172404"/>
                  </a:cubicBezTo>
                  <a:cubicBezTo>
                    <a:pt x="137048" y="150647"/>
                    <a:pt x="137048" y="131609"/>
                    <a:pt x="137048" y="112571"/>
                  </a:cubicBezTo>
                  <a:cubicBezTo>
                    <a:pt x="134329" y="112571"/>
                    <a:pt x="137048" y="112571"/>
                    <a:pt x="126170" y="112571"/>
                  </a:cubicBezTo>
                  <a:cubicBezTo>
                    <a:pt x="118011" y="112571"/>
                    <a:pt x="109852" y="112571"/>
                    <a:pt x="101693" y="112571"/>
                  </a:cubicBezTo>
                  <a:cubicBezTo>
                    <a:pt x="93534" y="112571"/>
                    <a:pt x="82655" y="109852"/>
                    <a:pt x="74496" y="107132"/>
                  </a:cubicBezTo>
                  <a:cubicBezTo>
                    <a:pt x="66337" y="104412"/>
                    <a:pt x="58178" y="96253"/>
                    <a:pt x="58178" y="90814"/>
                  </a:cubicBezTo>
                  <a:cubicBezTo>
                    <a:pt x="58178" y="88094"/>
                    <a:pt x="58178" y="85375"/>
                    <a:pt x="63617" y="82655"/>
                  </a:cubicBezTo>
                  <a:cubicBezTo>
                    <a:pt x="69057" y="79936"/>
                    <a:pt x="79935" y="77216"/>
                    <a:pt x="85375" y="74496"/>
                  </a:cubicBezTo>
                  <a:cubicBezTo>
                    <a:pt x="104412" y="71776"/>
                    <a:pt x="128889" y="69057"/>
                    <a:pt x="137048" y="69057"/>
                  </a:cubicBezTo>
                  <a:cubicBezTo>
                    <a:pt x="137048" y="69057"/>
                    <a:pt x="139768" y="69057"/>
                    <a:pt x="145207" y="69057"/>
                  </a:cubicBezTo>
                  <a:cubicBezTo>
                    <a:pt x="150646" y="60898"/>
                    <a:pt x="158806" y="58178"/>
                    <a:pt x="169684" y="58178"/>
                  </a:cubicBezTo>
                  <a:cubicBezTo>
                    <a:pt x="172404" y="58178"/>
                    <a:pt x="175123" y="58178"/>
                    <a:pt x="177843" y="58178"/>
                  </a:cubicBezTo>
                  <a:cubicBezTo>
                    <a:pt x="186002" y="58178"/>
                    <a:pt x="196881" y="63617"/>
                    <a:pt x="205040" y="66337"/>
                  </a:cubicBezTo>
                  <a:cubicBezTo>
                    <a:pt x="237676" y="66337"/>
                    <a:pt x="273031" y="63617"/>
                    <a:pt x="286629" y="63617"/>
                  </a:cubicBezTo>
                  <a:cubicBezTo>
                    <a:pt x="300228" y="63617"/>
                    <a:pt x="324705" y="63617"/>
                    <a:pt x="324705" y="79936"/>
                  </a:cubicBezTo>
                  <a:cubicBezTo>
                    <a:pt x="324705" y="88094"/>
                    <a:pt x="321985" y="90814"/>
                    <a:pt x="319265" y="96253"/>
                  </a:cubicBezTo>
                  <a:cubicBezTo>
                    <a:pt x="313826" y="101693"/>
                    <a:pt x="308387" y="104412"/>
                    <a:pt x="302948" y="104412"/>
                  </a:cubicBezTo>
                  <a:cubicBezTo>
                    <a:pt x="289349" y="112571"/>
                    <a:pt x="283910" y="112571"/>
                    <a:pt x="278471" y="112571"/>
                  </a:cubicBezTo>
                  <a:cubicBezTo>
                    <a:pt x="273031" y="112571"/>
                    <a:pt x="253994" y="112571"/>
                    <a:pt x="232236" y="112571"/>
                  </a:cubicBezTo>
                  <a:cubicBezTo>
                    <a:pt x="237676" y="120730"/>
                    <a:pt x="240395" y="128889"/>
                    <a:pt x="240395" y="137048"/>
                  </a:cubicBezTo>
                  <a:cubicBezTo>
                    <a:pt x="240395" y="142487"/>
                    <a:pt x="240395" y="145207"/>
                    <a:pt x="240395" y="150647"/>
                  </a:cubicBezTo>
                  <a:cubicBezTo>
                    <a:pt x="240395" y="153366"/>
                    <a:pt x="240395" y="156086"/>
                    <a:pt x="243115" y="158805"/>
                  </a:cubicBezTo>
                  <a:cubicBezTo>
                    <a:pt x="245835" y="169684"/>
                    <a:pt x="245835" y="180563"/>
                    <a:pt x="248554" y="188722"/>
                  </a:cubicBezTo>
                  <a:cubicBezTo>
                    <a:pt x="248554" y="191441"/>
                    <a:pt x="248554" y="194161"/>
                    <a:pt x="248554" y="199600"/>
                  </a:cubicBezTo>
                  <a:cubicBezTo>
                    <a:pt x="248554" y="207759"/>
                    <a:pt x="248554" y="213198"/>
                    <a:pt x="248554" y="221357"/>
                  </a:cubicBezTo>
                  <a:cubicBezTo>
                    <a:pt x="248554" y="234956"/>
                    <a:pt x="251274" y="248554"/>
                    <a:pt x="253994" y="264872"/>
                  </a:cubicBezTo>
                  <a:cubicBezTo>
                    <a:pt x="256713" y="275751"/>
                    <a:pt x="259433" y="286629"/>
                    <a:pt x="262153" y="297508"/>
                  </a:cubicBezTo>
                  <a:cubicBezTo>
                    <a:pt x="264872" y="305667"/>
                    <a:pt x="264872" y="313826"/>
                    <a:pt x="264872" y="324704"/>
                  </a:cubicBezTo>
                  <a:cubicBezTo>
                    <a:pt x="264872" y="327424"/>
                    <a:pt x="264872" y="330144"/>
                    <a:pt x="264872" y="332863"/>
                  </a:cubicBezTo>
                  <a:cubicBezTo>
                    <a:pt x="264872" y="338303"/>
                    <a:pt x="264872" y="346462"/>
                    <a:pt x="264872" y="351901"/>
                  </a:cubicBezTo>
                  <a:cubicBezTo>
                    <a:pt x="264872" y="357340"/>
                    <a:pt x="262153" y="365499"/>
                    <a:pt x="262153" y="370939"/>
                  </a:cubicBezTo>
                  <a:cubicBezTo>
                    <a:pt x="262153" y="376378"/>
                    <a:pt x="264872" y="384537"/>
                    <a:pt x="267592" y="384537"/>
                  </a:cubicBezTo>
                  <a:cubicBezTo>
                    <a:pt x="273031" y="384537"/>
                    <a:pt x="275751" y="376378"/>
                    <a:pt x="278471" y="370939"/>
                  </a:cubicBezTo>
                  <a:cubicBezTo>
                    <a:pt x="283910" y="360060"/>
                    <a:pt x="289349" y="346462"/>
                    <a:pt x="297508" y="332863"/>
                  </a:cubicBezTo>
                  <a:cubicBezTo>
                    <a:pt x="302948" y="324704"/>
                    <a:pt x="305667" y="313826"/>
                    <a:pt x="311106" y="305667"/>
                  </a:cubicBezTo>
                  <a:cubicBezTo>
                    <a:pt x="319265" y="289349"/>
                    <a:pt x="327424" y="275751"/>
                    <a:pt x="335583" y="259433"/>
                  </a:cubicBezTo>
                  <a:cubicBezTo>
                    <a:pt x="341023" y="248554"/>
                    <a:pt x="349182" y="234956"/>
                    <a:pt x="354621" y="224077"/>
                  </a:cubicBezTo>
                  <a:cubicBezTo>
                    <a:pt x="362780" y="207759"/>
                    <a:pt x="370939" y="191441"/>
                    <a:pt x="381817" y="172404"/>
                  </a:cubicBezTo>
                  <a:cubicBezTo>
                    <a:pt x="389977" y="153366"/>
                    <a:pt x="400855" y="134329"/>
                    <a:pt x="409014" y="118011"/>
                  </a:cubicBezTo>
                  <a:cubicBezTo>
                    <a:pt x="409014" y="115291"/>
                    <a:pt x="409014" y="115291"/>
                    <a:pt x="411734" y="115291"/>
                  </a:cubicBezTo>
                  <a:cubicBezTo>
                    <a:pt x="406294" y="115291"/>
                    <a:pt x="400855" y="115291"/>
                    <a:pt x="398136" y="115291"/>
                  </a:cubicBezTo>
                  <a:cubicBezTo>
                    <a:pt x="392696" y="115291"/>
                    <a:pt x="384537" y="115291"/>
                    <a:pt x="379098" y="109852"/>
                  </a:cubicBezTo>
                  <a:cubicBezTo>
                    <a:pt x="373659" y="107132"/>
                    <a:pt x="368219" y="98973"/>
                    <a:pt x="368219" y="93534"/>
                  </a:cubicBezTo>
                  <a:cubicBezTo>
                    <a:pt x="368219" y="90814"/>
                    <a:pt x="368219" y="88094"/>
                    <a:pt x="370939" y="85375"/>
                  </a:cubicBezTo>
                  <a:cubicBezTo>
                    <a:pt x="373659" y="82655"/>
                    <a:pt x="381817" y="79936"/>
                    <a:pt x="387257" y="77216"/>
                  </a:cubicBezTo>
                  <a:cubicBezTo>
                    <a:pt x="400855" y="74496"/>
                    <a:pt x="414453" y="71776"/>
                    <a:pt x="422612" y="71776"/>
                  </a:cubicBezTo>
                  <a:cubicBezTo>
                    <a:pt x="425332" y="71776"/>
                    <a:pt x="430771" y="71776"/>
                    <a:pt x="436211" y="71776"/>
                  </a:cubicBezTo>
                  <a:cubicBezTo>
                    <a:pt x="436211" y="71776"/>
                    <a:pt x="438930" y="69057"/>
                    <a:pt x="438930" y="69057"/>
                  </a:cubicBezTo>
                  <a:cubicBezTo>
                    <a:pt x="444370" y="66337"/>
                    <a:pt x="447089" y="66337"/>
                    <a:pt x="452529" y="66337"/>
                  </a:cubicBezTo>
                  <a:cubicBezTo>
                    <a:pt x="457968" y="66337"/>
                    <a:pt x="460688" y="66337"/>
                    <a:pt x="466127" y="69057"/>
                  </a:cubicBezTo>
                  <a:cubicBezTo>
                    <a:pt x="468847" y="69057"/>
                    <a:pt x="471566" y="71776"/>
                    <a:pt x="471566" y="71776"/>
                  </a:cubicBezTo>
                  <a:cubicBezTo>
                    <a:pt x="490604" y="71776"/>
                    <a:pt x="506922" y="71776"/>
                    <a:pt x="515081" y="71776"/>
                  </a:cubicBezTo>
                  <a:cubicBezTo>
                    <a:pt x="523240" y="71776"/>
                    <a:pt x="542277" y="71776"/>
                    <a:pt x="542277" y="88094"/>
                  </a:cubicBezTo>
                  <a:cubicBezTo>
                    <a:pt x="542277" y="96253"/>
                    <a:pt x="542277" y="98973"/>
                    <a:pt x="536838" y="104412"/>
                  </a:cubicBezTo>
                  <a:cubicBezTo>
                    <a:pt x="534119" y="109852"/>
                    <a:pt x="528679" y="112571"/>
                    <a:pt x="525959" y="112571"/>
                  </a:cubicBezTo>
                  <a:cubicBezTo>
                    <a:pt x="520520" y="115291"/>
                    <a:pt x="515081" y="115291"/>
                    <a:pt x="509642" y="115291"/>
                  </a:cubicBezTo>
                  <a:cubicBezTo>
                    <a:pt x="506922" y="115291"/>
                    <a:pt x="487884" y="115291"/>
                    <a:pt x="468847" y="115291"/>
                  </a:cubicBezTo>
                  <a:cubicBezTo>
                    <a:pt x="466127" y="123450"/>
                    <a:pt x="460688" y="128889"/>
                    <a:pt x="457968" y="137048"/>
                  </a:cubicBezTo>
                  <a:cubicBezTo>
                    <a:pt x="447089" y="156086"/>
                    <a:pt x="438930" y="175123"/>
                    <a:pt x="430771" y="194161"/>
                  </a:cubicBezTo>
                  <a:cubicBezTo>
                    <a:pt x="419893" y="215918"/>
                    <a:pt x="411734" y="240395"/>
                    <a:pt x="400855" y="262152"/>
                  </a:cubicBezTo>
                  <a:cubicBezTo>
                    <a:pt x="387257" y="289349"/>
                    <a:pt x="373659" y="311106"/>
                    <a:pt x="360060" y="332863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: Shape 38">
              <a:extLst>
                <a:ext uri="{FF2B5EF4-FFF2-40B4-BE49-F238E27FC236}">
                  <a16:creationId xmlns:a16="http://schemas.microsoft.com/office/drawing/2014/main" id="{AA54ECDD-525B-4F0D-A32C-CAD98CC4E1E2}"/>
                </a:ext>
              </a:extLst>
            </p:cNvPr>
            <p:cNvSpPr/>
            <p:nvPr/>
          </p:nvSpPr>
          <p:spPr>
            <a:xfrm>
              <a:off x="4335316" y="4186718"/>
              <a:ext cx="353556" cy="761503"/>
            </a:xfrm>
            <a:custGeom>
              <a:avLst/>
              <a:gdLst>
                <a:gd name="connsiteX0" fmla="*/ 283910 w 353555"/>
                <a:gd name="connsiteY0" fmla="*/ 672820 h 761503"/>
                <a:gd name="connsiteX1" fmla="*/ 321985 w 353555"/>
                <a:gd name="connsiteY1" fmla="*/ 689138 h 761503"/>
                <a:gd name="connsiteX2" fmla="*/ 316546 w 353555"/>
                <a:gd name="connsiteY2" fmla="*/ 705456 h 761503"/>
                <a:gd name="connsiteX3" fmla="*/ 300228 w 353555"/>
                <a:gd name="connsiteY3" fmla="*/ 713615 h 761503"/>
                <a:gd name="connsiteX4" fmla="*/ 278471 w 353555"/>
                <a:gd name="connsiteY4" fmla="*/ 716335 h 761503"/>
                <a:gd name="connsiteX5" fmla="*/ 237676 w 353555"/>
                <a:gd name="connsiteY5" fmla="*/ 716335 h 761503"/>
                <a:gd name="connsiteX6" fmla="*/ 180563 w 353555"/>
                <a:gd name="connsiteY6" fmla="*/ 719054 h 761503"/>
                <a:gd name="connsiteX7" fmla="*/ 126170 w 353555"/>
                <a:gd name="connsiteY7" fmla="*/ 719054 h 761503"/>
                <a:gd name="connsiteX8" fmla="*/ 101693 w 353555"/>
                <a:gd name="connsiteY8" fmla="*/ 719054 h 761503"/>
                <a:gd name="connsiteX9" fmla="*/ 74496 w 353555"/>
                <a:gd name="connsiteY9" fmla="*/ 713615 h 761503"/>
                <a:gd name="connsiteX10" fmla="*/ 58178 w 353555"/>
                <a:gd name="connsiteY10" fmla="*/ 697297 h 761503"/>
                <a:gd name="connsiteX11" fmla="*/ 63617 w 353555"/>
                <a:gd name="connsiteY11" fmla="*/ 689138 h 761503"/>
                <a:gd name="connsiteX12" fmla="*/ 85375 w 353555"/>
                <a:gd name="connsiteY12" fmla="*/ 680979 h 761503"/>
                <a:gd name="connsiteX13" fmla="*/ 131609 w 353555"/>
                <a:gd name="connsiteY13" fmla="*/ 675540 h 761503"/>
                <a:gd name="connsiteX14" fmla="*/ 142488 w 353555"/>
                <a:gd name="connsiteY14" fmla="*/ 675540 h 761503"/>
                <a:gd name="connsiteX15" fmla="*/ 131609 w 353555"/>
                <a:gd name="connsiteY15" fmla="*/ 653783 h 761503"/>
                <a:gd name="connsiteX16" fmla="*/ 128889 w 353555"/>
                <a:gd name="connsiteY16" fmla="*/ 640184 h 761503"/>
                <a:gd name="connsiteX17" fmla="*/ 128889 w 353555"/>
                <a:gd name="connsiteY17" fmla="*/ 629306 h 761503"/>
                <a:gd name="connsiteX18" fmla="*/ 128889 w 353555"/>
                <a:gd name="connsiteY18" fmla="*/ 621147 h 761503"/>
                <a:gd name="connsiteX19" fmla="*/ 128889 w 353555"/>
                <a:gd name="connsiteY19" fmla="*/ 593950 h 761503"/>
                <a:gd name="connsiteX20" fmla="*/ 128889 w 353555"/>
                <a:gd name="connsiteY20" fmla="*/ 583072 h 761503"/>
                <a:gd name="connsiteX21" fmla="*/ 128889 w 353555"/>
                <a:gd name="connsiteY21" fmla="*/ 436210 h 761503"/>
                <a:gd name="connsiteX22" fmla="*/ 128889 w 353555"/>
                <a:gd name="connsiteY22" fmla="*/ 357340 h 761503"/>
                <a:gd name="connsiteX23" fmla="*/ 131609 w 353555"/>
                <a:gd name="connsiteY23" fmla="*/ 289349 h 761503"/>
                <a:gd name="connsiteX24" fmla="*/ 131609 w 353555"/>
                <a:gd name="connsiteY24" fmla="*/ 251274 h 761503"/>
                <a:gd name="connsiteX25" fmla="*/ 131609 w 353555"/>
                <a:gd name="connsiteY25" fmla="*/ 205040 h 761503"/>
                <a:gd name="connsiteX26" fmla="*/ 131609 w 353555"/>
                <a:gd name="connsiteY26" fmla="*/ 139768 h 761503"/>
                <a:gd name="connsiteX27" fmla="*/ 131609 w 353555"/>
                <a:gd name="connsiteY27" fmla="*/ 128889 h 761503"/>
                <a:gd name="connsiteX28" fmla="*/ 126170 w 353555"/>
                <a:gd name="connsiteY28" fmla="*/ 128889 h 761503"/>
                <a:gd name="connsiteX29" fmla="*/ 101693 w 353555"/>
                <a:gd name="connsiteY29" fmla="*/ 128889 h 761503"/>
                <a:gd name="connsiteX30" fmla="*/ 74496 w 353555"/>
                <a:gd name="connsiteY30" fmla="*/ 123450 h 761503"/>
                <a:gd name="connsiteX31" fmla="*/ 58178 w 353555"/>
                <a:gd name="connsiteY31" fmla="*/ 107132 h 761503"/>
                <a:gd name="connsiteX32" fmla="*/ 60898 w 353555"/>
                <a:gd name="connsiteY32" fmla="*/ 98973 h 761503"/>
                <a:gd name="connsiteX33" fmla="*/ 82655 w 353555"/>
                <a:gd name="connsiteY33" fmla="*/ 93534 h 761503"/>
                <a:gd name="connsiteX34" fmla="*/ 131609 w 353555"/>
                <a:gd name="connsiteY34" fmla="*/ 88094 h 761503"/>
                <a:gd name="connsiteX35" fmla="*/ 131609 w 353555"/>
                <a:gd name="connsiteY35" fmla="*/ 82655 h 761503"/>
                <a:gd name="connsiteX36" fmla="*/ 134329 w 353555"/>
                <a:gd name="connsiteY36" fmla="*/ 71776 h 761503"/>
                <a:gd name="connsiteX37" fmla="*/ 147927 w 353555"/>
                <a:gd name="connsiteY37" fmla="*/ 63617 h 761503"/>
                <a:gd name="connsiteX38" fmla="*/ 164245 w 353555"/>
                <a:gd name="connsiteY38" fmla="*/ 58178 h 761503"/>
                <a:gd name="connsiteX39" fmla="*/ 177843 w 353555"/>
                <a:gd name="connsiteY39" fmla="*/ 58178 h 761503"/>
                <a:gd name="connsiteX40" fmla="*/ 196881 w 353555"/>
                <a:gd name="connsiteY40" fmla="*/ 60898 h 761503"/>
                <a:gd name="connsiteX41" fmla="*/ 232236 w 353555"/>
                <a:gd name="connsiteY41" fmla="*/ 88094 h 761503"/>
                <a:gd name="connsiteX42" fmla="*/ 278471 w 353555"/>
                <a:gd name="connsiteY42" fmla="*/ 88094 h 761503"/>
                <a:gd name="connsiteX43" fmla="*/ 316546 w 353555"/>
                <a:gd name="connsiteY43" fmla="*/ 104412 h 761503"/>
                <a:gd name="connsiteX44" fmla="*/ 311106 w 353555"/>
                <a:gd name="connsiteY44" fmla="*/ 120730 h 761503"/>
                <a:gd name="connsiteX45" fmla="*/ 294788 w 353555"/>
                <a:gd name="connsiteY45" fmla="*/ 128889 h 761503"/>
                <a:gd name="connsiteX46" fmla="*/ 273031 w 353555"/>
                <a:gd name="connsiteY46" fmla="*/ 131609 h 761503"/>
                <a:gd name="connsiteX47" fmla="*/ 243115 w 353555"/>
                <a:gd name="connsiteY47" fmla="*/ 131609 h 761503"/>
                <a:gd name="connsiteX48" fmla="*/ 243115 w 353555"/>
                <a:gd name="connsiteY48" fmla="*/ 134329 h 761503"/>
                <a:gd name="connsiteX49" fmla="*/ 248554 w 353555"/>
                <a:gd name="connsiteY49" fmla="*/ 169684 h 761503"/>
                <a:gd name="connsiteX50" fmla="*/ 251274 w 353555"/>
                <a:gd name="connsiteY50" fmla="*/ 205040 h 761503"/>
                <a:gd name="connsiteX51" fmla="*/ 251274 w 353555"/>
                <a:gd name="connsiteY51" fmla="*/ 240395 h 761503"/>
                <a:gd name="connsiteX52" fmla="*/ 251274 w 353555"/>
                <a:gd name="connsiteY52" fmla="*/ 256713 h 761503"/>
                <a:gd name="connsiteX53" fmla="*/ 253994 w 353555"/>
                <a:gd name="connsiteY53" fmla="*/ 270311 h 761503"/>
                <a:gd name="connsiteX54" fmla="*/ 259433 w 353555"/>
                <a:gd name="connsiteY54" fmla="*/ 343742 h 761503"/>
                <a:gd name="connsiteX55" fmla="*/ 262153 w 353555"/>
                <a:gd name="connsiteY55" fmla="*/ 425332 h 761503"/>
                <a:gd name="connsiteX56" fmla="*/ 264872 w 353555"/>
                <a:gd name="connsiteY56" fmla="*/ 490603 h 761503"/>
                <a:gd name="connsiteX57" fmla="*/ 270312 w 353555"/>
                <a:gd name="connsiteY57" fmla="*/ 564034 h 761503"/>
                <a:gd name="connsiteX58" fmla="*/ 270312 w 353555"/>
                <a:gd name="connsiteY58" fmla="*/ 599390 h 761503"/>
                <a:gd name="connsiteX59" fmla="*/ 270312 w 353555"/>
                <a:gd name="connsiteY59" fmla="*/ 637465 h 761503"/>
                <a:gd name="connsiteX60" fmla="*/ 264872 w 353555"/>
                <a:gd name="connsiteY60" fmla="*/ 670101 h 761503"/>
                <a:gd name="connsiteX61" fmla="*/ 283910 w 353555"/>
                <a:gd name="connsiteY61" fmla="*/ 672820 h 761503"/>
                <a:gd name="connsiteX62" fmla="*/ 283910 w 353555"/>
                <a:gd name="connsiteY62" fmla="*/ 672820 h 761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</a:cxnLst>
              <a:rect l="l" t="t" r="r" b="b"/>
              <a:pathLst>
                <a:path w="353555" h="761503">
                  <a:moveTo>
                    <a:pt x="283910" y="672820"/>
                  </a:moveTo>
                  <a:cubicBezTo>
                    <a:pt x="297508" y="672820"/>
                    <a:pt x="321985" y="672820"/>
                    <a:pt x="321985" y="689138"/>
                  </a:cubicBezTo>
                  <a:cubicBezTo>
                    <a:pt x="321985" y="697297"/>
                    <a:pt x="319265" y="697297"/>
                    <a:pt x="316546" y="705456"/>
                  </a:cubicBezTo>
                  <a:cubicBezTo>
                    <a:pt x="311106" y="710895"/>
                    <a:pt x="305667" y="713615"/>
                    <a:pt x="300228" y="713615"/>
                  </a:cubicBezTo>
                  <a:cubicBezTo>
                    <a:pt x="292069" y="716335"/>
                    <a:pt x="283910" y="716335"/>
                    <a:pt x="278471" y="716335"/>
                  </a:cubicBezTo>
                  <a:cubicBezTo>
                    <a:pt x="275751" y="716335"/>
                    <a:pt x="256713" y="716335"/>
                    <a:pt x="237676" y="716335"/>
                  </a:cubicBezTo>
                  <a:cubicBezTo>
                    <a:pt x="213199" y="716335"/>
                    <a:pt x="186002" y="719054"/>
                    <a:pt x="180563" y="719054"/>
                  </a:cubicBezTo>
                  <a:cubicBezTo>
                    <a:pt x="166965" y="719054"/>
                    <a:pt x="142488" y="719054"/>
                    <a:pt x="126170" y="719054"/>
                  </a:cubicBezTo>
                  <a:cubicBezTo>
                    <a:pt x="118011" y="719054"/>
                    <a:pt x="109852" y="719054"/>
                    <a:pt x="101693" y="719054"/>
                  </a:cubicBezTo>
                  <a:cubicBezTo>
                    <a:pt x="93534" y="719054"/>
                    <a:pt x="82655" y="719054"/>
                    <a:pt x="74496" y="713615"/>
                  </a:cubicBezTo>
                  <a:cubicBezTo>
                    <a:pt x="66337" y="710895"/>
                    <a:pt x="58178" y="702736"/>
                    <a:pt x="58178" y="697297"/>
                  </a:cubicBezTo>
                  <a:cubicBezTo>
                    <a:pt x="58178" y="694578"/>
                    <a:pt x="58178" y="691858"/>
                    <a:pt x="63617" y="689138"/>
                  </a:cubicBezTo>
                  <a:cubicBezTo>
                    <a:pt x="69057" y="686418"/>
                    <a:pt x="79935" y="683699"/>
                    <a:pt x="85375" y="680979"/>
                  </a:cubicBezTo>
                  <a:cubicBezTo>
                    <a:pt x="104412" y="678260"/>
                    <a:pt x="123450" y="675540"/>
                    <a:pt x="131609" y="675540"/>
                  </a:cubicBezTo>
                  <a:cubicBezTo>
                    <a:pt x="134329" y="675540"/>
                    <a:pt x="137048" y="675540"/>
                    <a:pt x="142488" y="675540"/>
                  </a:cubicBezTo>
                  <a:cubicBezTo>
                    <a:pt x="134329" y="670101"/>
                    <a:pt x="131609" y="661942"/>
                    <a:pt x="131609" y="653783"/>
                  </a:cubicBezTo>
                  <a:cubicBezTo>
                    <a:pt x="131609" y="648343"/>
                    <a:pt x="131609" y="642904"/>
                    <a:pt x="128889" y="640184"/>
                  </a:cubicBezTo>
                  <a:cubicBezTo>
                    <a:pt x="128889" y="637465"/>
                    <a:pt x="128889" y="634745"/>
                    <a:pt x="128889" y="629306"/>
                  </a:cubicBezTo>
                  <a:cubicBezTo>
                    <a:pt x="128889" y="626586"/>
                    <a:pt x="128889" y="623867"/>
                    <a:pt x="128889" y="621147"/>
                  </a:cubicBezTo>
                  <a:cubicBezTo>
                    <a:pt x="128889" y="612988"/>
                    <a:pt x="128889" y="604829"/>
                    <a:pt x="128889" y="593950"/>
                  </a:cubicBezTo>
                  <a:cubicBezTo>
                    <a:pt x="128889" y="591231"/>
                    <a:pt x="128889" y="585791"/>
                    <a:pt x="128889" y="583072"/>
                  </a:cubicBezTo>
                  <a:cubicBezTo>
                    <a:pt x="128889" y="534118"/>
                    <a:pt x="131609" y="485164"/>
                    <a:pt x="128889" y="436210"/>
                  </a:cubicBezTo>
                  <a:cubicBezTo>
                    <a:pt x="128889" y="409014"/>
                    <a:pt x="128889" y="384537"/>
                    <a:pt x="128889" y="357340"/>
                  </a:cubicBezTo>
                  <a:cubicBezTo>
                    <a:pt x="128889" y="335583"/>
                    <a:pt x="131609" y="313826"/>
                    <a:pt x="131609" y="289349"/>
                  </a:cubicBezTo>
                  <a:cubicBezTo>
                    <a:pt x="131609" y="275751"/>
                    <a:pt x="131609" y="264872"/>
                    <a:pt x="131609" y="251274"/>
                  </a:cubicBezTo>
                  <a:cubicBezTo>
                    <a:pt x="131609" y="234956"/>
                    <a:pt x="131609" y="221357"/>
                    <a:pt x="131609" y="205040"/>
                  </a:cubicBezTo>
                  <a:cubicBezTo>
                    <a:pt x="131609" y="183282"/>
                    <a:pt x="131609" y="161525"/>
                    <a:pt x="131609" y="139768"/>
                  </a:cubicBezTo>
                  <a:cubicBezTo>
                    <a:pt x="131609" y="137048"/>
                    <a:pt x="131609" y="134329"/>
                    <a:pt x="131609" y="128889"/>
                  </a:cubicBezTo>
                  <a:cubicBezTo>
                    <a:pt x="128889" y="128889"/>
                    <a:pt x="126170" y="128889"/>
                    <a:pt x="126170" y="128889"/>
                  </a:cubicBezTo>
                  <a:cubicBezTo>
                    <a:pt x="118011" y="128889"/>
                    <a:pt x="109852" y="128889"/>
                    <a:pt x="101693" y="128889"/>
                  </a:cubicBezTo>
                  <a:cubicBezTo>
                    <a:pt x="93534" y="128889"/>
                    <a:pt x="82655" y="128889"/>
                    <a:pt x="74496" y="123450"/>
                  </a:cubicBezTo>
                  <a:cubicBezTo>
                    <a:pt x="66337" y="120730"/>
                    <a:pt x="58178" y="112571"/>
                    <a:pt x="58178" y="107132"/>
                  </a:cubicBezTo>
                  <a:cubicBezTo>
                    <a:pt x="58178" y="104412"/>
                    <a:pt x="58178" y="101693"/>
                    <a:pt x="60898" y="98973"/>
                  </a:cubicBezTo>
                  <a:cubicBezTo>
                    <a:pt x="63617" y="96253"/>
                    <a:pt x="77216" y="93534"/>
                    <a:pt x="82655" y="93534"/>
                  </a:cubicBezTo>
                  <a:cubicBezTo>
                    <a:pt x="98973" y="90814"/>
                    <a:pt x="123450" y="88094"/>
                    <a:pt x="131609" y="88094"/>
                  </a:cubicBezTo>
                  <a:cubicBezTo>
                    <a:pt x="131609" y="85375"/>
                    <a:pt x="131609" y="85375"/>
                    <a:pt x="131609" y="82655"/>
                  </a:cubicBezTo>
                  <a:cubicBezTo>
                    <a:pt x="131609" y="77216"/>
                    <a:pt x="131609" y="74496"/>
                    <a:pt x="134329" y="71776"/>
                  </a:cubicBezTo>
                  <a:cubicBezTo>
                    <a:pt x="137048" y="69057"/>
                    <a:pt x="145207" y="66337"/>
                    <a:pt x="147927" y="63617"/>
                  </a:cubicBezTo>
                  <a:cubicBezTo>
                    <a:pt x="153366" y="60898"/>
                    <a:pt x="158806" y="58178"/>
                    <a:pt x="164245" y="58178"/>
                  </a:cubicBezTo>
                  <a:cubicBezTo>
                    <a:pt x="169684" y="58178"/>
                    <a:pt x="175123" y="58178"/>
                    <a:pt x="177843" y="58178"/>
                  </a:cubicBezTo>
                  <a:cubicBezTo>
                    <a:pt x="183283" y="58178"/>
                    <a:pt x="191442" y="58178"/>
                    <a:pt x="196881" y="60898"/>
                  </a:cubicBezTo>
                  <a:cubicBezTo>
                    <a:pt x="213199" y="63617"/>
                    <a:pt x="224077" y="74496"/>
                    <a:pt x="232236" y="88094"/>
                  </a:cubicBezTo>
                  <a:cubicBezTo>
                    <a:pt x="253994" y="88094"/>
                    <a:pt x="270312" y="88094"/>
                    <a:pt x="278471" y="88094"/>
                  </a:cubicBezTo>
                  <a:cubicBezTo>
                    <a:pt x="292069" y="88094"/>
                    <a:pt x="316546" y="88094"/>
                    <a:pt x="316546" y="104412"/>
                  </a:cubicBezTo>
                  <a:cubicBezTo>
                    <a:pt x="316546" y="112571"/>
                    <a:pt x="313826" y="112571"/>
                    <a:pt x="311106" y="120730"/>
                  </a:cubicBezTo>
                  <a:cubicBezTo>
                    <a:pt x="305667" y="126170"/>
                    <a:pt x="300228" y="128889"/>
                    <a:pt x="294788" y="128889"/>
                  </a:cubicBezTo>
                  <a:cubicBezTo>
                    <a:pt x="286630" y="131609"/>
                    <a:pt x="278471" y="131609"/>
                    <a:pt x="273031" y="131609"/>
                  </a:cubicBezTo>
                  <a:cubicBezTo>
                    <a:pt x="270312" y="131609"/>
                    <a:pt x="259433" y="131609"/>
                    <a:pt x="243115" y="131609"/>
                  </a:cubicBezTo>
                  <a:lnTo>
                    <a:pt x="243115" y="134329"/>
                  </a:lnTo>
                  <a:cubicBezTo>
                    <a:pt x="245835" y="145207"/>
                    <a:pt x="245835" y="158805"/>
                    <a:pt x="248554" y="169684"/>
                  </a:cubicBezTo>
                  <a:cubicBezTo>
                    <a:pt x="251274" y="180563"/>
                    <a:pt x="251274" y="194161"/>
                    <a:pt x="251274" y="205040"/>
                  </a:cubicBezTo>
                  <a:cubicBezTo>
                    <a:pt x="251274" y="215918"/>
                    <a:pt x="251274" y="226797"/>
                    <a:pt x="251274" y="240395"/>
                  </a:cubicBezTo>
                  <a:cubicBezTo>
                    <a:pt x="251274" y="245834"/>
                    <a:pt x="251274" y="251274"/>
                    <a:pt x="251274" y="256713"/>
                  </a:cubicBezTo>
                  <a:cubicBezTo>
                    <a:pt x="251274" y="262152"/>
                    <a:pt x="251274" y="267592"/>
                    <a:pt x="253994" y="270311"/>
                  </a:cubicBezTo>
                  <a:cubicBezTo>
                    <a:pt x="256713" y="294788"/>
                    <a:pt x="256713" y="319265"/>
                    <a:pt x="259433" y="343742"/>
                  </a:cubicBezTo>
                  <a:cubicBezTo>
                    <a:pt x="259433" y="370939"/>
                    <a:pt x="262153" y="398135"/>
                    <a:pt x="262153" y="425332"/>
                  </a:cubicBezTo>
                  <a:cubicBezTo>
                    <a:pt x="262153" y="447089"/>
                    <a:pt x="262153" y="468846"/>
                    <a:pt x="264872" y="490603"/>
                  </a:cubicBezTo>
                  <a:cubicBezTo>
                    <a:pt x="264872" y="515080"/>
                    <a:pt x="270312" y="539557"/>
                    <a:pt x="270312" y="564034"/>
                  </a:cubicBezTo>
                  <a:cubicBezTo>
                    <a:pt x="270312" y="574913"/>
                    <a:pt x="270312" y="588511"/>
                    <a:pt x="270312" y="599390"/>
                  </a:cubicBezTo>
                  <a:cubicBezTo>
                    <a:pt x="270312" y="612988"/>
                    <a:pt x="270312" y="623867"/>
                    <a:pt x="270312" y="637465"/>
                  </a:cubicBezTo>
                  <a:cubicBezTo>
                    <a:pt x="270312" y="648343"/>
                    <a:pt x="270312" y="661942"/>
                    <a:pt x="264872" y="670101"/>
                  </a:cubicBezTo>
                  <a:cubicBezTo>
                    <a:pt x="273031" y="672820"/>
                    <a:pt x="278471" y="672820"/>
                    <a:pt x="283910" y="672820"/>
                  </a:cubicBezTo>
                  <a:lnTo>
                    <a:pt x="283910" y="672820"/>
                  </a:ln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0" name="Freeform: Shape 39">
              <a:extLst>
                <a:ext uri="{FF2B5EF4-FFF2-40B4-BE49-F238E27FC236}">
                  <a16:creationId xmlns:a16="http://schemas.microsoft.com/office/drawing/2014/main" id="{099AA5A5-B810-47BF-9870-E078E580E225}"/>
                </a:ext>
              </a:extLst>
            </p:cNvPr>
            <p:cNvSpPr/>
            <p:nvPr/>
          </p:nvSpPr>
          <p:spPr>
            <a:xfrm>
              <a:off x="4620880" y="4194877"/>
              <a:ext cx="598325" cy="761503"/>
            </a:xfrm>
            <a:custGeom>
              <a:avLst/>
              <a:gdLst>
                <a:gd name="connsiteX0" fmla="*/ 515081 w 598324"/>
                <a:gd name="connsiteY0" fmla="*/ 79935 h 761503"/>
                <a:gd name="connsiteX1" fmla="*/ 542277 w 598324"/>
                <a:gd name="connsiteY1" fmla="*/ 96253 h 761503"/>
                <a:gd name="connsiteX2" fmla="*/ 536838 w 598324"/>
                <a:gd name="connsiteY2" fmla="*/ 112571 h 761503"/>
                <a:gd name="connsiteX3" fmla="*/ 523240 w 598324"/>
                <a:gd name="connsiteY3" fmla="*/ 120730 h 761503"/>
                <a:gd name="connsiteX4" fmla="*/ 506922 w 598324"/>
                <a:gd name="connsiteY4" fmla="*/ 123450 h 761503"/>
                <a:gd name="connsiteX5" fmla="*/ 477006 w 598324"/>
                <a:gd name="connsiteY5" fmla="*/ 123450 h 761503"/>
                <a:gd name="connsiteX6" fmla="*/ 479725 w 598324"/>
                <a:gd name="connsiteY6" fmla="*/ 145207 h 761503"/>
                <a:gd name="connsiteX7" fmla="*/ 477006 w 598324"/>
                <a:gd name="connsiteY7" fmla="*/ 180563 h 761503"/>
                <a:gd name="connsiteX8" fmla="*/ 482445 w 598324"/>
                <a:gd name="connsiteY8" fmla="*/ 232236 h 761503"/>
                <a:gd name="connsiteX9" fmla="*/ 485165 w 598324"/>
                <a:gd name="connsiteY9" fmla="*/ 283909 h 761503"/>
                <a:gd name="connsiteX10" fmla="*/ 485165 w 598324"/>
                <a:gd name="connsiteY10" fmla="*/ 327424 h 761503"/>
                <a:gd name="connsiteX11" fmla="*/ 487884 w 598324"/>
                <a:gd name="connsiteY11" fmla="*/ 373658 h 761503"/>
                <a:gd name="connsiteX12" fmla="*/ 485165 w 598324"/>
                <a:gd name="connsiteY12" fmla="*/ 419892 h 761503"/>
                <a:gd name="connsiteX13" fmla="*/ 485165 w 598324"/>
                <a:gd name="connsiteY13" fmla="*/ 463407 h 761503"/>
                <a:gd name="connsiteX14" fmla="*/ 482445 w 598324"/>
                <a:gd name="connsiteY14" fmla="*/ 515080 h 761503"/>
                <a:gd name="connsiteX15" fmla="*/ 482445 w 598324"/>
                <a:gd name="connsiteY15" fmla="*/ 558595 h 761503"/>
                <a:gd name="connsiteX16" fmla="*/ 479725 w 598324"/>
                <a:gd name="connsiteY16" fmla="*/ 602109 h 761503"/>
                <a:gd name="connsiteX17" fmla="*/ 485165 w 598324"/>
                <a:gd name="connsiteY17" fmla="*/ 648343 h 761503"/>
                <a:gd name="connsiteX18" fmla="*/ 474286 w 598324"/>
                <a:gd name="connsiteY18" fmla="*/ 675540 h 761503"/>
                <a:gd name="connsiteX19" fmla="*/ 428052 w 598324"/>
                <a:gd name="connsiteY19" fmla="*/ 691858 h 761503"/>
                <a:gd name="connsiteX20" fmla="*/ 387257 w 598324"/>
                <a:gd name="connsiteY20" fmla="*/ 683699 h 761503"/>
                <a:gd name="connsiteX21" fmla="*/ 351901 w 598324"/>
                <a:gd name="connsiteY21" fmla="*/ 664661 h 761503"/>
                <a:gd name="connsiteX22" fmla="*/ 305667 w 598324"/>
                <a:gd name="connsiteY22" fmla="*/ 596670 h 761503"/>
                <a:gd name="connsiteX23" fmla="*/ 270312 w 598324"/>
                <a:gd name="connsiteY23" fmla="*/ 509641 h 761503"/>
                <a:gd name="connsiteX24" fmla="*/ 251274 w 598324"/>
                <a:gd name="connsiteY24" fmla="*/ 460687 h 761503"/>
                <a:gd name="connsiteX25" fmla="*/ 224077 w 598324"/>
                <a:gd name="connsiteY25" fmla="*/ 381817 h 761503"/>
                <a:gd name="connsiteX26" fmla="*/ 207759 w 598324"/>
                <a:gd name="connsiteY26" fmla="*/ 330144 h 761503"/>
                <a:gd name="connsiteX27" fmla="*/ 191442 w 598324"/>
                <a:gd name="connsiteY27" fmla="*/ 286629 h 761503"/>
                <a:gd name="connsiteX28" fmla="*/ 183283 w 598324"/>
                <a:gd name="connsiteY28" fmla="*/ 278470 h 761503"/>
                <a:gd name="connsiteX29" fmla="*/ 180563 w 598324"/>
                <a:gd name="connsiteY29" fmla="*/ 292068 h 761503"/>
                <a:gd name="connsiteX30" fmla="*/ 180563 w 598324"/>
                <a:gd name="connsiteY30" fmla="*/ 305667 h 761503"/>
                <a:gd name="connsiteX31" fmla="*/ 183283 w 598324"/>
                <a:gd name="connsiteY31" fmla="*/ 354620 h 761503"/>
                <a:gd name="connsiteX32" fmla="*/ 188722 w 598324"/>
                <a:gd name="connsiteY32" fmla="*/ 449808 h 761503"/>
                <a:gd name="connsiteX33" fmla="*/ 188722 w 598324"/>
                <a:gd name="connsiteY33" fmla="*/ 479725 h 761503"/>
                <a:gd name="connsiteX34" fmla="*/ 188722 w 598324"/>
                <a:gd name="connsiteY34" fmla="*/ 542277 h 761503"/>
                <a:gd name="connsiteX35" fmla="*/ 186002 w 598324"/>
                <a:gd name="connsiteY35" fmla="*/ 615708 h 761503"/>
                <a:gd name="connsiteX36" fmla="*/ 186002 w 598324"/>
                <a:gd name="connsiteY36" fmla="*/ 637465 h 761503"/>
                <a:gd name="connsiteX37" fmla="*/ 183283 w 598324"/>
                <a:gd name="connsiteY37" fmla="*/ 664661 h 761503"/>
                <a:gd name="connsiteX38" fmla="*/ 226797 w 598324"/>
                <a:gd name="connsiteY38" fmla="*/ 664661 h 761503"/>
                <a:gd name="connsiteX39" fmla="*/ 253994 w 598324"/>
                <a:gd name="connsiteY39" fmla="*/ 680979 h 761503"/>
                <a:gd name="connsiteX40" fmla="*/ 248554 w 598324"/>
                <a:gd name="connsiteY40" fmla="*/ 697297 h 761503"/>
                <a:gd name="connsiteX41" fmla="*/ 234956 w 598324"/>
                <a:gd name="connsiteY41" fmla="*/ 705456 h 761503"/>
                <a:gd name="connsiteX42" fmla="*/ 218638 w 598324"/>
                <a:gd name="connsiteY42" fmla="*/ 708176 h 761503"/>
                <a:gd name="connsiteX43" fmla="*/ 183283 w 598324"/>
                <a:gd name="connsiteY43" fmla="*/ 708176 h 761503"/>
                <a:gd name="connsiteX44" fmla="*/ 150647 w 598324"/>
                <a:gd name="connsiteY44" fmla="*/ 708176 h 761503"/>
                <a:gd name="connsiteX45" fmla="*/ 107132 w 598324"/>
                <a:gd name="connsiteY45" fmla="*/ 708176 h 761503"/>
                <a:gd name="connsiteX46" fmla="*/ 88094 w 598324"/>
                <a:gd name="connsiteY46" fmla="*/ 708176 h 761503"/>
                <a:gd name="connsiteX47" fmla="*/ 69057 w 598324"/>
                <a:gd name="connsiteY47" fmla="*/ 702736 h 761503"/>
                <a:gd name="connsiteX48" fmla="*/ 58178 w 598324"/>
                <a:gd name="connsiteY48" fmla="*/ 686418 h 761503"/>
                <a:gd name="connsiteX49" fmla="*/ 60898 w 598324"/>
                <a:gd name="connsiteY49" fmla="*/ 678259 h 761503"/>
                <a:gd name="connsiteX50" fmla="*/ 77216 w 598324"/>
                <a:gd name="connsiteY50" fmla="*/ 670101 h 761503"/>
                <a:gd name="connsiteX51" fmla="*/ 120730 w 598324"/>
                <a:gd name="connsiteY51" fmla="*/ 664661 h 761503"/>
                <a:gd name="connsiteX52" fmla="*/ 131609 w 598324"/>
                <a:gd name="connsiteY52" fmla="*/ 664661 h 761503"/>
                <a:gd name="connsiteX53" fmla="*/ 134329 w 598324"/>
                <a:gd name="connsiteY53" fmla="*/ 539557 h 761503"/>
                <a:gd name="connsiteX54" fmla="*/ 134329 w 598324"/>
                <a:gd name="connsiteY54" fmla="*/ 504201 h 761503"/>
                <a:gd name="connsiteX55" fmla="*/ 131609 w 598324"/>
                <a:gd name="connsiteY55" fmla="*/ 376378 h 761503"/>
                <a:gd name="connsiteX56" fmla="*/ 131609 w 598324"/>
                <a:gd name="connsiteY56" fmla="*/ 302947 h 761503"/>
                <a:gd name="connsiteX57" fmla="*/ 134329 w 598324"/>
                <a:gd name="connsiteY57" fmla="*/ 221357 h 761503"/>
                <a:gd name="connsiteX58" fmla="*/ 137048 w 598324"/>
                <a:gd name="connsiteY58" fmla="*/ 123450 h 761503"/>
                <a:gd name="connsiteX59" fmla="*/ 107132 w 598324"/>
                <a:gd name="connsiteY59" fmla="*/ 123450 h 761503"/>
                <a:gd name="connsiteX60" fmla="*/ 88094 w 598324"/>
                <a:gd name="connsiteY60" fmla="*/ 123450 h 761503"/>
                <a:gd name="connsiteX61" fmla="*/ 69057 w 598324"/>
                <a:gd name="connsiteY61" fmla="*/ 118011 h 761503"/>
                <a:gd name="connsiteX62" fmla="*/ 58178 w 598324"/>
                <a:gd name="connsiteY62" fmla="*/ 101693 h 761503"/>
                <a:gd name="connsiteX63" fmla="*/ 60898 w 598324"/>
                <a:gd name="connsiteY63" fmla="*/ 93534 h 761503"/>
                <a:gd name="connsiteX64" fmla="*/ 77216 w 598324"/>
                <a:gd name="connsiteY64" fmla="*/ 85375 h 761503"/>
                <a:gd name="connsiteX65" fmla="*/ 131609 w 598324"/>
                <a:gd name="connsiteY65" fmla="*/ 79935 h 761503"/>
                <a:gd name="connsiteX66" fmla="*/ 161525 w 598324"/>
                <a:gd name="connsiteY66" fmla="*/ 79935 h 761503"/>
                <a:gd name="connsiteX67" fmla="*/ 177843 w 598324"/>
                <a:gd name="connsiteY67" fmla="*/ 66337 h 761503"/>
                <a:gd name="connsiteX68" fmla="*/ 202320 w 598324"/>
                <a:gd name="connsiteY68" fmla="*/ 58178 h 761503"/>
                <a:gd name="connsiteX69" fmla="*/ 234956 w 598324"/>
                <a:gd name="connsiteY69" fmla="*/ 77216 h 761503"/>
                <a:gd name="connsiteX70" fmla="*/ 251274 w 598324"/>
                <a:gd name="connsiteY70" fmla="*/ 107132 h 761503"/>
                <a:gd name="connsiteX71" fmla="*/ 267592 w 598324"/>
                <a:gd name="connsiteY71" fmla="*/ 147927 h 761503"/>
                <a:gd name="connsiteX72" fmla="*/ 281190 w 598324"/>
                <a:gd name="connsiteY72" fmla="*/ 183282 h 761503"/>
                <a:gd name="connsiteX73" fmla="*/ 297508 w 598324"/>
                <a:gd name="connsiteY73" fmla="*/ 224077 h 761503"/>
                <a:gd name="connsiteX74" fmla="*/ 308387 w 598324"/>
                <a:gd name="connsiteY74" fmla="*/ 264872 h 761503"/>
                <a:gd name="connsiteX75" fmla="*/ 319265 w 598324"/>
                <a:gd name="connsiteY75" fmla="*/ 300227 h 761503"/>
                <a:gd name="connsiteX76" fmla="*/ 351901 w 598324"/>
                <a:gd name="connsiteY76" fmla="*/ 379097 h 761503"/>
                <a:gd name="connsiteX77" fmla="*/ 365500 w 598324"/>
                <a:gd name="connsiteY77" fmla="*/ 417173 h 761503"/>
                <a:gd name="connsiteX78" fmla="*/ 379098 w 598324"/>
                <a:gd name="connsiteY78" fmla="*/ 457967 h 761503"/>
                <a:gd name="connsiteX79" fmla="*/ 395416 w 598324"/>
                <a:gd name="connsiteY79" fmla="*/ 496043 h 761503"/>
                <a:gd name="connsiteX80" fmla="*/ 406294 w 598324"/>
                <a:gd name="connsiteY80" fmla="*/ 512361 h 761503"/>
                <a:gd name="connsiteX81" fmla="*/ 411734 w 598324"/>
                <a:gd name="connsiteY81" fmla="*/ 531398 h 761503"/>
                <a:gd name="connsiteX82" fmla="*/ 419893 w 598324"/>
                <a:gd name="connsiteY82" fmla="*/ 558595 h 761503"/>
                <a:gd name="connsiteX83" fmla="*/ 425332 w 598324"/>
                <a:gd name="connsiteY83" fmla="*/ 564034 h 761503"/>
                <a:gd name="connsiteX84" fmla="*/ 430771 w 598324"/>
                <a:gd name="connsiteY84" fmla="*/ 558595 h 761503"/>
                <a:gd name="connsiteX85" fmla="*/ 430771 w 598324"/>
                <a:gd name="connsiteY85" fmla="*/ 550436 h 761503"/>
                <a:gd name="connsiteX86" fmla="*/ 430771 w 598324"/>
                <a:gd name="connsiteY86" fmla="*/ 501482 h 761503"/>
                <a:gd name="connsiteX87" fmla="*/ 430771 w 598324"/>
                <a:gd name="connsiteY87" fmla="*/ 403574 h 761503"/>
                <a:gd name="connsiteX88" fmla="*/ 425332 w 598324"/>
                <a:gd name="connsiteY88" fmla="*/ 313826 h 761503"/>
                <a:gd name="connsiteX89" fmla="*/ 425332 w 598324"/>
                <a:gd name="connsiteY89" fmla="*/ 248554 h 761503"/>
                <a:gd name="connsiteX90" fmla="*/ 425332 w 598324"/>
                <a:gd name="connsiteY90" fmla="*/ 210479 h 761503"/>
                <a:gd name="connsiteX91" fmla="*/ 422613 w 598324"/>
                <a:gd name="connsiteY91" fmla="*/ 153366 h 761503"/>
                <a:gd name="connsiteX92" fmla="*/ 425332 w 598324"/>
                <a:gd name="connsiteY92" fmla="*/ 123450 h 761503"/>
                <a:gd name="connsiteX93" fmla="*/ 398136 w 598324"/>
                <a:gd name="connsiteY93" fmla="*/ 123450 h 761503"/>
                <a:gd name="connsiteX94" fmla="*/ 379098 w 598324"/>
                <a:gd name="connsiteY94" fmla="*/ 123450 h 761503"/>
                <a:gd name="connsiteX95" fmla="*/ 360060 w 598324"/>
                <a:gd name="connsiteY95" fmla="*/ 118011 h 761503"/>
                <a:gd name="connsiteX96" fmla="*/ 349182 w 598324"/>
                <a:gd name="connsiteY96" fmla="*/ 101693 h 761503"/>
                <a:gd name="connsiteX97" fmla="*/ 351901 w 598324"/>
                <a:gd name="connsiteY97" fmla="*/ 93534 h 761503"/>
                <a:gd name="connsiteX98" fmla="*/ 368219 w 598324"/>
                <a:gd name="connsiteY98" fmla="*/ 85375 h 761503"/>
                <a:gd name="connsiteX99" fmla="*/ 422613 w 598324"/>
                <a:gd name="connsiteY99" fmla="*/ 79935 h 761503"/>
                <a:gd name="connsiteX100" fmla="*/ 444370 w 598324"/>
                <a:gd name="connsiteY100" fmla="*/ 79935 h 761503"/>
                <a:gd name="connsiteX101" fmla="*/ 463407 w 598324"/>
                <a:gd name="connsiteY101" fmla="*/ 71776 h 761503"/>
                <a:gd name="connsiteX102" fmla="*/ 477006 w 598324"/>
                <a:gd name="connsiteY102" fmla="*/ 79935 h 761503"/>
                <a:gd name="connsiteX103" fmla="*/ 515081 w 598324"/>
                <a:gd name="connsiteY103" fmla="*/ 79935 h 761503"/>
                <a:gd name="connsiteX104" fmla="*/ 515081 w 598324"/>
                <a:gd name="connsiteY104" fmla="*/ 79935 h 761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</a:cxnLst>
              <a:rect l="l" t="t" r="r" b="b"/>
              <a:pathLst>
                <a:path w="598324" h="761503">
                  <a:moveTo>
                    <a:pt x="515081" y="79935"/>
                  </a:moveTo>
                  <a:cubicBezTo>
                    <a:pt x="523240" y="79935"/>
                    <a:pt x="542277" y="79935"/>
                    <a:pt x="542277" y="96253"/>
                  </a:cubicBezTo>
                  <a:cubicBezTo>
                    <a:pt x="542277" y="104412"/>
                    <a:pt x="542277" y="107132"/>
                    <a:pt x="536838" y="112571"/>
                  </a:cubicBezTo>
                  <a:cubicBezTo>
                    <a:pt x="534119" y="118011"/>
                    <a:pt x="528679" y="120730"/>
                    <a:pt x="523240" y="120730"/>
                  </a:cubicBezTo>
                  <a:cubicBezTo>
                    <a:pt x="515081" y="123450"/>
                    <a:pt x="512361" y="123450"/>
                    <a:pt x="506922" y="123450"/>
                  </a:cubicBezTo>
                  <a:cubicBezTo>
                    <a:pt x="504202" y="123450"/>
                    <a:pt x="490604" y="123450"/>
                    <a:pt x="477006" y="123450"/>
                  </a:cubicBezTo>
                  <a:cubicBezTo>
                    <a:pt x="477006" y="131609"/>
                    <a:pt x="479725" y="137048"/>
                    <a:pt x="479725" y="145207"/>
                  </a:cubicBezTo>
                  <a:cubicBezTo>
                    <a:pt x="479725" y="156086"/>
                    <a:pt x="477006" y="166964"/>
                    <a:pt x="477006" y="180563"/>
                  </a:cubicBezTo>
                  <a:cubicBezTo>
                    <a:pt x="477006" y="196881"/>
                    <a:pt x="479725" y="215918"/>
                    <a:pt x="482445" y="232236"/>
                  </a:cubicBezTo>
                  <a:cubicBezTo>
                    <a:pt x="485165" y="248554"/>
                    <a:pt x="485165" y="267592"/>
                    <a:pt x="485165" y="283909"/>
                  </a:cubicBezTo>
                  <a:cubicBezTo>
                    <a:pt x="485165" y="297508"/>
                    <a:pt x="485165" y="313826"/>
                    <a:pt x="485165" y="327424"/>
                  </a:cubicBezTo>
                  <a:cubicBezTo>
                    <a:pt x="485165" y="343742"/>
                    <a:pt x="487884" y="357340"/>
                    <a:pt x="487884" y="373658"/>
                  </a:cubicBezTo>
                  <a:cubicBezTo>
                    <a:pt x="487884" y="389976"/>
                    <a:pt x="485165" y="403574"/>
                    <a:pt x="485165" y="419892"/>
                  </a:cubicBezTo>
                  <a:cubicBezTo>
                    <a:pt x="485165" y="436210"/>
                    <a:pt x="485165" y="449808"/>
                    <a:pt x="485165" y="463407"/>
                  </a:cubicBezTo>
                  <a:cubicBezTo>
                    <a:pt x="485165" y="479725"/>
                    <a:pt x="485165" y="498762"/>
                    <a:pt x="482445" y="515080"/>
                  </a:cubicBezTo>
                  <a:cubicBezTo>
                    <a:pt x="482445" y="528678"/>
                    <a:pt x="482445" y="542277"/>
                    <a:pt x="482445" y="558595"/>
                  </a:cubicBezTo>
                  <a:cubicBezTo>
                    <a:pt x="482445" y="572193"/>
                    <a:pt x="479725" y="588511"/>
                    <a:pt x="479725" y="602109"/>
                  </a:cubicBezTo>
                  <a:cubicBezTo>
                    <a:pt x="479725" y="615708"/>
                    <a:pt x="485165" y="632025"/>
                    <a:pt x="485165" y="648343"/>
                  </a:cubicBezTo>
                  <a:cubicBezTo>
                    <a:pt x="485165" y="659222"/>
                    <a:pt x="482445" y="670101"/>
                    <a:pt x="474286" y="675540"/>
                  </a:cubicBezTo>
                  <a:cubicBezTo>
                    <a:pt x="460688" y="686418"/>
                    <a:pt x="444370" y="691858"/>
                    <a:pt x="428052" y="691858"/>
                  </a:cubicBezTo>
                  <a:cubicBezTo>
                    <a:pt x="414453" y="691858"/>
                    <a:pt x="400855" y="689138"/>
                    <a:pt x="387257" y="683699"/>
                  </a:cubicBezTo>
                  <a:cubicBezTo>
                    <a:pt x="373659" y="678259"/>
                    <a:pt x="360060" y="672820"/>
                    <a:pt x="351901" y="664661"/>
                  </a:cubicBezTo>
                  <a:cubicBezTo>
                    <a:pt x="330144" y="645624"/>
                    <a:pt x="316546" y="621147"/>
                    <a:pt x="305667" y="596670"/>
                  </a:cubicBezTo>
                  <a:cubicBezTo>
                    <a:pt x="292069" y="569473"/>
                    <a:pt x="281190" y="539557"/>
                    <a:pt x="270312" y="509641"/>
                  </a:cubicBezTo>
                  <a:cubicBezTo>
                    <a:pt x="264872" y="493323"/>
                    <a:pt x="256713" y="477005"/>
                    <a:pt x="251274" y="460687"/>
                  </a:cubicBezTo>
                  <a:cubicBezTo>
                    <a:pt x="240395" y="433490"/>
                    <a:pt x="232236" y="409014"/>
                    <a:pt x="224077" y="381817"/>
                  </a:cubicBezTo>
                  <a:cubicBezTo>
                    <a:pt x="218638" y="365499"/>
                    <a:pt x="213199" y="346462"/>
                    <a:pt x="207759" y="330144"/>
                  </a:cubicBezTo>
                  <a:cubicBezTo>
                    <a:pt x="202320" y="316545"/>
                    <a:pt x="196881" y="300227"/>
                    <a:pt x="191442" y="286629"/>
                  </a:cubicBezTo>
                  <a:cubicBezTo>
                    <a:pt x="188722" y="281190"/>
                    <a:pt x="186002" y="278470"/>
                    <a:pt x="183283" y="278470"/>
                  </a:cubicBezTo>
                  <a:cubicBezTo>
                    <a:pt x="180563" y="278470"/>
                    <a:pt x="180563" y="286629"/>
                    <a:pt x="180563" y="292068"/>
                  </a:cubicBezTo>
                  <a:cubicBezTo>
                    <a:pt x="180563" y="297508"/>
                    <a:pt x="180563" y="302947"/>
                    <a:pt x="180563" y="305667"/>
                  </a:cubicBezTo>
                  <a:cubicBezTo>
                    <a:pt x="180563" y="321985"/>
                    <a:pt x="183283" y="338303"/>
                    <a:pt x="183283" y="354620"/>
                  </a:cubicBezTo>
                  <a:cubicBezTo>
                    <a:pt x="183283" y="387256"/>
                    <a:pt x="186002" y="417173"/>
                    <a:pt x="188722" y="449808"/>
                  </a:cubicBezTo>
                  <a:cubicBezTo>
                    <a:pt x="188722" y="460687"/>
                    <a:pt x="188722" y="468846"/>
                    <a:pt x="188722" y="479725"/>
                  </a:cubicBezTo>
                  <a:cubicBezTo>
                    <a:pt x="188722" y="501482"/>
                    <a:pt x="188722" y="523239"/>
                    <a:pt x="188722" y="542277"/>
                  </a:cubicBezTo>
                  <a:cubicBezTo>
                    <a:pt x="188722" y="566754"/>
                    <a:pt x="186002" y="591231"/>
                    <a:pt x="186002" y="615708"/>
                  </a:cubicBezTo>
                  <a:cubicBezTo>
                    <a:pt x="186002" y="623866"/>
                    <a:pt x="186002" y="632025"/>
                    <a:pt x="186002" y="637465"/>
                  </a:cubicBezTo>
                  <a:cubicBezTo>
                    <a:pt x="186002" y="645624"/>
                    <a:pt x="183283" y="656502"/>
                    <a:pt x="183283" y="664661"/>
                  </a:cubicBezTo>
                  <a:cubicBezTo>
                    <a:pt x="202320" y="664661"/>
                    <a:pt x="218638" y="664661"/>
                    <a:pt x="226797" y="664661"/>
                  </a:cubicBezTo>
                  <a:cubicBezTo>
                    <a:pt x="234956" y="664661"/>
                    <a:pt x="253994" y="664661"/>
                    <a:pt x="253994" y="680979"/>
                  </a:cubicBezTo>
                  <a:cubicBezTo>
                    <a:pt x="253994" y="689138"/>
                    <a:pt x="253994" y="691858"/>
                    <a:pt x="248554" y="697297"/>
                  </a:cubicBezTo>
                  <a:cubicBezTo>
                    <a:pt x="245835" y="702736"/>
                    <a:pt x="240395" y="705456"/>
                    <a:pt x="234956" y="705456"/>
                  </a:cubicBezTo>
                  <a:cubicBezTo>
                    <a:pt x="226797" y="708176"/>
                    <a:pt x="224077" y="708176"/>
                    <a:pt x="218638" y="708176"/>
                  </a:cubicBezTo>
                  <a:cubicBezTo>
                    <a:pt x="215918" y="708176"/>
                    <a:pt x="199600" y="708176"/>
                    <a:pt x="183283" y="708176"/>
                  </a:cubicBezTo>
                  <a:cubicBezTo>
                    <a:pt x="166965" y="708176"/>
                    <a:pt x="153366" y="708176"/>
                    <a:pt x="150647" y="708176"/>
                  </a:cubicBezTo>
                  <a:cubicBezTo>
                    <a:pt x="139768" y="708176"/>
                    <a:pt x="120730" y="708176"/>
                    <a:pt x="107132" y="708176"/>
                  </a:cubicBezTo>
                  <a:cubicBezTo>
                    <a:pt x="101693" y="708176"/>
                    <a:pt x="96254" y="708176"/>
                    <a:pt x="88094" y="708176"/>
                  </a:cubicBezTo>
                  <a:cubicBezTo>
                    <a:pt x="82655" y="708176"/>
                    <a:pt x="74496" y="708176"/>
                    <a:pt x="69057" y="702736"/>
                  </a:cubicBezTo>
                  <a:cubicBezTo>
                    <a:pt x="63617" y="700017"/>
                    <a:pt x="58178" y="691858"/>
                    <a:pt x="58178" y="686418"/>
                  </a:cubicBezTo>
                  <a:cubicBezTo>
                    <a:pt x="58178" y="683699"/>
                    <a:pt x="58178" y="680979"/>
                    <a:pt x="60898" y="678259"/>
                  </a:cubicBezTo>
                  <a:cubicBezTo>
                    <a:pt x="63617" y="675540"/>
                    <a:pt x="71777" y="672820"/>
                    <a:pt x="77216" y="670101"/>
                  </a:cubicBezTo>
                  <a:cubicBezTo>
                    <a:pt x="90814" y="667381"/>
                    <a:pt x="115291" y="664661"/>
                    <a:pt x="120730" y="664661"/>
                  </a:cubicBezTo>
                  <a:cubicBezTo>
                    <a:pt x="123450" y="664661"/>
                    <a:pt x="126170" y="664661"/>
                    <a:pt x="131609" y="664661"/>
                  </a:cubicBezTo>
                  <a:cubicBezTo>
                    <a:pt x="131609" y="623866"/>
                    <a:pt x="134329" y="583072"/>
                    <a:pt x="134329" y="539557"/>
                  </a:cubicBezTo>
                  <a:cubicBezTo>
                    <a:pt x="134329" y="528678"/>
                    <a:pt x="134329" y="515080"/>
                    <a:pt x="134329" y="504201"/>
                  </a:cubicBezTo>
                  <a:cubicBezTo>
                    <a:pt x="131609" y="460687"/>
                    <a:pt x="131609" y="417173"/>
                    <a:pt x="131609" y="376378"/>
                  </a:cubicBezTo>
                  <a:cubicBezTo>
                    <a:pt x="131609" y="351901"/>
                    <a:pt x="131609" y="327424"/>
                    <a:pt x="131609" y="302947"/>
                  </a:cubicBezTo>
                  <a:cubicBezTo>
                    <a:pt x="131609" y="275751"/>
                    <a:pt x="131609" y="248554"/>
                    <a:pt x="134329" y="221357"/>
                  </a:cubicBezTo>
                  <a:cubicBezTo>
                    <a:pt x="134329" y="188722"/>
                    <a:pt x="137048" y="156086"/>
                    <a:pt x="137048" y="123450"/>
                  </a:cubicBezTo>
                  <a:cubicBezTo>
                    <a:pt x="126170" y="123450"/>
                    <a:pt x="115291" y="123450"/>
                    <a:pt x="107132" y="123450"/>
                  </a:cubicBezTo>
                  <a:cubicBezTo>
                    <a:pt x="101693" y="123450"/>
                    <a:pt x="96254" y="123450"/>
                    <a:pt x="88094" y="123450"/>
                  </a:cubicBezTo>
                  <a:cubicBezTo>
                    <a:pt x="82655" y="123450"/>
                    <a:pt x="74496" y="120730"/>
                    <a:pt x="69057" y="118011"/>
                  </a:cubicBezTo>
                  <a:cubicBezTo>
                    <a:pt x="63617" y="115291"/>
                    <a:pt x="58178" y="107132"/>
                    <a:pt x="58178" y="101693"/>
                  </a:cubicBezTo>
                  <a:cubicBezTo>
                    <a:pt x="58178" y="98973"/>
                    <a:pt x="58178" y="96253"/>
                    <a:pt x="60898" y="93534"/>
                  </a:cubicBezTo>
                  <a:cubicBezTo>
                    <a:pt x="63617" y="90814"/>
                    <a:pt x="71777" y="88094"/>
                    <a:pt x="77216" y="85375"/>
                  </a:cubicBezTo>
                  <a:cubicBezTo>
                    <a:pt x="90814" y="82655"/>
                    <a:pt x="126170" y="79935"/>
                    <a:pt x="131609" y="79935"/>
                  </a:cubicBezTo>
                  <a:cubicBezTo>
                    <a:pt x="137048" y="79935"/>
                    <a:pt x="147927" y="79935"/>
                    <a:pt x="161525" y="79935"/>
                  </a:cubicBezTo>
                  <a:cubicBezTo>
                    <a:pt x="166965" y="74496"/>
                    <a:pt x="172404" y="71776"/>
                    <a:pt x="177843" y="66337"/>
                  </a:cubicBezTo>
                  <a:cubicBezTo>
                    <a:pt x="186002" y="60898"/>
                    <a:pt x="194161" y="58178"/>
                    <a:pt x="202320" y="58178"/>
                  </a:cubicBezTo>
                  <a:cubicBezTo>
                    <a:pt x="215918" y="58178"/>
                    <a:pt x="226797" y="63617"/>
                    <a:pt x="234956" y="77216"/>
                  </a:cubicBezTo>
                  <a:cubicBezTo>
                    <a:pt x="240395" y="88094"/>
                    <a:pt x="248554" y="96253"/>
                    <a:pt x="251274" y="107132"/>
                  </a:cubicBezTo>
                  <a:cubicBezTo>
                    <a:pt x="256713" y="120730"/>
                    <a:pt x="259433" y="134328"/>
                    <a:pt x="267592" y="147927"/>
                  </a:cubicBezTo>
                  <a:cubicBezTo>
                    <a:pt x="273031" y="158805"/>
                    <a:pt x="275751" y="172404"/>
                    <a:pt x="281190" y="183282"/>
                  </a:cubicBezTo>
                  <a:cubicBezTo>
                    <a:pt x="286630" y="196881"/>
                    <a:pt x="292069" y="210479"/>
                    <a:pt x="297508" y="224077"/>
                  </a:cubicBezTo>
                  <a:cubicBezTo>
                    <a:pt x="300228" y="237675"/>
                    <a:pt x="305667" y="251274"/>
                    <a:pt x="308387" y="264872"/>
                  </a:cubicBezTo>
                  <a:cubicBezTo>
                    <a:pt x="311106" y="278470"/>
                    <a:pt x="311106" y="289349"/>
                    <a:pt x="319265" y="300227"/>
                  </a:cubicBezTo>
                  <a:cubicBezTo>
                    <a:pt x="332864" y="324704"/>
                    <a:pt x="346462" y="351901"/>
                    <a:pt x="351901" y="379097"/>
                  </a:cubicBezTo>
                  <a:cubicBezTo>
                    <a:pt x="354621" y="392696"/>
                    <a:pt x="360060" y="403574"/>
                    <a:pt x="365500" y="417173"/>
                  </a:cubicBezTo>
                  <a:cubicBezTo>
                    <a:pt x="373659" y="430771"/>
                    <a:pt x="373659" y="444369"/>
                    <a:pt x="379098" y="457967"/>
                  </a:cubicBezTo>
                  <a:cubicBezTo>
                    <a:pt x="381818" y="471566"/>
                    <a:pt x="387257" y="482444"/>
                    <a:pt x="395416" y="496043"/>
                  </a:cubicBezTo>
                  <a:cubicBezTo>
                    <a:pt x="398136" y="501482"/>
                    <a:pt x="403575" y="506921"/>
                    <a:pt x="406294" y="512361"/>
                  </a:cubicBezTo>
                  <a:cubicBezTo>
                    <a:pt x="409014" y="517800"/>
                    <a:pt x="409014" y="525959"/>
                    <a:pt x="411734" y="531398"/>
                  </a:cubicBezTo>
                  <a:cubicBezTo>
                    <a:pt x="414453" y="539557"/>
                    <a:pt x="417173" y="550436"/>
                    <a:pt x="419893" y="558595"/>
                  </a:cubicBezTo>
                  <a:cubicBezTo>
                    <a:pt x="422613" y="561314"/>
                    <a:pt x="422613" y="564034"/>
                    <a:pt x="425332" y="564034"/>
                  </a:cubicBezTo>
                  <a:cubicBezTo>
                    <a:pt x="428052" y="564034"/>
                    <a:pt x="428052" y="561314"/>
                    <a:pt x="430771" y="558595"/>
                  </a:cubicBezTo>
                  <a:cubicBezTo>
                    <a:pt x="430771" y="555875"/>
                    <a:pt x="430771" y="553155"/>
                    <a:pt x="430771" y="550436"/>
                  </a:cubicBezTo>
                  <a:cubicBezTo>
                    <a:pt x="430771" y="534118"/>
                    <a:pt x="430771" y="517800"/>
                    <a:pt x="430771" y="501482"/>
                  </a:cubicBezTo>
                  <a:cubicBezTo>
                    <a:pt x="430771" y="468846"/>
                    <a:pt x="433491" y="436210"/>
                    <a:pt x="430771" y="403574"/>
                  </a:cubicBezTo>
                  <a:cubicBezTo>
                    <a:pt x="430771" y="373658"/>
                    <a:pt x="425332" y="343742"/>
                    <a:pt x="425332" y="313826"/>
                  </a:cubicBezTo>
                  <a:cubicBezTo>
                    <a:pt x="425332" y="292068"/>
                    <a:pt x="425332" y="270311"/>
                    <a:pt x="425332" y="248554"/>
                  </a:cubicBezTo>
                  <a:cubicBezTo>
                    <a:pt x="425332" y="234956"/>
                    <a:pt x="425332" y="224077"/>
                    <a:pt x="425332" y="210479"/>
                  </a:cubicBezTo>
                  <a:cubicBezTo>
                    <a:pt x="425332" y="191441"/>
                    <a:pt x="422613" y="172404"/>
                    <a:pt x="422613" y="153366"/>
                  </a:cubicBezTo>
                  <a:cubicBezTo>
                    <a:pt x="422613" y="142487"/>
                    <a:pt x="422613" y="134328"/>
                    <a:pt x="425332" y="123450"/>
                  </a:cubicBezTo>
                  <a:cubicBezTo>
                    <a:pt x="417173" y="123450"/>
                    <a:pt x="406294" y="123450"/>
                    <a:pt x="398136" y="123450"/>
                  </a:cubicBezTo>
                  <a:cubicBezTo>
                    <a:pt x="392696" y="123450"/>
                    <a:pt x="387257" y="123450"/>
                    <a:pt x="379098" y="123450"/>
                  </a:cubicBezTo>
                  <a:cubicBezTo>
                    <a:pt x="373659" y="123450"/>
                    <a:pt x="365500" y="120730"/>
                    <a:pt x="360060" y="118011"/>
                  </a:cubicBezTo>
                  <a:cubicBezTo>
                    <a:pt x="354621" y="115291"/>
                    <a:pt x="349182" y="107132"/>
                    <a:pt x="349182" y="101693"/>
                  </a:cubicBezTo>
                  <a:cubicBezTo>
                    <a:pt x="349182" y="98973"/>
                    <a:pt x="349182" y="96253"/>
                    <a:pt x="351901" y="93534"/>
                  </a:cubicBezTo>
                  <a:cubicBezTo>
                    <a:pt x="354621" y="90814"/>
                    <a:pt x="362780" y="88094"/>
                    <a:pt x="368219" y="85375"/>
                  </a:cubicBezTo>
                  <a:cubicBezTo>
                    <a:pt x="381818" y="82655"/>
                    <a:pt x="417173" y="79935"/>
                    <a:pt x="422613" y="79935"/>
                  </a:cubicBezTo>
                  <a:cubicBezTo>
                    <a:pt x="428052" y="79935"/>
                    <a:pt x="433491" y="79935"/>
                    <a:pt x="444370" y="79935"/>
                  </a:cubicBezTo>
                  <a:cubicBezTo>
                    <a:pt x="449809" y="74496"/>
                    <a:pt x="455248" y="71776"/>
                    <a:pt x="463407" y="71776"/>
                  </a:cubicBezTo>
                  <a:cubicBezTo>
                    <a:pt x="471566" y="71776"/>
                    <a:pt x="477006" y="74496"/>
                    <a:pt x="477006" y="79935"/>
                  </a:cubicBezTo>
                  <a:cubicBezTo>
                    <a:pt x="493324" y="79935"/>
                    <a:pt x="506922" y="79935"/>
                    <a:pt x="515081" y="79935"/>
                  </a:cubicBezTo>
                  <a:lnTo>
                    <a:pt x="515081" y="79935"/>
                  </a:ln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1" name="Freeform: Shape 40">
              <a:extLst>
                <a:ext uri="{FF2B5EF4-FFF2-40B4-BE49-F238E27FC236}">
                  <a16:creationId xmlns:a16="http://schemas.microsoft.com/office/drawing/2014/main" id="{8176AE20-94DB-48D9-93A0-3EB3C1F5FB2E}"/>
                </a:ext>
              </a:extLst>
            </p:cNvPr>
            <p:cNvSpPr/>
            <p:nvPr/>
          </p:nvSpPr>
          <p:spPr>
            <a:xfrm>
              <a:off x="5139126" y="4192158"/>
              <a:ext cx="516735" cy="788700"/>
            </a:xfrm>
            <a:custGeom>
              <a:avLst/>
              <a:gdLst>
                <a:gd name="connsiteX0" fmla="*/ 464616 w 516735"/>
                <a:gd name="connsiteY0" fmla="*/ 436210 h 788699"/>
                <a:gd name="connsiteX1" fmla="*/ 445578 w 516735"/>
                <a:gd name="connsiteY1" fmla="*/ 455248 h 788699"/>
                <a:gd name="connsiteX2" fmla="*/ 404784 w 516735"/>
                <a:gd name="connsiteY2" fmla="*/ 466126 h 788699"/>
                <a:gd name="connsiteX3" fmla="*/ 385746 w 516735"/>
                <a:gd name="connsiteY3" fmla="*/ 479725 h 788699"/>
                <a:gd name="connsiteX4" fmla="*/ 388466 w 516735"/>
                <a:gd name="connsiteY4" fmla="*/ 512361 h 788699"/>
                <a:gd name="connsiteX5" fmla="*/ 388466 w 516735"/>
                <a:gd name="connsiteY5" fmla="*/ 544997 h 788699"/>
                <a:gd name="connsiteX6" fmla="*/ 388466 w 516735"/>
                <a:gd name="connsiteY6" fmla="*/ 566754 h 788699"/>
                <a:gd name="connsiteX7" fmla="*/ 391185 w 516735"/>
                <a:gd name="connsiteY7" fmla="*/ 632026 h 788699"/>
                <a:gd name="connsiteX8" fmla="*/ 393905 w 516735"/>
                <a:gd name="connsiteY8" fmla="*/ 683699 h 788699"/>
                <a:gd name="connsiteX9" fmla="*/ 377587 w 516735"/>
                <a:gd name="connsiteY9" fmla="*/ 724494 h 788699"/>
                <a:gd name="connsiteX10" fmla="*/ 361269 w 516735"/>
                <a:gd name="connsiteY10" fmla="*/ 719054 h 788699"/>
                <a:gd name="connsiteX11" fmla="*/ 353110 w 516735"/>
                <a:gd name="connsiteY11" fmla="*/ 702737 h 788699"/>
                <a:gd name="connsiteX12" fmla="*/ 350390 w 516735"/>
                <a:gd name="connsiteY12" fmla="*/ 686419 h 788699"/>
                <a:gd name="connsiteX13" fmla="*/ 353110 w 516735"/>
                <a:gd name="connsiteY13" fmla="*/ 659222 h 788699"/>
                <a:gd name="connsiteX14" fmla="*/ 353110 w 516735"/>
                <a:gd name="connsiteY14" fmla="*/ 656502 h 788699"/>
                <a:gd name="connsiteX15" fmla="*/ 317755 w 516735"/>
                <a:gd name="connsiteY15" fmla="*/ 708176 h 788699"/>
                <a:gd name="connsiteX16" fmla="*/ 241604 w 516735"/>
                <a:gd name="connsiteY16" fmla="*/ 735372 h 788699"/>
                <a:gd name="connsiteX17" fmla="*/ 187211 w 516735"/>
                <a:gd name="connsiteY17" fmla="*/ 727214 h 788699"/>
                <a:gd name="connsiteX18" fmla="*/ 135538 w 516735"/>
                <a:gd name="connsiteY18" fmla="*/ 694578 h 788699"/>
                <a:gd name="connsiteX19" fmla="*/ 86584 w 516735"/>
                <a:gd name="connsiteY19" fmla="*/ 621147 h 788699"/>
                <a:gd name="connsiteX20" fmla="*/ 67546 w 516735"/>
                <a:gd name="connsiteY20" fmla="*/ 555875 h 788699"/>
                <a:gd name="connsiteX21" fmla="*/ 59387 w 516735"/>
                <a:gd name="connsiteY21" fmla="*/ 509641 h 788699"/>
                <a:gd name="connsiteX22" fmla="*/ 59387 w 516735"/>
                <a:gd name="connsiteY22" fmla="*/ 468846 h 788699"/>
                <a:gd name="connsiteX23" fmla="*/ 86584 w 516735"/>
                <a:gd name="connsiteY23" fmla="*/ 302947 h 788699"/>
                <a:gd name="connsiteX24" fmla="*/ 108341 w 516735"/>
                <a:gd name="connsiteY24" fmla="*/ 224077 h 788699"/>
                <a:gd name="connsiteX25" fmla="*/ 146416 w 516735"/>
                <a:gd name="connsiteY25" fmla="*/ 145207 h 788699"/>
                <a:gd name="connsiteX26" fmla="*/ 198090 w 516735"/>
                <a:gd name="connsiteY26" fmla="*/ 85375 h 788699"/>
                <a:gd name="connsiteX27" fmla="*/ 228006 w 516735"/>
                <a:gd name="connsiteY27" fmla="*/ 69057 h 788699"/>
                <a:gd name="connsiteX28" fmla="*/ 268801 w 516735"/>
                <a:gd name="connsiteY28" fmla="*/ 58178 h 788699"/>
                <a:gd name="connsiteX29" fmla="*/ 274240 w 516735"/>
                <a:gd name="connsiteY29" fmla="*/ 58178 h 788699"/>
                <a:gd name="connsiteX30" fmla="*/ 295997 w 516735"/>
                <a:gd name="connsiteY30" fmla="*/ 60898 h 788699"/>
                <a:gd name="connsiteX31" fmla="*/ 331353 w 516735"/>
                <a:gd name="connsiteY31" fmla="*/ 71776 h 788699"/>
                <a:gd name="connsiteX32" fmla="*/ 350390 w 516735"/>
                <a:gd name="connsiteY32" fmla="*/ 93534 h 788699"/>
                <a:gd name="connsiteX33" fmla="*/ 353110 w 516735"/>
                <a:gd name="connsiteY33" fmla="*/ 74496 h 788699"/>
                <a:gd name="connsiteX34" fmla="*/ 358549 w 516735"/>
                <a:gd name="connsiteY34" fmla="*/ 63618 h 788699"/>
                <a:gd name="connsiteX35" fmla="*/ 366708 w 516735"/>
                <a:gd name="connsiteY35" fmla="*/ 58178 h 788699"/>
                <a:gd name="connsiteX36" fmla="*/ 374867 w 516735"/>
                <a:gd name="connsiteY36" fmla="*/ 63618 h 788699"/>
                <a:gd name="connsiteX37" fmla="*/ 383026 w 516735"/>
                <a:gd name="connsiteY37" fmla="*/ 82655 h 788699"/>
                <a:gd name="connsiteX38" fmla="*/ 385746 w 516735"/>
                <a:gd name="connsiteY38" fmla="*/ 126170 h 788699"/>
                <a:gd name="connsiteX39" fmla="*/ 388466 w 516735"/>
                <a:gd name="connsiteY39" fmla="*/ 186002 h 788699"/>
                <a:gd name="connsiteX40" fmla="*/ 391185 w 516735"/>
                <a:gd name="connsiteY40" fmla="*/ 237676 h 788699"/>
                <a:gd name="connsiteX41" fmla="*/ 374867 w 516735"/>
                <a:gd name="connsiteY41" fmla="*/ 278470 h 788699"/>
                <a:gd name="connsiteX42" fmla="*/ 358549 w 516735"/>
                <a:gd name="connsiteY42" fmla="*/ 273031 h 788699"/>
                <a:gd name="connsiteX43" fmla="*/ 350390 w 516735"/>
                <a:gd name="connsiteY43" fmla="*/ 256713 h 788699"/>
                <a:gd name="connsiteX44" fmla="*/ 347671 w 516735"/>
                <a:gd name="connsiteY44" fmla="*/ 240395 h 788699"/>
                <a:gd name="connsiteX45" fmla="*/ 347671 w 516735"/>
                <a:gd name="connsiteY45" fmla="*/ 213199 h 788699"/>
                <a:gd name="connsiteX46" fmla="*/ 344951 w 516735"/>
                <a:gd name="connsiteY46" fmla="*/ 194161 h 788699"/>
                <a:gd name="connsiteX47" fmla="*/ 339512 w 516735"/>
                <a:gd name="connsiteY47" fmla="*/ 150647 h 788699"/>
                <a:gd name="connsiteX48" fmla="*/ 323194 w 516735"/>
                <a:gd name="connsiteY48" fmla="*/ 112571 h 788699"/>
                <a:gd name="connsiteX49" fmla="*/ 293278 w 516735"/>
                <a:gd name="connsiteY49" fmla="*/ 101693 h 788699"/>
                <a:gd name="connsiteX50" fmla="*/ 263361 w 516735"/>
                <a:gd name="connsiteY50" fmla="*/ 120730 h 788699"/>
                <a:gd name="connsiteX51" fmla="*/ 241604 w 516735"/>
                <a:gd name="connsiteY51" fmla="*/ 153366 h 788699"/>
                <a:gd name="connsiteX52" fmla="*/ 233445 w 516735"/>
                <a:gd name="connsiteY52" fmla="*/ 194161 h 788699"/>
                <a:gd name="connsiteX53" fmla="*/ 225286 w 516735"/>
                <a:gd name="connsiteY53" fmla="*/ 232236 h 788699"/>
                <a:gd name="connsiteX54" fmla="*/ 217127 w 516735"/>
                <a:gd name="connsiteY54" fmla="*/ 275751 h 788699"/>
                <a:gd name="connsiteX55" fmla="*/ 211688 w 516735"/>
                <a:gd name="connsiteY55" fmla="*/ 316545 h 788699"/>
                <a:gd name="connsiteX56" fmla="*/ 206249 w 516735"/>
                <a:gd name="connsiteY56" fmla="*/ 354621 h 788699"/>
                <a:gd name="connsiteX57" fmla="*/ 200809 w 516735"/>
                <a:gd name="connsiteY57" fmla="*/ 398135 h 788699"/>
                <a:gd name="connsiteX58" fmla="*/ 195370 w 516735"/>
                <a:gd name="connsiteY58" fmla="*/ 438930 h 788699"/>
                <a:gd name="connsiteX59" fmla="*/ 192650 w 516735"/>
                <a:gd name="connsiteY59" fmla="*/ 474286 h 788699"/>
                <a:gd name="connsiteX60" fmla="*/ 195370 w 516735"/>
                <a:gd name="connsiteY60" fmla="*/ 525959 h 788699"/>
                <a:gd name="connsiteX61" fmla="*/ 208968 w 516735"/>
                <a:gd name="connsiteY61" fmla="*/ 596670 h 788699"/>
                <a:gd name="connsiteX62" fmla="*/ 214407 w 516735"/>
                <a:gd name="connsiteY62" fmla="*/ 623867 h 788699"/>
                <a:gd name="connsiteX63" fmla="*/ 228006 w 516735"/>
                <a:gd name="connsiteY63" fmla="*/ 656502 h 788699"/>
                <a:gd name="connsiteX64" fmla="*/ 271520 w 516735"/>
                <a:gd name="connsiteY64" fmla="*/ 689138 h 788699"/>
                <a:gd name="connsiteX65" fmla="*/ 306876 w 516735"/>
                <a:gd name="connsiteY65" fmla="*/ 664661 h 788699"/>
                <a:gd name="connsiteX66" fmla="*/ 331353 w 516735"/>
                <a:gd name="connsiteY66" fmla="*/ 602109 h 788699"/>
                <a:gd name="connsiteX67" fmla="*/ 336792 w 516735"/>
                <a:gd name="connsiteY67" fmla="*/ 544997 h 788699"/>
                <a:gd name="connsiteX68" fmla="*/ 336792 w 516735"/>
                <a:gd name="connsiteY68" fmla="*/ 498762 h 788699"/>
                <a:gd name="connsiteX69" fmla="*/ 336792 w 516735"/>
                <a:gd name="connsiteY69" fmla="*/ 490603 h 788699"/>
                <a:gd name="connsiteX70" fmla="*/ 320474 w 516735"/>
                <a:gd name="connsiteY70" fmla="*/ 477005 h 788699"/>
                <a:gd name="connsiteX71" fmla="*/ 282399 w 516735"/>
                <a:gd name="connsiteY71" fmla="*/ 479725 h 788699"/>
                <a:gd name="connsiteX72" fmla="*/ 252483 w 516735"/>
                <a:gd name="connsiteY72" fmla="*/ 474286 h 788699"/>
                <a:gd name="connsiteX73" fmla="*/ 247043 w 516735"/>
                <a:gd name="connsiteY73" fmla="*/ 466126 h 788699"/>
                <a:gd name="connsiteX74" fmla="*/ 249763 w 516735"/>
                <a:gd name="connsiteY74" fmla="*/ 457968 h 788699"/>
                <a:gd name="connsiteX75" fmla="*/ 268801 w 516735"/>
                <a:gd name="connsiteY75" fmla="*/ 447089 h 788699"/>
                <a:gd name="connsiteX76" fmla="*/ 312315 w 516735"/>
                <a:gd name="connsiteY76" fmla="*/ 436210 h 788699"/>
                <a:gd name="connsiteX77" fmla="*/ 353110 w 516735"/>
                <a:gd name="connsiteY77" fmla="*/ 430771 h 788699"/>
                <a:gd name="connsiteX78" fmla="*/ 385746 w 516735"/>
                <a:gd name="connsiteY78" fmla="*/ 430771 h 788699"/>
                <a:gd name="connsiteX79" fmla="*/ 437420 w 516735"/>
                <a:gd name="connsiteY79" fmla="*/ 428051 h 788699"/>
                <a:gd name="connsiteX80" fmla="*/ 464616 w 516735"/>
                <a:gd name="connsiteY80" fmla="*/ 436210 h 7886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</a:cxnLst>
              <a:rect l="l" t="t" r="r" b="b"/>
              <a:pathLst>
                <a:path w="516735" h="788699">
                  <a:moveTo>
                    <a:pt x="464616" y="436210"/>
                  </a:moveTo>
                  <a:cubicBezTo>
                    <a:pt x="464616" y="447089"/>
                    <a:pt x="453737" y="452528"/>
                    <a:pt x="445578" y="455248"/>
                  </a:cubicBezTo>
                  <a:cubicBezTo>
                    <a:pt x="434700" y="460687"/>
                    <a:pt x="415662" y="463407"/>
                    <a:pt x="404784" y="466126"/>
                  </a:cubicBezTo>
                  <a:cubicBezTo>
                    <a:pt x="393905" y="466126"/>
                    <a:pt x="385746" y="468846"/>
                    <a:pt x="385746" y="479725"/>
                  </a:cubicBezTo>
                  <a:cubicBezTo>
                    <a:pt x="385746" y="487884"/>
                    <a:pt x="388466" y="506921"/>
                    <a:pt x="388466" y="512361"/>
                  </a:cubicBezTo>
                  <a:cubicBezTo>
                    <a:pt x="388466" y="515080"/>
                    <a:pt x="388466" y="539557"/>
                    <a:pt x="388466" y="544997"/>
                  </a:cubicBezTo>
                  <a:cubicBezTo>
                    <a:pt x="388466" y="550436"/>
                    <a:pt x="388466" y="558595"/>
                    <a:pt x="388466" y="566754"/>
                  </a:cubicBezTo>
                  <a:cubicBezTo>
                    <a:pt x="388466" y="591231"/>
                    <a:pt x="388466" y="621147"/>
                    <a:pt x="391185" y="632026"/>
                  </a:cubicBezTo>
                  <a:cubicBezTo>
                    <a:pt x="393905" y="653783"/>
                    <a:pt x="393905" y="661942"/>
                    <a:pt x="393905" y="683699"/>
                  </a:cubicBezTo>
                  <a:cubicBezTo>
                    <a:pt x="393905" y="694578"/>
                    <a:pt x="393905" y="724494"/>
                    <a:pt x="377587" y="724494"/>
                  </a:cubicBezTo>
                  <a:cubicBezTo>
                    <a:pt x="369428" y="724494"/>
                    <a:pt x="366708" y="721774"/>
                    <a:pt x="361269" y="719054"/>
                  </a:cubicBezTo>
                  <a:cubicBezTo>
                    <a:pt x="355830" y="716335"/>
                    <a:pt x="353110" y="708176"/>
                    <a:pt x="353110" y="702737"/>
                  </a:cubicBezTo>
                  <a:cubicBezTo>
                    <a:pt x="350390" y="694578"/>
                    <a:pt x="350390" y="689138"/>
                    <a:pt x="350390" y="686419"/>
                  </a:cubicBezTo>
                  <a:cubicBezTo>
                    <a:pt x="350390" y="678260"/>
                    <a:pt x="353110" y="672820"/>
                    <a:pt x="353110" y="659222"/>
                  </a:cubicBezTo>
                  <a:lnTo>
                    <a:pt x="353110" y="656502"/>
                  </a:lnTo>
                  <a:cubicBezTo>
                    <a:pt x="347671" y="675540"/>
                    <a:pt x="334072" y="694578"/>
                    <a:pt x="317755" y="708176"/>
                  </a:cubicBezTo>
                  <a:cubicBezTo>
                    <a:pt x="293278" y="727214"/>
                    <a:pt x="274240" y="735372"/>
                    <a:pt x="241604" y="735372"/>
                  </a:cubicBezTo>
                  <a:cubicBezTo>
                    <a:pt x="222566" y="735372"/>
                    <a:pt x="203529" y="732653"/>
                    <a:pt x="187211" y="727214"/>
                  </a:cubicBezTo>
                  <a:cubicBezTo>
                    <a:pt x="165454" y="719054"/>
                    <a:pt x="149136" y="708176"/>
                    <a:pt x="135538" y="694578"/>
                  </a:cubicBezTo>
                  <a:cubicBezTo>
                    <a:pt x="113780" y="672820"/>
                    <a:pt x="100182" y="648343"/>
                    <a:pt x="86584" y="621147"/>
                  </a:cubicBezTo>
                  <a:cubicBezTo>
                    <a:pt x="75705" y="599390"/>
                    <a:pt x="70266" y="580352"/>
                    <a:pt x="67546" y="555875"/>
                  </a:cubicBezTo>
                  <a:cubicBezTo>
                    <a:pt x="64826" y="539557"/>
                    <a:pt x="62107" y="525959"/>
                    <a:pt x="59387" y="509641"/>
                  </a:cubicBezTo>
                  <a:cubicBezTo>
                    <a:pt x="56667" y="493323"/>
                    <a:pt x="59387" y="485164"/>
                    <a:pt x="59387" y="468846"/>
                  </a:cubicBezTo>
                  <a:cubicBezTo>
                    <a:pt x="59387" y="414453"/>
                    <a:pt x="72985" y="362780"/>
                    <a:pt x="86584" y="302947"/>
                  </a:cubicBezTo>
                  <a:cubicBezTo>
                    <a:pt x="92023" y="275751"/>
                    <a:pt x="100182" y="248554"/>
                    <a:pt x="108341" y="224077"/>
                  </a:cubicBezTo>
                  <a:cubicBezTo>
                    <a:pt x="116500" y="196881"/>
                    <a:pt x="130098" y="169684"/>
                    <a:pt x="146416" y="145207"/>
                  </a:cubicBezTo>
                  <a:cubicBezTo>
                    <a:pt x="160014" y="123450"/>
                    <a:pt x="176332" y="101693"/>
                    <a:pt x="198090" y="85375"/>
                  </a:cubicBezTo>
                  <a:cubicBezTo>
                    <a:pt x="206249" y="77216"/>
                    <a:pt x="217127" y="71776"/>
                    <a:pt x="228006" y="69057"/>
                  </a:cubicBezTo>
                  <a:cubicBezTo>
                    <a:pt x="241604" y="63618"/>
                    <a:pt x="255202" y="58178"/>
                    <a:pt x="268801" y="58178"/>
                  </a:cubicBezTo>
                  <a:cubicBezTo>
                    <a:pt x="271520" y="58178"/>
                    <a:pt x="274240" y="58178"/>
                    <a:pt x="274240" y="58178"/>
                  </a:cubicBezTo>
                  <a:cubicBezTo>
                    <a:pt x="279679" y="58178"/>
                    <a:pt x="285119" y="58178"/>
                    <a:pt x="295997" y="60898"/>
                  </a:cubicBezTo>
                  <a:cubicBezTo>
                    <a:pt x="309595" y="63618"/>
                    <a:pt x="320474" y="66337"/>
                    <a:pt x="331353" y="71776"/>
                  </a:cubicBezTo>
                  <a:cubicBezTo>
                    <a:pt x="339512" y="77216"/>
                    <a:pt x="347671" y="85375"/>
                    <a:pt x="350390" y="93534"/>
                  </a:cubicBezTo>
                  <a:cubicBezTo>
                    <a:pt x="350390" y="88095"/>
                    <a:pt x="353110" y="79936"/>
                    <a:pt x="353110" y="74496"/>
                  </a:cubicBezTo>
                  <a:cubicBezTo>
                    <a:pt x="355830" y="71776"/>
                    <a:pt x="355830" y="69057"/>
                    <a:pt x="358549" y="63618"/>
                  </a:cubicBezTo>
                  <a:cubicBezTo>
                    <a:pt x="361269" y="60898"/>
                    <a:pt x="363989" y="58178"/>
                    <a:pt x="366708" y="58178"/>
                  </a:cubicBezTo>
                  <a:cubicBezTo>
                    <a:pt x="369428" y="58178"/>
                    <a:pt x="372148" y="60898"/>
                    <a:pt x="374867" y="63618"/>
                  </a:cubicBezTo>
                  <a:cubicBezTo>
                    <a:pt x="377587" y="69057"/>
                    <a:pt x="380307" y="77216"/>
                    <a:pt x="383026" y="82655"/>
                  </a:cubicBezTo>
                  <a:cubicBezTo>
                    <a:pt x="383026" y="90814"/>
                    <a:pt x="385746" y="107132"/>
                    <a:pt x="385746" y="126170"/>
                  </a:cubicBezTo>
                  <a:cubicBezTo>
                    <a:pt x="385746" y="150647"/>
                    <a:pt x="385746" y="177843"/>
                    <a:pt x="388466" y="186002"/>
                  </a:cubicBezTo>
                  <a:cubicBezTo>
                    <a:pt x="391185" y="207759"/>
                    <a:pt x="391185" y="215918"/>
                    <a:pt x="391185" y="237676"/>
                  </a:cubicBezTo>
                  <a:cubicBezTo>
                    <a:pt x="391185" y="248554"/>
                    <a:pt x="391185" y="278470"/>
                    <a:pt x="374867" y="278470"/>
                  </a:cubicBezTo>
                  <a:cubicBezTo>
                    <a:pt x="366708" y="278470"/>
                    <a:pt x="363989" y="275751"/>
                    <a:pt x="358549" y="273031"/>
                  </a:cubicBezTo>
                  <a:cubicBezTo>
                    <a:pt x="353110" y="270311"/>
                    <a:pt x="350390" y="262152"/>
                    <a:pt x="350390" y="256713"/>
                  </a:cubicBezTo>
                  <a:cubicBezTo>
                    <a:pt x="350390" y="251274"/>
                    <a:pt x="347671" y="245834"/>
                    <a:pt x="347671" y="240395"/>
                  </a:cubicBezTo>
                  <a:cubicBezTo>
                    <a:pt x="347671" y="232236"/>
                    <a:pt x="347671" y="224077"/>
                    <a:pt x="347671" y="213199"/>
                  </a:cubicBezTo>
                  <a:cubicBezTo>
                    <a:pt x="347671" y="207759"/>
                    <a:pt x="347671" y="199600"/>
                    <a:pt x="344951" y="194161"/>
                  </a:cubicBezTo>
                  <a:cubicBezTo>
                    <a:pt x="342232" y="180563"/>
                    <a:pt x="342232" y="164245"/>
                    <a:pt x="339512" y="150647"/>
                  </a:cubicBezTo>
                  <a:cubicBezTo>
                    <a:pt x="336792" y="137048"/>
                    <a:pt x="331353" y="123450"/>
                    <a:pt x="323194" y="112571"/>
                  </a:cubicBezTo>
                  <a:cubicBezTo>
                    <a:pt x="317755" y="104412"/>
                    <a:pt x="304156" y="101693"/>
                    <a:pt x="293278" y="101693"/>
                  </a:cubicBezTo>
                  <a:cubicBezTo>
                    <a:pt x="279679" y="101693"/>
                    <a:pt x="271520" y="109852"/>
                    <a:pt x="263361" y="120730"/>
                  </a:cubicBezTo>
                  <a:cubicBezTo>
                    <a:pt x="257922" y="131609"/>
                    <a:pt x="247043" y="139768"/>
                    <a:pt x="241604" y="153366"/>
                  </a:cubicBezTo>
                  <a:cubicBezTo>
                    <a:pt x="236165" y="166964"/>
                    <a:pt x="233445" y="180563"/>
                    <a:pt x="233445" y="194161"/>
                  </a:cubicBezTo>
                  <a:cubicBezTo>
                    <a:pt x="233445" y="207759"/>
                    <a:pt x="230726" y="218638"/>
                    <a:pt x="225286" y="232236"/>
                  </a:cubicBezTo>
                  <a:cubicBezTo>
                    <a:pt x="219847" y="245834"/>
                    <a:pt x="219847" y="262152"/>
                    <a:pt x="217127" y="275751"/>
                  </a:cubicBezTo>
                  <a:cubicBezTo>
                    <a:pt x="214407" y="289349"/>
                    <a:pt x="214407" y="302947"/>
                    <a:pt x="211688" y="316545"/>
                  </a:cubicBezTo>
                  <a:cubicBezTo>
                    <a:pt x="211688" y="330144"/>
                    <a:pt x="206249" y="341022"/>
                    <a:pt x="206249" y="354621"/>
                  </a:cubicBezTo>
                  <a:cubicBezTo>
                    <a:pt x="203529" y="368219"/>
                    <a:pt x="203529" y="381817"/>
                    <a:pt x="200809" y="398135"/>
                  </a:cubicBezTo>
                  <a:cubicBezTo>
                    <a:pt x="198090" y="411733"/>
                    <a:pt x="198090" y="425332"/>
                    <a:pt x="195370" y="438930"/>
                  </a:cubicBezTo>
                  <a:cubicBezTo>
                    <a:pt x="195370" y="449809"/>
                    <a:pt x="192650" y="463407"/>
                    <a:pt x="192650" y="474286"/>
                  </a:cubicBezTo>
                  <a:cubicBezTo>
                    <a:pt x="192650" y="490603"/>
                    <a:pt x="195370" y="509641"/>
                    <a:pt x="195370" y="525959"/>
                  </a:cubicBezTo>
                  <a:cubicBezTo>
                    <a:pt x="195370" y="550436"/>
                    <a:pt x="203529" y="572193"/>
                    <a:pt x="208968" y="596670"/>
                  </a:cubicBezTo>
                  <a:cubicBezTo>
                    <a:pt x="211688" y="604829"/>
                    <a:pt x="211688" y="615708"/>
                    <a:pt x="214407" y="623867"/>
                  </a:cubicBezTo>
                  <a:cubicBezTo>
                    <a:pt x="217127" y="634745"/>
                    <a:pt x="222566" y="645624"/>
                    <a:pt x="228006" y="656502"/>
                  </a:cubicBezTo>
                  <a:cubicBezTo>
                    <a:pt x="236165" y="670101"/>
                    <a:pt x="252483" y="689138"/>
                    <a:pt x="271520" y="689138"/>
                  </a:cubicBezTo>
                  <a:cubicBezTo>
                    <a:pt x="287838" y="689138"/>
                    <a:pt x="298717" y="675540"/>
                    <a:pt x="306876" y="664661"/>
                  </a:cubicBezTo>
                  <a:cubicBezTo>
                    <a:pt x="320474" y="645624"/>
                    <a:pt x="325914" y="623867"/>
                    <a:pt x="331353" y="602109"/>
                  </a:cubicBezTo>
                  <a:cubicBezTo>
                    <a:pt x="334072" y="583072"/>
                    <a:pt x="336792" y="564034"/>
                    <a:pt x="336792" y="544997"/>
                  </a:cubicBezTo>
                  <a:cubicBezTo>
                    <a:pt x="336792" y="531398"/>
                    <a:pt x="336792" y="512361"/>
                    <a:pt x="336792" y="498762"/>
                  </a:cubicBezTo>
                  <a:cubicBezTo>
                    <a:pt x="336792" y="496043"/>
                    <a:pt x="336792" y="493323"/>
                    <a:pt x="336792" y="490603"/>
                  </a:cubicBezTo>
                  <a:cubicBezTo>
                    <a:pt x="336792" y="479725"/>
                    <a:pt x="336792" y="477005"/>
                    <a:pt x="320474" y="477005"/>
                  </a:cubicBezTo>
                  <a:cubicBezTo>
                    <a:pt x="309595" y="477005"/>
                    <a:pt x="295997" y="479725"/>
                    <a:pt x="282399" y="479725"/>
                  </a:cubicBezTo>
                  <a:cubicBezTo>
                    <a:pt x="271520" y="479725"/>
                    <a:pt x="260642" y="479725"/>
                    <a:pt x="252483" y="474286"/>
                  </a:cubicBezTo>
                  <a:cubicBezTo>
                    <a:pt x="249763" y="471566"/>
                    <a:pt x="247043" y="468846"/>
                    <a:pt x="247043" y="466126"/>
                  </a:cubicBezTo>
                  <a:cubicBezTo>
                    <a:pt x="247043" y="463407"/>
                    <a:pt x="247043" y="460687"/>
                    <a:pt x="249763" y="457968"/>
                  </a:cubicBezTo>
                  <a:cubicBezTo>
                    <a:pt x="255202" y="452528"/>
                    <a:pt x="260642" y="449809"/>
                    <a:pt x="268801" y="447089"/>
                  </a:cubicBezTo>
                  <a:cubicBezTo>
                    <a:pt x="282399" y="441650"/>
                    <a:pt x="295997" y="438930"/>
                    <a:pt x="312315" y="436210"/>
                  </a:cubicBezTo>
                  <a:cubicBezTo>
                    <a:pt x="325914" y="433491"/>
                    <a:pt x="339512" y="433491"/>
                    <a:pt x="353110" y="430771"/>
                  </a:cubicBezTo>
                  <a:cubicBezTo>
                    <a:pt x="363989" y="430771"/>
                    <a:pt x="374867" y="430771"/>
                    <a:pt x="385746" y="430771"/>
                  </a:cubicBezTo>
                  <a:cubicBezTo>
                    <a:pt x="402064" y="430771"/>
                    <a:pt x="426541" y="428051"/>
                    <a:pt x="437420" y="428051"/>
                  </a:cubicBezTo>
                  <a:cubicBezTo>
                    <a:pt x="451018" y="419892"/>
                    <a:pt x="464616" y="425332"/>
                    <a:pt x="464616" y="436210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2" name="Freeform: Shape 41">
              <a:extLst>
                <a:ext uri="{FF2B5EF4-FFF2-40B4-BE49-F238E27FC236}">
                  <a16:creationId xmlns:a16="http://schemas.microsoft.com/office/drawing/2014/main" id="{35CAD56A-462D-4366-9EFB-54581CD299AF}"/>
                </a:ext>
              </a:extLst>
            </p:cNvPr>
            <p:cNvSpPr/>
            <p:nvPr/>
          </p:nvSpPr>
          <p:spPr>
            <a:xfrm>
              <a:off x="5651630" y="4181279"/>
              <a:ext cx="734308" cy="788700"/>
            </a:xfrm>
            <a:custGeom>
              <a:avLst/>
              <a:gdLst>
                <a:gd name="connsiteX0" fmla="*/ 653783 w 734307"/>
                <a:gd name="connsiteY0" fmla="*/ 678259 h 788699"/>
                <a:gd name="connsiteX1" fmla="*/ 691859 w 734307"/>
                <a:gd name="connsiteY1" fmla="*/ 694577 h 788699"/>
                <a:gd name="connsiteX2" fmla="*/ 686419 w 734307"/>
                <a:gd name="connsiteY2" fmla="*/ 710895 h 788699"/>
                <a:gd name="connsiteX3" fmla="*/ 670101 w 734307"/>
                <a:gd name="connsiteY3" fmla="*/ 719054 h 788699"/>
                <a:gd name="connsiteX4" fmla="*/ 648344 w 734307"/>
                <a:gd name="connsiteY4" fmla="*/ 721774 h 788699"/>
                <a:gd name="connsiteX5" fmla="*/ 618428 w 734307"/>
                <a:gd name="connsiteY5" fmla="*/ 721774 h 788699"/>
                <a:gd name="connsiteX6" fmla="*/ 572194 w 734307"/>
                <a:gd name="connsiteY6" fmla="*/ 735372 h 788699"/>
                <a:gd name="connsiteX7" fmla="*/ 544997 w 734307"/>
                <a:gd name="connsiteY7" fmla="*/ 729933 h 788699"/>
                <a:gd name="connsiteX8" fmla="*/ 534119 w 734307"/>
                <a:gd name="connsiteY8" fmla="*/ 721774 h 788699"/>
                <a:gd name="connsiteX9" fmla="*/ 496043 w 734307"/>
                <a:gd name="connsiteY9" fmla="*/ 721774 h 788699"/>
                <a:gd name="connsiteX10" fmla="*/ 471566 w 734307"/>
                <a:gd name="connsiteY10" fmla="*/ 721774 h 788699"/>
                <a:gd name="connsiteX11" fmla="*/ 444370 w 734307"/>
                <a:gd name="connsiteY11" fmla="*/ 716335 h 788699"/>
                <a:gd name="connsiteX12" fmla="*/ 428052 w 734307"/>
                <a:gd name="connsiteY12" fmla="*/ 700017 h 788699"/>
                <a:gd name="connsiteX13" fmla="*/ 433491 w 734307"/>
                <a:gd name="connsiteY13" fmla="*/ 691858 h 788699"/>
                <a:gd name="connsiteX14" fmla="*/ 455248 w 734307"/>
                <a:gd name="connsiteY14" fmla="*/ 683699 h 788699"/>
                <a:gd name="connsiteX15" fmla="*/ 506922 w 734307"/>
                <a:gd name="connsiteY15" fmla="*/ 678259 h 788699"/>
                <a:gd name="connsiteX16" fmla="*/ 509641 w 734307"/>
                <a:gd name="connsiteY16" fmla="*/ 678259 h 788699"/>
                <a:gd name="connsiteX17" fmla="*/ 506922 w 734307"/>
                <a:gd name="connsiteY17" fmla="*/ 664661 h 788699"/>
                <a:gd name="connsiteX18" fmla="*/ 498763 w 734307"/>
                <a:gd name="connsiteY18" fmla="*/ 580352 h 788699"/>
                <a:gd name="connsiteX19" fmla="*/ 496043 w 734307"/>
                <a:gd name="connsiteY19" fmla="*/ 479725 h 788699"/>
                <a:gd name="connsiteX20" fmla="*/ 493324 w 734307"/>
                <a:gd name="connsiteY20" fmla="*/ 389976 h 788699"/>
                <a:gd name="connsiteX21" fmla="*/ 490604 w 734307"/>
                <a:gd name="connsiteY21" fmla="*/ 302947 h 788699"/>
                <a:gd name="connsiteX22" fmla="*/ 487884 w 734307"/>
                <a:gd name="connsiteY22" fmla="*/ 229516 h 788699"/>
                <a:gd name="connsiteX23" fmla="*/ 485165 w 734307"/>
                <a:gd name="connsiteY23" fmla="*/ 221357 h 788699"/>
                <a:gd name="connsiteX24" fmla="*/ 482445 w 734307"/>
                <a:gd name="connsiteY24" fmla="*/ 226797 h 788699"/>
                <a:gd name="connsiteX25" fmla="*/ 477006 w 734307"/>
                <a:gd name="connsiteY25" fmla="*/ 262152 h 788699"/>
                <a:gd name="connsiteX26" fmla="*/ 460688 w 734307"/>
                <a:gd name="connsiteY26" fmla="*/ 341022 h 788699"/>
                <a:gd name="connsiteX27" fmla="*/ 444370 w 734307"/>
                <a:gd name="connsiteY27" fmla="*/ 417173 h 788699"/>
                <a:gd name="connsiteX28" fmla="*/ 436211 w 734307"/>
                <a:gd name="connsiteY28" fmla="*/ 455248 h 788699"/>
                <a:gd name="connsiteX29" fmla="*/ 425332 w 734307"/>
                <a:gd name="connsiteY29" fmla="*/ 493323 h 788699"/>
                <a:gd name="connsiteX30" fmla="*/ 411734 w 734307"/>
                <a:gd name="connsiteY30" fmla="*/ 531398 h 788699"/>
                <a:gd name="connsiteX31" fmla="*/ 376378 w 734307"/>
                <a:gd name="connsiteY31" fmla="*/ 547716 h 788699"/>
                <a:gd name="connsiteX32" fmla="*/ 319265 w 734307"/>
                <a:gd name="connsiteY32" fmla="*/ 525959 h 788699"/>
                <a:gd name="connsiteX33" fmla="*/ 289349 w 734307"/>
                <a:gd name="connsiteY33" fmla="*/ 455248 h 788699"/>
                <a:gd name="connsiteX34" fmla="*/ 273031 w 734307"/>
                <a:gd name="connsiteY34" fmla="*/ 373658 h 788699"/>
                <a:gd name="connsiteX35" fmla="*/ 262153 w 734307"/>
                <a:gd name="connsiteY35" fmla="*/ 316545 h 788699"/>
                <a:gd name="connsiteX36" fmla="*/ 245835 w 734307"/>
                <a:gd name="connsiteY36" fmla="*/ 237675 h 788699"/>
                <a:gd name="connsiteX37" fmla="*/ 234956 w 734307"/>
                <a:gd name="connsiteY37" fmla="*/ 196881 h 788699"/>
                <a:gd name="connsiteX38" fmla="*/ 232236 w 734307"/>
                <a:gd name="connsiteY38" fmla="*/ 191441 h 788699"/>
                <a:gd name="connsiteX39" fmla="*/ 226797 w 734307"/>
                <a:gd name="connsiteY39" fmla="*/ 207759 h 788699"/>
                <a:gd name="connsiteX40" fmla="*/ 226797 w 734307"/>
                <a:gd name="connsiteY40" fmla="*/ 232236 h 788699"/>
                <a:gd name="connsiteX41" fmla="*/ 224077 w 734307"/>
                <a:gd name="connsiteY41" fmla="*/ 267592 h 788699"/>
                <a:gd name="connsiteX42" fmla="*/ 221358 w 734307"/>
                <a:gd name="connsiteY42" fmla="*/ 311106 h 788699"/>
                <a:gd name="connsiteX43" fmla="*/ 218638 w 734307"/>
                <a:gd name="connsiteY43" fmla="*/ 360060 h 788699"/>
                <a:gd name="connsiteX44" fmla="*/ 215919 w 734307"/>
                <a:gd name="connsiteY44" fmla="*/ 398135 h 788699"/>
                <a:gd name="connsiteX45" fmla="*/ 213199 w 734307"/>
                <a:gd name="connsiteY45" fmla="*/ 430771 h 788699"/>
                <a:gd name="connsiteX46" fmla="*/ 213199 w 734307"/>
                <a:gd name="connsiteY46" fmla="*/ 455248 h 788699"/>
                <a:gd name="connsiteX47" fmla="*/ 213199 w 734307"/>
                <a:gd name="connsiteY47" fmla="*/ 477005 h 788699"/>
                <a:gd name="connsiteX48" fmla="*/ 207759 w 734307"/>
                <a:gd name="connsiteY48" fmla="*/ 520520 h 788699"/>
                <a:gd name="connsiteX49" fmla="*/ 196881 w 734307"/>
                <a:gd name="connsiteY49" fmla="*/ 610268 h 788699"/>
                <a:gd name="connsiteX50" fmla="*/ 194161 w 734307"/>
                <a:gd name="connsiteY50" fmla="*/ 653783 h 788699"/>
                <a:gd name="connsiteX51" fmla="*/ 191441 w 734307"/>
                <a:gd name="connsiteY51" fmla="*/ 667381 h 788699"/>
                <a:gd name="connsiteX52" fmla="*/ 243115 w 734307"/>
                <a:gd name="connsiteY52" fmla="*/ 667381 h 788699"/>
                <a:gd name="connsiteX53" fmla="*/ 273031 w 734307"/>
                <a:gd name="connsiteY53" fmla="*/ 683699 h 788699"/>
                <a:gd name="connsiteX54" fmla="*/ 262153 w 734307"/>
                <a:gd name="connsiteY54" fmla="*/ 697297 h 788699"/>
                <a:gd name="connsiteX55" fmla="*/ 248554 w 734307"/>
                <a:gd name="connsiteY55" fmla="*/ 705456 h 788699"/>
                <a:gd name="connsiteX56" fmla="*/ 232236 w 734307"/>
                <a:gd name="connsiteY56" fmla="*/ 708176 h 788699"/>
                <a:gd name="connsiteX57" fmla="*/ 166965 w 734307"/>
                <a:gd name="connsiteY57" fmla="*/ 708176 h 788699"/>
                <a:gd name="connsiteX58" fmla="*/ 109852 w 734307"/>
                <a:gd name="connsiteY58" fmla="*/ 708176 h 788699"/>
                <a:gd name="connsiteX59" fmla="*/ 90814 w 734307"/>
                <a:gd name="connsiteY59" fmla="*/ 708176 h 788699"/>
                <a:gd name="connsiteX60" fmla="*/ 69057 w 734307"/>
                <a:gd name="connsiteY60" fmla="*/ 702736 h 788699"/>
                <a:gd name="connsiteX61" fmla="*/ 58178 w 734307"/>
                <a:gd name="connsiteY61" fmla="*/ 686418 h 788699"/>
                <a:gd name="connsiteX62" fmla="*/ 60898 w 734307"/>
                <a:gd name="connsiteY62" fmla="*/ 678259 h 788699"/>
                <a:gd name="connsiteX63" fmla="*/ 77216 w 734307"/>
                <a:gd name="connsiteY63" fmla="*/ 670101 h 788699"/>
                <a:gd name="connsiteX64" fmla="*/ 126170 w 734307"/>
                <a:gd name="connsiteY64" fmla="*/ 664661 h 788699"/>
                <a:gd name="connsiteX65" fmla="*/ 142487 w 734307"/>
                <a:gd name="connsiteY65" fmla="*/ 664661 h 788699"/>
                <a:gd name="connsiteX66" fmla="*/ 147927 w 734307"/>
                <a:gd name="connsiteY66" fmla="*/ 588511 h 788699"/>
                <a:gd name="connsiteX67" fmla="*/ 153366 w 734307"/>
                <a:gd name="connsiteY67" fmla="*/ 493323 h 788699"/>
                <a:gd name="connsiteX68" fmla="*/ 156086 w 734307"/>
                <a:gd name="connsiteY68" fmla="*/ 411733 h 788699"/>
                <a:gd name="connsiteX69" fmla="*/ 161525 w 734307"/>
                <a:gd name="connsiteY69" fmla="*/ 297508 h 788699"/>
                <a:gd name="connsiteX70" fmla="*/ 166965 w 734307"/>
                <a:gd name="connsiteY70" fmla="*/ 240395 h 788699"/>
                <a:gd name="connsiteX71" fmla="*/ 177843 w 734307"/>
                <a:gd name="connsiteY71" fmla="*/ 161525 h 788699"/>
                <a:gd name="connsiteX72" fmla="*/ 183282 w 734307"/>
                <a:gd name="connsiteY72" fmla="*/ 118011 h 788699"/>
                <a:gd name="connsiteX73" fmla="*/ 183282 w 734307"/>
                <a:gd name="connsiteY73" fmla="*/ 115291 h 788699"/>
                <a:gd name="connsiteX74" fmla="*/ 161525 w 734307"/>
                <a:gd name="connsiteY74" fmla="*/ 115291 h 788699"/>
                <a:gd name="connsiteX75" fmla="*/ 137048 w 734307"/>
                <a:gd name="connsiteY75" fmla="*/ 115291 h 788699"/>
                <a:gd name="connsiteX76" fmla="*/ 109852 w 734307"/>
                <a:gd name="connsiteY76" fmla="*/ 109851 h 788699"/>
                <a:gd name="connsiteX77" fmla="*/ 93534 w 734307"/>
                <a:gd name="connsiteY77" fmla="*/ 93534 h 788699"/>
                <a:gd name="connsiteX78" fmla="*/ 98973 w 734307"/>
                <a:gd name="connsiteY78" fmla="*/ 85375 h 788699"/>
                <a:gd name="connsiteX79" fmla="*/ 120730 w 734307"/>
                <a:gd name="connsiteY79" fmla="*/ 77216 h 788699"/>
                <a:gd name="connsiteX80" fmla="*/ 172404 w 734307"/>
                <a:gd name="connsiteY80" fmla="*/ 71776 h 788699"/>
                <a:gd name="connsiteX81" fmla="*/ 234956 w 734307"/>
                <a:gd name="connsiteY81" fmla="*/ 69057 h 788699"/>
                <a:gd name="connsiteX82" fmla="*/ 243115 w 734307"/>
                <a:gd name="connsiteY82" fmla="*/ 69057 h 788699"/>
                <a:gd name="connsiteX83" fmla="*/ 270312 w 734307"/>
                <a:gd name="connsiteY83" fmla="*/ 74496 h 788699"/>
                <a:gd name="connsiteX84" fmla="*/ 308387 w 734307"/>
                <a:gd name="connsiteY84" fmla="*/ 123450 h 788699"/>
                <a:gd name="connsiteX85" fmla="*/ 332864 w 734307"/>
                <a:gd name="connsiteY85" fmla="*/ 202320 h 788699"/>
                <a:gd name="connsiteX86" fmla="*/ 338303 w 734307"/>
                <a:gd name="connsiteY86" fmla="*/ 237675 h 788699"/>
                <a:gd name="connsiteX87" fmla="*/ 349182 w 734307"/>
                <a:gd name="connsiteY87" fmla="*/ 281190 h 788699"/>
                <a:gd name="connsiteX88" fmla="*/ 357341 w 734307"/>
                <a:gd name="connsiteY88" fmla="*/ 316545 h 788699"/>
                <a:gd name="connsiteX89" fmla="*/ 365500 w 734307"/>
                <a:gd name="connsiteY89" fmla="*/ 351901 h 788699"/>
                <a:gd name="connsiteX90" fmla="*/ 376378 w 734307"/>
                <a:gd name="connsiteY90" fmla="*/ 389976 h 788699"/>
                <a:gd name="connsiteX91" fmla="*/ 387257 w 734307"/>
                <a:gd name="connsiteY91" fmla="*/ 414453 h 788699"/>
                <a:gd name="connsiteX92" fmla="*/ 398136 w 734307"/>
                <a:gd name="connsiteY92" fmla="*/ 376378 h 788699"/>
                <a:gd name="connsiteX93" fmla="*/ 406295 w 734307"/>
                <a:gd name="connsiteY93" fmla="*/ 332863 h 788699"/>
                <a:gd name="connsiteX94" fmla="*/ 425332 w 734307"/>
                <a:gd name="connsiteY94" fmla="*/ 243115 h 788699"/>
                <a:gd name="connsiteX95" fmla="*/ 444370 w 734307"/>
                <a:gd name="connsiteY95" fmla="*/ 150646 h 788699"/>
                <a:gd name="connsiteX96" fmla="*/ 477006 w 734307"/>
                <a:gd name="connsiteY96" fmla="*/ 79935 h 788699"/>
                <a:gd name="connsiteX97" fmla="*/ 523240 w 734307"/>
                <a:gd name="connsiteY97" fmla="*/ 58178 h 788699"/>
                <a:gd name="connsiteX98" fmla="*/ 544997 w 734307"/>
                <a:gd name="connsiteY98" fmla="*/ 63617 h 788699"/>
                <a:gd name="connsiteX99" fmla="*/ 612988 w 734307"/>
                <a:gd name="connsiteY99" fmla="*/ 63617 h 788699"/>
                <a:gd name="connsiteX100" fmla="*/ 651064 w 734307"/>
                <a:gd name="connsiteY100" fmla="*/ 79935 h 788699"/>
                <a:gd name="connsiteX101" fmla="*/ 645624 w 734307"/>
                <a:gd name="connsiteY101" fmla="*/ 96253 h 788699"/>
                <a:gd name="connsiteX102" fmla="*/ 629307 w 734307"/>
                <a:gd name="connsiteY102" fmla="*/ 104412 h 788699"/>
                <a:gd name="connsiteX103" fmla="*/ 607549 w 734307"/>
                <a:gd name="connsiteY103" fmla="*/ 107132 h 788699"/>
                <a:gd name="connsiteX104" fmla="*/ 580353 w 734307"/>
                <a:gd name="connsiteY104" fmla="*/ 107132 h 788699"/>
                <a:gd name="connsiteX105" fmla="*/ 583072 w 734307"/>
                <a:gd name="connsiteY105" fmla="*/ 115291 h 788699"/>
                <a:gd name="connsiteX106" fmla="*/ 588512 w 734307"/>
                <a:gd name="connsiteY106" fmla="*/ 156086 h 788699"/>
                <a:gd name="connsiteX107" fmla="*/ 593951 w 734307"/>
                <a:gd name="connsiteY107" fmla="*/ 196881 h 788699"/>
                <a:gd name="connsiteX108" fmla="*/ 599390 w 734307"/>
                <a:gd name="connsiteY108" fmla="*/ 226797 h 788699"/>
                <a:gd name="connsiteX109" fmla="*/ 599390 w 734307"/>
                <a:gd name="connsiteY109" fmla="*/ 232236 h 788699"/>
                <a:gd name="connsiteX110" fmla="*/ 599390 w 734307"/>
                <a:gd name="connsiteY110" fmla="*/ 240395 h 788699"/>
                <a:gd name="connsiteX111" fmla="*/ 602110 w 734307"/>
                <a:gd name="connsiteY111" fmla="*/ 270311 h 788699"/>
                <a:gd name="connsiteX112" fmla="*/ 607549 w 734307"/>
                <a:gd name="connsiteY112" fmla="*/ 308386 h 788699"/>
                <a:gd name="connsiteX113" fmla="*/ 607549 w 734307"/>
                <a:gd name="connsiteY113" fmla="*/ 319265 h 788699"/>
                <a:gd name="connsiteX114" fmla="*/ 612988 w 734307"/>
                <a:gd name="connsiteY114" fmla="*/ 335583 h 788699"/>
                <a:gd name="connsiteX115" fmla="*/ 612988 w 734307"/>
                <a:gd name="connsiteY115" fmla="*/ 346462 h 788699"/>
                <a:gd name="connsiteX116" fmla="*/ 612988 w 734307"/>
                <a:gd name="connsiteY116" fmla="*/ 370939 h 788699"/>
                <a:gd name="connsiteX117" fmla="*/ 612988 w 734307"/>
                <a:gd name="connsiteY117" fmla="*/ 395415 h 788699"/>
                <a:gd name="connsiteX118" fmla="*/ 615708 w 734307"/>
                <a:gd name="connsiteY118" fmla="*/ 422612 h 788699"/>
                <a:gd name="connsiteX119" fmla="*/ 618428 w 734307"/>
                <a:gd name="connsiteY119" fmla="*/ 441650 h 788699"/>
                <a:gd name="connsiteX120" fmla="*/ 618428 w 734307"/>
                <a:gd name="connsiteY120" fmla="*/ 455248 h 788699"/>
                <a:gd name="connsiteX121" fmla="*/ 621147 w 734307"/>
                <a:gd name="connsiteY121" fmla="*/ 463407 h 788699"/>
                <a:gd name="connsiteX122" fmla="*/ 626587 w 734307"/>
                <a:gd name="connsiteY122" fmla="*/ 482444 h 788699"/>
                <a:gd name="connsiteX123" fmla="*/ 629307 w 734307"/>
                <a:gd name="connsiteY123" fmla="*/ 517800 h 788699"/>
                <a:gd name="connsiteX124" fmla="*/ 634746 w 734307"/>
                <a:gd name="connsiteY124" fmla="*/ 561314 h 788699"/>
                <a:gd name="connsiteX125" fmla="*/ 634746 w 734307"/>
                <a:gd name="connsiteY125" fmla="*/ 566754 h 788699"/>
                <a:gd name="connsiteX126" fmla="*/ 634746 w 734307"/>
                <a:gd name="connsiteY126" fmla="*/ 583072 h 788699"/>
                <a:gd name="connsiteX127" fmla="*/ 637466 w 734307"/>
                <a:gd name="connsiteY127" fmla="*/ 607548 h 788699"/>
                <a:gd name="connsiteX128" fmla="*/ 640185 w 734307"/>
                <a:gd name="connsiteY128" fmla="*/ 618427 h 788699"/>
                <a:gd name="connsiteX129" fmla="*/ 640185 w 734307"/>
                <a:gd name="connsiteY129" fmla="*/ 632025 h 788699"/>
                <a:gd name="connsiteX130" fmla="*/ 640185 w 734307"/>
                <a:gd name="connsiteY130" fmla="*/ 640184 h 788699"/>
                <a:gd name="connsiteX131" fmla="*/ 642905 w 734307"/>
                <a:gd name="connsiteY131" fmla="*/ 659222 h 788699"/>
                <a:gd name="connsiteX132" fmla="*/ 642905 w 734307"/>
                <a:gd name="connsiteY132" fmla="*/ 664661 h 788699"/>
                <a:gd name="connsiteX133" fmla="*/ 653783 w 734307"/>
                <a:gd name="connsiteY133" fmla="*/ 678259 h 788699"/>
                <a:gd name="connsiteX134" fmla="*/ 653783 w 734307"/>
                <a:gd name="connsiteY134" fmla="*/ 678259 h 7886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</a:cxnLst>
              <a:rect l="l" t="t" r="r" b="b"/>
              <a:pathLst>
                <a:path w="734307" h="788699">
                  <a:moveTo>
                    <a:pt x="653783" y="678259"/>
                  </a:moveTo>
                  <a:cubicBezTo>
                    <a:pt x="667382" y="678259"/>
                    <a:pt x="691859" y="678259"/>
                    <a:pt x="691859" y="694577"/>
                  </a:cubicBezTo>
                  <a:cubicBezTo>
                    <a:pt x="691859" y="702736"/>
                    <a:pt x="689139" y="705456"/>
                    <a:pt x="686419" y="710895"/>
                  </a:cubicBezTo>
                  <a:cubicBezTo>
                    <a:pt x="683700" y="716335"/>
                    <a:pt x="675541" y="719054"/>
                    <a:pt x="670101" y="719054"/>
                  </a:cubicBezTo>
                  <a:cubicBezTo>
                    <a:pt x="661942" y="721774"/>
                    <a:pt x="653783" y="721774"/>
                    <a:pt x="648344" y="721774"/>
                  </a:cubicBezTo>
                  <a:cubicBezTo>
                    <a:pt x="645624" y="721774"/>
                    <a:pt x="634746" y="721774"/>
                    <a:pt x="618428" y="721774"/>
                  </a:cubicBezTo>
                  <a:cubicBezTo>
                    <a:pt x="604829" y="729933"/>
                    <a:pt x="588512" y="735372"/>
                    <a:pt x="572194" y="735372"/>
                  </a:cubicBezTo>
                  <a:cubicBezTo>
                    <a:pt x="564035" y="735372"/>
                    <a:pt x="553156" y="732653"/>
                    <a:pt x="544997" y="729933"/>
                  </a:cubicBezTo>
                  <a:cubicBezTo>
                    <a:pt x="539558" y="727213"/>
                    <a:pt x="536838" y="724494"/>
                    <a:pt x="534119" y="721774"/>
                  </a:cubicBezTo>
                  <a:cubicBezTo>
                    <a:pt x="520520" y="721774"/>
                    <a:pt x="509641" y="721774"/>
                    <a:pt x="496043" y="721774"/>
                  </a:cubicBezTo>
                  <a:cubicBezTo>
                    <a:pt x="487884" y="721774"/>
                    <a:pt x="479725" y="721774"/>
                    <a:pt x="471566" y="721774"/>
                  </a:cubicBezTo>
                  <a:cubicBezTo>
                    <a:pt x="463407" y="721774"/>
                    <a:pt x="452529" y="721774"/>
                    <a:pt x="444370" y="716335"/>
                  </a:cubicBezTo>
                  <a:cubicBezTo>
                    <a:pt x="436211" y="713615"/>
                    <a:pt x="428052" y="705456"/>
                    <a:pt x="428052" y="700017"/>
                  </a:cubicBezTo>
                  <a:cubicBezTo>
                    <a:pt x="428052" y="697297"/>
                    <a:pt x="428052" y="694577"/>
                    <a:pt x="433491" y="691858"/>
                  </a:cubicBezTo>
                  <a:cubicBezTo>
                    <a:pt x="438930" y="689138"/>
                    <a:pt x="449809" y="686418"/>
                    <a:pt x="455248" y="683699"/>
                  </a:cubicBezTo>
                  <a:cubicBezTo>
                    <a:pt x="474286" y="680979"/>
                    <a:pt x="498763" y="678259"/>
                    <a:pt x="506922" y="678259"/>
                  </a:cubicBezTo>
                  <a:cubicBezTo>
                    <a:pt x="506922" y="678259"/>
                    <a:pt x="509641" y="678259"/>
                    <a:pt x="509641" y="678259"/>
                  </a:cubicBezTo>
                  <a:cubicBezTo>
                    <a:pt x="509641" y="672820"/>
                    <a:pt x="506922" y="670101"/>
                    <a:pt x="506922" y="664661"/>
                  </a:cubicBezTo>
                  <a:cubicBezTo>
                    <a:pt x="501483" y="640184"/>
                    <a:pt x="501483" y="612988"/>
                    <a:pt x="498763" y="580352"/>
                  </a:cubicBezTo>
                  <a:cubicBezTo>
                    <a:pt x="496043" y="547716"/>
                    <a:pt x="498763" y="512361"/>
                    <a:pt x="496043" y="479725"/>
                  </a:cubicBezTo>
                  <a:cubicBezTo>
                    <a:pt x="493324" y="449808"/>
                    <a:pt x="493324" y="419892"/>
                    <a:pt x="493324" y="389976"/>
                  </a:cubicBezTo>
                  <a:cubicBezTo>
                    <a:pt x="493324" y="360060"/>
                    <a:pt x="490604" y="332863"/>
                    <a:pt x="490604" y="302947"/>
                  </a:cubicBezTo>
                  <a:cubicBezTo>
                    <a:pt x="487884" y="275751"/>
                    <a:pt x="487884" y="240395"/>
                    <a:pt x="487884" y="229516"/>
                  </a:cubicBezTo>
                  <a:cubicBezTo>
                    <a:pt x="487884" y="224077"/>
                    <a:pt x="487884" y="221357"/>
                    <a:pt x="485165" y="221357"/>
                  </a:cubicBezTo>
                  <a:cubicBezTo>
                    <a:pt x="485165" y="221357"/>
                    <a:pt x="482445" y="224077"/>
                    <a:pt x="482445" y="226797"/>
                  </a:cubicBezTo>
                  <a:cubicBezTo>
                    <a:pt x="479725" y="237675"/>
                    <a:pt x="479725" y="251274"/>
                    <a:pt x="477006" y="262152"/>
                  </a:cubicBezTo>
                  <a:cubicBezTo>
                    <a:pt x="471566" y="289349"/>
                    <a:pt x="466127" y="316545"/>
                    <a:pt x="460688" y="341022"/>
                  </a:cubicBezTo>
                  <a:cubicBezTo>
                    <a:pt x="455248" y="365499"/>
                    <a:pt x="447090" y="392696"/>
                    <a:pt x="444370" y="417173"/>
                  </a:cubicBezTo>
                  <a:cubicBezTo>
                    <a:pt x="441650" y="430771"/>
                    <a:pt x="438930" y="441650"/>
                    <a:pt x="436211" y="455248"/>
                  </a:cubicBezTo>
                  <a:cubicBezTo>
                    <a:pt x="433491" y="468846"/>
                    <a:pt x="428052" y="479725"/>
                    <a:pt x="425332" y="493323"/>
                  </a:cubicBezTo>
                  <a:cubicBezTo>
                    <a:pt x="422612" y="506921"/>
                    <a:pt x="419893" y="520520"/>
                    <a:pt x="411734" y="531398"/>
                  </a:cubicBezTo>
                  <a:cubicBezTo>
                    <a:pt x="406295" y="539557"/>
                    <a:pt x="395416" y="547716"/>
                    <a:pt x="376378" y="547716"/>
                  </a:cubicBezTo>
                  <a:cubicBezTo>
                    <a:pt x="357341" y="547716"/>
                    <a:pt x="335583" y="539557"/>
                    <a:pt x="319265" y="525959"/>
                  </a:cubicBezTo>
                  <a:cubicBezTo>
                    <a:pt x="300228" y="506921"/>
                    <a:pt x="294788" y="479725"/>
                    <a:pt x="289349" y="455248"/>
                  </a:cubicBezTo>
                  <a:cubicBezTo>
                    <a:pt x="283910" y="428051"/>
                    <a:pt x="278470" y="400855"/>
                    <a:pt x="273031" y="373658"/>
                  </a:cubicBezTo>
                  <a:cubicBezTo>
                    <a:pt x="273031" y="368219"/>
                    <a:pt x="267592" y="346462"/>
                    <a:pt x="262153" y="316545"/>
                  </a:cubicBezTo>
                  <a:cubicBezTo>
                    <a:pt x="256713" y="292068"/>
                    <a:pt x="251274" y="262152"/>
                    <a:pt x="245835" y="237675"/>
                  </a:cubicBezTo>
                  <a:cubicBezTo>
                    <a:pt x="240395" y="218638"/>
                    <a:pt x="237675" y="205039"/>
                    <a:pt x="234956" y="196881"/>
                  </a:cubicBezTo>
                  <a:cubicBezTo>
                    <a:pt x="232236" y="191441"/>
                    <a:pt x="232236" y="191441"/>
                    <a:pt x="232236" y="191441"/>
                  </a:cubicBezTo>
                  <a:cubicBezTo>
                    <a:pt x="229517" y="191441"/>
                    <a:pt x="229517" y="196881"/>
                    <a:pt x="226797" y="207759"/>
                  </a:cubicBezTo>
                  <a:cubicBezTo>
                    <a:pt x="226797" y="215918"/>
                    <a:pt x="226797" y="229516"/>
                    <a:pt x="226797" y="232236"/>
                  </a:cubicBezTo>
                  <a:cubicBezTo>
                    <a:pt x="226797" y="243115"/>
                    <a:pt x="224077" y="256713"/>
                    <a:pt x="224077" y="267592"/>
                  </a:cubicBezTo>
                  <a:cubicBezTo>
                    <a:pt x="224077" y="278470"/>
                    <a:pt x="224077" y="294788"/>
                    <a:pt x="221358" y="311106"/>
                  </a:cubicBezTo>
                  <a:cubicBezTo>
                    <a:pt x="221358" y="327424"/>
                    <a:pt x="218638" y="343742"/>
                    <a:pt x="218638" y="360060"/>
                  </a:cubicBezTo>
                  <a:cubicBezTo>
                    <a:pt x="218638" y="373658"/>
                    <a:pt x="215919" y="384537"/>
                    <a:pt x="215919" y="398135"/>
                  </a:cubicBezTo>
                  <a:cubicBezTo>
                    <a:pt x="215919" y="409014"/>
                    <a:pt x="213199" y="419892"/>
                    <a:pt x="213199" y="430771"/>
                  </a:cubicBezTo>
                  <a:cubicBezTo>
                    <a:pt x="213199" y="438930"/>
                    <a:pt x="213199" y="447089"/>
                    <a:pt x="213199" y="455248"/>
                  </a:cubicBezTo>
                  <a:cubicBezTo>
                    <a:pt x="213199" y="463407"/>
                    <a:pt x="213199" y="471566"/>
                    <a:pt x="213199" y="477005"/>
                  </a:cubicBezTo>
                  <a:cubicBezTo>
                    <a:pt x="210479" y="490603"/>
                    <a:pt x="207759" y="506921"/>
                    <a:pt x="207759" y="520520"/>
                  </a:cubicBezTo>
                  <a:cubicBezTo>
                    <a:pt x="202320" y="550436"/>
                    <a:pt x="199600" y="580352"/>
                    <a:pt x="196881" y="610268"/>
                  </a:cubicBezTo>
                  <a:cubicBezTo>
                    <a:pt x="196881" y="623866"/>
                    <a:pt x="196881" y="640184"/>
                    <a:pt x="194161" y="653783"/>
                  </a:cubicBezTo>
                  <a:cubicBezTo>
                    <a:pt x="194161" y="659222"/>
                    <a:pt x="194161" y="661942"/>
                    <a:pt x="191441" y="667381"/>
                  </a:cubicBezTo>
                  <a:cubicBezTo>
                    <a:pt x="213199" y="667381"/>
                    <a:pt x="232236" y="667381"/>
                    <a:pt x="243115" y="667381"/>
                  </a:cubicBezTo>
                  <a:cubicBezTo>
                    <a:pt x="253994" y="667381"/>
                    <a:pt x="273031" y="670101"/>
                    <a:pt x="273031" y="683699"/>
                  </a:cubicBezTo>
                  <a:cubicBezTo>
                    <a:pt x="273031" y="691858"/>
                    <a:pt x="267592" y="691858"/>
                    <a:pt x="262153" y="697297"/>
                  </a:cubicBezTo>
                  <a:cubicBezTo>
                    <a:pt x="259433" y="702736"/>
                    <a:pt x="253994" y="705456"/>
                    <a:pt x="248554" y="705456"/>
                  </a:cubicBezTo>
                  <a:cubicBezTo>
                    <a:pt x="240395" y="708176"/>
                    <a:pt x="234956" y="708176"/>
                    <a:pt x="232236" y="708176"/>
                  </a:cubicBezTo>
                  <a:cubicBezTo>
                    <a:pt x="226797" y="708176"/>
                    <a:pt x="175124" y="708176"/>
                    <a:pt x="166965" y="708176"/>
                  </a:cubicBezTo>
                  <a:cubicBezTo>
                    <a:pt x="156086" y="708176"/>
                    <a:pt x="120730" y="708176"/>
                    <a:pt x="109852" y="708176"/>
                  </a:cubicBezTo>
                  <a:cubicBezTo>
                    <a:pt x="104412" y="708176"/>
                    <a:pt x="96253" y="708176"/>
                    <a:pt x="90814" y="708176"/>
                  </a:cubicBezTo>
                  <a:cubicBezTo>
                    <a:pt x="85375" y="708176"/>
                    <a:pt x="77216" y="705456"/>
                    <a:pt x="69057" y="702736"/>
                  </a:cubicBezTo>
                  <a:cubicBezTo>
                    <a:pt x="63617" y="700017"/>
                    <a:pt x="58178" y="691858"/>
                    <a:pt x="58178" y="686418"/>
                  </a:cubicBezTo>
                  <a:cubicBezTo>
                    <a:pt x="58178" y="683699"/>
                    <a:pt x="58178" y="680979"/>
                    <a:pt x="60898" y="678259"/>
                  </a:cubicBezTo>
                  <a:cubicBezTo>
                    <a:pt x="63617" y="675540"/>
                    <a:pt x="71777" y="672820"/>
                    <a:pt x="77216" y="670101"/>
                  </a:cubicBezTo>
                  <a:cubicBezTo>
                    <a:pt x="90814" y="667381"/>
                    <a:pt x="120730" y="664661"/>
                    <a:pt x="126170" y="664661"/>
                  </a:cubicBezTo>
                  <a:cubicBezTo>
                    <a:pt x="128889" y="664661"/>
                    <a:pt x="134329" y="664661"/>
                    <a:pt x="142487" y="664661"/>
                  </a:cubicBezTo>
                  <a:cubicBezTo>
                    <a:pt x="142487" y="640184"/>
                    <a:pt x="147927" y="612988"/>
                    <a:pt x="147927" y="588511"/>
                  </a:cubicBezTo>
                  <a:cubicBezTo>
                    <a:pt x="150646" y="555875"/>
                    <a:pt x="153366" y="523239"/>
                    <a:pt x="153366" y="493323"/>
                  </a:cubicBezTo>
                  <a:cubicBezTo>
                    <a:pt x="153366" y="466126"/>
                    <a:pt x="156086" y="438930"/>
                    <a:pt x="156086" y="411733"/>
                  </a:cubicBezTo>
                  <a:cubicBezTo>
                    <a:pt x="158806" y="373658"/>
                    <a:pt x="158806" y="335583"/>
                    <a:pt x="161525" y="297508"/>
                  </a:cubicBezTo>
                  <a:cubicBezTo>
                    <a:pt x="161525" y="278470"/>
                    <a:pt x="164245" y="259433"/>
                    <a:pt x="166965" y="240395"/>
                  </a:cubicBezTo>
                  <a:cubicBezTo>
                    <a:pt x="169684" y="210479"/>
                    <a:pt x="172404" y="191441"/>
                    <a:pt x="177843" y="161525"/>
                  </a:cubicBezTo>
                  <a:cubicBezTo>
                    <a:pt x="180563" y="147927"/>
                    <a:pt x="180563" y="131609"/>
                    <a:pt x="183282" y="118011"/>
                  </a:cubicBezTo>
                  <a:cubicBezTo>
                    <a:pt x="183282" y="118011"/>
                    <a:pt x="183282" y="115291"/>
                    <a:pt x="183282" y="115291"/>
                  </a:cubicBezTo>
                  <a:cubicBezTo>
                    <a:pt x="177843" y="115291"/>
                    <a:pt x="172404" y="115291"/>
                    <a:pt x="161525" y="115291"/>
                  </a:cubicBezTo>
                  <a:cubicBezTo>
                    <a:pt x="153366" y="115291"/>
                    <a:pt x="145207" y="115291"/>
                    <a:pt x="137048" y="115291"/>
                  </a:cubicBezTo>
                  <a:cubicBezTo>
                    <a:pt x="128889" y="115291"/>
                    <a:pt x="118011" y="115291"/>
                    <a:pt x="109852" y="109851"/>
                  </a:cubicBezTo>
                  <a:cubicBezTo>
                    <a:pt x="101693" y="107132"/>
                    <a:pt x="93534" y="98973"/>
                    <a:pt x="93534" y="93534"/>
                  </a:cubicBezTo>
                  <a:cubicBezTo>
                    <a:pt x="93534" y="90814"/>
                    <a:pt x="93534" y="88094"/>
                    <a:pt x="98973" y="85375"/>
                  </a:cubicBezTo>
                  <a:cubicBezTo>
                    <a:pt x="104412" y="82655"/>
                    <a:pt x="115291" y="79935"/>
                    <a:pt x="120730" y="77216"/>
                  </a:cubicBezTo>
                  <a:cubicBezTo>
                    <a:pt x="139768" y="74496"/>
                    <a:pt x="164245" y="71776"/>
                    <a:pt x="172404" y="71776"/>
                  </a:cubicBezTo>
                  <a:cubicBezTo>
                    <a:pt x="194161" y="71776"/>
                    <a:pt x="210479" y="69057"/>
                    <a:pt x="234956" y="69057"/>
                  </a:cubicBezTo>
                  <a:cubicBezTo>
                    <a:pt x="237675" y="69057"/>
                    <a:pt x="240395" y="69057"/>
                    <a:pt x="243115" y="69057"/>
                  </a:cubicBezTo>
                  <a:cubicBezTo>
                    <a:pt x="251274" y="69057"/>
                    <a:pt x="262153" y="69057"/>
                    <a:pt x="270312" y="74496"/>
                  </a:cubicBezTo>
                  <a:cubicBezTo>
                    <a:pt x="283910" y="82655"/>
                    <a:pt x="300228" y="96253"/>
                    <a:pt x="308387" y="123450"/>
                  </a:cubicBezTo>
                  <a:cubicBezTo>
                    <a:pt x="316546" y="147927"/>
                    <a:pt x="327424" y="175123"/>
                    <a:pt x="332864" y="202320"/>
                  </a:cubicBezTo>
                  <a:cubicBezTo>
                    <a:pt x="335583" y="213198"/>
                    <a:pt x="335583" y="226797"/>
                    <a:pt x="338303" y="237675"/>
                  </a:cubicBezTo>
                  <a:cubicBezTo>
                    <a:pt x="343742" y="251274"/>
                    <a:pt x="346462" y="264872"/>
                    <a:pt x="349182" y="281190"/>
                  </a:cubicBezTo>
                  <a:cubicBezTo>
                    <a:pt x="351901" y="292068"/>
                    <a:pt x="351901" y="305667"/>
                    <a:pt x="357341" y="316545"/>
                  </a:cubicBezTo>
                  <a:cubicBezTo>
                    <a:pt x="362780" y="327424"/>
                    <a:pt x="362780" y="338303"/>
                    <a:pt x="365500" y="351901"/>
                  </a:cubicBezTo>
                  <a:cubicBezTo>
                    <a:pt x="365500" y="357340"/>
                    <a:pt x="373658" y="373658"/>
                    <a:pt x="376378" y="389976"/>
                  </a:cubicBezTo>
                  <a:cubicBezTo>
                    <a:pt x="381817" y="403574"/>
                    <a:pt x="384537" y="414453"/>
                    <a:pt x="387257" y="414453"/>
                  </a:cubicBezTo>
                  <a:cubicBezTo>
                    <a:pt x="392696" y="414453"/>
                    <a:pt x="395416" y="381817"/>
                    <a:pt x="398136" y="376378"/>
                  </a:cubicBezTo>
                  <a:cubicBezTo>
                    <a:pt x="400855" y="362779"/>
                    <a:pt x="403575" y="346462"/>
                    <a:pt x="406295" y="332863"/>
                  </a:cubicBezTo>
                  <a:cubicBezTo>
                    <a:pt x="411734" y="302947"/>
                    <a:pt x="417173" y="273031"/>
                    <a:pt x="425332" y="243115"/>
                  </a:cubicBezTo>
                  <a:cubicBezTo>
                    <a:pt x="430771" y="213198"/>
                    <a:pt x="436211" y="180563"/>
                    <a:pt x="444370" y="150646"/>
                  </a:cubicBezTo>
                  <a:cubicBezTo>
                    <a:pt x="449809" y="126170"/>
                    <a:pt x="460688" y="98973"/>
                    <a:pt x="477006" y="79935"/>
                  </a:cubicBezTo>
                  <a:cubicBezTo>
                    <a:pt x="487884" y="66337"/>
                    <a:pt x="506922" y="58178"/>
                    <a:pt x="523240" y="58178"/>
                  </a:cubicBezTo>
                  <a:cubicBezTo>
                    <a:pt x="528679" y="58178"/>
                    <a:pt x="539558" y="58178"/>
                    <a:pt x="544997" y="63617"/>
                  </a:cubicBezTo>
                  <a:lnTo>
                    <a:pt x="612988" y="63617"/>
                  </a:lnTo>
                  <a:cubicBezTo>
                    <a:pt x="626587" y="63617"/>
                    <a:pt x="651064" y="63617"/>
                    <a:pt x="651064" y="79935"/>
                  </a:cubicBezTo>
                  <a:cubicBezTo>
                    <a:pt x="651064" y="88094"/>
                    <a:pt x="648344" y="88094"/>
                    <a:pt x="645624" y="96253"/>
                  </a:cubicBezTo>
                  <a:cubicBezTo>
                    <a:pt x="640185" y="101693"/>
                    <a:pt x="634746" y="104412"/>
                    <a:pt x="629307" y="104412"/>
                  </a:cubicBezTo>
                  <a:cubicBezTo>
                    <a:pt x="621147" y="107132"/>
                    <a:pt x="612988" y="107132"/>
                    <a:pt x="607549" y="107132"/>
                  </a:cubicBezTo>
                  <a:cubicBezTo>
                    <a:pt x="604829" y="107132"/>
                    <a:pt x="591231" y="107132"/>
                    <a:pt x="580353" y="107132"/>
                  </a:cubicBezTo>
                  <a:cubicBezTo>
                    <a:pt x="580353" y="109851"/>
                    <a:pt x="583072" y="112571"/>
                    <a:pt x="583072" y="115291"/>
                  </a:cubicBezTo>
                  <a:cubicBezTo>
                    <a:pt x="585792" y="128889"/>
                    <a:pt x="585792" y="142487"/>
                    <a:pt x="588512" y="156086"/>
                  </a:cubicBezTo>
                  <a:cubicBezTo>
                    <a:pt x="591231" y="169684"/>
                    <a:pt x="591231" y="183282"/>
                    <a:pt x="593951" y="196881"/>
                  </a:cubicBezTo>
                  <a:cubicBezTo>
                    <a:pt x="593951" y="207759"/>
                    <a:pt x="599390" y="215918"/>
                    <a:pt x="599390" y="226797"/>
                  </a:cubicBezTo>
                  <a:cubicBezTo>
                    <a:pt x="599390" y="229516"/>
                    <a:pt x="599390" y="229516"/>
                    <a:pt x="599390" y="232236"/>
                  </a:cubicBezTo>
                  <a:cubicBezTo>
                    <a:pt x="599390" y="234956"/>
                    <a:pt x="599390" y="237675"/>
                    <a:pt x="599390" y="240395"/>
                  </a:cubicBezTo>
                  <a:cubicBezTo>
                    <a:pt x="599390" y="251274"/>
                    <a:pt x="599390" y="259433"/>
                    <a:pt x="602110" y="270311"/>
                  </a:cubicBezTo>
                  <a:cubicBezTo>
                    <a:pt x="604829" y="283909"/>
                    <a:pt x="607549" y="294788"/>
                    <a:pt x="607549" y="308386"/>
                  </a:cubicBezTo>
                  <a:cubicBezTo>
                    <a:pt x="607549" y="311106"/>
                    <a:pt x="607549" y="316545"/>
                    <a:pt x="607549" y="319265"/>
                  </a:cubicBezTo>
                  <a:cubicBezTo>
                    <a:pt x="607549" y="324704"/>
                    <a:pt x="610269" y="330144"/>
                    <a:pt x="612988" y="335583"/>
                  </a:cubicBezTo>
                  <a:cubicBezTo>
                    <a:pt x="612988" y="338303"/>
                    <a:pt x="612988" y="343742"/>
                    <a:pt x="612988" y="346462"/>
                  </a:cubicBezTo>
                  <a:cubicBezTo>
                    <a:pt x="612988" y="354620"/>
                    <a:pt x="612988" y="362779"/>
                    <a:pt x="612988" y="370939"/>
                  </a:cubicBezTo>
                  <a:cubicBezTo>
                    <a:pt x="612988" y="379097"/>
                    <a:pt x="612988" y="387256"/>
                    <a:pt x="612988" y="395415"/>
                  </a:cubicBezTo>
                  <a:cubicBezTo>
                    <a:pt x="612988" y="403574"/>
                    <a:pt x="615708" y="414453"/>
                    <a:pt x="615708" y="422612"/>
                  </a:cubicBezTo>
                  <a:cubicBezTo>
                    <a:pt x="618428" y="430771"/>
                    <a:pt x="618428" y="436210"/>
                    <a:pt x="618428" y="441650"/>
                  </a:cubicBezTo>
                  <a:cubicBezTo>
                    <a:pt x="618428" y="444369"/>
                    <a:pt x="618428" y="449808"/>
                    <a:pt x="618428" y="455248"/>
                  </a:cubicBezTo>
                  <a:cubicBezTo>
                    <a:pt x="618428" y="460687"/>
                    <a:pt x="618428" y="460687"/>
                    <a:pt x="621147" y="463407"/>
                  </a:cubicBezTo>
                  <a:cubicBezTo>
                    <a:pt x="623867" y="471566"/>
                    <a:pt x="623867" y="477005"/>
                    <a:pt x="626587" y="482444"/>
                  </a:cubicBezTo>
                  <a:cubicBezTo>
                    <a:pt x="629307" y="493323"/>
                    <a:pt x="629307" y="506921"/>
                    <a:pt x="629307" y="517800"/>
                  </a:cubicBezTo>
                  <a:cubicBezTo>
                    <a:pt x="632026" y="534118"/>
                    <a:pt x="632026" y="547716"/>
                    <a:pt x="634746" y="561314"/>
                  </a:cubicBezTo>
                  <a:cubicBezTo>
                    <a:pt x="634746" y="564034"/>
                    <a:pt x="634746" y="564034"/>
                    <a:pt x="634746" y="566754"/>
                  </a:cubicBezTo>
                  <a:cubicBezTo>
                    <a:pt x="634746" y="572193"/>
                    <a:pt x="634746" y="577632"/>
                    <a:pt x="634746" y="583072"/>
                  </a:cubicBezTo>
                  <a:cubicBezTo>
                    <a:pt x="634746" y="596670"/>
                    <a:pt x="637466" y="602109"/>
                    <a:pt x="637466" y="607548"/>
                  </a:cubicBezTo>
                  <a:cubicBezTo>
                    <a:pt x="637466" y="610268"/>
                    <a:pt x="640185" y="615708"/>
                    <a:pt x="640185" y="618427"/>
                  </a:cubicBezTo>
                  <a:cubicBezTo>
                    <a:pt x="640185" y="623866"/>
                    <a:pt x="640185" y="629306"/>
                    <a:pt x="640185" y="632025"/>
                  </a:cubicBezTo>
                  <a:cubicBezTo>
                    <a:pt x="640185" y="634745"/>
                    <a:pt x="640185" y="637465"/>
                    <a:pt x="640185" y="640184"/>
                  </a:cubicBezTo>
                  <a:cubicBezTo>
                    <a:pt x="640185" y="645624"/>
                    <a:pt x="642905" y="653783"/>
                    <a:pt x="642905" y="659222"/>
                  </a:cubicBezTo>
                  <a:cubicBezTo>
                    <a:pt x="642905" y="661942"/>
                    <a:pt x="642905" y="661942"/>
                    <a:pt x="642905" y="664661"/>
                  </a:cubicBezTo>
                  <a:cubicBezTo>
                    <a:pt x="645624" y="678259"/>
                    <a:pt x="651064" y="678259"/>
                    <a:pt x="653783" y="678259"/>
                  </a:cubicBezTo>
                  <a:lnTo>
                    <a:pt x="653783" y="678259"/>
                  </a:ln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3" name="Freeform: Shape 42">
              <a:extLst>
                <a:ext uri="{FF2B5EF4-FFF2-40B4-BE49-F238E27FC236}">
                  <a16:creationId xmlns:a16="http://schemas.microsoft.com/office/drawing/2014/main" id="{277C2FCB-7D05-4824-AE10-F453FE482C72}"/>
                </a:ext>
              </a:extLst>
            </p:cNvPr>
            <p:cNvSpPr/>
            <p:nvPr/>
          </p:nvSpPr>
          <p:spPr>
            <a:xfrm>
              <a:off x="6362526" y="4242177"/>
              <a:ext cx="492259" cy="674476"/>
            </a:xfrm>
            <a:custGeom>
              <a:avLst/>
              <a:gdLst>
                <a:gd name="connsiteX0" fmla="*/ 225733 w 492259"/>
                <a:gd name="connsiteY0" fmla="*/ 97907 h 674476"/>
                <a:gd name="connsiteX1" fmla="*/ 209415 w 492259"/>
                <a:gd name="connsiteY1" fmla="*/ 119665 h 674476"/>
                <a:gd name="connsiteX2" fmla="*/ 201256 w 492259"/>
                <a:gd name="connsiteY2" fmla="*/ 152300 h 674476"/>
                <a:gd name="connsiteX3" fmla="*/ 198536 w 492259"/>
                <a:gd name="connsiteY3" fmla="*/ 168618 h 674476"/>
                <a:gd name="connsiteX4" fmla="*/ 195817 w 492259"/>
                <a:gd name="connsiteY4" fmla="*/ 184936 h 674476"/>
                <a:gd name="connsiteX5" fmla="*/ 187658 w 492259"/>
                <a:gd name="connsiteY5" fmla="*/ 220292 h 674476"/>
                <a:gd name="connsiteX6" fmla="*/ 168620 w 492259"/>
                <a:gd name="connsiteY6" fmla="*/ 291003 h 674476"/>
                <a:gd name="connsiteX7" fmla="*/ 160461 w 492259"/>
                <a:gd name="connsiteY7" fmla="*/ 323639 h 674476"/>
                <a:gd name="connsiteX8" fmla="*/ 149582 w 492259"/>
                <a:gd name="connsiteY8" fmla="*/ 361714 h 674476"/>
                <a:gd name="connsiteX9" fmla="*/ 144143 w 492259"/>
                <a:gd name="connsiteY9" fmla="*/ 388910 h 674476"/>
                <a:gd name="connsiteX10" fmla="*/ 149582 w 492259"/>
                <a:gd name="connsiteY10" fmla="*/ 391630 h 674476"/>
                <a:gd name="connsiteX11" fmla="*/ 171340 w 492259"/>
                <a:gd name="connsiteY11" fmla="*/ 391630 h 674476"/>
                <a:gd name="connsiteX12" fmla="*/ 193097 w 492259"/>
                <a:gd name="connsiteY12" fmla="*/ 388910 h 674476"/>
                <a:gd name="connsiteX13" fmla="*/ 212135 w 492259"/>
                <a:gd name="connsiteY13" fmla="*/ 388910 h 674476"/>
                <a:gd name="connsiteX14" fmla="*/ 236611 w 492259"/>
                <a:gd name="connsiteY14" fmla="*/ 388910 h 674476"/>
                <a:gd name="connsiteX15" fmla="*/ 250210 w 492259"/>
                <a:gd name="connsiteY15" fmla="*/ 386191 h 674476"/>
                <a:gd name="connsiteX16" fmla="*/ 258369 w 492259"/>
                <a:gd name="connsiteY16" fmla="*/ 386191 h 674476"/>
                <a:gd name="connsiteX17" fmla="*/ 255649 w 492259"/>
                <a:gd name="connsiteY17" fmla="*/ 367153 h 674476"/>
                <a:gd name="connsiteX18" fmla="*/ 250210 w 492259"/>
                <a:gd name="connsiteY18" fmla="*/ 331797 h 674476"/>
                <a:gd name="connsiteX19" fmla="*/ 247490 w 492259"/>
                <a:gd name="connsiteY19" fmla="*/ 244769 h 674476"/>
                <a:gd name="connsiteX20" fmla="*/ 242051 w 492259"/>
                <a:gd name="connsiteY20" fmla="*/ 203974 h 674476"/>
                <a:gd name="connsiteX21" fmla="*/ 236611 w 492259"/>
                <a:gd name="connsiteY21" fmla="*/ 157740 h 674476"/>
                <a:gd name="connsiteX22" fmla="*/ 233892 w 492259"/>
                <a:gd name="connsiteY22" fmla="*/ 119665 h 674476"/>
                <a:gd name="connsiteX23" fmla="*/ 225733 w 492259"/>
                <a:gd name="connsiteY23" fmla="*/ 97907 h 674476"/>
                <a:gd name="connsiteX24" fmla="*/ 274687 w 492259"/>
                <a:gd name="connsiteY24" fmla="*/ 0 h 674476"/>
                <a:gd name="connsiteX25" fmla="*/ 304603 w 492259"/>
                <a:gd name="connsiteY25" fmla="*/ 5439 h 674476"/>
                <a:gd name="connsiteX26" fmla="*/ 320921 w 492259"/>
                <a:gd name="connsiteY26" fmla="*/ 24477 h 674476"/>
                <a:gd name="connsiteX27" fmla="*/ 334519 w 492259"/>
                <a:gd name="connsiteY27" fmla="*/ 43515 h 674476"/>
                <a:gd name="connsiteX28" fmla="*/ 339959 w 492259"/>
                <a:gd name="connsiteY28" fmla="*/ 65272 h 674476"/>
                <a:gd name="connsiteX29" fmla="*/ 348118 w 492259"/>
                <a:gd name="connsiteY29" fmla="*/ 114226 h 674476"/>
                <a:gd name="connsiteX30" fmla="*/ 361716 w 492259"/>
                <a:gd name="connsiteY30" fmla="*/ 163180 h 674476"/>
                <a:gd name="connsiteX31" fmla="*/ 369875 w 492259"/>
                <a:gd name="connsiteY31" fmla="*/ 220293 h 674476"/>
                <a:gd name="connsiteX32" fmla="*/ 378034 w 492259"/>
                <a:gd name="connsiteY32" fmla="*/ 274686 h 674476"/>
                <a:gd name="connsiteX33" fmla="*/ 383473 w 492259"/>
                <a:gd name="connsiteY33" fmla="*/ 301883 h 674476"/>
                <a:gd name="connsiteX34" fmla="*/ 391632 w 492259"/>
                <a:gd name="connsiteY34" fmla="*/ 337238 h 674476"/>
                <a:gd name="connsiteX35" fmla="*/ 397071 w 492259"/>
                <a:gd name="connsiteY35" fmla="*/ 364435 h 674476"/>
                <a:gd name="connsiteX36" fmla="*/ 405230 w 492259"/>
                <a:gd name="connsiteY36" fmla="*/ 383473 h 674476"/>
                <a:gd name="connsiteX37" fmla="*/ 416109 w 492259"/>
                <a:gd name="connsiteY37" fmla="*/ 386192 h 674476"/>
                <a:gd name="connsiteX38" fmla="*/ 426988 w 492259"/>
                <a:gd name="connsiteY38" fmla="*/ 386192 h 674476"/>
                <a:gd name="connsiteX39" fmla="*/ 454184 w 492259"/>
                <a:gd name="connsiteY39" fmla="*/ 397071 h 674476"/>
                <a:gd name="connsiteX40" fmla="*/ 456904 w 492259"/>
                <a:gd name="connsiteY40" fmla="*/ 405230 h 674476"/>
                <a:gd name="connsiteX41" fmla="*/ 451464 w 492259"/>
                <a:gd name="connsiteY41" fmla="*/ 416108 h 674476"/>
                <a:gd name="connsiteX42" fmla="*/ 432427 w 492259"/>
                <a:gd name="connsiteY42" fmla="*/ 429707 h 674476"/>
                <a:gd name="connsiteX43" fmla="*/ 421548 w 492259"/>
                <a:gd name="connsiteY43" fmla="*/ 432426 h 674476"/>
                <a:gd name="connsiteX44" fmla="*/ 413389 w 492259"/>
                <a:gd name="connsiteY44" fmla="*/ 435146 h 674476"/>
                <a:gd name="connsiteX45" fmla="*/ 413389 w 492259"/>
                <a:gd name="connsiteY45" fmla="*/ 440585 h 674476"/>
                <a:gd name="connsiteX46" fmla="*/ 416109 w 492259"/>
                <a:gd name="connsiteY46" fmla="*/ 451464 h 674476"/>
                <a:gd name="connsiteX47" fmla="*/ 418829 w 492259"/>
                <a:gd name="connsiteY47" fmla="*/ 465062 h 674476"/>
                <a:gd name="connsiteX48" fmla="*/ 418829 w 492259"/>
                <a:gd name="connsiteY48" fmla="*/ 475941 h 674476"/>
                <a:gd name="connsiteX49" fmla="*/ 418829 w 492259"/>
                <a:gd name="connsiteY49" fmla="*/ 486820 h 674476"/>
                <a:gd name="connsiteX50" fmla="*/ 426988 w 492259"/>
                <a:gd name="connsiteY50" fmla="*/ 516736 h 674476"/>
                <a:gd name="connsiteX51" fmla="*/ 432427 w 492259"/>
                <a:gd name="connsiteY51" fmla="*/ 543932 h 674476"/>
                <a:gd name="connsiteX52" fmla="*/ 437866 w 492259"/>
                <a:gd name="connsiteY52" fmla="*/ 573848 h 674476"/>
                <a:gd name="connsiteX53" fmla="*/ 443306 w 492259"/>
                <a:gd name="connsiteY53" fmla="*/ 606484 h 674476"/>
                <a:gd name="connsiteX54" fmla="*/ 446025 w 492259"/>
                <a:gd name="connsiteY54" fmla="*/ 617363 h 674476"/>
                <a:gd name="connsiteX55" fmla="*/ 470502 w 492259"/>
                <a:gd name="connsiteY55" fmla="*/ 617363 h 674476"/>
                <a:gd name="connsiteX56" fmla="*/ 492259 w 492259"/>
                <a:gd name="connsiteY56" fmla="*/ 641840 h 674476"/>
                <a:gd name="connsiteX57" fmla="*/ 484101 w 492259"/>
                <a:gd name="connsiteY57" fmla="*/ 655438 h 674476"/>
                <a:gd name="connsiteX58" fmla="*/ 467782 w 492259"/>
                <a:gd name="connsiteY58" fmla="*/ 663597 h 674476"/>
                <a:gd name="connsiteX59" fmla="*/ 443306 w 492259"/>
                <a:gd name="connsiteY59" fmla="*/ 666317 h 674476"/>
                <a:gd name="connsiteX60" fmla="*/ 421548 w 492259"/>
                <a:gd name="connsiteY60" fmla="*/ 666317 h 674476"/>
                <a:gd name="connsiteX61" fmla="*/ 413389 w 492259"/>
                <a:gd name="connsiteY61" fmla="*/ 666317 h 674476"/>
                <a:gd name="connsiteX62" fmla="*/ 399791 w 492259"/>
                <a:gd name="connsiteY62" fmla="*/ 671756 h 674476"/>
                <a:gd name="connsiteX63" fmla="*/ 383473 w 492259"/>
                <a:gd name="connsiteY63" fmla="*/ 674476 h 674476"/>
                <a:gd name="connsiteX64" fmla="*/ 348118 w 492259"/>
                <a:gd name="connsiteY64" fmla="*/ 669036 h 674476"/>
                <a:gd name="connsiteX65" fmla="*/ 326360 w 492259"/>
                <a:gd name="connsiteY65" fmla="*/ 669036 h 674476"/>
                <a:gd name="connsiteX66" fmla="*/ 277406 w 492259"/>
                <a:gd name="connsiteY66" fmla="*/ 669036 h 674476"/>
                <a:gd name="connsiteX67" fmla="*/ 252930 w 492259"/>
                <a:gd name="connsiteY67" fmla="*/ 663597 h 674476"/>
                <a:gd name="connsiteX68" fmla="*/ 236611 w 492259"/>
                <a:gd name="connsiteY68" fmla="*/ 647279 h 674476"/>
                <a:gd name="connsiteX69" fmla="*/ 261088 w 492259"/>
                <a:gd name="connsiteY69" fmla="*/ 630961 h 674476"/>
                <a:gd name="connsiteX70" fmla="*/ 288285 w 492259"/>
                <a:gd name="connsiteY70" fmla="*/ 628241 h 674476"/>
                <a:gd name="connsiteX71" fmla="*/ 285565 w 492259"/>
                <a:gd name="connsiteY71" fmla="*/ 609204 h 674476"/>
                <a:gd name="connsiteX72" fmla="*/ 282846 w 492259"/>
                <a:gd name="connsiteY72" fmla="*/ 582007 h 674476"/>
                <a:gd name="connsiteX73" fmla="*/ 280126 w 492259"/>
                <a:gd name="connsiteY73" fmla="*/ 568409 h 674476"/>
                <a:gd name="connsiteX74" fmla="*/ 282846 w 492259"/>
                <a:gd name="connsiteY74" fmla="*/ 554811 h 674476"/>
                <a:gd name="connsiteX75" fmla="*/ 277406 w 492259"/>
                <a:gd name="connsiteY75" fmla="*/ 538493 h 674476"/>
                <a:gd name="connsiteX76" fmla="*/ 271967 w 492259"/>
                <a:gd name="connsiteY76" fmla="*/ 505857 h 674476"/>
                <a:gd name="connsiteX77" fmla="*/ 269247 w 492259"/>
                <a:gd name="connsiteY77" fmla="*/ 478660 h 674476"/>
                <a:gd name="connsiteX78" fmla="*/ 266528 w 492259"/>
                <a:gd name="connsiteY78" fmla="*/ 446025 h 674476"/>
                <a:gd name="connsiteX79" fmla="*/ 261088 w 492259"/>
                <a:gd name="connsiteY79" fmla="*/ 437866 h 674476"/>
                <a:gd name="connsiteX80" fmla="*/ 250210 w 492259"/>
                <a:gd name="connsiteY80" fmla="*/ 437866 h 674476"/>
                <a:gd name="connsiteX81" fmla="*/ 220293 w 492259"/>
                <a:gd name="connsiteY81" fmla="*/ 440585 h 674476"/>
                <a:gd name="connsiteX82" fmla="*/ 190377 w 492259"/>
                <a:gd name="connsiteY82" fmla="*/ 443305 h 674476"/>
                <a:gd name="connsiteX83" fmla="*/ 165900 w 492259"/>
                <a:gd name="connsiteY83" fmla="*/ 443305 h 674476"/>
                <a:gd name="connsiteX84" fmla="*/ 144143 w 492259"/>
                <a:gd name="connsiteY84" fmla="*/ 440585 h 674476"/>
                <a:gd name="connsiteX85" fmla="*/ 135984 w 492259"/>
                <a:gd name="connsiteY85" fmla="*/ 454184 h 674476"/>
                <a:gd name="connsiteX86" fmla="*/ 130545 w 492259"/>
                <a:gd name="connsiteY86" fmla="*/ 486820 h 674476"/>
                <a:gd name="connsiteX87" fmla="*/ 119666 w 492259"/>
                <a:gd name="connsiteY87" fmla="*/ 541213 h 674476"/>
                <a:gd name="connsiteX88" fmla="*/ 103348 w 492259"/>
                <a:gd name="connsiteY88" fmla="*/ 614643 h 674476"/>
                <a:gd name="connsiteX89" fmla="*/ 133264 w 492259"/>
                <a:gd name="connsiteY89" fmla="*/ 614643 h 674476"/>
                <a:gd name="connsiteX90" fmla="*/ 168620 w 492259"/>
                <a:gd name="connsiteY90" fmla="*/ 630961 h 674476"/>
                <a:gd name="connsiteX91" fmla="*/ 163181 w 492259"/>
                <a:gd name="connsiteY91" fmla="*/ 647279 h 674476"/>
                <a:gd name="connsiteX92" fmla="*/ 146863 w 492259"/>
                <a:gd name="connsiteY92" fmla="*/ 655438 h 674476"/>
                <a:gd name="connsiteX93" fmla="*/ 127825 w 492259"/>
                <a:gd name="connsiteY93" fmla="*/ 658158 h 674476"/>
                <a:gd name="connsiteX94" fmla="*/ 106068 w 492259"/>
                <a:gd name="connsiteY94" fmla="*/ 658158 h 674476"/>
                <a:gd name="connsiteX95" fmla="*/ 62552 w 492259"/>
                <a:gd name="connsiteY95" fmla="*/ 658158 h 674476"/>
                <a:gd name="connsiteX96" fmla="*/ 40795 w 492259"/>
                <a:gd name="connsiteY96" fmla="*/ 658158 h 674476"/>
                <a:gd name="connsiteX97" fmla="*/ 16318 w 492259"/>
                <a:gd name="connsiteY97" fmla="*/ 652718 h 674476"/>
                <a:gd name="connsiteX98" fmla="*/ 0 w 492259"/>
                <a:gd name="connsiteY98" fmla="*/ 636401 h 674476"/>
                <a:gd name="connsiteX99" fmla="*/ 2720 w 492259"/>
                <a:gd name="connsiteY99" fmla="*/ 628241 h 674476"/>
                <a:gd name="connsiteX100" fmla="*/ 24477 w 492259"/>
                <a:gd name="connsiteY100" fmla="*/ 620082 h 674476"/>
                <a:gd name="connsiteX101" fmla="*/ 62552 w 492259"/>
                <a:gd name="connsiteY101" fmla="*/ 617363 h 674476"/>
                <a:gd name="connsiteX102" fmla="*/ 62552 w 492259"/>
                <a:gd name="connsiteY102" fmla="*/ 614643 h 674476"/>
                <a:gd name="connsiteX103" fmla="*/ 65272 w 492259"/>
                <a:gd name="connsiteY103" fmla="*/ 587447 h 674476"/>
                <a:gd name="connsiteX104" fmla="*/ 76151 w 492259"/>
                <a:gd name="connsiteY104" fmla="*/ 522175 h 674476"/>
                <a:gd name="connsiteX105" fmla="*/ 87029 w 492259"/>
                <a:gd name="connsiteY105" fmla="*/ 470501 h 674476"/>
                <a:gd name="connsiteX106" fmla="*/ 92468 w 492259"/>
                <a:gd name="connsiteY106" fmla="*/ 446025 h 674476"/>
                <a:gd name="connsiteX107" fmla="*/ 65272 w 492259"/>
                <a:gd name="connsiteY107" fmla="*/ 432426 h 674476"/>
                <a:gd name="connsiteX108" fmla="*/ 54393 w 492259"/>
                <a:gd name="connsiteY108" fmla="*/ 421548 h 674476"/>
                <a:gd name="connsiteX109" fmla="*/ 73431 w 492259"/>
                <a:gd name="connsiteY109" fmla="*/ 407949 h 674476"/>
                <a:gd name="connsiteX110" fmla="*/ 100629 w 492259"/>
                <a:gd name="connsiteY110" fmla="*/ 399790 h 674476"/>
                <a:gd name="connsiteX111" fmla="*/ 108788 w 492259"/>
                <a:gd name="connsiteY111" fmla="*/ 369874 h 674476"/>
                <a:gd name="connsiteX112" fmla="*/ 125105 w 492259"/>
                <a:gd name="connsiteY112" fmla="*/ 307322 h 674476"/>
                <a:gd name="connsiteX113" fmla="*/ 141423 w 492259"/>
                <a:gd name="connsiteY113" fmla="*/ 242051 h 674476"/>
                <a:gd name="connsiteX114" fmla="*/ 155022 w 492259"/>
                <a:gd name="connsiteY114" fmla="*/ 179498 h 674476"/>
                <a:gd name="connsiteX115" fmla="*/ 168620 w 492259"/>
                <a:gd name="connsiteY115" fmla="*/ 119665 h 674476"/>
                <a:gd name="connsiteX116" fmla="*/ 193097 w 492259"/>
                <a:gd name="connsiteY116" fmla="*/ 57113 h 674476"/>
                <a:gd name="connsiteX117" fmla="*/ 201256 w 492259"/>
                <a:gd name="connsiteY117" fmla="*/ 38075 h 674476"/>
                <a:gd name="connsiteX118" fmla="*/ 217574 w 492259"/>
                <a:gd name="connsiteY118" fmla="*/ 13598 h 674476"/>
                <a:gd name="connsiteX119" fmla="*/ 274687 w 492259"/>
                <a:gd name="connsiteY119" fmla="*/ 0 h 6744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</a:cxnLst>
              <a:rect l="l" t="t" r="r" b="b"/>
              <a:pathLst>
                <a:path w="492259" h="674476">
                  <a:moveTo>
                    <a:pt x="225733" y="97907"/>
                  </a:moveTo>
                  <a:cubicBezTo>
                    <a:pt x="217574" y="97907"/>
                    <a:pt x="209415" y="114225"/>
                    <a:pt x="209415" y="119665"/>
                  </a:cubicBezTo>
                  <a:cubicBezTo>
                    <a:pt x="206695" y="130543"/>
                    <a:pt x="203976" y="144141"/>
                    <a:pt x="201256" y="152300"/>
                  </a:cubicBezTo>
                  <a:cubicBezTo>
                    <a:pt x="198536" y="157740"/>
                    <a:pt x="198536" y="163179"/>
                    <a:pt x="198536" y="168618"/>
                  </a:cubicBezTo>
                  <a:cubicBezTo>
                    <a:pt x="198536" y="174058"/>
                    <a:pt x="195817" y="179497"/>
                    <a:pt x="195817" y="184936"/>
                  </a:cubicBezTo>
                  <a:cubicBezTo>
                    <a:pt x="193097" y="195815"/>
                    <a:pt x="190377" y="209413"/>
                    <a:pt x="187658" y="220292"/>
                  </a:cubicBezTo>
                  <a:cubicBezTo>
                    <a:pt x="184938" y="244769"/>
                    <a:pt x="176779" y="269246"/>
                    <a:pt x="168620" y="291003"/>
                  </a:cubicBezTo>
                  <a:cubicBezTo>
                    <a:pt x="165900" y="301881"/>
                    <a:pt x="163181" y="312760"/>
                    <a:pt x="160461" y="323639"/>
                  </a:cubicBezTo>
                  <a:cubicBezTo>
                    <a:pt x="157742" y="337237"/>
                    <a:pt x="155022" y="348115"/>
                    <a:pt x="149582" y="361714"/>
                  </a:cubicBezTo>
                  <a:cubicBezTo>
                    <a:pt x="146863" y="367153"/>
                    <a:pt x="144143" y="383471"/>
                    <a:pt x="144143" y="388910"/>
                  </a:cubicBezTo>
                  <a:cubicBezTo>
                    <a:pt x="144143" y="391630"/>
                    <a:pt x="146863" y="391630"/>
                    <a:pt x="149582" y="391630"/>
                  </a:cubicBezTo>
                  <a:cubicBezTo>
                    <a:pt x="155022" y="391630"/>
                    <a:pt x="168620" y="391630"/>
                    <a:pt x="171340" y="391630"/>
                  </a:cubicBezTo>
                  <a:cubicBezTo>
                    <a:pt x="179498" y="391630"/>
                    <a:pt x="187658" y="391630"/>
                    <a:pt x="193097" y="388910"/>
                  </a:cubicBezTo>
                  <a:cubicBezTo>
                    <a:pt x="198536" y="388910"/>
                    <a:pt x="203976" y="388910"/>
                    <a:pt x="212135" y="388910"/>
                  </a:cubicBezTo>
                  <a:cubicBezTo>
                    <a:pt x="217574" y="388910"/>
                    <a:pt x="225733" y="388910"/>
                    <a:pt x="236611" y="388910"/>
                  </a:cubicBezTo>
                  <a:cubicBezTo>
                    <a:pt x="242051" y="388910"/>
                    <a:pt x="247490" y="388910"/>
                    <a:pt x="250210" y="386191"/>
                  </a:cubicBezTo>
                  <a:cubicBezTo>
                    <a:pt x="255649" y="391630"/>
                    <a:pt x="258369" y="388910"/>
                    <a:pt x="258369" y="386191"/>
                  </a:cubicBezTo>
                  <a:cubicBezTo>
                    <a:pt x="258369" y="380751"/>
                    <a:pt x="255649" y="372592"/>
                    <a:pt x="255649" y="367153"/>
                  </a:cubicBezTo>
                  <a:cubicBezTo>
                    <a:pt x="252930" y="353555"/>
                    <a:pt x="250210" y="342676"/>
                    <a:pt x="250210" y="331797"/>
                  </a:cubicBezTo>
                  <a:cubicBezTo>
                    <a:pt x="250210" y="301881"/>
                    <a:pt x="250210" y="274685"/>
                    <a:pt x="247490" y="244769"/>
                  </a:cubicBezTo>
                  <a:cubicBezTo>
                    <a:pt x="247490" y="231170"/>
                    <a:pt x="244771" y="217572"/>
                    <a:pt x="242051" y="203974"/>
                  </a:cubicBezTo>
                  <a:cubicBezTo>
                    <a:pt x="239331" y="187656"/>
                    <a:pt x="236611" y="174058"/>
                    <a:pt x="236611" y="157740"/>
                  </a:cubicBezTo>
                  <a:cubicBezTo>
                    <a:pt x="236611" y="152300"/>
                    <a:pt x="236611" y="133263"/>
                    <a:pt x="233892" y="119665"/>
                  </a:cubicBezTo>
                  <a:cubicBezTo>
                    <a:pt x="233892" y="106066"/>
                    <a:pt x="231172" y="97907"/>
                    <a:pt x="225733" y="97907"/>
                  </a:cubicBezTo>
                  <a:close/>
                  <a:moveTo>
                    <a:pt x="274687" y="0"/>
                  </a:moveTo>
                  <a:cubicBezTo>
                    <a:pt x="288285" y="0"/>
                    <a:pt x="293724" y="2720"/>
                    <a:pt x="304603" y="5439"/>
                  </a:cubicBezTo>
                  <a:cubicBezTo>
                    <a:pt x="315481" y="10879"/>
                    <a:pt x="315481" y="16318"/>
                    <a:pt x="320921" y="24477"/>
                  </a:cubicBezTo>
                  <a:cubicBezTo>
                    <a:pt x="326360" y="29916"/>
                    <a:pt x="331800" y="35356"/>
                    <a:pt x="334519" y="43515"/>
                  </a:cubicBezTo>
                  <a:cubicBezTo>
                    <a:pt x="337239" y="51674"/>
                    <a:pt x="337239" y="57113"/>
                    <a:pt x="339959" y="65272"/>
                  </a:cubicBezTo>
                  <a:cubicBezTo>
                    <a:pt x="345398" y="78870"/>
                    <a:pt x="342678" y="97908"/>
                    <a:pt x="348118" y="114226"/>
                  </a:cubicBezTo>
                  <a:cubicBezTo>
                    <a:pt x="350837" y="130544"/>
                    <a:pt x="358996" y="146863"/>
                    <a:pt x="361716" y="163180"/>
                  </a:cubicBezTo>
                  <a:cubicBezTo>
                    <a:pt x="364435" y="182218"/>
                    <a:pt x="364435" y="201256"/>
                    <a:pt x="369875" y="220293"/>
                  </a:cubicBezTo>
                  <a:cubicBezTo>
                    <a:pt x="375314" y="239331"/>
                    <a:pt x="378034" y="255649"/>
                    <a:pt x="378034" y="274686"/>
                  </a:cubicBezTo>
                  <a:cubicBezTo>
                    <a:pt x="378034" y="282845"/>
                    <a:pt x="380753" y="293724"/>
                    <a:pt x="383473" y="301883"/>
                  </a:cubicBezTo>
                  <a:cubicBezTo>
                    <a:pt x="386193" y="312762"/>
                    <a:pt x="388913" y="326360"/>
                    <a:pt x="391632" y="337238"/>
                  </a:cubicBezTo>
                  <a:cubicBezTo>
                    <a:pt x="391632" y="342678"/>
                    <a:pt x="394352" y="353556"/>
                    <a:pt x="397071" y="364435"/>
                  </a:cubicBezTo>
                  <a:cubicBezTo>
                    <a:pt x="399791" y="372594"/>
                    <a:pt x="402511" y="380753"/>
                    <a:pt x="405230" y="383473"/>
                  </a:cubicBezTo>
                  <a:cubicBezTo>
                    <a:pt x="407950" y="386192"/>
                    <a:pt x="413389" y="386192"/>
                    <a:pt x="416109" y="386192"/>
                  </a:cubicBezTo>
                  <a:cubicBezTo>
                    <a:pt x="418829" y="386192"/>
                    <a:pt x="424268" y="386192"/>
                    <a:pt x="426988" y="386192"/>
                  </a:cubicBezTo>
                  <a:cubicBezTo>
                    <a:pt x="437866" y="386192"/>
                    <a:pt x="448745" y="388912"/>
                    <a:pt x="454184" y="397071"/>
                  </a:cubicBezTo>
                  <a:cubicBezTo>
                    <a:pt x="456904" y="399790"/>
                    <a:pt x="456904" y="402510"/>
                    <a:pt x="456904" y="405230"/>
                  </a:cubicBezTo>
                  <a:cubicBezTo>
                    <a:pt x="456904" y="407949"/>
                    <a:pt x="454184" y="410669"/>
                    <a:pt x="451464" y="416108"/>
                  </a:cubicBezTo>
                  <a:cubicBezTo>
                    <a:pt x="446025" y="421548"/>
                    <a:pt x="440586" y="426987"/>
                    <a:pt x="432427" y="429707"/>
                  </a:cubicBezTo>
                  <a:cubicBezTo>
                    <a:pt x="429707" y="429707"/>
                    <a:pt x="426988" y="432426"/>
                    <a:pt x="421548" y="432426"/>
                  </a:cubicBezTo>
                  <a:cubicBezTo>
                    <a:pt x="418829" y="432426"/>
                    <a:pt x="416109" y="432426"/>
                    <a:pt x="413389" y="435146"/>
                  </a:cubicBezTo>
                  <a:cubicBezTo>
                    <a:pt x="413389" y="435146"/>
                    <a:pt x="413389" y="437866"/>
                    <a:pt x="413389" y="440585"/>
                  </a:cubicBezTo>
                  <a:cubicBezTo>
                    <a:pt x="413389" y="443305"/>
                    <a:pt x="413389" y="448744"/>
                    <a:pt x="416109" y="451464"/>
                  </a:cubicBezTo>
                  <a:cubicBezTo>
                    <a:pt x="416109" y="456903"/>
                    <a:pt x="418829" y="462343"/>
                    <a:pt x="418829" y="465062"/>
                  </a:cubicBezTo>
                  <a:lnTo>
                    <a:pt x="418829" y="475941"/>
                  </a:lnTo>
                  <a:cubicBezTo>
                    <a:pt x="418829" y="481380"/>
                    <a:pt x="418829" y="484100"/>
                    <a:pt x="418829" y="486820"/>
                  </a:cubicBezTo>
                  <a:cubicBezTo>
                    <a:pt x="421548" y="497698"/>
                    <a:pt x="424268" y="505857"/>
                    <a:pt x="426988" y="516736"/>
                  </a:cubicBezTo>
                  <a:cubicBezTo>
                    <a:pt x="426988" y="524895"/>
                    <a:pt x="429707" y="535773"/>
                    <a:pt x="432427" y="543932"/>
                  </a:cubicBezTo>
                  <a:cubicBezTo>
                    <a:pt x="435147" y="554811"/>
                    <a:pt x="437866" y="562970"/>
                    <a:pt x="437866" y="573848"/>
                  </a:cubicBezTo>
                  <a:cubicBezTo>
                    <a:pt x="437866" y="587447"/>
                    <a:pt x="440586" y="595606"/>
                    <a:pt x="443306" y="606484"/>
                  </a:cubicBezTo>
                  <a:cubicBezTo>
                    <a:pt x="443306" y="609204"/>
                    <a:pt x="446025" y="614643"/>
                    <a:pt x="446025" y="617363"/>
                  </a:cubicBezTo>
                  <a:cubicBezTo>
                    <a:pt x="454184" y="617363"/>
                    <a:pt x="462343" y="617363"/>
                    <a:pt x="470502" y="617363"/>
                  </a:cubicBezTo>
                  <a:cubicBezTo>
                    <a:pt x="475942" y="625522"/>
                    <a:pt x="492259" y="630961"/>
                    <a:pt x="492259" y="641840"/>
                  </a:cubicBezTo>
                  <a:cubicBezTo>
                    <a:pt x="492259" y="647279"/>
                    <a:pt x="486820" y="649999"/>
                    <a:pt x="484101" y="655438"/>
                  </a:cubicBezTo>
                  <a:cubicBezTo>
                    <a:pt x="481381" y="660877"/>
                    <a:pt x="473222" y="663597"/>
                    <a:pt x="467782" y="663597"/>
                  </a:cubicBezTo>
                  <a:cubicBezTo>
                    <a:pt x="456904" y="666317"/>
                    <a:pt x="451464" y="666317"/>
                    <a:pt x="443306" y="666317"/>
                  </a:cubicBezTo>
                  <a:cubicBezTo>
                    <a:pt x="437866" y="666317"/>
                    <a:pt x="429707" y="666317"/>
                    <a:pt x="421548" y="666317"/>
                  </a:cubicBezTo>
                  <a:cubicBezTo>
                    <a:pt x="418829" y="666317"/>
                    <a:pt x="416109" y="666317"/>
                    <a:pt x="413389" y="666317"/>
                  </a:cubicBezTo>
                  <a:cubicBezTo>
                    <a:pt x="407950" y="669036"/>
                    <a:pt x="405230" y="669036"/>
                    <a:pt x="399791" y="671756"/>
                  </a:cubicBezTo>
                  <a:cubicBezTo>
                    <a:pt x="394352" y="671756"/>
                    <a:pt x="388913" y="674476"/>
                    <a:pt x="383473" y="674476"/>
                  </a:cubicBezTo>
                  <a:cubicBezTo>
                    <a:pt x="372594" y="674476"/>
                    <a:pt x="358996" y="671756"/>
                    <a:pt x="348118" y="669036"/>
                  </a:cubicBezTo>
                  <a:cubicBezTo>
                    <a:pt x="339959" y="669036"/>
                    <a:pt x="331800" y="669036"/>
                    <a:pt x="326360" y="669036"/>
                  </a:cubicBezTo>
                  <a:cubicBezTo>
                    <a:pt x="304603" y="669036"/>
                    <a:pt x="285565" y="669036"/>
                    <a:pt x="277406" y="669036"/>
                  </a:cubicBezTo>
                  <a:cubicBezTo>
                    <a:pt x="269247" y="669036"/>
                    <a:pt x="258369" y="669036"/>
                    <a:pt x="252930" y="663597"/>
                  </a:cubicBezTo>
                  <a:cubicBezTo>
                    <a:pt x="247490" y="660877"/>
                    <a:pt x="236611" y="655438"/>
                    <a:pt x="236611" y="647279"/>
                  </a:cubicBezTo>
                  <a:cubicBezTo>
                    <a:pt x="236611" y="636401"/>
                    <a:pt x="252930" y="633681"/>
                    <a:pt x="261088" y="630961"/>
                  </a:cubicBezTo>
                  <a:cubicBezTo>
                    <a:pt x="266528" y="630961"/>
                    <a:pt x="274687" y="630961"/>
                    <a:pt x="288285" y="628241"/>
                  </a:cubicBezTo>
                  <a:cubicBezTo>
                    <a:pt x="288285" y="620082"/>
                    <a:pt x="288285" y="614643"/>
                    <a:pt x="285565" y="609204"/>
                  </a:cubicBezTo>
                  <a:cubicBezTo>
                    <a:pt x="285565" y="601045"/>
                    <a:pt x="282846" y="590166"/>
                    <a:pt x="282846" y="582007"/>
                  </a:cubicBezTo>
                  <a:cubicBezTo>
                    <a:pt x="282846" y="576568"/>
                    <a:pt x="280126" y="573848"/>
                    <a:pt x="280126" y="568409"/>
                  </a:cubicBezTo>
                  <a:cubicBezTo>
                    <a:pt x="280126" y="562970"/>
                    <a:pt x="282846" y="557531"/>
                    <a:pt x="282846" y="554811"/>
                  </a:cubicBezTo>
                  <a:cubicBezTo>
                    <a:pt x="282846" y="549371"/>
                    <a:pt x="280126" y="546652"/>
                    <a:pt x="277406" y="538493"/>
                  </a:cubicBezTo>
                  <a:cubicBezTo>
                    <a:pt x="277406" y="527614"/>
                    <a:pt x="271967" y="516736"/>
                    <a:pt x="271967" y="505857"/>
                  </a:cubicBezTo>
                  <a:cubicBezTo>
                    <a:pt x="271967" y="494978"/>
                    <a:pt x="271967" y="486820"/>
                    <a:pt x="269247" y="478660"/>
                  </a:cubicBezTo>
                  <a:cubicBezTo>
                    <a:pt x="266528" y="467782"/>
                    <a:pt x="266528" y="456903"/>
                    <a:pt x="266528" y="446025"/>
                  </a:cubicBezTo>
                  <a:cubicBezTo>
                    <a:pt x="266528" y="440585"/>
                    <a:pt x="263808" y="437866"/>
                    <a:pt x="261088" y="437866"/>
                  </a:cubicBezTo>
                  <a:cubicBezTo>
                    <a:pt x="258369" y="437866"/>
                    <a:pt x="255649" y="437866"/>
                    <a:pt x="250210" y="437866"/>
                  </a:cubicBezTo>
                  <a:cubicBezTo>
                    <a:pt x="239331" y="437866"/>
                    <a:pt x="228452" y="437866"/>
                    <a:pt x="220293" y="440585"/>
                  </a:cubicBezTo>
                  <a:cubicBezTo>
                    <a:pt x="209415" y="440585"/>
                    <a:pt x="201256" y="443305"/>
                    <a:pt x="190377" y="443305"/>
                  </a:cubicBezTo>
                  <a:cubicBezTo>
                    <a:pt x="182218" y="443305"/>
                    <a:pt x="174059" y="443305"/>
                    <a:pt x="165900" y="443305"/>
                  </a:cubicBezTo>
                  <a:cubicBezTo>
                    <a:pt x="163181" y="443305"/>
                    <a:pt x="152302" y="440585"/>
                    <a:pt x="144143" y="440585"/>
                  </a:cubicBezTo>
                  <a:cubicBezTo>
                    <a:pt x="135984" y="440585"/>
                    <a:pt x="135984" y="448744"/>
                    <a:pt x="135984" y="454184"/>
                  </a:cubicBezTo>
                  <a:cubicBezTo>
                    <a:pt x="135984" y="465062"/>
                    <a:pt x="133264" y="475941"/>
                    <a:pt x="130545" y="486820"/>
                  </a:cubicBezTo>
                  <a:cubicBezTo>
                    <a:pt x="127825" y="505857"/>
                    <a:pt x="122386" y="522175"/>
                    <a:pt x="119666" y="541213"/>
                  </a:cubicBezTo>
                  <a:cubicBezTo>
                    <a:pt x="116947" y="560250"/>
                    <a:pt x="108788" y="595606"/>
                    <a:pt x="103348" y="614643"/>
                  </a:cubicBezTo>
                  <a:cubicBezTo>
                    <a:pt x="111507" y="614643"/>
                    <a:pt x="122386" y="614643"/>
                    <a:pt x="133264" y="614643"/>
                  </a:cubicBezTo>
                  <a:cubicBezTo>
                    <a:pt x="146863" y="614643"/>
                    <a:pt x="168620" y="614643"/>
                    <a:pt x="168620" y="630961"/>
                  </a:cubicBezTo>
                  <a:cubicBezTo>
                    <a:pt x="168620" y="639120"/>
                    <a:pt x="165900" y="639120"/>
                    <a:pt x="163181" y="647279"/>
                  </a:cubicBezTo>
                  <a:cubicBezTo>
                    <a:pt x="160461" y="652718"/>
                    <a:pt x="152302" y="655438"/>
                    <a:pt x="146863" y="655438"/>
                  </a:cubicBezTo>
                  <a:cubicBezTo>
                    <a:pt x="138704" y="658158"/>
                    <a:pt x="133264" y="658158"/>
                    <a:pt x="127825" y="658158"/>
                  </a:cubicBezTo>
                  <a:cubicBezTo>
                    <a:pt x="122386" y="658158"/>
                    <a:pt x="116947" y="658158"/>
                    <a:pt x="106068" y="658158"/>
                  </a:cubicBezTo>
                  <a:cubicBezTo>
                    <a:pt x="92468" y="658158"/>
                    <a:pt x="78870" y="658158"/>
                    <a:pt x="62552" y="658158"/>
                  </a:cubicBezTo>
                  <a:cubicBezTo>
                    <a:pt x="54393" y="658158"/>
                    <a:pt x="46234" y="658158"/>
                    <a:pt x="40795" y="658158"/>
                  </a:cubicBezTo>
                  <a:cubicBezTo>
                    <a:pt x="32636" y="658158"/>
                    <a:pt x="21758" y="658158"/>
                    <a:pt x="16318" y="652718"/>
                  </a:cubicBezTo>
                  <a:cubicBezTo>
                    <a:pt x="8159" y="649999"/>
                    <a:pt x="0" y="641840"/>
                    <a:pt x="0" y="636401"/>
                  </a:cubicBezTo>
                  <a:cubicBezTo>
                    <a:pt x="0" y="633681"/>
                    <a:pt x="0" y="630961"/>
                    <a:pt x="2720" y="628241"/>
                  </a:cubicBezTo>
                  <a:cubicBezTo>
                    <a:pt x="8159" y="625522"/>
                    <a:pt x="16318" y="622802"/>
                    <a:pt x="24477" y="620082"/>
                  </a:cubicBezTo>
                  <a:cubicBezTo>
                    <a:pt x="38075" y="617363"/>
                    <a:pt x="48954" y="617363"/>
                    <a:pt x="62552" y="617363"/>
                  </a:cubicBezTo>
                  <a:cubicBezTo>
                    <a:pt x="62552" y="617363"/>
                    <a:pt x="62552" y="614643"/>
                    <a:pt x="62552" y="614643"/>
                  </a:cubicBezTo>
                  <a:cubicBezTo>
                    <a:pt x="62552" y="603765"/>
                    <a:pt x="65272" y="590166"/>
                    <a:pt x="65272" y="587447"/>
                  </a:cubicBezTo>
                  <a:cubicBezTo>
                    <a:pt x="67992" y="565689"/>
                    <a:pt x="73431" y="543932"/>
                    <a:pt x="76151" y="522175"/>
                  </a:cubicBezTo>
                  <a:cubicBezTo>
                    <a:pt x="78870" y="505857"/>
                    <a:pt x="81590" y="486820"/>
                    <a:pt x="87029" y="470501"/>
                  </a:cubicBezTo>
                  <a:cubicBezTo>
                    <a:pt x="87029" y="465062"/>
                    <a:pt x="92468" y="451464"/>
                    <a:pt x="92468" y="446025"/>
                  </a:cubicBezTo>
                  <a:cubicBezTo>
                    <a:pt x="92468" y="437866"/>
                    <a:pt x="73431" y="437866"/>
                    <a:pt x="65272" y="432426"/>
                  </a:cubicBezTo>
                  <a:cubicBezTo>
                    <a:pt x="59833" y="429707"/>
                    <a:pt x="54393" y="426987"/>
                    <a:pt x="54393" y="421548"/>
                  </a:cubicBezTo>
                  <a:cubicBezTo>
                    <a:pt x="54393" y="413389"/>
                    <a:pt x="62552" y="410669"/>
                    <a:pt x="73431" y="407949"/>
                  </a:cubicBezTo>
                  <a:cubicBezTo>
                    <a:pt x="78870" y="407949"/>
                    <a:pt x="92468" y="405230"/>
                    <a:pt x="100629" y="399790"/>
                  </a:cubicBezTo>
                  <a:cubicBezTo>
                    <a:pt x="106068" y="394351"/>
                    <a:pt x="106068" y="378033"/>
                    <a:pt x="108788" y="369874"/>
                  </a:cubicBezTo>
                  <a:cubicBezTo>
                    <a:pt x="114227" y="348117"/>
                    <a:pt x="119666" y="326360"/>
                    <a:pt x="125105" y="307322"/>
                  </a:cubicBezTo>
                  <a:cubicBezTo>
                    <a:pt x="130545" y="285565"/>
                    <a:pt x="135984" y="263808"/>
                    <a:pt x="141423" y="242051"/>
                  </a:cubicBezTo>
                  <a:cubicBezTo>
                    <a:pt x="146863" y="220293"/>
                    <a:pt x="152302" y="198536"/>
                    <a:pt x="155022" y="179498"/>
                  </a:cubicBezTo>
                  <a:cubicBezTo>
                    <a:pt x="157742" y="160461"/>
                    <a:pt x="163181" y="138703"/>
                    <a:pt x="168620" y="119665"/>
                  </a:cubicBezTo>
                  <a:cubicBezTo>
                    <a:pt x="176779" y="100627"/>
                    <a:pt x="182218" y="76150"/>
                    <a:pt x="193097" y="57113"/>
                  </a:cubicBezTo>
                  <a:lnTo>
                    <a:pt x="201256" y="38075"/>
                  </a:lnTo>
                  <a:cubicBezTo>
                    <a:pt x="206695" y="29916"/>
                    <a:pt x="209415" y="19038"/>
                    <a:pt x="217574" y="13598"/>
                  </a:cubicBezTo>
                  <a:cubicBezTo>
                    <a:pt x="231172" y="2720"/>
                    <a:pt x="255649" y="0"/>
                    <a:pt x="274687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4" name="Freeform: Shape 43">
              <a:extLst>
                <a:ext uri="{FF2B5EF4-FFF2-40B4-BE49-F238E27FC236}">
                  <a16:creationId xmlns:a16="http://schemas.microsoft.com/office/drawing/2014/main" id="{6019EDE9-B07A-4FD5-87B9-487B5E3194EF}"/>
                </a:ext>
              </a:extLst>
            </p:cNvPr>
            <p:cNvSpPr/>
            <p:nvPr/>
          </p:nvSpPr>
          <p:spPr>
            <a:xfrm>
              <a:off x="6876542" y="4244897"/>
              <a:ext cx="462342" cy="677195"/>
            </a:xfrm>
            <a:custGeom>
              <a:avLst/>
              <a:gdLst>
                <a:gd name="connsiteX0" fmla="*/ 214853 w 462342"/>
                <a:gd name="connsiteY0" fmla="*/ 65272 h 677195"/>
                <a:gd name="connsiteX1" fmla="*/ 195815 w 462342"/>
                <a:gd name="connsiteY1" fmla="*/ 73431 h 677195"/>
                <a:gd name="connsiteX2" fmla="*/ 193096 w 462342"/>
                <a:gd name="connsiteY2" fmla="*/ 125105 h 677195"/>
                <a:gd name="connsiteX3" fmla="*/ 190376 w 462342"/>
                <a:gd name="connsiteY3" fmla="*/ 280125 h 677195"/>
                <a:gd name="connsiteX4" fmla="*/ 190376 w 462342"/>
                <a:gd name="connsiteY4" fmla="*/ 301882 h 677195"/>
                <a:gd name="connsiteX5" fmla="*/ 193096 w 462342"/>
                <a:gd name="connsiteY5" fmla="*/ 342677 h 677195"/>
                <a:gd name="connsiteX6" fmla="*/ 195815 w 462342"/>
                <a:gd name="connsiteY6" fmla="*/ 397070 h 677195"/>
                <a:gd name="connsiteX7" fmla="*/ 195815 w 462342"/>
                <a:gd name="connsiteY7" fmla="*/ 443304 h 677195"/>
                <a:gd name="connsiteX8" fmla="*/ 195815 w 462342"/>
                <a:gd name="connsiteY8" fmla="*/ 530333 h 677195"/>
                <a:gd name="connsiteX9" fmla="*/ 193096 w 462342"/>
                <a:gd name="connsiteY9" fmla="*/ 554810 h 677195"/>
                <a:gd name="connsiteX10" fmla="*/ 190376 w 462342"/>
                <a:gd name="connsiteY10" fmla="*/ 603764 h 677195"/>
                <a:gd name="connsiteX11" fmla="*/ 198535 w 462342"/>
                <a:gd name="connsiteY11" fmla="*/ 611923 h 677195"/>
                <a:gd name="connsiteX12" fmla="*/ 214853 w 462342"/>
                <a:gd name="connsiteY12" fmla="*/ 611923 h 677195"/>
                <a:gd name="connsiteX13" fmla="*/ 236610 w 462342"/>
                <a:gd name="connsiteY13" fmla="*/ 611923 h 677195"/>
                <a:gd name="connsiteX14" fmla="*/ 263807 w 462342"/>
                <a:gd name="connsiteY14" fmla="*/ 598325 h 677195"/>
                <a:gd name="connsiteX15" fmla="*/ 277405 w 462342"/>
                <a:gd name="connsiteY15" fmla="*/ 592885 h 677195"/>
                <a:gd name="connsiteX16" fmla="*/ 291004 w 462342"/>
                <a:gd name="connsiteY16" fmla="*/ 573848 h 677195"/>
                <a:gd name="connsiteX17" fmla="*/ 307322 w 462342"/>
                <a:gd name="connsiteY17" fmla="*/ 543931 h 677195"/>
                <a:gd name="connsiteX18" fmla="*/ 326359 w 462342"/>
                <a:gd name="connsiteY18" fmla="*/ 481379 h 677195"/>
                <a:gd name="connsiteX19" fmla="*/ 337238 w 462342"/>
                <a:gd name="connsiteY19" fmla="*/ 413388 h 677195"/>
                <a:gd name="connsiteX20" fmla="*/ 337238 w 462342"/>
                <a:gd name="connsiteY20" fmla="*/ 350836 h 677195"/>
                <a:gd name="connsiteX21" fmla="*/ 334518 w 462342"/>
                <a:gd name="connsiteY21" fmla="*/ 296443 h 677195"/>
                <a:gd name="connsiteX22" fmla="*/ 329079 w 462342"/>
                <a:gd name="connsiteY22" fmla="*/ 244769 h 677195"/>
                <a:gd name="connsiteX23" fmla="*/ 307322 w 462342"/>
                <a:gd name="connsiteY23" fmla="*/ 135983 h 677195"/>
                <a:gd name="connsiteX24" fmla="*/ 271966 w 462342"/>
                <a:gd name="connsiteY24" fmla="*/ 78870 h 677195"/>
                <a:gd name="connsiteX25" fmla="*/ 214853 w 462342"/>
                <a:gd name="connsiteY25" fmla="*/ 65272 h 677195"/>
                <a:gd name="connsiteX26" fmla="*/ 114226 w 462342"/>
                <a:gd name="connsiteY26" fmla="*/ 0 h 677195"/>
                <a:gd name="connsiteX27" fmla="*/ 127824 w 462342"/>
                <a:gd name="connsiteY27" fmla="*/ 0 h 677195"/>
                <a:gd name="connsiteX28" fmla="*/ 146862 w 462342"/>
                <a:gd name="connsiteY28" fmla="*/ 2720 h 677195"/>
                <a:gd name="connsiteX29" fmla="*/ 174059 w 462342"/>
                <a:gd name="connsiteY29" fmla="*/ 21758 h 677195"/>
                <a:gd name="connsiteX30" fmla="*/ 193096 w 462342"/>
                <a:gd name="connsiteY30" fmla="*/ 21758 h 677195"/>
                <a:gd name="connsiteX31" fmla="*/ 261088 w 462342"/>
                <a:gd name="connsiteY31" fmla="*/ 27197 h 677195"/>
                <a:gd name="connsiteX32" fmla="*/ 310042 w 462342"/>
                <a:gd name="connsiteY32" fmla="*/ 35356 h 677195"/>
                <a:gd name="connsiteX33" fmla="*/ 334518 w 462342"/>
                <a:gd name="connsiteY33" fmla="*/ 40795 h 677195"/>
                <a:gd name="connsiteX34" fmla="*/ 356276 w 462342"/>
                <a:gd name="connsiteY34" fmla="*/ 59833 h 677195"/>
                <a:gd name="connsiteX35" fmla="*/ 372593 w 462342"/>
                <a:gd name="connsiteY35" fmla="*/ 76151 h 677195"/>
                <a:gd name="connsiteX36" fmla="*/ 380752 w 462342"/>
                <a:gd name="connsiteY36" fmla="*/ 95188 h 677195"/>
                <a:gd name="connsiteX37" fmla="*/ 405230 w 462342"/>
                <a:gd name="connsiteY37" fmla="*/ 114226 h 677195"/>
                <a:gd name="connsiteX38" fmla="*/ 416108 w 462342"/>
                <a:gd name="connsiteY38" fmla="*/ 141422 h 677195"/>
                <a:gd name="connsiteX39" fmla="*/ 451464 w 462342"/>
                <a:gd name="connsiteY39" fmla="*/ 201256 h 677195"/>
                <a:gd name="connsiteX40" fmla="*/ 456903 w 462342"/>
                <a:gd name="connsiteY40" fmla="*/ 252929 h 677195"/>
                <a:gd name="connsiteX41" fmla="*/ 456903 w 462342"/>
                <a:gd name="connsiteY41" fmla="*/ 291004 h 677195"/>
                <a:gd name="connsiteX42" fmla="*/ 459623 w 462342"/>
                <a:gd name="connsiteY42" fmla="*/ 318201 h 677195"/>
                <a:gd name="connsiteX43" fmla="*/ 459623 w 462342"/>
                <a:gd name="connsiteY43" fmla="*/ 326360 h 677195"/>
                <a:gd name="connsiteX44" fmla="*/ 459623 w 462342"/>
                <a:gd name="connsiteY44" fmla="*/ 348117 h 677195"/>
                <a:gd name="connsiteX45" fmla="*/ 462342 w 462342"/>
                <a:gd name="connsiteY45" fmla="*/ 367155 h 677195"/>
                <a:gd name="connsiteX46" fmla="*/ 456903 w 462342"/>
                <a:gd name="connsiteY46" fmla="*/ 391632 h 677195"/>
                <a:gd name="connsiteX47" fmla="*/ 456903 w 462342"/>
                <a:gd name="connsiteY47" fmla="*/ 418828 h 677195"/>
                <a:gd name="connsiteX48" fmla="*/ 451464 w 462342"/>
                <a:gd name="connsiteY48" fmla="*/ 437866 h 677195"/>
                <a:gd name="connsiteX49" fmla="*/ 446025 w 462342"/>
                <a:gd name="connsiteY49" fmla="*/ 454184 h 677195"/>
                <a:gd name="connsiteX50" fmla="*/ 440585 w 462342"/>
                <a:gd name="connsiteY50" fmla="*/ 481380 h 677195"/>
                <a:gd name="connsiteX51" fmla="*/ 432426 w 462342"/>
                <a:gd name="connsiteY51" fmla="*/ 508577 h 677195"/>
                <a:gd name="connsiteX52" fmla="*/ 418828 w 462342"/>
                <a:gd name="connsiteY52" fmla="*/ 530334 h 677195"/>
                <a:gd name="connsiteX53" fmla="*/ 410669 w 462342"/>
                <a:gd name="connsiteY53" fmla="*/ 549371 h 677195"/>
                <a:gd name="connsiteX54" fmla="*/ 391631 w 462342"/>
                <a:gd name="connsiteY54" fmla="*/ 579288 h 677195"/>
                <a:gd name="connsiteX55" fmla="*/ 337238 w 462342"/>
                <a:gd name="connsiteY55" fmla="*/ 630961 h 677195"/>
                <a:gd name="connsiteX56" fmla="*/ 301883 w 462342"/>
                <a:gd name="connsiteY56" fmla="*/ 647279 h 677195"/>
                <a:gd name="connsiteX57" fmla="*/ 263807 w 462342"/>
                <a:gd name="connsiteY57" fmla="*/ 652718 h 677195"/>
                <a:gd name="connsiteX58" fmla="*/ 233891 w 462342"/>
                <a:gd name="connsiteY58" fmla="*/ 649999 h 677195"/>
                <a:gd name="connsiteX59" fmla="*/ 187657 w 462342"/>
                <a:gd name="connsiteY59" fmla="*/ 652718 h 677195"/>
                <a:gd name="connsiteX60" fmla="*/ 171339 w 462342"/>
                <a:gd name="connsiteY60" fmla="*/ 669036 h 677195"/>
                <a:gd name="connsiteX61" fmla="*/ 155021 w 462342"/>
                <a:gd name="connsiteY61" fmla="*/ 671756 h 677195"/>
                <a:gd name="connsiteX62" fmla="*/ 138703 w 462342"/>
                <a:gd name="connsiteY62" fmla="*/ 674476 h 677195"/>
                <a:gd name="connsiteX63" fmla="*/ 125105 w 462342"/>
                <a:gd name="connsiteY63" fmla="*/ 677195 h 677195"/>
                <a:gd name="connsiteX64" fmla="*/ 106067 w 462342"/>
                <a:gd name="connsiteY64" fmla="*/ 671756 h 677195"/>
                <a:gd name="connsiteX65" fmla="*/ 87029 w 462342"/>
                <a:gd name="connsiteY65" fmla="*/ 658158 h 677195"/>
                <a:gd name="connsiteX66" fmla="*/ 81590 w 462342"/>
                <a:gd name="connsiteY66" fmla="*/ 652718 h 677195"/>
                <a:gd name="connsiteX67" fmla="*/ 67992 w 462342"/>
                <a:gd name="connsiteY67" fmla="*/ 652718 h 677195"/>
                <a:gd name="connsiteX68" fmla="*/ 43515 w 462342"/>
                <a:gd name="connsiteY68" fmla="*/ 652718 h 677195"/>
                <a:gd name="connsiteX69" fmla="*/ 16318 w 462342"/>
                <a:gd name="connsiteY69" fmla="*/ 647279 h 677195"/>
                <a:gd name="connsiteX70" fmla="*/ 0 w 462342"/>
                <a:gd name="connsiteY70" fmla="*/ 630961 h 677195"/>
                <a:gd name="connsiteX71" fmla="*/ 5439 w 462342"/>
                <a:gd name="connsiteY71" fmla="*/ 620083 h 677195"/>
                <a:gd name="connsiteX72" fmla="*/ 27197 w 462342"/>
                <a:gd name="connsiteY72" fmla="*/ 611924 h 677195"/>
                <a:gd name="connsiteX73" fmla="*/ 65272 w 462342"/>
                <a:gd name="connsiteY73" fmla="*/ 609204 h 677195"/>
                <a:gd name="connsiteX74" fmla="*/ 65272 w 462342"/>
                <a:gd name="connsiteY74" fmla="*/ 584727 h 677195"/>
                <a:gd name="connsiteX75" fmla="*/ 62552 w 462342"/>
                <a:gd name="connsiteY75" fmla="*/ 456903 h 677195"/>
                <a:gd name="connsiteX76" fmla="*/ 65272 w 462342"/>
                <a:gd name="connsiteY76" fmla="*/ 337238 h 677195"/>
                <a:gd name="connsiteX77" fmla="*/ 67992 w 462342"/>
                <a:gd name="connsiteY77" fmla="*/ 203975 h 677195"/>
                <a:gd name="connsiteX78" fmla="*/ 70712 w 462342"/>
                <a:gd name="connsiteY78" fmla="*/ 119665 h 677195"/>
                <a:gd name="connsiteX79" fmla="*/ 73431 w 462342"/>
                <a:gd name="connsiteY79" fmla="*/ 67992 h 677195"/>
                <a:gd name="connsiteX80" fmla="*/ 67992 w 462342"/>
                <a:gd name="connsiteY80" fmla="*/ 67992 h 677195"/>
                <a:gd name="connsiteX81" fmla="*/ 43515 w 462342"/>
                <a:gd name="connsiteY81" fmla="*/ 67992 h 677195"/>
                <a:gd name="connsiteX82" fmla="*/ 16318 w 462342"/>
                <a:gd name="connsiteY82" fmla="*/ 62552 h 677195"/>
                <a:gd name="connsiteX83" fmla="*/ 0 w 462342"/>
                <a:gd name="connsiteY83" fmla="*/ 46234 h 677195"/>
                <a:gd name="connsiteX84" fmla="*/ 5439 w 462342"/>
                <a:gd name="connsiteY84" fmla="*/ 35356 h 677195"/>
                <a:gd name="connsiteX85" fmla="*/ 27197 w 462342"/>
                <a:gd name="connsiteY85" fmla="*/ 27197 h 677195"/>
                <a:gd name="connsiteX86" fmla="*/ 76151 w 462342"/>
                <a:gd name="connsiteY86" fmla="*/ 21758 h 677195"/>
                <a:gd name="connsiteX87" fmla="*/ 81590 w 462342"/>
                <a:gd name="connsiteY87" fmla="*/ 13598 h 677195"/>
                <a:gd name="connsiteX88" fmla="*/ 97908 w 462342"/>
                <a:gd name="connsiteY88" fmla="*/ 5439 h 677195"/>
                <a:gd name="connsiteX89" fmla="*/ 114226 w 462342"/>
                <a:gd name="connsiteY89" fmla="*/ 0 h 6771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</a:cxnLst>
              <a:rect l="l" t="t" r="r" b="b"/>
              <a:pathLst>
                <a:path w="462342" h="677195">
                  <a:moveTo>
                    <a:pt x="214853" y="65272"/>
                  </a:moveTo>
                  <a:cubicBezTo>
                    <a:pt x="203975" y="65272"/>
                    <a:pt x="195815" y="67992"/>
                    <a:pt x="195815" y="73431"/>
                  </a:cubicBezTo>
                  <a:cubicBezTo>
                    <a:pt x="193096" y="78870"/>
                    <a:pt x="193096" y="100628"/>
                    <a:pt x="193096" y="125105"/>
                  </a:cubicBezTo>
                  <a:cubicBezTo>
                    <a:pt x="193096" y="182217"/>
                    <a:pt x="193096" y="266527"/>
                    <a:pt x="190376" y="280125"/>
                  </a:cubicBezTo>
                  <a:cubicBezTo>
                    <a:pt x="190376" y="288284"/>
                    <a:pt x="190376" y="293723"/>
                    <a:pt x="190376" y="301882"/>
                  </a:cubicBezTo>
                  <a:cubicBezTo>
                    <a:pt x="190376" y="315480"/>
                    <a:pt x="190376" y="329079"/>
                    <a:pt x="193096" y="342677"/>
                  </a:cubicBezTo>
                  <a:cubicBezTo>
                    <a:pt x="193096" y="361715"/>
                    <a:pt x="193096" y="378033"/>
                    <a:pt x="195815" y="397070"/>
                  </a:cubicBezTo>
                  <a:cubicBezTo>
                    <a:pt x="195815" y="413388"/>
                    <a:pt x="195815" y="426986"/>
                    <a:pt x="195815" y="443304"/>
                  </a:cubicBezTo>
                  <a:cubicBezTo>
                    <a:pt x="195815" y="465061"/>
                    <a:pt x="198535" y="508576"/>
                    <a:pt x="195815" y="530333"/>
                  </a:cubicBezTo>
                  <a:cubicBezTo>
                    <a:pt x="195815" y="538492"/>
                    <a:pt x="193096" y="546651"/>
                    <a:pt x="193096" y="554810"/>
                  </a:cubicBezTo>
                  <a:cubicBezTo>
                    <a:pt x="193096" y="560249"/>
                    <a:pt x="190376" y="590166"/>
                    <a:pt x="190376" y="603764"/>
                  </a:cubicBezTo>
                  <a:cubicBezTo>
                    <a:pt x="190376" y="609203"/>
                    <a:pt x="190376" y="611923"/>
                    <a:pt x="198535" y="611923"/>
                  </a:cubicBezTo>
                  <a:cubicBezTo>
                    <a:pt x="206694" y="611923"/>
                    <a:pt x="209414" y="611923"/>
                    <a:pt x="214853" y="611923"/>
                  </a:cubicBezTo>
                  <a:cubicBezTo>
                    <a:pt x="223012" y="611923"/>
                    <a:pt x="220293" y="611923"/>
                    <a:pt x="236610" y="611923"/>
                  </a:cubicBezTo>
                  <a:cubicBezTo>
                    <a:pt x="242050" y="611923"/>
                    <a:pt x="258368" y="601044"/>
                    <a:pt x="263807" y="598325"/>
                  </a:cubicBezTo>
                  <a:cubicBezTo>
                    <a:pt x="266527" y="598325"/>
                    <a:pt x="274686" y="592885"/>
                    <a:pt x="277405" y="592885"/>
                  </a:cubicBezTo>
                  <a:cubicBezTo>
                    <a:pt x="285564" y="587446"/>
                    <a:pt x="288284" y="579287"/>
                    <a:pt x="291004" y="573848"/>
                  </a:cubicBezTo>
                  <a:cubicBezTo>
                    <a:pt x="296443" y="562969"/>
                    <a:pt x="301882" y="554810"/>
                    <a:pt x="307322" y="543931"/>
                  </a:cubicBezTo>
                  <a:cubicBezTo>
                    <a:pt x="315481" y="524894"/>
                    <a:pt x="320920" y="524894"/>
                    <a:pt x="326359" y="481379"/>
                  </a:cubicBezTo>
                  <a:cubicBezTo>
                    <a:pt x="329079" y="456903"/>
                    <a:pt x="334518" y="435145"/>
                    <a:pt x="337238" y="413388"/>
                  </a:cubicBezTo>
                  <a:cubicBezTo>
                    <a:pt x="337238" y="391631"/>
                    <a:pt x="337238" y="369873"/>
                    <a:pt x="337238" y="350836"/>
                  </a:cubicBezTo>
                  <a:cubicBezTo>
                    <a:pt x="337238" y="339957"/>
                    <a:pt x="337238" y="320920"/>
                    <a:pt x="334518" y="296443"/>
                  </a:cubicBezTo>
                  <a:cubicBezTo>
                    <a:pt x="331798" y="269246"/>
                    <a:pt x="329079" y="250209"/>
                    <a:pt x="329079" y="244769"/>
                  </a:cubicBezTo>
                  <a:cubicBezTo>
                    <a:pt x="323640" y="206694"/>
                    <a:pt x="318200" y="174058"/>
                    <a:pt x="307322" y="135983"/>
                  </a:cubicBezTo>
                  <a:cubicBezTo>
                    <a:pt x="304602" y="125105"/>
                    <a:pt x="304602" y="108787"/>
                    <a:pt x="271966" y="78870"/>
                  </a:cubicBezTo>
                  <a:cubicBezTo>
                    <a:pt x="263807" y="73431"/>
                    <a:pt x="233891" y="65272"/>
                    <a:pt x="214853" y="65272"/>
                  </a:cubicBezTo>
                  <a:close/>
                  <a:moveTo>
                    <a:pt x="114226" y="0"/>
                  </a:moveTo>
                  <a:cubicBezTo>
                    <a:pt x="119665" y="0"/>
                    <a:pt x="125105" y="0"/>
                    <a:pt x="127824" y="0"/>
                  </a:cubicBezTo>
                  <a:cubicBezTo>
                    <a:pt x="133264" y="0"/>
                    <a:pt x="141422" y="0"/>
                    <a:pt x="146862" y="2720"/>
                  </a:cubicBezTo>
                  <a:cubicBezTo>
                    <a:pt x="157741" y="5439"/>
                    <a:pt x="165900" y="13598"/>
                    <a:pt x="174059" y="21758"/>
                  </a:cubicBezTo>
                  <a:cubicBezTo>
                    <a:pt x="179498" y="21758"/>
                    <a:pt x="187657" y="21758"/>
                    <a:pt x="193096" y="21758"/>
                  </a:cubicBezTo>
                  <a:cubicBezTo>
                    <a:pt x="212134" y="21758"/>
                    <a:pt x="228452" y="27197"/>
                    <a:pt x="261088" y="27197"/>
                  </a:cubicBezTo>
                  <a:cubicBezTo>
                    <a:pt x="277405" y="27197"/>
                    <a:pt x="293723" y="35356"/>
                    <a:pt x="310042" y="35356"/>
                  </a:cubicBezTo>
                  <a:cubicBezTo>
                    <a:pt x="318200" y="35356"/>
                    <a:pt x="329079" y="35356"/>
                    <a:pt x="334518" y="40795"/>
                  </a:cubicBezTo>
                  <a:cubicBezTo>
                    <a:pt x="342677" y="46234"/>
                    <a:pt x="348117" y="54393"/>
                    <a:pt x="356276" y="59833"/>
                  </a:cubicBezTo>
                  <a:cubicBezTo>
                    <a:pt x="361715" y="65272"/>
                    <a:pt x="369874" y="67992"/>
                    <a:pt x="372593" y="76151"/>
                  </a:cubicBezTo>
                  <a:cubicBezTo>
                    <a:pt x="375313" y="81590"/>
                    <a:pt x="378033" y="89749"/>
                    <a:pt x="380752" y="95188"/>
                  </a:cubicBezTo>
                  <a:cubicBezTo>
                    <a:pt x="386192" y="103347"/>
                    <a:pt x="391631" y="106067"/>
                    <a:pt x="405230" y="114226"/>
                  </a:cubicBezTo>
                  <a:cubicBezTo>
                    <a:pt x="413388" y="119665"/>
                    <a:pt x="410669" y="133263"/>
                    <a:pt x="416108" y="141422"/>
                  </a:cubicBezTo>
                  <a:cubicBezTo>
                    <a:pt x="426987" y="160461"/>
                    <a:pt x="446025" y="182218"/>
                    <a:pt x="451464" y="201256"/>
                  </a:cubicBezTo>
                  <a:cubicBezTo>
                    <a:pt x="456903" y="220293"/>
                    <a:pt x="456903" y="236611"/>
                    <a:pt x="456903" y="252929"/>
                  </a:cubicBezTo>
                  <a:cubicBezTo>
                    <a:pt x="456903" y="266527"/>
                    <a:pt x="456903" y="277406"/>
                    <a:pt x="456903" y="291004"/>
                  </a:cubicBezTo>
                  <a:cubicBezTo>
                    <a:pt x="456903" y="299163"/>
                    <a:pt x="456903" y="307322"/>
                    <a:pt x="459623" y="318201"/>
                  </a:cubicBezTo>
                  <a:cubicBezTo>
                    <a:pt x="459623" y="320921"/>
                    <a:pt x="459623" y="323640"/>
                    <a:pt x="459623" y="326360"/>
                  </a:cubicBezTo>
                  <a:cubicBezTo>
                    <a:pt x="462342" y="331799"/>
                    <a:pt x="459623" y="337238"/>
                    <a:pt x="459623" y="348117"/>
                  </a:cubicBezTo>
                  <a:cubicBezTo>
                    <a:pt x="459623" y="350837"/>
                    <a:pt x="462342" y="361715"/>
                    <a:pt x="462342" y="367155"/>
                  </a:cubicBezTo>
                  <a:cubicBezTo>
                    <a:pt x="462342" y="375314"/>
                    <a:pt x="456903" y="383473"/>
                    <a:pt x="456903" y="391632"/>
                  </a:cubicBezTo>
                  <a:cubicBezTo>
                    <a:pt x="456903" y="399790"/>
                    <a:pt x="456903" y="410669"/>
                    <a:pt x="456903" y="418828"/>
                  </a:cubicBezTo>
                  <a:cubicBezTo>
                    <a:pt x="456903" y="421548"/>
                    <a:pt x="454183" y="429707"/>
                    <a:pt x="451464" y="437866"/>
                  </a:cubicBezTo>
                  <a:cubicBezTo>
                    <a:pt x="448744" y="443305"/>
                    <a:pt x="448744" y="451464"/>
                    <a:pt x="446025" y="454184"/>
                  </a:cubicBezTo>
                  <a:cubicBezTo>
                    <a:pt x="443305" y="462343"/>
                    <a:pt x="440585" y="473221"/>
                    <a:pt x="440585" y="481380"/>
                  </a:cubicBezTo>
                  <a:cubicBezTo>
                    <a:pt x="437865" y="489539"/>
                    <a:pt x="437865" y="500418"/>
                    <a:pt x="432426" y="508577"/>
                  </a:cubicBezTo>
                  <a:cubicBezTo>
                    <a:pt x="429706" y="516736"/>
                    <a:pt x="424267" y="522175"/>
                    <a:pt x="418828" y="530334"/>
                  </a:cubicBezTo>
                  <a:cubicBezTo>
                    <a:pt x="416108" y="535773"/>
                    <a:pt x="413388" y="543932"/>
                    <a:pt x="410669" y="549371"/>
                  </a:cubicBezTo>
                  <a:cubicBezTo>
                    <a:pt x="405230" y="557531"/>
                    <a:pt x="397071" y="573848"/>
                    <a:pt x="391631" y="579288"/>
                  </a:cubicBezTo>
                  <a:cubicBezTo>
                    <a:pt x="369874" y="609204"/>
                    <a:pt x="350836" y="620083"/>
                    <a:pt x="337238" y="630961"/>
                  </a:cubicBezTo>
                  <a:cubicBezTo>
                    <a:pt x="326359" y="639120"/>
                    <a:pt x="315481" y="641840"/>
                    <a:pt x="301883" y="647279"/>
                  </a:cubicBezTo>
                  <a:cubicBezTo>
                    <a:pt x="291004" y="649999"/>
                    <a:pt x="277405" y="652718"/>
                    <a:pt x="263807" y="652718"/>
                  </a:cubicBezTo>
                  <a:cubicBezTo>
                    <a:pt x="252929" y="652718"/>
                    <a:pt x="244770" y="649999"/>
                    <a:pt x="233891" y="649999"/>
                  </a:cubicBezTo>
                  <a:cubicBezTo>
                    <a:pt x="206694" y="649999"/>
                    <a:pt x="217573" y="652718"/>
                    <a:pt x="187657" y="652718"/>
                  </a:cubicBezTo>
                  <a:cubicBezTo>
                    <a:pt x="184937" y="660877"/>
                    <a:pt x="179498" y="666317"/>
                    <a:pt x="171339" y="669036"/>
                  </a:cubicBezTo>
                  <a:cubicBezTo>
                    <a:pt x="165900" y="671756"/>
                    <a:pt x="160460" y="671756"/>
                    <a:pt x="155021" y="671756"/>
                  </a:cubicBezTo>
                  <a:cubicBezTo>
                    <a:pt x="149581" y="671756"/>
                    <a:pt x="144142" y="674476"/>
                    <a:pt x="138703" y="674476"/>
                  </a:cubicBezTo>
                  <a:cubicBezTo>
                    <a:pt x="135983" y="674476"/>
                    <a:pt x="127824" y="677195"/>
                    <a:pt x="125105" y="677195"/>
                  </a:cubicBezTo>
                  <a:cubicBezTo>
                    <a:pt x="116946" y="677195"/>
                    <a:pt x="108787" y="671756"/>
                    <a:pt x="106067" y="671756"/>
                  </a:cubicBezTo>
                  <a:cubicBezTo>
                    <a:pt x="100628" y="669036"/>
                    <a:pt x="95188" y="663597"/>
                    <a:pt x="87029" y="658158"/>
                  </a:cubicBezTo>
                  <a:cubicBezTo>
                    <a:pt x="84310" y="655438"/>
                    <a:pt x="81590" y="655438"/>
                    <a:pt x="81590" y="652718"/>
                  </a:cubicBezTo>
                  <a:cubicBezTo>
                    <a:pt x="73431" y="652718"/>
                    <a:pt x="81590" y="652718"/>
                    <a:pt x="67992" y="652718"/>
                  </a:cubicBezTo>
                  <a:cubicBezTo>
                    <a:pt x="59833" y="652718"/>
                    <a:pt x="51674" y="652718"/>
                    <a:pt x="43515" y="652718"/>
                  </a:cubicBezTo>
                  <a:cubicBezTo>
                    <a:pt x="35356" y="652718"/>
                    <a:pt x="24477" y="652718"/>
                    <a:pt x="16318" y="647279"/>
                  </a:cubicBezTo>
                  <a:cubicBezTo>
                    <a:pt x="8159" y="644559"/>
                    <a:pt x="0" y="636401"/>
                    <a:pt x="0" y="630961"/>
                  </a:cubicBezTo>
                  <a:cubicBezTo>
                    <a:pt x="0" y="625522"/>
                    <a:pt x="0" y="622802"/>
                    <a:pt x="5439" y="620083"/>
                  </a:cubicBezTo>
                  <a:cubicBezTo>
                    <a:pt x="10879" y="617363"/>
                    <a:pt x="21758" y="614643"/>
                    <a:pt x="27197" y="611924"/>
                  </a:cubicBezTo>
                  <a:cubicBezTo>
                    <a:pt x="38076" y="609204"/>
                    <a:pt x="54393" y="609204"/>
                    <a:pt x="65272" y="609204"/>
                  </a:cubicBezTo>
                  <a:cubicBezTo>
                    <a:pt x="65272" y="601045"/>
                    <a:pt x="65272" y="592886"/>
                    <a:pt x="65272" y="584727"/>
                  </a:cubicBezTo>
                  <a:cubicBezTo>
                    <a:pt x="65272" y="541213"/>
                    <a:pt x="62552" y="500418"/>
                    <a:pt x="62552" y="456903"/>
                  </a:cubicBezTo>
                  <a:cubicBezTo>
                    <a:pt x="62552" y="440585"/>
                    <a:pt x="65272" y="397071"/>
                    <a:pt x="65272" y="337238"/>
                  </a:cubicBezTo>
                  <a:cubicBezTo>
                    <a:pt x="65272" y="293724"/>
                    <a:pt x="67992" y="247490"/>
                    <a:pt x="67992" y="203975"/>
                  </a:cubicBezTo>
                  <a:cubicBezTo>
                    <a:pt x="67992" y="179498"/>
                    <a:pt x="67992" y="149582"/>
                    <a:pt x="70712" y="119665"/>
                  </a:cubicBezTo>
                  <a:cubicBezTo>
                    <a:pt x="70712" y="103347"/>
                    <a:pt x="73431" y="84309"/>
                    <a:pt x="73431" y="67992"/>
                  </a:cubicBezTo>
                  <a:cubicBezTo>
                    <a:pt x="73431" y="67992"/>
                    <a:pt x="70712" y="67992"/>
                    <a:pt x="67992" y="67992"/>
                  </a:cubicBezTo>
                  <a:cubicBezTo>
                    <a:pt x="59833" y="67992"/>
                    <a:pt x="51674" y="67992"/>
                    <a:pt x="43515" y="67992"/>
                  </a:cubicBezTo>
                  <a:cubicBezTo>
                    <a:pt x="35356" y="67992"/>
                    <a:pt x="24477" y="67992"/>
                    <a:pt x="16318" y="62552"/>
                  </a:cubicBezTo>
                  <a:cubicBezTo>
                    <a:pt x="8159" y="59833"/>
                    <a:pt x="0" y="51674"/>
                    <a:pt x="0" y="46234"/>
                  </a:cubicBezTo>
                  <a:cubicBezTo>
                    <a:pt x="0" y="43515"/>
                    <a:pt x="0" y="38075"/>
                    <a:pt x="5439" y="35356"/>
                  </a:cubicBezTo>
                  <a:cubicBezTo>
                    <a:pt x="10879" y="32636"/>
                    <a:pt x="21758" y="29916"/>
                    <a:pt x="27197" y="27197"/>
                  </a:cubicBezTo>
                  <a:cubicBezTo>
                    <a:pt x="46234" y="24477"/>
                    <a:pt x="65272" y="21758"/>
                    <a:pt x="76151" y="21758"/>
                  </a:cubicBezTo>
                  <a:cubicBezTo>
                    <a:pt x="76151" y="19038"/>
                    <a:pt x="78871" y="16318"/>
                    <a:pt x="81590" y="13598"/>
                  </a:cubicBezTo>
                  <a:cubicBezTo>
                    <a:pt x="84310" y="10879"/>
                    <a:pt x="92469" y="5439"/>
                    <a:pt x="97908" y="5439"/>
                  </a:cubicBezTo>
                  <a:cubicBezTo>
                    <a:pt x="103347" y="2720"/>
                    <a:pt x="108787" y="0"/>
                    <a:pt x="114226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5" name="Freeform: Shape 44">
              <a:extLst>
                <a:ext uri="{FF2B5EF4-FFF2-40B4-BE49-F238E27FC236}">
                  <a16:creationId xmlns:a16="http://schemas.microsoft.com/office/drawing/2014/main" id="{E57DE58C-884C-473D-88BB-56EE3548B302}"/>
                </a:ext>
              </a:extLst>
            </p:cNvPr>
            <p:cNvSpPr/>
            <p:nvPr/>
          </p:nvSpPr>
          <p:spPr>
            <a:xfrm>
              <a:off x="7310622" y="4197597"/>
              <a:ext cx="489539" cy="761503"/>
            </a:xfrm>
            <a:custGeom>
              <a:avLst/>
              <a:gdLst>
                <a:gd name="connsiteX0" fmla="*/ 433491 w 489538"/>
                <a:gd name="connsiteY0" fmla="*/ 651063 h 761503"/>
                <a:gd name="connsiteX1" fmla="*/ 438930 w 489538"/>
                <a:gd name="connsiteY1" fmla="*/ 661942 h 761503"/>
                <a:gd name="connsiteX2" fmla="*/ 425332 w 489538"/>
                <a:gd name="connsiteY2" fmla="*/ 683699 h 761503"/>
                <a:gd name="connsiteX3" fmla="*/ 400855 w 489538"/>
                <a:gd name="connsiteY3" fmla="*/ 691858 h 761503"/>
                <a:gd name="connsiteX4" fmla="*/ 343742 w 489538"/>
                <a:gd name="connsiteY4" fmla="*/ 700017 h 761503"/>
                <a:gd name="connsiteX5" fmla="*/ 316546 w 489538"/>
                <a:gd name="connsiteY5" fmla="*/ 705456 h 761503"/>
                <a:gd name="connsiteX6" fmla="*/ 275751 w 489538"/>
                <a:gd name="connsiteY6" fmla="*/ 705456 h 761503"/>
                <a:gd name="connsiteX7" fmla="*/ 264872 w 489538"/>
                <a:gd name="connsiteY7" fmla="*/ 708176 h 761503"/>
                <a:gd name="connsiteX8" fmla="*/ 253994 w 489538"/>
                <a:gd name="connsiteY8" fmla="*/ 708176 h 761503"/>
                <a:gd name="connsiteX9" fmla="*/ 240395 w 489538"/>
                <a:gd name="connsiteY9" fmla="*/ 719054 h 761503"/>
                <a:gd name="connsiteX10" fmla="*/ 224077 w 489538"/>
                <a:gd name="connsiteY10" fmla="*/ 721774 h 761503"/>
                <a:gd name="connsiteX11" fmla="*/ 205040 w 489538"/>
                <a:gd name="connsiteY11" fmla="*/ 724494 h 761503"/>
                <a:gd name="connsiteX12" fmla="*/ 191441 w 489538"/>
                <a:gd name="connsiteY12" fmla="*/ 727213 h 761503"/>
                <a:gd name="connsiteX13" fmla="*/ 169684 w 489538"/>
                <a:gd name="connsiteY13" fmla="*/ 721774 h 761503"/>
                <a:gd name="connsiteX14" fmla="*/ 150646 w 489538"/>
                <a:gd name="connsiteY14" fmla="*/ 708176 h 761503"/>
                <a:gd name="connsiteX15" fmla="*/ 139768 w 489538"/>
                <a:gd name="connsiteY15" fmla="*/ 708176 h 761503"/>
                <a:gd name="connsiteX16" fmla="*/ 120730 w 489538"/>
                <a:gd name="connsiteY16" fmla="*/ 708176 h 761503"/>
                <a:gd name="connsiteX17" fmla="*/ 98973 w 489538"/>
                <a:gd name="connsiteY17" fmla="*/ 708176 h 761503"/>
                <a:gd name="connsiteX18" fmla="*/ 74496 w 489538"/>
                <a:gd name="connsiteY18" fmla="*/ 702736 h 761503"/>
                <a:gd name="connsiteX19" fmla="*/ 58178 w 489538"/>
                <a:gd name="connsiteY19" fmla="*/ 683699 h 761503"/>
                <a:gd name="connsiteX20" fmla="*/ 63617 w 489538"/>
                <a:gd name="connsiteY20" fmla="*/ 675540 h 761503"/>
                <a:gd name="connsiteX21" fmla="*/ 85375 w 489538"/>
                <a:gd name="connsiteY21" fmla="*/ 667381 h 761503"/>
                <a:gd name="connsiteX22" fmla="*/ 128889 w 489538"/>
                <a:gd name="connsiteY22" fmla="*/ 661942 h 761503"/>
                <a:gd name="connsiteX23" fmla="*/ 128889 w 489538"/>
                <a:gd name="connsiteY23" fmla="*/ 602109 h 761503"/>
                <a:gd name="connsiteX24" fmla="*/ 126170 w 489538"/>
                <a:gd name="connsiteY24" fmla="*/ 523239 h 761503"/>
                <a:gd name="connsiteX25" fmla="*/ 126170 w 489538"/>
                <a:gd name="connsiteY25" fmla="*/ 468846 h 761503"/>
                <a:gd name="connsiteX26" fmla="*/ 123450 w 489538"/>
                <a:gd name="connsiteY26" fmla="*/ 409014 h 761503"/>
                <a:gd name="connsiteX27" fmla="*/ 123450 w 489538"/>
                <a:gd name="connsiteY27" fmla="*/ 384537 h 761503"/>
                <a:gd name="connsiteX28" fmla="*/ 126170 w 489538"/>
                <a:gd name="connsiteY28" fmla="*/ 349181 h 761503"/>
                <a:gd name="connsiteX29" fmla="*/ 126170 w 489538"/>
                <a:gd name="connsiteY29" fmla="*/ 324704 h 761503"/>
                <a:gd name="connsiteX30" fmla="*/ 128889 w 489538"/>
                <a:gd name="connsiteY30" fmla="*/ 292068 h 761503"/>
                <a:gd name="connsiteX31" fmla="*/ 134329 w 489538"/>
                <a:gd name="connsiteY31" fmla="*/ 234956 h 761503"/>
                <a:gd name="connsiteX32" fmla="*/ 134329 w 489538"/>
                <a:gd name="connsiteY32" fmla="*/ 172404 h 761503"/>
                <a:gd name="connsiteX33" fmla="*/ 137048 w 489538"/>
                <a:gd name="connsiteY33" fmla="*/ 123450 h 761503"/>
                <a:gd name="connsiteX34" fmla="*/ 123450 w 489538"/>
                <a:gd name="connsiteY34" fmla="*/ 123450 h 761503"/>
                <a:gd name="connsiteX35" fmla="*/ 101693 w 489538"/>
                <a:gd name="connsiteY35" fmla="*/ 123450 h 761503"/>
                <a:gd name="connsiteX36" fmla="*/ 77216 w 489538"/>
                <a:gd name="connsiteY36" fmla="*/ 118011 h 761503"/>
                <a:gd name="connsiteX37" fmla="*/ 60898 w 489538"/>
                <a:gd name="connsiteY37" fmla="*/ 98973 h 761503"/>
                <a:gd name="connsiteX38" fmla="*/ 66337 w 489538"/>
                <a:gd name="connsiteY38" fmla="*/ 90814 h 761503"/>
                <a:gd name="connsiteX39" fmla="*/ 88094 w 489538"/>
                <a:gd name="connsiteY39" fmla="*/ 82655 h 761503"/>
                <a:gd name="connsiteX40" fmla="*/ 145207 w 489538"/>
                <a:gd name="connsiteY40" fmla="*/ 77216 h 761503"/>
                <a:gd name="connsiteX41" fmla="*/ 145207 w 489538"/>
                <a:gd name="connsiteY41" fmla="*/ 77216 h 761503"/>
                <a:gd name="connsiteX42" fmla="*/ 153366 w 489538"/>
                <a:gd name="connsiteY42" fmla="*/ 69057 h 761503"/>
                <a:gd name="connsiteX43" fmla="*/ 177843 w 489538"/>
                <a:gd name="connsiteY43" fmla="*/ 60898 h 761503"/>
                <a:gd name="connsiteX44" fmla="*/ 196881 w 489538"/>
                <a:gd name="connsiteY44" fmla="*/ 58178 h 761503"/>
                <a:gd name="connsiteX45" fmla="*/ 205040 w 489538"/>
                <a:gd name="connsiteY45" fmla="*/ 58178 h 761503"/>
                <a:gd name="connsiteX46" fmla="*/ 215919 w 489538"/>
                <a:gd name="connsiteY46" fmla="*/ 63617 h 761503"/>
                <a:gd name="connsiteX47" fmla="*/ 229517 w 489538"/>
                <a:gd name="connsiteY47" fmla="*/ 69057 h 761503"/>
                <a:gd name="connsiteX48" fmla="*/ 256713 w 489538"/>
                <a:gd name="connsiteY48" fmla="*/ 77216 h 761503"/>
                <a:gd name="connsiteX49" fmla="*/ 264872 w 489538"/>
                <a:gd name="connsiteY49" fmla="*/ 77216 h 761503"/>
                <a:gd name="connsiteX50" fmla="*/ 281190 w 489538"/>
                <a:gd name="connsiteY50" fmla="*/ 77216 h 761503"/>
                <a:gd name="connsiteX51" fmla="*/ 330144 w 489538"/>
                <a:gd name="connsiteY51" fmla="*/ 77216 h 761503"/>
                <a:gd name="connsiteX52" fmla="*/ 357341 w 489538"/>
                <a:gd name="connsiteY52" fmla="*/ 79935 h 761503"/>
                <a:gd name="connsiteX53" fmla="*/ 387257 w 489538"/>
                <a:gd name="connsiteY53" fmla="*/ 82655 h 761503"/>
                <a:gd name="connsiteX54" fmla="*/ 406295 w 489538"/>
                <a:gd name="connsiteY54" fmla="*/ 85375 h 761503"/>
                <a:gd name="connsiteX55" fmla="*/ 417173 w 489538"/>
                <a:gd name="connsiteY55" fmla="*/ 79935 h 761503"/>
                <a:gd name="connsiteX56" fmla="*/ 425332 w 489538"/>
                <a:gd name="connsiteY56" fmla="*/ 85375 h 761503"/>
                <a:gd name="connsiteX57" fmla="*/ 433491 w 489538"/>
                <a:gd name="connsiteY57" fmla="*/ 104412 h 761503"/>
                <a:gd name="connsiteX58" fmla="*/ 436211 w 489538"/>
                <a:gd name="connsiteY58" fmla="*/ 137048 h 761503"/>
                <a:gd name="connsiteX59" fmla="*/ 438930 w 489538"/>
                <a:gd name="connsiteY59" fmla="*/ 183282 h 761503"/>
                <a:gd name="connsiteX60" fmla="*/ 422612 w 489538"/>
                <a:gd name="connsiteY60" fmla="*/ 218638 h 761503"/>
                <a:gd name="connsiteX61" fmla="*/ 406295 w 489538"/>
                <a:gd name="connsiteY61" fmla="*/ 213198 h 761503"/>
                <a:gd name="connsiteX62" fmla="*/ 398136 w 489538"/>
                <a:gd name="connsiteY62" fmla="*/ 196881 h 761503"/>
                <a:gd name="connsiteX63" fmla="*/ 395416 w 489538"/>
                <a:gd name="connsiteY63" fmla="*/ 175123 h 761503"/>
                <a:gd name="connsiteX64" fmla="*/ 395416 w 489538"/>
                <a:gd name="connsiteY64" fmla="*/ 153366 h 761503"/>
                <a:gd name="connsiteX65" fmla="*/ 395416 w 489538"/>
                <a:gd name="connsiteY65" fmla="*/ 126170 h 761503"/>
                <a:gd name="connsiteX66" fmla="*/ 370939 w 489538"/>
                <a:gd name="connsiteY66" fmla="*/ 128889 h 761503"/>
                <a:gd name="connsiteX67" fmla="*/ 338303 w 489538"/>
                <a:gd name="connsiteY67" fmla="*/ 131609 h 761503"/>
                <a:gd name="connsiteX68" fmla="*/ 286629 w 489538"/>
                <a:gd name="connsiteY68" fmla="*/ 134328 h 761503"/>
                <a:gd name="connsiteX69" fmla="*/ 273031 w 489538"/>
                <a:gd name="connsiteY69" fmla="*/ 137048 h 761503"/>
                <a:gd name="connsiteX70" fmla="*/ 262153 w 489538"/>
                <a:gd name="connsiteY70" fmla="*/ 142487 h 761503"/>
                <a:gd name="connsiteX71" fmla="*/ 259433 w 489538"/>
                <a:gd name="connsiteY71" fmla="*/ 153366 h 761503"/>
                <a:gd name="connsiteX72" fmla="*/ 262153 w 489538"/>
                <a:gd name="connsiteY72" fmla="*/ 166964 h 761503"/>
                <a:gd name="connsiteX73" fmla="*/ 262153 w 489538"/>
                <a:gd name="connsiteY73" fmla="*/ 196881 h 761503"/>
                <a:gd name="connsiteX74" fmla="*/ 262153 w 489538"/>
                <a:gd name="connsiteY74" fmla="*/ 215918 h 761503"/>
                <a:gd name="connsiteX75" fmla="*/ 262153 w 489538"/>
                <a:gd name="connsiteY75" fmla="*/ 251274 h 761503"/>
                <a:gd name="connsiteX76" fmla="*/ 259433 w 489538"/>
                <a:gd name="connsiteY76" fmla="*/ 278470 h 761503"/>
                <a:gd name="connsiteX77" fmla="*/ 259433 w 489538"/>
                <a:gd name="connsiteY77" fmla="*/ 308386 h 761503"/>
                <a:gd name="connsiteX78" fmla="*/ 259433 w 489538"/>
                <a:gd name="connsiteY78" fmla="*/ 321985 h 761503"/>
                <a:gd name="connsiteX79" fmla="*/ 259433 w 489538"/>
                <a:gd name="connsiteY79" fmla="*/ 332863 h 761503"/>
                <a:gd name="connsiteX80" fmla="*/ 267592 w 489538"/>
                <a:gd name="connsiteY80" fmla="*/ 335583 h 761503"/>
                <a:gd name="connsiteX81" fmla="*/ 281190 w 489538"/>
                <a:gd name="connsiteY81" fmla="*/ 335583 h 761503"/>
                <a:gd name="connsiteX82" fmla="*/ 327424 w 489538"/>
                <a:gd name="connsiteY82" fmla="*/ 338303 h 761503"/>
                <a:gd name="connsiteX83" fmla="*/ 351901 w 489538"/>
                <a:gd name="connsiteY83" fmla="*/ 341022 h 761503"/>
                <a:gd name="connsiteX84" fmla="*/ 351901 w 489538"/>
                <a:gd name="connsiteY84" fmla="*/ 335583 h 761503"/>
                <a:gd name="connsiteX85" fmla="*/ 351901 w 489538"/>
                <a:gd name="connsiteY85" fmla="*/ 313826 h 761503"/>
                <a:gd name="connsiteX86" fmla="*/ 357341 w 489538"/>
                <a:gd name="connsiteY86" fmla="*/ 289349 h 761503"/>
                <a:gd name="connsiteX87" fmla="*/ 373658 w 489538"/>
                <a:gd name="connsiteY87" fmla="*/ 273031 h 761503"/>
                <a:gd name="connsiteX88" fmla="*/ 381817 w 489538"/>
                <a:gd name="connsiteY88" fmla="*/ 278470 h 761503"/>
                <a:gd name="connsiteX89" fmla="*/ 389977 w 489538"/>
                <a:gd name="connsiteY89" fmla="*/ 300228 h 761503"/>
                <a:gd name="connsiteX90" fmla="*/ 395416 w 489538"/>
                <a:gd name="connsiteY90" fmla="*/ 351901 h 761503"/>
                <a:gd name="connsiteX91" fmla="*/ 398136 w 489538"/>
                <a:gd name="connsiteY91" fmla="*/ 409014 h 761503"/>
                <a:gd name="connsiteX92" fmla="*/ 381817 w 489538"/>
                <a:gd name="connsiteY92" fmla="*/ 444369 h 761503"/>
                <a:gd name="connsiteX93" fmla="*/ 365500 w 489538"/>
                <a:gd name="connsiteY93" fmla="*/ 438930 h 761503"/>
                <a:gd name="connsiteX94" fmla="*/ 357341 w 489538"/>
                <a:gd name="connsiteY94" fmla="*/ 422612 h 761503"/>
                <a:gd name="connsiteX95" fmla="*/ 354621 w 489538"/>
                <a:gd name="connsiteY95" fmla="*/ 400855 h 761503"/>
                <a:gd name="connsiteX96" fmla="*/ 354621 w 489538"/>
                <a:gd name="connsiteY96" fmla="*/ 381817 h 761503"/>
                <a:gd name="connsiteX97" fmla="*/ 270312 w 489538"/>
                <a:gd name="connsiteY97" fmla="*/ 381817 h 761503"/>
                <a:gd name="connsiteX98" fmla="*/ 256713 w 489538"/>
                <a:gd name="connsiteY98" fmla="*/ 395415 h 761503"/>
                <a:gd name="connsiteX99" fmla="*/ 253994 w 489538"/>
                <a:gd name="connsiteY99" fmla="*/ 422612 h 761503"/>
                <a:gd name="connsiteX100" fmla="*/ 253994 w 489538"/>
                <a:gd name="connsiteY100" fmla="*/ 433490 h 761503"/>
                <a:gd name="connsiteX101" fmla="*/ 253994 w 489538"/>
                <a:gd name="connsiteY101" fmla="*/ 449809 h 761503"/>
                <a:gd name="connsiteX102" fmla="*/ 256713 w 489538"/>
                <a:gd name="connsiteY102" fmla="*/ 474285 h 761503"/>
                <a:gd name="connsiteX103" fmla="*/ 256713 w 489538"/>
                <a:gd name="connsiteY103" fmla="*/ 496043 h 761503"/>
                <a:gd name="connsiteX104" fmla="*/ 259433 w 489538"/>
                <a:gd name="connsiteY104" fmla="*/ 534118 h 761503"/>
                <a:gd name="connsiteX105" fmla="*/ 259433 w 489538"/>
                <a:gd name="connsiteY105" fmla="*/ 591231 h 761503"/>
                <a:gd name="connsiteX106" fmla="*/ 262153 w 489538"/>
                <a:gd name="connsiteY106" fmla="*/ 618427 h 761503"/>
                <a:gd name="connsiteX107" fmla="*/ 267592 w 489538"/>
                <a:gd name="connsiteY107" fmla="*/ 648343 h 761503"/>
                <a:gd name="connsiteX108" fmla="*/ 292069 w 489538"/>
                <a:gd name="connsiteY108" fmla="*/ 651063 h 761503"/>
                <a:gd name="connsiteX109" fmla="*/ 327424 w 489538"/>
                <a:gd name="connsiteY109" fmla="*/ 651063 h 761503"/>
                <a:gd name="connsiteX110" fmla="*/ 362780 w 489538"/>
                <a:gd name="connsiteY110" fmla="*/ 653783 h 761503"/>
                <a:gd name="connsiteX111" fmla="*/ 395416 w 489538"/>
                <a:gd name="connsiteY111" fmla="*/ 648343 h 761503"/>
                <a:gd name="connsiteX112" fmla="*/ 395416 w 489538"/>
                <a:gd name="connsiteY112" fmla="*/ 618427 h 761503"/>
                <a:gd name="connsiteX113" fmla="*/ 395416 w 489538"/>
                <a:gd name="connsiteY113" fmla="*/ 596670 h 761503"/>
                <a:gd name="connsiteX114" fmla="*/ 398136 w 489538"/>
                <a:gd name="connsiteY114" fmla="*/ 574913 h 761503"/>
                <a:gd name="connsiteX115" fmla="*/ 406295 w 489538"/>
                <a:gd name="connsiteY115" fmla="*/ 558595 h 761503"/>
                <a:gd name="connsiteX116" fmla="*/ 422612 w 489538"/>
                <a:gd name="connsiteY116" fmla="*/ 553155 h 761503"/>
                <a:gd name="connsiteX117" fmla="*/ 438930 w 489538"/>
                <a:gd name="connsiteY117" fmla="*/ 588511 h 761503"/>
                <a:gd name="connsiteX118" fmla="*/ 436211 w 489538"/>
                <a:gd name="connsiteY118" fmla="*/ 645624 h 761503"/>
                <a:gd name="connsiteX119" fmla="*/ 433491 w 489538"/>
                <a:gd name="connsiteY119" fmla="*/ 651063 h 761503"/>
                <a:gd name="connsiteX120" fmla="*/ 433491 w 489538"/>
                <a:gd name="connsiteY120" fmla="*/ 651063 h 761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</a:cxnLst>
              <a:rect l="l" t="t" r="r" b="b"/>
              <a:pathLst>
                <a:path w="489538" h="761503">
                  <a:moveTo>
                    <a:pt x="433491" y="651063"/>
                  </a:moveTo>
                  <a:cubicBezTo>
                    <a:pt x="436211" y="653783"/>
                    <a:pt x="438930" y="656502"/>
                    <a:pt x="438930" y="661942"/>
                  </a:cubicBezTo>
                  <a:cubicBezTo>
                    <a:pt x="438930" y="670101"/>
                    <a:pt x="433491" y="678259"/>
                    <a:pt x="425332" y="683699"/>
                  </a:cubicBezTo>
                  <a:cubicBezTo>
                    <a:pt x="417173" y="689138"/>
                    <a:pt x="409014" y="689138"/>
                    <a:pt x="400855" y="691858"/>
                  </a:cubicBezTo>
                  <a:cubicBezTo>
                    <a:pt x="381817" y="694578"/>
                    <a:pt x="362780" y="694578"/>
                    <a:pt x="343742" y="700017"/>
                  </a:cubicBezTo>
                  <a:cubicBezTo>
                    <a:pt x="335583" y="702736"/>
                    <a:pt x="324705" y="702736"/>
                    <a:pt x="316546" y="705456"/>
                  </a:cubicBezTo>
                  <a:cubicBezTo>
                    <a:pt x="308387" y="705456"/>
                    <a:pt x="289349" y="705456"/>
                    <a:pt x="275751" y="705456"/>
                  </a:cubicBezTo>
                  <a:cubicBezTo>
                    <a:pt x="270312" y="705456"/>
                    <a:pt x="267592" y="708176"/>
                    <a:pt x="264872" y="708176"/>
                  </a:cubicBezTo>
                  <a:cubicBezTo>
                    <a:pt x="264872" y="708176"/>
                    <a:pt x="259433" y="708176"/>
                    <a:pt x="253994" y="708176"/>
                  </a:cubicBezTo>
                  <a:cubicBezTo>
                    <a:pt x="251274" y="713615"/>
                    <a:pt x="245835" y="716335"/>
                    <a:pt x="240395" y="719054"/>
                  </a:cubicBezTo>
                  <a:cubicBezTo>
                    <a:pt x="234956" y="721774"/>
                    <a:pt x="229517" y="721774"/>
                    <a:pt x="224077" y="721774"/>
                  </a:cubicBezTo>
                  <a:cubicBezTo>
                    <a:pt x="218638" y="721774"/>
                    <a:pt x="213199" y="724494"/>
                    <a:pt x="205040" y="724494"/>
                  </a:cubicBezTo>
                  <a:cubicBezTo>
                    <a:pt x="202320" y="724494"/>
                    <a:pt x="194161" y="727213"/>
                    <a:pt x="191441" y="727213"/>
                  </a:cubicBezTo>
                  <a:cubicBezTo>
                    <a:pt x="183282" y="727213"/>
                    <a:pt x="172404" y="721774"/>
                    <a:pt x="169684" y="721774"/>
                  </a:cubicBezTo>
                  <a:cubicBezTo>
                    <a:pt x="164245" y="719054"/>
                    <a:pt x="156086" y="713615"/>
                    <a:pt x="150646" y="708176"/>
                  </a:cubicBezTo>
                  <a:cubicBezTo>
                    <a:pt x="145207" y="708176"/>
                    <a:pt x="139768" y="708176"/>
                    <a:pt x="139768" y="708176"/>
                  </a:cubicBezTo>
                  <a:cubicBezTo>
                    <a:pt x="126170" y="708176"/>
                    <a:pt x="137048" y="708176"/>
                    <a:pt x="120730" y="708176"/>
                  </a:cubicBezTo>
                  <a:cubicBezTo>
                    <a:pt x="112571" y="708176"/>
                    <a:pt x="104412" y="708176"/>
                    <a:pt x="98973" y="708176"/>
                  </a:cubicBezTo>
                  <a:cubicBezTo>
                    <a:pt x="90814" y="708176"/>
                    <a:pt x="79936" y="708176"/>
                    <a:pt x="74496" y="702736"/>
                  </a:cubicBezTo>
                  <a:cubicBezTo>
                    <a:pt x="66337" y="700017"/>
                    <a:pt x="58178" y="689138"/>
                    <a:pt x="58178" y="683699"/>
                  </a:cubicBezTo>
                  <a:cubicBezTo>
                    <a:pt x="58178" y="680979"/>
                    <a:pt x="58178" y="678259"/>
                    <a:pt x="63617" y="675540"/>
                  </a:cubicBezTo>
                  <a:cubicBezTo>
                    <a:pt x="69057" y="672820"/>
                    <a:pt x="77216" y="670101"/>
                    <a:pt x="85375" y="667381"/>
                  </a:cubicBezTo>
                  <a:cubicBezTo>
                    <a:pt x="98973" y="664661"/>
                    <a:pt x="115291" y="664661"/>
                    <a:pt x="128889" y="661942"/>
                  </a:cubicBezTo>
                  <a:cubicBezTo>
                    <a:pt x="128889" y="645624"/>
                    <a:pt x="128889" y="623866"/>
                    <a:pt x="128889" y="602109"/>
                  </a:cubicBezTo>
                  <a:cubicBezTo>
                    <a:pt x="128889" y="566754"/>
                    <a:pt x="128889" y="531398"/>
                    <a:pt x="126170" y="523239"/>
                  </a:cubicBezTo>
                  <a:cubicBezTo>
                    <a:pt x="126170" y="517800"/>
                    <a:pt x="126170" y="487884"/>
                    <a:pt x="126170" y="468846"/>
                  </a:cubicBezTo>
                  <a:cubicBezTo>
                    <a:pt x="126170" y="449809"/>
                    <a:pt x="123450" y="430771"/>
                    <a:pt x="123450" y="409014"/>
                  </a:cubicBezTo>
                  <a:cubicBezTo>
                    <a:pt x="123450" y="400855"/>
                    <a:pt x="123450" y="392696"/>
                    <a:pt x="123450" y="384537"/>
                  </a:cubicBezTo>
                  <a:cubicBezTo>
                    <a:pt x="123450" y="373658"/>
                    <a:pt x="126170" y="360060"/>
                    <a:pt x="126170" y="349181"/>
                  </a:cubicBezTo>
                  <a:cubicBezTo>
                    <a:pt x="126170" y="341022"/>
                    <a:pt x="126170" y="332863"/>
                    <a:pt x="126170" y="324704"/>
                  </a:cubicBezTo>
                  <a:cubicBezTo>
                    <a:pt x="126170" y="313826"/>
                    <a:pt x="126170" y="302947"/>
                    <a:pt x="128889" y="292068"/>
                  </a:cubicBezTo>
                  <a:cubicBezTo>
                    <a:pt x="131609" y="273031"/>
                    <a:pt x="134329" y="253993"/>
                    <a:pt x="134329" y="234956"/>
                  </a:cubicBezTo>
                  <a:cubicBezTo>
                    <a:pt x="134329" y="213198"/>
                    <a:pt x="134329" y="191441"/>
                    <a:pt x="134329" y="172404"/>
                  </a:cubicBezTo>
                  <a:cubicBezTo>
                    <a:pt x="134329" y="156086"/>
                    <a:pt x="134329" y="139768"/>
                    <a:pt x="137048" y="123450"/>
                  </a:cubicBezTo>
                  <a:cubicBezTo>
                    <a:pt x="131609" y="123450"/>
                    <a:pt x="134329" y="123450"/>
                    <a:pt x="123450" y="123450"/>
                  </a:cubicBezTo>
                  <a:cubicBezTo>
                    <a:pt x="115291" y="123450"/>
                    <a:pt x="107132" y="123450"/>
                    <a:pt x="101693" y="123450"/>
                  </a:cubicBezTo>
                  <a:cubicBezTo>
                    <a:pt x="93534" y="123450"/>
                    <a:pt x="82655" y="123450"/>
                    <a:pt x="77216" y="118011"/>
                  </a:cubicBezTo>
                  <a:cubicBezTo>
                    <a:pt x="69057" y="115291"/>
                    <a:pt x="60898" y="101693"/>
                    <a:pt x="60898" y="98973"/>
                  </a:cubicBezTo>
                  <a:cubicBezTo>
                    <a:pt x="60898" y="96253"/>
                    <a:pt x="60898" y="93534"/>
                    <a:pt x="66337" y="90814"/>
                  </a:cubicBezTo>
                  <a:cubicBezTo>
                    <a:pt x="71777" y="88094"/>
                    <a:pt x="79936" y="85375"/>
                    <a:pt x="88094" y="82655"/>
                  </a:cubicBezTo>
                  <a:cubicBezTo>
                    <a:pt x="104412" y="79935"/>
                    <a:pt x="131609" y="77216"/>
                    <a:pt x="145207" y="77216"/>
                  </a:cubicBezTo>
                  <a:cubicBezTo>
                    <a:pt x="145207" y="77216"/>
                    <a:pt x="145207" y="77216"/>
                    <a:pt x="145207" y="77216"/>
                  </a:cubicBezTo>
                  <a:cubicBezTo>
                    <a:pt x="145207" y="74496"/>
                    <a:pt x="150646" y="71776"/>
                    <a:pt x="153366" y="69057"/>
                  </a:cubicBezTo>
                  <a:cubicBezTo>
                    <a:pt x="161525" y="63617"/>
                    <a:pt x="169684" y="63617"/>
                    <a:pt x="177843" y="60898"/>
                  </a:cubicBezTo>
                  <a:cubicBezTo>
                    <a:pt x="183282" y="58178"/>
                    <a:pt x="191441" y="58178"/>
                    <a:pt x="196881" y="58178"/>
                  </a:cubicBezTo>
                  <a:cubicBezTo>
                    <a:pt x="199600" y="58178"/>
                    <a:pt x="202320" y="58178"/>
                    <a:pt x="205040" y="58178"/>
                  </a:cubicBezTo>
                  <a:cubicBezTo>
                    <a:pt x="207759" y="58178"/>
                    <a:pt x="213199" y="60898"/>
                    <a:pt x="215919" y="63617"/>
                  </a:cubicBezTo>
                  <a:cubicBezTo>
                    <a:pt x="221358" y="66337"/>
                    <a:pt x="224077" y="66337"/>
                    <a:pt x="229517" y="69057"/>
                  </a:cubicBezTo>
                  <a:cubicBezTo>
                    <a:pt x="237675" y="71776"/>
                    <a:pt x="245835" y="77216"/>
                    <a:pt x="256713" y="77216"/>
                  </a:cubicBezTo>
                  <a:cubicBezTo>
                    <a:pt x="259433" y="77216"/>
                    <a:pt x="262153" y="77216"/>
                    <a:pt x="264872" y="77216"/>
                  </a:cubicBezTo>
                  <a:cubicBezTo>
                    <a:pt x="270312" y="77216"/>
                    <a:pt x="275751" y="77216"/>
                    <a:pt x="281190" y="77216"/>
                  </a:cubicBezTo>
                  <a:cubicBezTo>
                    <a:pt x="292069" y="77216"/>
                    <a:pt x="321985" y="77216"/>
                    <a:pt x="330144" y="77216"/>
                  </a:cubicBezTo>
                  <a:cubicBezTo>
                    <a:pt x="338303" y="77216"/>
                    <a:pt x="349182" y="77216"/>
                    <a:pt x="357341" y="79935"/>
                  </a:cubicBezTo>
                  <a:cubicBezTo>
                    <a:pt x="368219" y="79935"/>
                    <a:pt x="379098" y="82655"/>
                    <a:pt x="387257" y="82655"/>
                  </a:cubicBezTo>
                  <a:cubicBezTo>
                    <a:pt x="392696" y="82655"/>
                    <a:pt x="400855" y="85375"/>
                    <a:pt x="406295" y="85375"/>
                  </a:cubicBezTo>
                  <a:cubicBezTo>
                    <a:pt x="409014" y="82655"/>
                    <a:pt x="414453" y="79935"/>
                    <a:pt x="417173" y="79935"/>
                  </a:cubicBezTo>
                  <a:cubicBezTo>
                    <a:pt x="419893" y="79935"/>
                    <a:pt x="422612" y="79935"/>
                    <a:pt x="425332" y="85375"/>
                  </a:cubicBezTo>
                  <a:cubicBezTo>
                    <a:pt x="428052" y="90814"/>
                    <a:pt x="433491" y="98973"/>
                    <a:pt x="433491" y="104412"/>
                  </a:cubicBezTo>
                  <a:cubicBezTo>
                    <a:pt x="436211" y="131609"/>
                    <a:pt x="436211" y="120730"/>
                    <a:pt x="436211" y="137048"/>
                  </a:cubicBezTo>
                  <a:cubicBezTo>
                    <a:pt x="438930" y="158805"/>
                    <a:pt x="438930" y="158805"/>
                    <a:pt x="438930" y="183282"/>
                  </a:cubicBezTo>
                  <a:cubicBezTo>
                    <a:pt x="438930" y="194161"/>
                    <a:pt x="438930" y="218638"/>
                    <a:pt x="422612" y="218638"/>
                  </a:cubicBezTo>
                  <a:cubicBezTo>
                    <a:pt x="414453" y="218638"/>
                    <a:pt x="411734" y="215918"/>
                    <a:pt x="406295" y="213198"/>
                  </a:cubicBezTo>
                  <a:cubicBezTo>
                    <a:pt x="400855" y="210479"/>
                    <a:pt x="398136" y="202320"/>
                    <a:pt x="398136" y="196881"/>
                  </a:cubicBezTo>
                  <a:cubicBezTo>
                    <a:pt x="395416" y="188722"/>
                    <a:pt x="395416" y="183282"/>
                    <a:pt x="395416" y="175123"/>
                  </a:cubicBezTo>
                  <a:cubicBezTo>
                    <a:pt x="395416" y="169684"/>
                    <a:pt x="395416" y="164245"/>
                    <a:pt x="395416" y="153366"/>
                  </a:cubicBezTo>
                  <a:cubicBezTo>
                    <a:pt x="395416" y="145207"/>
                    <a:pt x="395416" y="134328"/>
                    <a:pt x="395416" y="126170"/>
                  </a:cubicBezTo>
                  <a:cubicBezTo>
                    <a:pt x="387257" y="128889"/>
                    <a:pt x="379098" y="128889"/>
                    <a:pt x="370939" y="128889"/>
                  </a:cubicBezTo>
                  <a:cubicBezTo>
                    <a:pt x="360060" y="128889"/>
                    <a:pt x="349182" y="128889"/>
                    <a:pt x="338303" y="131609"/>
                  </a:cubicBezTo>
                  <a:cubicBezTo>
                    <a:pt x="327424" y="131609"/>
                    <a:pt x="319265" y="134328"/>
                    <a:pt x="286629" y="134328"/>
                  </a:cubicBezTo>
                  <a:cubicBezTo>
                    <a:pt x="281190" y="134328"/>
                    <a:pt x="278470" y="134328"/>
                    <a:pt x="273031" y="137048"/>
                  </a:cubicBezTo>
                  <a:cubicBezTo>
                    <a:pt x="270312" y="137048"/>
                    <a:pt x="264872" y="137048"/>
                    <a:pt x="262153" y="142487"/>
                  </a:cubicBezTo>
                  <a:cubicBezTo>
                    <a:pt x="259433" y="145207"/>
                    <a:pt x="259433" y="150647"/>
                    <a:pt x="259433" y="153366"/>
                  </a:cubicBezTo>
                  <a:cubicBezTo>
                    <a:pt x="259433" y="158805"/>
                    <a:pt x="259433" y="164245"/>
                    <a:pt x="262153" y="166964"/>
                  </a:cubicBezTo>
                  <a:cubicBezTo>
                    <a:pt x="262153" y="177843"/>
                    <a:pt x="262153" y="186002"/>
                    <a:pt x="262153" y="196881"/>
                  </a:cubicBezTo>
                  <a:cubicBezTo>
                    <a:pt x="262153" y="202320"/>
                    <a:pt x="262153" y="210479"/>
                    <a:pt x="262153" y="215918"/>
                  </a:cubicBezTo>
                  <a:cubicBezTo>
                    <a:pt x="262153" y="229516"/>
                    <a:pt x="262153" y="240395"/>
                    <a:pt x="262153" y="251274"/>
                  </a:cubicBezTo>
                  <a:cubicBezTo>
                    <a:pt x="262153" y="259433"/>
                    <a:pt x="259433" y="270311"/>
                    <a:pt x="259433" y="278470"/>
                  </a:cubicBezTo>
                  <a:cubicBezTo>
                    <a:pt x="259433" y="289349"/>
                    <a:pt x="259433" y="297508"/>
                    <a:pt x="259433" y="308386"/>
                  </a:cubicBezTo>
                  <a:cubicBezTo>
                    <a:pt x="259433" y="313826"/>
                    <a:pt x="259433" y="319265"/>
                    <a:pt x="259433" y="321985"/>
                  </a:cubicBezTo>
                  <a:cubicBezTo>
                    <a:pt x="259433" y="324704"/>
                    <a:pt x="259433" y="330144"/>
                    <a:pt x="259433" y="332863"/>
                  </a:cubicBezTo>
                  <a:cubicBezTo>
                    <a:pt x="262153" y="335583"/>
                    <a:pt x="264872" y="335583"/>
                    <a:pt x="267592" y="335583"/>
                  </a:cubicBezTo>
                  <a:cubicBezTo>
                    <a:pt x="273031" y="335583"/>
                    <a:pt x="275751" y="335583"/>
                    <a:pt x="281190" y="335583"/>
                  </a:cubicBezTo>
                  <a:cubicBezTo>
                    <a:pt x="311107" y="335583"/>
                    <a:pt x="319265" y="335583"/>
                    <a:pt x="327424" y="338303"/>
                  </a:cubicBezTo>
                  <a:cubicBezTo>
                    <a:pt x="335583" y="341022"/>
                    <a:pt x="343742" y="341022"/>
                    <a:pt x="351901" y="341022"/>
                  </a:cubicBezTo>
                  <a:cubicBezTo>
                    <a:pt x="351901" y="338303"/>
                    <a:pt x="351901" y="338303"/>
                    <a:pt x="351901" y="335583"/>
                  </a:cubicBezTo>
                  <a:cubicBezTo>
                    <a:pt x="351901" y="327424"/>
                    <a:pt x="351901" y="319265"/>
                    <a:pt x="351901" y="313826"/>
                  </a:cubicBezTo>
                  <a:cubicBezTo>
                    <a:pt x="351901" y="305667"/>
                    <a:pt x="351901" y="294788"/>
                    <a:pt x="357341" y="289349"/>
                  </a:cubicBezTo>
                  <a:cubicBezTo>
                    <a:pt x="360060" y="281190"/>
                    <a:pt x="368219" y="273031"/>
                    <a:pt x="373658" y="273031"/>
                  </a:cubicBezTo>
                  <a:cubicBezTo>
                    <a:pt x="376378" y="273031"/>
                    <a:pt x="379098" y="273031"/>
                    <a:pt x="381817" y="278470"/>
                  </a:cubicBezTo>
                  <a:cubicBezTo>
                    <a:pt x="384537" y="283909"/>
                    <a:pt x="387257" y="292068"/>
                    <a:pt x="389977" y="300228"/>
                  </a:cubicBezTo>
                  <a:cubicBezTo>
                    <a:pt x="392696" y="316545"/>
                    <a:pt x="392696" y="335583"/>
                    <a:pt x="395416" y="351901"/>
                  </a:cubicBezTo>
                  <a:cubicBezTo>
                    <a:pt x="398136" y="373658"/>
                    <a:pt x="398136" y="384537"/>
                    <a:pt x="398136" y="409014"/>
                  </a:cubicBezTo>
                  <a:cubicBezTo>
                    <a:pt x="398136" y="422612"/>
                    <a:pt x="398136" y="444369"/>
                    <a:pt x="381817" y="444369"/>
                  </a:cubicBezTo>
                  <a:cubicBezTo>
                    <a:pt x="373658" y="444369"/>
                    <a:pt x="370939" y="441650"/>
                    <a:pt x="365500" y="438930"/>
                  </a:cubicBezTo>
                  <a:cubicBezTo>
                    <a:pt x="360060" y="436210"/>
                    <a:pt x="357341" y="428051"/>
                    <a:pt x="357341" y="422612"/>
                  </a:cubicBezTo>
                  <a:cubicBezTo>
                    <a:pt x="354621" y="414453"/>
                    <a:pt x="354621" y="409014"/>
                    <a:pt x="354621" y="400855"/>
                  </a:cubicBezTo>
                  <a:cubicBezTo>
                    <a:pt x="354621" y="395415"/>
                    <a:pt x="354621" y="389976"/>
                    <a:pt x="354621" y="381817"/>
                  </a:cubicBezTo>
                  <a:cubicBezTo>
                    <a:pt x="335583" y="381817"/>
                    <a:pt x="308387" y="384537"/>
                    <a:pt x="270312" y="381817"/>
                  </a:cubicBezTo>
                  <a:cubicBezTo>
                    <a:pt x="262153" y="381817"/>
                    <a:pt x="256713" y="387256"/>
                    <a:pt x="256713" y="395415"/>
                  </a:cubicBezTo>
                  <a:cubicBezTo>
                    <a:pt x="256713" y="403574"/>
                    <a:pt x="256713" y="414453"/>
                    <a:pt x="253994" y="422612"/>
                  </a:cubicBezTo>
                  <a:cubicBezTo>
                    <a:pt x="253994" y="425332"/>
                    <a:pt x="253994" y="430771"/>
                    <a:pt x="253994" y="433490"/>
                  </a:cubicBezTo>
                  <a:cubicBezTo>
                    <a:pt x="253994" y="438930"/>
                    <a:pt x="253994" y="444369"/>
                    <a:pt x="253994" y="449809"/>
                  </a:cubicBezTo>
                  <a:cubicBezTo>
                    <a:pt x="253994" y="457967"/>
                    <a:pt x="256713" y="466126"/>
                    <a:pt x="256713" y="474285"/>
                  </a:cubicBezTo>
                  <a:cubicBezTo>
                    <a:pt x="256713" y="482444"/>
                    <a:pt x="256713" y="490603"/>
                    <a:pt x="256713" y="496043"/>
                  </a:cubicBezTo>
                  <a:cubicBezTo>
                    <a:pt x="256713" y="509641"/>
                    <a:pt x="259433" y="520520"/>
                    <a:pt x="259433" y="534118"/>
                  </a:cubicBezTo>
                  <a:cubicBezTo>
                    <a:pt x="259433" y="553155"/>
                    <a:pt x="259433" y="572193"/>
                    <a:pt x="259433" y="591231"/>
                  </a:cubicBezTo>
                  <a:cubicBezTo>
                    <a:pt x="259433" y="602109"/>
                    <a:pt x="262153" y="610268"/>
                    <a:pt x="262153" y="618427"/>
                  </a:cubicBezTo>
                  <a:cubicBezTo>
                    <a:pt x="264872" y="626586"/>
                    <a:pt x="262153" y="642904"/>
                    <a:pt x="267592" y="648343"/>
                  </a:cubicBezTo>
                  <a:cubicBezTo>
                    <a:pt x="270312" y="651063"/>
                    <a:pt x="275751" y="651063"/>
                    <a:pt x="292069" y="651063"/>
                  </a:cubicBezTo>
                  <a:cubicBezTo>
                    <a:pt x="305667" y="651063"/>
                    <a:pt x="319265" y="651063"/>
                    <a:pt x="327424" y="651063"/>
                  </a:cubicBezTo>
                  <a:cubicBezTo>
                    <a:pt x="338303" y="651063"/>
                    <a:pt x="351901" y="653783"/>
                    <a:pt x="362780" y="653783"/>
                  </a:cubicBezTo>
                  <a:cubicBezTo>
                    <a:pt x="376378" y="653783"/>
                    <a:pt x="384537" y="651063"/>
                    <a:pt x="395416" y="648343"/>
                  </a:cubicBezTo>
                  <a:cubicBezTo>
                    <a:pt x="395416" y="637465"/>
                    <a:pt x="395416" y="629306"/>
                    <a:pt x="395416" y="618427"/>
                  </a:cubicBezTo>
                  <a:cubicBezTo>
                    <a:pt x="395416" y="610268"/>
                    <a:pt x="395416" y="602109"/>
                    <a:pt x="395416" y="596670"/>
                  </a:cubicBezTo>
                  <a:cubicBezTo>
                    <a:pt x="395416" y="591231"/>
                    <a:pt x="395416" y="585791"/>
                    <a:pt x="398136" y="574913"/>
                  </a:cubicBezTo>
                  <a:cubicBezTo>
                    <a:pt x="400855" y="569473"/>
                    <a:pt x="400855" y="564034"/>
                    <a:pt x="406295" y="558595"/>
                  </a:cubicBezTo>
                  <a:cubicBezTo>
                    <a:pt x="411734" y="553155"/>
                    <a:pt x="414453" y="553155"/>
                    <a:pt x="422612" y="553155"/>
                  </a:cubicBezTo>
                  <a:cubicBezTo>
                    <a:pt x="436211" y="553155"/>
                    <a:pt x="438930" y="577632"/>
                    <a:pt x="438930" y="588511"/>
                  </a:cubicBezTo>
                  <a:cubicBezTo>
                    <a:pt x="438930" y="612988"/>
                    <a:pt x="438930" y="623866"/>
                    <a:pt x="436211" y="645624"/>
                  </a:cubicBezTo>
                  <a:cubicBezTo>
                    <a:pt x="433491" y="648343"/>
                    <a:pt x="433491" y="648343"/>
                    <a:pt x="433491" y="651063"/>
                  </a:cubicBezTo>
                  <a:lnTo>
                    <a:pt x="433491" y="651063"/>
                  </a:ln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6" name="Freeform: Shape 45">
              <a:extLst>
                <a:ext uri="{FF2B5EF4-FFF2-40B4-BE49-F238E27FC236}">
                  <a16:creationId xmlns:a16="http://schemas.microsoft.com/office/drawing/2014/main" id="{4E622CD9-12E7-481D-9568-392632F69D07}"/>
                </a:ext>
              </a:extLst>
            </p:cNvPr>
            <p:cNvSpPr/>
            <p:nvPr/>
          </p:nvSpPr>
          <p:spPr>
            <a:xfrm>
              <a:off x="7912732" y="4250336"/>
              <a:ext cx="465062" cy="658157"/>
            </a:xfrm>
            <a:custGeom>
              <a:avLst/>
              <a:gdLst>
                <a:gd name="connsiteX0" fmla="*/ 193096 w 465062"/>
                <a:gd name="connsiteY0" fmla="*/ 59832 h 658157"/>
                <a:gd name="connsiteX1" fmla="*/ 193096 w 465062"/>
                <a:gd name="connsiteY1" fmla="*/ 114226 h 658157"/>
                <a:gd name="connsiteX2" fmla="*/ 198536 w 465062"/>
                <a:gd name="connsiteY2" fmla="*/ 209414 h 658157"/>
                <a:gd name="connsiteX3" fmla="*/ 201255 w 465062"/>
                <a:gd name="connsiteY3" fmla="*/ 282845 h 658157"/>
                <a:gd name="connsiteX4" fmla="*/ 203975 w 465062"/>
                <a:gd name="connsiteY4" fmla="*/ 315481 h 658157"/>
                <a:gd name="connsiteX5" fmla="*/ 203975 w 465062"/>
                <a:gd name="connsiteY5" fmla="*/ 320920 h 658157"/>
                <a:gd name="connsiteX6" fmla="*/ 212134 w 465062"/>
                <a:gd name="connsiteY6" fmla="*/ 329079 h 658157"/>
                <a:gd name="connsiteX7" fmla="*/ 223013 w 465062"/>
                <a:gd name="connsiteY7" fmla="*/ 329079 h 658157"/>
                <a:gd name="connsiteX8" fmla="*/ 239331 w 465062"/>
                <a:gd name="connsiteY8" fmla="*/ 329079 h 658157"/>
                <a:gd name="connsiteX9" fmla="*/ 280126 w 465062"/>
                <a:gd name="connsiteY9" fmla="*/ 312761 h 658157"/>
                <a:gd name="connsiteX10" fmla="*/ 296443 w 465062"/>
                <a:gd name="connsiteY10" fmla="*/ 288284 h 658157"/>
                <a:gd name="connsiteX11" fmla="*/ 304602 w 465062"/>
                <a:gd name="connsiteY11" fmla="*/ 258368 h 658157"/>
                <a:gd name="connsiteX12" fmla="*/ 312761 w 465062"/>
                <a:gd name="connsiteY12" fmla="*/ 225732 h 658157"/>
                <a:gd name="connsiteX13" fmla="*/ 315481 w 465062"/>
                <a:gd name="connsiteY13" fmla="*/ 195816 h 658157"/>
                <a:gd name="connsiteX14" fmla="*/ 318201 w 465062"/>
                <a:gd name="connsiteY14" fmla="*/ 168619 h 658157"/>
                <a:gd name="connsiteX15" fmla="*/ 312761 w 465062"/>
                <a:gd name="connsiteY15" fmla="*/ 135983 h 658157"/>
                <a:gd name="connsiteX16" fmla="*/ 312761 w 465062"/>
                <a:gd name="connsiteY16" fmla="*/ 122385 h 658157"/>
                <a:gd name="connsiteX17" fmla="*/ 293724 w 465062"/>
                <a:gd name="connsiteY17" fmla="*/ 84309 h 658157"/>
                <a:gd name="connsiteX18" fmla="*/ 280126 w 465062"/>
                <a:gd name="connsiteY18" fmla="*/ 73430 h 658157"/>
                <a:gd name="connsiteX19" fmla="*/ 258368 w 465062"/>
                <a:gd name="connsiteY19" fmla="*/ 62552 h 658157"/>
                <a:gd name="connsiteX20" fmla="*/ 217573 w 465062"/>
                <a:gd name="connsiteY20" fmla="*/ 59832 h 658157"/>
                <a:gd name="connsiteX21" fmla="*/ 111506 w 465062"/>
                <a:gd name="connsiteY21" fmla="*/ 0 h 658157"/>
                <a:gd name="connsiteX22" fmla="*/ 127824 w 465062"/>
                <a:gd name="connsiteY22" fmla="*/ 0 h 658157"/>
                <a:gd name="connsiteX23" fmla="*/ 157741 w 465062"/>
                <a:gd name="connsiteY23" fmla="*/ 5440 h 658157"/>
                <a:gd name="connsiteX24" fmla="*/ 179497 w 465062"/>
                <a:gd name="connsiteY24" fmla="*/ 16318 h 658157"/>
                <a:gd name="connsiteX25" fmla="*/ 209414 w 465062"/>
                <a:gd name="connsiteY25" fmla="*/ 16318 h 658157"/>
                <a:gd name="connsiteX26" fmla="*/ 247489 w 465062"/>
                <a:gd name="connsiteY26" fmla="*/ 16318 h 658157"/>
                <a:gd name="connsiteX27" fmla="*/ 266527 w 465062"/>
                <a:gd name="connsiteY27" fmla="*/ 16318 h 658157"/>
                <a:gd name="connsiteX28" fmla="*/ 312761 w 465062"/>
                <a:gd name="connsiteY28" fmla="*/ 27197 h 658157"/>
                <a:gd name="connsiteX29" fmla="*/ 337238 w 465062"/>
                <a:gd name="connsiteY29" fmla="*/ 38075 h 658157"/>
                <a:gd name="connsiteX30" fmla="*/ 364434 w 465062"/>
                <a:gd name="connsiteY30" fmla="*/ 54393 h 658157"/>
                <a:gd name="connsiteX31" fmla="*/ 386192 w 465062"/>
                <a:gd name="connsiteY31" fmla="*/ 73431 h 658157"/>
                <a:gd name="connsiteX32" fmla="*/ 407949 w 465062"/>
                <a:gd name="connsiteY32" fmla="*/ 103347 h 658157"/>
                <a:gd name="connsiteX33" fmla="*/ 416108 w 465062"/>
                <a:gd name="connsiteY33" fmla="*/ 141422 h 658157"/>
                <a:gd name="connsiteX34" fmla="*/ 418828 w 465062"/>
                <a:gd name="connsiteY34" fmla="*/ 163179 h 658157"/>
                <a:gd name="connsiteX35" fmla="*/ 418828 w 465062"/>
                <a:gd name="connsiteY35" fmla="*/ 171339 h 658157"/>
                <a:gd name="connsiteX36" fmla="*/ 421547 w 465062"/>
                <a:gd name="connsiteY36" fmla="*/ 187656 h 658157"/>
                <a:gd name="connsiteX37" fmla="*/ 418828 w 465062"/>
                <a:gd name="connsiteY37" fmla="*/ 206694 h 658157"/>
                <a:gd name="connsiteX38" fmla="*/ 416108 w 465062"/>
                <a:gd name="connsiteY38" fmla="*/ 233891 h 658157"/>
                <a:gd name="connsiteX39" fmla="*/ 405229 w 465062"/>
                <a:gd name="connsiteY39" fmla="*/ 263807 h 658157"/>
                <a:gd name="connsiteX40" fmla="*/ 394351 w 465062"/>
                <a:gd name="connsiteY40" fmla="*/ 274686 h 658157"/>
                <a:gd name="connsiteX41" fmla="*/ 388912 w 465062"/>
                <a:gd name="connsiteY41" fmla="*/ 285564 h 658157"/>
                <a:gd name="connsiteX42" fmla="*/ 369874 w 465062"/>
                <a:gd name="connsiteY42" fmla="*/ 304602 h 658157"/>
                <a:gd name="connsiteX43" fmla="*/ 358995 w 465062"/>
                <a:gd name="connsiteY43" fmla="*/ 310041 h 658157"/>
                <a:gd name="connsiteX44" fmla="*/ 348117 w 465062"/>
                <a:gd name="connsiteY44" fmla="*/ 320920 h 658157"/>
                <a:gd name="connsiteX45" fmla="*/ 326359 w 465062"/>
                <a:gd name="connsiteY45" fmla="*/ 339957 h 658157"/>
                <a:gd name="connsiteX46" fmla="*/ 312761 w 465062"/>
                <a:gd name="connsiteY46" fmla="*/ 353555 h 658157"/>
                <a:gd name="connsiteX47" fmla="*/ 337238 w 465062"/>
                <a:gd name="connsiteY47" fmla="*/ 380752 h 658157"/>
                <a:gd name="connsiteX48" fmla="*/ 358995 w 465062"/>
                <a:gd name="connsiteY48" fmla="*/ 421547 h 658157"/>
                <a:gd name="connsiteX49" fmla="*/ 372593 w 465062"/>
                <a:gd name="connsiteY49" fmla="*/ 459622 h 658157"/>
                <a:gd name="connsiteX50" fmla="*/ 386192 w 465062"/>
                <a:gd name="connsiteY50" fmla="*/ 514015 h 658157"/>
                <a:gd name="connsiteX51" fmla="*/ 407949 w 465062"/>
                <a:gd name="connsiteY51" fmla="*/ 568408 h 658157"/>
                <a:gd name="connsiteX52" fmla="*/ 421547 w 465062"/>
                <a:gd name="connsiteY52" fmla="*/ 598324 h 658157"/>
                <a:gd name="connsiteX53" fmla="*/ 451463 w 465062"/>
                <a:gd name="connsiteY53" fmla="*/ 628241 h 658157"/>
                <a:gd name="connsiteX54" fmla="*/ 465062 w 465062"/>
                <a:gd name="connsiteY54" fmla="*/ 644559 h 658157"/>
                <a:gd name="connsiteX55" fmla="*/ 462342 w 465062"/>
                <a:gd name="connsiteY55" fmla="*/ 649998 h 658157"/>
                <a:gd name="connsiteX56" fmla="*/ 437865 w 465062"/>
                <a:gd name="connsiteY56" fmla="*/ 658157 h 658157"/>
                <a:gd name="connsiteX57" fmla="*/ 361715 w 465062"/>
                <a:gd name="connsiteY57" fmla="*/ 622801 h 658157"/>
                <a:gd name="connsiteX58" fmla="*/ 320920 w 465062"/>
                <a:gd name="connsiteY58" fmla="*/ 565689 h 658157"/>
                <a:gd name="connsiteX59" fmla="*/ 304602 w 465062"/>
                <a:gd name="connsiteY59" fmla="*/ 530333 h 658157"/>
                <a:gd name="connsiteX60" fmla="*/ 293723 w 465062"/>
                <a:gd name="connsiteY60" fmla="*/ 497697 h 658157"/>
                <a:gd name="connsiteX61" fmla="*/ 282845 w 465062"/>
                <a:gd name="connsiteY61" fmla="*/ 462342 h 658157"/>
                <a:gd name="connsiteX62" fmla="*/ 269246 w 465062"/>
                <a:gd name="connsiteY62" fmla="*/ 424267 h 658157"/>
                <a:gd name="connsiteX63" fmla="*/ 255648 w 465062"/>
                <a:gd name="connsiteY63" fmla="*/ 391631 h 658157"/>
                <a:gd name="connsiteX64" fmla="*/ 236610 w 465062"/>
                <a:gd name="connsiteY64" fmla="*/ 367154 h 658157"/>
                <a:gd name="connsiteX65" fmla="*/ 217573 w 465062"/>
                <a:gd name="connsiteY65" fmla="*/ 361714 h 658157"/>
                <a:gd name="connsiteX66" fmla="*/ 201255 w 465062"/>
                <a:gd name="connsiteY66" fmla="*/ 361714 h 658157"/>
                <a:gd name="connsiteX67" fmla="*/ 198535 w 465062"/>
                <a:gd name="connsiteY67" fmla="*/ 367154 h 658157"/>
                <a:gd name="connsiteX68" fmla="*/ 201255 w 465062"/>
                <a:gd name="connsiteY68" fmla="*/ 388911 h 658157"/>
                <a:gd name="connsiteX69" fmla="*/ 198535 w 465062"/>
                <a:gd name="connsiteY69" fmla="*/ 426986 h 658157"/>
                <a:gd name="connsiteX70" fmla="*/ 203975 w 465062"/>
                <a:gd name="connsiteY70" fmla="*/ 478660 h 658157"/>
                <a:gd name="connsiteX71" fmla="*/ 198535 w 465062"/>
                <a:gd name="connsiteY71" fmla="*/ 552090 h 658157"/>
                <a:gd name="connsiteX72" fmla="*/ 195816 w 465062"/>
                <a:gd name="connsiteY72" fmla="*/ 576567 h 658157"/>
                <a:gd name="connsiteX73" fmla="*/ 198535 w 465062"/>
                <a:gd name="connsiteY73" fmla="*/ 592885 h 658157"/>
                <a:gd name="connsiteX74" fmla="*/ 233891 w 465062"/>
                <a:gd name="connsiteY74" fmla="*/ 592885 h 658157"/>
                <a:gd name="connsiteX75" fmla="*/ 271966 w 465062"/>
                <a:gd name="connsiteY75" fmla="*/ 611923 h 658157"/>
                <a:gd name="connsiteX76" fmla="*/ 266527 w 465062"/>
                <a:gd name="connsiteY76" fmla="*/ 628241 h 658157"/>
                <a:gd name="connsiteX77" fmla="*/ 250209 w 465062"/>
                <a:gd name="connsiteY77" fmla="*/ 636400 h 658157"/>
                <a:gd name="connsiteX78" fmla="*/ 228451 w 465062"/>
                <a:gd name="connsiteY78" fmla="*/ 639119 h 658157"/>
                <a:gd name="connsiteX79" fmla="*/ 187657 w 465062"/>
                <a:gd name="connsiteY79" fmla="*/ 639119 h 658157"/>
                <a:gd name="connsiteX80" fmla="*/ 152301 w 465062"/>
                <a:gd name="connsiteY80" fmla="*/ 652717 h 658157"/>
                <a:gd name="connsiteX81" fmla="*/ 133263 w 465062"/>
                <a:gd name="connsiteY81" fmla="*/ 655437 h 658157"/>
                <a:gd name="connsiteX82" fmla="*/ 122385 w 465062"/>
                <a:gd name="connsiteY82" fmla="*/ 652717 h 658157"/>
                <a:gd name="connsiteX83" fmla="*/ 97908 w 465062"/>
                <a:gd name="connsiteY83" fmla="*/ 639119 h 658157"/>
                <a:gd name="connsiteX84" fmla="*/ 70711 w 465062"/>
                <a:gd name="connsiteY84" fmla="*/ 639119 h 658157"/>
                <a:gd name="connsiteX85" fmla="*/ 46234 w 465062"/>
                <a:gd name="connsiteY85" fmla="*/ 639119 h 658157"/>
                <a:gd name="connsiteX86" fmla="*/ 19038 w 465062"/>
                <a:gd name="connsiteY86" fmla="*/ 630960 h 658157"/>
                <a:gd name="connsiteX87" fmla="*/ 2720 w 465062"/>
                <a:gd name="connsiteY87" fmla="*/ 614642 h 658157"/>
                <a:gd name="connsiteX88" fmla="*/ 8159 w 465062"/>
                <a:gd name="connsiteY88" fmla="*/ 606483 h 658157"/>
                <a:gd name="connsiteX89" fmla="*/ 29916 w 465062"/>
                <a:gd name="connsiteY89" fmla="*/ 598324 h 658157"/>
                <a:gd name="connsiteX90" fmla="*/ 76151 w 465062"/>
                <a:gd name="connsiteY90" fmla="*/ 592885 h 658157"/>
                <a:gd name="connsiteX91" fmla="*/ 73431 w 465062"/>
                <a:gd name="connsiteY91" fmla="*/ 573848 h 658157"/>
                <a:gd name="connsiteX92" fmla="*/ 70711 w 465062"/>
                <a:gd name="connsiteY92" fmla="*/ 500417 h 658157"/>
                <a:gd name="connsiteX93" fmla="*/ 73431 w 465062"/>
                <a:gd name="connsiteY93" fmla="*/ 437865 h 658157"/>
                <a:gd name="connsiteX94" fmla="*/ 70711 w 465062"/>
                <a:gd name="connsiteY94" fmla="*/ 369873 h 658157"/>
                <a:gd name="connsiteX95" fmla="*/ 70711 w 465062"/>
                <a:gd name="connsiteY95" fmla="*/ 293723 h 658157"/>
                <a:gd name="connsiteX96" fmla="*/ 73431 w 465062"/>
                <a:gd name="connsiteY96" fmla="*/ 212133 h 658157"/>
                <a:gd name="connsiteX97" fmla="*/ 76151 w 465062"/>
                <a:gd name="connsiteY97" fmla="*/ 155021 h 658157"/>
                <a:gd name="connsiteX98" fmla="*/ 76151 w 465062"/>
                <a:gd name="connsiteY98" fmla="*/ 119665 h 658157"/>
                <a:gd name="connsiteX99" fmla="*/ 78870 w 465062"/>
                <a:gd name="connsiteY99" fmla="*/ 84310 h 658157"/>
                <a:gd name="connsiteX100" fmla="*/ 76151 w 465062"/>
                <a:gd name="connsiteY100" fmla="*/ 62552 h 658157"/>
                <a:gd name="connsiteX101" fmla="*/ 67992 w 465062"/>
                <a:gd name="connsiteY101" fmla="*/ 62552 h 658157"/>
                <a:gd name="connsiteX102" fmla="*/ 43515 w 465062"/>
                <a:gd name="connsiteY102" fmla="*/ 62552 h 658157"/>
                <a:gd name="connsiteX103" fmla="*/ 16318 w 465062"/>
                <a:gd name="connsiteY103" fmla="*/ 57113 h 658157"/>
                <a:gd name="connsiteX104" fmla="*/ 0 w 465062"/>
                <a:gd name="connsiteY104" fmla="*/ 40795 h 658157"/>
                <a:gd name="connsiteX105" fmla="*/ 5439 w 465062"/>
                <a:gd name="connsiteY105" fmla="*/ 32636 h 658157"/>
                <a:gd name="connsiteX106" fmla="*/ 27197 w 465062"/>
                <a:gd name="connsiteY106" fmla="*/ 24477 h 658157"/>
                <a:gd name="connsiteX107" fmla="*/ 76151 w 465062"/>
                <a:gd name="connsiteY107" fmla="*/ 19038 h 658157"/>
                <a:gd name="connsiteX108" fmla="*/ 78870 w 465062"/>
                <a:gd name="connsiteY108" fmla="*/ 13598 h 658157"/>
                <a:gd name="connsiteX109" fmla="*/ 95188 w 465062"/>
                <a:gd name="connsiteY109" fmla="*/ 5440 h 658157"/>
                <a:gd name="connsiteX110" fmla="*/ 111506 w 465062"/>
                <a:gd name="connsiteY110" fmla="*/ 0 h 6581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</a:cxnLst>
              <a:rect l="l" t="t" r="r" b="b"/>
              <a:pathLst>
                <a:path w="465062" h="658157">
                  <a:moveTo>
                    <a:pt x="193096" y="59832"/>
                  </a:moveTo>
                  <a:cubicBezTo>
                    <a:pt x="193096" y="73430"/>
                    <a:pt x="193096" y="89748"/>
                    <a:pt x="193096" y="114226"/>
                  </a:cubicBezTo>
                  <a:cubicBezTo>
                    <a:pt x="193096" y="144142"/>
                    <a:pt x="195816" y="176778"/>
                    <a:pt x="198536" y="209414"/>
                  </a:cubicBezTo>
                  <a:cubicBezTo>
                    <a:pt x="198536" y="247489"/>
                    <a:pt x="201255" y="277406"/>
                    <a:pt x="201255" y="282845"/>
                  </a:cubicBezTo>
                  <a:cubicBezTo>
                    <a:pt x="201255" y="293723"/>
                    <a:pt x="203975" y="304602"/>
                    <a:pt x="203975" y="315481"/>
                  </a:cubicBezTo>
                  <a:cubicBezTo>
                    <a:pt x="203975" y="318200"/>
                    <a:pt x="203975" y="318200"/>
                    <a:pt x="203975" y="320920"/>
                  </a:cubicBezTo>
                  <a:cubicBezTo>
                    <a:pt x="203975" y="326359"/>
                    <a:pt x="206695" y="329079"/>
                    <a:pt x="212134" y="329079"/>
                  </a:cubicBezTo>
                  <a:cubicBezTo>
                    <a:pt x="214854" y="329079"/>
                    <a:pt x="220293" y="329079"/>
                    <a:pt x="223013" y="329079"/>
                  </a:cubicBezTo>
                  <a:cubicBezTo>
                    <a:pt x="228452" y="329079"/>
                    <a:pt x="233891" y="329079"/>
                    <a:pt x="239331" y="329079"/>
                  </a:cubicBezTo>
                  <a:cubicBezTo>
                    <a:pt x="252929" y="329079"/>
                    <a:pt x="271967" y="323640"/>
                    <a:pt x="280126" y="312761"/>
                  </a:cubicBezTo>
                  <a:cubicBezTo>
                    <a:pt x="288284" y="304602"/>
                    <a:pt x="291004" y="299163"/>
                    <a:pt x="296443" y="288284"/>
                  </a:cubicBezTo>
                  <a:cubicBezTo>
                    <a:pt x="299163" y="277406"/>
                    <a:pt x="301883" y="269247"/>
                    <a:pt x="304602" y="258368"/>
                  </a:cubicBezTo>
                  <a:cubicBezTo>
                    <a:pt x="307322" y="244770"/>
                    <a:pt x="310042" y="239330"/>
                    <a:pt x="312761" y="225732"/>
                  </a:cubicBezTo>
                  <a:cubicBezTo>
                    <a:pt x="315481" y="212134"/>
                    <a:pt x="315481" y="209414"/>
                    <a:pt x="315481" y="195816"/>
                  </a:cubicBezTo>
                  <a:cubicBezTo>
                    <a:pt x="315481" y="179498"/>
                    <a:pt x="315481" y="184937"/>
                    <a:pt x="318201" y="168619"/>
                  </a:cubicBezTo>
                  <a:cubicBezTo>
                    <a:pt x="312761" y="152302"/>
                    <a:pt x="312761" y="149582"/>
                    <a:pt x="312761" y="135983"/>
                  </a:cubicBezTo>
                  <a:cubicBezTo>
                    <a:pt x="312761" y="133264"/>
                    <a:pt x="312761" y="127825"/>
                    <a:pt x="312761" y="122385"/>
                  </a:cubicBezTo>
                  <a:cubicBezTo>
                    <a:pt x="312761" y="111507"/>
                    <a:pt x="301883" y="95188"/>
                    <a:pt x="293724" y="84309"/>
                  </a:cubicBezTo>
                  <a:cubicBezTo>
                    <a:pt x="288284" y="78870"/>
                    <a:pt x="285565" y="76150"/>
                    <a:pt x="280126" y="73430"/>
                  </a:cubicBezTo>
                  <a:cubicBezTo>
                    <a:pt x="271967" y="67991"/>
                    <a:pt x="266527" y="65271"/>
                    <a:pt x="258368" y="62552"/>
                  </a:cubicBezTo>
                  <a:cubicBezTo>
                    <a:pt x="244770" y="59832"/>
                    <a:pt x="228452" y="59832"/>
                    <a:pt x="217573" y="59832"/>
                  </a:cubicBezTo>
                  <a:close/>
                  <a:moveTo>
                    <a:pt x="111506" y="0"/>
                  </a:moveTo>
                  <a:cubicBezTo>
                    <a:pt x="114226" y="0"/>
                    <a:pt x="122385" y="0"/>
                    <a:pt x="127824" y="0"/>
                  </a:cubicBezTo>
                  <a:cubicBezTo>
                    <a:pt x="135983" y="0"/>
                    <a:pt x="146862" y="2720"/>
                    <a:pt x="157741" y="5440"/>
                  </a:cubicBezTo>
                  <a:cubicBezTo>
                    <a:pt x="168619" y="8159"/>
                    <a:pt x="176778" y="10879"/>
                    <a:pt x="179497" y="16318"/>
                  </a:cubicBezTo>
                  <a:cubicBezTo>
                    <a:pt x="193096" y="16318"/>
                    <a:pt x="201255" y="16318"/>
                    <a:pt x="209414" y="16318"/>
                  </a:cubicBezTo>
                  <a:cubicBezTo>
                    <a:pt x="220292" y="16318"/>
                    <a:pt x="231171" y="16318"/>
                    <a:pt x="247489" y="16318"/>
                  </a:cubicBezTo>
                  <a:cubicBezTo>
                    <a:pt x="250209" y="16318"/>
                    <a:pt x="258368" y="16318"/>
                    <a:pt x="266527" y="16318"/>
                  </a:cubicBezTo>
                  <a:cubicBezTo>
                    <a:pt x="277405" y="16318"/>
                    <a:pt x="291004" y="21758"/>
                    <a:pt x="312761" y="27197"/>
                  </a:cubicBezTo>
                  <a:cubicBezTo>
                    <a:pt x="320920" y="29917"/>
                    <a:pt x="329079" y="35356"/>
                    <a:pt x="337238" y="38075"/>
                  </a:cubicBezTo>
                  <a:cubicBezTo>
                    <a:pt x="342677" y="40795"/>
                    <a:pt x="353556" y="48954"/>
                    <a:pt x="364434" y="54393"/>
                  </a:cubicBezTo>
                  <a:cubicBezTo>
                    <a:pt x="375313" y="62552"/>
                    <a:pt x="386192" y="67992"/>
                    <a:pt x="386192" y="73431"/>
                  </a:cubicBezTo>
                  <a:cubicBezTo>
                    <a:pt x="391631" y="84310"/>
                    <a:pt x="402510" y="92469"/>
                    <a:pt x="407949" y="103347"/>
                  </a:cubicBezTo>
                  <a:cubicBezTo>
                    <a:pt x="413388" y="116945"/>
                    <a:pt x="416108" y="130544"/>
                    <a:pt x="416108" y="141422"/>
                  </a:cubicBezTo>
                  <a:cubicBezTo>
                    <a:pt x="416108" y="152301"/>
                    <a:pt x="418828" y="157740"/>
                    <a:pt x="418828" y="163179"/>
                  </a:cubicBezTo>
                  <a:cubicBezTo>
                    <a:pt x="418828" y="165899"/>
                    <a:pt x="418828" y="168619"/>
                    <a:pt x="418828" y="171339"/>
                  </a:cubicBezTo>
                  <a:cubicBezTo>
                    <a:pt x="418828" y="174058"/>
                    <a:pt x="421547" y="182217"/>
                    <a:pt x="421547" y="187656"/>
                  </a:cubicBezTo>
                  <a:cubicBezTo>
                    <a:pt x="421547" y="193096"/>
                    <a:pt x="418828" y="201255"/>
                    <a:pt x="418828" y="206694"/>
                  </a:cubicBezTo>
                  <a:cubicBezTo>
                    <a:pt x="418828" y="217573"/>
                    <a:pt x="418828" y="223012"/>
                    <a:pt x="416108" y="233891"/>
                  </a:cubicBezTo>
                  <a:cubicBezTo>
                    <a:pt x="413388" y="244769"/>
                    <a:pt x="410668" y="255648"/>
                    <a:pt x="405229" y="263807"/>
                  </a:cubicBezTo>
                  <a:cubicBezTo>
                    <a:pt x="402510" y="269246"/>
                    <a:pt x="397070" y="269246"/>
                    <a:pt x="394351" y="274686"/>
                  </a:cubicBezTo>
                  <a:cubicBezTo>
                    <a:pt x="391631" y="277405"/>
                    <a:pt x="391631" y="282844"/>
                    <a:pt x="388912" y="285564"/>
                  </a:cubicBezTo>
                  <a:cubicBezTo>
                    <a:pt x="383472" y="291003"/>
                    <a:pt x="375313" y="301882"/>
                    <a:pt x="369874" y="304602"/>
                  </a:cubicBezTo>
                  <a:cubicBezTo>
                    <a:pt x="367154" y="307321"/>
                    <a:pt x="361715" y="307321"/>
                    <a:pt x="358995" y="310041"/>
                  </a:cubicBezTo>
                  <a:cubicBezTo>
                    <a:pt x="356275" y="312761"/>
                    <a:pt x="350836" y="318200"/>
                    <a:pt x="348117" y="320920"/>
                  </a:cubicBezTo>
                  <a:cubicBezTo>
                    <a:pt x="339958" y="326359"/>
                    <a:pt x="334518" y="334518"/>
                    <a:pt x="326359" y="339957"/>
                  </a:cubicBezTo>
                  <a:cubicBezTo>
                    <a:pt x="320920" y="342677"/>
                    <a:pt x="312761" y="342677"/>
                    <a:pt x="312761" y="353555"/>
                  </a:cubicBezTo>
                  <a:cubicBezTo>
                    <a:pt x="312761" y="361714"/>
                    <a:pt x="334518" y="372593"/>
                    <a:pt x="337238" y="380752"/>
                  </a:cubicBezTo>
                  <a:cubicBezTo>
                    <a:pt x="345397" y="394350"/>
                    <a:pt x="353556" y="407948"/>
                    <a:pt x="358995" y="421547"/>
                  </a:cubicBezTo>
                  <a:cubicBezTo>
                    <a:pt x="364434" y="435145"/>
                    <a:pt x="367154" y="446024"/>
                    <a:pt x="372593" y="459622"/>
                  </a:cubicBezTo>
                  <a:cubicBezTo>
                    <a:pt x="378033" y="478660"/>
                    <a:pt x="383472" y="494978"/>
                    <a:pt x="386192" y="514015"/>
                  </a:cubicBezTo>
                  <a:cubicBezTo>
                    <a:pt x="391631" y="533053"/>
                    <a:pt x="402510" y="549371"/>
                    <a:pt x="407949" y="568408"/>
                  </a:cubicBezTo>
                  <a:cubicBezTo>
                    <a:pt x="410668" y="579287"/>
                    <a:pt x="416108" y="590165"/>
                    <a:pt x="421547" y="598324"/>
                  </a:cubicBezTo>
                  <a:cubicBezTo>
                    <a:pt x="435146" y="614642"/>
                    <a:pt x="443305" y="622801"/>
                    <a:pt x="451463" y="628241"/>
                  </a:cubicBezTo>
                  <a:cubicBezTo>
                    <a:pt x="456903" y="630960"/>
                    <a:pt x="465062" y="636400"/>
                    <a:pt x="465062" y="644559"/>
                  </a:cubicBezTo>
                  <a:cubicBezTo>
                    <a:pt x="465062" y="647278"/>
                    <a:pt x="465062" y="647278"/>
                    <a:pt x="462342" y="649998"/>
                  </a:cubicBezTo>
                  <a:cubicBezTo>
                    <a:pt x="456903" y="655437"/>
                    <a:pt x="446024" y="658157"/>
                    <a:pt x="437865" y="658157"/>
                  </a:cubicBezTo>
                  <a:cubicBezTo>
                    <a:pt x="413388" y="658157"/>
                    <a:pt x="378033" y="641839"/>
                    <a:pt x="361715" y="622801"/>
                  </a:cubicBezTo>
                  <a:cubicBezTo>
                    <a:pt x="345397" y="606483"/>
                    <a:pt x="334518" y="584726"/>
                    <a:pt x="320920" y="565689"/>
                  </a:cubicBezTo>
                  <a:cubicBezTo>
                    <a:pt x="315480" y="554810"/>
                    <a:pt x="310041" y="543931"/>
                    <a:pt x="304602" y="530333"/>
                  </a:cubicBezTo>
                  <a:cubicBezTo>
                    <a:pt x="299163" y="519454"/>
                    <a:pt x="296443" y="508576"/>
                    <a:pt x="293723" y="497697"/>
                  </a:cubicBezTo>
                  <a:cubicBezTo>
                    <a:pt x="291004" y="486819"/>
                    <a:pt x="288284" y="473220"/>
                    <a:pt x="282845" y="462342"/>
                  </a:cubicBezTo>
                  <a:cubicBezTo>
                    <a:pt x="280125" y="448743"/>
                    <a:pt x="274686" y="437865"/>
                    <a:pt x="269246" y="424267"/>
                  </a:cubicBezTo>
                  <a:cubicBezTo>
                    <a:pt x="266527" y="416108"/>
                    <a:pt x="261087" y="402509"/>
                    <a:pt x="255648" y="391631"/>
                  </a:cubicBezTo>
                  <a:cubicBezTo>
                    <a:pt x="250209" y="380752"/>
                    <a:pt x="244770" y="375313"/>
                    <a:pt x="236610" y="367154"/>
                  </a:cubicBezTo>
                  <a:cubicBezTo>
                    <a:pt x="231171" y="361714"/>
                    <a:pt x="223012" y="361714"/>
                    <a:pt x="217573" y="361714"/>
                  </a:cubicBezTo>
                  <a:cubicBezTo>
                    <a:pt x="212134" y="361714"/>
                    <a:pt x="206694" y="361714"/>
                    <a:pt x="201255" y="361714"/>
                  </a:cubicBezTo>
                  <a:cubicBezTo>
                    <a:pt x="198535" y="361714"/>
                    <a:pt x="198535" y="364434"/>
                    <a:pt x="198535" y="367154"/>
                  </a:cubicBezTo>
                  <a:cubicBezTo>
                    <a:pt x="198535" y="375313"/>
                    <a:pt x="201255" y="386191"/>
                    <a:pt x="201255" y="388911"/>
                  </a:cubicBezTo>
                  <a:cubicBezTo>
                    <a:pt x="201255" y="402509"/>
                    <a:pt x="198535" y="413388"/>
                    <a:pt x="198535" y="426986"/>
                  </a:cubicBezTo>
                  <a:cubicBezTo>
                    <a:pt x="198535" y="446024"/>
                    <a:pt x="203975" y="456902"/>
                    <a:pt x="203975" y="478660"/>
                  </a:cubicBezTo>
                  <a:cubicBezTo>
                    <a:pt x="203975" y="503136"/>
                    <a:pt x="201255" y="527613"/>
                    <a:pt x="198535" y="552090"/>
                  </a:cubicBezTo>
                  <a:cubicBezTo>
                    <a:pt x="198535" y="560249"/>
                    <a:pt x="195816" y="568408"/>
                    <a:pt x="195816" y="576567"/>
                  </a:cubicBezTo>
                  <a:cubicBezTo>
                    <a:pt x="195816" y="582006"/>
                    <a:pt x="195816" y="587446"/>
                    <a:pt x="198535" y="592885"/>
                  </a:cubicBezTo>
                  <a:cubicBezTo>
                    <a:pt x="212134" y="592885"/>
                    <a:pt x="225732" y="592885"/>
                    <a:pt x="233891" y="592885"/>
                  </a:cubicBezTo>
                  <a:cubicBezTo>
                    <a:pt x="247489" y="592885"/>
                    <a:pt x="271966" y="592885"/>
                    <a:pt x="271966" y="611923"/>
                  </a:cubicBezTo>
                  <a:cubicBezTo>
                    <a:pt x="271966" y="620082"/>
                    <a:pt x="269246" y="622801"/>
                    <a:pt x="266527" y="628241"/>
                  </a:cubicBezTo>
                  <a:cubicBezTo>
                    <a:pt x="261087" y="633680"/>
                    <a:pt x="255648" y="636400"/>
                    <a:pt x="250209" y="636400"/>
                  </a:cubicBezTo>
                  <a:cubicBezTo>
                    <a:pt x="239330" y="639119"/>
                    <a:pt x="233891" y="639119"/>
                    <a:pt x="228451" y="639119"/>
                  </a:cubicBezTo>
                  <a:cubicBezTo>
                    <a:pt x="223012" y="639119"/>
                    <a:pt x="206694" y="639119"/>
                    <a:pt x="187657" y="639119"/>
                  </a:cubicBezTo>
                  <a:cubicBezTo>
                    <a:pt x="176778" y="647278"/>
                    <a:pt x="163180" y="649998"/>
                    <a:pt x="152301" y="652717"/>
                  </a:cubicBezTo>
                  <a:cubicBezTo>
                    <a:pt x="146862" y="652717"/>
                    <a:pt x="138703" y="655437"/>
                    <a:pt x="133263" y="655437"/>
                  </a:cubicBezTo>
                  <a:cubicBezTo>
                    <a:pt x="130544" y="655437"/>
                    <a:pt x="125104" y="655437"/>
                    <a:pt x="122385" y="652717"/>
                  </a:cubicBezTo>
                  <a:cubicBezTo>
                    <a:pt x="114226" y="649998"/>
                    <a:pt x="103347" y="644559"/>
                    <a:pt x="97908" y="639119"/>
                  </a:cubicBezTo>
                  <a:cubicBezTo>
                    <a:pt x="87029" y="639119"/>
                    <a:pt x="78870" y="639119"/>
                    <a:pt x="70711" y="639119"/>
                  </a:cubicBezTo>
                  <a:cubicBezTo>
                    <a:pt x="62552" y="639119"/>
                    <a:pt x="54393" y="639119"/>
                    <a:pt x="46234" y="639119"/>
                  </a:cubicBezTo>
                  <a:cubicBezTo>
                    <a:pt x="38075" y="639119"/>
                    <a:pt x="27197" y="633680"/>
                    <a:pt x="19038" y="630960"/>
                  </a:cubicBezTo>
                  <a:cubicBezTo>
                    <a:pt x="10879" y="628241"/>
                    <a:pt x="2720" y="620082"/>
                    <a:pt x="2720" y="614642"/>
                  </a:cubicBezTo>
                  <a:cubicBezTo>
                    <a:pt x="2720" y="611923"/>
                    <a:pt x="2720" y="609203"/>
                    <a:pt x="8159" y="606483"/>
                  </a:cubicBezTo>
                  <a:cubicBezTo>
                    <a:pt x="13599" y="603764"/>
                    <a:pt x="24477" y="601044"/>
                    <a:pt x="29916" y="598324"/>
                  </a:cubicBezTo>
                  <a:cubicBezTo>
                    <a:pt x="43515" y="595605"/>
                    <a:pt x="62552" y="595605"/>
                    <a:pt x="76151" y="592885"/>
                  </a:cubicBezTo>
                  <a:cubicBezTo>
                    <a:pt x="76151" y="587446"/>
                    <a:pt x="73431" y="582006"/>
                    <a:pt x="73431" y="573848"/>
                  </a:cubicBezTo>
                  <a:cubicBezTo>
                    <a:pt x="73431" y="565689"/>
                    <a:pt x="70711" y="516735"/>
                    <a:pt x="70711" y="500417"/>
                  </a:cubicBezTo>
                  <a:cubicBezTo>
                    <a:pt x="70711" y="481379"/>
                    <a:pt x="73431" y="456902"/>
                    <a:pt x="73431" y="437865"/>
                  </a:cubicBezTo>
                  <a:cubicBezTo>
                    <a:pt x="73431" y="416108"/>
                    <a:pt x="70711" y="391631"/>
                    <a:pt x="70711" y="369873"/>
                  </a:cubicBezTo>
                  <a:cubicBezTo>
                    <a:pt x="70711" y="345397"/>
                    <a:pt x="70711" y="318200"/>
                    <a:pt x="70711" y="293723"/>
                  </a:cubicBezTo>
                  <a:cubicBezTo>
                    <a:pt x="70711" y="266526"/>
                    <a:pt x="73431" y="239330"/>
                    <a:pt x="73431" y="212133"/>
                  </a:cubicBezTo>
                  <a:cubicBezTo>
                    <a:pt x="73431" y="187656"/>
                    <a:pt x="76151" y="179498"/>
                    <a:pt x="76151" y="155021"/>
                  </a:cubicBezTo>
                  <a:cubicBezTo>
                    <a:pt x="76151" y="144142"/>
                    <a:pt x="76151" y="130544"/>
                    <a:pt x="76151" y="119665"/>
                  </a:cubicBezTo>
                  <a:cubicBezTo>
                    <a:pt x="76151" y="106067"/>
                    <a:pt x="78870" y="95188"/>
                    <a:pt x="78870" y="84310"/>
                  </a:cubicBezTo>
                  <a:cubicBezTo>
                    <a:pt x="78870" y="78870"/>
                    <a:pt x="78870" y="70711"/>
                    <a:pt x="76151" y="62552"/>
                  </a:cubicBezTo>
                  <a:cubicBezTo>
                    <a:pt x="76151" y="62552"/>
                    <a:pt x="73431" y="62552"/>
                    <a:pt x="67992" y="62552"/>
                  </a:cubicBezTo>
                  <a:cubicBezTo>
                    <a:pt x="59833" y="62552"/>
                    <a:pt x="51674" y="62552"/>
                    <a:pt x="43515" y="62552"/>
                  </a:cubicBezTo>
                  <a:cubicBezTo>
                    <a:pt x="35356" y="62552"/>
                    <a:pt x="24477" y="59833"/>
                    <a:pt x="16318" y="57113"/>
                  </a:cubicBezTo>
                  <a:cubicBezTo>
                    <a:pt x="8159" y="54393"/>
                    <a:pt x="0" y="43515"/>
                    <a:pt x="0" y="40795"/>
                  </a:cubicBezTo>
                  <a:cubicBezTo>
                    <a:pt x="0" y="38075"/>
                    <a:pt x="0" y="35356"/>
                    <a:pt x="5439" y="32636"/>
                  </a:cubicBezTo>
                  <a:cubicBezTo>
                    <a:pt x="10879" y="29917"/>
                    <a:pt x="21758" y="27197"/>
                    <a:pt x="27197" y="24477"/>
                  </a:cubicBezTo>
                  <a:cubicBezTo>
                    <a:pt x="46234" y="21758"/>
                    <a:pt x="62552" y="19038"/>
                    <a:pt x="76151" y="19038"/>
                  </a:cubicBezTo>
                  <a:cubicBezTo>
                    <a:pt x="76151" y="16318"/>
                    <a:pt x="78870" y="16318"/>
                    <a:pt x="78870" y="13598"/>
                  </a:cubicBezTo>
                  <a:cubicBezTo>
                    <a:pt x="84309" y="10879"/>
                    <a:pt x="89749" y="8159"/>
                    <a:pt x="95188" y="5440"/>
                  </a:cubicBezTo>
                  <a:cubicBezTo>
                    <a:pt x="100628" y="2720"/>
                    <a:pt x="106067" y="0"/>
                    <a:pt x="111506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7" name="Freeform: Shape 46">
              <a:extLst>
                <a:ext uri="{FF2B5EF4-FFF2-40B4-BE49-F238E27FC236}">
                  <a16:creationId xmlns:a16="http://schemas.microsoft.com/office/drawing/2014/main" id="{2CB86C1E-34D9-4E0F-88EC-65476446F32C}"/>
                </a:ext>
              </a:extLst>
            </p:cNvPr>
            <p:cNvSpPr/>
            <p:nvPr/>
          </p:nvSpPr>
          <p:spPr>
            <a:xfrm>
              <a:off x="8346812" y="4186718"/>
              <a:ext cx="353556" cy="761503"/>
            </a:xfrm>
            <a:custGeom>
              <a:avLst/>
              <a:gdLst>
                <a:gd name="connsiteX0" fmla="*/ 283910 w 353555"/>
                <a:gd name="connsiteY0" fmla="*/ 672820 h 761503"/>
                <a:gd name="connsiteX1" fmla="*/ 321985 w 353555"/>
                <a:gd name="connsiteY1" fmla="*/ 689138 h 761503"/>
                <a:gd name="connsiteX2" fmla="*/ 316546 w 353555"/>
                <a:gd name="connsiteY2" fmla="*/ 705456 h 761503"/>
                <a:gd name="connsiteX3" fmla="*/ 300228 w 353555"/>
                <a:gd name="connsiteY3" fmla="*/ 713615 h 761503"/>
                <a:gd name="connsiteX4" fmla="*/ 278471 w 353555"/>
                <a:gd name="connsiteY4" fmla="*/ 716335 h 761503"/>
                <a:gd name="connsiteX5" fmla="*/ 237676 w 353555"/>
                <a:gd name="connsiteY5" fmla="*/ 716335 h 761503"/>
                <a:gd name="connsiteX6" fmla="*/ 180563 w 353555"/>
                <a:gd name="connsiteY6" fmla="*/ 719054 h 761503"/>
                <a:gd name="connsiteX7" fmla="*/ 126170 w 353555"/>
                <a:gd name="connsiteY7" fmla="*/ 719054 h 761503"/>
                <a:gd name="connsiteX8" fmla="*/ 101693 w 353555"/>
                <a:gd name="connsiteY8" fmla="*/ 719054 h 761503"/>
                <a:gd name="connsiteX9" fmla="*/ 74496 w 353555"/>
                <a:gd name="connsiteY9" fmla="*/ 713615 h 761503"/>
                <a:gd name="connsiteX10" fmla="*/ 58178 w 353555"/>
                <a:gd name="connsiteY10" fmla="*/ 697297 h 761503"/>
                <a:gd name="connsiteX11" fmla="*/ 63618 w 353555"/>
                <a:gd name="connsiteY11" fmla="*/ 689138 h 761503"/>
                <a:gd name="connsiteX12" fmla="*/ 85375 w 353555"/>
                <a:gd name="connsiteY12" fmla="*/ 680979 h 761503"/>
                <a:gd name="connsiteX13" fmla="*/ 131609 w 353555"/>
                <a:gd name="connsiteY13" fmla="*/ 675540 h 761503"/>
                <a:gd name="connsiteX14" fmla="*/ 142488 w 353555"/>
                <a:gd name="connsiteY14" fmla="*/ 675540 h 761503"/>
                <a:gd name="connsiteX15" fmla="*/ 131609 w 353555"/>
                <a:gd name="connsiteY15" fmla="*/ 653783 h 761503"/>
                <a:gd name="connsiteX16" fmla="*/ 128890 w 353555"/>
                <a:gd name="connsiteY16" fmla="*/ 640184 h 761503"/>
                <a:gd name="connsiteX17" fmla="*/ 128890 w 353555"/>
                <a:gd name="connsiteY17" fmla="*/ 629306 h 761503"/>
                <a:gd name="connsiteX18" fmla="*/ 128890 w 353555"/>
                <a:gd name="connsiteY18" fmla="*/ 621147 h 761503"/>
                <a:gd name="connsiteX19" fmla="*/ 128890 w 353555"/>
                <a:gd name="connsiteY19" fmla="*/ 593950 h 761503"/>
                <a:gd name="connsiteX20" fmla="*/ 128890 w 353555"/>
                <a:gd name="connsiteY20" fmla="*/ 583072 h 761503"/>
                <a:gd name="connsiteX21" fmla="*/ 128890 w 353555"/>
                <a:gd name="connsiteY21" fmla="*/ 436210 h 761503"/>
                <a:gd name="connsiteX22" fmla="*/ 128890 w 353555"/>
                <a:gd name="connsiteY22" fmla="*/ 357340 h 761503"/>
                <a:gd name="connsiteX23" fmla="*/ 131609 w 353555"/>
                <a:gd name="connsiteY23" fmla="*/ 289349 h 761503"/>
                <a:gd name="connsiteX24" fmla="*/ 131609 w 353555"/>
                <a:gd name="connsiteY24" fmla="*/ 251274 h 761503"/>
                <a:gd name="connsiteX25" fmla="*/ 131609 w 353555"/>
                <a:gd name="connsiteY25" fmla="*/ 205040 h 761503"/>
                <a:gd name="connsiteX26" fmla="*/ 131609 w 353555"/>
                <a:gd name="connsiteY26" fmla="*/ 139768 h 761503"/>
                <a:gd name="connsiteX27" fmla="*/ 131609 w 353555"/>
                <a:gd name="connsiteY27" fmla="*/ 128889 h 761503"/>
                <a:gd name="connsiteX28" fmla="*/ 126170 w 353555"/>
                <a:gd name="connsiteY28" fmla="*/ 128889 h 761503"/>
                <a:gd name="connsiteX29" fmla="*/ 101693 w 353555"/>
                <a:gd name="connsiteY29" fmla="*/ 128889 h 761503"/>
                <a:gd name="connsiteX30" fmla="*/ 74496 w 353555"/>
                <a:gd name="connsiteY30" fmla="*/ 123450 h 761503"/>
                <a:gd name="connsiteX31" fmla="*/ 58178 w 353555"/>
                <a:gd name="connsiteY31" fmla="*/ 107132 h 761503"/>
                <a:gd name="connsiteX32" fmla="*/ 60898 w 353555"/>
                <a:gd name="connsiteY32" fmla="*/ 98973 h 761503"/>
                <a:gd name="connsiteX33" fmla="*/ 82655 w 353555"/>
                <a:gd name="connsiteY33" fmla="*/ 93534 h 761503"/>
                <a:gd name="connsiteX34" fmla="*/ 131609 w 353555"/>
                <a:gd name="connsiteY34" fmla="*/ 88094 h 761503"/>
                <a:gd name="connsiteX35" fmla="*/ 131609 w 353555"/>
                <a:gd name="connsiteY35" fmla="*/ 82655 h 761503"/>
                <a:gd name="connsiteX36" fmla="*/ 134329 w 353555"/>
                <a:gd name="connsiteY36" fmla="*/ 71776 h 761503"/>
                <a:gd name="connsiteX37" fmla="*/ 147927 w 353555"/>
                <a:gd name="connsiteY37" fmla="*/ 63617 h 761503"/>
                <a:gd name="connsiteX38" fmla="*/ 164245 w 353555"/>
                <a:gd name="connsiteY38" fmla="*/ 58178 h 761503"/>
                <a:gd name="connsiteX39" fmla="*/ 177843 w 353555"/>
                <a:gd name="connsiteY39" fmla="*/ 58178 h 761503"/>
                <a:gd name="connsiteX40" fmla="*/ 196881 w 353555"/>
                <a:gd name="connsiteY40" fmla="*/ 60898 h 761503"/>
                <a:gd name="connsiteX41" fmla="*/ 232237 w 353555"/>
                <a:gd name="connsiteY41" fmla="*/ 88094 h 761503"/>
                <a:gd name="connsiteX42" fmla="*/ 278471 w 353555"/>
                <a:gd name="connsiteY42" fmla="*/ 88094 h 761503"/>
                <a:gd name="connsiteX43" fmla="*/ 316546 w 353555"/>
                <a:gd name="connsiteY43" fmla="*/ 104412 h 761503"/>
                <a:gd name="connsiteX44" fmla="*/ 311107 w 353555"/>
                <a:gd name="connsiteY44" fmla="*/ 120730 h 761503"/>
                <a:gd name="connsiteX45" fmla="*/ 294789 w 353555"/>
                <a:gd name="connsiteY45" fmla="*/ 128889 h 761503"/>
                <a:gd name="connsiteX46" fmla="*/ 273032 w 353555"/>
                <a:gd name="connsiteY46" fmla="*/ 131609 h 761503"/>
                <a:gd name="connsiteX47" fmla="*/ 243115 w 353555"/>
                <a:gd name="connsiteY47" fmla="*/ 131609 h 761503"/>
                <a:gd name="connsiteX48" fmla="*/ 243115 w 353555"/>
                <a:gd name="connsiteY48" fmla="*/ 134329 h 761503"/>
                <a:gd name="connsiteX49" fmla="*/ 248554 w 353555"/>
                <a:gd name="connsiteY49" fmla="*/ 169684 h 761503"/>
                <a:gd name="connsiteX50" fmla="*/ 251274 w 353555"/>
                <a:gd name="connsiteY50" fmla="*/ 205040 h 761503"/>
                <a:gd name="connsiteX51" fmla="*/ 251274 w 353555"/>
                <a:gd name="connsiteY51" fmla="*/ 240395 h 761503"/>
                <a:gd name="connsiteX52" fmla="*/ 251274 w 353555"/>
                <a:gd name="connsiteY52" fmla="*/ 256713 h 761503"/>
                <a:gd name="connsiteX53" fmla="*/ 253994 w 353555"/>
                <a:gd name="connsiteY53" fmla="*/ 270311 h 761503"/>
                <a:gd name="connsiteX54" fmla="*/ 259433 w 353555"/>
                <a:gd name="connsiteY54" fmla="*/ 343742 h 761503"/>
                <a:gd name="connsiteX55" fmla="*/ 262153 w 353555"/>
                <a:gd name="connsiteY55" fmla="*/ 425332 h 761503"/>
                <a:gd name="connsiteX56" fmla="*/ 264872 w 353555"/>
                <a:gd name="connsiteY56" fmla="*/ 490603 h 761503"/>
                <a:gd name="connsiteX57" fmla="*/ 270312 w 353555"/>
                <a:gd name="connsiteY57" fmla="*/ 564034 h 761503"/>
                <a:gd name="connsiteX58" fmla="*/ 270312 w 353555"/>
                <a:gd name="connsiteY58" fmla="*/ 599390 h 761503"/>
                <a:gd name="connsiteX59" fmla="*/ 270312 w 353555"/>
                <a:gd name="connsiteY59" fmla="*/ 637465 h 761503"/>
                <a:gd name="connsiteX60" fmla="*/ 264872 w 353555"/>
                <a:gd name="connsiteY60" fmla="*/ 670101 h 761503"/>
                <a:gd name="connsiteX61" fmla="*/ 283910 w 353555"/>
                <a:gd name="connsiteY61" fmla="*/ 672820 h 761503"/>
                <a:gd name="connsiteX62" fmla="*/ 283910 w 353555"/>
                <a:gd name="connsiteY62" fmla="*/ 672820 h 761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</a:cxnLst>
              <a:rect l="l" t="t" r="r" b="b"/>
              <a:pathLst>
                <a:path w="353555" h="761503">
                  <a:moveTo>
                    <a:pt x="283910" y="672820"/>
                  </a:moveTo>
                  <a:cubicBezTo>
                    <a:pt x="297508" y="672820"/>
                    <a:pt x="321985" y="672820"/>
                    <a:pt x="321985" y="689138"/>
                  </a:cubicBezTo>
                  <a:cubicBezTo>
                    <a:pt x="321985" y="697297"/>
                    <a:pt x="319266" y="697297"/>
                    <a:pt x="316546" y="705456"/>
                  </a:cubicBezTo>
                  <a:cubicBezTo>
                    <a:pt x="311107" y="710895"/>
                    <a:pt x="305667" y="713615"/>
                    <a:pt x="300228" y="713615"/>
                  </a:cubicBezTo>
                  <a:cubicBezTo>
                    <a:pt x="292069" y="716335"/>
                    <a:pt x="283910" y="716335"/>
                    <a:pt x="278471" y="716335"/>
                  </a:cubicBezTo>
                  <a:cubicBezTo>
                    <a:pt x="275751" y="716335"/>
                    <a:pt x="256713" y="716335"/>
                    <a:pt x="237676" y="716335"/>
                  </a:cubicBezTo>
                  <a:cubicBezTo>
                    <a:pt x="213199" y="716335"/>
                    <a:pt x="186003" y="719054"/>
                    <a:pt x="180563" y="719054"/>
                  </a:cubicBezTo>
                  <a:cubicBezTo>
                    <a:pt x="166965" y="719054"/>
                    <a:pt x="142488" y="719054"/>
                    <a:pt x="126170" y="719054"/>
                  </a:cubicBezTo>
                  <a:cubicBezTo>
                    <a:pt x="118011" y="719054"/>
                    <a:pt x="109852" y="719054"/>
                    <a:pt x="101693" y="719054"/>
                  </a:cubicBezTo>
                  <a:cubicBezTo>
                    <a:pt x="93534" y="719054"/>
                    <a:pt x="82655" y="719054"/>
                    <a:pt x="74496" y="713615"/>
                  </a:cubicBezTo>
                  <a:cubicBezTo>
                    <a:pt x="66337" y="710895"/>
                    <a:pt x="58178" y="702736"/>
                    <a:pt x="58178" y="697297"/>
                  </a:cubicBezTo>
                  <a:cubicBezTo>
                    <a:pt x="58178" y="694578"/>
                    <a:pt x="58178" y="691858"/>
                    <a:pt x="63618" y="689138"/>
                  </a:cubicBezTo>
                  <a:cubicBezTo>
                    <a:pt x="69057" y="686418"/>
                    <a:pt x="79936" y="683699"/>
                    <a:pt x="85375" y="680979"/>
                  </a:cubicBezTo>
                  <a:cubicBezTo>
                    <a:pt x="104413" y="678260"/>
                    <a:pt x="123450" y="675540"/>
                    <a:pt x="131609" y="675540"/>
                  </a:cubicBezTo>
                  <a:cubicBezTo>
                    <a:pt x="134329" y="675540"/>
                    <a:pt x="137049" y="675540"/>
                    <a:pt x="142488" y="675540"/>
                  </a:cubicBezTo>
                  <a:cubicBezTo>
                    <a:pt x="134329" y="670101"/>
                    <a:pt x="131609" y="661942"/>
                    <a:pt x="131609" y="653783"/>
                  </a:cubicBezTo>
                  <a:cubicBezTo>
                    <a:pt x="131609" y="648343"/>
                    <a:pt x="131609" y="642904"/>
                    <a:pt x="128890" y="640184"/>
                  </a:cubicBezTo>
                  <a:cubicBezTo>
                    <a:pt x="128890" y="637465"/>
                    <a:pt x="128890" y="634745"/>
                    <a:pt x="128890" y="629306"/>
                  </a:cubicBezTo>
                  <a:cubicBezTo>
                    <a:pt x="128890" y="626586"/>
                    <a:pt x="128890" y="623867"/>
                    <a:pt x="128890" y="621147"/>
                  </a:cubicBezTo>
                  <a:cubicBezTo>
                    <a:pt x="128890" y="612988"/>
                    <a:pt x="128890" y="604829"/>
                    <a:pt x="128890" y="593950"/>
                  </a:cubicBezTo>
                  <a:cubicBezTo>
                    <a:pt x="128890" y="591231"/>
                    <a:pt x="128890" y="585791"/>
                    <a:pt x="128890" y="583072"/>
                  </a:cubicBezTo>
                  <a:cubicBezTo>
                    <a:pt x="128890" y="534118"/>
                    <a:pt x="131609" y="485164"/>
                    <a:pt x="128890" y="436210"/>
                  </a:cubicBezTo>
                  <a:cubicBezTo>
                    <a:pt x="128890" y="409014"/>
                    <a:pt x="128890" y="384537"/>
                    <a:pt x="128890" y="357340"/>
                  </a:cubicBezTo>
                  <a:cubicBezTo>
                    <a:pt x="128890" y="335583"/>
                    <a:pt x="131609" y="313826"/>
                    <a:pt x="131609" y="289349"/>
                  </a:cubicBezTo>
                  <a:cubicBezTo>
                    <a:pt x="131609" y="275751"/>
                    <a:pt x="131609" y="264872"/>
                    <a:pt x="131609" y="251274"/>
                  </a:cubicBezTo>
                  <a:cubicBezTo>
                    <a:pt x="131609" y="234956"/>
                    <a:pt x="131609" y="221357"/>
                    <a:pt x="131609" y="205040"/>
                  </a:cubicBezTo>
                  <a:cubicBezTo>
                    <a:pt x="131609" y="183282"/>
                    <a:pt x="131609" y="161525"/>
                    <a:pt x="131609" y="139768"/>
                  </a:cubicBezTo>
                  <a:cubicBezTo>
                    <a:pt x="131609" y="137048"/>
                    <a:pt x="131609" y="134329"/>
                    <a:pt x="131609" y="128889"/>
                  </a:cubicBezTo>
                  <a:cubicBezTo>
                    <a:pt x="128890" y="128889"/>
                    <a:pt x="126170" y="128889"/>
                    <a:pt x="126170" y="128889"/>
                  </a:cubicBezTo>
                  <a:cubicBezTo>
                    <a:pt x="118011" y="128889"/>
                    <a:pt x="109852" y="128889"/>
                    <a:pt x="101693" y="128889"/>
                  </a:cubicBezTo>
                  <a:cubicBezTo>
                    <a:pt x="93534" y="128889"/>
                    <a:pt x="82655" y="128889"/>
                    <a:pt x="74496" y="123450"/>
                  </a:cubicBezTo>
                  <a:cubicBezTo>
                    <a:pt x="66337" y="120730"/>
                    <a:pt x="58178" y="112571"/>
                    <a:pt x="58178" y="107132"/>
                  </a:cubicBezTo>
                  <a:cubicBezTo>
                    <a:pt x="58178" y="104412"/>
                    <a:pt x="58178" y="101693"/>
                    <a:pt x="60898" y="98973"/>
                  </a:cubicBezTo>
                  <a:cubicBezTo>
                    <a:pt x="63618" y="96253"/>
                    <a:pt x="77216" y="93534"/>
                    <a:pt x="82655" y="93534"/>
                  </a:cubicBezTo>
                  <a:cubicBezTo>
                    <a:pt x="98973" y="90814"/>
                    <a:pt x="123450" y="88094"/>
                    <a:pt x="131609" y="88094"/>
                  </a:cubicBezTo>
                  <a:cubicBezTo>
                    <a:pt x="131609" y="85375"/>
                    <a:pt x="131609" y="85375"/>
                    <a:pt x="131609" y="82655"/>
                  </a:cubicBezTo>
                  <a:cubicBezTo>
                    <a:pt x="131609" y="77216"/>
                    <a:pt x="131609" y="74496"/>
                    <a:pt x="134329" y="71776"/>
                  </a:cubicBezTo>
                  <a:cubicBezTo>
                    <a:pt x="137049" y="69057"/>
                    <a:pt x="145208" y="66337"/>
                    <a:pt x="147927" y="63617"/>
                  </a:cubicBezTo>
                  <a:cubicBezTo>
                    <a:pt x="153366" y="60898"/>
                    <a:pt x="158806" y="58178"/>
                    <a:pt x="164245" y="58178"/>
                  </a:cubicBezTo>
                  <a:cubicBezTo>
                    <a:pt x="169684" y="58178"/>
                    <a:pt x="175124" y="58178"/>
                    <a:pt x="177843" y="58178"/>
                  </a:cubicBezTo>
                  <a:cubicBezTo>
                    <a:pt x="183283" y="58178"/>
                    <a:pt x="191442" y="58178"/>
                    <a:pt x="196881" y="60898"/>
                  </a:cubicBezTo>
                  <a:cubicBezTo>
                    <a:pt x="213199" y="63617"/>
                    <a:pt x="224078" y="74496"/>
                    <a:pt x="232237" y="88094"/>
                  </a:cubicBezTo>
                  <a:cubicBezTo>
                    <a:pt x="253994" y="88094"/>
                    <a:pt x="270312" y="88094"/>
                    <a:pt x="278471" y="88094"/>
                  </a:cubicBezTo>
                  <a:cubicBezTo>
                    <a:pt x="292069" y="88094"/>
                    <a:pt x="316546" y="88094"/>
                    <a:pt x="316546" y="104412"/>
                  </a:cubicBezTo>
                  <a:cubicBezTo>
                    <a:pt x="316546" y="112571"/>
                    <a:pt x="313826" y="112571"/>
                    <a:pt x="311107" y="120730"/>
                  </a:cubicBezTo>
                  <a:cubicBezTo>
                    <a:pt x="305667" y="126170"/>
                    <a:pt x="300228" y="128889"/>
                    <a:pt x="294789" y="128889"/>
                  </a:cubicBezTo>
                  <a:cubicBezTo>
                    <a:pt x="286630" y="131609"/>
                    <a:pt x="278471" y="131609"/>
                    <a:pt x="273032" y="131609"/>
                  </a:cubicBezTo>
                  <a:cubicBezTo>
                    <a:pt x="270312" y="131609"/>
                    <a:pt x="259433" y="131609"/>
                    <a:pt x="243115" y="131609"/>
                  </a:cubicBezTo>
                  <a:lnTo>
                    <a:pt x="243115" y="134329"/>
                  </a:lnTo>
                  <a:cubicBezTo>
                    <a:pt x="245835" y="145207"/>
                    <a:pt x="245835" y="158805"/>
                    <a:pt x="248554" y="169684"/>
                  </a:cubicBezTo>
                  <a:cubicBezTo>
                    <a:pt x="251274" y="180563"/>
                    <a:pt x="251274" y="194161"/>
                    <a:pt x="251274" y="205040"/>
                  </a:cubicBezTo>
                  <a:cubicBezTo>
                    <a:pt x="251274" y="215918"/>
                    <a:pt x="251274" y="226797"/>
                    <a:pt x="251274" y="240395"/>
                  </a:cubicBezTo>
                  <a:cubicBezTo>
                    <a:pt x="251274" y="245834"/>
                    <a:pt x="251274" y="251274"/>
                    <a:pt x="251274" y="256713"/>
                  </a:cubicBezTo>
                  <a:cubicBezTo>
                    <a:pt x="251274" y="262152"/>
                    <a:pt x="251274" y="267592"/>
                    <a:pt x="253994" y="270311"/>
                  </a:cubicBezTo>
                  <a:cubicBezTo>
                    <a:pt x="256713" y="294788"/>
                    <a:pt x="256713" y="319265"/>
                    <a:pt x="259433" y="343742"/>
                  </a:cubicBezTo>
                  <a:cubicBezTo>
                    <a:pt x="259433" y="370939"/>
                    <a:pt x="262153" y="398135"/>
                    <a:pt x="262153" y="425332"/>
                  </a:cubicBezTo>
                  <a:cubicBezTo>
                    <a:pt x="262153" y="447089"/>
                    <a:pt x="262153" y="468846"/>
                    <a:pt x="264872" y="490603"/>
                  </a:cubicBezTo>
                  <a:cubicBezTo>
                    <a:pt x="264872" y="515080"/>
                    <a:pt x="270312" y="539557"/>
                    <a:pt x="270312" y="564034"/>
                  </a:cubicBezTo>
                  <a:cubicBezTo>
                    <a:pt x="270312" y="574913"/>
                    <a:pt x="270312" y="588511"/>
                    <a:pt x="270312" y="599390"/>
                  </a:cubicBezTo>
                  <a:cubicBezTo>
                    <a:pt x="270312" y="612988"/>
                    <a:pt x="270312" y="623867"/>
                    <a:pt x="270312" y="637465"/>
                  </a:cubicBezTo>
                  <a:cubicBezTo>
                    <a:pt x="270312" y="648343"/>
                    <a:pt x="270312" y="661942"/>
                    <a:pt x="264872" y="670101"/>
                  </a:cubicBezTo>
                  <a:cubicBezTo>
                    <a:pt x="273032" y="672820"/>
                    <a:pt x="278471" y="672820"/>
                    <a:pt x="283910" y="672820"/>
                  </a:cubicBezTo>
                  <a:lnTo>
                    <a:pt x="283910" y="672820"/>
                  </a:ln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8" name="Freeform: Shape 47">
              <a:extLst>
                <a:ext uri="{FF2B5EF4-FFF2-40B4-BE49-F238E27FC236}">
                  <a16:creationId xmlns:a16="http://schemas.microsoft.com/office/drawing/2014/main" id="{D932AD99-53C0-46CD-960C-6F1735F80A7B}"/>
                </a:ext>
              </a:extLst>
            </p:cNvPr>
            <p:cNvSpPr/>
            <p:nvPr/>
          </p:nvSpPr>
          <p:spPr>
            <a:xfrm>
              <a:off x="8652924" y="4192158"/>
              <a:ext cx="516735" cy="788700"/>
            </a:xfrm>
            <a:custGeom>
              <a:avLst/>
              <a:gdLst>
                <a:gd name="connsiteX0" fmla="*/ 464616 w 516735"/>
                <a:gd name="connsiteY0" fmla="*/ 436210 h 788699"/>
                <a:gd name="connsiteX1" fmla="*/ 445578 w 516735"/>
                <a:gd name="connsiteY1" fmla="*/ 455248 h 788699"/>
                <a:gd name="connsiteX2" fmla="*/ 404783 w 516735"/>
                <a:gd name="connsiteY2" fmla="*/ 466126 h 788699"/>
                <a:gd name="connsiteX3" fmla="*/ 385746 w 516735"/>
                <a:gd name="connsiteY3" fmla="*/ 479725 h 788699"/>
                <a:gd name="connsiteX4" fmla="*/ 388466 w 516735"/>
                <a:gd name="connsiteY4" fmla="*/ 512361 h 788699"/>
                <a:gd name="connsiteX5" fmla="*/ 388466 w 516735"/>
                <a:gd name="connsiteY5" fmla="*/ 544997 h 788699"/>
                <a:gd name="connsiteX6" fmla="*/ 388466 w 516735"/>
                <a:gd name="connsiteY6" fmla="*/ 566754 h 788699"/>
                <a:gd name="connsiteX7" fmla="*/ 391185 w 516735"/>
                <a:gd name="connsiteY7" fmla="*/ 632026 h 788699"/>
                <a:gd name="connsiteX8" fmla="*/ 393905 w 516735"/>
                <a:gd name="connsiteY8" fmla="*/ 683699 h 788699"/>
                <a:gd name="connsiteX9" fmla="*/ 377587 w 516735"/>
                <a:gd name="connsiteY9" fmla="*/ 724494 h 788699"/>
                <a:gd name="connsiteX10" fmla="*/ 361269 w 516735"/>
                <a:gd name="connsiteY10" fmla="*/ 719054 h 788699"/>
                <a:gd name="connsiteX11" fmla="*/ 353110 w 516735"/>
                <a:gd name="connsiteY11" fmla="*/ 702737 h 788699"/>
                <a:gd name="connsiteX12" fmla="*/ 350390 w 516735"/>
                <a:gd name="connsiteY12" fmla="*/ 686419 h 788699"/>
                <a:gd name="connsiteX13" fmla="*/ 353110 w 516735"/>
                <a:gd name="connsiteY13" fmla="*/ 659222 h 788699"/>
                <a:gd name="connsiteX14" fmla="*/ 353110 w 516735"/>
                <a:gd name="connsiteY14" fmla="*/ 656502 h 788699"/>
                <a:gd name="connsiteX15" fmla="*/ 317754 w 516735"/>
                <a:gd name="connsiteY15" fmla="*/ 708176 h 788699"/>
                <a:gd name="connsiteX16" fmla="*/ 241604 w 516735"/>
                <a:gd name="connsiteY16" fmla="*/ 735372 h 788699"/>
                <a:gd name="connsiteX17" fmla="*/ 187211 w 516735"/>
                <a:gd name="connsiteY17" fmla="*/ 727214 h 788699"/>
                <a:gd name="connsiteX18" fmla="*/ 135537 w 516735"/>
                <a:gd name="connsiteY18" fmla="*/ 694578 h 788699"/>
                <a:gd name="connsiteX19" fmla="*/ 86583 w 516735"/>
                <a:gd name="connsiteY19" fmla="*/ 621147 h 788699"/>
                <a:gd name="connsiteX20" fmla="*/ 67546 w 516735"/>
                <a:gd name="connsiteY20" fmla="*/ 555875 h 788699"/>
                <a:gd name="connsiteX21" fmla="*/ 59387 w 516735"/>
                <a:gd name="connsiteY21" fmla="*/ 509641 h 788699"/>
                <a:gd name="connsiteX22" fmla="*/ 59387 w 516735"/>
                <a:gd name="connsiteY22" fmla="*/ 468846 h 788699"/>
                <a:gd name="connsiteX23" fmla="*/ 86583 w 516735"/>
                <a:gd name="connsiteY23" fmla="*/ 302947 h 788699"/>
                <a:gd name="connsiteX24" fmla="*/ 108341 w 516735"/>
                <a:gd name="connsiteY24" fmla="*/ 224077 h 788699"/>
                <a:gd name="connsiteX25" fmla="*/ 146416 w 516735"/>
                <a:gd name="connsiteY25" fmla="*/ 145207 h 788699"/>
                <a:gd name="connsiteX26" fmla="*/ 198090 w 516735"/>
                <a:gd name="connsiteY26" fmla="*/ 85375 h 788699"/>
                <a:gd name="connsiteX27" fmla="*/ 228006 w 516735"/>
                <a:gd name="connsiteY27" fmla="*/ 69057 h 788699"/>
                <a:gd name="connsiteX28" fmla="*/ 268801 w 516735"/>
                <a:gd name="connsiteY28" fmla="*/ 58178 h 788699"/>
                <a:gd name="connsiteX29" fmla="*/ 274240 w 516735"/>
                <a:gd name="connsiteY29" fmla="*/ 58178 h 788699"/>
                <a:gd name="connsiteX30" fmla="*/ 295997 w 516735"/>
                <a:gd name="connsiteY30" fmla="*/ 60898 h 788699"/>
                <a:gd name="connsiteX31" fmla="*/ 331353 w 516735"/>
                <a:gd name="connsiteY31" fmla="*/ 71776 h 788699"/>
                <a:gd name="connsiteX32" fmla="*/ 350390 w 516735"/>
                <a:gd name="connsiteY32" fmla="*/ 93534 h 788699"/>
                <a:gd name="connsiteX33" fmla="*/ 353110 w 516735"/>
                <a:gd name="connsiteY33" fmla="*/ 74496 h 788699"/>
                <a:gd name="connsiteX34" fmla="*/ 358549 w 516735"/>
                <a:gd name="connsiteY34" fmla="*/ 63618 h 788699"/>
                <a:gd name="connsiteX35" fmla="*/ 366708 w 516735"/>
                <a:gd name="connsiteY35" fmla="*/ 58178 h 788699"/>
                <a:gd name="connsiteX36" fmla="*/ 374867 w 516735"/>
                <a:gd name="connsiteY36" fmla="*/ 63618 h 788699"/>
                <a:gd name="connsiteX37" fmla="*/ 383027 w 516735"/>
                <a:gd name="connsiteY37" fmla="*/ 82655 h 788699"/>
                <a:gd name="connsiteX38" fmla="*/ 385746 w 516735"/>
                <a:gd name="connsiteY38" fmla="*/ 126170 h 788699"/>
                <a:gd name="connsiteX39" fmla="*/ 388466 w 516735"/>
                <a:gd name="connsiteY39" fmla="*/ 186002 h 788699"/>
                <a:gd name="connsiteX40" fmla="*/ 391185 w 516735"/>
                <a:gd name="connsiteY40" fmla="*/ 237676 h 788699"/>
                <a:gd name="connsiteX41" fmla="*/ 374867 w 516735"/>
                <a:gd name="connsiteY41" fmla="*/ 278470 h 788699"/>
                <a:gd name="connsiteX42" fmla="*/ 358549 w 516735"/>
                <a:gd name="connsiteY42" fmla="*/ 273031 h 788699"/>
                <a:gd name="connsiteX43" fmla="*/ 350390 w 516735"/>
                <a:gd name="connsiteY43" fmla="*/ 256713 h 788699"/>
                <a:gd name="connsiteX44" fmla="*/ 347671 w 516735"/>
                <a:gd name="connsiteY44" fmla="*/ 240395 h 788699"/>
                <a:gd name="connsiteX45" fmla="*/ 347671 w 516735"/>
                <a:gd name="connsiteY45" fmla="*/ 213199 h 788699"/>
                <a:gd name="connsiteX46" fmla="*/ 344951 w 516735"/>
                <a:gd name="connsiteY46" fmla="*/ 194161 h 788699"/>
                <a:gd name="connsiteX47" fmla="*/ 339512 w 516735"/>
                <a:gd name="connsiteY47" fmla="*/ 150647 h 788699"/>
                <a:gd name="connsiteX48" fmla="*/ 323194 w 516735"/>
                <a:gd name="connsiteY48" fmla="*/ 112571 h 788699"/>
                <a:gd name="connsiteX49" fmla="*/ 293278 w 516735"/>
                <a:gd name="connsiteY49" fmla="*/ 101693 h 788699"/>
                <a:gd name="connsiteX50" fmla="*/ 263361 w 516735"/>
                <a:gd name="connsiteY50" fmla="*/ 120730 h 788699"/>
                <a:gd name="connsiteX51" fmla="*/ 241604 w 516735"/>
                <a:gd name="connsiteY51" fmla="*/ 153366 h 788699"/>
                <a:gd name="connsiteX52" fmla="*/ 233445 w 516735"/>
                <a:gd name="connsiteY52" fmla="*/ 194161 h 788699"/>
                <a:gd name="connsiteX53" fmla="*/ 225286 w 516735"/>
                <a:gd name="connsiteY53" fmla="*/ 232236 h 788699"/>
                <a:gd name="connsiteX54" fmla="*/ 217127 w 516735"/>
                <a:gd name="connsiteY54" fmla="*/ 275751 h 788699"/>
                <a:gd name="connsiteX55" fmla="*/ 211688 w 516735"/>
                <a:gd name="connsiteY55" fmla="*/ 316545 h 788699"/>
                <a:gd name="connsiteX56" fmla="*/ 206249 w 516735"/>
                <a:gd name="connsiteY56" fmla="*/ 354621 h 788699"/>
                <a:gd name="connsiteX57" fmla="*/ 200809 w 516735"/>
                <a:gd name="connsiteY57" fmla="*/ 398135 h 788699"/>
                <a:gd name="connsiteX58" fmla="*/ 195370 w 516735"/>
                <a:gd name="connsiteY58" fmla="*/ 438930 h 788699"/>
                <a:gd name="connsiteX59" fmla="*/ 192650 w 516735"/>
                <a:gd name="connsiteY59" fmla="*/ 474286 h 788699"/>
                <a:gd name="connsiteX60" fmla="*/ 195370 w 516735"/>
                <a:gd name="connsiteY60" fmla="*/ 525959 h 788699"/>
                <a:gd name="connsiteX61" fmla="*/ 208968 w 516735"/>
                <a:gd name="connsiteY61" fmla="*/ 596670 h 788699"/>
                <a:gd name="connsiteX62" fmla="*/ 214407 w 516735"/>
                <a:gd name="connsiteY62" fmla="*/ 623867 h 788699"/>
                <a:gd name="connsiteX63" fmla="*/ 228006 w 516735"/>
                <a:gd name="connsiteY63" fmla="*/ 656502 h 788699"/>
                <a:gd name="connsiteX64" fmla="*/ 271520 w 516735"/>
                <a:gd name="connsiteY64" fmla="*/ 689138 h 788699"/>
                <a:gd name="connsiteX65" fmla="*/ 306876 w 516735"/>
                <a:gd name="connsiteY65" fmla="*/ 664661 h 788699"/>
                <a:gd name="connsiteX66" fmla="*/ 331353 w 516735"/>
                <a:gd name="connsiteY66" fmla="*/ 602109 h 788699"/>
                <a:gd name="connsiteX67" fmla="*/ 336792 w 516735"/>
                <a:gd name="connsiteY67" fmla="*/ 544997 h 788699"/>
                <a:gd name="connsiteX68" fmla="*/ 336792 w 516735"/>
                <a:gd name="connsiteY68" fmla="*/ 498762 h 788699"/>
                <a:gd name="connsiteX69" fmla="*/ 336792 w 516735"/>
                <a:gd name="connsiteY69" fmla="*/ 490603 h 788699"/>
                <a:gd name="connsiteX70" fmla="*/ 320474 w 516735"/>
                <a:gd name="connsiteY70" fmla="*/ 477005 h 788699"/>
                <a:gd name="connsiteX71" fmla="*/ 282399 w 516735"/>
                <a:gd name="connsiteY71" fmla="*/ 479725 h 788699"/>
                <a:gd name="connsiteX72" fmla="*/ 252483 w 516735"/>
                <a:gd name="connsiteY72" fmla="*/ 474286 h 788699"/>
                <a:gd name="connsiteX73" fmla="*/ 247044 w 516735"/>
                <a:gd name="connsiteY73" fmla="*/ 466126 h 788699"/>
                <a:gd name="connsiteX74" fmla="*/ 249763 w 516735"/>
                <a:gd name="connsiteY74" fmla="*/ 457968 h 788699"/>
                <a:gd name="connsiteX75" fmla="*/ 268801 w 516735"/>
                <a:gd name="connsiteY75" fmla="*/ 447089 h 788699"/>
                <a:gd name="connsiteX76" fmla="*/ 312315 w 516735"/>
                <a:gd name="connsiteY76" fmla="*/ 436210 h 788699"/>
                <a:gd name="connsiteX77" fmla="*/ 353110 w 516735"/>
                <a:gd name="connsiteY77" fmla="*/ 430771 h 788699"/>
                <a:gd name="connsiteX78" fmla="*/ 385746 w 516735"/>
                <a:gd name="connsiteY78" fmla="*/ 430771 h 788699"/>
                <a:gd name="connsiteX79" fmla="*/ 437420 w 516735"/>
                <a:gd name="connsiteY79" fmla="*/ 428051 h 788699"/>
                <a:gd name="connsiteX80" fmla="*/ 464616 w 516735"/>
                <a:gd name="connsiteY80" fmla="*/ 436210 h 7886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</a:cxnLst>
              <a:rect l="l" t="t" r="r" b="b"/>
              <a:pathLst>
                <a:path w="516735" h="788699">
                  <a:moveTo>
                    <a:pt x="464616" y="436210"/>
                  </a:moveTo>
                  <a:cubicBezTo>
                    <a:pt x="464616" y="447089"/>
                    <a:pt x="453738" y="452528"/>
                    <a:pt x="445578" y="455248"/>
                  </a:cubicBezTo>
                  <a:cubicBezTo>
                    <a:pt x="434700" y="460687"/>
                    <a:pt x="415662" y="463407"/>
                    <a:pt x="404783" y="466126"/>
                  </a:cubicBezTo>
                  <a:cubicBezTo>
                    <a:pt x="393905" y="466126"/>
                    <a:pt x="385746" y="468846"/>
                    <a:pt x="385746" y="479725"/>
                  </a:cubicBezTo>
                  <a:cubicBezTo>
                    <a:pt x="385746" y="487884"/>
                    <a:pt x="388466" y="506921"/>
                    <a:pt x="388466" y="512361"/>
                  </a:cubicBezTo>
                  <a:cubicBezTo>
                    <a:pt x="388466" y="515080"/>
                    <a:pt x="388466" y="539557"/>
                    <a:pt x="388466" y="544997"/>
                  </a:cubicBezTo>
                  <a:cubicBezTo>
                    <a:pt x="388466" y="550436"/>
                    <a:pt x="388466" y="558595"/>
                    <a:pt x="388466" y="566754"/>
                  </a:cubicBezTo>
                  <a:cubicBezTo>
                    <a:pt x="388466" y="591231"/>
                    <a:pt x="388466" y="621147"/>
                    <a:pt x="391185" y="632026"/>
                  </a:cubicBezTo>
                  <a:cubicBezTo>
                    <a:pt x="393905" y="653783"/>
                    <a:pt x="393905" y="661942"/>
                    <a:pt x="393905" y="683699"/>
                  </a:cubicBezTo>
                  <a:cubicBezTo>
                    <a:pt x="393905" y="694578"/>
                    <a:pt x="393905" y="724494"/>
                    <a:pt x="377587" y="724494"/>
                  </a:cubicBezTo>
                  <a:cubicBezTo>
                    <a:pt x="369428" y="724494"/>
                    <a:pt x="366708" y="721774"/>
                    <a:pt x="361269" y="719054"/>
                  </a:cubicBezTo>
                  <a:cubicBezTo>
                    <a:pt x="355830" y="716335"/>
                    <a:pt x="353110" y="708176"/>
                    <a:pt x="353110" y="702737"/>
                  </a:cubicBezTo>
                  <a:cubicBezTo>
                    <a:pt x="350390" y="694578"/>
                    <a:pt x="350390" y="689138"/>
                    <a:pt x="350390" y="686419"/>
                  </a:cubicBezTo>
                  <a:cubicBezTo>
                    <a:pt x="350390" y="678260"/>
                    <a:pt x="353110" y="672820"/>
                    <a:pt x="353110" y="659222"/>
                  </a:cubicBezTo>
                  <a:lnTo>
                    <a:pt x="353110" y="656502"/>
                  </a:lnTo>
                  <a:cubicBezTo>
                    <a:pt x="347671" y="675540"/>
                    <a:pt x="334073" y="694578"/>
                    <a:pt x="317754" y="708176"/>
                  </a:cubicBezTo>
                  <a:cubicBezTo>
                    <a:pt x="293278" y="727214"/>
                    <a:pt x="274240" y="735372"/>
                    <a:pt x="241604" y="735372"/>
                  </a:cubicBezTo>
                  <a:cubicBezTo>
                    <a:pt x="222566" y="735372"/>
                    <a:pt x="203529" y="732653"/>
                    <a:pt x="187211" y="727214"/>
                  </a:cubicBezTo>
                  <a:cubicBezTo>
                    <a:pt x="165454" y="719054"/>
                    <a:pt x="149136" y="708176"/>
                    <a:pt x="135537" y="694578"/>
                  </a:cubicBezTo>
                  <a:cubicBezTo>
                    <a:pt x="113780" y="672820"/>
                    <a:pt x="100182" y="648343"/>
                    <a:pt x="86583" y="621147"/>
                  </a:cubicBezTo>
                  <a:cubicBezTo>
                    <a:pt x="75705" y="599390"/>
                    <a:pt x="70266" y="580352"/>
                    <a:pt x="67546" y="555875"/>
                  </a:cubicBezTo>
                  <a:cubicBezTo>
                    <a:pt x="64826" y="539557"/>
                    <a:pt x="62107" y="525959"/>
                    <a:pt x="59387" y="509641"/>
                  </a:cubicBezTo>
                  <a:cubicBezTo>
                    <a:pt x="56667" y="493323"/>
                    <a:pt x="59387" y="485164"/>
                    <a:pt x="59387" y="468846"/>
                  </a:cubicBezTo>
                  <a:cubicBezTo>
                    <a:pt x="59387" y="414453"/>
                    <a:pt x="72985" y="362780"/>
                    <a:pt x="86583" y="302947"/>
                  </a:cubicBezTo>
                  <a:cubicBezTo>
                    <a:pt x="92023" y="275751"/>
                    <a:pt x="100182" y="248554"/>
                    <a:pt x="108341" y="224077"/>
                  </a:cubicBezTo>
                  <a:cubicBezTo>
                    <a:pt x="116500" y="196881"/>
                    <a:pt x="130098" y="169684"/>
                    <a:pt x="146416" y="145207"/>
                  </a:cubicBezTo>
                  <a:cubicBezTo>
                    <a:pt x="160014" y="123450"/>
                    <a:pt x="176332" y="101693"/>
                    <a:pt x="198090" y="85375"/>
                  </a:cubicBezTo>
                  <a:cubicBezTo>
                    <a:pt x="206249" y="77216"/>
                    <a:pt x="217127" y="71776"/>
                    <a:pt x="228006" y="69057"/>
                  </a:cubicBezTo>
                  <a:cubicBezTo>
                    <a:pt x="241604" y="63618"/>
                    <a:pt x="255202" y="58178"/>
                    <a:pt x="268801" y="58178"/>
                  </a:cubicBezTo>
                  <a:cubicBezTo>
                    <a:pt x="271520" y="58178"/>
                    <a:pt x="274240" y="58178"/>
                    <a:pt x="274240" y="58178"/>
                  </a:cubicBezTo>
                  <a:cubicBezTo>
                    <a:pt x="279679" y="58178"/>
                    <a:pt x="285119" y="58178"/>
                    <a:pt x="295997" y="60898"/>
                  </a:cubicBezTo>
                  <a:cubicBezTo>
                    <a:pt x="309595" y="63618"/>
                    <a:pt x="320474" y="66337"/>
                    <a:pt x="331353" y="71776"/>
                  </a:cubicBezTo>
                  <a:cubicBezTo>
                    <a:pt x="339512" y="77216"/>
                    <a:pt x="347671" y="85375"/>
                    <a:pt x="350390" y="93534"/>
                  </a:cubicBezTo>
                  <a:cubicBezTo>
                    <a:pt x="350390" y="88095"/>
                    <a:pt x="353110" y="79936"/>
                    <a:pt x="353110" y="74496"/>
                  </a:cubicBezTo>
                  <a:cubicBezTo>
                    <a:pt x="355830" y="71776"/>
                    <a:pt x="355830" y="69057"/>
                    <a:pt x="358549" y="63618"/>
                  </a:cubicBezTo>
                  <a:cubicBezTo>
                    <a:pt x="361269" y="60898"/>
                    <a:pt x="363989" y="58178"/>
                    <a:pt x="366708" y="58178"/>
                  </a:cubicBezTo>
                  <a:cubicBezTo>
                    <a:pt x="369428" y="58178"/>
                    <a:pt x="372148" y="60898"/>
                    <a:pt x="374867" y="63618"/>
                  </a:cubicBezTo>
                  <a:cubicBezTo>
                    <a:pt x="377587" y="69057"/>
                    <a:pt x="380307" y="77216"/>
                    <a:pt x="383027" y="82655"/>
                  </a:cubicBezTo>
                  <a:cubicBezTo>
                    <a:pt x="383027" y="90814"/>
                    <a:pt x="385746" y="107132"/>
                    <a:pt x="385746" y="126170"/>
                  </a:cubicBezTo>
                  <a:cubicBezTo>
                    <a:pt x="385746" y="150647"/>
                    <a:pt x="385746" y="177843"/>
                    <a:pt x="388466" y="186002"/>
                  </a:cubicBezTo>
                  <a:cubicBezTo>
                    <a:pt x="391185" y="207759"/>
                    <a:pt x="391185" y="215918"/>
                    <a:pt x="391185" y="237676"/>
                  </a:cubicBezTo>
                  <a:cubicBezTo>
                    <a:pt x="391185" y="248554"/>
                    <a:pt x="391185" y="278470"/>
                    <a:pt x="374867" y="278470"/>
                  </a:cubicBezTo>
                  <a:cubicBezTo>
                    <a:pt x="366708" y="278470"/>
                    <a:pt x="363989" y="275751"/>
                    <a:pt x="358549" y="273031"/>
                  </a:cubicBezTo>
                  <a:cubicBezTo>
                    <a:pt x="353110" y="270311"/>
                    <a:pt x="350390" y="262152"/>
                    <a:pt x="350390" y="256713"/>
                  </a:cubicBezTo>
                  <a:cubicBezTo>
                    <a:pt x="350390" y="251274"/>
                    <a:pt x="347671" y="245834"/>
                    <a:pt x="347671" y="240395"/>
                  </a:cubicBezTo>
                  <a:cubicBezTo>
                    <a:pt x="347671" y="232236"/>
                    <a:pt x="347671" y="224077"/>
                    <a:pt x="347671" y="213199"/>
                  </a:cubicBezTo>
                  <a:cubicBezTo>
                    <a:pt x="347671" y="207759"/>
                    <a:pt x="347671" y="199600"/>
                    <a:pt x="344951" y="194161"/>
                  </a:cubicBezTo>
                  <a:cubicBezTo>
                    <a:pt x="342232" y="180563"/>
                    <a:pt x="342232" y="164245"/>
                    <a:pt x="339512" y="150647"/>
                  </a:cubicBezTo>
                  <a:cubicBezTo>
                    <a:pt x="336792" y="137048"/>
                    <a:pt x="331353" y="123450"/>
                    <a:pt x="323194" y="112571"/>
                  </a:cubicBezTo>
                  <a:cubicBezTo>
                    <a:pt x="317754" y="104412"/>
                    <a:pt x="304156" y="101693"/>
                    <a:pt x="293278" y="101693"/>
                  </a:cubicBezTo>
                  <a:cubicBezTo>
                    <a:pt x="279679" y="101693"/>
                    <a:pt x="271520" y="109852"/>
                    <a:pt x="263361" y="120730"/>
                  </a:cubicBezTo>
                  <a:cubicBezTo>
                    <a:pt x="257922" y="131609"/>
                    <a:pt x="247044" y="139768"/>
                    <a:pt x="241604" y="153366"/>
                  </a:cubicBezTo>
                  <a:cubicBezTo>
                    <a:pt x="236165" y="166964"/>
                    <a:pt x="233445" y="180563"/>
                    <a:pt x="233445" y="194161"/>
                  </a:cubicBezTo>
                  <a:cubicBezTo>
                    <a:pt x="233445" y="207759"/>
                    <a:pt x="230725" y="218638"/>
                    <a:pt x="225286" y="232236"/>
                  </a:cubicBezTo>
                  <a:cubicBezTo>
                    <a:pt x="219847" y="245834"/>
                    <a:pt x="219847" y="262152"/>
                    <a:pt x="217127" y="275751"/>
                  </a:cubicBezTo>
                  <a:cubicBezTo>
                    <a:pt x="214407" y="289349"/>
                    <a:pt x="214407" y="302947"/>
                    <a:pt x="211688" y="316545"/>
                  </a:cubicBezTo>
                  <a:cubicBezTo>
                    <a:pt x="211688" y="330144"/>
                    <a:pt x="206249" y="341022"/>
                    <a:pt x="206249" y="354621"/>
                  </a:cubicBezTo>
                  <a:cubicBezTo>
                    <a:pt x="203529" y="368219"/>
                    <a:pt x="203529" y="381817"/>
                    <a:pt x="200809" y="398135"/>
                  </a:cubicBezTo>
                  <a:cubicBezTo>
                    <a:pt x="198090" y="411733"/>
                    <a:pt x="198090" y="425332"/>
                    <a:pt x="195370" y="438930"/>
                  </a:cubicBezTo>
                  <a:cubicBezTo>
                    <a:pt x="195370" y="449809"/>
                    <a:pt x="192650" y="463407"/>
                    <a:pt x="192650" y="474286"/>
                  </a:cubicBezTo>
                  <a:cubicBezTo>
                    <a:pt x="192650" y="490603"/>
                    <a:pt x="195370" y="509641"/>
                    <a:pt x="195370" y="525959"/>
                  </a:cubicBezTo>
                  <a:cubicBezTo>
                    <a:pt x="195370" y="550436"/>
                    <a:pt x="203529" y="572193"/>
                    <a:pt x="208968" y="596670"/>
                  </a:cubicBezTo>
                  <a:cubicBezTo>
                    <a:pt x="211688" y="604829"/>
                    <a:pt x="211688" y="615708"/>
                    <a:pt x="214407" y="623867"/>
                  </a:cubicBezTo>
                  <a:cubicBezTo>
                    <a:pt x="217127" y="634745"/>
                    <a:pt x="222566" y="645624"/>
                    <a:pt x="228006" y="656502"/>
                  </a:cubicBezTo>
                  <a:cubicBezTo>
                    <a:pt x="236165" y="670101"/>
                    <a:pt x="252483" y="689138"/>
                    <a:pt x="271520" y="689138"/>
                  </a:cubicBezTo>
                  <a:cubicBezTo>
                    <a:pt x="287838" y="689138"/>
                    <a:pt x="298717" y="675540"/>
                    <a:pt x="306876" y="664661"/>
                  </a:cubicBezTo>
                  <a:cubicBezTo>
                    <a:pt x="320474" y="645624"/>
                    <a:pt x="325914" y="623867"/>
                    <a:pt x="331353" y="602109"/>
                  </a:cubicBezTo>
                  <a:cubicBezTo>
                    <a:pt x="334073" y="583072"/>
                    <a:pt x="336792" y="564034"/>
                    <a:pt x="336792" y="544997"/>
                  </a:cubicBezTo>
                  <a:cubicBezTo>
                    <a:pt x="336792" y="531398"/>
                    <a:pt x="336792" y="512361"/>
                    <a:pt x="336792" y="498762"/>
                  </a:cubicBezTo>
                  <a:cubicBezTo>
                    <a:pt x="336792" y="496043"/>
                    <a:pt x="336792" y="493323"/>
                    <a:pt x="336792" y="490603"/>
                  </a:cubicBezTo>
                  <a:cubicBezTo>
                    <a:pt x="336792" y="479725"/>
                    <a:pt x="336792" y="477005"/>
                    <a:pt x="320474" y="477005"/>
                  </a:cubicBezTo>
                  <a:cubicBezTo>
                    <a:pt x="309595" y="477005"/>
                    <a:pt x="295997" y="479725"/>
                    <a:pt x="282399" y="479725"/>
                  </a:cubicBezTo>
                  <a:cubicBezTo>
                    <a:pt x="271520" y="479725"/>
                    <a:pt x="260642" y="479725"/>
                    <a:pt x="252483" y="474286"/>
                  </a:cubicBezTo>
                  <a:cubicBezTo>
                    <a:pt x="249763" y="471566"/>
                    <a:pt x="247044" y="468846"/>
                    <a:pt x="247044" y="466126"/>
                  </a:cubicBezTo>
                  <a:cubicBezTo>
                    <a:pt x="247044" y="463407"/>
                    <a:pt x="247044" y="460687"/>
                    <a:pt x="249763" y="457968"/>
                  </a:cubicBezTo>
                  <a:cubicBezTo>
                    <a:pt x="255202" y="452528"/>
                    <a:pt x="260642" y="449809"/>
                    <a:pt x="268801" y="447089"/>
                  </a:cubicBezTo>
                  <a:cubicBezTo>
                    <a:pt x="282399" y="441650"/>
                    <a:pt x="295997" y="438930"/>
                    <a:pt x="312315" y="436210"/>
                  </a:cubicBezTo>
                  <a:cubicBezTo>
                    <a:pt x="325914" y="433491"/>
                    <a:pt x="339512" y="433491"/>
                    <a:pt x="353110" y="430771"/>
                  </a:cubicBezTo>
                  <a:cubicBezTo>
                    <a:pt x="363989" y="430771"/>
                    <a:pt x="374867" y="430771"/>
                    <a:pt x="385746" y="430771"/>
                  </a:cubicBezTo>
                  <a:cubicBezTo>
                    <a:pt x="402064" y="430771"/>
                    <a:pt x="426541" y="428051"/>
                    <a:pt x="437420" y="428051"/>
                  </a:cubicBezTo>
                  <a:cubicBezTo>
                    <a:pt x="451018" y="422612"/>
                    <a:pt x="464616" y="425332"/>
                    <a:pt x="464616" y="436210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9" name="Freeform: Shape 48">
              <a:extLst>
                <a:ext uri="{FF2B5EF4-FFF2-40B4-BE49-F238E27FC236}">
                  <a16:creationId xmlns:a16="http://schemas.microsoft.com/office/drawing/2014/main" id="{6C6EC568-17DB-458F-9492-F1CC33DF1A00}"/>
                </a:ext>
              </a:extLst>
            </p:cNvPr>
            <p:cNvSpPr/>
            <p:nvPr/>
          </p:nvSpPr>
          <p:spPr>
            <a:xfrm>
              <a:off x="9053923" y="4178559"/>
              <a:ext cx="625521" cy="788700"/>
            </a:xfrm>
            <a:custGeom>
              <a:avLst/>
              <a:gdLst>
                <a:gd name="connsiteX0" fmla="*/ 536838 w 625521"/>
                <a:gd name="connsiteY0" fmla="*/ 680979 h 788699"/>
                <a:gd name="connsiteX1" fmla="*/ 574913 w 625521"/>
                <a:gd name="connsiteY1" fmla="*/ 697297 h 788699"/>
                <a:gd name="connsiteX2" fmla="*/ 566755 w 625521"/>
                <a:gd name="connsiteY2" fmla="*/ 713615 h 788699"/>
                <a:gd name="connsiteX3" fmla="*/ 550437 w 625521"/>
                <a:gd name="connsiteY3" fmla="*/ 721774 h 788699"/>
                <a:gd name="connsiteX4" fmla="*/ 528680 w 625521"/>
                <a:gd name="connsiteY4" fmla="*/ 724494 h 788699"/>
                <a:gd name="connsiteX5" fmla="*/ 417174 w 625521"/>
                <a:gd name="connsiteY5" fmla="*/ 724494 h 788699"/>
                <a:gd name="connsiteX6" fmla="*/ 398136 w 625521"/>
                <a:gd name="connsiteY6" fmla="*/ 724494 h 788699"/>
                <a:gd name="connsiteX7" fmla="*/ 373659 w 625521"/>
                <a:gd name="connsiteY7" fmla="*/ 724494 h 788699"/>
                <a:gd name="connsiteX8" fmla="*/ 346462 w 625521"/>
                <a:gd name="connsiteY8" fmla="*/ 719054 h 788699"/>
                <a:gd name="connsiteX9" fmla="*/ 330144 w 625521"/>
                <a:gd name="connsiteY9" fmla="*/ 702737 h 788699"/>
                <a:gd name="connsiteX10" fmla="*/ 335584 w 625521"/>
                <a:gd name="connsiteY10" fmla="*/ 694578 h 788699"/>
                <a:gd name="connsiteX11" fmla="*/ 357341 w 625521"/>
                <a:gd name="connsiteY11" fmla="*/ 686419 h 788699"/>
                <a:gd name="connsiteX12" fmla="*/ 395416 w 625521"/>
                <a:gd name="connsiteY12" fmla="*/ 680979 h 788699"/>
                <a:gd name="connsiteX13" fmla="*/ 381817 w 625521"/>
                <a:gd name="connsiteY13" fmla="*/ 656502 h 788699"/>
                <a:gd name="connsiteX14" fmla="*/ 379098 w 625521"/>
                <a:gd name="connsiteY14" fmla="*/ 585791 h 788699"/>
                <a:gd name="connsiteX15" fmla="*/ 379098 w 625521"/>
                <a:gd name="connsiteY15" fmla="*/ 517800 h 788699"/>
                <a:gd name="connsiteX16" fmla="*/ 379098 w 625521"/>
                <a:gd name="connsiteY16" fmla="*/ 474286 h 788699"/>
                <a:gd name="connsiteX17" fmla="*/ 379098 w 625521"/>
                <a:gd name="connsiteY17" fmla="*/ 430771 h 788699"/>
                <a:gd name="connsiteX18" fmla="*/ 381817 w 625521"/>
                <a:gd name="connsiteY18" fmla="*/ 411733 h 788699"/>
                <a:gd name="connsiteX19" fmla="*/ 379098 w 625521"/>
                <a:gd name="connsiteY19" fmla="*/ 400855 h 788699"/>
                <a:gd name="connsiteX20" fmla="*/ 370939 w 625521"/>
                <a:gd name="connsiteY20" fmla="*/ 398135 h 788699"/>
                <a:gd name="connsiteX21" fmla="*/ 338304 w 625521"/>
                <a:gd name="connsiteY21" fmla="*/ 400855 h 788699"/>
                <a:gd name="connsiteX22" fmla="*/ 289349 w 625521"/>
                <a:gd name="connsiteY22" fmla="*/ 403575 h 788699"/>
                <a:gd name="connsiteX23" fmla="*/ 264872 w 625521"/>
                <a:gd name="connsiteY23" fmla="*/ 400855 h 788699"/>
                <a:gd name="connsiteX24" fmla="*/ 259433 w 625521"/>
                <a:gd name="connsiteY24" fmla="*/ 406294 h 788699"/>
                <a:gd name="connsiteX25" fmla="*/ 259433 w 625521"/>
                <a:gd name="connsiteY25" fmla="*/ 425332 h 788699"/>
                <a:gd name="connsiteX26" fmla="*/ 259433 w 625521"/>
                <a:gd name="connsiteY26" fmla="*/ 449809 h 788699"/>
                <a:gd name="connsiteX27" fmla="*/ 259433 w 625521"/>
                <a:gd name="connsiteY27" fmla="*/ 471566 h 788699"/>
                <a:gd name="connsiteX28" fmla="*/ 259433 w 625521"/>
                <a:gd name="connsiteY28" fmla="*/ 504202 h 788699"/>
                <a:gd name="connsiteX29" fmla="*/ 259433 w 625521"/>
                <a:gd name="connsiteY29" fmla="*/ 509641 h 788699"/>
                <a:gd name="connsiteX30" fmla="*/ 256714 w 625521"/>
                <a:gd name="connsiteY30" fmla="*/ 542277 h 788699"/>
                <a:gd name="connsiteX31" fmla="*/ 256714 w 625521"/>
                <a:gd name="connsiteY31" fmla="*/ 577632 h 788699"/>
                <a:gd name="connsiteX32" fmla="*/ 256714 w 625521"/>
                <a:gd name="connsiteY32" fmla="*/ 612988 h 788699"/>
                <a:gd name="connsiteX33" fmla="*/ 253994 w 625521"/>
                <a:gd name="connsiteY33" fmla="*/ 656502 h 788699"/>
                <a:gd name="connsiteX34" fmla="*/ 256714 w 625521"/>
                <a:gd name="connsiteY34" fmla="*/ 678260 h 788699"/>
                <a:gd name="connsiteX35" fmla="*/ 286629 w 625521"/>
                <a:gd name="connsiteY35" fmla="*/ 694578 h 788699"/>
                <a:gd name="connsiteX36" fmla="*/ 281191 w 625521"/>
                <a:gd name="connsiteY36" fmla="*/ 710895 h 788699"/>
                <a:gd name="connsiteX37" fmla="*/ 264872 w 625521"/>
                <a:gd name="connsiteY37" fmla="*/ 719054 h 788699"/>
                <a:gd name="connsiteX38" fmla="*/ 243116 w 625521"/>
                <a:gd name="connsiteY38" fmla="*/ 721774 h 788699"/>
                <a:gd name="connsiteX39" fmla="*/ 243116 w 625521"/>
                <a:gd name="connsiteY39" fmla="*/ 721774 h 788699"/>
                <a:gd name="connsiteX40" fmla="*/ 232236 w 625521"/>
                <a:gd name="connsiteY40" fmla="*/ 727214 h 788699"/>
                <a:gd name="connsiteX41" fmla="*/ 224078 w 625521"/>
                <a:gd name="connsiteY41" fmla="*/ 735372 h 788699"/>
                <a:gd name="connsiteX42" fmla="*/ 213199 w 625521"/>
                <a:gd name="connsiteY42" fmla="*/ 738092 h 788699"/>
                <a:gd name="connsiteX43" fmla="*/ 183283 w 625521"/>
                <a:gd name="connsiteY43" fmla="*/ 727214 h 788699"/>
                <a:gd name="connsiteX44" fmla="*/ 175124 w 625521"/>
                <a:gd name="connsiteY44" fmla="*/ 719054 h 788699"/>
                <a:gd name="connsiteX45" fmla="*/ 145208 w 625521"/>
                <a:gd name="connsiteY45" fmla="*/ 719054 h 788699"/>
                <a:gd name="connsiteX46" fmla="*/ 126170 w 625521"/>
                <a:gd name="connsiteY46" fmla="*/ 719054 h 788699"/>
                <a:gd name="connsiteX47" fmla="*/ 101693 w 625521"/>
                <a:gd name="connsiteY47" fmla="*/ 719054 h 788699"/>
                <a:gd name="connsiteX48" fmla="*/ 74496 w 625521"/>
                <a:gd name="connsiteY48" fmla="*/ 713615 h 788699"/>
                <a:gd name="connsiteX49" fmla="*/ 58178 w 625521"/>
                <a:gd name="connsiteY49" fmla="*/ 697297 h 788699"/>
                <a:gd name="connsiteX50" fmla="*/ 63618 w 625521"/>
                <a:gd name="connsiteY50" fmla="*/ 689138 h 788699"/>
                <a:gd name="connsiteX51" fmla="*/ 85375 w 625521"/>
                <a:gd name="connsiteY51" fmla="*/ 680979 h 788699"/>
                <a:gd name="connsiteX52" fmla="*/ 131609 w 625521"/>
                <a:gd name="connsiteY52" fmla="*/ 675540 h 788699"/>
                <a:gd name="connsiteX53" fmla="*/ 131609 w 625521"/>
                <a:gd name="connsiteY53" fmla="*/ 667381 h 788699"/>
                <a:gd name="connsiteX54" fmla="*/ 131609 w 625521"/>
                <a:gd name="connsiteY54" fmla="*/ 651063 h 788699"/>
                <a:gd name="connsiteX55" fmla="*/ 131609 w 625521"/>
                <a:gd name="connsiteY55" fmla="*/ 618427 h 788699"/>
                <a:gd name="connsiteX56" fmla="*/ 131609 w 625521"/>
                <a:gd name="connsiteY56" fmla="*/ 580352 h 788699"/>
                <a:gd name="connsiteX57" fmla="*/ 131609 w 625521"/>
                <a:gd name="connsiteY57" fmla="*/ 531398 h 788699"/>
                <a:gd name="connsiteX58" fmla="*/ 131609 w 625521"/>
                <a:gd name="connsiteY58" fmla="*/ 466126 h 788699"/>
                <a:gd name="connsiteX59" fmla="*/ 131609 w 625521"/>
                <a:gd name="connsiteY59" fmla="*/ 422612 h 788699"/>
                <a:gd name="connsiteX60" fmla="*/ 131609 w 625521"/>
                <a:gd name="connsiteY60" fmla="*/ 411733 h 788699"/>
                <a:gd name="connsiteX61" fmla="*/ 131609 w 625521"/>
                <a:gd name="connsiteY61" fmla="*/ 398135 h 788699"/>
                <a:gd name="connsiteX62" fmla="*/ 126170 w 625521"/>
                <a:gd name="connsiteY62" fmla="*/ 389976 h 788699"/>
                <a:gd name="connsiteX63" fmla="*/ 101693 w 625521"/>
                <a:gd name="connsiteY63" fmla="*/ 387257 h 788699"/>
                <a:gd name="connsiteX64" fmla="*/ 77216 w 625521"/>
                <a:gd name="connsiteY64" fmla="*/ 376378 h 788699"/>
                <a:gd name="connsiteX65" fmla="*/ 82655 w 625521"/>
                <a:gd name="connsiteY65" fmla="*/ 368219 h 788699"/>
                <a:gd name="connsiteX66" fmla="*/ 98973 w 625521"/>
                <a:gd name="connsiteY66" fmla="*/ 360060 h 788699"/>
                <a:gd name="connsiteX67" fmla="*/ 118011 w 625521"/>
                <a:gd name="connsiteY67" fmla="*/ 357340 h 788699"/>
                <a:gd name="connsiteX68" fmla="*/ 131609 w 625521"/>
                <a:gd name="connsiteY68" fmla="*/ 351901 h 788699"/>
                <a:gd name="connsiteX69" fmla="*/ 131609 w 625521"/>
                <a:gd name="connsiteY69" fmla="*/ 343742 h 788699"/>
                <a:gd name="connsiteX70" fmla="*/ 131609 w 625521"/>
                <a:gd name="connsiteY70" fmla="*/ 270311 h 788699"/>
                <a:gd name="connsiteX71" fmla="*/ 137048 w 625521"/>
                <a:gd name="connsiteY71" fmla="*/ 145207 h 788699"/>
                <a:gd name="connsiteX72" fmla="*/ 139768 w 625521"/>
                <a:gd name="connsiteY72" fmla="*/ 123450 h 788699"/>
                <a:gd name="connsiteX73" fmla="*/ 123450 w 625521"/>
                <a:gd name="connsiteY73" fmla="*/ 123450 h 788699"/>
                <a:gd name="connsiteX74" fmla="*/ 118011 w 625521"/>
                <a:gd name="connsiteY74" fmla="*/ 123450 h 788699"/>
                <a:gd name="connsiteX75" fmla="*/ 101693 w 625521"/>
                <a:gd name="connsiteY75" fmla="*/ 123450 h 788699"/>
                <a:gd name="connsiteX76" fmla="*/ 74496 w 625521"/>
                <a:gd name="connsiteY76" fmla="*/ 118011 h 788699"/>
                <a:gd name="connsiteX77" fmla="*/ 58178 w 625521"/>
                <a:gd name="connsiteY77" fmla="*/ 101693 h 788699"/>
                <a:gd name="connsiteX78" fmla="*/ 63618 w 625521"/>
                <a:gd name="connsiteY78" fmla="*/ 93534 h 788699"/>
                <a:gd name="connsiteX79" fmla="*/ 85375 w 625521"/>
                <a:gd name="connsiteY79" fmla="*/ 85375 h 788699"/>
                <a:gd name="connsiteX80" fmla="*/ 137048 w 625521"/>
                <a:gd name="connsiteY80" fmla="*/ 82655 h 788699"/>
                <a:gd name="connsiteX81" fmla="*/ 147927 w 625521"/>
                <a:gd name="connsiteY81" fmla="*/ 82655 h 788699"/>
                <a:gd name="connsiteX82" fmla="*/ 186003 w 625521"/>
                <a:gd name="connsiteY82" fmla="*/ 58178 h 788699"/>
                <a:gd name="connsiteX83" fmla="*/ 226797 w 625521"/>
                <a:gd name="connsiteY83" fmla="*/ 79936 h 788699"/>
                <a:gd name="connsiteX84" fmla="*/ 253994 w 625521"/>
                <a:gd name="connsiteY84" fmla="*/ 79936 h 788699"/>
                <a:gd name="connsiteX85" fmla="*/ 294789 w 625521"/>
                <a:gd name="connsiteY85" fmla="*/ 96253 h 788699"/>
                <a:gd name="connsiteX86" fmla="*/ 283910 w 625521"/>
                <a:gd name="connsiteY86" fmla="*/ 112571 h 788699"/>
                <a:gd name="connsiteX87" fmla="*/ 267592 w 625521"/>
                <a:gd name="connsiteY87" fmla="*/ 120730 h 788699"/>
                <a:gd name="connsiteX88" fmla="*/ 245835 w 625521"/>
                <a:gd name="connsiteY88" fmla="*/ 123450 h 788699"/>
                <a:gd name="connsiteX89" fmla="*/ 237676 w 625521"/>
                <a:gd name="connsiteY89" fmla="*/ 123450 h 788699"/>
                <a:gd name="connsiteX90" fmla="*/ 240396 w 625521"/>
                <a:gd name="connsiteY90" fmla="*/ 128889 h 788699"/>
                <a:gd name="connsiteX91" fmla="*/ 251274 w 625521"/>
                <a:gd name="connsiteY91" fmla="*/ 177843 h 788699"/>
                <a:gd name="connsiteX92" fmla="*/ 256714 w 625521"/>
                <a:gd name="connsiteY92" fmla="*/ 226797 h 788699"/>
                <a:gd name="connsiteX93" fmla="*/ 262153 w 625521"/>
                <a:gd name="connsiteY93" fmla="*/ 273031 h 788699"/>
                <a:gd name="connsiteX94" fmla="*/ 262153 w 625521"/>
                <a:gd name="connsiteY94" fmla="*/ 289349 h 788699"/>
                <a:gd name="connsiteX95" fmla="*/ 262153 w 625521"/>
                <a:gd name="connsiteY95" fmla="*/ 297508 h 788699"/>
                <a:gd name="connsiteX96" fmla="*/ 264872 w 625521"/>
                <a:gd name="connsiteY96" fmla="*/ 321985 h 788699"/>
                <a:gd name="connsiteX97" fmla="*/ 270312 w 625521"/>
                <a:gd name="connsiteY97" fmla="*/ 335583 h 788699"/>
                <a:gd name="connsiteX98" fmla="*/ 270312 w 625521"/>
                <a:gd name="connsiteY98" fmla="*/ 338303 h 788699"/>
                <a:gd name="connsiteX99" fmla="*/ 270312 w 625521"/>
                <a:gd name="connsiteY99" fmla="*/ 346462 h 788699"/>
                <a:gd name="connsiteX100" fmla="*/ 278471 w 625521"/>
                <a:gd name="connsiteY100" fmla="*/ 354621 h 788699"/>
                <a:gd name="connsiteX101" fmla="*/ 338304 w 625521"/>
                <a:gd name="connsiteY101" fmla="*/ 349181 h 788699"/>
                <a:gd name="connsiteX102" fmla="*/ 365500 w 625521"/>
                <a:gd name="connsiteY102" fmla="*/ 349181 h 788699"/>
                <a:gd name="connsiteX103" fmla="*/ 381817 w 625521"/>
                <a:gd name="connsiteY103" fmla="*/ 349181 h 788699"/>
                <a:gd name="connsiteX104" fmla="*/ 392697 w 625521"/>
                <a:gd name="connsiteY104" fmla="*/ 338303 h 788699"/>
                <a:gd name="connsiteX105" fmla="*/ 389977 w 625521"/>
                <a:gd name="connsiteY105" fmla="*/ 313826 h 788699"/>
                <a:gd name="connsiteX106" fmla="*/ 392697 w 625521"/>
                <a:gd name="connsiteY106" fmla="*/ 262152 h 788699"/>
                <a:gd name="connsiteX107" fmla="*/ 395416 w 625521"/>
                <a:gd name="connsiteY107" fmla="*/ 224077 h 788699"/>
                <a:gd name="connsiteX108" fmla="*/ 398136 w 625521"/>
                <a:gd name="connsiteY108" fmla="*/ 177843 h 788699"/>
                <a:gd name="connsiteX109" fmla="*/ 395416 w 625521"/>
                <a:gd name="connsiteY109" fmla="*/ 153366 h 788699"/>
                <a:gd name="connsiteX110" fmla="*/ 395416 w 625521"/>
                <a:gd name="connsiteY110" fmla="*/ 137048 h 788699"/>
                <a:gd name="connsiteX111" fmla="*/ 379098 w 625521"/>
                <a:gd name="connsiteY111" fmla="*/ 137048 h 788699"/>
                <a:gd name="connsiteX112" fmla="*/ 351902 w 625521"/>
                <a:gd name="connsiteY112" fmla="*/ 131609 h 788699"/>
                <a:gd name="connsiteX113" fmla="*/ 338304 w 625521"/>
                <a:gd name="connsiteY113" fmla="*/ 115291 h 788699"/>
                <a:gd name="connsiteX114" fmla="*/ 343742 w 625521"/>
                <a:gd name="connsiteY114" fmla="*/ 107132 h 788699"/>
                <a:gd name="connsiteX115" fmla="*/ 362780 w 625521"/>
                <a:gd name="connsiteY115" fmla="*/ 98973 h 788699"/>
                <a:gd name="connsiteX116" fmla="*/ 395416 w 625521"/>
                <a:gd name="connsiteY116" fmla="*/ 96253 h 788699"/>
                <a:gd name="connsiteX117" fmla="*/ 403575 w 625521"/>
                <a:gd name="connsiteY117" fmla="*/ 90814 h 788699"/>
                <a:gd name="connsiteX118" fmla="*/ 422612 w 625521"/>
                <a:gd name="connsiteY118" fmla="*/ 88095 h 788699"/>
                <a:gd name="connsiteX119" fmla="*/ 428052 w 625521"/>
                <a:gd name="connsiteY119" fmla="*/ 88095 h 788699"/>
                <a:gd name="connsiteX120" fmla="*/ 447090 w 625521"/>
                <a:gd name="connsiteY120" fmla="*/ 90814 h 788699"/>
                <a:gd name="connsiteX121" fmla="*/ 455249 w 625521"/>
                <a:gd name="connsiteY121" fmla="*/ 96253 h 788699"/>
                <a:gd name="connsiteX122" fmla="*/ 525960 w 625521"/>
                <a:gd name="connsiteY122" fmla="*/ 93534 h 788699"/>
                <a:gd name="connsiteX123" fmla="*/ 561315 w 625521"/>
                <a:gd name="connsiteY123" fmla="*/ 109852 h 788699"/>
                <a:gd name="connsiteX124" fmla="*/ 555876 w 625521"/>
                <a:gd name="connsiteY124" fmla="*/ 126170 h 788699"/>
                <a:gd name="connsiteX125" fmla="*/ 539558 w 625521"/>
                <a:gd name="connsiteY125" fmla="*/ 134329 h 788699"/>
                <a:gd name="connsiteX126" fmla="*/ 517800 w 625521"/>
                <a:gd name="connsiteY126" fmla="*/ 137048 h 788699"/>
                <a:gd name="connsiteX127" fmla="*/ 477006 w 625521"/>
                <a:gd name="connsiteY127" fmla="*/ 137048 h 788699"/>
                <a:gd name="connsiteX128" fmla="*/ 485165 w 625521"/>
                <a:gd name="connsiteY128" fmla="*/ 161525 h 788699"/>
                <a:gd name="connsiteX129" fmla="*/ 496043 w 625521"/>
                <a:gd name="connsiteY129" fmla="*/ 210479 h 788699"/>
                <a:gd name="connsiteX130" fmla="*/ 501483 w 625521"/>
                <a:gd name="connsiteY130" fmla="*/ 251274 h 788699"/>
                <a:gd name="connsiteX131" fmla="*/ 506922 w 625521"/>
                <a:gd name="connsiteY131" fmla="*/ 292069 h 788699"/>
                <a:gd name="connsiteX132" fmla="*/ 506922 w 625521"/>
                <a:gd name="connsiteY132" fmla="*/ 321985 h 788699"/>
                <a:gd name="connsiteX133" fmla="*/ 509642 w 625521"/>
                <a:gd name="connsiteY133" fmla="*/ 341022 h 788699"/>
                <a:gd name="connsiteX134" fmla="*/ 509642 w 625521"/>
                <a:gd name="connsiteY134" fmla="*/ 343742 h 788699"/>
                <a:gd name="connsiteX135" fmla="*/ 517800 w 625521"/>
                <a:gd name="connsiteY135" fmla="*/ 349181 h 788699"/>
                <a:gd name="connsiteX136" fmla="*/ 528680 w 625521"/>
                <a:gd name="connsiteY136" fmla="*/ 349181 h 788699"/>
                <a:gd name="connsiteX137" fmla="*/ 550437 w 625521"/>
                <a:gd name="connsiteY137" fmla="*/ 357340 h 788699"/>
                <a:gd name="connsiteX138" fmla="*/ 550437 w 625521"/>
                <a:gd name="connsiteY138" fmla="*/ 362780 h 788699"/>
                <a:gd name="connsiteX139" fmla="*/ 534119 w 625521"/>
                <a:gd name="connsiteY139" fmla="*/ 384537 h 788699"/>
                <a:gd name="connsiteX140" fmla="*/ 520520 w 625521"/>
                <a:gd name="connsiteY140" fmla="*/ 389976 h 788699"/>
                <a:gd name="connsiteX141" fmla="*/ 512362 w 625521"/>
                <a:gd name="connsiteY141" fmla="*/ 395415 h 788699"/>
                <a:gd name="connsiteX142" fmla="*/ 512362 w 625521"/>
                <a:gd name="connsiteY142" fmla="*/ 398135 h 788699"/>
                <a:gd name="connsiteX143" fmla="*/ 512362 w 625521"/>
                <a:gd name="connsiteY143" fmla="*/ 409014 h 788699"/>
                <a:gd name="connsiteX144" fmla="*/ 512362 w 625521"/>
                <a:gd name="connsiteY144" fmla="*/ 414453 h 788699"/>
                <a:gd name="connsiteX145" fmla="*/ 512362 w 625521"/>
                <a:gd name="connsiteY145" fmla="*/ 438930 h 788699"/>
                <a:gd name="connsiteX146" fmla="*/ 515081 w 625521"/>
                <a:gd name="connsiteY146" fmla="*/ 504202 h 788699"/>
                <a:gd name="connsiteX147" fmla="*/ 520520 w 625521"/>
                <a:gd name="connsiteY147" fmla="*/ 572193 h 788699"/>
                <a:gd name="connsiteX148" fmla="*/ 517800 w 625521"/>
                <a:gd name="connsiteY148" fmla="*/ 604829 h 788699"/>
                <a:gd name="connsiteX149" fmla="*/ 512362 w 625521"/>
                <a:gd name="connsiteY149" fmla="*/ 661942 h 788699"/>
                <a:gd name="connsiteX150" fmla="*/ 509642 w 625521"/>
                <a:gd name="connsiteY150" fmla="*/ 670101 h 788699"/>
                <a:gd name="connsiteX151" fmla="*/ 512362 w 625521"/>
                <a:gd name="connsiteY151" fmla="*/ 680979 h 788699"/>
                <a:gd name="connsiteX152" fmla="*/ 512362 w 625521"/>
                <a:gd name="connsiteY152" fmla="*/ 686419 h 788699"/>
                <a:gd name="connsiteX153" fmla="*/ 536838 w 625521"/>
                <a:gd name="connsiteY153" fmla="*/ 680979 h 788699"/>
                <a:gd name="connsiteX154" fmla="*/ 536838 w 625521"/>
                <a:gd name="connsiteY154" fmla="*/ 680979 h 7886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</a:cxnLst>
              <a:rect l="l" t="t" r="r" b="b"/>
              <a:pathLst>
                <a:path w="625521" h="788699">
                  <a:moveTo>
                    <a:pt x="536838" y="680979"/>
                  </a:moveTo>
                  <a:cubicBezTo>
                    <a:pt x="550437" y="680979"/>
                    <a:pt x="574913" y="680979"/>
                    <a:pt x="574913" y="697297"/>
                  </a:cubicBezTo>
                  <a:cubicBezTo>
                    <a:pt x="574913" y="705456"/>
                    <a:pt x="572194" y="708176"/>
                    <a:pt x="566755" y="713615"/>
                  </a:cubicBezTo>
                  <a:cubicBezTo>
                    <a:pt x="561315" y="719054"/>
                    <a:pt x="555876" y="721774"/>
                    <a:pt x="550437" y="721774"/>
                  </a:cubicBezTo>
                  <a:cubicBezTo>
                    <a:pt x="539558" y="724494"/>
                    <a:pt x="534119" y="724494"/>
                    <a:pt x="528680" y="724494"/>
                  </a:cubicBezTo>
                  <a:cubicBezTo>
                    <a:pt x="517800" y="724494"/>
                    <a:pt x="428052" y="724494"/>
                    <a:pt x="417174" y="724494"/>
                  </a:cubicBezTo>
                  <a:cubicBezTo>
                    <a:pt x="403575" y="724494"/>
                    <a:pt x="414454" y="724494"/>
                    <a:pt x="398136" y="724494"/>
                  </a:cubicBezTo>
                  <a:cubicBezTo>
                    <a:pt x="389977" y="724494"/>
                    <a:pt x="381817" y="724494"/>
                    <a:pt x="373659" y="724494"/>
                  </a:cubicBezTo>
                  <a:cubicBezTo>
                    <a:pt x="365500" y="724494"/>
                    <a:pt x="354621" y="721774"/>
                    <a:pt x="346462" y="719054"/>
                  </a:cubicBezTo>
                  <a:cubicBezTo>
                    <a:pt x="338304" y="716335"/>
                    <a:pt x="330144" y="708176"/>
                    <a:pt x="330144" y="702737"/>
                  </a:cubicBezTo>
                  <a:cubicBezTo>
                    <a:pt x="330144" y="700017"/>
                    <a:pt x="330144" y="697297"/>
                    <a:pt x="335584" y="694578"/>
                  </a:cubicBezTo>
                  <a:cubicBezTo>
                    <a:pt x="341023" y="691858"/>
                    <a:pt x="351902" y="689138"/>
                    <a:pt x="357341" y="686419"/>
                  </a:cubicBezTo>
                  <a:cubicBezTo>
                    <a:pt x="373659" y="683699"/>
                    <a:pt x="387257" y="680979"/>
                    <a:pt x="395416" y="680979"/>
                  </a:cubicBezTo>
                  <a:cubicBezTo>
                    <a:pt x="387257" y="675540"/>
                    <a:pt x="384537" y="670101"/>
                    <a:pt x="381817" y="656502"/>
                  </a:cubicBezTo>
                  <a:cubicBezTo>
                    <a:pt x="379098" y="632026"/>
                    <a:pt x="379098" y="610268"/>
                    <a:pt x="379098" y="585791"/>
                  </a:cubicBezTo>
                  <a:cubicBezTo>
                    <a:pt x="379098" y="564034"/>
                    <a:pt x="379098" y="542277"/>
                    <a:pt x="379098" y="517800"/>
                  </a:cubicBezTo>
                  <a:cubicBezTo>
                    <a:pt x="379098" y="504202"/>
                    <a:pt x="379098" y="487884"/>
                    <a:pt x="379098" y="474286"/>
                  </a:cubicBezTo>
                  <a:cubicBezTo>
                    <a:pt x="379098" y="457968"/>
                    <a:pt x="376379" y="444369"/>
                    <a:pt x="379098" y="430771"/>
                  </a:cubicBezTo>
                  <a:cubicBezTo>
                    <a:pt x="379098" y="425332"/>
                    <a:pt x="381817" y="417173"/>
                    <a:pt x="381817" y="411733"/>
                  </a:cubicBezTo>
                  <a:cubicBezTo>
                    <a:pt x="381817" y="406294"/>
                    <a:pt x="381817" y="403575"/>
                    <a:pt x="379098" y="400855"/>
                  </a:cubicBezTo>
                  <a:cubicBezTo>
                    <a:pt x="376379" y="400855"/>
                    <a:pt x="373659" y="398135"/>
                    <a:pt x="370939" y="398135"/>
                  </a:cubicBezTo>
                  <a:cubicBezTo>
                    <a:pt x="360061" y="398135"/>
                    <a:pt x="343742" y="400855"/>
                    <a:pt x="338304" y="400855"/>
                  </a:cubicBezTo>
                  <a:cubicBezTo>
                    <a:pt x="330144" y="400855"/>
                    <a:pt x="319266" y="403575"/>
                    <a:pt x="289349" y="403575"/>
                  </a:cubicBezTo>
                  <a:cubicBezTo>
                    <a:pt x="275751" y="403575"/>
                    <a:pt x="267592" y="400855"/>
                    <a:pt x="264872" y="400855"/>
                  </a:cubicBezTo>
                  <a:cubicBezTo>
                    <a:pt x="262153" y="400855"/>
                    <a:pt x="259433" y="400855"/>
                    <a:pt x="259433" y="406294"/>
                  </a:cubicBezTo>
                  <a:cubicBezTo>
                    <a:pt x="259433" y="414453"/>
                    <a:pt x="259433" y="419892"/>
                    <a:pt x="259433" y="425332"/>
                  </a:cubicBezTo>
                  <a:cubicBezTo>
                    <a:pt x="259433" y="433491"/>
                    <a:pt x="259433" y="441650"/>
                    <a:pt x="259433" y="449809"/>
                  </a:cubicBezTo>
                  <a:cubicBezTo>
                    <a:pt x="259433" y="457968"/>
                    <a:pt x="259433" y="463407"/>
                    <a:pt x="259433" y="471566"/>
                  </a:cubicBezTo>
                  <a:cubicBezTo>
                    <a:pt x="259433" y="482445"/>
                    <a:pt x="259433" y="493323"/>
                    <a:pt x="259433" y="504202"/>
                  </a:cubicBezTo>
                  <a:cubicBezTo>
                    <a:pt x="259433" y="506921"/>
                    <a:pt x="259433" y="506921"/>
                    <a:pt x="259433" y="509641"/>
                  </a:cubicBezTo>
                  <a:cubicBezTo>
                    <a:pt x="259433" y="520520"/>
                    <a:pt x="256714" y="531398"/>
                    <a:pt x="256714" y="542277"/>
                  </a:cubicBezTo>
                  <a:cubicBezTo>
                    <a:pt x="256714" y="553156"/>
                    <a:pt x="256714" y="566754"/>
                    <a:pt x="256714" y="577632"/>
                  </a:cubicBezTo>
                  <a:cubicBezTo>
                    <a:pt x="256714" y="588511"/>
                    <a:pt x="256714" y="599390"/>
                    <a:pt x="256714" y="612988"/>
                  </a:cubicBezTo>
                  <a:cubicBezTo>
                    <a:pt x="256714" y="629306"/>
                    <a:pt x="253994" y="642904"/>
                    <a:pt x="253994" y="656502"/>
                  </a:cubicBezTo>
                  <a:cubicBezTo>
                    <a:pt x="253994" y="664661"/>
                    <a:pt x="256714" y="672820"/>
                    <a:pt x="256714" y="678260"/>
                  </a:cubicBezTo>
                  <a:cubicBezTo>
                    <a:pt x="270312" y="678260"/>
                    <a:pt x="286629" y="680979"/>
                    <a:pt x="286629" y="694578"/>
                  </a:cubicBezTo>
                  <a:cubicBezTo>
                    <a:pt x="286629" y="702737"/>
                    <a:pt x="283910" y="705456"/>
                    <a:pt x="281191" y="710895"/>
                  </a:cubicBezTo>
                  <a:cubicBezTo>
                    <a:pt x="275751" y="716335"/>
                    <a:pt x="270312" y="719054"/>
                    <a:pt x="264872" y="719054"/>
                  </a:cubicBezTo>
                  <a:cubicBezTo>
                    <a:pt x="256714" y="721774"/>
                    <a:pt x="248554" y="721774"/>
                    <a:pt x="243116" y="721774"/>
                  </a:cubicBezTo>
                  <a:cubicBezTo>
                    <a:pt x="243116" y="721774"/>
                    <a:pt x="243116" y="721774"/>
                    <a:pt x="243116" y="721774"/>
                  </a:cubicBezTo>
                  <a:cubicBezTo>
                    <a:pt x="237676" y="724494"/>
                    <a:pt x="237676" y="724494"/>
                    <a:pt x="232236" y="727214"/>
                  </a:cubicBezTo>
                  <a:cubicBezTo>
                    <a:pt x="229517" y="729933"/>
                    <a:pt x="229517" y="732653"/>
                    <a:pt x="224078" y="735372"/>
                  </a:cubicBezTo>
                  <a:cubicBezTo>
                    <a:pt x="221358" y="738092"/>
                    <a:pt x="215919" y="738092"/>
                    <a:pt x="213199" y="738092"/>
                  </a:cubicBezTo>
                  <a:cubicBezTo>
                    <a:pt x="199601" y="738092"/>
                    <a:pt x="188722" y="735372"/>
                    <a:pt x="183283" y="727214"/>
                  </a:cubicBezTo>
                  <a:cubicBezTo>
                    <a:pt x="180563" y="724494"/>
                    <a:pt x="177843" y="721774"/>
                    <a:pt x="175124" y="719054"/>
                  </a:cubicBezTo>
                  <a:cubicBezTo>
                    <a:pt x="161526" y="719054"/>
                    <a:pt x="150646" y="719054"/>
                    <a:pt x="145208" y="719054"/>
                  </a:cubicBezTo>
                  <a:cubicBezTo>
                    <a:pt x="131609" y="719054"/>
                    <a:pt x="142488" y="719054"/>
                    <a:pt x="126170" y="719054"/>
                  </a:cubicBezTo>
                  <a:cubicBezTo>
                    <a:pt x="118011" y="719054"/>
                    <a:pt x="109852" y="719054"/>
                    <a:pt x="101693" y="719054"/>
                  </a:cubicBezTo>
                  <a:cubicBezTo>
                    <a:pt x="93534" y="719054"/>
                    <a:pt x="82655" y="719054"/>
                    <a:pt x="74496" y="713615"/>
                  </a:cubicBezTo>
                  <a:cubicBezTo>
                    <a:pt x="66338" y="710895"/>
                    <a:pt x="58178" y="702737"/>
                    <a:pt x="58178" y="697297"/>
                  </a:cubicBezTo>
                  <a:cubicBezTo>
                    <a:pt x="58178" y="694578"/>
                    <a:pt x="58178" y="691858"/>
                    <a:pt x="63618" y="689138"/>
                  </a:cubicBezTo>
                  <a:cubicBezTo>
                    <a:pt x="69057" y="686419"/>
                    <a:pt x="79936" y="683699"/>
                    <a:pt x="85375" y="680979"/>
                  </a:cubicBezTo>
                  <a:cubicBezTo>
                    <a:pt x="98973" y="678260"/>
                    <a:pt x="118011" y="678260"/>
                    <a:pt x="131609" y="675540"/>
                  </a:cubicBezTo>
                  <a:cubicBezTo>
                    <a:pt x="131609" y="672820"/>
                    <a:pt x="131609" y="670101"/>
                    <a:pt x="131609" y="667381"/>
                  </a:cubicBezTo>
                  <a:cubicBezTo>
                    <a:pt x="131609" y="661942"/>
                    <a:pt x="131609" y="656502"/>
                    <a:pt x="131609" y="651063"/>
                  </a:cubicBezTo>
                  <a:cubicBezTo>
                    <a:pt x="131609" y="640184"/>
                    <a:pt x="131609" y="629306"/>
                    <a:pt x="131609" y="618427"/>
                  </a:cubicBezTo>
                  <a:cubicBezTo>
                    <a:pt x="131609" y="604829"/>
                    <a:pt x="131609" y="593950"/>
                    <a:pt x="131609" y="580352"/>
                  </a:cubicBezTo>
                  <a:cubicBezTo>
                    <a:pt x="131609" y="564034"/>
                    <a:pt x="131609" y="547716"/>
                    <a:pt x="131609" y="531398"/>
                  </a:cubicBezTo>
                  <a:cubicBezTo>
                    <a:pt x="131609" y="509641"/>
                    <a:pt x="131609" y="487884"/>
                    <a:pt x="131609" y="466126"/>
                  </a:cubicBezTo>
                  <a:cubicBezTo>
                    <a:pt x="131609" y="452528"/>
                    <a:pt x="131609" y="436210"/>
                    <a:pt x="131609" y="422612"/>
                  </a:cubicBezTo>
                  <a:cubicBezTo>
                    <a:pt x="131609" y="419892"/>
                    <a:pt x="131609" y="414453"/>
                    <a:pt x="131609" y="411733"/>
                  </a:cubicBezTo>
                  <a:cubicBezTo>
                    <a:pt x="131609" y="409014"/>
                    <a:pt x="131609" y="400855"/>
                    <a:pt x="131609" y="398135"/>
                  </a:cubicBezTo>
                  <a:cubicBezTo>
                    <a:pt x="131609" y="392696"/>
                    <a:pt x="131609" y="392696"/>
                    <a:pt x="126170" y="389976"/>
                  </a:cubicBezTo>
                  <a:cubicBezTo>
                    <a:pt x="123450" y="389976"/>
                    <a:pt x="109852" y="387257"/>
                    <a:pt x="101693" y="387257"/>
                  </a:cubicBezTo>
                  <a:cubicBezTo>
                    <a:pt x="90814" y="384537"/>
                    <a:pt x="77216" y="381817"/>
                    <a:pt x="77216" y="376378"/>
                  </a:cubicBezTo>
                  <a:cubicBezTo>
                    <a:pt x="77216" y="373658"/>
                    <a:pt x="79936" y="370939"/>
                    <a:pt x="82655" y="368219"/>
                  </a:cubicBezTo>
                  <a:cubicBezTo>
                    <a:pt x="88095" y="365499"/>
                    <a:pt x="93534" y="362780"/>
                    <a:pt x="98973" y="360060"/>
                  </a:cubicBezTo>
                  <a:cubicBezTo>
                    <a:pt x="104413" y="360060"/>
                    <a:pt x="112571" y="357340"/>
                    <a:pt x="118011" y="357340"/>
                  </a:cubicBezTo>
                  <a:cubicBezTo>
                    <a:pt x="126170" y="354621"/>
                    <a:pt x="128890" y="357340"/>
                    <a:pt x="131609" y="351901"/>
                  </a:cubicBezTo>
                  <a:cubicBezTo>
                    <a:pt x="131609" y="349181"/>
                    <a:pt x="131609" y="346462"/>
                    <a:pt x="131609" y="343742"/>
                  </a:cubicBezTo>
                  <a:cubicBezTo>
                    <a:pt x="131609" y="319265"/>
                    <a:pt x="131609" y="294788"/>
                    <a:pt x="131609" y="270311"/>
                  </a:cubicBezTo>
                  <a:cubicBezTo>
                    <a:pt x="131609" y="226797"/>
                    <a:pt x="131609" y="186002"/>
                    <a:pt x="137048" y="145207"/>
                  </a:cubicBezTo>
                  <a:cubicBezTo>
                    <a:pt x="137048" y="139768"/>
                    <a:pt x="137048" y="131609"/>
                    <a:pt x="139768" y="123450"/>
                  </a:cubicBezTo>
                  <a:cubicBezTo>
                    <a:pt x="134329" y="123450"/>
                    <a:pt x="137048" y="123450"/>
                    <a:pt x="123450" y="123450"/>
                  </a:cubicBezTo>
                  <a:cubicBezTo>
                    <a:pt x="120731" y="123450"/>
                    <a:pt x="120731" y="123450"/>
                    <a:pt x="118011" y="123450"/>
                  </a:cubicBezTo>
                  <a:cubicBezTo>
                    <a:pt x="112571" y="123450"/>
                    <a:pt x="107133" y="123450"/>
                    <a:pt x="101693" y="123450"/>
                  </a:cubicBezTo>
                  <a:cubicBezTo>
                    <a:pt x="93534" y="123450"/>
                    <a:pt x="82655" y="120730"/>
                    <a:pt x="74496" y="118011"/>
                  </a:cubicBezTo>
                  <a:cubicBezTo>
                    <a:pt x="66338" y="115291"/>
                    <a:pt x="58178" y="107132"/>
                    <a:pt x="58178" y="101693"/>
                  </a:cubicBezTo>
                  <a:cubicBezTo>
                    <a:pt x="58178" y="98973"/>
                    <a:pt x="58178" y="96253"/>
                    <a:pt x="63618" y="93534"/>
                  </a:cubicBezTo>
                  <a:cubicBezTo>
                    <a:pt x="66338" y="90814"/>
                    <a:pt x="77216" y="88095"/>
                    <a:pt x="85375" y="85375"/>
                  </a:cubicBezTo>
                  <a:cubicBezTo>
                    <a:pt x="104413" y="82655"/>
                    <a:pt x="128890" y="82655"/>
                    <a:pt x="137048" y="82655"/>
                  </a:cubicBezTo>
                  <a:cubicBezTo>
                    <a:pt x="139768" y="82655"/>
                    <a:pt x="142488" y="82655"/>
                    <a:pt x="147927" y="82655"/>
                  </a:cubicBezTo>
                  <a:cubicBezTo>
                    <a:pt x="153366" y="69057"/>
                    <a:pt x="164245" y="58178"/>
                    <a:pt x="186003" y="58178"/>
                  </a:cubicBezTo>
                  <a:cubicBezTo>
                    <a:pt x="202321" y="58178"/>
                    <a:pt x="215919" y="66337"/>
                    <a:pt x="226797" y="79936"/>
                  </a:cubicBezTo>
                  <a:cubicBezTo>
                    <a:pt x="237676" y="79936"/>
                    <a:pt x="248554" y="79936"/>
                    <a:pt x="253994" y="79936"/>
                  </a:cubicBezTo>
                  <a:cubicBezTo>
                    <a:pt x="267592" y="79936"/>
                    <a:pt x="294789" y="79936"/>
                    <a:pt x="294789" y="96253"/>
                  </a:cubicBezTo>
                  <a:cubicBezTo>
                    <a:pt x="294789" y="104412"/>
                    <a:pt x="289349" y="107132"/>
                    <a:pt x="283910" y="112571"/>
                  </a:cubicBezTo>
                  <a:cubicBezTo>
                    <a:pt x="278471" y="118011"/>
                    <a:pt x="273031" y="120730"/>
                    <a:pt x="267592" y="120730"/>
                  </a:cubicBezTo>
                  <a:cubicBezTo>
                    <a:pt x="259433" y="123450"/>
                    <a:pt x="251274" y="123450"/>
                    <a:pt x="245835" y="123450"/>
                  </a:cubicBezTo>
                  <a:cubicBezTo>
                    <a:pt x="245835" y="123450"/>
                    <a:pt x="243116" y="123450"/>
                    <a:pt x="237676" y="123450"/>
                  </a:cubicBezTo>
                  <a:cubicBezTo>
                    <a:pt x="237676" y="126170"/>
                    <a:pt x="237676" y="126170"/>
                    <a:pt x="240396" y="128889"/>
                  </a:cubicBezTo>
                  <a:cubicBezTo>
                    <a:pt x="245835" y="145207"/>
                    <a:pt x="248554" y="161525"/>
                    <a:pt x="251274" y="177843"/>
                  </a:cubicBezTo>
                  <a:cubicBezTo>
                    <a:pt x="253994" y="194161"/>
                    <a:pt x="253994" y="210479"/>
                    <a:pt x="256714" y="226797"/>
                  </a:cubicBezTo>
                  <a:cubicBezTo>
                    <a:pt x="259433" y="243115"/>
                    <a:pt x="262153" y="256713"/>
                    <a:pt x="262153" y="273031"/>
                  </a:cubicBezTo>
                  <a:cubicBezTo>
                    <a:pt x="262153" y="278470"/>
                    <a:pt x="262153" y="283910"/>
                    <a:pt x="262153" y="289349"/>
                  </a:cubicBezTo>
                  <a:lnTo>
                    <a:pt x="262153" y="297508"/>
                  </a:lnTo>
                  <a:cubicBezTo>
                    <a:pt x="262153" y="305667"/>
                    <a:pt x="262153" y="313826"/>
                    <a:pt x="264872" y="321985"/>
                  </a:cubicBezTo>
                  <a:cubicBezTo>
                    <a:pt x="264872" y="327424"/>
                    <a:pt x="270312" y="330144"/>
                    <a:pt x="270312" y="335583"/>
                  </a:cubicBezTo>
                  <a:cubicBezTo>
                    <a:pt x="270312" y="335583"/>
                    <a:pt x="270312" y="338303"/>
                    <a:pt x="270312" y="338303"/>
                  </a:cubicBezTo>
                  <a:cubicBezTo>
                    <a:pt x="270312" y="341022"/>
                    <a:pt x="270312" y="343742"/>
                    <a:pt x="270312" y="346462"/>
                  </a:cubicBezTo>
                  <a:cubicBezTo>
                    <a:pt x="270312" y="351901"/>
                    <a:pt x="273031" y="354621"/>
                    <a:pt x="278471" y="354621"/>
                  </a:cubicBezTo>
                  <a:cubicBezTo>
                    <a:pt x="289349" y="354621"/>
                    <a:pt x="335584" y="351901"/>
                    <a:pt x="338304" y="349181"/>
                  </a:cubicBezTo>
                  <a:cubicBezTo>
                    <a:pt x="346462" y="349181"/>
                    <a:pt x="357341" y="349181"/>
                    <a:pt x="365500" y="349181"/>
                  </a:cubicBezTo>
                  <a:cubicBezTo>
                    <a:pt x="370939" y="349181"/>
                    <a:pt x="376379" y="349181"/>
                    <a:pt x="381817" y="349181"/>
                  </a:cubicBezTo>
                  <a:cubicBezTo>
                    <a:pt x="387257" y="349181"/>
                    <a:pt x="392697" y="346462"/>
                    <a:pt x="392697" y="338303"/>
                  </a:cubicBezTo>
                  <a:cubicBezTo>
                    <a:pt x="392697" y="330144"/>
                    <a:pt x="389977" y="316545"/>
                    <a:pt x="389977" y="313826"/>
                  </a:cubicBezTo>
                  <a:cubicBezTo>
                    <a:pt x="389977" y="294788"/>
                    <a:pt x="389977" y="278470"/>
                    <a:pt x="392697" y="262152"/>
                  </a:cubicBezTo>
                  <a:cubicBezTo>
                    <a:pt x="392697" y="259433"/>
                    <a:pt x="395416" y="243115"/>
                    <a:pt x="395416" y="224077"/>
                  </a:cubicBezTo>
                  <a:cubicBezTo>
                    <a:pt x="395416" y="207759"/>
                    <a:pt x="398136" y="188722"/>
                    <a:pt x="398136" y="177843"/>
                  </a:cubicBezTo>
                  <a:cubicBezTo>
                    <a:pt x="398136" y="169684"/>
                    <a:pt x="395416" y="158806"/>
                    <a:pt x="395416" y="153366"/>
                  </a:cubicBezTo>
                  <a:cubicBezTo>
                    <a:pt x="395416" y="145207"/>
                    <a:pt x="395416" y="142488"/>
                    <a:pt x="395416" y="137048"/>
                  </a:cubicBezTo>
                  <a:cubicBezTo>
                    <a:pt x="389977" y="137048"/>
                    <a:pt x="384537" y="137048"/>
                    <a:pt x="379098" y="137048"/>
                  </a:cubicBezTo>
                  <a:cubicBezTo>
                    <a:pt x="370939" y="137048"/>
                    <a:pt x="360061" y="134329"/>
                    <a:pt x="351902" y="131609"/>
                  </a:cubicBezTo>
                  <a:cubicBezTo>
                    <a:pt x="343742" y="128889"/>
                    <a:pt x="338304" y="120730"/>
                    <a:pt x="338304" y="115291"/>
                  </a:cubicBezTo>
                  <a:cubicBezTo>
                    <a:pt x="338304" y="112571"/>
                    <a:pt x="338304" y="109852"/>
                    <a:pt x="343742" y="107132"/>
                  </a:cubicBezTo>
                  <a:cubicBezTo>
                    <a:pt x="349182" y="104412"/>
                    <a:pt x="357341" y="101693"/>
                    <a:pt x="362780" y="98973"/>
                  </a:cubicBezTo>
                  <a:cubicBezTo>
                    <a:pt x="373659" y="96253"/>
                    <a:pt x="387257" y="96253"/>
                    <a:pt x="395416" y="96253"/>
                  </a:cubicBezTo>
                  <a:cubicBezTo>
                    <a:pt x="398136" y="93534"/>
                    <a:pt x="400855" y="90814"/>
                    <a:pt x="403575" y="90814"/>
                  </a:cubicBezTo>
                  <a:cubicBezTo>
                    <a:pt x="411734" y="90814"/>
                    <a:pt x="419893" y="88095"/>
                    <a:pt x="422612" y="88095"/>
                  </a:cubicBezTo>
                  <a:cubicBezTo>
                    <a:pt x="425332" y="88095"/>
                    <a:pt x="425332" y="88095"/>
                    <a:pt x="428052" y="88095"/>
                  </a:cubicBezTo>
                  <a:cubicBezTo>
                    <a:pt x="433492" y="88095"/>
                    <a:pt x="441650" y="88095"/>
                    <a:pt x="447090" y="90814"/>
                  </a:cubicBezTo>
                  <a:cubicBezTo>
                    <a:pt x="449809" y="90814"/>
                    <a:pt x="452529" y="93534"/>
                    <a:pt x="455249" y="96253"/>
                  </a:cubicBezTo>
                  <a:cubicBezTo>
                    <a:pt x="482445" y="96253"/>
                    <a:pt x="509642" y="93534"/>
                    <a:pt x="525960" y="93534"/>
                  </a:cubicBezTo>
                  <a:cubicBezTo>
                    <a:pt x="539558" y="93534"/>
                    <a:pt x="561315" y="93534"/>
                    <a:pt x="561315" y="109852"/>
                  </a:cubicBezTo>
                  <a:cubicBezTo>
                    <a:pt x="561315" y="118011"/>
                    <a:pt x="561315" y="120730"/>
                    <a:pt x="555876" y="126170"/>
                  </a:cubicBezTo>
                  <a:cubicBezTo>
                    <a:pt x="550437" y="131609"/>
                    <a:pt x="544997" y="134329"/>
                    <a:pt x="539558" y="134329"/>
                  </a:cubicBezTo>
                  <a:cubicBezTo>
                    <a:pt x="531399" y="137048"/>
                    <a:pt x="523240" y="137048"/>
                    <a:pt x="517800" y="137048"/>
                  </a:cubicBezTo>
                  <a:cubicBezTo>
                    <a:pt x="515081" y="137048"/>
                    <a:pt x="498763" y="137048"/>
                    <a:pt x="477006" y="137048"/>
                  </a:cubicBezTo>
                  <a:cubicBezTo>
                    <a:pt x="479725" y="145207"/>
                    <a:pt x="485165" y="153366"/>
                    <a:pt x="485165" y="161525"/>
                  </a:cubicBezTo>
                  <a:cubicBezTo>
                    <a:pt x="487885" y="177843"/>
                    <a:pt x="493324" y="194161"/>
                    <a:pt x="496043" y="210479"/>
                  </a:cubicBezTo>
                  <a:cubicBezTo>
                    <a:pt x="498763" y="224077"/>
                    <a:pt x="498763" y="237676"/>
                    <a:pt x="501483" y="251274"/>
                  </a:cubicBezTo>
                  <a:cubicBezTo>
                    <a:pt x="504202" y="264872"/>
                    <a:pt x="506922" y="275751"/>
                    <a:pt x="506922" y="292069"/>
                  </a:cubicBezTo>
                  <a:cubicBezTo>
                    <a:pt x="506922" y="302947"/>
                    <a:pt x="506922" y="311106"/>
                    <a:pt x="506922" y="321985"/>
                  </a:cubicBezTo>
                  <a:cubicBezTo>
                    <a:pt x="506922" y="327424"/>
                    <a:pt x="509642" y="335583"/>
                    <a:pt x="509642" y="341022"/>
                  </a:cubicBezTo>
                  <a:cubicBezTo>
                    <a:pt x="509642" y="343742"/>
                    <a:pt x="509642" y="343742"/>
                    <a:pt x="509642" y="343742"/>
                  </a:cubicBezTo>
                  <a:cubicBezTo>
                    <a:pt x="509642" y="349181"/>
                    <a:pt x="515081" y="349181"/>
                    <a:pt x="517800" y="349181"/>
                  </a:cubicBezTo>
                  <a:cubicBezTo>
                    <a:pt x="520520" y="349181"/>
                    <a:pt x="523240" y="349181"/>
                    <a:pt x="528680" y="349181"/>
                  </a:cubicBezTo>
                  <a:cubicBezTo>
                    <a:pt x="536838" y="349181"/>
                    <a:pt x="547717" y="349181"/>
                    <a:pt x="550437" y="357340"/>
                  </a:cubicBezTo>
                  <a:cubicBezTo>
                    <a:pt x="550437" y="360060"/>
                    <a:pt x="550437" y="360060"/>
                    <a:pt x="550437" y="362780"/>
                  </a:cubicBezTo>
                  <a:cubicBezTo>
                    <a:pt x="550437" y="370939"/>
                    <a:pt x="539558" y="381817"/>
                    <a:pt x="534119" y="384537"/>
                  </a:cubicBezTo>
                  <a:cubicBezTo>
                    <a:pt x="531399" y="387257"/>
                    <a:pt x="523240" y="387257"/>
                    <a:pt x="520520" y="389976"/>
                  </a:cubicBezTo>
                  <a:cubicBezTo>
                    <a:pt x="515081" y="389976"/>
                    <a:pt x="512362" y="392696"/>
                    <a:pt x="512362" y="395415"/>
                  </a:cubicBezTo>
                  <a:cubicBezTo>
                    <a:pt x="512362" y="395415"/>
                    <a:pt x="512362" y="398135"/>
                    <a:pt x="512362" y="398135"/>
                  </a:cubicBezTo>
                  <a:cubicBezTo>
                    <a:pt x="512362" y="400855"/>
                    <a:pt x="512362" y="406294"/>
                    <a:pt x="512362" y="409014"/>
                  </a:cubicBezTo>
                  <a:cubicBezTo>
                    <a:pt x="512362" y="411733"/>
                    <a:pt x="512362" y="411733"/>
                    <a:pt x="512362" y="414453"/>
                  </a:cubicBezTo>
                  <a:cubicBezTo>
                    <a:pt x="512362" y="422612"/>
                    <a:pt x="512362" y="430771"/>
                    <a:pt x="512362" y="438930"/>
                  </a:cubicBezTo>
                  <a:cubicBezTo>
                    <a:pt x="512362" y="460687"/>
                    <a:pt x="512362" y="482445"/>
                    <a:pt x="515081" y="504202"/>
                  </a:cubicBezTo>
                  <a:cubicBezTo>
                    <a:pt x="517800" y="525959"/>
                    <a:pt x="520520" y="550436"/>
                    <a:pt x="520520" y="572193"/>
                  </a:cubicBezTo>
                  <a:cubicBezTo>
                    <a:pt x="520520" y="583072"/>
                    <a:pt x="520520" y="593950"/>
                    <a:pt x="517800" y="604829"/>
                  </a:cubicBezTo>
                  <a:cubicBezTo>
                    <a:pt x="515081" y="623867"/>
                    <a:pt x="515081" y="642904"/>
                    <a:pt x="512362" y="661942"/>
                  </a:cubicBezTo>
                  <a:cubicBezTo>
                    <a:pt x="512362" y="664661"/>
                    <a:pt x="509642" y="667381"/>
                    <a:pt x="509642" y="670101"/>
                  </a:cubicBezTo>
                  <a:cubicBezTo>
                    <a:pt x="509642" y="672820"/>
                    <a:pt x="512362" y="678260"/>
                    <a:pt x="512362" y="680979"/>
                  </a:cubicBezTo>
                  <a:cubicBezTo>
                    <a:pt x="512362" y="683699"/>
                    <a:pt x="512362" y="686419"/>
                    <a:pt x="512362" y="686419"/>
                  </a:cubicBezTo>
                  <a:cubicBezTo>
                    <a:pt x="517800" y="680979"/>
                    <a:pt x="528680" y="680979"/>
                    <a:pt x="536838" y="680979"/>
                  </a:cubicBezTo>
                  <a:lnTo>
                    <a:pt x="536838" y="680979"/>
                  </a:ln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0" name="Freeform: Shape 49">
              <a:extLst>
                <a:ext uri="{FF2B5EF4-FFF2-40B4-BE49-F238E27FC236}">
                  <a16:creationId xmlns:a16="http://schemas.microsoft.com/office/drawing/2014/main" id="{045AFC19-C641-4E38-8827-516270B72E11}"/>
                </a:ext>
              </a:extLst>
            </p:cNvPr>
            <p:cNvSpPr/>
            <p:nvPr/>
          </p:nvSpPr>
          <p:spPr>
            <a:xfrm>
              <a:off x="9592416" y="4192158"/>
              <a:ext cx="516735" cy="761503"/>
            </a:xfrm>
            <a:custGeom>
              <a:avLst/>
              <a:gdLst>
                <a:gd name="connsiteX0" fmla="*/ 463407 w 516735"/>
                <a:gd name="connsiteY0" fmla="*/ 194161 h 761503"/>
                <a:gd name="connsiteX1" fmla="*/ 447089 w 516735"/>
                <a:gd name="connsiteY1" fmla="*/ 226797 h 761503"/>
                <a:gd name="connsiteX2" fmla="*/ 430771 w 516735"/>
                <a:gd name="connsiteY2" fmla="*/ 221357 h 761503"/>
                <a:gd name="connsiteX3" fmla="*/ 422612 w 516735"/>
                <a:gd name="connsiteY3" fmla="*/ 207759 h 761503"/>
                <a:gd name="connsiteX4" fmla="*/ 419893 w 516735"/>
                <a:gd name="connsiteY4" fmla="*/ 188722 h 761503"/>
                <a:gd name="connsiteX5" fmla="*/ 419893 w 516735"/>
                <a:gd name="connsiteY5" fmla="*/ 139768 h 761503"/>
                <a:gd name="connsiteX6" fmla="*/ 419893 w 516735"/>
                <a:gd name="connsiteY6" fmla="*/ 120730 h 761503"/>
                <a:gd name="connsiteX7" fmla="*/ 395416 w 516735"/>
                <a:gd name="connsiteY7" fmla="*/ 120730 h 761503"/>
                <a:gd name="connsiteX8" fmla="*/ 370939 w 516735"/>
                <a:gd name="connsiteY8" fmla="*/ 120730 h 761503"/>
                <a:gd name="connsiteX9" fmla="*/ 346461 w 516735"/>
                <a:gd name="connsiteY9" fmla="*/ 123450 h 761503"/>
                <a:gd name="connsiteX10" fmla="*/ 335583 w 516735"/>
                <a:gd name="connsiteY10" fmla="*/ 123450 h 761503"/>
                <a:gd name="connsiteX11" fmla="*/ 335583 w 516735"/>
                <a:gd name="connsiteY11" fmla="*/ 123450 h 761503"/>
                <a:gd name="connsiteX12" fmla="*/ 324704 w 516735"/>
                <a:gd name="connsiteY12" fmla="*/ 128889 h 761503"/>
                <a:gd name="connsiteX13" fmla="*/ 327424 w 516735"/>
                <a:gd name="connsiteY13" fmla="*/ 139768 h 761503"/>
                <a:gd name="connsiteX14" fmla="*/ 330144 w 516735"/>
                <a:gd name="connsiteY14" fmla="*/ 175123 h 761503"/>
                <a:gd name="connsiteX15" fmla="*/ 330144 w 516735"/>
                <a:gd name="connsiteY15" fmla="*/ 199600 h 761503"/>
                <a:gd name="connsiteX16" fmla="*/ 327424 w 516735"/>
                <a:gd name="connsiteY16" fmla="*/ 224077 h 761503"/>
                <a:gd name="connsiteX17" fmla="*/ 330144 w 516735"/>
                <a:gd name="connsiteY17" fmla="*/ 251274 h 761503"/>
                <a:gd name="connsiteX18" fmla="*/ 327424 w 516735"/>
                <a:gd name="connsiteY18" fmla="*/ 278470 h 761503"/>
                <a:gd name="connsiteX19" fmla="*/ 327424 w 516735"/>
                <a:gd name="connsiteY19" fmla="*/ 332864 h 761503"/>
                <a:gd name="connsiteX20" fmla="*/ 330144 w 516735"/>
                <a:gd name="connsiteY20" fmla="*/ 357340 h 761503"/>
                <a:gd name="connsiteX21" fmla="*/ 330144 w 516735"/>
                <a:gd name="connsiteY21" fmla="*/ 368219 h 761503"/>
                <a:gd name="connsiteX22" fmla="*/ 332863 w 516735"/>
                <a:gd name="connsiteY22" fmla="*/ 387257 h 761503"/>
                <a:gd name="connsiteX23" fmla="*/ 332863 w 516735"/>
                <a:gd name="connsiteY23" fmla="*/ 433491 h 761503"/>
                <a:gd name="connsiteX24" fmla="*/ 332863 w 516735"/>
                <a:gd name="connsiteY24" fmla="*/ 487884 h 761503"/>
                <a:gd name="connsiteX25" fmla="*/ 330144 w 516735"/>
                <a:gd name="connsiteY25" fmla="*/ 512361 h 761503"/>
                <a:gd name="connsiteX26" fmla="*/ 330144 w 516735"/>
                <a:gd name="connsiteY26" fmla="*/ 539557 h 761503"/>
                <a:gd name="connsiteX27" fmla="*/ 332863 w 516735"/>
                <a:gd name="connsiteY27" fmla="*/ 593950 h 761503"/>
                <a:gd name="connsiteX28" fmla="*/ 332863 w 516735"/>
                <a:gd name="connsiteY28" fmla="*/ 648343 h 761503"/>
                <a:gd name="connsiteX29" fmla="*/ 332863 w 516735"/>
                <a:gd name="connsiteY29" fmla="*/ 656502 h 761503"/>
                <a:gd name="connsiteX30" fmla="*/ 357341 w 516735"/>
                <a:gd name="connsiteY30" fmla="*/ 656502 h 761503"/>
                <a:gd name="connsiteX31" fmla="*/ 395416 w 516735"/>
                <a:gd name="connsiteY31" fmla="*/ 675540 h 761503"/>
                <a:gd name="connsiteX32" fmla="*/ 389976 w 516735"/>
                <a:gd name="connsiteY32" fmla="*/ 691858 h 761503"/>
                <a:gd name="connsiteX33" fmla="*/ 373658 w 516735"/>
                <a:gd name="connsiteY33" fmla="*/ 700017 h 761503"/>
                <a:gd name="connsiteX34" fmla="*/ 351901 w 516735"/>
                <a:gd name="connsiteY34" fmla="*/ 702737 h 761503"/>
                <a:gd name="connsiteX35" fmla="*/ 319265 w 516735"/>
                <a:gd name="connsiteY35" fmla="*/ 702737 h 761503"/>
                <a:gd name="connsiteX36" fmla="*/ 311106 w 516735"/>
                <a:gd name="connsiteY36" fmla="*/ 708176 h 761503"/>
                <a:gd name="connsiteX37" fmla="*/ 289349 w 516735"/>
                <a:gd name="connsiteY37" fmla="*/ 713615 h 761503"/>
                <a:gd name="connsiteX38" fmla="*/ 270311 w 516735"/>
                <a:gd name="connsiteY38" fmla="*/ 713615 h 761503"/>
                <a:gd name="connsiteX39" fmla="*/ 243115 w 516735"/>
                <a:gd name="connsiteY39" fmla="*/ 705456 h 761503"/>
                <a:gd name="connsiteX40" fmla="*/ 237675 w 516735"/>
                <a:gd name="connsiteY40" fmla="*/ 702737 h 761503"/>
                <a:gd name="connsiteX41" fmla="*/ 199600 w 516735"/>
                <a:gd name="connsiteY41" fmla="*/ 702737 h 761503"/>
                <a:gd name="connsiteX42" fmla="*/ 175123 w 516735"/>
                <a:gd name="connsiteY42" fmla="*/ 702737 h 761503"/>
                <a:gd name="connsiteX43" fmla="*/ 147927 w 516735"/>
                <a:gd name="connsiteY43" fmla="*/ 697297 h 761503"/>
                <a:gd name="connsiteX44" fmla="*/ 131609 w 516735"/>
                <a:gd name="connsiteY44" fmla="*/ 678260 h 761503"/>
                <a:gd name="connsiteX45" fmla="*/ 137048 w 516735"/>
                <a:gd name="connsiteY45" fmla="*/ 670101 h 761503"/>
                <a:gd name="connsiteX46" fmla="*/ 158805 w 516735"/>
                <a:gd name="connsiteY46" fmla="*/ 661942 h 761503"/>
                <a:gd name="connsiteX47" fmla="*/ 199600 w 516735"/>
                <a:gd name="connsiteY47" fmla="*/ 659222 h 761503"/>
                <a:gd name="connsiteX48" fmla="*/ 199600 w 516735"/>
                <a:gd name="connsiteY48" fmla="*/ 659222 h 761503"/>
                <a:gd name="connsiteX49" fmla="*/ 196880 w 516735"/>
                <a:gd name="connsiteY49" fmla="*/ 629306 h 761503"/>
                <a:gd name="connsiteX50" fmla="*/ 199600 w 516735"/>
                <a:gd name="connsiteY50" fmla="*/ 574913 h 761503"/>
                <a:gd name="connsiteX51" fmla="*/ 202320 w 516735"/>
                <a:gd name="connsiteY51" fmla="*/ 523239 h 761503"/>
                <a:gd name="connsiteX52" fmla="*/ 205040 w 516735"/>
                <a:gd name="connsiteY52" fmla="*/ 460687 h 761503"/>
                <a:gd name="connsiteX53" fmla="*/ 205040 w 516735"/>
                <a:gd name="connsiteY53" fmla="*/ 417173 h 761503"/>
                <a:gd name="connsiteX54" fmla="*/ 207759 w 516735"/>
                <a:gd name="connsiteY54" fmla="*/ 392696 h 761503"/>
                <a:gd name="connsiteX55" fmla="*/ 210478 w 516735"/>
                <a:gd name="connsiteY55" fmla="*/ 368219 h 761503"/>
                <a:gd name="connsiteX56" fmla="*/ 210478 w 516735"/>
                <a:gd name="connsiteY56" fmla="*/ 313826 h 761503"/>
                <a:gd name="connsiteX57" fmla="*/ 210478 w 516735"/>
                <a:gd name="connsiteY57" fmla="*/ 259433 h 761503"/>
                <a:gd name="connsiteX58" fmla="*/ 210478 w 516735"/>
                <a:gd name="connsiteY58" fmla="*/ 213199 h 761503"/>
                <a:gd name="connsiteX59" fmla="*/ 210478 w 516735"/>
                <a:gd name="connsiteY59" fmla="*/ 145207 h 761503"/>
                <a:gd name="connsiteX60" fmla="*/ 213198 w 516735"/>
                <a:gd name="connsiteY60" fmla="*/ 131609 h 761503"/>
                <a:gd name="connsiteX61" fmla="*/ 205040 w 516735"/>
                <a:gd name="connsiteY61" fmla="*/ 123450 h 761503"/>
                <a:gd name="connsiteX62" fmla="*/ 161525 w 516735"/>
                <a:gd name="connsiteY62" fmla="*/ 123450 h 761503"/>
                <a:gd name="connsiteX63" fmla="*/ 112571 w 516735"/>
                <a:gd name="connsiteY63" fmla="*/ 120730 h 761503"/>
                <a:gd name="connsiteX64" fmla="*/ 104412 w 516735"/>
                <a:gd name="connsiteY64" fmla="*/ 118011 h 761503"/>
                <a:gd name="connsiteX65" fmla="*/ 107132 w 516735"/>
                <a:gd name="connsiteY65" fmla="*/ 191441 h 761503"/>
                <a:gd name="connsiteX66" fmla="*/ 90814 w 516735"/>
                <a:gd name="connsiteY66" fmla="*/ 224077 h 761503"/>
                <a:gd name="connsiteX67" fmla="*/ 74496 w 516735"/>
                <a:gd name="connsiteY67" fmla="*/ 218638 h 761503"/>
                <a:gd name="connsiteX68" fmla="*/ 66337 w 516735"/>
                <a:gd name="connsiteY68" fmla="*/ 205040 h 761503"/>
                <a:gd name="connsiteX69" fmla="*/ 63617 w 516735"/>
                <a:gd name="connsiteY69" fmla="*/ 186002 h 761503"/>
                <a:gd name="connsiteX70" fmla="*/ 63617 w 516735"/>
                <a:gd name="connsiteY70" fmla="*/ 145207 h 761503"/>
                <a:gd name="connsiteX71" fmla="*/ 63617 w 516735"/>
                <a:gd name="connsiteY71" fmla="*/ 109852 h 761503"/>
                <a:gd name="connsiteX72" fmla="*/ 58178 w 516735"/>
                <a:gd name="connsiteY72" fmla="*/ 96253 h 761503"/>
                <a:gd name="connsiteX73" fmla="*/ 66337 w 516735"/>
                <a:gd name="connsiteY73" fmla="*/ 85375 h 761503"/>
                <a:gd name="connsiteX74" fmla="*/ 93533 w 516735"/>
                <a:gd name="connsiteY74" fmla="*/ 77216 h 761503"/>
                <a:gd name="connsiteX75" fmla="*/ 115290 w 516735"/>
                <a:gd name="connsiteY75" fmla="*/ 77216 h 761503"/>
                <a:gd name="connsiteX76" fmla="*/ 169684 w 516735"/>
                <a:gd name="connsiteY76" fmla="*/ 74496 h 761503"/>
                <a:gd name="connsiteX77" fmla="*/ 194161 w 516735"/>
                <a:gd name="connsiteY77" fmla="*/ 71776 h 761503"/>
                <a:gd name="connsiteX78" fmla="*/ 196880 w 516735"/>
                <a:gd name="connsiteY78" fmla="*/ 71776 h 761503"/>
                <a:gd name="connsiteX79" fmla="*/ 210478 w 516735"/>
                <a:gd name="connsiteY79" fmla="*/ 71776 h 761503"/>
                <a:gd name="connsiteX80" fmla="*/ 218638 w 516735"/>
                <a:gd name="connsiteY80" fmla="*/ 71776 h 761503"/>
                <a:gd name="connsiteX81" fmla="*/ 237675 w 516735"/>
                <a:gd name="connsiteY81" fmla="*/ 60898 h 761503"/>
                <a:gd name="connsiteX82" fmla="*/ 253993 w 516735"/>
                <a:gd name="connsiteY82" fmla="*/ 58178 h 761503"/>
                <a:gd name="connsiteX83" fmla="*/ 283910 w 516735"/>
                <a:gd name="connsiteY83" fmla="*/ 60898 h 761503"/>
                <a:gd name="connsiteX84" fmla="*/ 294788 w 516735"/>
                <a:gd name="connsiteY84" fmla="*/ 66337 h 761503"/>
                <a:gd name="connsiteX85" fmla="*/ 305667 w 516735"/>
                <a:gd name="connsiteY85" fmla="*/ 74496 h 761503"/>
                <a:gd name="connsiteX86" fmla="*/ 313826 w 516735"/>
                <a:gd name="connsiteY86" fmla="*/ 74496 h 761503"/>
                <a:gd name="connsiteX87" fmla="*/ 327424 w 516735"/>
                <a:gd name="connsiteY87" fmla="*/ 74496 h 761503"/>
                <a:gd name="connsiteX88" fmla="*/ 354621 w 516735"/>
                <a:gd name="connsiteY88" fmla="*/ 74496 h 761503"/>
                <a:gd name="connsiteX89" fmla="*/ 422612 w 516735"/>
                <a:gd name="connsiteY89" fmla="*/ 74496 h 761503"/>
                <a:gd name="connsiteX90" fmla="*/ 455248 w 516735"/>
                <a:gd name="connsiteY90" fmla="*/ 79936 h 761503"/>
                <a:gd name="connsiteX91" fmla="*/ 466127 w 516735"/>
                <a:gd name="connsiteY91" fmla="*/ 98973 h 761503"/>
                <a:gd name="connsiteX92" fmla="*/ 463407 w 516735"/>
                <a:gd name="connsiteY92" fmla="*/ 109852 h 761503"/>
                <a:gd name="connsiteX93" fmla="*/ 463407 w 516735"/>
                <a:gd name="connsiteY93" fmla="*/ 120730 h 761503"/>
                <a:gd name="connsiteX94" fmla="*/ 463407 w 516735"/>
                <a:gd name="connsiteY94" fmla="*/ 194161 h 761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</a:cxnLst>
              <a:rect l="l" t="t" r="r" b="b"/>
              <a:pathLst>
                <a:path w="516735" h="761503">
                  <a:moveTo>
                    <a:pt x="463407" y="194161"/>
                  </a:moveTo>
                  <a:cubicBezTo>
                    <a:pt x="463407" y="205040"/>
                    <a:pt x="463407" y="226797"/>
                    <a:pt x="447089" y="226797"/>
                  </a:cubicBezTo>
                  <a:cubicBezTo>
                    <a:pt x="438930" y="226797"/>
                    <a:pt x="436211" y="226797"/>
                    <a:pt x="430771" y="221357"/>
                  </a:cubicBezTo>
                  <a:cubicBezTo>
                    <a:pt x="425332" y="218638"/>
                    <a:pt x="422612" y="210479"/>
                    <a:pt x="422612" y="207759"/>
                  </a:cubicBezTo>
                  <a:cubicBezTo>
                    <a:pt x="419893" y="199600"/>
                    <a:pt x="419893" y="194161"/>
                    <a:pt x="419893" y="188722"/>
                  </a:cubicBezTo>
                  <a:cubicBezTo>
                    <a:pt x="419893" y="183282"/>
                    <a:pt x="419893" y="147927"/>
                    <a:pt x="419893" y="139768"/>
                  </a:cubicBezTo>
                  <a:cubicBezTo>
                    <a:pt x="419893" y="134329"/>
                    <a:pt x="419893" y="128889"/>
                    <a:pt x="419893" y="120730"/>
                  </a:cubicBezTo>
                  <a:cubicBezTo>
                    <a:pt x="411734" y="120730"/>
                    <a:pt x="403574" y="120730"/>
                    <a:pt x="395416" y="120730"/>
                  </a:cubicBezTo>
                  <a:cubicBezTo>
                    <a:pt x="387256" y="120730"/>
                    <a:pt x="379098" y="120730"/>
                    <a:pt x="370939" y="120730"/>
                  </a:cubicBezTo>
                  <a:cubicBezTo>
                    <a:pt x="362780" y="120730"/>
                    <a:pt x="354621" y="123450"/>
                    <a:pt x="346461" y="123450"/>
                  </a:cubicBezTo>
                  <a:cubicBezTo>
                    <a:pt x="343742" y="123450"/>
                    <a:pt x="341023" y="123450"/>
                    <a:pt x="335583" y="123450"/>
                  </a:cubicBezTo>
                  <a:cubicBezTo>
                    <a:pt x="335583" y="123450"/>
                    <a:pt x="335583" y="123450"/>
                    <a:pt x="335583" y="123450"/>
                  </a:cubicBezTo>
                  <a:cubicBezTo>
                    <a:pt x="327424" y="123450"/>
                    <a:pt x="324704" y="126170"/>
                    <a:pt x="324704" y="128889"/>
                  </a:cubicBezTo>
                  <a:cubicBezTo>
                    <a:pt x="324704" y="131609"/>
                    <a:pt x="324704" y="137048"/>
                    <a:pt x="327424" y="139768"/>
                  </a:cubicBezTo>
                  <a:cubicBezTo>
                    <a:pt x="330144" y="147927"/>
                    <a:pt x="330144" y="166964"/>
                    <a:pt x="330144" y="175123"/>
                  </a:cubicBezTo>
                  <a:cubicBezTo>
                    <a:pt x="330144" y="183282"/>
                    <a:pt x="330144" y="191441"/>
                    <a:pt x="330144" y="199600"/>
                  </a:cubicBezTo>
                  <a:cubicBezTo>
                    <a:pt x="330144" y="207759"/>
                    <a:pt x="327424" y="215918"/>
                    <a:pt x="327424" y="224077"/>
                  </a:cubicBezTo>
                  <a:cubicBezTo>
                    <a:pt x="327424" y="232236"/>
                    <a:pt x="330144" y="243115"/>
                    <a:pt x="330144" y="251274"/>
                  </a:cubicBezTo>
                  <a:cubicBezTo>
                    <a:pt x="330144" y="259433"/>
                    <a:pt x="330144" y="267592"/>
                    <a:pt x="327424" y="278470"/>
                  </a:cubicBezTo>
                  <a:cubicBezTo>
                    <a:pt x="327424" y="294788"/>
                    <a:pt x="327424" y="313826"/>
                    <a:pt x="327424" y="332864"/>
                  </a:cubicBezTo>
                  <a:cubicBezTo>
                    <a:pt x="327424" y="341022"/>
                    <a:pt x="327424" y="349181"/>
                    <a:pt x="330144" y="357340"/>
                  </a:cubicBezTo>
                  <a:cubicBezTo>
                    <a:pt x="330144" y="360060"/>
                    <a:pt x="330144" y="365499"/>
                    <a:pt x="330144" y="368219"/>
                  </a:cubicBezTo>
                  <a:cubicBezTo>
                    <a:pt x="330144" y="373658"/>
                    <a:pt x="332863" y="384537"/>
                    <a:pt x="332863" y="387257"/>
                  </a:cubicBezTo>
                  <a:cubicBezTo>
                    <a:pt x="332863" y="406294"/>
                    <a:pt x="332863" y="414453"/>
                    <a:pt x="332863" y="433491"/>
                  </a:cubicBezTo>
                  <a:cubicBezTo>
                    <a:pt x="332863" y="452528"/>
                    <a:pt x="335583" y="468846"/>
                    <a:pt x="332863" y="487884"/>
                  </a:cubicBezTo>
                  <a:cubicBezTo>
                    <a:pt x="332863" y="496043"/>
                    <a:pt x="330144" y="504202"/>
                    <a:pt x="330144" y="512361"/>
                  </a:cubicBezTo>
                  <a:cubicBezTo>
                    <a:pt x="330144" y="520520"/>
                    <a:pt x="330144" y="531398"/>
                    <a:pt x="330144" y="539557"/>
                  </a:cubicBezTo>
                  <a:cubicBezTo>
                    <a:pt x="330144" y="558595"/>
                    <a:pt x="330144" y="574913"/>
                    <a:pt x="332863" y="593950"/>
                  </a:cubicBezTo>
                  <a:cubicBezTo>
                    <a:pt x="332863" y="610268"/>
                    <a:pt x="332863" y="632026"/>
                    <a:pt x="332863" y="648343"/>
                  </a:cubicBezTo>
                  <a:cubicBezTo>
                    <a:pt x="332863" y="651063"/>
                    <a:pt x="332863" y="653783"/>
                    <a:pt x="332863" y="656502"/>
                  </a:cubicBezTo>
                  <a:cubicBezTo>
                    <a:pt x="343742" y="656502"/>
                    <a:pt x="351901" y="656502"/>
                    <a:pt x="357341" y="656502"/>
                  </a:cubicBezTo>
                  <a:cubicBezTo>
                    <a:pt x="370939" y="656502"/>
                    <a:pt x="395416" y="659222"/>
                    <a:pt x="395416" y="675540"/>
                  </a:cubicBezTo>
                  <a:cubicBezTo>
                    <a:pt x="395416" y="683699"/>
                    <a:pt x="392696" y="686419"/>
                    <a:pt x="389976" y="691858"/>
                  </a:cubicBezTo>
                  <a:cubicBezTo>
                    <a:pt x="384537" y="697297"/>
                    <a:pt x="379098" y="700017"/>
                    <a:pt x="373658" y="700017"/>
                  </a:cubicBezTo>
                  <a:cubicBezTo>
                    <a:pt x="365499" y="702737"/>
                    <a:pt x="357341" y="702737"/>
                    <a:pt x="351901" y="702737"/>
                  </a:cubicBezTo>
                  <a:cubicBezTo>
                    <a:pt x="349181" y="702737"/>
                    <a:pt x="335583" y="702737"/>
                    <a:pt x="319265" y="702737"/>
                  </a:cubicBezTo>
                  <a:cubicBezTo>
                    <a:pt x="316546" y="705456"/>
                    <a:pt x="313826" y="705456"/>
                    <a:pt x="311106" y="708176"/>
                  </a:cubicBezTo>
                  <a:cubicBezTo>
                    <a:pt x="302948" y="713615"/>
                    <a:pt x="297508" y="713615"/>
                    <a:pt x="289349" y="713615"/>
                  </a:cubicBezTo>
                  <a:cubicBezTo>
                    <a:pt x="283910" y="713615"/>
                    <a:pt x="278470" y="713615"/>
                    <a:pt x="270311" y="713615"/>
                  </a:cubicBezTo>
                  <a:cubicBezTo>
                    <a:pt x="259433" y="713615"/>
                    <a:pt x="251273" y="710895"/>
                    <a:pt x="243115" y="705456"/>
                  </a:cubicBezTo>
                  <a:cubicBezTo>
                    <a:pt x="240395" y="705456"/>
                    <a:pt x="237675" y="702737"/>
                    <a:pt x="237675" y="702737"/>
                  </a:cubicBezTo>
                  <a:cubicBezTo>
                    <a:pt x="224077" y="702737"/>
                    <a:pt x="213198" y="702737"/>
                    <a:pt x="199600" y="702737"/>
                  </a:cubicBezTo>
                  <a:cubicBezTo>
                    <a:pt x="191441" y="702737"/>
                    <a:pt x="183282" y="702737"/>
                    <a:pt x="175123" y="702737"/>
                  </a:cubicBezTo>
                  <a:cubicBezTo>
                    <a:pt x="166965" y="702737"/>
                    <a:pt x="156085" y="702737"/>
                    <a:pt x="147927" y="697297"/>
                  </a:cubicBezTo>
                  <a:cubicBezTo>
                    <a:pt x="139768" y="694578"/>
                    <a:pt x="131609" y="680979"/>
                    <a:pt x="131609" y="678260"/>
                  </a:cubicBezTo>
                  <a:cubicBezTo>
                    <a:pt x="131609" y="675540"/>
                    <a:pt x="131609" y="672820"/>
                    <a:pt x="137048" y="670101"/>
                  </a:cubicBezTo>
                  <a:cubicBezTo>
                    <a:pt x="142487" y="667381"/>
                    <a:pt x="153366" y="664661"/>
                    <a:pt x="158805" y="661942"/>
                  </a:cubicBezTo>
                  <a:cubicBezTo>
                    <a:pt x="175123" y="659222"/>
                    <a:pt x="191441" y="659222"/>
                    <a:pt x="199600" y="659222"/>
                  </a:cubicBezTo>
                  <a:lnTo>
                    <a:pt x="199600" y="659222"/>
                  </a:lnTo>
                  <a:cubicBezTo>
                    <a:pt x="199600" y="648343"/>
                    <a:pt x="196880" y="640184"/>
                    <a:pt x="196880" y="629306"/>
                  </a:cubicBezTo>
                  <a:cubicBezTo>
                    <a:pt x="196880" y="612988"/>
                    <a:pt x="196880" y="591231"/>
                    <a:pt x="199600" y="574913"/>
                  </a:cubicBezTo>
                  <a:cubicBezTo>
                    <a:pt x="199600" y="558595"/>
                    <a:pt x="199600" y="539557"/>
                    <a:pt x="202320" y="523239"/>
                  </a:cubicBezTo>
                  <a:cubicBezTo>
                    <a:pt x="202320" y="501482"/>
                    <a:pt x="205040" y="482445"/>
                    <a:pt x="205040" y="460687"/>
                  </a:cubicBezTo>
                  <a:cubicBezTo>
                    <a:pt x="205040" y="447089"/>
                    <a:pt x="205040" y="430771"/>
                    <a:pt x="205040" y="417173"/>
                  </a:cubicBezTo>
                  <a:cubicBezTo>
                    <a:pt x="205040" y="409014"/>
                    <a:pt x="207759" y="400855"/>
                    <a:pt x="207759" y="392696"/>
                  </a:cubicBezTo>
                  <a:cubicBezTo>
                    <a:pt x="207759" y="384537"/>
                    <a:pt x="210478" y="376378"/>
                    <a:pt x="210478" y="368219"/>
                  </a:cubicBezTo>
                  <a:cubicBezTo>
                    <a:pt x="210478" y="351901"/>
                    <a:pt x="210478" y="332864"/>
                    <a:pt x="210478" y="313826"/>
                  </a:cubicBezTo>
                  <a:cubicBezTo>
                    <a:pt x="210478" y="294788"/>
                    <a:pt x="210478" y="275751"/>
                    <a:pt x="210478" y="259433"/>
                  </a:cubicBezTo>
                  <a:cubicBezTo>
                    <a:pt x="210478" y="243115"/>
                    <a:pt x="210478" y="226797"/>
                    <a:pt x="210478" y="213199"/>
                  </a:cubicBezTo>
                  <a:cubicBezTo>
                    <a:pt x="210478" y="194161"/>
                    <a:pt x="210478" y="164245"/>
                    <a:pt x="210478" y="145207"/>
                  </a:cubicBezTo>
                  <a:cubicBezTo>
                    <a:pt x="210478" y="139768"/>
                    <a:pt x="213198" y="134329"/>
                    <a:pt x="213198" y="131609"/>
                  </a:cubicBezTo>
                  <a:cubicBezTo>
                    <a:pt x="213198" y="126170"/>
                    <a:pt x="207759" y="123450"/>
                    <a:pt x="205040" y="123450"/>
                  </a:cubicBezTo>
                  <a:cubicBezTo>
                    <a:pt x="199600" y="123450"/>
                    <a:pt x="166965" y="123450"/>
                    <a:pt x="161525" y="123450"/>
                  </a:cubicBezTo>
                  <a:cubicBezTo>
                    <a:pt x="145207" y="123450"/>
                    <a:pt x="128889" y="123450"/>
                    <a:pt x="112571" y="120730"/>
                  </a:cubicBezTo>
                  <a:cubicBezTo>
                    <a:pt x="109852" y="120730"/>
                    <a:pt x="107132" y="120730"/>
                    <a:pt x="104412" y="118011"/>
                  </a:cubicBezTo>
                  <a:cubicBezTo>
                    <a:pt x="107132" y="137048"/>
                    <a:pt x="107132" y="172404"/>
                    <a:pt x="107132" y="191441"/>
                  </a:cubicBezTo>
                  <a:cubicBezTo>
                    <a:pt x="107132" y="202320"/>
                    <a:pt x="107132" y="224077"/>
                    <a:pt x="90814" y="224077"/>
                  </a:cubicBezTo>
                  <a:cubicBezTo>
                    <a:pt x="82655" y="224077"/>
                    <a:pt x="79935" y="221357"/>
                    <a:pt x="74496" y="218638"/>
                  </a:cubicBezTo>
                  <a:cubicBezTo>
                    <a:pt x="69057" y="215918"/>
                    <a:pt x="66337" y="210479"/>
                    <a:pt x="66337" y="205040"/>
                  </a:cubicBezTo>
                  <a:cubicBezTo>
                    <a:pt x="63617" y="196881"/>
                    <a:pt x="63617" y="191441"/>
                    <a:pt x="63617" y="186002"/>
                  </a:cubicBezTo>
                  <a:cubicBezTo>
                    <a:pt x="63617" y="180563"/>
                    <a:pt x="63617" y="153366"/>
                    <a:pt x="63617" y="145207"/>
                  </a:cubicBezTo>
                  <a:cubicBezTo>
                    <a:pt x="63617" y="134329"/>
                    <a:pt x="63617" y="120730"/>
                    <a:pt x="63617" y="109852"/>
                  </a:cubicBezTo>
                  <a:cubicBezTo>
                    <a:pt x="60897" y="104412"/>
                    <a:pt x="58178" y="101693"/>
                    <a:pt x="58178" y="96253"/>
                  </a:cubicBezTo>
                  <a:cubicBezTo>
                    <a:pt x="58178" y="93534"/>
                    <a:pt x="60897" y="88095"/>
                    <a:pt x="66337" y="85375"/>
                  </a:cubicBezTo>
                  <a:cubicBezTo>
                    <a:pt x="74496" y="79936"/>
                    <a:pt x="77215" y="77216"/>
                    <a:pt x="93533" y="77216"/>
                  </a:cubicBezTo>
                  <a:cubicBezTo>
                    <a:pt x="101692" y="77216"/>
                    <a:pt x="109852" y="77216"/>
                    <a:pt x="115290" y="77216"/>
                  </a:cubicBezTo>
                  <a:cubicBezTo>
                    <a:pt x="134328" y="77216"/>
                    <a:pt x="150646" y="77216"/>
                    <a:pt x="169684" y="74496"/>
                  </a:cubicBezTo>
                  <a:cubicBezTo>
                    <a:pt x="177843" y="74496"/>
                    <a:pt x="186002" y="71776"/>
                    <a:pt x="194161" y="71776"/>
                  </a:cubicBezTo>
                  <a:cubicBezTo>
                    <a:pt x="194161" y="71776"/>
                    <a:pt x="196880" y="71776"/>
                    <a:pt x="196880" y="71776"/>
                  </a:cubicBezTo>
                  <a:cubicBezTo>
                    <a:pt x="199600" y="71776"/>
                    <a:pt x="205040" y="71776"/>
                    <a:pt x="210478" y="71776"/>
                  </a:cubicBezTo>
                  <a:cubicBezTo>
                    <a:pt x="213198" y="71776"/>
                    <a:pt x="215918" y="71776"/>
                    <a:pt x="218638" y="71776"/>
                  </a:cubicBezTo>
                  <a:cubicBezTo>
                    <a:pt x="224077" y="69057"/>
                    <a:pt x="229516" y="63618"/>
                    <a:pt x="237675" y="60898"/>
                  </a:cubicBezTo>
                  <a:cubicBezTo>
                    <a:pt x="243115" y="58178"/>
                    <a:pt x="248554" y="58178"/>
                    <a:pt x="253993" y="58178"/>
                  </a:cubicBezTo>
                  <a:cubicBezTo>
                    <a:pt x="264872" y="58178"/>
                    <a:pt x="273031" y="58178"/>
                    <a:pt x="283910" y="60898"/>
                  </a:cubicBezTo>
                  <a:cubicBezTo>
                    <a:pt x="286629" y="60898"/>
                    <a:pt x="292068" y="63618"/>
                    <a:pt x="294788" y="66337"/>
                  </a:cubicBezTo>
                  <a:cubicBezTo>
                    <a:pt x="297508" y="69057"/>
                    <a:pt x="302948" y="71776"/>
                    <a:pt x="305667" y="74496"/>
                  </a:cubicBezTo>
                  <a:cubicBezTo>
                    <a:pt x="308386" y="74496"/>
                    <a:pt x="311106" y="74496"/>
                    <a:pt x="313826" y="74496"/>
                  </a:cubicBezTo>
                  <a:cubicBezTo>
                    <a:pt x="319265" y="74496"/>
                    <a:pt x="321985" y="74496"/>
                    <a:pt x="327424" y="74496"/>
                  </a:cubicBezTo>
                  <a:cubicBezTo>
                    <a:pt x="335583" y="74496"/>
                    <a:pt x="346461" y="74496"/>
                    <a:pt x="354621" y="74496"/>
                  </a:cubicBezTo>
                  <a:cubicBezTo>
                    <a:pt x="376378" y="74496"/>
                    <a:pt x="400855" y="74496"/>
                    <a:pt x="422612" y="74496"/>
                  </a:cubicBezTo>
                  <a:cubicBezTo>
                    <a:pt x="433491" y="74496"/>
                    <a:pt x="447089" y="74496"/>
                    <a:pt x="455248" y="79936"/>
                  </a:cubicBezTo>
                  <a:cubicBezTo>
                    <a:pt x="460687" y="82655"/>
                    <a:pt x="466127" y="90814"/>
                    <a:pt x="466127" y="98973"/>
                  </a:cubicBezTo>
                  <a:cubicBezTo>
                    <a:pt x="466127" y="101693"/>
                    <a:pt x="466127" y="107132"/>
                    <a:pt x="463407" y="109852"/>
                  </a:cubicBezTo>
                  <a:cubicBezTo>
                    <a:pt x="463407" y="112571"/>
                    <a:pt x="463407" y="112571"/>
                    <a:pt x="463407" y="120730"/>
                  </a:cubicBezTo>
                  <a:cubicBezTo>
                    <a:pt x="463407" y="142488"/>
                    <a:pt x="463407" y="172404"/>
                    <a:pt x="463407" y="194161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60" name="Content Placeholder 59">
            <a:extLst>
              <a:ext uri="{FF2B5EF4-FFF2-40B4-BE49-F238E27FC236}">
                <a16:creationId xmlns:a16="http://schemas.microsoft.com/office/drawing/2014/main" id="{8EFE1F84-4849-448C-8C35-33EC553AD838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7185025" y="1981200"/>
            <a:ext cx="4625975" cy="29083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 or choose an icon below to insert other conten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194345935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ull Picture with Squar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: Shape 6">
            <a:extLst>
              <a:ext uri="{FF2B5EF4-FFF2-40B4-BE49-F238E27FC236}">
                <a16:creationId xmlns:a16="http://schemas.microsoft.com/office/drawing/2014/main" id="{B66CA63B-C1B1-43E5-8904-2600EAA42658}"/>
              </a:ext>
            </a:extLst>
          </p:cNvPr>
          <p:cNvSpPr/>
          <p:nvPr/>
        </p:nvSpPr>
        <p:spPr bwMode="ltGray">
          <a:xfrm>
            <a:off x="10442039" y="5952152"/>
            <a:ext cx="1626142" cy="905848"/>
          </a:xfrm>
          <a:custGeom>
            <a:avLst/>
            <a:gdLst>
              <a:gd name="connsiteX0" fmla="*/ 838774 w 1585477"/>
              <a:gd name="connsiteY0" fmla="*/ 14 h 883197"/>
              <a:gd name="connsiteX1" fmla="*/ 996107 w 1585477"/>
              <a:gd name="connsiteY1" fmla="*/ 18377 h 883197"/>
              <a:gd name="connsiteX2" fmla="*/ 1585477 w 1585477"/>
              <a:gd name="connsiteY2" fmla="*/ 746145 h 883197"/>
              <a:gd name="connsiteX3" fmla="*/ 1585202 w 1585477"/>
              <a:gd name="connsiteY3" fmla="*/ 883197 h 883197"/>
              <a:gd name="connsiteX4" fmla="*/ 695 w 1585477"/>
              <a:gd name="connsiteY4" fmla="*/ 883197 h 883197"/>
              <a:gd name="connsiteX5" fmla="*/ 294 w 1585477"/>
              <a:gd name="connsiteY5" fmla="*/ 879328 h 883197"/>
              <a:gd name="connsiteX6" fmla="*/ 20167 w 1585477"/>
              <a:gd name="connsiteY6" fmla="*/ 648487 h 883197"/>
              <a:gd name="connsiteX7" fmla="*/ 838774 w 1585477"/>
              <a:gd name="connsiteY7" fmla="*/ 14 h 8831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585477" h="883197">
                <a:moveTo>
                  <a:pt x="838774" y="14"/>
                </a:moveTo>
                <a:cubicBezTo>
                  <a:pt x="891699" y="335"/>
                  <a:pt x="944452" y="6288"/>
                  <a:pt x="996107" y="18377"/>
                </a:cubicBezTo>
                <a:cubicBezTo>
                  <a:pt x="1344865" y="100437"/>
                  <a:pt x="1558993" y="409128"/>
                  <a:pt x="1585477" y="746145"/>
                </a:cubicBezTo>
                <a:lnTo>
                  <a:pt x="1585202" y="883197"/>
                </a:lnTo>
                <a:lnTo>
                  <a:pt x="695" y="883197"/>
                </a:lnTo>
                <a:lnTo>
                  <a:pt x="294" y="879328"/>
                </a:lnTo>
                <a:cubicBezTo>
                  <a:pt x="-1813" y="797038"/>
                  <a:pt x="7712" y="718092"/>
                  <a:pt x="20167" y="648487"/>
                </a:cubicBezTo>
                <a:cubicBezTo>
                  <a:pt x="89408" y="271519"/>
                  <a:pt x="468297" y="-2229"/>
                  <a:pt x="838774" y="14"/>
                </a:cubicBezTo>
                <a:close/>
              </a:path>
            </a:pathLst>
          </a:custGeom>
          <a:solidFill>
            <a:srgbClr val="4F2170"/>
          </a:solidFill>
          <a:ln w="9525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>
              <a:lnSpc>
                <a:spcPct val="90000"/>
              </a:lnSpc>
            </a:pPr>
            <a:endParaRPr lang="en-US">
              <a:solidFill>
                <a:schemeClr val="bg1"/>
              </a:solidFill>
            </a:endParaRPr>
          </a:p>
        </p:txBody>
      </p:sp>
      <p:sp>
        <p:nvSpPr>
          <p:cNvPr id="57" name="Picture Placeholder 56">
            <a:extLst>
              <a:ext uri="{FF2B5EF4-FFF2-40B4-BE49-F238E27FC236}">
                <a16:creationId xmlns:a16="http://schemas.microsoft.com/office/drawing/2014/main" id="{1992DD06-529E-413D-A391-D73017C8142F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11568889 w 12192000"/>
              <a:gd name="connsiteY0" fmla="*/ 372706 h 6858000"/>
              <a:gd name="connsiteX1" fmla="*/ 10371380 w 12192000"/>
              <a:gd name="connsiteY1" fmla="*/ 401205 h 6858000"/>
              <a:gd name="connsiteX2" fmla="*/ 8894854 w 12192000"/>
              <a:gd name="connsiteY2" fmla="*/ 410711 h 6858000"/>
              <a:gd name="connsiteX3" fmla="*/ 6395207 w 12192000"/>
              <a:gd name="connsiteY3" fmla="*/ 439209 h 6858000"/>
              <a:gd name="connsiteX4" fmla="*/ 6348702 w 12192000"/>
              <a:gd name="connsiteY4" fmla="*/ 781250 h 6858000"/>
              <a:gd name="connsiteX5" fmla="*/ 6337082 w 12192000"/>
              <a:gd name="connsiteY5" fmla="*/ 1018784 h 6858000"/>
              <a:gd name="connsiteX6" fmla="*/ 6313829 w 12192000"/>
              <a:gd name="connsiteY6" fmla="*/ 1759872 h 6858000"/>
              <a:gd name="connsiteX7" fmla="*/ 6337082 w 12192000"/>
              <a:gd name="connsiteY7" fmla="*/ 2234929 h 6858000"/>
              <a:gd name="connsiteX8" fmla="*/ 6360334 w 12192000"/>
              <a:gd name="connsiteY8" fmla="*/ 3660100 h 6858000"/>
              <a:gd name="connsiteX9" fmla="*/ 6406839 w 12192000"/>
              <a:gd name="connsiteY9" fmla="*/ 4610214 h 6858000"/>
              <a:gd name="connsiteX10" fmla="*/ 6871889 w 12192000"/>
              <a:gd name="connsiteY10" fmla="*/ 4819239 h 6858000"/>
              <a:gd name="connsiteX11" fmla="*/ 7453200 w 12192000"/>
              <a:gd name="connsiteY11" fmla="*/ 4866740 h 6858000"/>
              <a:gd name="connsiteX12" fmla="*/ 10592284 w 12192000"/>
              <a:gd name="connsiteY12" fmla="*/ 4904744 h 6858000"/>
              <a:gd name="connsiteX13" fmla="*/ 11010830 w 12192000"/>
              <a:gd name="connsiteY13" fmla="*/ 4857244 h 6858000"/>
              <a:gd name="connsiteX14" fmla="*/ 11417742 w 12192000"/>
              <a:gd name="connsiteY14" fmla="*/ 4847738 h 6858000"/>
              <a:gd name="connsiteX15" fmla="*/ 11813034 w 12192000"/>
              <a:gd name="connsiteY15" fmla="*/ 4695719 h 6858000"/>
              <a:gd name="connsiteX16" fmla="*/ 11847918 w 12192000"/>
              <a:gd name="connsiteY16" fmla="*/ 3869125 h 6858000"/>
              <a:gd name="connsiteX17" fmla="*/ 11847918 w 12192000"/>
              <a:gd name="connsiteY17" fmla="*/ 3204046 h 6858000"/>
              <a:gd name="connsiteX18" fmla="*/ 11836286 w 12192000"/>
              <a:gd name="connsiteY18" fmla="*/ 2244426 h 6858000"/>
              <a:gd name="connsiteX19" fmla="*/ 11824666 w 12192000"/>
              <a:gd name="connsiteY19" fmla="*/ 971273 h 6858000"/>
              <a:gd name="connsiteX20" fmla="*/ 11568889 w 12192000"/>
              <a:gd name="connsiteY20" fmla="*/ 372706 h 6858000"/>
              <a:gd name="connsiteX21" fmla="*/ 0 w 12192000"/>
              <a:gd name="connsiteY21" fmla="*/ 0 h 6858000"/>
              <a:gd name="connsiteX22" fmla="*/ 12192000 w 12192000"/>
              <a:gd name="connsiteY22" fmla="*/ 0 h 6858000"/>
              <a:gd name="connsiteX23" fmla="*/ 12192000 w 12192000"/>
              <a:gd name="connsiteY23" fmla="*/ 6858000 h 6858000"/>
              <a:gd name="connsiteX24" fmla="*/ 12047573 w 12192000"/>
              <a:gd name="connsiteY24" fmla="*/ 6858000 h 6858000"/>
              <a:gd name="connsiteX25" fmla="*/ 12047848 w 12192000"/>
              <a:gd name="connsiteY25" fmla="*/ 6720949 h 6858000"/>
              <a:gd name="connsiteX26" fmla="*/ 11458478 w 12192000"/>
              <a:gd name="connsiteY26" fmla="*/ 5993181 h 6858000"/>
              <a:gd name="connsiteX27" fmla="*/ 11301145 w 12192000"/>
              <a:gd name="connsiteY27" fmla="*/ 5974818 h 6858000"/>
              <a:gd name="connsiteX28" fmla="*/ 10482538 w 12192000"/>
              <a:gd name="connsiteY28" fmla="*/ 6623291 h 6858000"/>
              <a:gd name="connsiteX29" fmla="*/ 10462665 w 12192000"/>
              <a:gd name="connsiteY29" fmla="*/ 6854132 h 6858000"/>
              <a:gd name="connsiteX30" fmla="*/ 10463066 w 12192000"/>
              <a:gd name="connsiteY30" fmla="*/ 6858000 h 6858000"/>
              <a:gd name="connsiteX31" fmla="*/ 0 w 12192000"/>
              <a:gd name="connsiteY31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</a:cxnLst>
            <a:rect l="l" t="t" r="r" b="b"/>
            <a:pathLst>
              <a:path w="12192000" h="6858000">
                <a:moveTo>
                  <a:pt x="11568889" y="372706"/>
                </a:moveTo>
                <a:cubicBezTo>
                  <a:pt x="11429374" y="372706"/>
                  <a:pt x="10510895" y="410711"/>
                  <a:pt x="10371380" y="401205"/>
                </a:cubicBezTo>
                <a:cubicBezTo>
                  <a:pt x="9929583" y="391708"/>
                  <a:pt x="9348271" y="410711"/>
                  <a:pt x="8894854" y="410711"/>
                </a:cubicBezTo>
                <a:cubicBezTo>
                  <a:pt x="7999628" y="410711"/>
                  <a:pt x="7150918" y="353704"/>
                  <a:pt x="6395207" y="439209"/>
                </a:cubicBezTo>
                <a:cubicBezTo>
                  <a:pt x="6371954" y="458211"/>
                  <a:pt x="6348702" y="724243"/>
                  <a:pt x="6348702" y="781250"/>
                </a:cubicBezTo>
                <a:cubicBezTo>
                  <a:pt x="6348702" y="933268"/>
                  <a:pt x="6348702" y="923772"/>
                  <a:pt x="6337082" y="1018784"/>
                </a:cubicBezTo>
                <a:cubicBezTo>
                  <a:pt x="6278944" y="1294312"/>
                  <a:pt x="6371954" y="1493841"/>
                  <a:pt x="6313829" y="1759872"/>
                </a:cubicBezTo>
                <a:lnTo>
                  <a:pt x="6337082" y="2234929"/>
                </a:lnTo>
                <a:cubicBezTo>
                  <a:pt x="6337082" y="2824000"/>
                  <a:pt x="6337082" y="3166041"/>
                  <a:pt x="6360334" y="3660100"/>
                </a:cubicBezTo>
                <a:cubicBezTo>
                  <a:pt x="6371954" y="3878621"/>
                  <a:pt x="6337082" y="4439194"/>
                  <a:pt x="6406839" y="4610214"/>
                </a:cubicBezTo>
                <a:cubicBezTo>
                  <a:pt x="6488217" y="4819239"/>
                  <a:pt x="6616111" y="4781235"/>
                  <a:pt x="6871889" y="4819239"/>
                </a:cubicBezTo>
                <a:cubicBezTo>
                  <a:pt x="7150918" y="4866740"/>
                  <a:pt x="7325306" y="4866740"/>
                  <a:pt x="7453200" y="4866740"/>
                </a:cubicBezTo>
                <a:cubicBezTo>
                  <a:pt x="8825096" y="4876246"/>
                  <a:pt x="9406408" y="4933253"/>
                  <a:pt x="10592284" y="4904744"/>
                </a:cubicBezTo>
                <a:cubicBezTo>
                  <a:pt x="10708547" y="4904744"/>
                  <a:pt x="10906187" y="4876246"/>
                  <a:pt x="11010830" y="4857244"/>
                </a:cubicBezTo>
                <a:cubicBezTo>
                  <a:pt x="11150344" y="4838242"/>
                  <a:pt x="11324732" y="4857244"/>
                  <a:pt x="11417742" y="4847738"/>
                </a:cubicBezTo>
                <a:cubicBezTo>
                  <a:pt x="11580509" y="4828735"/>
                  <a:pt x="11789781" y="4809733"/>
                  <a:pt x="11813034" y="4695719"/>
                </a:cubicBezTo>
                <a:cubicBezTo>
                  <a:pt x="11859538" y="4410685"/>
                  <a:pt x="11836286" y="4087646"/>
                  <a:pt x="11847918" y="3869125"/>
                </a:cubicBezTo>
                <a:cubicBezTo>
                  <a:pt x="11859538" y="3650594"/>
                  <a:pt x="11836286" y="3422567"/>
                  <a:pt x="11847918" y="3204046"/>
                </a:cubicBezTo>
                <a:cubicBezTo>
                  <a:pt x="11859538" y="2890503"/>
                  <a:pt x="11824666" y="2557968"/>
                  <a:pt x="11836286" y="2244426"/>
                </a:cubicBezTo>
                <a:cubicBezTo>
                  <a:pt x="11859538" y="1816879"/>
                  <a:pt x="11813034" y="1398829"/>
                  <a:pt x="11824666" y="971273"/>
                </a:cubicBezTo>
                <a:cubicBezTo>
                  <a:pt x="11824666" y="676743"/>
                  <a:pt x="11871171" y="372706"/>
                  <a:pt x="11568889" y="372706"/>
                </a:cubicBez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12047573" y="6858000"/>
                </a:lnTo>
                <a:lnTo>
                  <a:pt x="12047848" y="6720949"/>
                </a:lnTo>
                <a:cubicBezTo>
                  <a:pt x="12021364" y="6383932"/>
                  <a:pt x="11807236" y="6075241"/>
                  <a:pt x="11458478" y="5993181"/>
                </a:cubicBezTo>
                <a:cubicBezTo>
                  <a:pt x="11406823" y="5981092"/>
                  <a:pt x="11354070" y="5975139"/>
                  <a:pt x="11301145" y="5974818"/>
                </a:cubicBezTo>
                <a:cubicBezTo>
                  <a:pt x="10930668" y="5972575"/>
                  <a:pt x="10551779" y="6246323"/>
                  <a:pt x="10482538" y="6623291"/>
                </a:cubicBezTo>
                <a:cubicBezTo>
                  <a:pt x="10470083" y="6692896"/>
                  <a:pt x="10460558" y="6771842"/>
                  <a:pt x="10462665" y="6854132"/>
                </a:cubicBezTo>
                <a:lnTo>
                  <a:pt x="10463066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D9D9D9"/>
          </a:solidFill>
        </p:spPr>
        <p:txBody>
          <a:bodyPr wrap="square" lIns="0" rIns="3474720" anchor="ctr" anchorCtr="0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Arial" panose="020B0604020202020204" pitchFamily="34" charset="0"/>
              <a:buNone/>
              <a:tabLst/>
              <a:defRPr sz="16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insert picture</a:t>
            </a:r>
            <a:br>
              <a:rPr lang="en-US"/>
            </a:br>
            <a:r>
              <a:rPr lang="en-US"/>
              <a:t>(minimum recommended size for </a:t>
            </a:r>
            <a:br>
              <a:rPr lang="en-US"/>
            </a:br>
            <a:r>
              <a:rPr lang="en-US"/>
              <a:t>full slide image is 1280 x 720 pixels)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054D87F-D170-4CA6-B8DB-A068AAB2EE6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38914" y="656717"/>
            <a:ext cx="5065253" cy="9398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DBB3B4C9-10AF-4C1C-BD4C-19B5526DA837}"/>
              </a:ext>
            </a:extLst>
          </p:cNvPr>
          <p:cNvGrpSpPr>
            <a:grpSpLocks noChangeAspect="1"/>
          </p:cNvGrpSpPr>
          <p:nvPr/>
        </p:nvGrpSpPr>
        <p:grpSpPr>
          <a:xfrm>
            <a:off x="10676779" y="6205751"/>
            <a:ext cx="1143000" cy="440144"/>
            <a:chOff x="2078951" y="1888610"/>
            <a:chExt cx="8030200" cy="3092248"/>
          </a:xfrm>
          <a:solidFill>
            <a:srgbClr val="FFFFFF"/>
          </a:solidFill>
        </p:grpSpPr>
        <p:sp>
          <p:nvSpPr>
            <p:cNvPr id="9" name="Freeform: Shape 8">
              <a:extLst>
                <a:ext uri="{FF2B5EF4-FFF2-40B4-BE49-F238E27FC236}">
                  <a16:creationId xmlns:a16="http://schemas.microsoft.com/office/drawing/2014/main" id="{2AA55965-C91C-46A8-84D3-9426B2920951}"/>
                </a:ext>
              </a:extLst>
            </p:cNvPr>
            <p:cNvSpPr/>
            <p:nvPr/>
          </p:nvSpPr>
          <p:spPr>
            <a:xfrm>
              <a:off x="2078951" y="2872694"/>
              <a:ext cx="951880" cy="652717"/>
            </a:xfrm>
            <a:custGeom>
              <a:avLst/>
              <a:gdLst>
                <a:gd name="connsiteX0" fmla="*/ 903041 w 951880"/>
                <a:gd name="connsiteY0" fmla="*/ 330574 h 652717"/>
                <a:gd name="connsiteX1" fmla="*/ 780656 w 951880"/>
                <a:gd name="connsiteY1" fmla="*/ 379528 h 652717"/>
                <a:gd name="connsiteX2" fmla="*/ 598439 w 951880"/>
                <a:gd name="connsiteY2" fmla="*/ 311537 h 652717"/>
                <a:gd name="connsiteX3" fmla="*/ 505970 w 951880"/>
                <a:gd name="connsiteY3" fmla="*/ 164675 h 652717"/>
                <a:gd name="connsiteX4" fmla="*/ 266640 w 951880"/>
                <a:gd name="connsiteY4" fmla="*/ 61329 h 652717"/>
                <a:gd name="connsiteX5" fmla="*/ 103461 w 951880"/>
                <a:gd name="connsiteY5" fmla="*/ 458398 h 652717"/>
                <a:gd name="connsiteX6" fmla="*/ 756179 w 951880"/>
                <a:gd name="connsiteY6" fmla="*/ 485595 h 652717"/>
                <a:gd name="connsiteX7" fmla="*/ 903041 w 951880"/>
                <a:gd name="connsiteY7" fmla="*/ 330574 h 6527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51880" h="652717">
                  <a:moveTo>
                    <a:pt x="903041" y="330574"/>
                  </a:moveTo>
                  <a:cubicBezTo>
                    <a:pt x="867685" y="363210"/>
                    <a:pt x="813292" y="374089"/>
                    <a:pt x="780656" y="379528"/>
                  </a:cubicBezTo>
                  <a:cubicBezTo>
                    <a:pt x="712664" y="387687"/>
                    <a:pt x="641953" y="365930"/>
                    <a:pt x="598439" y="311537"/>
                  </a:cubicBezTo>
                  <a:cubicBezTo>
                    <a:pt x="563083" y="268022"/>
                    <a:pt x="544046" y="210910"/>
                    <a:pt x="505970" y="164675"/>
                  </a:cubicBezTo>
                  <a:cubicBezTo>
                    <a:pt x="448858" y="93964"/>
                    <a:pt x="359109" y="45011"/>
                    <a:pt x="266640" y="61329"/>
                  </a:cubicBezTo>
                  <a:cubicBezTo>
                    <a:pt x="81704" y="93964"/>
                    <a:pt x="114" y="308817"/>
                    <a:pt x="103461" y="458398"/>
                  </a:cubicBezTo>
                  <a:cubicBezTo>
                    <a:pt x="253042" y="670531"/>
                    <a:pt x="584840" y="635176"/>
                    <a:pt x="756179" y="485595"/>
                  </a:cubicBezTo>
                  <a:cubicBezTo>
                    <a:pt x="813292" y="442080"/>
                    <a:pt x="862246" y="390407"/>
                    <a:pt x="903041" y="330574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" name="Freeform: Shape 9">
              <a:extLst>
                <a:ext uri="{FF2B5EF4-FFF2-40B4-BE49-F238E27FC236}">
                  <a16:creationId xmlns:a16="http://schemas.microsoft.com/office/drawing/2014/main" id="{FA7C3306-5AFD-4197-B039-52B9B3D0AC6E}"/>
                </a:ext>
              </a:extLst>
            </p:cNvPr>
            <p:cNvSpPr/>
            <p:nvPr/>
          </p:nvSpPr>
          <p:spPr>
            <a:xfrm>
              <a:off x="9151831" y="2872694"/>
              <a:ext cx="951880" cy="652717"/>
            </a:xfrm>
            <a:custGeom>
              <a:avLst/>
              <a:gdLst>
                <a:gd name="connsiteX0" fmla="*/ 58178 w 951880"/>
                <a:gd name="connsiteY0" fmla="*/ 330574 h 652717"/>
                <a:gd name="connsiteX1" fmla="*/ 180563 w 951880"/>
                <a:gd name="connsiteY1" fmla="*/ 379528 h 652717"/>
                <a:gd name="connsiteX2" fmla="*/ 362780 w 951880"/>
                <a:gd name="connsiteY2" fmla="*/ 311537 h 652717"/>
                <a:gd name="connsiteX3" fmla="*/ 455249 w 951880"/>
                <a:gd name="connsiteY3" fmla="*/ 164675 h 652717"/>
                <a:gd name="connsiteX4" fmla="*/ 694578 w 951880"/>
                <a:gd name="connsiteY4" fmla="*/ 61329 h 652717"/>
                <a:gd name="connsiteX5" fmla="*/ 857758 w 951880"/>
                <a:gd name="connsiteY5" fmla="*/ 458398 h 652717"/>
                <a:gd name="connsiteX6" fmla="*/ 205040 w 951880"/>
                <a:gd name="connsiteY6" fmla="*/ 485595 h 652717"/>
                <a:gd name="connsiteX7" fmla="*/ 58178 w 951880"/>
                <a:gd name="connsiteY7" fmla="*/ 330574 h 6527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51880" h="652717">
                  <a:moveTo>
                    <a:pt x="58178" y="330574"/>
                  </a:moveTo>
                  <a:cubicBezTo>
                    <a:pt x="96253" y="363210"/>
                    <a:pt x="147927" y="374089"/>
                    <a:pt x="180563" y="379528"/>
                  </a:cubicBezTo>
                  <a:cubicBezTo>
                    <a:pt x="248554" y="387687"/>
                    <a:pt x="319266" y="365930"/>
                    <a:pt x="362780" y="311537"/>
                  </a:cubicBezTo>
                  <a:cubicBezTo>
                    <a:pt x="398136" y="268022"/>
                    <a:pt x="417174" y="210910"/>
                    <a:pt x="455249" y="164675"/>
                  </a:cubicBezTo>
                  <a:cubicBezTo>
                    <a:pt x="512362" y="93964"/>
                    <a:pt x="602110" y="45011"/>
                    <a:pt x="694578" y="61329"/>
                  </a:cubicBezTo>
                  <a:cubicBezTo>
                    <a:pt x="879515" y="93964"/>
                    <a:pt x="961105" y="308817"/>
                    <a:pt x="857758" y="458398"/>
                  </a:cubicBezTo>
                  <a:cubicBezTo>
                    <a:pt x="708176" y="670531"/>
                    <a:pt x="376379" y="635176"/>
                    <a:pt x="205040" y="485595"/>
                  </a:cubicBezTo>
                  <a:cubicBezTo>
                    <a:pt x="150646" y="442080"/>
                    <a:pt x="101693" y="390407"/>
                    <a:pt x="58178" y="330574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5C31767F-4ADA-45F2-B354-AEF2579A6A70}"/>
                </a:ext>
              </a:extLst>
            </p:cNvPr>
            <p:cNvSpPr/>
            <p:nvPr/>
          </p:nvSpPr>
          <p:spPr>
            <a:xfrm>
              <a:off x="8001294" y="2010994"/>
              <a:ext cx="734308" cy="299162"/>
            </a:xfrm>
            <a:custGeom>
              <a:avLst/>
              <a:gdLst>
                <a:gd name="connsiteX0" fmla="*/ 596792 w 734307"/>
                <a:gd name="connsiteY0" fmla="*/ 58178 h 299162"/>
                <a:gd name="connsiteX1" fmla="*/ 148048 w 734307"/>
                <a:gd name="connsiteY1" fmla="*/ 58178 h 299162"/>
                <a:gd name="connsiteX2" fmla="*/ 58299 w 734307"/>
                <a:gd name="connsiteY2" fmla="*/ 150646 h 299162"/>
                <a:gd name="connsiteX3" fmla="*/ 148048 w 734307"/>
                <a:gd name="connsiteY3" fmla="*/ 251274 h 299162"/>
                <a:gd name="connsiteX4" fmla="*/ 596792 w 734307"/>
                <a:gd name="connsiteY4" fmla="*/ 251274 h 299162"/>
                <a:gd name="connsiteX5" fmla="*/ 686541 w 734307"/>
                <a:gd name="connsiteY5" fmla="*/ 158805 h 299162"/>
                <a:gd name="connsiteX6" fmla="*/ 596792 w 734307"/>
                <a:gd name="connsiteY6" fmla="*/ 58178 h 2991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34307" h="299162">
                  <a:moveTo>
                    <a:pt x="596792" y="58178"/>
                  </a:moveTo>
                  <a:cubicBezTo>
                    <a:pt x="591353" y="58178"/>
                    <a:pt x="153487" y="58178"/>
                    <a:pt x="148048" y="58178"/>
                  </a:cubicBezTo>
                  <a:cubicBezTo>
                    <a:pt x="99094" y="60898"/>
                    <a:pt x="61019" y="104412"/>
                    <a:pt x="58299" y="150646"/>
                  </a:cubicBezTo>
                  <a:cubicBezTo>
                    <a:pt x="55580" y="199600"/>
                    <a:pt x="99094" y="248554"/>
                    <a:pt x="148048" y="251274"/>
                  </a:cubicBezTo>
                  <a:cubicBezTo>
                    <a:pt x="153487" y="251274"/>
                    <a:pt x="591353" y="251274"/>
                    <a:pt x="596792" y="251274"/>
                  </a:cubicBezTo>
                  <a:cubicBezTo>
                    <a:pt x="645746" y="248554"/>
                    <a:pt x="683821" y="205040"/>
                    <a:pt x="686541" y="158805"/>
                  </a:cubicBezTo>
                  <a:cubicBezTo>
                    <a:pt x="689260" y="109852"/>
                    <a:pt x="648465" y="60898"/>
                    <a:pt x="596792" y="58178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CB6DA548-0CD9-4078-B433-D61F10371744}"/>
                </a:ext>
              </a:extLst>
            </p:cNvPr>
            <p:cNvSpPr/>
            <p:nvPr/>
          </p:nvSpPr>
          <p:spPr>
            <a:xfrm>
              <a:off x="4920042" y="2277520"/>
              <a:ext cx="1006274" cy="951879"/>
            </a:xfrm>
            <a:custGeom>
              <a:avLst/>
              <a:gdLst>
                <a:gd name="connsiteX0" fmla="*/ 884954 w 1006273"/>
                <a:gd name="connsiteY0" fmla="*/ 746251 h 951879"/>
                <a:gd name="connsiteX1" fmla="*/ 874076 w 1006273"/>
                <a:gd name="connsiteY1" fmla="*/ 670101 h 951879"/>
                <a:gd name="connsiteX2" fmla="*/ 874076 w 1006273"/>
                <a:gd name="connsiteY2" fmla="*/ 536837 h 951879"/>
                <a:gd name="connsiteX3" fmla="*/ 689139 w 1006273"/>
                <a:gd name="connsiteY3" fmla="*/ 88094 h 951879"/>
                <a:gd name="connsiteX4" fmla="*/ 428052 w 1006273"/>
                <a:gd name="connsiteY4" fmla="*/ 253993 h 951879"/>
                <a:gd name="connsiteX5" fmla="*/ 196881 w 1006273"/>
                <a:gd name="connsiteY5" fmla="*/ 58178 h 951879"/>
                <a:gd name="connsiteX6" fmla="*/ 58178 w 1006273"/>
                <a:gd name="connsiteY6" fmla="*/ 128889 h 951879"/>
                <a:gd name="connsiteX7" fmla="*/ 142488 w 1006273"/>
                <a:gd name="connsiteY7" fmla="*/ 273031 h 951879"/>
                <a:gd name="connsiteX8" fmla="*/ 142488 w 1006273"/>
                <a:gd name="connsiteY8" fmla="*/ 757130 h 951879"/>
                <a:gd name="connsiteX9" fmla="*/ 283910 w 1006273"/>
                <a:gd name="connsiteY9" fmla="*/ 895832 h 951879"/>
                <a:gd name="connsiteX10" fmla="*/ 428052 w 1006273"/>
                <a:gd name="connsiteY10" fmla="*/ 757130 h 951879"/>
                <a:gd name="connsiteX11" fmla="*/ 428052 w 1006273"/>
                <a:gd name="connsiteY11" fmla="*/ 400855 h 951879"/>
                <a:gd name="connsiteX12" fmla="*/ 523240 w 1006273"/>
                <a:gd name="connsiteY12" fmla="*/ 283910 h 951879"/>
                <a:gd name="connsiteX13" fmla="*/ 591231 w 1006273"/>
                <a:gd name="connsiteY13" fmla="*/ 354621 h 951879"/>
                <a:gd name="connsiteX14" fmla="*/ 591231 w 1006273"/>
                <a:gd name="connsiteY14" fmla="*/ 697297 h 951879"/>
                <a:gd name="connsiteX15" fmla="*/ 593951 w 1006273"/>
                <a:gd name="connsiteY15" fmla="*/ 729933 h 951879"/>
                <a:gd name="connsiteX16" fmla="*/ 610269 w 1006273"/>
                <a:gd name="connsiteY16" fmla="*/ 778887 h 951879"/>
                <a:gd name="connsiteX17" fmla="*/ 822402 w 1006273"/>
                <a:gd name="connsiteY17" fmla="*/ 893112 h 951879"/>
                <a:gd name="connsiteX18" fmla="*/ 961105 w 1006273"/>
                <a:gd name="connsiteY18" fmla="*/ 822401 h 951879"/>
                <a:gd name="connsiteX19" fmla="*/ 884954 w 1006273"/>
                <a:gd name="connsiteY19" fmla="*/ 746251 h 9518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006273" h="951879">
                  <a:moveTo>
                    <a:pt x="884954" y="746251"/>
                  </a:moveTo>
                  <a:cubicBezTo>
                    <a:pt x="879515" y="721774"/>
                    <a:pt x="876795" y="694578"/>
                    <a:pt x="874076" y="670101"/>
                  </a:cubicBezTo>
                  <a:cubicBezTo>
                    <a:pt x="874076" y="634745"/>
                    <a:pt x="874076" y="583072"/>
                    <a:pt x="874076" y="536837"/>
                  </a:cubicBezTo>
                  <a:cubicBezTo>
                    <a:pt x="879515" y="373658"/>
                    <a:pt x="909431" y="88094"/>
                    <a:pt x="689139" y="88094"/>
                  </a:cubicBezTo>
                  <a:cubicBezTo>
                    <a:pt x="539558" y="88094"/>
                    <a:pt x="452529" y="213199"/>
                    <a:pt x="428052" y="253993"/>
                  </a:cubicBezTo>
                  <a:cubicBezTo>
                    <a:pt x="425332" y="139768"/>
                    <a:pt x="335583" y="58178"/>
                    <a:pt x="196881" y="58178"/>
                  </a:cubicBezTo>
                  <a:cubicBezTo>
                    <a:pt x="109852" y="58178"/>
                    <a:pt x="58178" y="128889"/>
                    <a:pt x="58178" y="128889"/>
                  </a:cubicBezTo>
                  <a:cubicBezTo>
                    <a:pt x="58178" y="128889"/>
                    <a:pt x="142488" y="158805"/>
                    <a:pt x="142488" y="273031"/>
                  </a:cubicBezTo>
                  <a:cubicBezTo>
                    <a:pt x="142488" y="354621"/>
                    <a:pt x="142488" y="757130"/>
                    <a:pt x="142488" y="757130"/>
                  </a:cubicBezTo>
                  <a:cubicBezTo>
                    <a:pt x="145207" y="827841"/>
                    <a:pt x="194161" y="895832"/>
                    <a:pt x="283910" y="895832"/>
                  </a:cubicBezTo>
                  <a:cubicBezTo>
                    <a:pt x="373659" y="895832"/>
                    <a:pt x="428052" y="827841"/>
                    <a:pt x="428052" y="757130"/>
                  </a:cubicBezTo>
                  <a:lnTo>
                    <a:pt x="428052" y="400855"/>
                  </a:lnTo>
                  <a:cubicBezTo>
                    <a:pt x="441650" y="343742"/>
                    <a:pt x="474286" y="283910"/>
                    <a:pt x="523240" y="283910"/>
                  </a:cubicBezTo>
                  <a:cubicBezTo>
                    <a:pt x="585792" y="283910"/>
                    <a:pt x="591231" y="354621"/>
                    <a:pt x="591231" y="354621"/>
                  </a:cubicBezTo>
                  <a:lnTo>
                    <a:pt x="591231" y="697297"/>
                  </a:lnTo>
                  <a:cubicBezTo>
                    <a:pt x="591231" y="708176"/>
                    <a:pt x="593951" y="719054"/>
                    <a:pt x="593951" y="729933"/>
                  </a:cubicBezTo>
                  <a:cubicBezTo>
                    <a:pt x="596671" y="748971"/>
                    <a:pt x="602110" y="765289"/>
                    <a:pt x="610269" y="778887"/>
                  </a:cubicBezTo>
                  <a:cubicBezTo>
                    <a:pt x="645624" y="846878"/>
                    <a:pt x="719055" y="893112"/>
                    <a:pt x="822402" y="893112"/>
                  </a:cubicBezTo>
                  <a:cubicBezTo>
                    <a:pt x="909431" y="893112"/>
                    <a:pt x="961105" y="822401"/>
                    <a:pt x="961105" y="822401"/>
                  </a:cubicBezTo>
                  <a:cubicBezTo>
                    <a:pt x="961105" y="822401"/>
                    <a:pt x="909431" y="808803"/>
                    <a:pt x="884954" y="746251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8D688978-BCBB-42C3-8877-14A7C1EF64F9}"/>
                </a:ext>
              </a:extLst>
            </p:cNvPr>
            <p:cNvSpPr/>
            <p:nvPr/>
          </p:nvSpPr>
          <p:spPr>
            <a:xfrm>
              <a:off x="7552331" y="1888610"/>
              <a:ext cx="489539" cy="1332631"/>
            </a:xfrm>
            <a:custGeom>
              <a:avLst/>
              <a:gdLst>
                <a:gd name="connsiteX0" fmla="*/ 368560 w 489538"/>
                <a:gd name="connsiteY0" fmla="*/ 1135162 h 1332630"/>
                <a:gd name="connsiteX1" fmla="*/ 357681 w 489538"/>
                <a:gd name="connsiteY1" fmla="*/ 1059011 h 1332630"/>
                <a:gd name="connsiteX2" fmla="*/ 357681 w 489538"/>
                <a:gd name="connsiteY2" fmla="*/ 207759 h 1332630"/>
                <a:gd name="connsiteX3" fmla="*/ 208099 w 489538"/>
                <a:gd name="connsiteY3" fmla="*/ 58178 h 1332630"/>
                <a:gd name="connsiteX4" fmla="*/ 58518 w 489538"/>
                <a:gd name="connsiteY4" fmla="*/ 207759 h 1332630"/>
                <a:gd name="connsiteX5" fmla="*/ 58518 w 489538"/>
                <a:gd name="connsiteY5" fmla="*/ 961104 h 1332630"/>
                <a:gd name="connsiteX6" fmla="*/ 85715 w 489538"/>
                <a:gd name="connsiteY6" fmla="*/ 1159639 h 1332630"/>
                <a:gd name="connsiteX7" fmla="*/ 306007 w 489538"/>
                <a:gd name="connsiteY7" fmla="*/ 1282023 h 1332630"/>
                <a:gd name="connsiteX8" fmla="*/ 444710 w 489538"/>
                <a:gd name="connsiteY8" fmla="*/ 1211312 h 1332630"/>
                <a:gd name="connsiteX9" fmla="*/ 368560 w 489538"/>
                <a:gd name="connsiteY9" fmla="*/ 1135162 h 13326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89538" h="1332630">
                  <a:moveTo>
                    <a:pt x="368560" y="1135162"/>
                  </a:moveTo>
                  <a:cubicBezTo>
                    <a:pt x="363120" y="1110685"/>
                    <a:pt x="357681" y="1083488"/>
                    <a:pt x="357681" y="1059011"/>
                  </a:cubicBezTo>
                  <a:lnTo>
                    <a:pt x="357681" y="207759"/>
                  </a:lnTo>
                  <a:cubicBezTo>
                    <a:pt x="357681" y="126170"/>
                    <a:pt x="289689" y="58178"/>
                    <a:pt x="208099" y="58178"/>
                  </a:cubicBezTo>
                  <a:cubicBezTo>
                    <a:pt x="126510" y="58178"/>
                    <a:pt x="58518" y="126170"/>
                    <a:pt x="58518" y="207759"/>
                  </a:cubicBezTo>
                  <a:lnTo>
                    <a:pt x="58518" y="961104"/>
                  </a:lnTo>
                  <a:cubicBezTo>
                    <a:pt x="58518" y="1029095"/>
                    <a:pt x="53079" y="1097086"/>
                    <a:pt x="85715" y="1159639"/>
                  </a:cubicBezTo>
                  <a:cubicBezTo>
                    <a:pt x="118351" y="1227630"/>
                    <a:pt x="202660" y="1282023"/>
                    <a:pt x="306007" y="1282023"/>
                  </a:cubicBezTo>
                  <a:cubicBezTo>
                    <a:pt x="393036" y="1282023"/>
                    <a:pt x="444710" y="1211312"/>
                    <a:pt x="444710" y="1211312"/>
                  </a:cubicBezTo>
                  <a:cubicBezTo>
                    <a:pt x="444710" y="1211312"/>
                    <a:pt x="393036" y="1197714"/>
                    <a:pt x="368560" y="1135162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D3EAD6C8-DC12-4BCC-8993-9CD4B9FF1B4B}"/>
                </a:ext>
              </a:extLst>
            </p:cNvPr>
            <p:cNvSpPr/>
            <p:nvPr/>
          </p:nvSpPr>
          <p:spPr>
            <a:xfrm>
              <a:off x="4162324" y="2357456"/>
              <a:ext cx="815899" cy="815898"/>
            </a:xfrm>
            <a:custGeom>
              <a:avLst/>
              <a:gdLst>
                <a:gd name="connsiteX0" fmla="*/ 407949 w 815899"/>
                <a:gd name="connsiteY0" fmla="*/ 174058 h 815898"/>
                <a:gd name="connsiteX1" fmla="*/ 293723 w 815899"/>
                <a:gd name="connsiteY1" fmla="*/ 407950 h 815898"/>
                <a:gd name="connsiteX2" fmla="*/ 410669 w 815899"/>
                <a:gd name="connsiteY2" fmla="*/ 641840 h 815898"/>
                <a:gd name="connsiteX3" fmla="*/ 522175 w 815899"/>
                <a:gd name="connsiteY3" fmla="*/ 407950 h 815898"/>
                <a:gd name="connsiteX4" fmla="*/ 407949 w 815899"/>
                <a:gd name="connsiteY4" fmla="*/ 174058 h 815898"/>
                <a:gd name="connsiteX5" fmla="*/ 407950 w 815899"/>
                <a:gd name="connsiteY5" fmla="*/ 0 h 815898"/>
                <a:gd name="connsiteX6" fmla="*/ 815899 w 815899"/>
                <a:gd name="connsiteY6" fmla="*/ 407949 h 815898"/>
                <a:gd name="connsiteX7" fmla="*/ 407950 w 815899"/>
                <a:gd name="connsiteY7" fmla="*/ 815898 h 815898"/>
                <a:gd name="connsiteX8" fmla="*/ 0 w 815899"/>
                <a:gd name="connsiteY8" fmla="*/ 407949 h 815898"/>
                <a:gd name="connsiteX9" fmla="*/ 407950 w 815899"/>
                <a:gd name="connsiteY9" fmla="*/ 0 h 815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15899" h="815898">
                  <a:moveTo>
                    <a:pt x="407949" y="174058"/>
                  </a:moveTo>
                  <a:cubicBezTo>
                    <a:pt x="342677" y="174058"/>
                    <a:pt x="293723" y="263807"/>
                    <a:pt x="293723" y="407950"/>
                  </a:cubicBezTo>
                  <a:cubicBezTo>
                    <a:pt x="293723" y="552091"/>
                    <a:pt x="331799" y="639120"/>
                    <a:pt x="410669" y="641840"/>
                  </a:cubicBezTo>
                  <a:cubicBezTo>
                    <a:pt x="489539" y="641840"/>
                    <a:pt x="527614" y="552091"/>
                    <a:pt x="522175" y="407950"/>
                  </a:cubicBezTo>
                  <a:cubicBezTo>
                    <a:pt x="522175" y="263807"/>
                    <a:pt x="473221" y="176778"/>
                    <a:pt x="407949" y="174058"/>
                  </a:cubicBezTo>
                  <a:close/>
                  <a:moveTo>
                    <a:pt x="407950" y="0"/>
                  </a:moveTo>
                  <a:cubicBezTo>
                    <a:pt x="633682" y="0"/>
                    <a:pt x="815899" y="182217"/>
                    <a:pt x="815899" y="407949"/>
                  </a:cubicBezTo>
                  <a:cubicBezTo>
                    <a:pt x="815899" y="633681"/>
                    <a:pt x="633682" y="815898"/>
                    <a:pt x="407950" y="815898"/>
                  </a:cubicBezTo>
                  <a:cubicBezTo>
                    <a:pt x="182218" y="815898"/>
                    <a:pt x="0" y="633681"/>
                    <a:pt x="0" y="407949"/>
                  </a:cubicBezTo>
                  <a:cubicBezTo>
                    <a:pt x="0" y="182217"/>
                    <a:pt x="182218" y="0"/>
                    <a:pt x="407950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10A3D4A8-5179-4579-86DA-E3BE1D9939BC}"/>
                </a:ext>
              </a:extLst>
            </p:cNvPr>
            <p:cNvSpPr/>
            <p:nvPr/>
          </p:nvSpPr>
          <p:spPr>
            <a:xfrm>
              <a:off x="5884871" y="1946788"/>
              <a:ext cx="912802" cy="1223846"/>
            </a:xfrm>
            <a:custGeom>
              <a:avLst/>
              <a:gdLst>
                <a:gd name="connsiteX0" fmla="*/ 387907 w 912802"/>
                <a:gd name="connsiteY0" fmla="*/ 620081 h 1223846"/>
                <a:gd name="connsiteX1" fmla="*/ 273681 w 912802"/>
                <a:gd name="connsiteY1" fmla="*/ 824055 h 1223846"/>
                <a:gd name="connsiteX2" fmla="*/ 390627 w 912802"/>
                <a:gd name="connsiteY2" fmla="*/ 1028029 h 1223846"/>
                <a:gd name="connsiteX3" fmla="*/ 502132 w 912802"/>
                <a:gd name="connsiteY3" fmla="*/ 824055 h 1223846"/>
                <a:gd name="connsiteX4" fmla="*/ 387907 w 912802"/>
                <a:gd name="connsiteY4" fmla="*/ 620081 h 1223846"/>
                <a:gd name="connsiteX5" fmla="*/ 676192 w 912802"/>
                <a:gd name="connsiteY5" fmla="*/ 0 h 1223846"/>
                <a:gd name="connsiteX6" fmla="*/ 825773 w 912802"/>
                <a:gd name="connsiteY6" fmla="*/ 149581 h 1223846"/>
                <a:gd name="connsiteX7" fmla="*/ 825773 w 912802"/>
                <a:gd name="connsiteY7" fmla="*/ 1000834 h 1223846"/>
                <a:gd name="connsiteX8" fmla="*/ 836651 w 912802"/>
                <a:gd name="connsiteY8" fmla="*/ 1076985 h 1223846"/>
                <a:gd name="connsiteX9" fmla="*/ 912802 w 912802"/>
                <a:gd name="connsiteY9" fmla="*/ 1150415 h 1223846"/>
                <a:gd name="connsiteX10" fmla="*/ 774099 w 912802"/>
                <a:gd name="connsiteY10" fmla="*/ 1221126 h 1223846"/>
                <a:gd name="connsiteX11" fmla="*/ 553807 w 912802"/>
                <a:gd name="connsiteY11" fmla="*/ 1098742 h 1223846"/>
                <a:gd name="connsiteX12" fmla="*/ 548367 w 912802"/>
                <a:gd name="connsiteY12" fmla="*/ 1085144 h 1223846"/>
                <a:gd name="connsiteX13" fmla="*/ 398786 w 912802"/>
                <a:gd name="connsiteY13" fmla="*/ 1212967 h 1223846"/>
                <a:gd name="connsiteX14" fmla="*/ 156736 w 912802"/>
                <a:gd name="connsiteY14" fmla="*/ 1180332 h 1223846"/>
                <a:gd name="connsiteX15" fmla="*/ 287280 w 912802"/>
                <a:gd name="connsiteY15" fmla="*/ 416107 h 1223846"/>
                <a:gd name="connsiteX16" fmla="*/ 526611 w 912802"/>
                <a:gd name="connsiteY16" fmla="*/ 552091 h 1223846"/>
                <a:gd name="connsiteX17" fmla="*/ 526611 w 912802"/>
                <a:gd name="connsiteY17" fmla="*/ 149581 h 1223846"/>
                <a:gd name="connsiteX18" fmla="*/ 676192 w 912802"/>
                <a:gd name="connsiteY18" fmla="*/ 0 h 1223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912802" h="1223846">
                  <a:moveTo>
                    <a:pt x="387907" y="620081"/>
                  </a:moveTo>
                  <a:cubicBezTo>
                    <a:pt x="322635" y="620081"/>
                    <a:pt x="273681" y="698951"/>
                    <a:pt x="273681" y="824055"/>
                  </a:cubicBezTo>
                  <a:cubicBezTo>
                    <a:pt x="273681" y="949160"/>
                    <a:pt x="311756" y="1028029"/>
                    <a:pt x="390627" y="1028029"/>
                  </a:cubicBezTo>
                  <a:cubicBezTo>
                    <a:pt x="466777" y="1025310"/>
                    <a:pt x="504852" y="949160"/>
                    <a:pt x="502132" y="824055"/>
                  </a:cubicBezTo>
                  <a:cubicBezTo>
                    <a:pt x="502132" y="698951"/>
                    <a:pt x="455898" y="622801"/>
                    <a:pt x="387907" y="620081"/>
                  </a:cubicBezTo>
                  <a:close/>
                  <a:moveTo>
                    <a:pt x="676192" y="0"/>
                  </a:moveTo>
                  <a:cubicBezTo>
                    <a:pt x="757781" y="0"/>
                    <a:pt x="825773" y="67992"/>
                    <a:pt x="825773" y="149581"/>
                  </a:cubicBezTo>
                  <a:lnTo>
                    <a:pt x="825773" y="1000834"/>
                  </a:lnTo>
                  <a:cubicBezTo>
                    <a:pt x="828492" y="1025311"/>
                    <a:pt x="831212" y="1052508"/>
                    <a:pt x="836651" y="1076985"/>
                  </a:cubicBezTo>
                  <a:cubicBezTo>
                    <a:pt x="861128" y="1139537"/>
                    <a:pt x="912802" y="1150415"/>
                    <a:pt x="912802" y="1150415"/>
                  </a:cubicBezTo>
                  <a:cubicBezTo>
                    <a:pt x="912802" y="1150415"/>
                    <a:pt x="861128" y="1221126"/>
                    <a:pt x="774099" y="1221126"/>
                  </a:cubicBezTo>
                  <a:cubicBezTo>
                    <a:pt x="670752" y="1221126"/>
                    <a:pt x="589162" y="1166733"/>
                    <a:pt x="553807" y="1098742"/>
                  </a:cubicBezTo>
                  <a:cubicBezTo>
                    <a:pt x="551087" y="1093303"/>
                    <a:pt x="551087" y="1090583"/>
                    <a:pt x="548367" y="1085144"/>
                  </a:cubicBezTo>
                  <a:cubicBezTo>
                    <a:pt x="534769" y="1147696"/>
                    <a:pt x="450460" y="1199369"/>
                    <a:pt x="398786" y="1212967"/>
                  </a:cubicBezTo>
                  <a:cubicBezTo>
                    <a:pt x="322636" y="1234725"/>
                    <a:pt x="222008" y="1223846"/>
                    <a:pt x="156736" y="1180332"/>
                  </a:cubicBezTo>
                  <a:cubicBezTo>
                    <a:pt x="-79874" y="1028031"/>
                    <a:pt x="-58117" y="416107"/>
                    <a:pt x="287280" y="416107"/>
                  </a:cubicBezTo>
                  <a:cubicBezTo>
                    <a:pt x="412385" y="416107"/>
                    <a:pt x="491255" y="503137"/>
                    <a:pt x="526611" y="552091"/>
                  </a:cubicBezTo>
                  <a:lnTo>
                    <a:pt x="526611" y="149581"/>
                  </a:lnTo>
                  <a:cubicBezTo>
                    <a:pt x="526611" y="67992"/>
                    <a:pt x="594602" y="0"/>
                    <a:pt x="676192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1DB9A871-4A68-495F-A3EF-392427AED281}"/>
                </a:ext>
              </a:extLst>
            </p:cNvPr>
            <p:cNvSpPr/>
            <p:nvPr/>
          </p:nvSpPr>
          <p:spPr>
            <a:xfrm>
              <a:off x="6789513" y="2362895"/>
              <a:ext cx="747906" cy="810458"/>
            </a:xfrm>
            <a:custGeom>
              <a:avLst/>
              <a:gdLst>
                <a:gd name="connsiteX0" fmla="*/ 394818 w 747906"/>
                <a:gd name="connsiteY0" fmla="*/ 163222 h 810458"/>
                <a:gd name="connsiteX1" fmla="*/ 356275 w 747906"/>
                <a:gd name="connsiteY1" fmla="*/ 174058 h 810458"/>
                <a:gd name="connsiteX2" fmla="*/ 274685 w 747906"/>
                <a:gd name="connsiteY2" fmla="*/ 356275 h 810458"/>
                <a:gd name="connsiteX3" fmla="*/ 375313 w 747906"/>
                <a:gd name="connsiteY3" fmla="*/ 358994 h 810458"/>
                <a:gd name="connsiteX4" fmla="*/ 473220 w 747906"/>
                <a:gd name="connsiteY4" fmla="*/ 239329 h 810458"/>
                <a:gd name="connsiteX5" fmla="*/ 394818 w 747906"/>
                <a:gd name="connsiteY5" fmla="*/ 163222 h 810458"/>
                <a:gd name="connsiteX6" fmla="*/ 386192 w 747906"/>
                <a:gd name="connsiteY6" fmla="*/ 0 h 810458"/>
                <a:gd name="connsiteX7" fmla="*/ 747906 w 747906"/>
                <a:gd name="connsiteY7" fmla="*/ 266526 h 810458"/>
                <a:gd name="connsiteX8" fmla="*/ 291004 w 747906"/>
                <a:gd name="connsiteY8" fmla="*/ 484100 h 810458"/>
                <a:gd name="connsiteX9" fmla="*/ 497698 w 747906"/>
                <a:gd name="connsiteY9" fmla="*/ 617363 h 810458"/>
                <a:gd name="connsiteX10" fmla="*/ 712551 w 747906"/>
                <a:gd name="connsiteY10" fmla="*/ 557530 h 810458"/>
                <a:gd name="connsiteX11" fmla="*/ 388912 w 747906"/>
                <a:gd name="connsiteY11" fmla="*/ 810458 h 810458"/>
                <a:gd name="connsiteX12" fmla="*/ 0 w 747906"/>
                <a:gd name="connsiteY12" fmla="*/ 413389 h 810458"/>
                <a:gd name="connsiteX13" fmla="*/ 386192 w 747906"/>
                <a:gd name="connsiteY13" fmla="*/ 0 h 8104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747906" h="810458">
                  <a:moveTo>
                    <a:pt x="394818" y="163222"/>
                  </a:moveTo>
                  <a:cubicBezTo>
                    <a:pt x="381772" y="163179"/>
                    <a:pt x="368514" y="166579"/>
                    <a:pt x="356275" y="174058"/>
                  </a:cubicBezTo>
                  <a:cubicBezTo>
                    <a:pt x="299162" y="212133"/>
                    <a:pt x="282844" y="291003"/>
                    <a:pt x="274685" y="356275"/>
                  </a:cubicBezTo>
                  <a:cubicBezTo>
                    <a:pt x="274685" y="364434"/>
                    <a:pt x="369873" y="358994"/>
                    <a:pt x="375313" y="358994"/>
                  </a:cubicBezTo>
                  <a:cubicBezTo>
                    <a:pt x="432425" y="345396"/>
                    <a:pt x="473220" y="301881"/>
                    <a:pt x="473220" y="239329"/>
                  </a:cubicBezTo>
                  <a:cubicBezTo>
                    <a:pt x="471181" y="194455"/>
                    <a:pt x="433956" y="163349"/>
                    <a:pt x="394818" y="163222"/>
                  </a:cubicBezTo>
                  <a:close/>
                  <a:moveTo>
                    <a:pt x="386192" y="0"/>
                  </a:moveTo>
                  <a:cubicBezTo>
                    <a:pt x="519455" y="0"/>
                    <a:pt x="747906" y="65272"/>
                    <a:pt x="747906" y="266526"/>
                  </a:cubicBezTo>
                  <a:cubicBezTo>
                    <a:pt x="747906" y="467782"/>
                    <a:pt x="538493" y="484100"/>
                    <a:pt x="291004" y="484100"/>
                  </a:cubicBezTo>
                  <a:cubicBezTo>
                    <a:pt x="291004" y="484100"/>
                    <a:pt x="326359" y="617363"/>
                    <a:pt x="497698" y="617363"/>
                  </a:cubicBezTo>
                  <a:cubicBezTo>
                    <a:pt x="669036" y="617363"/>
                    <a:pt x="712551" y="557530"/>
                    <a:pt x="712551" y="557530"/>
                  </a:cubicBezTo>
                  <a:cubicBezTo>
                    <a:pt x="712551" y="557530"/>
                    <a:pt x="696233" y="810458"/>
                    <a:pt x="388912" y="810458"/>
                  </a:cubicBezTo>
                  <a:cubicBezTo>
                    <a:pt x="212134" y="810458"/>
                    <a:pt x="0" y="677195"/>
                    <a:pt x="0" y="413389"/>
                  </a:cubicBezTo>
                  <a:cubicBezTo>
                    <a:pt x="0" y="176778"/>
                    <a:pt x="163180" y="0"/>
                    <a:pt x="386192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1001B3D6-C1BC-4979-BF9B-2956B2C7EC99}"/>
                </a:ext>
              </a:extLst>
            </p:cNvPr>
            <p:cNvSpPr/>
            <p:nvPr/>
          </p:nvSpPr>
          <p:spPr>
            <a:xfrm>
              <a:off x="7988882" y="2362895"/>
              <a:ext cx="747906" cy="810458"/>
            </a:xfrm>
            <a:custGeom>
              <a:avLst/>
              <a:gdLst>
                <a:gd name="connsiteX0" fmla="*/ 394818 w 747906"/>
                <a:gd name="connsiteY0" fmla="*/ 163222 h 810458"/>
                <a:gd name="connsiteX1" fmla="*/ 356275 w 747906"/>
                <a:gd name="connsiteY1" fmla="*/ 174058 h 810458"/>
                <a:gd name="connsiteX2" fmla="*/ 274685 w 747906"/>
                <a:gd name="connsiteY2" fmla="*/ 356275 h 810458"/>
                <a:gd name="connsiteX3" fmla="*/ 375313 w 747906"/>
                <a:gd name="connsiteY3" fmla="*/ 358994 h 810458"/>
                <a:gd name="connsiteX4" fmla="*/ 473220 w 747906"/>
                <a:gd name="connsiteY4" fmla="*/ 239329 h 810458"/>
                <a:gd name="connsiteX5" fmla="*/ 394818 w 747906"/>
                <a:gd name="connsiteY5" fmla="*/ 163222 h 810458"/>
                <a:gd name="connsiteX6" fmla="*/ 386192 w 747906"/>
                <a:gd name="connsiteY6" fmla="*/ 0 h 810458"/>
                <a:gd name="connsiteX7" fmla="*/ 747906 w 747906"/>
                <a:gd name="connsiteY7" fmla="*/ 266526 h 810458"/>
                <a:gd name="connsiteX8" fmla="*/ 291004 w 747906"/>
                <a:gd name="connsiteY8" fmla="*/ 484100 h 810458"/>
                <a:gd name="connsiteX9" fmla="*/ 497697 w 747906"/>
                <a:gd name="connsiteY9" fmla="*/ 617363 h 810458"/>
                <a:gd name="connsiteX10" fmla="*/ 712551 w 747906"/>
                <a:gd name="connsiteY10" fmla="*/ 557530 h 810458"/>
                <a:gd name="connsiteX11" fmla="*/ 388911 w 747906"/>
                <a:gd name="connsiteY11" fmla="*/ 810458 h 810458"/>
                <a:gd name="connsiteX12" fmla="*/ 0 w 747906"/>
                <a:gd name="connsiteY12" fmla="*/ 413389 h 810458"/>
                <a:gd name="connsiteX13" fmla="*/ 386192 w 747906"/>
                <a:gd name="connsiteY13" fmla="*/ 0 h 8104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747906" h="810458">
                  <a:moveTo>
                    <a:pt x="394818" y="163222"/>
                  </a:moveTo>
                  <a:cubicBezTo>
                    <a:pt x="381772" y="163179"/>
                    <a:pt x="368514" y="166579"/>
                    <a:pt x="356275" y="174058"/>
                  </a:cubicBezTo>
                  <a:cubicBezTo>
                    <a:pt x="299162" y="212133"/>
                    <a:pt x="282844" y="291003"/>
                    <a:pt x="274685" y="356275"/>
                  </a:cubicBezTo>
                  <a:cubicBezTo>
                    <a:pt x="274685" y="364434"/>
                    <a:pt x="369873" y="358994"/>
                    <a:pt x="375313" y="358994"/>
                  </a:cubicBezTo>
                  <a:cubicBezTo>
                    <a:pt x="432426" y="345396"/>
                    <a:pt x="473220" y="301881"/>
                    <a:pt x="473220" y="239329"/>
                  </a:cubicBezTo>
                  <a:cubicBezTo>
                    <a:pt x="471181" y="194455"/>
                    <a:pt x="433955" y="163349"/>
                    <a:pt x="394818" y="163222"/>
                  </a:cubicBezTo>
                  <a:close/>
                  <a:moveTo>
                    <a:pt x="386192" y="0"/>
                  </a:moveTo>
                  <a:cubicBezTo>
                    <a:pt x="519455" y="0"/>
                    <a:pt x="747906" y="65272"/>
                    <a:pt x="747906" y="266526"/>
                  </a:cubicBezTo>
                  <a:cubicBezTo>
                    <a:pt x="747906" y="467782"/>
                    <a:pt x="538492" y="484100"/>
                    <a:pt x="291004" y="484100"/>
                  </a:cubicBezTo>
                  <a:cubicBezTo>
                    <a:pt x="291004" y="484100"/>
                    <a:pt x="326359" y="617363"/>
                    <a:pt x="497697" y="617363"/>
                  </a:cubicBezTo>
                  <a:cubicBezTo>
                    <a:pt x="669036" y="617363"/>
                    <a:pt x="712551" y="557530"/>
                    <a:pt x="712551" y="557530"/>
                  </a:cubicBezTo>
                  <a:cubicBezTo>
                    <a:pt x="712551" y="557530"/>
                    <a:pt x="696233" y="810458"/>
                    <a:pt x="388911" y="810458"/>
                  </a:cubicBezTo>
                  <a:cubicBezTo>
                    <a:pt x="212133" y="810458"/>
                    <a:pt x="0" y="677195"/>
                    <a:pt x="0" y="413389"/>
                  </a:cubicBezTo>
                  <a:cubicBezTo>
                    <a:pt x="0" y="176778"/>
                    <a:pt x="163180" y="0"/>
                    <a:pt x="386192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16367185-B7D6-4C5F-BFDB-408FCE04E3F2}"/>
                </a:ext>
              </a:extLst>
            </p:cNvPr>
            <p:cNvSpPr/>
            <p:nvPr/>
          </p:nvSpPr>
          <p:spPr>
            <a:xfrm>
              <a:off x="8683414" y="2274801"/>
              <a:ext cx="897487" cy="951879"/>
            </a:xfrm>
            <a:custGeom>
              <a:avLst/>
              <a:gdLst>
                <a:gd name="connsiteX0" fmla="*/ 580988 w 897487"/>
                <a:gd name="connsiteY0" fmla="*/ 667381 h 951879"/>
                <a:gd name="connsiteX1" fmla="*/ 409649 w 897487"/>
                <a:gd name="connsiteY1" fmla="*/ 667381 h 951879"/>
                <a:gd name="connsiteX2" fmla="*/ 591866 w 897487"/>
                <a:gd name="connsiteY2" fmla="*/ 525959 h 951879"/>
                <a:gd name="connsiteX3" fmla="*/ 842075 w 897487"/>
                <a:gd name="connsiteY3" fmla="*/ 123450 h 951879"/>
                <a:gd name="connsiteX4" fmla="*/ 842075 w 897487"/>
                <a:gd name="connsiteY4" fmla="*/ 123450 h 951879"/>
                <a:gd name="connsiteX5" fmla="*/ 798560 w 897487"/>
                <a:gd name="connsiteY5" fmla="*/ 58178 h 951879"/>
                <a:gd name="connsiteX6" fmla="*/ 746887 w 897487"/>
                <a:gd name="connsiteY6" fmla="*/ 107132 h 951879"/>
                <a:gd name="connsiteX7" fmla="*/ 697933 w 897487"/>
                <a:gd name="connsiteY7" fmla="*/ 115291 h 951879"/>
                <a:gd name="connsiteX8" fmla="*/ 219273 w 897487"/>
                <a:gd name="connsiteY8" fmla="*/ 115291 h 951879"/>
                <a:gd name="connsiteX9" fmla="*/ 102328 w 897487"/>
                <a:gd name="connsiteY9" fmla="*/ 224077 h 951879"/>
                <a:gd name="connsiteX10" fmla="*/ 213834 w 897487"/>
                <a:gd name="connsiteY10" fmla="*/ 332863 h 951879"/>
                <a:gd name="connsiteX11" fmla="*/ 485800 w 897487"/>
                <a:gd name="connsiteY11" fmla="*/ 335583 h 951879"/>
                <a:gd name="connsiteX12" fmla="*/ 134964 w 897487"/>
                <a:gd name="connsiteY12" fmla="*/ 615708 h 951879"/>
                <a:gd name="connsiteX13" fmla="*/ 61533 w 897487"/>
                <a:gd name="connsiteY13" fmla="*/ 884953 h 951879"/>
                <a:gd name="connsiteX14" fmla="*/ 398771 w 897487"/>
                <a:gd name="connsiteY14" fmla="*/ 806083 h 951879"/>
                <a:gd name="connsiteX15" fmla="*/ 529314 w 897487"/>
                <a:gd name="connsiteY15" fmla="*/ 863196 h 951879"/>
                <a:gd name="connsiteX16" fmla="*/ 782242 w 897487"/>
                <a:gd name="connsiteY16" fmla="*/ 607549 h 951879"/>
                <a:gd name="connsiteX17" fmla="*/ 580988 w 897487"/>
                <a:gd name="connsiteY17" fmla="*/ 667381 h 9518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897487" h="951879">
                  <a:moveTo>
                    <a:pt x="580988" y="667381"/>
                  </a:moveTo>
                  <a:lnTo>
                    <a:pt x="409649" y="667381"/>
                  </a:lnTo>
                  <a:cubicBezTo>
                    <a:pt x="423248" y="667381"/>
                    <a:pt x="548352" y="561314"/>
                    <a:pt x="591866" y="525959"/>
                  </a:cubicBezTo>
                  <a:cubicBezTo>
                    <a:pt x="700653" y="433491"/>
                    <a:pt x="899188" y="297508"/>
                    <a:pt x="842075" y="123450"/>
                  </a:cubicBezTo>
                  <a:lnTo>
                    <a:pt x="842075" y="123450"/>
                  </a:lnTo>
                  <a:cubicBezTo>
                    <a:pt x="831197" y="82655"/>
                    <a:pt x="798560" y="58178"/>
                    <a:pt x="798560" y="58178"/>
                  </a:cubicBezTo>
                  <a:cubicBezTo>
                    <a:pt x="798560" y="58178"/>
                    <a:pt x="787682" y="90814"/>
                    <a:pt x="746887" y="107132"/>
                  </a:cubicBezTo>
                  <a:cubicBezTo>
                    <a:pt x="730569" y="109852"/>
                    <a:pt x="714251" y="115291"/>
                    <a:pt x="697933" y="115291"/>
                  </a:cubicBezTo>
                  <a:cubicBezTo>
                    <a:pt x="684334" y="115291"/>
                    <a:pt x="219273" y="115291"/>
                    <a:pt x="219273" y="115291"/>
                  </a:cubicBezTo>
                  <a:cubicBezTo>
                    <a:pt x="156721" y="115291"/>
                    <a:pt x="105048" y="166964"/>
                    <a:pt x="102328" y="224077"/>
                  </a:cubicBezTo>
                  <a:cubicBezTo>
                    <a:pt x="102328" y="283910"/>
                    <a:pt x="151282" y="332863"/>
                    <a:pt x="213834" y="332863"/>
                  </a:cubicBezTo>
                  <a:lnTo>
                    <a:pt x="485800" y="335583"/>
                  </a:lnTo>
                  <a:cubicBezTo>
                    <a:pt x="360695" y="406294"/>
                    <a:pt x="211114" y="487884"/>
                    <a:pt x="134964" y="615708"/>
                  </a:cubicBezTo>
                  <a:cubicBezTo>
                    <a:pt x="91449" y="689138"/>
                    <a:pt x="45215" y="800644"/>
                    <a:pt x="61533" y="884953"/>
                  </a:cubicBezTo>
                  <a:cubicBezTo>
                    <a:pt x="121366" y="830560"/>
                    <a:pt x="279106" y="778887"/>
                    <a:pt x="398771" y="806083"/>
                  </a:cubicBezTo>
                  <a:cubicBezTo>
                    <a:pt x="445005" y="814242"/>
                    <a:pt x="491239" y="838719"/>
                    <a:pt x="529314" y="863196"/>
                  </a:cubicBezTo>
                  <a:cubicBezTo>
                    <a:pt x="755046" y="1004618"/>
                    <a:pt x="891029" y="727213"/>
                    <a:pt x="782242" y="607549"/>
                  </a:cubicBezTo>
                  <a:cubicBezTo>
                    <a:pt x="784962" y="607549"/>
                    <a:pt x="722410" y="667381"/>
                    <a:pt x="580988" y="667381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17770C8A-5B84-4503-8D5D-B710B131CCB1}"/>
                </a:ext>
              </a:extLst>
            </p:cNvPr>
            <p:cNvSpPr/>
            <p:nvPr/>
          </p:nvSpPr>
          <p:spPr>
            <a:xfrm>
              <a:off x="2624650" y="1948442"/>
              <a:ext cx="1903761" cy="1577400"/>
            </a:xfrm>
            <a:custGeom>
              <a:avLst/>
              <a:gdLst>
                <a:gd name="connsiteX0" fmla="*/ 1559430 w 1903760"/>
                <a:gd name="connsiteY0" fmla="*/ 1165078 h 1577399"/>
                <a:gd name="connsiteX1" fmla="*/ 1369054 w 1903760"/>
                <a:gd name="connsiteY1" fmla="*/ 593950 h 1577399"/>
                <a:gd name="connsiteX2" fmla="*/ 1483279 w 1903760"/>
                <a:gd name="connsiteY2" fmla="*/ 126170 h 1577399"/>
                <a:gd name="connsiteX3" fmla="*/ 1311941 w 1903760"/>
                <a:gd name="connsiteY3" fmla="*/ 58178 h 1577399"/>
                <a:gd name="connsiteX4" fmla="*/ 1078050 w 1903760"/>
                <a:gd name="connsiteY4" fmla="*/ 205040 h 1577399"/>
                <a:gd name="connsiteX5" fmla="*/ 846879 w 1903760"/>
                <a:gd name="connsiteY5" fmla="*/ 523239 h 1577399"/>
                <a:gd name="connsiteX6" fmla="*/ 645624 w 1903760"/>
                <a:gd name="connsiteY6" fmla="*/ 210479 h 1577399"/>
                <a:gd name="connsiteX7" fmla="*/ 455248 w 1903760"/>
                <a:gd name="connsiteY7" fmla="*/ 63617 h 1577399"/>
                <a:gd name="connsiteX8" fmla="*/ 234956 w 1903760"/>
                <a:gd name="connsiteY8" fmla="*/ 137048 h 1577399"/>
                <a:gd name="connsiteX9" fmla="*/ 316546 w 1903760"/>
                <a:gd name="connsiteY9" fmla="*/ 588511 h 1577399"/>
                <a:gd name="connsiteX10" fmla="*/ 58178 w 1903760"/>
                <a:gd name="connsiteY10" fmla="*/ 1072610 h 1577399"/>
                <a:gd name="connsiteX11" fmla="*/ 474286 w 1903760"/>
                <a:gd name="connsiteY11" fmla="*/ 1020936 h 1577399"/>
                <a:gd name="connsiteX12" fmla="*/ 555876 w 1903760"/>
                <a:gd name="connsiteY12" fmla="*/ 572193 h 1577399"/>
                <a:gd name="connsiteX13" fmla="*/ 830561 w 1903760"/>
                <a:gd name="connsiteY13" fmla="*/ 993740 h 1577399"/>
                <a:gd name="connsiteX14" fmla="*/ 1140602 w 1903760"/>
                <a:gd name="connsiteY14" fmla="*/ 574913 h 1577399"/>
                <a:gd name="connsiteX15" fmla="*/ 1567589 w 1903760"/>
                <a:gd name="connsiteY15" fmla="*/ 1526792 h 1577399"/>
                <a:gd name="connsiteX16" fmla="*/ 1866751 w 1903760"/>
                <a:gd name="connsiteY16" fmla="*/ 1322818 h 1577399"/>
                <a:gd name="connsiteX17" fmla="*/ 1559430 w 1903760"/>
                <a:gd name="connsiteY17" fmla="*/ 1165078 h 15773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903760" h="1577399">
                  <a:moveTo>
                    <a:pt x="1559430" y="1165078"/>
                  </a:moveTo>
                  <a:cubicBezTo>
                    <a:pt x="1420727" y="1012777"/>
                    <a:pt x="1377213" y="762569"/>
                    <a:pt x="1369054" y="593950"/>
                  </a:cubicBezTo>
                  <a:cubicBezTo>
                    <a:pt x="1360895" y="449809"/>
                    <a:pt x="1369054" y="199600"/>
                    <a:pt x="1483279" y="126170"/>
                  </a:cubicBezTo>
                  <a:cubicBezTo>
                    <a:pt x="1445204" y="77216"/>
                    <a:pt x="1369054" y="58178"/>
                    <a:pt x="1311941" y="58178"/>
                  </a:cubicBezTo>
                  <a:cubicBezTo>
                    <a:pt x="1184117" y="58178"/>
                    <a:pt x="1121565" y="142488"/>
                    <a:pt x="1078050" y="205040"/>
                  </a:cubicBezTo>
                  <a:cubicBezTo>
                    <a:pt x="1064452" y="224077"/>
                    <a:pt x="846879" y="523239"/>
                    <a:pt x="846879" y="523239"/>
                  </a:cubicBezTo>
                  <a:cubicBezTo>
                    <a:pt x="846879" y="523239"/>
                    <a:pt x="667382" y="243115"/>
                    <a:pt x="645624" y="210479"/>
                  </a:cubicBezTo>
                  <a:cubicBezTo>
                    <a:pt x="615708" y="164245"/>
                    <a:pt x="555876" y="77216"/>
                    <a:pt x="455248" y="63617"/>
                  </a:cubicBezTo>
                  <a:cubicBezTo>
                    <a:pt x="411734" y="58178"/>
                    <a:pt x="297508" y="52739"/>
                    <a:pt x="234956" y="137048"/>
                  </a:cubicBezTo>
                  <a:cubicBezTo>
                    <a:pt x="341023" y="221357"/>
                    <a:pt x="338303" y="438930"/>
                    <a:pt x="316546" y="588511"/>
                  </a:cubicBezTo>
                  <a:cubicBezTo>
                    <a:pt x="248554" y="1031815"/>
                    <a:pt x="58178" y="1072610"/>
                    <a:pt x="58178" y="1072610"/>
                  </a:cubicBezTo>
                  <a:cubicBezTo>
                    <a:pt x="156086" y="1333696"/>
                    <a:pt x="403575" y="1230350"/>
                    <a:pt x="474286" y="1020936"/>
                  </a:cubicBezTo>
                  <a:cubicBezTo>
                    <a:pt x="520520" y="884953"/>
                    <a:pt x="550436" y="713615"/>
                    <a:pt x="555876" y="572193"/>
                  </a:cubicBezTo>
                  <a:lnTo>
                    <a:pt x="830561" y="993740"/>
                  </a:lnTo>
                  <a:cubicBezTo>
                    <a:pt x="830561" y="993740"/>
                    <a:pt x="1140602" y="574913"/>
                    <a:pt x="1140602" y="574913"/>
                  </a:cubicBezTo>
                  <a:cubicBezTo>
                    <a:pt x="1088929" y="1314659"/>
                    <a:pt x="1344577" y="1526792"/>
                    <a:pt x="1567589" y="1526792"/>
                  </a:cubicBezTo>
                  <a:cubicBezTo>
                    <a:pt x="1790601" y="1526792"/>
                    <a:pt x="1866751" y="1322818"/>
                    <a:pt x="1866751" y="1322818"/>
                  </a:cubicBezTo>
                  <a:cubicBezTo>
                    <a:pt x="1744367" y="1314659"/>
                    <a:pt x="1641019" y="1252107"/>
                    <a:pt x="1559430" y="1165078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A7E3A062-DDC7-49B6-A3D5-B32A3A38D180}"/>
                </a:ext>
              </a:extLst>
            </p:cNvPr>
            <p:cNvSpPr/>
            <p:nvPr/>
          </p:nvSpPr>
          <p:spPr>
            <a:xfrm>
              <a:off x="4792218" y="3234839"/>
              <a:ext cx="271966" cy="652717"/>
            </a:xfrm>
            <a:custGeom>
              <a:avLst/>
              <a:gdLst>
                <a:gd name="connsiteX0" fmla="*/ 88095 w 271965"/>
                <a:gd name="connsiteY0" fmla="*/ 120730 h 652717"/>
                <a:gd name="connsiteX1" fmla="*/ 93534 w 271965"/>
                <a:gd name="connsiteY1" fmla="*/ 153366 h 652717"/>
                <a:gd name="connsiteX2" fmla="*/ 93534 w 271965"/>
                <a:gd name="connsiteY2" fmla="*/ 544997 h 652717"/>
                <a:gd name="connsiteX3" fmla="*/ 156086 w 271965"/>
                <a:gd name="connsiteY3" fmla="*/ 604829 h 652717"/>
                <a:gd name="connsiteX4" fmla="*/ 221358 w 271965"/>
                <a:gd name="connsiteY4" fmla="*/ 544997 h 652717"/>
                <a:gd name="connsiteX5" fmla="*/ 221358 w 271965"/>
                <a:gd name="connsiteY5" fmla="*/ 194161 h 652717"/>
                <a:gd name="connsiteX6" fmla="*/ 210479 w 271965"/>
                <a:gd name="connsiteY6" fmla="*/ 109852 h 652717"/>
                <a:gd name="connsiteX7" fmla="*/ 118011 w 271965"/>
                <a:gd name="connsiteY7" fmla="*/ 58178 h 652717"/>
                <a:gd name="connsiteX8" fmla="*/ 58178 w 271965"/>
                <a:gd name="connsiteY8" fmla="*/ 88094 h 652717"/>
                <a:gd name="connsiteX9" fmla="*/ 88095 w 271965"/>
                <a:gd name="connsiteY9" fmla="*/ 120730 h 6527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71965" h="652717">
                  <a:moveTo>
                    <a:pt x="88095" y="120730"/>
                  </a:moveTo>
                  <a:cubicBezTo>
                    <a:pt x="90814" y="131609"/>
                    <a:pt x="90814" y="142487"/>
                    <a:pt x="93534" y="153366"/>
                  </a:cubicBezTo>
                  <a:cubicBezTo>
                    <a:pt x="93534" y="156086"/>
                    <a:pt x="93534" y="542277"/>
                    <a:pt x="93534" y="544997"/>
                  </a:cubicBezTo>
                  <a:cubicBezTo>
                    <a:pt x="93534" y="577632"/>
                    <a:pt x="123450" y="604829"/>
                    <a:pt x="156086" y="604829"/>
                  </a:cubicBezTo>
                  <a:cubicBezTo>
                    <a:pt x="188722" y="607548"/>
                    <a:pt x="221358" y="577632"/>
                    <a:pt x="221358" y="544997"/>
                  </a:cubicBezTo>
                  <a:cubicBezTo>
                    <a:pt x="221358" y="539557"/>
                    <a:pt x="221358" y="194161"/>
                    <a:pt x="221358" y="194161"/>
                  </a:cubicBezTo>
                  <a:cubicBezTo>
                    <a:pt x="221358" y="164245"/>
                    <a:pt x="224078" y="134329"/>
                    <a:pt x="210479" y="109852"/>
                  </a:cubicBezTo>
                  <a:cubicBezTo>
                    <a:pt x="196881" y="79935"/>
                    <a:pt x="158806" y="58178"/>
                    <a:pt x="118011" y="58178"/>
                  </a:cubicBezTo>
                  <a:cubicBezTo>
                    <a:pt x="79936" y="58178"/>
                    <a:pt x="58178" y="88094"/>
                    <a:pt x="58178" y="88094"/>
                  </a:cubicBezTo>
                  <a:cubicBezTo>
                    <a:pt x="58178" y="88094"/>
                    <a:pt x="77216" y="93534"/>
                    <a:pt x="88095" y="120730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DB52140B-5C19-4D8B-93F0-72CFECE86CC0}"/>
                </a:ext>
              </a:extLst>
            </p:cNvPr>
            <p:cNvSpPr/>
            <p:nvPr/>
          </p:nvSpPr>
          <p:spPr>
            <a:xfrm>
              <a:off x="8751819" y="3234667"/>
              <a:ext cx="271966" cy="652717"/>
            </a:xfrm>
            <a:custGeom>
              <a:avLst/>
              <a:gdLst>
                <a:gd name="connsiteX0" fmla="*/ 191663 w 271965"/>
                <a:gd name="connsiteY0" fmla="*/ 542449 h 652717"/>
                <a:gd name="connsiteX1" fmla="*/ 186224 w 271965"/>
                <a:gd name="connsiteY1" fmla="*/ 509813 h 652717"/>
                <a:gd name="connsiteX2" fmla="*/ 186224 w 271965"/>
                <a:gd name="connsiteY2" fmla="*/ 118183 h 652717"/>
                <a:gd name="connsiteX3" fmla="*/ 123672 w 271965"/>
                <a:gd name="connsiteY3" fmla="*/ 58350 h 652717"/>
                <a:gd name="connsiteX4" fmla="*/ 58400 w 271965"/>
                <a:gd name="connsiteY4" fmla="*/ 118183 h 652717"/>
                <a:gd name="connsiteX5" fmla="*/ 58400 w 271965"/>
                <a:gd name="connsiteY5" fmla="*/ 469018 h 652717"/>
                <a:gd name="connsiteX6" fmla="*/ 69279 w 271965"/>
                <a:gd name="connsiteY6" fmla="*/ 553328 h 652717"/>
                <a:gd name="connsiteX7" fmla="*/ 161747 w 271965"/>
                <a:gd name="connsiteY7" fmla="*/ 605001 h 652717"/>
                <a:gd name="connsiteX8" fmla="*/ 221580 w 271965"/>
                <a:gd name="connsiteY8" fmla="*/ 575085 h 652717"/>
                <a:gd name="connsiteX9" fmla="*/ 191663 w 271965"/>
                <a:gd name="connsiteY9" fmla="*/ 542449 h 6527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71965" h="652717">
                  <a:moveTo>
                    <a:pt x="191663" y="542449"/>
                  </a:moveTo>
                  <a:cubicBezTo>
                    <a:pt x="188944" y="531570"/>
                    <a:pt x="186224" y="520692"/>
                    <a:pt x="186224" y="509813"/>
                  </a:cubicBezTo>
                  <a:cubicBezTo>
                    <a:pt x="186224" y="507093"/>
                    <a:pt x="186224" y="120902"/>
                    <a:pt x="186224" y="118183"/>
                  </a:cubicBezTo>
                  <a:cubicBezTo>
                    <a:pt x="186224" y="85547"/>
                    <a:pt x="156308" y="58350"/>
                    <a:pt x="123672" y="58350"/>
                  </a:cubicBezTo>
                  <a:cubicBezTo>
                    <a:pt x="91036" y="55631"/>
                    <a:pt x="58400" y="85547"/>
                    <a:pt x="58400" y="118183"/>
                  </a:cubicBezTo>
                  <a:cubicBezTo>
                    <a:pt x="58400" y="123622"/>
                    <a:pt x="58400" y="469018"/>
                    <a:pt x="58400" y="469018"/>
                  </a:cubicBezTo>
                  <a:cubicBezTo>
                    <a:pt x="58400" y="498934"/>
                    <a:pt x="55680" y="528851"/>
                    <a:pt x="69279" y="553328"/>
                  </a:cubicBezTo>
                  <a:cubicBezTo>
                    <a:pt x="82877" y="583244"/>
                    <a:pt x="120953" y="605001"/>
                    <a:pt x="161747" y="605001"/>
                  </a:cubicBezTo>
                  <a:cubicBezTo>
                    <a:pt x="199822" y="605001"/>
                    <a:pt x="221580" y="575085"/>
                    <a:pt x="221580" y="575085"/>
                  </a:cubicBezTo>
                  <a:cubicBezTo>
                    <a:pt x="221580" y="575085"/>
                    <a:pt x="202542" y="566926"/>
                    <a:pt x="191663" y="542449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79A100D8-96DD-4438-B034-852ACD48360A}"/>
                </a:ext>
              </a:extLst>
            </p:cNvPr>
            <p:cNvSpPr/>
            <p:nvPr/>
          </p:nvSpPr>
          <p:spPr>
            <a:xfrm>
              <a:off x="6320666" y="3416868"/>
              <a:ext cx="435145" cy="462341"/>
            </a:xfrm>
            <a:custGeom>
              <a:avLst/>
              <a:gdLst>
                <a:gd name="connsiteX0" fmla="*/ 302948 w 435145"/>
                <a:gd name="connsiteY0" fmla="*/ 74684 h 462341"/>
                <a:gd name="connsiteX1" fmla="*/ 186003 w 435145"/>
                <a:gd name="connsiteY1" fmla="*/ 148115 h 462341"/>
                <a:gd name="connsiteX2" fmla="*/ 186003 w 435145"/>
                <a:gd name="connsiteY2" fmla="*/ 148115 h 462341"/>
                <a:gd name="connsiteX3" fmla="*/ 186003 w 435145"/>
                <a:gd name="connsiteY3" fmla="*/ 115479 h 462341"/>
                <a:gd name="connsiteX4" fmla="*/ 123450 w 435145"/>
                <a:gd name="connsiteY4" fmla="*/ 58366 h 462341"/>
                <a:gd name="connsiteX5" fmla="*/ 58178 w 435145"/>
                <a:gd name="connsiteY5" fmla="*/ 115479 h 462341"/>
                <a:gd name="connsiteX6" fmla="*/ 58178 w 435145"/>
                <a:gd name="connsiteY6" fmla="*/ 362967 h 462341"/>
                <a:gd name="connsiteX7" fmla="*/ 120730 w 435145"/>
                <a:gd name="connsiteY7" fmla="*/ 422800 h 462341"/>
                <a:gd name="connsiteX8" fmla="*/ 186003 w 435145"/>
                <a:gd name="connsiteY8" fmla="*/ 362967 h 462341"/>
                <a:gd name="connsiteX9" fmla="*/ 186003 w 435145"/>
                <a:gd name="connsiteY9" fmla="*/ 213386 h 462341"/>
                <a:gd name="connsiteX10" fmla="*/ 186003 w 435145"/>
                <a:gd name="connsiteY10" fmla="*/ 213386 h 462341"/>
                <a:gd name="connsiteX11" fmla="*/ 229517 w 435145"/>
                <a:gd name="connsiteY11" fmla="*/ 161713 h 462341"/>
                <a:gd name="connsiteX12" fmla="*/ 259433 w 435145"/>
                <a:gd name="connsiteY12" fmla="*/ 194349 h 462341"/>
                <a:gd name="connsiteX13" fmla="*/ 259433 w 435145"/>
                <a:gd name="connsiteY13" fmla="*/ 362967 h 462341"/>
                <a:gd name="connsiteX14" fmla="*/ 321985 w 435145"/>
                <a:gd name="connsiteY14" fmla="*/ 422800 h 462341"/>
                <a:gd name="connsiteX15" fmla="*/ 387257 w 435145"/>
                <a:gd name="connsiteY15" fmla="*/ 362967 h 462341"/>
                <a:gd name="connsiteX16" fmla="*/ 387257 w 435145"/>
                <a:gd name="connsiteY16" fmla="*/ 273219 h 462341"/>
                <a:gd name="connsiteX17" fmla="*/ 302948 w 435145"/>
                <a:gd name="connsiteY17" fmla="*/ 74684 h 4623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435145" h="462341">
                  <a:moveTo>
                    <a:pt x="302948" y="74684"/>
                  </a:moveTo>
                  <a:cubicBezTo>
                    <a:pt x="234956" y="74684"/>
                    <a:pt x="196881" y="131797"/>
                    <a:pt x="186003" y="148115"/>
                  </a:cubicBezTo>
                  <a:lnTo>
                    <a:pt x="186003" y="148115"/>
                  </a:lnTo>
                  <a:cubicBezTo>
                    <a:pt x="186003" y="129077"/>
                    <a:pt x="186003" y="115479"/>
                    <a:pt x="186003" y="115479"/>
                  </a:cubicBezTo>
                  <a:cubicBezTo>
                    <a:pt x="186003" y="82843"/>
                    <a:pt x="156086" y="58366"/>
                    <a:pt x="123450" y="58366"/>
                  </a:cubicBezTo>
                  <a:cubicBezTo>
                    <a:pt x="90814" y="55646"/>
                    <a:pt x="58178" y="82843"/>
                    <a:pt x="58178" y="115479"/>
                  </a:cubicBezTo>
                  <a:cubicBezTo>
                    <a:pt x="58178" y="120918"/>
                    <a:pt x="58178" y="360248"/>
                    <a:pt x="58178" y="362967"/>
                  </a:cubicBezTo>
                  <a:cubicBezTo>
                    <a:pt x="58178" y="395603"/>
                    <a:pt x="88095" y="422800"/>
                    <a:pt x="120730" y="422800"/>
                  </a:cubicBezTo>
                  <a:cubicBezTo>
                    <a:pt x="153366" y="425519"/>
                    <a:pt x="186003" y="395603"/>
                    <a:pt x="186003" y="362967"/>
                  </a:cubicBezTo>
                  <a:cubicBezTo>
                    <a:pt x="186003" y="360248"/>
                    <a:pt x="186003" y="281378"/>
                    <a:pt x="186003" y="213386"/>
                  </a:cubicBezTo>
                  <a:lnTo>
                    <a:pt x="186003" y="213386"/>
                  </a:lnTo>
                  <a:cubicBezTo>
                    <a:pt x="191442" y="186190"/>
                    <a:pt x="205040" y="161713"/>
                    <a:pt x="229517" y="161713"/>
                  </a:cubicBezTo>
                  <a:cubicBezTo>
                    <a:pt x="259433" y="161713"/>
                    <a:pt x="259433" y="194349"/>
                    <a:pt x="259433" y="194349"/>
                  </a:cubicBezTo>
                  <a:lnTo>
                    <a:pt x="259433" y="362967"/>
                  </a:lnTo>
                  <a:cubicBezTo>
                    <a:pt x="259433" y="395603"/>
                    <a:pt x="289349" y="422800"/>
                    <a:pt x="321985" y="422800"/>
                  </a:cubicBezTo>
                  <a:cubicBezTo>
                    <a:pt x="354621" y="425519"/>
                    <a:pt x="387257" y="395603"/>
                    <a:pt x="387257" y="362967"/>
                  </a:cubicBezTo>
                  <a:lnTo>
                    <a:pt x="387257" y="273219"/>
                  </a:lnTo>
                  <a:cubicBezTo>
                    <a:pt x="387257" y="183470"/>
                    <a:pt x="395416" y="71964"/>
                    <a:pt x="302948" y="74684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E4435034-3BFA-4E05-A947-D42274FB4ACD}"/>
                </a:ext>
              </a:extLst>
            </p:cNvPr>
            <p:cNvSpPr/>
            <p:nvPr/>
          </p:nvSpPr>
          <p:spPr>
            <a:xfrm>
              <a:off x="7960620" y="3416868"/>
              <a:ext cx="435145" cy="462341"/>
            </a:xfrm>
            <a:custGeom>
              <a:avLst/>
              <a:gdLst>
                <a:gd name="connsiteX0" fmla="*/ 302948 w 435145"/>
                <a:gd name="connsiteY0" fmla="*/ 74684 h 462341"/>
                <a:gd name="connsiteX1" fmla="*/ 186002 w 435145"/>
                <a:gd name="connsiteY1" fmla="*/ 148115 h 462341"/>
                <a:gd name="connsiteX2" fmla="*/ 186002 w 435145"/>
                <a:gd name="connsiteY2" fmla="*/ 148115 h 462341"/>
                <a:gd name="connsiteX3" fmla="*/ 186002 w 435145"/>
                <a:gd name="connsiteY3" fmla="*/ 115479 h 462341"/>
                <a:gd name="connsiteX4" fmla="*/ 123450 w 435145"/>
                <a:gd name="connsiteY4" fmla="*/ 58366 h 462341"/>
                <a:gd name="connsiteX5" fmla="*/ 58178 w 435145"/>
                <a:gd name="connsiteY5" fmla="*/ 115479 h 462341"/>
                <a:gd name="connsiteX6" fmla="*/ 58178 w 435145"/>
                <a:gd name="connsiteY6" fmla="*/ 362967 h 462341"/>
                <a:gd name="connsiteX7" fmla="*/ 120730 w 435145"/>
                <a:gd name="connsiteY7" fmla="*/ 422800 h 462341"/>
                <a:gd name="connsiteX8" fmla="*/ 186002 w 435145"/>
                <a:gd name="connsiteY8" fmla="*/ 362967 h 462341"/>
                <a:gd name="connsiteX9" fmla="*/ 186002 w 435145"/>
                <a:gd name="connsiteY9" fmla="*/ 213386 h 462341"/>
                <a:gd name="connsiteX10" fmla="*/ 186002 w 435145"/>
                <a:gd name="connsiteY10" fmla="*/ 213386 h 462341"/>
                <a:gd name="connsiteX11" fmla="*/ 229517 w 435145"/>
                <a:gd name="connsiteY11" fmla="*/ 161713 h 462341"/>
                <a:gd name="connsiteX12" fmla="*/ 259433 w 435145"/>
                <a:gd name="connsiteY12" fmla="*/ 194349 h 462341"/>
                <a:gd name="connsiteX13" fmla="*/ 259433 w 435145"/>
                <a:gd name="connsiteY13" fmla="*/ 362967 h 462341"/>
                <a:gd name="connsiteX14" fmla="*/ 321985 w 435145"/>
                <a:gd name="connsiteY14" fmla="*/ 422800 h 462341"/>
                <a:gd name="connsiteX15" fmla="*/ 387257 w 435145"/>
                <a:gd name="connsiteY15" fmla="*/ 362967 h 462341"/>
                <a:gd name="connsiteX16" fmla="*/ 387257 w 435145"/>
                <a:gd name="connsiteY16" fmla="*/ 273219 h 462341"/>
                <a:gd name="connsiteX17" fmla="*/ 302948 w 435145"/>
                <a:gd name="connsiteY17" fmla="*/ 74684 h 4623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435145" h="462341">
                  <a:moveTo>
                    <a:pt x="302948" y="74684"/>
                  </a:moveTo>
                  <a:cubicBezTo>
                    <a:pt x="234956" y="74684"/>
                    <a:pt x="196881" y="131797"/>
                    <a:pt x="186002" y="148115"/>
                  </a:cubicBezTo>
                  <a:lnTo>
                    <a:pt x="186002" y="148115"/>
                  </a:lnTo>
                  <a:cubicBezTo>
                    <a:pt x="186002" y="129077"/>
                    <a:pt x="186002" y="115479"/>
                    <a:pt x="186002" y="115479"/>
                  </a:cubicBezTo>
                  <a:cubicBezTo>
                    <a:pt x="186002" y="82843"/>
                    <a:pt x="156086" y="58366"/>
                    <a:pt x="123450" y="58366"/>
                  </a:cubicBezTo>
                  <a:cubicBezTo>
                    <a:pt x="90814" y="55646"/>
                    <a:pt x="58178" y="82843"/>
                    <a:pt x="58178" y="115479"/>
                  </a:cubicBezTo>
                  <a:cubicBezTo>
                    <a:pt x="58178" y="120918"/>
                    <a:pt x="58178" y="360248"/>
                    <a:pt x="58178" y="362967"/>
                  </a:cubicBezTo>
                  <a:cubicBezTo>
                    <a:pt x="58178" y="395603"/>
                    <a:pt x="88095" y="422800"/>
                    <a:pt x="120730" y="422800"/>
                  </a:cubicBezTo>
                  <a:cubicBezTo>
                    <a:pt x="153366" y="425519"/>
                    <a:pt x="186002" y="395603"/>
                    <a:pt x="186002" y="362967"/>
                  </a:cubicBezTo>
                  <a:cubicBezTo>
                    <a:pt x="186002" y="360248"/>
                    <a:pt x="186002" y="281378"/>
                    <a:pt x="186002" y="213386"/>
                  </a:cubicBezTo>
                  <a:lnTo>
                    <a:pt x="186002" y="213386"/>
                  </a:lnTo>
                  <a:cubicBezTo>
                    <a:pt x="191442" y="186190"/>
                    <a:pt x="205040" y="161713"/>
                    <a:pt x="229517" y="161713"/>
                  </a:cubicBezTo>
                  <a:cubicBezTo>
                    <a:pt x="259433" y="161713"/>
                    <a:pt x="259433" y="194349"/>
                    <a:pt x="259433" y="194349"/>
                  </a:cubicBezTo>
                  <a:lnTo>
                    <a:pt x="259433" y="362967"/>
                  </a:lnTo>
                  <a:cubicBezTo>
                    <a:pt x="259433" y="395603"/>
                    <a:pt x="289349" y="422800"/>
                    <a:pt x="321985" y="422800"/>
                  </a:cubicBezTo>
                  <a:cubicBezTo>
                    <a:pt x="354621" y="425519"/>
                    <a:pt x="387257" y="395603"/>
                    <a:pt x="387257" y="362967"/>
                  </a:cubicBezTo>
                  <a:lnTo>
                    <a:pt x="387257" y="273219"/>
                  </a:lnTo>
                  <a:cubicBezTo>
                    <a:pt x="384537" y="183470"/>
                    <a:pt x="395416" y="71964"/>
                    <a:pt x="302948" y="74684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1F94EEDF-4DA9-4C49-8D81-4FEAA7A00790}"/>
                </a:ext>
              </a:extLst>
            </p:cNvPr>
            <p:cNvSpPr/>
            <p:nvPr/>
          </p:nvSpPr>
          <p:spPr>
            <a:xfrm>
              <a:off x="5020669" y="3416868"/>
              <a:ext cx="435145" cy="462341"/>
            </a:xfrm>
            <a:custGeom>
              <a:avLst/>
              <a:gdLst>
                <a:gd name="connsiteX0" fmla="*/ 302948 w 435145"/>
                <a:gd name="connsiteY0" fmla="*/ 74684 h 462341"/>
                <a:gd name="connsiteX1" fmla="*/ 186002 w 435145"/>
                <a:gd name="connsiteY1" fmla="*/ 148115 h 462341"/>
                <a:gd name="connsiteX2" fmla="*/ 186002 w 435145"/>
                <a:gd name="connsiteY2" fmla="*/ 148115 h 462341"/>
                <a:gd name="connsiteX3" fmla="*/ 186002 w 435145"/>
                <a:gd name="connsiteY3" fmla="*/ 115479 h 462341"/>
                <a:gd name="connsiteX4" fmla="*/ 123450 w 435145"/>
                <a:gd name="connsiteY4" fmla="*/ 58366 h 462341"/>
                <a:gd name="connsiteX5" fmla="*/ 58178 w 435145"/>
                <a:gd name="connsiteY5" fmla="*/ 115479 h 462341"/>
                <a:gd name="connsiteX6" fmla="*/ 58178 w 435145"/>
                <a:gd name="connsiteY6" fmla="*/ 362967 h 462341"/>
                <a:gd name="connsiteX7" fmla="*/ 120730 w 435145"/>
                <a:gd name="connsiteY7" fmla="*/ 422800 h 462341"/>
                <a:gd name="connsiteX8" fmla="*/ 186002 w 435145"/>
                <a:gd name="connsiteY8" fmla="*/ 362967 h 462341"/>
                <a:gd name="connsiteX9" fmla="*/ 186002 w 435145"/>
                <a:gd name="connsiteY9" fmla="*/ 213386 h 462341"/>
                <a:gd name="connsiteX10" fmla="*/ 186002 w 435145"/>
                <a:gd name="connsiteY10" fmla="*/ 213386 h 462341"/>
                <a:gd name="connsiteX11" fmla="*/ 229517 w 435145"/>
                <a:gd name="connsiteY11" fmla="*/ 161713 h 462341"/>
                <a:gd name="connsiteX12" fmla="*/ 259433 w 435145"/>
                <a:gd name="connsiteY12" fmla="*/ 194349 h 462341"/>
                <a:gd name="connsiteX13" fmla="*/ 259433 w 435145"/>
                <a:gd name="connsiteY13" fmla="*/ 362967 h 462341"/>
                <a:gd name="connsiteX14" fmla="*/ 321985 w 435145"/>
                <a:gd name="connsiteY14" fmla="*/ 422800 h 462341"/>
                <a:gd name="connsiteX15" fmla="*/ 387257 w 435145"/>
                <a:gd name="connsiteY15" fmla="*/ 362967 h 462341"/>
                <a:gd name="connsiteX16" fmla="*/ 387257 w 435145"/>
                <a:gd name="connsiteY16" fmla="*/ 273219 h 462341"/>
                <a:gd name="connsiteX17" fmla="*/ 302948 w 435145"/>
                <a:gd name="connsiteY17" fmla="*/ 74684 h 4623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435145" h="462341">
                  <a:moveTo>
                    <a:pt x="302948" y="74684"/>
                  </a:moveTo>
                  <a:cubicBezTo>
                    <a:pt x="234956" y="74684"/>
                    <a:pt x="196881" y="131797"/>
                    <a:pt x="186002" y="148115"/>
                  </a:cubicBezTo>
                  <a:lnTo>
                    <a:pt x="186002" y="148115"/>
                  </a:lnTo>
                  <a:cubicBezTo>
                    <a:pt x="186002" y="129077"/>
                    <a:pt x="186002" y="115479"/>
                    <a:pt x="186002" y="115479"/>
                  </a:cubicBezTo>
                  <a:cubicBezTo>
                    <a:pt x="186002" y="82843"/>
                    <a:pt x="156086" y="58366"/>
                    <a:pt x="123450" y="58366"/>
                  </a:cubicBezTo>
                  <a:cubicBezTo>
                    <a:pt x="90814" y="55646"/>
                    <a:pt x="58178" y="82843"/>
                    <a:pt x="58178" y="115479"/>
                  </a:cubicBezTo>
                  <a:cubicBezTo>
                    <a:pt x="58178" y="120918"/>
                    <a:pt x="58178" y="360248"/>
                    <a:pt x="58178" y="362967"/>
                  </a:cubicBezTo>
                  <a:cubicBezTo>
                    <a:pt x="58178" y="395603"/>
                    <a:pt x="88094" y="422800"/>
                    <a:pt x="120730" y="422800"/>
                  </a:cubicBezTo>
                  <a:cubicBezTo>
                    <a:pt x="153366" y="425519"/>
                    <a:pt x="186002" y="395603"/>
                    <a:pt x="186002" y="362967"/>
                  </a:cubicBezTo>
                  <a:cubicBezTo>
                    <a:pt x="186002" y="360248"/>
                    <a:pt x="186002" y="281378"/>
                    <a:pt x="186002" y="213386"/>
                  </a:cubicBezTo>
                  <a:lnTo>
                    <a:pt x="186002" y="213386"/>
                  </a:lnTo>
                  <a:cubicBezTo>
                    <a:pt x="191442" y="186190"/>
                    <a:pt x="205040" y="161713"/>
                    <a:pt x="229517" y="161713"/>
                  </a:cubicBezTo>
                  <a:cubicBezTo>
                    <a:pt x="259433" y="161713"/>
                    <a:pt x="259433" y="194349"/>
                    <a:pt x="259433" y="194349"/>
                  </a:cubicBezTo>
                  <a:lnTo>
                    <a:pt x="259433" y="362967"/>
                  </a:lnTo>
                  <a:cubicBezTo>
                    <a:pt x="259433" y="395603"/>
                    <a:pt x="289349" y="422800"/>
                    <a:pt x="321985" y="422800"/>
                  </a:cubicBezTo>
                  <a:cubicBezTo>
                    <a:pt x="354621" y="425519"/>
                    <a:pt x="387257" y="395603"/>
                    <a:pt x="387257" y="362967"/>
                  </a:cubicBezTo>
                  <a:lnTo>
                    <a:pt x="387257" y="273219"/>
                  </a:lnTo>
                  <a:cubicBezTo>
                    <a:pt x="384537" y="183470"/>
                    <a:pt x="395416" y="71964"/>
                    <a:pt x="302948" y="74684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847FAE4D-6929-4A6E-B735-59F6ED016FDD}"/>
                </a:ext>
              </a:extLst>
            </p:cNvPr>
            <p:cNvSpPr/>
            <p:nvPr/>
          </p:nvSpPr>
          <p:spPr>
            <a:xfrm>
              <a:off x="7616289" y="3475234"/>
              <a:ext cx="364436" cy="364434"/>
            </a:xfrm>
            <a:custGeom>
              <a:avLst/>
              <a:gdLst>
                <a:gd name="connsiteX0" fmla="*/ 182218 w 364436"/>
                <a:gd name="connsiteY0" fmla="*/ 73431 h 364434"/>
                <a:gd name="connsiteX1" fmla="*/ 130544 w 364436"/>
                <a:gd name="connsiteY1" fmla="*/ 179499 h 364434"/>
                <a:gd name="connsiteX2" fmla="*/ 182218 w 364436"/>
                <a:gd name="connsiteY2" fmla="*/ 285565 h 364434"/>
                <a:gd name="connsiteX3" fmla="*/ 233891 w 364436"/>
                <a:gd name="connsiteY3" fmla="*/ 179499 h 364434"/>
                <a:gd name="connsiteX4" fmla="*/ 182218 w 364436"/>
                <a:gd name="connsiteY4" fmla="*/ 73431 h 364434"/>
                <a:gd name="connsiteX5" fmla="*/ 182219 w 364436"/>
                <a:gd name="connsiteY5" fmla="*/ 0 h 364434"/>
                <a:gd name="connsiteX6" fmla="*/ 364436 w 364436"/>
                <a:gd name="connsiteY6" fmla="*/ 182217 h 364434"/>
                <a:gd name="connsiteX7" fmla="*/ 182219 w 364436"/>
                <a:gd name="connsiteY7" fmla="*/ 364434 h 364434"/>
                <a:gd name="connsiteX8" fmla="*/ 0 w 364436"/>
                <a:gd name="connsiteY8" fmla="*/ 182217 h 364434"/>
                <a:gd name="connsiteX9" fmla="*/ 182219 w 364436"/>
                <a:gd name="connsiteY9" fmla="*/ 0 h 3644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64436" h="364434">
                  <a:moveTo>
                    <a:pt x="182218" y="73431"/>
                  </a:moveTo>
                  <a:cubicBezTo>
                    <a:pt x="152302" y="76151"/>
                    <a:pt x="130544" y="114226"/>
                    <a:pt x="130544" y="179499"/>
                  </a:cubicBezTo>
                  <a:cubicBezTo>
                    <a:pt x="130544" y="244770"/>
                    <a:pt x="146862" y="285565"/>
                    <a:pt x="182218" y="285565"/>
                  </a:cubicBezTo>
                  <a:cubicBezTo>
                    <a:pt x="217573" y="285565"/>
                    <a:pt x="233891" y="247490"/>
                    <a:pt x="233891" y="179499"/>
                  </a:cubicBezTo>
                  <a:cubicBezTo>
                    <a:pt x="233891" y="114226"/>
                    <a:pt x="212134" y="73431"/>
                    <a:pt x="182218" y="73431"/>
                  </a:cubicBezTo>
                  <a:close/>
                  <a:moveTo>
                    <a:pt x="182219" y="0"/>
                  </a:moveTo>
                  <a:cubicBezTo>
                    <a:pt x="282846" y="0"/>
                    <a:pt x="364436" y="81590"/>
                    <a:pt x="364436" y="182217"/>
                  </a:cubicBezTo>
                  <a:cubicBezTo>
                    <a:pt x="364436" y="282844"/>
                    <a:pt x="282846" y="364434"/>
                    <a:pt x="182219" y="364434"/>
                  </a:cubicBezTo>
                  <a:cubicBezTo>
                    <a:pt x="81591" y="364434"/>
                    <a:pt x="0" y="282844"/>
                    <a:pt x="0" y="182217"/>
                  </a:cubicBezTo>
                  <a:cubicBezTo>
                    <a:pt x="0" y="81590"/>
                    <a:pt x="81591" y="0"/>
                    <a:pt x="182219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A61A7D8E-A6BF-40D7-95EB-1191999BD2EC}"/>
                </a:ext>
              </a:extLst>
            </p:cNvPr>
            <p:cNvSpPr/>
            <p:nvPr/>
          </p:nvSpPr>
          <p:spPr>
            <a:xfrm>
              <a:off x="6743101" y="3464184"/>
              <a:ext cx="372773" cy="375657"/>
            </a:xfrm>
            <a:custGeom>
              <a:avLst/>
              <a:gdLst>
                <a:gd name="connsiteX0" fmla="*/ 176958 w 372773"/>
                <a:gd name="connsiteY0" fmla="*/ 98080 h 375657"/>
                <a:gd name="connsiteX1" fmla="*/ 125284 w 372773"/>
                <a:gd name="connsiteY1" fmla="*/ 190548 h 375657"/>
                <a:gd name="connsiteX2" fmla="*/ 176958 w 372773"/>
                <a:gd name="connsiteY2" fmla="*/ 283017 h 375657"/>
                <a:gd name="connsiteX3" fmla="*/ 228631 w 372773"/>
                <a:gd name="connsiteY3" fmla="*/ 190548 h 375657"/>
                <a:gd name="connsiteX4" fmla="*/ 176958 w 372773"/>
                <a:gd name="connsiteY4" fmla="*/ 98080 h 375657"/>
                <a:gd name="connsiteX5" fmla="*/ 307501 w 372773"/>
                <a:gd name="connsiteY5" fmla="*/ 172 h 375657"/>
                <a:gd name="connsiteX6" fmla="*/ 372773 w 372773"/>
                <a:gd name="connsiteY6" fmla="*/ 62724 h 375657"/>
                <a:gd name="connsiteX7" fmla="*/ 372773 w 372773"/>
                <a:gd name="connsiteY7" fmla="*/ 312934 h 375657"/>
                <a:gd name="connsiteX8" fmla="*/ 302061 w 372773"/>
                <a:gd name="connsiteY8" fmla="*/ 375486 h 375657"/>
                <a:gd name="connsiteX9" fmla="*/ 239509 w 372773"/>
                <a:gd name="connsiteY9" fmla="*/ 326532 h 375657"/>
                <a:gd name="connsiteX10" fmla="*/ 179677 w 372773"/>
                <a:gd name="connsiteY10" fmla="*/ 370046 h 375657"/>
                <a:gd name="connsiteX11" fmla="*/ 70890 w 372773"/>
                <a:gd name="connsiteY11" fmla="*/ 353728 h 375657"/>
                <a:gd name="connsiteX12" fmla="*/ 128003 w 372773"/>
                <a:gd name="connsiteY12" fmla="*/ 11051 h 375657"/>
                <a:gd name="connsiteX13" fmla="*/ 236790 w 372773"/>
                <a:gd name="connsiteY13" fmla="*/ 70883 h 375657"/>
                <a:gd name="connsiteX14" fmla="*/ 236790 w 372773"/>
                <a:gd name="connsiteY14" fmla="*/ 62724 h 375657"/>
                <a:gd name="connsiteX15" fmla="*/ 307501 w 372773"/>
                <a:gd name="connsiteY15" fmla="*/ 172 h 3756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72773" h="375657">
                  <a:moveTo>
                    <a:pt x="176958" y="98080"/>
                  </a:moveTo>
                  <a:cubicBezTo>
                    <a:pt x="147042" y="100800"/>
                    <a:pt x="125284" y="133436"/>
                    <a:pt x="125284" y="190548"/>
                  </a:cubicBezTo>
                  <a:cubicBezTo>
                    <a:pt x="125284" y="247661"/>
                    <a:pt x="141602" y="283017"/>
                    <a:pt x="176958" y="283017"/>
                  </a:cubicBezTo>
                  <a:cubicBezTo>
                    <a:pt x="212314" y="283017"/>
                    <a:pt x="228631" y="247661"/>
                    <a:pt x="228631" y="190548"/>
                  </a:cubicBezTo>
                  <a:cubicBezTo>
                    <a:pt x="228631" y="133436"/>
                    <a:pt x="206874" y="98080"/>
                    <a:pt x="176958" y="98080"/>
                  </a:cubicBezTo>
                  <a:close/>
                  <a:moveTo>
                    <a:pt x="307501" y="172"/>
                  </a:moveTo>
                  <a:cubicBezTo>
                    <a:pt x="340137" y="172"/>
                    <a:pt x="372773" y="30088"/>
                    <a:pt x="372773" y="62724"/>
                  </a:cubicBezTo>
                  <a:cubicBezTo>
                    <a:pt x="372773" y="65444"/>
                    <a:pt x="372773" y="307494"/>
                    <a:pt x="372773" y="312934"/>
                  </a:cubicBezTo>
                  <a:cubicBezTo>
                    <a:pt x="370053" y="348289"/>
                    <a:pt x="337417" y="378205"/>
                    <a:pt x="302061" y="375486"/>
                  </a:cubicBezTo>
                  <a:cubicBezTo>
                    <a:pt x="274865" y="372766"/>
                    <a:pt x="247668" y="353728"/>
                    <a:pt x="239509" y="326532"/>
                  </a:cubicBezTo>
                  <a:cubicBezTo>
                    <a:pt x="225911" y="348289"/>
                    <a:pt x="198715" y="364607"/>
                    <a:pt x="179677" y="370046"/>
                  </a:cubicBezTo>
                  <a:cubicBezTo>
                    <a:pt x="147041" y="378205"/>
                    <a:pt x="100807" y="372766"/>
                    <a:pt x="70890" y="353728"/>
                  </a:cubicBezTo>
                  <a:cubicBezTo>
                    <a:pt x="-35177" y="285737"/>
                    <a:pt x="-27018" y="11051"/>
                    <a:pt x="128003" y="11051"/>
                  </a:cubicBezTo>
                  <a:cubicBezTo>
                    <a:pt x="185116" y="11051"/>
                    <a:pt x="220471" y="49126"/>
                    <a:pt x="236790" y="70883"/>
                  </a:cubicBezTo>
                  <a:cubicBezTo>
                    <a:pt x="236790" y="70883"/>
                    <a:pt x="236790" y="65444"/>
                    <a:pt x="236790" y="62724"/>
                  </a:cubicBezTo>
                  <a:cubicBezTo>
                    <a:pt x="239509" y="27369"/>
                    <a:pt x="272145" y="-2547"/>
                    <a:pt x="307501" y="172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41409C27-3D54-4E7E-B608-F8D1F36BC68E}"/>
                </a:ext>
              </a:extLst>
            </p:cNvPr>
            <p:cNvSpPr/>
            <p:nvPr/>
          </p:nvSpPr>
          <p:spPr>
            <a:xfrm>
              <a:off x="8380335" y="3464184"/>
              <a:ext cx="372772" cy="375657"/>
            </a:xfrm>
            <a:custGeom>
              <a:avLst/>
              <a:gdLst>
                <a:gd name="connsiteX0" fmla="*/ 176957 w 372772"/>
                <a:gd name="connsiteY0" fmla="*/ 98080 h 375657"/>
                <a:gd name="connsiteX1" fmla="*/ 125282 w 372772"/>
                <a:gd name="connsiteY1" fmla="*/ 190548 h 375657"/>
                <a:gd name="connsiteX2" fmla="*/ 176957 w 372772"/>
                <a:gd name="connsiteY2" fmla="*/ 283017 h 375657"/>
                <a:gd name="connsiteX3" fmla="*/ 228630 w 372772"/>
                <a:gd name="connsiteY3" fmla="*/ 190548 h 375657"/>
                <a:gd name="connsiteX4" fmla="*/ 176957 w 372772"/>
                <a:gd name="connsiteY4" fmla="*/ 98080 h 375657"/>
                <a:gd name="connsiteX5" fmla="*/ 307501 w 372772"/>
                <a:gd name="connsiteY5" fmla="*/ 172 h 375657"/>
                <a:gd name="connsiteX6" fmla="*/ 372772 w 372772"/>
                <a:gd name="connsiteY6" fmla="*/ 62724 h 375657"/>
                <a:gd name="connsiteX7" fmla="*/ 372772 w 372772"/>
                <a:gd name="connsiteY7" fmla="*/ 312934 h 375657"/>
                <a:gd name="connsiteX8" fmla="*/ 302062 w 372772"/>
                <a:gd name="connsiteY8" fmla="*/ 375486 h 375657"/>
                <a:gd name="connsiteX9" fmla="*/ 239509 w 372772"/>
                <a:gd name="connsiteY9" fmla="*/ 326532 h 375657"/>
                <a:gd name="connsiteX10" fmla="*/ 179677 w 372772"/>
                <a:gd name="connsiteY10" fmla="*/ 370046 h 375657"/>
                <a:gd name="connsiteX11" fmla="*/ 70890 w 372772"/>
                <a:gd name="connsiteY11" fmla="*/ 353728 h 375657"/>
                <a:gd name="connsiteX12" fmla="*/ 128002 w 372772"/>
                <a:gd name="connsiteY12" fmla="*/ 11051 h 375657"/>
                <a:gd name="connsiteX13" fmla="*/ 236790 w 372772"/>
                <a:gd name="connsiteY13" fmla="*/ 70883 h 375657"/>
                <a:gd name="connsiteX14" fmla="*/ 236790 w 372772"/>
                <a:gd name="connsiteY14" fmla="*/ 62724 h 375657"/>
                <a:gd name="connsiteX15" fmla="*/ 307501 w 372772"/>
                <a:gd name="connsiteY15" fmla="*/ 172 h 3756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72772" h="375657">
                  <a:moveTo>
                    <a:pt x="176957" y="98080"/>
                  </a:moveTo>
                  <a:cubicBezTo>
                    <a:pt x="147039" y="100800"/>
                    <a:pt x="125282" y="133436"/>
                    <a:pt x="125282" y="190548"/>
                  </a:cubicBezTo>
                  <a:cubicBezTo>
                    <a:pt x="125282" y="247661"/>
                    <a:pt x="141600" y="283017"/>
                    <a:pt x="176957" y="283017"/>
                  </a:cubicBezTo>
                  <a:cubicBezTo>
                    <a:pt x="212312" y="283017"/>
                    <a:pt x="228630" y="247661"/>
                    <a:pt x="228630" y="190548"/>
                  </a:cubicBezTo>
                  <a:cubicBezTo>
                    <a:pt x="228630" y="133436"/>
                    <a:pt x="206873" y="98080"/>
                    <a:pt x="176957" y="98080"/>
                  </a:cubicBezTo>
                  <a:close/>
                  <a:moveTo>
                    <a:pt x="307501" y="172"/>
                  </a:moveTo>
                  <a:cubicBezTo>
                    <a:pt x="340137" y="172"/>
                    <a:pt x="372772" y="30088"/>
                    <a:pt x="372772" y="62724"/>
                  </a:cubicBezTo>
                  <a:cubicBezTo>
                    <a:pt x="372772" y="65444"/>
                    <a:pt x="372772" y="307494"/>
                    <a:pt x="372772" y="312934"/>
                  </a:cubicBezTo>
                  <a:cubicBezTo>
                    <a:pt x="370053" y="348289"/>
                    <a:pt x="337417" y="378205"/>
                    <a:pt x="302062" y="375486"/>
                  </a:cubicBezTo>
                  <a:cubicBezTo>
                    <a:pt x="274865" y="372766"/>
                    <a:pt x="247668" y="353728"/>
                    <a:pt x="239509" y="326532"/>
                  </a:cubicBezTo>
                  <a:cubicBezTo>
                    <a:pt x="228630" y="348289"/>
                    <a:pt x="198714" y="364607"/>
                    <a:pt x="179677" y="370046"/>
                  </a:cubicBezTo>
                  <a:cubicBezTo>
                    <a:pt x="147040" y="378205"/>
                    <a:pt x="100806" y="372766"/>
                    <a:pt x="70890" y="353728"/>
                  </a:cubicBezTo>
                  <a:cubicBezTo>
                    <a:pt x="-35177" y="285737"/>
                    <a:pt x="-27018" y="11051"/>
                    <a:pt x="128002" y="11051"/>
                  </a:cubicBezTo>
                  <a:cubicBezTo>
                    <a:pt x="185116" y="11051"/>
                    <a:pt x="220472" y="49126"/>
                    <a:pt x="236790" y="70883"/>
                  </a:cubicBezTo>
                  <a:cubicBezTo>
                    <a:pt x="236790" y="70883"/>
                    <a:pt x="236790" y="65444"/>
                    <a:pt x="236790" y="62724"/>
                  </a:cubicBezTo>
                  <a:cubicBezTo>
                    <a:pt x="239509" y="27369"/>
                    <a:pt x="272145" y="-2547"/>
                    <a:pt x="307501" y="172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DD063CBE-F520-471D-99C8-586943DE0D8C}"/>
                </a:ext>
              </a:extLst>
            </p:cNvPr>
            <p:cNvSpPr/>
            <p:nvPr/>
          </p:nvSpPr>
          <p:spPr>
            <a:xfrm>
              <a:off x="7389492" y="3444253"/>
              <a:ext cx="217573" cy="435145"/>
            </a:xfrm>
            <a:custGeom>
              <a:avLst/>
              <a:gdLst>
                <a:gd name="connsiteX0" fmla="*/ 186002 w 217572"/>
                <a:gd name="connsiteY0" fmla="*/ 118011 h 435144"/>
                <a:gd name="connsiteX1" fmla="*/ 128890 w 217572"/>
                <a:gd name="connsiteY1" fmla="*/ 58178 h 435144"/>
                <a:gd name="connsiteX2" fmla="*/ 123450 w 217572"/>
                <a:gd name="connsiteY2" fmla="*/ 58178 h 435144"/>
                <a:gd name="connsiteX3" fmla="*/ 58178 w 217572"/>
                <a:gd name="connsiteY3" fmla="*/ 115291 h 435144"/>
                <a:gd name="connsiteX4" fmla="*/ 58178 w 217572"/>
                <a:gd name="connsiteY4" fmla="*/ 232236 h 435144"/>
                <a:gd name="connsiteX5" fmla="*/ 58178 w 217572"/>
                <a:gd name="connsiteY5" fmla="*/ 232236 h 435144"/>
                <a:gd name="connsiteX6" fmla="*/ 58178 w 217572"/>
                <a:gd name="connsiteY6" fmla="*/ 335583 h 435144"/>
                <a:gd name="connsiteX7" fmla="*/ 115291 w 217572"/>
                <a:gd name="connsiteY7" fmla="*/ 395415 h 435144"/>
                <a:gd name="connsiteX8" fmla="*/ 120730 w 217572"/>
                <a:gd name="connsiteY8" fmla="*/ 395415 h 435144"/>
                <a:gd name="connsiteX9" fmla="*/ 186002 w 217572"/>
                <a:gd name="connsiteY9" fmla="*/ 338303 h 435144"/>
                <a:gd name="connsiteX10" fmla="*/ 186002 w 217572"/>
                <a:gd name="connsiteY10" fmla="*/ 240395 h 435144"/>
                <a:gd name="connsiteX11" fmla="*/ 186002 w 217572"/>
                <a:gd name="connsiteY11" fmla="*/ 240395 h 435144"/>
                <a:gd name="connsiteX12" fmla="*/ 186002 w 217572"/>
                <a:gd name="connsiteY12" fmla="*/ 118011 h 4351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17572" h="435144">
                  <a:moveTo>
                    <a:pt x="186002" y="118011"/>
                  </a:moveTo>
                  <a:cubicBezTo>
                    <a:pt x="183283" y="85375"/>
                    <a:pt x="158806" y="60898"/>
                    <a:pt x="128890" y="58178"/>
                  </a:cubicBezTo>
                  <a:cubicBezTo>
                    <a:pt x="126170" y="58178"/>
                    <a:pt x="126170" y="58178"/>
                    <a:pt x="123450" y="58178"/>
                  </a:cubicBezTo>
                  <a:cubicBezTo>
                    <a:pt x="96254" y="58178"/>
                    <a:pt x="58178" y="82655"/>
                    <a:pt x="58178" y="115291"/>
                  </a:cubicBezTo>
                  <a:lnTo>
                    <a:pt x="58178" y="232236"/>
                  </a:lnTo>
                  <a:lnTo>
                    <a:pt x="58178" y="232236"/>
                  </a:lnTo>
                  <a:cubicBezTo>
                    <a:pt x="58178" y="270311"/>
                    <a:pt x="58178" y="335583"/>
                    <a:pt x="58178" y="335583"/>
                  </a:cubicBezTo>
                  <a:cubicBezTo>
                    <a:pt x="60898" y="368219"/>
                    <a:pt x="85375" y="392696"/>
                    <a:pt x="115291" y="395415"/>
                  </a:cubicBezTo>
                  <a:cubicBezTo>
                    <a:pt x="118011" y="395415"/>
                    <a:pt x="118011" y="395415"/>
                    <a:pt x="120730" y="395415"/>
                  </a:cubicBezTo>
                  <a:cubicBezTo>
                    <a:pt x="147927" y="395415"/>
                    <a:pt x="186002" y="370938"/>
                    <a:pt x="186002" y="338303"/>
                  </a:cubicBezTo>
                  <a:lnTo>
                    <a:pt x="186002" y="240395"/>
                  </a:lnTo>
                  <a:lnTo>
                    <a:pt x="186002" y="240395"/>
                  </a:lnTo>
                  <a:cubicBezTo>
                    <a:pt x="186002" y="202320"/>
                    <a:pt x="186002" y="118011"/>
                    <a:pt x="186002" y="118011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8DC003CD-8A26-432E-9060-84F8E0B2AA1B}"/>
                </a:ext>
              </a:extLst>
            </p:cNvPr>
            <p:cNvSpPr/>
            <p:nvPr/>
          </p:nvSpPr>
          <p:spPr>
            <a:xfrm>
              <a:off x="7392212" y="3280901"/>
              <a:ext cx="217573" cy="217572"/>
            </a:xfrm>
            <a:custGeom>
              <a:avLst/>
              <a:gdLst>
                <a:gd name="connsiteX0" fmla="*/ 183282 w 217572"/>
                <a:gd name="connsiteY0" fmla="*/ 120902 h 217572"/>
                <a:gd name="connsiteX1" fmla="*/ 120730 w 217572"/>
                <a:gd name="connsiteY1" fmla="*/ 183454 h 217572"/>
                <a:gd name="connsiteX2" fmla="*/ 58178 w 217572"/>
                <a:gd name="connsiteY2" fmla="*/ 120902 h 217572"/>
                <a:gd name="connsiteX3" fmla="*/ 120730 w 217572"/>
                <a:gd name="connsiteY3" fmla="*/ 58350 h 217572"/>
                <a:gd name="connsiteX4" fmla="*/ 183282 w 217572"/>
                <a:gd name="connsiteY4" fmla="*/ 120902 h 2175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17572" h="217572">
                  <a:moveTo>
                    <a:pt x="183282" y="120902"/>
                  </a:moveTo>
                  <a:cubicBezTo>
                    <a:pt x="183282" y="156258"/>
                    <a:pt x="156086" y="183454"/>
                    <a:pt x="120730" y="183454"/>
                  </a:cubicBezTo>
                  <a:cubicBezTo>
                    <a:pt x="85375" y="183454"/>
                    <a:pt x="58178" y="156258"/>
                    <a:pt x="58178" y="120902"/>
                  </a:cubicBezTo>
                  <a:cubicBezTo>
                    <a:pt x="58178" y="85547"/>
                    <a:pt x="85375" y="58350"/>
                    <a:pt x="120730" y="58350"/>
                  </a:cubicBezTo>
                  <a:cubicBezTo>
                    <a:pt x="153366" y="55630"/>
                    <a:pt x="183282" y="85547"/>
                    <a:pt x="183282" y="120902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8EA46793-C37F-42AD-B0A2-1B9D19975188}"/>
                </a:ext>
              </a:extLst>
            </p:cNvPr>
            <p:cNvSpPr/>
            <p:nvPr/>
          </p:nvSpPr>
          <p:spPr>
            <a:xfrm>
              <a:off x="6005186" y="3416884"/>
              <a:ext cx="380752" cy="462341"/>
            </a:xfrm>
            <a:custGeom>
              <a:avLst/>
              <a:gdLst>
                <a:gd name="connsiteX0" fmla="*/ 270312 w 380752"/>
                <a:gd name="connsiteY0" fmla="*/ 69229 h 462341"/>
                <a:gd name="connsiteX1" fmla="*/ 188722 w 380752"/>
                <a:gd name="connsiteY1" fmla="*/ 134501 h 462341"/>
                <a:gd name="connsiteX2" fmla="*/ 188722 w 380752"/>
                <a:gd name="connsiteY2" fmla="*/ 118183 h 462341"/>
                <a:gd name="connsiteX3" fmla="*/ 126170 w 380752"/>
                <a:gd name="connsiteY3" fmla="*/ 58350 h 462341"/>
                <a:gd name="connsiteX4" fmla="*/ 58178 w 380752"/>
                <a:gd name="connsiteY4" fmla="*/ 118183 h 462341"/>
                <a:gd name="connsiteX5" fmla="*/ 58178 w 380752"/>
                <a:gd name="connsiteY5" fmla="*/ 210651 h 462341"/>
                <a:gd name="connsiteX6" fmla="*/ 58178 w 380752"/>
                <a:gd name="connsiteY6" fmla="*/ 365671 h 462341"/>
                <a:gd name="connsiteX7" fmla="*/ 58178 w 380752"/>
                <a:gd name="connsiteY7" fmla="*/ 365671 h 462341"/>
                <a:gd name="connsiteX8" fmla="*/ 120730 w 380752"/>
                <a:gd name="connsiteY8" fmla="*/ 425504 h 462341"/>
                <a:gd name="connsiteX9" fmla="*/ 186002 w 380752"/>
                <a:gd name="connsiteY9" fmla="*/ 365671 h 462341"/>
                <a:gd name="connsiteX10" fmla="*/ 186002 w 380752"/>
                <a:gd name="connsiteY10" fmla="*/ 365671 h 462341"/>
                <a:gd name="connsiteX11" fmla="*/ 186002 w 380752"/>
                <a:gd name="connsiteY11" fmla="*/ 210651 h 462341"/>
                <a:gd name="connsiteX12" fmla="*/ 215919 w 380752"/>
                <a:gd name="connsiteY12" fmla="*/ 158978 h 462341"/>
                <a:gd name="connsiteX13" fmla="*/ 275751 w 380752"/>
                <a:gd name="connsiteY13" fmla="*/ 221530 h 462341"/>
                <a:gd name="connsiteX14" fmla="*/ 270312 w 380752"/>
                <a:gd name="connsiteY14" fmla="*/ 69229 h 4623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80752" h="462341">
                  <a:moveTo>
                    <a:pt x="270312" y="69229"/>
                  </a:moveTo>
                  <a:cubicBezTo>
                    <a:pt x="232236" y="71949"/>
                    <a:pt x="213199" y="99145"/>
                    <a:pt x="188722" y="134501"/>
                  </a:cubicBezTo>
                  <a:cubicBezTo>
                    <a:pt x="188722" y="134501"/>
                    <a:pt x="188722" y="118183"/>
                    <a:pt x="188722" y="118183"/>
                  </a:cubicBezTo>
                  <a:cubicBezTo>
                    <a:pt x="188722" y="85547"/>
                    <a:pt x="158806" y="58350"/>
                    <a:pt x="126170" y="58350"/>
                  </a:cubicBezTo>
                  <a:cubicBezTo>
                    <a:pt x="93534" y="55631"/>
                    <a:pt x="60898" y="85547"/>
                    <a:pt x="58178" y="118183"/>
                  </a:cubicBezTo>
                  <a:lnTo>
                    <a:pt x="58178" y="210651"/>
                  </a:lnTo>
                  <a:lnTo>
                    <a:pt x="58178" y="365671"/>
                  </a:lnTo>
                  <a:lnTo>
                    <a:pt x="58178" y="365671"/>
                  </a:lnTo>
                  <a:cubicBezTo>
                    <a:pt x="58178" y="398307"/>
                    <a:pt x="88094" y="425504"/>
                    <a:pt x="120730" y="425504"/>
                  </a:cubicBezTo>
                  <a:cubicBezTo>
                    <a:pt x="153366" y="428224"/>
                    <a:pt x="186002" y="398307"/>
                    <a:pt x="186002" y="365671"/>
                  </a:cubicBezTo>
                  <a:lnTo>
                    <a:pt x="186002" y="365671"/>
                  </a:lnTo>
                  <a:lnTo>
                    <a:pt x="186002" y="210651"/>
                  </a:lnTo>
                  <a:cubicBezTo>
                    <a:pt x="188722" y="188894"/>
                    <a:pt x="196881" y="158978"/>
                    <a:pt x="215919" y="158978"/>
                  </a:cubicBezTo>
                  <a:cubicBezTo>
                    <a:pt x="243115" y="158978"/>
                    <a:pt x="215919" y="221530"/>
                    <a:pt x="275751" y="221530"/>
                  </a:cubicBezTo>
                  <a:cubicBezTo>
                    <a:pt x="362780" y="221530"/>
                    <a:pt x="373658" y="63790"/>
                    <a:pt x="270312" y="69229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00046F6B-E5D4-4598-93CE-3280F6A1E048}"/>
                </a:ext>
              </a:extLst>
            </p:cNvPr>
            <p:cNvSpPr/>
            <p:nvPr/>
          </p:nvSpPr>
          <p:spPr>
            <a:xfrm>
              <a:off x="5693490" y="3475234"/>
              <a:ext cx="337238" cy="364434"/>
            </a:xfrm>
            <a:custGeom>
              <a:avLst/>
              <a:gdLst>
                <a:gd name="connsiteX0" fmla="*/ 180433 w 337238"/>
                <a:gd name="connsiteY0" fmla="*/ 73984 h 364434"/>
                <a:gd name="connsiteX1" fmla="*/ 163180 w 337238"/>
                <a:gd name="connsiteY1" fmla="*/ 78870 h 364434"/>
                <a:gd name="connsiteX2" fmla="*/ 125105 w 337238"/>
                <a:gd name="connsiteY2" fmla="*/ 160461 h 364434"/>
                <a:gd name="connsiteX3" fmla="*/ 171339 w 337238"/>
                <a:gd name="connsiteY3" fmla="*/ 163180 h 364434"/>
                <a:gd name="connsiteX4" fmla="*/ 214854 w 337238"/>
                <a:gd name="connsiteY4" fmla="*/ 108787 h 364434"/>
                <a:gd name="connsiteX5" fmla="*/ 180433 w 337238"/>
                <a:gd name="connsiteY5" fmla="*/ 73984 h 364434"/>
                <a:gd name="connsiteX6" fmla="*/ 174059 w 337238"/>
                <a:gd name="connsiteY6" fmla="*/ 0 h 364434"/>
                <a:gd name="connsiteX7" fmla="*/ 337238 w 337238"/>
                <a:gd name="connsiteY7" fmla="*/ 119665 h 364434"/>
                <a:gd name="connsiteX8" fmla="*/ 133264 w 337238"/>
                <a:gd name="connsiteY8" fmla="*/ 217573 h 364434"/>
                <a:gd name="connsiteX9" fmla="*/ 225732 w 337238"/>
                <a:gd name="connsiteY9" fmla="*/ 277405 h 364434"/>
                <a:gd name="connsiteX10" fmla="*/ 320920 w 337238"/>
                <a:gd name="connsiteY10" fmla="*/ 250208 h 364434"/>
                <a:gd name="connsiteX11" fmla="*/ 174059 w 337238"/>
                <a:gd name="connsiteY11" fmla="*/ 364434 h 364434"/>
                <a:gd name="connsiteX12" fmla="*/ 0 w 337238"/>
                <a:gd name="connsiteY12" fmla="*/ 184937 h 364434"/>
                <a:gd name="connsiteX13" fmla="*/ 174059 w 337238"/>
                <a:gd name="connsiteY13" fmla="*/ 0 h 3644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37238" h="364434">
                  <a:moveTo>
                    <a:pt x="180433" y="73984"/>
                  </a:moveTo>
                  <a:cubicBezTo>
                    <a:pt x="174569" y="73941"/>
                    <a:pt x="168620" y="75471"/>
                    <a:pt x="163180" y="78870"/>
                  </a:cubicBezTo>
                  <a:cubicBezTo>
                    <a:pt x="135984" y="95189"/>
                    <a:pt x="127825" y="130544"/>
                    <a:pt x="125105" y="160461"/>
                  </a:cubicBezTo>
                  <a:cubicBezTo>
                    <a:pt x="125105" y="163180"/>
                    <a:pt x="168620" y="160461"/>
                    <a:pt x="171339" y="163180"/>
                  </a:cubicBezTo>
                  <a:cubicBezTo>
                    <a:pt x="195816" y="157741"/>
                    <a:pt x="214854" y="135984"/>
                    <a:pt x="214854" y="108787"/>
                  </a:cubicBezTo>
                  <a:cubicBezTo>
                    <a:pt x="214854" y="88389"/>
                    <a:pt x="198026" y="74111"/>
                    <a:pt x="180433" y="73984"/>
                  </a:cubicBezTo>
                  <a:close/>
                  <a:moveTo>
                    <a:pt x="174059" y="0"/>
                  </a:moveTo>
                  <a:cubicBezTo>
                    <a:pt x="233891" y="0"/>
                    <a:pt x="337238" y="29916"/>
                    <a:pt x="337238" y="119665"/>
                  </a:cubicBezTo>
                  <a:cubicBezTo>
                    <a:pt x="337238" y="209414"/>
                    <a:pt x="244770" y="217573"/>
                    <a:pt x="133264" y="217573"/>
                  </a:cubicBezTo>
                  <a:cubicBezTo>
                    <a:pt x="133264" y="217573"/>
                    <a:pt x="149581" y="277405"/>
                    <a:pt x="225732" y="277405"/>
                  </a:cubicBezTo>
                  <a:cubicBezTo>
                    <a:pt x="301883" y="277405"/>
                    <a:pt x="320920" y="250208"/>
                    <a:pt x="320920" y="250208"/>
                  </a:cubicBezTo>
                  <a:cubicBezTo>
                    <a:pt x="320920" y="250208"/>
                    <a:pt x="315481" y="364434"/>
                    <a:pt x="174059" y="364434"/>
                  </a:cubicBezTo>
                  <a:cubicBezTo>
                    <a:pt x="95188" y="364434"/>
                    <a:pt x="0" y="304602"/>
                    <a:pt x="0" y="184937"/>
                  </a:cubicBezTo>
                  <a:cubicBezTo>
                    <a:pt x="0" y="78870"/>
                    <a:pt x="73431" y="0"/>
                    <a:pt x="174059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D9E3FEEA-893B-4BCB-878A-93F25BBD9C29}"/>
                </a:ext>
              </a:extLst>
            </p:cNvPr>
            <p:cNvSpPr/>
            <p:nvPr/>
          </p:nvSpPr>
          <p:spPr>
            <a:xfrm>
              <a:off x="5376945" y="3338014"/>
              <a:ext cx="353556" cy="543931"/>
            </a:xfrm>
            <a:custGeom>
              <a:avLst/>
              <a:gdLst>
                <a:gd name="connsiteX0" fmla="*/ 311107 w 353555"/>
                <a:gd name="connsiteY0" fmla="*/ 433663 h 543931"/>
                <a:gd name="connsiteX1" fmla="*/ 215919 w 353555"/>
                <a:gd name="connsiteY1" fmla="*/ 501654 h 543931"/>
                <a:gd name="connsiteX2" fmla="*/ 98973 w 353555"/>
                <a:gd name="connsiteY2" fmla="*/ 392868 h 543931"/>
                <a:gd name="connsiteX3" fmla="*/ 98973 w 353555"/>
                <a:gd name="connsiteY3" fmla="*/ 221530 h 543931"/>
                <a:gd name="connsiteX4" fmla="*/ 82655 w 353555"/>
                <a:gd name="connsiteY4" fmla="*/ 221530 h 543931"/>
                <a:gd name="connsiteX5" fmla="*/ 58178 w 353555"/>
                <a:gd name="connsiteY5" fmla="*/ 191614 h 543931"/>
                <a:gd name="connsiteX6" fmla="*/ 85375 w 353555"/>
                <a:gd name="connsiteY6" fmla="*/ 164417 h 543931"/>
                <a:gd name="connsiteX7" fmla="*/ 101693 w 353555"/>
                <a:gd name="connsiteY7" fmla="*/ 164417 h 543931"/>
                <a:gd name="connsiteX8" fmla="*/ 101693 w 353555"/>
                <a:gd name="connsiteY8" fmla="*/ 118183 h 543931"/>
                <a:gd name="connsiteX9" fmla="*/ 166965 w 353555"/>
                <a:gd name="connsiteY9" fmla="*/ 58350 h 543931"/>
                <a:gd name="connsiteX10" fmla="*/ 229517 w 353555"/>
                <a:gd name="connsiteY10" fmla="*/ 118183 h 543931"/>
                <a:gd name="connsiteX11" fmla="*/ 229517 w 353555"/>
                <a:gd name="connsiteY11" fmla="*/ 118183 h 543931"/>
                <a:gd name="connsiteX12" fmla="*/ 229517 w 353555"/>
                <a:gd name="connsiteY12" fmla="*/ 164417 h 543931"/>
                <a:gd name="connsiteX13" fmla="*/ 283910 w 353555"/>
                <a:gd name="connsiteY13" fmla="*/ 164417 h 543931"/>
                <a:gd name="connsiteX14" fmla="*/ 308387 w 353555"/>
                <a:gd name="connsiteY14" fmla="*/ 194333 h 543931"/>
                <a:gd name="connsiteX15" fmla="*/ 281190 w 353555"/>
                <a:gd name="connsiteY15" fmla="*/ 221530 h 543931"/>
                <a:gd name="connsiteX16" fmla="*/ 229517 w 353555"/>
                <a:gd name="connsiteY16" fmla="*/ 221530 h 543931"/>
                <a:gd name="connsiteX17" fmla="*/ 229517 w 353555"/>
                <a:gd name="connsiteY17" fmla="*/ 365671 h 543931"/>
                <a:gd name="connsiteX18" fmla="*/ 311107 w 353555"/>
                <a:gd name="connsiteY18" fmla="*/ 433663 h 5439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353555" h="543931">
                  <a:moveTo>
                    <a:pt x="311107" y="433663"/>
                  </a:moveTo>
                  <a:cubicBezTo>
                    <a:pt x="311107" y="433663"/>
                    <a:pt x="278471" y="501654"/>
                    <a:pt x="215919" y="501654"/>
                  </a:cubicBezTo>
                  <a:cubicBezTo>
                    <a:pt x="164245" y="501654"/>
                    <a:pt x="101693" y="458140"/>
                    <a:pt x="98973" y="392868"/>
                  </a:cubicBezTo>
                  <a:cubicBezTo>
                    <a:pt x="98973" y="392868"/>
                    <a:pt x="98973" y="297680"/>
                    <a:pt x="98973" y="221530"/>
                  </a:cubicBezTo>
                  <a:lnTo>
                    <a:pt x="82655" y="221530"/>
                  </a:lnTo>
                  <a:cubicBezTo>
                    <a:pt x="74496" y="221530"/>
                    <a:pt x="58178" y="216090"/>
                    <a:pt x="58178" y="191614"/>
                  </a:cubicBezTo>
                  <a:cubicBezTo>
                    <a:pt x="58178" y="167137"/>
                    <a:pt x="77216" y="164417"/>
                    <a:pt x="85375" y="164417"/>
                  </a:cubicBezTo>
                  <a:lnTo>
                    <a:pt x="101693" y="164417"/>
                  </a:lnTo>
                  <a:cubicBezTo>
                    <a:pt x="101693" y="137220"/>
                    <a:pt x="101693" y="118183"/>
                    <a:pt x="101693" y="118183"/>
                  </a:cubicBezTo>
                  <a:cubicBezTo>
                    <a:pt x="104413" y="85547"/>
                    <a:pt x="134329" y="55631"/>
                    <a:pt x="166965" y="58350"/>
                  </a:cubicBezTo>
                  <a:cubicBezTo>
                    <a:pt x="196881" y="61070"/>
                    <a:pt x="229517" y="85547"/>
                    <a:pt x="229517" y="118183"/>
                  </a:cubicBezTo>
                  <a:lnTo>
                    <a:pt x="229517" y="118183"/>
                  </a:lnTo>
                  <a:lnTo>
                    <a:pt x="229517" y="164417"/>
                  </a:lnTo>
                  <a:lnTo>
                    <a:pt x="283910" y="164417"/>
                  </a:lnTo>
                  <a:cubicBezTo>
                    <a:pt x="292069" y="164417"/>
                    <a:pt x="308387" y="169856"/>
                    <a:pt x="308387" y="194333"/>
                  </a:cubicBezTo>
                  <a:cubicBezTo>
                    <a:pt x="308387" y="218810"/>
                    <a:pt x="292069" y="221530"/>
                    <a:pt x="281190" y="221530"/>
                  </a:cubicBezTo>
                  <a:lnTo>
                    <a:pt x="229517" y="221530"/>
                  </a:lnTo>
                  <a:lnTo>
                    <a:pt x="229517" y="365671"/>
                  </a:lnTo>
                  <a:cubicBezTo>
                    <a:pt x="226797" y="409186"/>
                    <a:pt x="267592" y="433663"/>
                    <a:pt x="311107" y="433663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0C294731-92AD-4771-A321-6B09FBA089E6}"/>
                </a:ext>
              </a:extLst>
            </p:cNvPr>
            <p:cNvSpPr/>
            <p:nvPr/>
          </p:nvSpPr>
          <p:spPr>
            <a:xfrm>
              <a:off x="7090329" y="3338014"/>
              <a:ext cx="353556" cy="543931"/>
            </a:xfrm>
            <a:custGeom>
              <a:avLst/>
              <a:gdLst>
                <a:gd name="connsiteX0" fmla="*/ 311107 w 353555"/>
                <a:gd name="connsiteY0" fmla="*/ 433663 h 543931"/>
                <a:gd name="connsiteX1" fmla="*/ 215919 w 353555"/>
                <a:gd name="connsiteY1" fmla="*/ 501654 h 543931"/>
                <a:gd name="connsiteX2" fmla="*/ 98973 w 353555"/>
                <a:gd name="connsiteY2" fmla="*/ 392868 h 543931"/>
                <a:gd name="connsiteX3" fmla="*/ 98973 w 353555"/>
                <a:gd name="connsiteY3" fmla="*/ 221530 h 543931"/>
                <a:gd name="connsiteX4" fmla="*/ 82655 w 353555"/>
                <a:gd name="connsiteY4" fmla="*/ 221530 h 543931"/>
                <a:gd name="connsiteX5" fmla="*/ 58178 w 353555"/>
                <a:gd name="connsiteY5" fmla="*/ 191614 h 543931"/>
                <a:gd name="connsiteX6" fmla="*/ 85375 w 353555"/>
                <a:gd name="connsiteY6" fmla="*/ 164417 h 543931"/>
                <a:gd name="connsiteX7" fmla="*/ 101693 w 353555"/>
                <a:gd name="connsiteY7" fmla="*/ 164417 h 543931"/>
                <a:gd name="connsiteX8" fmla="*/ 101693 w 353555"/>
                <a:gd name="connsiteY8" fmla="*/ 118183 h 543931"/>
                <a:gd name="connsiteX9" fmla="*/ 166965 w 353555"/>
                <a:gd name="connsiteY9" fmla="*/ 58350 h 543931"/>
                <a:gd name="connsiteX10" fmla="*/ 229517 w 353555"/>
                <a:gd name="connsiteY10" fmla="*/ 118183 h 543931"/>
                <a:gd name="connsiteX11" fmla="*/ 229517 w 353555"/>
                <a:gd name="connsiteY11" fmla="*/ 118183 h 543931"/>
                <a:gd name="connsiteX12" fmla="*/ 229517 w 353555"/>
                <a:gd name="connsiteY12" fmla="*/ 164417 h 543931"/>
                <a:gd name="connsiteX13" fmla="*/ 283910 w 353555"/>
                <a:gd name="connsiteY13" fmla="*/ 164417 h 543931"/>
                <a:gd name="connsiteX14" fmla="*/ 308387 w 353555"/>
                <a:gd name="connsiteY14" fmla="*/ 194333 h 543931"/>
                <a:gd name="connsiteX15" fmla="*/ 281190 w 353555"/>
                <a:gd name="connsiteY15" fmla="*/ 221530 h 543931"/>
                <a:gd name="connsiteX16" fmla="*/ 229517 w 353555"/>
                <a:gd name="connsiteY16" fmla="*/ 221530 h 543931"/>
                <a:gd name="connsiteX17" fmla="*/ 229517 w 353555"/>
                <a:gd name="connsiteY17" fmla="*/ 365671 h 543931"/>
                <a:gd name="connsiteX18" fmla="*/ 311107 w 353555"/>
                <a:gd name="connsiteY18" fmla="*/ 433663 h 5439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353555" h="543931">
                  <a:moveTo>
                    <a:pt x="311107" y="433663"/>
                  </a:moveTo>
                  <a:cubicBezTo>
                    <a:pt x="311107" y="433663"/>
                    <a:pt x="278471" y="501654"/>
                    <a:pt x="215919" y="501654"/>
                  </a:cubicBezTo>
                  <a:cubicBezTo>
                    <a:pt x="164245" y="501654"/>
                    <a:pt x="101693" y="458140"/>
                    <a:pt x="98973" y="392868"/>
                  </a:cubicBezTo>
                  <a:cubicBezTo>
                    <a:pt x="98973" y="392868"/>
                    <a:pt x="98973" y="297680"/>
                    <a:pt x="98973" y="221530"/>
                  </a:cubicBezTo>
                  <a:lnTo>
                    <a:pt x="82655" y="221530"/>
                  </a:lnTo>
                  <a:cubicBezTo>
                    <a:pt x="74496" y="221530"/>
                    <a:pt x="58178" y="216090"/>
                    <a:pt x="58178" y="191614"/>
                  </a:cubicBezTo>
                  <a:cubicBezTo>
                    <a:pt x="58178" y="167137"/>
                    <a:pt x="77216" y="164417"/>
                    <a:pt x="85375" y="164417"/>
                  </a:cubicBezTo>
                  <a:lnTo>
                    <a:pt x="101693" y="164417"/>
                  </a:lnTo>
                  <a:cubicBezTo>
                    <a:pt x="101693" y="137220"/>
                    <a:pt x="101693" y="118183"/>
                    <a:pt x="101693" y="118183"/>
                  </a:cubicBezTo>
                  <a:cubicBezTo>
                    <a:pt x="104412" y="85547"/>
                    <a:pt x="134329" y="55631"/>
                    <a:pt x="166965" y="58350"/>
                  </a:cubicBezTo>
                  <a:cubicBezTo>
                    <a:pt x="196881" y="61070"/>
                    <a:pt x="229517" y="85547"/>
                    <a:pt x="229517" y="118183"/>
                  </a:cubicBezTo>
                  <a:lnTo>
                    <a:pt x="229517" y="118183"/>
                  </a:lnTo>
                  <a:lnTo>
                    <a:pt x="229517" y="164417"/>
                  </a:lnTo>
                  <a:lnTo>
                    <a:pt x="283910" y="164417"/>
                  </a:lnTo>
                  <a:cubicBezTo>
                    <a:pt x="292069" y="164417"/>
                    <a:pt x="308387" y="169856"/>
                    <a:pt x="308387" y="194333"/>
                  </a:cubicBezTo>
                  <a:cubicBezTo>
                    <a:pt x="308387" y="218810"/>
                    <a:pt x="292069" y="221530"/>
                    <a:pt x="281190" y="221530"/>
                  </a:cubicBezTo>
                  <a:lnTo>
                    <a:pt x="229517" y="221530"/>
                  </a:lnTo>
                  <a:lnTo>
                    <a:pt x="229517" y="365671"/>
                  </a:lnTo>
                  <a:cubicBezTo>
                    <a:pt x="229517" y="409186"/>
                    <a:pt x="270312" y="433663"/>
                    <a:pt x="311107" y="433663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id="{4E06B157-DBF4-4A2A-A41B-A23CBB507D06}"/>
                </a:ext>
              </a:extLst>
            </p:cNvPr>
            <p:cNvSpPr/>
            <p:nvPr/>
          </p:nvSpPr>
          <p:spPr>
            <a:xfrm>
              <a:off x="2080719" y="4178559"/>
              <a:ext cx="462342" cy="788700"/>
            </a:xfrm>
            <a:custGeom>
              <a:avLst/>
              <a:gdLst>
                <a:gd name="connsiteX0" fmla="*/ 403575 w 462341"/>
                <a:gd name="connsiteY0" fmla="*/ 583072 h 788699"/>
                <a:gd name="connsiteX1" fmla="*/ 406295 w 462341"/>
                <a:gd name="connsiteY1" fmla="*/ 596670 h 788699"/>
                <a:gd name="connsiteX2" fmla="*/ 400855 w 462341"/>
                <a:gd name="connsiteY2" fmla="*/ 610268 h 788699"/>
                <a:gd name="connsiteX3" fmla="*/ 389977 w 462341"/>
                <a:gd name="connsiteY3" fmla="*/ 626586 h 788699"/>
                <a:gd name="connsiteX4" fmla="*/ 354621 w 462341"/>
                <a:gd name="connsiteY4" fmla="*/ 675540 h 788699"/>
                <a:gd name="connsiteX5" fmla="*/ 327424 w 462341"/>
                <a:gd name="connsiteY5" fmla="*/ 691858 h 788699"/>
                <a:gd name="connsiteX6" fmla="*/ 292069 w 462341"/>
                <a:gd name="connsiteY6" fmla="*/ 713615 h 788699"/>
                <a:gd name="connsiteX7" fmla="*/ 251274 w 462341"/>
                <a:gd name="connsiteY7" fmla="*/ 724494 h 788699"/>
                <a:gd name="connsiteX8" fmla="*/ 221358 w 462341"/>
                <a:gd name="connsiteY8" fmla="*/ 721774 h 788699"/>
                <a:gd name="connsiteX9" fmla="*/ 191442 w 462341"/>
                <a:gd name="connsiteY9" fmla="*/ 721774 h 788699"/>
                <a:gd name="connsiteX10" fmla="*/ 153366 w 462341"/>
                <a:gd name="connsiteY10" fmla="*/ 713615 h 788699"/>
                <a:gd name="connsiteX11" fmla="*/ 104412 w 462341"/>
                <a:gd name="connsiteY11" fmla="*/ 675540 h 788699"/>
                <a:gd name="connsiteX12" fmla="*/ 104412 w 462341"/>
                <a:gd name="connsiteY12" fmla="*/ 689138 h 788699"/>
                <a:gd name="connsiteX13" fmla="*/ 101693 w 462341"/>
                <a:gd name="connsiteY13" fmla="*/ 710895 h 788699"/>
                <a:gd name="connsiteX14" fmla="*/ 85375 w 462341"/>
                <a:gd name="connsiteY14" fmla="*/ 732653 h 788699"/>
                <a:gd name="connsiteX15" fmla="*/ 69057 w 462341"/>
                <a:gd name="connsiteY15" fmla="*/ 727214 h 788699"/>
                <a:gd name="connsiteX16" fmla="*/ 60898 w 462341"/>
                <a:gd name="connsiteY16" fmla="*/ 710895 h 788699"/>
                <a:gd name="connsiteX17" fmla="*/ 58178 w 462341"/>
                <a:gd name="connsiteY17" fmla="*/ 691858 h 788699"/>
                <a:gd name="connsiteX18" fmla="*/ 60898 w 462341"/>
                <a:gd name="connsiteY18" fmla="*/ 664661 h 788699"/>
                <a:gd name="connsiteX19" fmla="*/ 60898 w 462341"/>
                <a:gd name="connsiteY19" fmla="*/ 607549 h 788699"/>
                <a:gd name="connsiteX20" fmla="*/ 63618 w 462341"/>
                <a:gd name="connsiteY20" fmla="*/ 528679 h 788699"/>
                <a:gd name="connsiteX21" fmla="*/ 69057 w 462341"/>
                <a:gd name="connsiteY21" fmla="*/ 504202 h 788699"/>
                <a:gd name="connsiteX22" fmla="*/ 74496 w 462341"/>
                <a:gd name="connsiteY22" fmla="*/ 493323 h 788699"/>
                <a:gd name="connsiteX23" fmla="*/ 82655 w 462341"/>
                <a:gd name="connsiteY23" fmla="*/ 487884 h 788699"/>
                <a:gd name="connsiteX24" fmla="*/ 90814 w 462341"/>
                <a:gd name="connsiteY24" fmla="*/ 493323 h 788699"/>
                <a:gd name="connsiteX25" fmla="*/ 98973 w 462341"/>
                <a:gd name="connsiteY25" fmla="*/ 512361 h 788699"/>
                <a:gd name="connsiteX26" fmla="*/ 101693 w 462341"/>
                <a:gd name="connsiteY26" fmla="*/ 555875 h 788699"/>
                <a:gd name="connsiteX27" fmla="*/ 101693 w 462341"/>
                <a:gd name="connsiteY27" fmla="*/ 596670 h 788699"/>
                <a:gd name="connsiteX28" fmla="*/ 109852 w 462341"/>
                <a:gd name="connsiteY28" fmla="*/ 626586 h 788699"/>
                <a:gd name="connsiteX29" fmla="*/ 128889 w 462341"/>
                <a:gd name="connsiteY29" fmla="*/ 651063 h 788699"/>
                <a:gd name="connsiteX30" fmla="*/ 153366 w 462341"/>
                <a:gd name="connsiteY30" fmla="*/ 670101 h 788699"/>
                <a:gd name="connsiteX31" fmla="*/ 196881 w 462341"/>
                <a:gd name="connsiteY31" fmla="*/ 678260 h 788699"/>
                <a:gd name="connsiteX32" fmla="*/ 221358 w 462341"/>
                <a:gd name="connsiteY32" fmla="*/ 667381 h 788699"/>
                <a:gd name="connsiteX33" fmla="*/ 253994 w 462341"/>
                <a:gd name="connsiteY33" fmla="*/ 659222 h 788699"/>
                <a:gd name="connsiteX34" fmla="*/ 275751 w 462341"/>
                <a:gd name="connsiteY34" fmla="*/ 637465 h 788699"/>
                <a:gd name="connsiteX35" fmla="*/ 281190 w 462341"/>
                <a:gd name="connsiteY35" fmla="*/ 615708 h 788699"/>
                <a:gd name="connsiteX36" fmla="*/ 278471 w 462341"/>
                <a:gd name="connsiteY36" fmla="*/ 602109 h 788699"/>
                <a:gd name="connsiteX37" fmla="*/ 262153 w 462341"/>
                <a:gd name="connsiteY37" fmla="*/ 572193 h 788699"/>
                <a:gd name="connsiteX38" fmla="*/ 245835 w 462341"/>
                <a:gd name="connsiteY38" fmla="*/ 536838 h 788699"/>
                <a:gd name="connsiteX39" fmla="*/ 196881 w 462341"/>
                <a:gd name="connsiteY39" fmla="*/ 477005 h 788699"/>
                <a:gd name="connsiteX40" fmla="*/ 145207 w 462341"/>
                <a:gd name="connsiteY40" fmla="*/ 419892 h 788699"/>
                <a:gd name="connsiteX41" fmla="*/ 93534 w 462341"/>
                <a:gd name="connsiteY41" fmla="*/ 357340 h 788699"/>
                <a:gd name="connsiteX42" fmla="*/ 66337 w 462341"/>
                <a:gd name="connsiteY42" fmla="*/ 283910 h 788699"/>
                <a:gd name="connsiteX43" fmla="*/ 58178 w 462341"/>
                <a:gd name="connsiteY43" fmla="*/ 224077 h 788699"/>
                <a:gd name="connsiteX44" fmla="*/ 82655 w 462341"/>
                <a:gd name="connsiteY44" fmla="*/ 150647 h 788699"/>
                <a:gd name="connsiteX45" fmla="*/ 137048 w 462341"/>
                <a:gd name="connsiteY45" fmla="*/ 96253 h 788699"/>
                <a:gd name="connsiteX46" fmla="*/ 196881 w 462341"/>
                <a:gd name="connsiteY46" fmla="*/ 77216 h 788699"/>
                <a:gd name="connsiteX47" fmla="*/ 232236 w 462341"/>
                <a:gd name="connsiteY47" fmla="*/ 69057 h 788699"/>
                <a:gd name="connsiteX48" fmla="*/ 262153 w 462341"/>
                <a:gd name="connsiteY48" fmla="*/ 74496 h 788699"/>
                <a:gd name="connsiteX49" fmla="*/ 294789 w 462341"/>
                <a:gd name="connsiteY49" fmla="*/ 85375 h 788699"/>
                <a:gd name="connsiteX50" fmla="*/ 327424 w 462341"/>
                <a:gd name="connsiteY50" fmla="*/ 104412 h 788699"/>
                <a:gd name="connsiteX51" fmla="*/ 332864 w 462341"/>
                <a:gd name="connsiteY51" fmla="*/ 74496 h 788699"/>
                <a:gd name="connsiteX52" fmla="*/ 338303 w 462341"/>
                <a:gd name="connsiteY52" fmla="*/ 63618 h 788699"/>
                <a:gd name="connsiteX53" fmla="*/ 349182 w 462341"/>
                <a:gd name="connsiteY53" fmla="*/ 58178 h 788699"/>
                <a:gd name="connsiteX54" fmla="*/ 357341 w 462341"/>
                <a:gd name="connsiteY54" fmla="*/ 63618 h 788699"/>
                <a:gd name="connsiteX55" fmla="*/ 365500 w 462341"/>
                <a:gd name="connsiteY55" fmla="*/ 82655 h 788699"/>
                <a:gd name="connsiteX56" fmla="*/ 368219 w 462341"/>
                <a:gd name="connsiteY56" fmla="*/ 142488 h 788699"/>
                <a:gd name="connsiteX57" fmla="*/ 368219 w 462341"/>
                <a:gd name="connsiteY57" fmla="*/ 188722 h 788699"/>
                <a:gd name="connsiteX58" fmla="*/ 370939 w 462341"/>
                <a:gd name="connsiteY58" fmla="*/ 245834 h 788699"/>
                <a:gd name="connsiteX59" fmla="*/ 354621 w 462341"/>
                <a:gd name="connsiteY59" fmla="*/ 286629 h 788699"/>
                <a:gd name="connsiteX60" fmla="*/ 338303 w 462341"/>
                <a:gd name="connsiteY60" fmla="*/ 281190 h 788699"/>
                <a:gd name="connsiteX61" fmla="*/ 330144 w 462341"/>
                <a:gd name="connsiteY61" fmla="*/ 264872 h 788699"/>
                <a:gd name="connsiteX62" fmla="*/ 327424 w 462341"/>
                <a:gd name="connsiteY62" fmla="*/ 248554 h 788699"/>
                <a:gd name="connsiteX63" fmla="*/ 330144 w 462341"/>
                <a:gd name="connsiteY63" fmla="*/ 221357 h 788699"/>
                <a:gd name="connsiteX64" fmla="*/ 330144 w 462341"/>
                <a:gd name="connsiteY64" fmla="*/ 188722 h 788699"/>
                <a:gd name="connsiteX65" fmla="*/ 327424 w 462341"/>
                <a:gd name="connsiteY65" fmla="*/ 164245 h 788699"/>
                <a:gd name="connsiteX66" fmla="*/ 311107 w 462341"/>
                <a:gd name="connsiteY66" fmla="*/ 134329 h 788699"/>
                <a:gd name="connsiteX67" fmla="*/ 283910 w 462341"/>
                <a:gd name="connsiteY67" fmla="*/ 118011 h 788699"/>
                <a:gd name="connsiteX68" fmla="*/ 251274 w 462341"/>
                <a:gd name="connsiteY68" fmla="*/ 112571 h 788699"/>
                <a:gd name="connsiteX69" fmla="*/ 215918 w 462341"/>
                <a:gd name="connsiteY69" fmla="*/ 123450 h 788699"/>
                <a:gd name="connsiteX70" fmla="*/ 202320 w 462341"/>
                <a:gd name="connsiteY70" fmla="*/ 147927 h 788699"/>
                <a:gd name="connsiteX71" fmla="*/ 188722 w 462341"/>
                <a:gd name="connsiteY71" fmla="*/ 180563 h 788699"/>
                <a:gd name="connsiteX72" fmla="*/ 183283 w 462341"/>
                <a:gd name="connsiteY72" fmla="*/ 210479 h 788699"/>
                <a:gd name="connsiteX73" fmla="*/ 188722 w 462341"/>
                <a:gd name="connsiteY73" fmla="*/ 226797 h 788699"/>
                <a:gd name="connsiteX74" fmla="*/ 188722 w 462341"/>
                <a:gd name="connsiteY74" fmla="*/ 248554 h 788699"/>
                <a:gd name="connsiteX75" fmla="*/ 210479 w 462341"/>
                <a:gd name="connsiteY75" fmla="*/ 273031 h 788699"/>
                <a:gd name="connsiteX76" fmla="*/ 226797 w 462341"/>
                <a:gd name="connsiteY76" fmla="*/ 300228 h 788699"/>
                <a:gd name="connsiteX77" fmla="*/ 256713 w 462341"/>
                <a:gd name="connsiteY77" fmla="*/ 332864 h 788699"/>
                <a:gd name="connsiteX78" fmla="*/ 275751 w 462341"/>
                <a:gd name="connsiteY78" fmla="*/ 351901 h 788699"/>
                <a:gd name="connsiteX79" fmla="*/ 324705 w 462341"/>
                <a:gd name="connsiteY79" fmla="*/ 400855 h 788699"/>
                <a:gd name="connsiteX80" fmla="*/ 343742 w 462341"/>
                <a:gd name="connsiteY80" fmla="*/ 428051 h 788699"/>
                <a:gd name="connsiteX81" fmla="*/ 351901 w 462341"/>
                <a:gd name="connsiteY81" fmla="*/ 433491 h 788699"/>
                <a:gd name="connsiteX82" fmla="*/ 360060 w 462341"/>
                <a:gd name="connsiteY82" fmla="*/ 447089 h 788699"/>
                <a:gd name="connsiteX83" fmla="*/ 384537 w 462341"/>
                <a:gd name="connsiteY83" fmla="*/ 474286 h 788699"/>
                <a:gd name="connsiteX84" fmla="*/ 395416 w 462341"/>
                <a:gd name="connsiteY84" fmla="*/ 506921 h 788699"/>
                <a:gd name="connsiteX85" fmla="*/ 406295 w 462341"/>
                <a:gd name="connsiteY85" fmla="*/ 536838 h 788699"/>
                <a:gd name="connsiteX86" fmla="*/ 409014 w 462341"/>
                <a:gd name="connsiteY86" fmla="*/ 547716 h 788699"/>
                <a:gd name="connsiteX87" fmla="*/ 406295 w 462341"/>
                <a:gd name="connsiteY87" fmla="*/ 569473 h 788699"/>
                <a:gd name="connsiteX88" fmla="*/ 403575 w 462341"/>
                <a:gd name="connsiteY88" fmla="*/ 583072 h 788699"/>
                <a:gd name="connsiteX89" fmla="*/ 403575 w 462341"/>
                <a:gd name="connsiteY89" fmla="*/ 583072 h 7886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</a:cxnLst>
              <a:rect l="l" t="t" r="r" b="b"/>
              <a:pathLst>
                <a:path w="462341" h="788699">
                  <a:moveTo>
                    <a:pt x="403575" y="583072"/>
                  </a:moveTo>
                  <a:cubicBezTo>
                    <a:pt x="403575" y="588511"/>
                    <a:pt x="406295" y="591231"/>
                    <a:pt x="406295" y="596670"/>
                  </a:cubicBezTo>
                  <a:cubicBezTo>
                    <a:pt x="406295" y="602109"/>
                    <a:pt x="403575" y="604829"/>
                    <a:pt x="400855" y="610268"/>
                  </a:cubicBezTo>
                  <a:cubicBezTo>
                    <a:pt x="398136" y="615708"/>
                    <a:pt x="392696" y="621147"/>
                    <a:pt x="389977" y="626586"/>
                  </a:cubicBezTo>
                  <a:cubicBezTo>
                    <a:pt x="381818" y="645624"/>
                    <a:pt x="368219" y="661942"/>
                    <a:pt x="354621" y="675540"/>
                  </a:cubicBezTo>
                  <a:cubicBezTo>
                    <a:pt x="346462" y="683699"/>
                    <a:pt x="338303" y="686419"/>
                    <a:pt x="327424" y="691858"/>
                  </a:cubicBezTo>
                  <a:cubicBezTo>
                    <a:pt x="316546" y="700017"/>
                    <a:pt x="302948" y="708176"/>
                    <a:pt x="292069" y="713615"/>
                  </a:cubicBezTo>
                  <a:cubicBezTo>
                    <a:pt x="281190" y="719054"/>
                    <a:pt x="264872" y="724494"/>
                    <a:pt x="251274" y="724494"/>
                  </a:cubicBezTo>
                  <a:cubicBezTo>
                    <a:pt x="240395" y="724494"/>
                    <a:pt x="229517" y="721774"/>
                    <a:pt x="221358" y="721774"/>
                  </a:cubicBezTo>
                  <a:cubicBezTo>
                    <a:pt x="213199" y="721774"/>
                    <a:pt x="202320" y="721774"/>
                    <a:pt x="191442" y="721774"/>
                  </a:cubicBezTo>
                  <a:cubicBezTo>
                    <a:pt x="172404" y="721774"/>
                    <a:pt x="172404" y="721774"/>
                    <a:pt x="153366" y="713615"/>
                  </a:cubicBezTo>
                  <a:cubicBezTo>
                    <a:pt x="134329" y="708176"/>
                    <a:pt x="118011" y="691858"/>
                    <a:pt x="104412" y="675540"/>
                  </a:cubicBezTo>
                  <a:cubicBezTo>
                    <a:pt x="104412" y="678260"/>
                    <a:pt x="104412" y="680979"/>
                    <a:pt x="104412" y="689138"/>
                  </a:cubicBezTo>
                  <a:cubicBezTo>
                    <a:pt x="104412" y="694578"/>
                    <a:pt x="104412" y="702737"/>
                    <a:pt x="101693" y="710895"/>
                  </a:cubicBezTo>
                  <a:cubicBezTo>
                    <a:pt x="101693" y="721774"/>
                    <a:pt x="96253" y="732653"/>
                    <a:pt x="85375" y="732653"/>
                  </a:cubicBezTo>
                  <a:cubicBezTo>
                    <a:pt x="77216" y="732653"/>
                    <a:pt x="74496" y="729933"/>
                    <a:pt x="69057" y="727214"/>
                  </a:cubicBezTo>
                  <a:cubicBezTo>
                    <a:pt x="63618" y="724494"/>
                    <a:pt x="60898" y="716335"/>
                    <a:pt x="60898" y="710895"/>
                  </a:cubicBezTo>
                  <a:cubicBezTo>
                    <a:pt x="58178" y="702737"/>
                    <a:pt x="58178" y="697297"/>
                    <a:pt x="58178" y="691858"/>
                  </a:cubicBezTo>
                  <a:cubicBezTo>
                    <a:pt x="58178" y="683699"/>
                    <a:pt x="60898" y="678260"/>
                    <a:pt x="60898" y="664661"/>
                  </a:cubicBezTo>
                  <a:cubicBezTo>
                    <a:pt x="60898" y="656502"/>
                    <a:pt x="60898" y="632026"/>
                    <a:pt x="60898" y="607549"/>
                  </a:cubicBezTo>
                  <a:cubicBezTo>
                    <a:pt x="60898" y="574913"/>
                    <a:pt x="60898" y="542277"/>
                    <a:pt x="63618" y="528679"/>
                  </a:cubicBezTo>
                  <a:cubicBezTo>
                    <a:pt x="63618" y="520520"/>
                    <a:pt x="63618" y="509641"/>
                    <a:pt x="69057" y="504202"/>
                  </a:cubicBezTo>
                  <a:cubicBezTo>
                    <a:pt x="71777" y="501482"/>
                    <a:pt x="71777" y="498762"/>
                    <a:pt x="74496" y="493323"/>
                  </a:cubicBezTo>
                  <a:cubicBezTo>
                    <a:pt x="77216" y="490603"/>
                    <a:pt x="79936" y="487884"/>
                    <a:pt x="82655" y="487884"/>
                  </a:cubicBezTo>
                  <a:cubicBezTo>
                    <a:pt x="85375" y="487884"/>
                    <a:pt x="90814" y="490603"/>
                    <a:pt x="90814" y="493323"/>
                  </a:cubicBezTo>
                  <a:cubicBezTo>
                    <a:pt x="93534" y="498762"/>
                    <a:pt x="98973" y="506921"/>
                    <a:pt x="98973" y="512361"/>
                  </a:cubicBezTo>
                  <a:cubicBezTo>
                    <a:pt x="98973" y="520520"/>
                    <a:pt x="101693" y="536838"/>
                    <a:pt x="101693" y="555875"/>
                  </a:cubicBezTo>
                  <a:cubicBezTo>
                    <a:pt x="101693" y="569473"/>
                    <a:pt x="101693" y="583072"/>
                    <a:pt x="101693" y="596670"/>
                  </a:cubicBezTo>
                  <a:cubicBezTo>
                    <a:pt x="101693" y="607549"/>
                    <a:pt x="104412" y="618427"/>
                    <a:pt x="109852" y="626586"/>
                  </a:cubicBezTo>
                  <a:cubicBezTo>
                    <a:pt x="115291" y="637465"/>
                    <a:pt x="123450" y="642904"/>
                    <a:pt x="128889" y="651063"/>
                  </a:cubicBezTo>
                  <a:cubicBezTo>
                    <a:pt x="137048" y="661942"/>
                    <a:pt x="139768" y="667381"/>
                    <a:pt x="153366" y="670101"/>
                  </a:cubicBezTo>
                  <a:cubicBezTo>
                    <a:pt x="161525" y="670101"/>
                    <a:pt x="183283" y="678260"/>
                    <a:pt x="196881" y="678260"/>
                  </a:cubicBezTo>
                  <a:cubicBezTo>
                    <a:pt x="207759" y="678260"/>
                    <a:pt x="210479" y="672820"/>
                    <a:pt x="221358" y="667381"/>
                  </a:cubicBezTo>
                  <a:cubicBezTo>
                    <a:pt x="232236" y="661942"/>
                    <a:pt x="245835" y="664661"/>
                    <a:pt x="253994" y="659222"/>
                  </a:cubicBezTo>
                  <a:cubicBezTo>
                    <a:pt x="262153" y="653783"/>
                    <a:pt x="273031" y="645624"/>
                    <a:pt x="275751" y="637465"/>
                  </a:cubicBezTo>
                  <a:cubicBezTo>
                    <a:pt x="281190" y="629306"/>
                    <a:pt x="281190" y="621147"/>
                    <a:pt x="281190" y="615708"/>
                  </a:cubicBezTo>
                  <a:cubicBezTo>
                    <a:pt x="281190" y="610268"/>
                    <a:pt x="281190" y="607549"/>
                    <a:pt x="278471" y="602109"/>
                  </a:cubicBezTo>
                  <a:cubicBezTo>
                    <a:pt x="275751" y="591231"/>
                    <a:pt x="267592" y="583072"/>
                    <a:pt x="262153" y="572193"/>
                  </a:cubicBezTo>
                  <a:cubicBezTo>
                    <a:pt x="256713" y="561314"/>
                    <a:pt x="253994" y="547716"/>
                    <a:pt x="245835" y="536838"/>
                  </a:cubicBezTo>
                  <a:cubicBezTo>
                    <a:pt x="232236" y="515080"/>
                    <a:pt x="213199" y="498762"/>
                    <a:pt x="196881" y="477005"/>
                  </a:cubicBezTo>
                  <a:cubicBezTo>
                    <a:pt x="180563" y="457968"/>
                    <a:pt x="164245" y="438930"/>
                    <a:pt x="145207" y="419892"/>
                  </a:cubicBezTo>
                  <a:cubicBezTo>
                    <a:pt x="126170" y="400855"/>
                    <a:pt x="109852" y="379098"/>
                    <a:pt x="93534" y="357340"/>
                  </a:cubicBezTo>
                  <a:cubicBezTo>
                    <a:pt x="77216" y="335583"/>
                    <a:pt x="71777" y="308387"/>
                    <a:pt x="66337" y="283910"/>
                  </a:cubicBezTo>
                  <a:cubicBezTo>
                    <a:pt x="63618" y="267592"/>
                    <a:pt x="58178" y="245834"/>
                    <a:pt x="58178" y="224077"/>
                  </a:cubicBezTo>
                  <a:cubicBezTo>
                    <a:pt x="58178" y="194161"/>
                    <a:pt x="69057" y="175123"/>
                    <a:pt x="82655" y="150647"/>
                  </a:cubicBezTo>
                  <a:cubicBezTo>
                    <a:pt x="96253" y="128889"/>
                    <a:pt x="115291" y="109852"/>
                    <a:pt x="137048" y="96253"/>
                  </a:cubicBezTo>
                  <a:cubicBezTo>
                    <a:pt x="158806" y="82655"/>
                    <a:pt x="172404" y="79936"/>
                    <a:pt x="196881" y="77216"/>
                  </a:cubicBezTo>
                  <a:cubicBezTo>
                    <a:pt x="210479" y="77216"/>
                    <a:pt x="215918" y="69057"/>
                    <a:pt x="232236" y="69057"/>
                  </a:cubicBezTo>
                  <a:cubicBezTo>
                    <a:pt x="243115" y="69057"/>
                    <a:pt x="251274" y="71776"/>
                    <a:pt x="262153" y="74496"/>
                  </a:cubicBezTo>
                  <a:cubicBezTo>
                    <a:pt x="273031" y="77216"/>
                    <a:pt x="283910" y="82655"/>
                    <a:pt x="294789" y="85375"/>
                  </a:cubicBezTo>
                  <a:cubicBezTo>
                    <a:pt x="308387" y="90814"/>
                    <a:pt x="319265" y="96253"/>
                    <a:pt x="327424" y="104412"/>
                  </a:cubicBezTo>
                  <a:cubicBezTo>
                    <a:pt x="327424" y="90814"/>
                    <a:pt x="327424" y="79936"/>
                    <a:pt x="332864" y="74496"/>
                  </a:cubicBezTo>
                  <a:cubicBezTo>
                    <a:pt x="335583" y="71776"/>
                    <a:pt x="335583" y="69057"/>
                    <a:pt x="338303" y="63618"/>
                  </a:cubicBezTo>
                  <a:cubicBezTo>
                    <a:pt x="341023" y="60898"/>
                    <a:pt x="346462" y="58178"/>
                    <a:pt x="349182" y="58178"/>
                  </a:cubicBezTo>
                  <a:cubicBezTo>
                    <a:pt x="351901" y="58178"/>
                    <a:pt x="357341" y="60898"/>
                    <a:pt x="357341" y="63618"/>
                  </a:cubicBezTo>
                  <a:cubicBezTo>
                    <a:pt x="360060" y="69057"/>
                    <a:pt x="365500" y="77216"/>
                    <a:pt x="365500" y="82655"/>
                  </a:cubicBezTo>
                  <a:cubicBezTo>
                    <a:pt x="365500" y="90814"/>
                    <a:pt x="368219" y="123450"/>
                    <a:pt x="368219" y="142488"/>
                  </a:cubicBezTo>
                  <a:cubicBezTo>
                    <a:pt x="368219" y="158806"/>
                    <a:pt x="368219" y="177843"/>
                    <a:pt x="368219" y="188722"/>
                  </a:cubicBezTo>
                  <a:cubicBezTo>
                    <a:pt x="368219" y="213199"/>
                    <a:pt x="370939" y="224077"/>
                    <a:pt x="370939" y="245834"/>
                  </a:cubicBezTo>
                  <a:cubicBezTo>
                    <a:pt x="370939" y="256713"/>
                    <a:pt x="370939" y="286629"/>
                    <a:pt x="354621" y="286629"/>
                  </a:cubicBezTo>
                  <a:cubicBezTo>
                    <a:pt x="346462" y="286629"/>
                    <a:pt x="343742" y="283910"/>
                    <a:pt x="338303" y="281190"/>
                  </a:cubicBezTo>
                  <a:cubicBezTo>
                    <a:pt x="332864" y="278470"/>
                    <a:pt x="330144" y="270311"/>
                    <a:pt x="330144" y="264872"/>
                  </a:cubicBezTo>
                  <a:cubicBezTo>
                    <a:pt x="327424" y="256713"/>
                    <a:pt x="327424" y="251274"/>
                    <a:pt x="327424" y="248554"/>
                  </a:cubicBezTo>
                  <a:cubicBezTo>
                    <a:pt x="327424" y="240395"/>
                    <a:pt x="330144" y="234956"/>
                    <a:pt x="330144" y="221357"/>
                  </a:cubicBezTo>
                  <a:cubicBezTo>
                    <a:pt x="330144" y="213199"/>
                    <a:pt x="330144" y="202320"/>
                    <a:pt x="330144" y="188722"/>
                  </a:cubicBezTo>
                  <a:cubicBezTo>
                    <a:pt x="330144" y="180563"/>
                    <a:pt x="327424" y="172404"/>
                    <a:pt x="327424" y="164245"/>
                  </a:cubicBezTo>
                  <a:cubicBezTo>
                    <a:pt x="324705" y="153366"/>
                    <a:pt x="319265" y="142488"/>
                    <a:pt x="311107" y="134329"/>
                  </a:cubicBezTo>
                  <a:cubicBezTo>
                    <a:pt x="302948" y="126170"/>
                    <a:pt x="294789" y="120730"/>
                    <a:pt x="283910" y="118011"/>
                  </a:cubicBezTo>
                  <a:cubicBezTo>
                    <a:pt x="275751" y="115291"/>
                    <a:pt x="262153" y="112571"/>
                    <a:pt x="251274" y="112571"/>
                  </a:cubicBezTo>
                  <a:cubicBezTo>
                    <a:pt x="237676" y="112571"/>
                    <a:pt x="224077" y="115291"/>
                    <a:pt x="215918" y="123450"/>
                  </a:cubicBezTo>
                  <a:cubicBezTo>
                    <a:pt x="207759" y="128889"/>
                    <a:pt x="205040" y="139768"/>
                    <a:pt x="202320" y="147927"/>
                  </a:cubicBezTo>
                  <a:cubicBezTo>
                    <a:pt x="196881" y="158806"/>
                    <a:pt x="191442" y="166964"/>
                    <a:pt x="188722" y="180563"/>
                  </a:cubicBezTo>
                  <a:cubicBezTo>
                    <a:pt x="186002" y="191441"/>
                    <a:pt x="183283" y="199600"/>
                    <a:pt x="183283" y="210479"/>
                  </a:cubicBezTo>
                  <a:cubicBezTo>
                    <a:pt x="183283" y="215918"/>
                    <a:pt x="186002" y="221357"/>
                    <a:pt x="188722" y="226797"/>
                  </a:cubicBezTo>
                  <a:cubicBezTo>
                    <a:pt x="191442" y="234956"/>
                    <a:pt x="188722" y="243115"/>
                    <a:pt x="188722" y="248554"/>
                  </a:cubicBezTo>
                  <a:cubicBezTo>
                    <a:pt x="191442" y="259433"/>
                    <a:pt x="202320" y="264872"/>
                    <a:pt x="210479" y="273031"/>
                  </a:cubicBezTo>
                  <a:cubicBezTo>
                    <a:pt x="218638" y="281190"/>
                    <a:pt x="221358" y="292069"/>
                    <a:pt x="226797" y="300228"/>
                  </a:cubicBezTo>
                  <a:cubicBezTo>
                    <a:pt x="234956" y="311106"/>
                    <a:pt x="245835" y="321985"/>
                    <a:pt x="256713" y="332864"/>
                  </a:cubicBezTo>
                  <a:cubicBezTo>
                    <a:pt x="259433" y="338303"/>
                    <a:pt x="267592" y="343742"/>
                    <a:pt x="275751" y="351901"/>
                  </a:cubicBezTo>
                  <a:cubicBezTo>
                    <a:pt x="292069" y="368219"/>
                    <a:pt x="311107" y="384537"/>
                    <a:pt x="324705" y="400855"/>
                  </a:cubicBezTo>
                  <a:cubicBezTo>
                    <a:pt x="332864" y="409014"/>
                    <a:pt x="335583" y="419892"/>
                    <a:pt x="343742" y="428051"/>
                  </a:cubicBezTo>
                  <a:cubicBezTo>
                    <a:pt x="346462" y="430771"/>
                    <a:pt x="349182" y="430771"/>
                    <a:pt x="351901" y="433491"/>
                  </a:cubicBezTo>
                  <a:cubicBezTo>
                    <a:pt x="354621" y="436210"/>
                    <a:pt x="357341" y="441650"/>
                    <a:pt x="360060" y="447089"/>
                  </a:cubicBezTo>
                  <a:cubicBezTo>
                    <a:pt x="368219" y="455248"/>
                    <a:pt x="376378" y="463407"/>
                    <a:pt x="384537" y="474286"/>
                  </a:cubicBezTo>
                  <a:cubicBezTo>
                    <a:pt x="389977" y="482445"/>
                    <a:pt x="392696" y="496043"/>
                    <a:pt x="395416" y="506921"/>
                  </a:cubicBezTo>
                  <a:cubicBezTo>
                    <a:pt x="400855" y="517800"/>
                    <a:pt x="400855" y="528679"/>
                    <a:pt x="406295" y="536838"/>
                  </a:cubicBezTo>
                  <a:cubicBezTo>
                    <a:pt x="409014" y="539557"/>
                    <a:pt x="409014" y="544997"/>
                    <a:pt x="409014" y="547716"/>
                  </a:cubicBezTo>
                  <a:cubicBezTo>
                    <a:pt x="409014" y="555875"/>
                    <a:pt x="406295" y="561314"/>
                    <a:pt x="406295" y="569473"/>
                  </a:cubicBezTo>
                  <a:cubicBezTo>
                    <a:pt x="406295" y="574913"/>
                    <a:pt x="403575" y="577632"/>
                    <a:pt x="403575" y="583072"/>
                  </a:cubicBezTo>
                  <a:lnTo>
                    <a:pt x="403575" y="583072"/>
                  </a:ln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5" name="Freeform: Shape 34">
              <a:extLst>
                <a:ext uri="{FF2B5EF4-FFF2-40B4-BE49-F238E27FC236}">
                  <a16:creationId xmlns:a16="http://schemas.microsoft.com/office/drawing/2014/main" id="{006E6070-9EF3-4ED3-9C75-E6CAC8EA9E4A}"/>
                </a:ext>
              </a:extLst>
            </p:cNvPr>
            <p:cNvSpPr/>
            <p:nvPr/>
          </p:nvSpPr>
          <p:spPr>
            <a:xfrm>
              <a:off x="2456032" y="4192158"/>
              <a:ext cx="571128" cy="761503"/>
            </a:xfrm>
            <a:custGeom>
              <a:avLst/>
              <a:gdLst>
                <a:gd name="connsiteX0" fmla="*/ 512361 w 571128"/>
                <a:gd name="connsiteY0" fmla="*/ 79936 h 761503"/>
                <a:gd name="connsiteX1" fmla="*/ 539558 w 571128"/>
                <a:gd name="connsiteY1" fmla="*/ 96253 h 761503"/>
                <a:gd name="connsiteX2" fmla="*/ 534118 w 571128"/>
                <a:gd name="connsiteY2" fmla="*/ 112571 h 761503"/>
                <a:gd name="connsiteX3" fmla="*/ 523240 w 571128"/>
                <a:gd name="connsiteY3" fmla="*/ 120730 h 761503"/>
                <a:gd name="connsiteX4" fmla="*/ 506922 w 571128"/>
                <a:gd name="connsiteY4" fmla="*/ 123450 h 761503"/>
                <a:gd name="connsiteX5" fmla="*/ 477006 w 571128"/>
                <a:gd name="connsiteY5" fmla="*/ 123450 h 761503"/>
                <a:gd name="connsiteX6" fmla="*/ 479725 w 571128"/>
                <a:gd name="connsiteY6" fmla="*/ 145207 h 761503"/>
                <a:gd name="connsiteX7" fmla="*/ 477006 w 571128"/>
                <a:gd name="connsiteY7" fmla="*/ 180563 h 761503"/>
                <a:gd name="connsiteX8" fmla="*/ 482445 w 571128"/>
                <a:gd name="connsiteY8" fmla="*/ 232236 h 761503"/>
                <a:gd name="connsiteX9" fmla="*/ 485165 w 571128"/>
                <a:gd name="connsiteY9" fmla="*/ 283910 h 761503"/>
                <a:gd name="connsiteX10" fmla="*/ 485165 w 571128"/>
                <a:gd name="connsiteY10" fmla="*/ 327424 h 761503"/>
                <a:gd name="connsiteX11" fmla="*/ 487884 w 571128"/>
                <a:gd name="connsiteY11" fmla="*/ 373658 h 761503"/>
                <a:gd name="connsiteX12" fmla="*/ 485165 w 571128"/>
                <a:gd name="connsiteY12" fmla="*/ 419892 h 761503"/>
                <a:gd name="connsiteX13" fmla="*/ 485165 w 571128"/>
                <a:gd name="connsiteY13" fmla="*/ 463407 h 761503"/>
                <a:gd name="connsiteX14" fmla="*/ 482445 w 571128"/>
                <a:gd name="connsiteY14" fmla="*/ 515080 h 761503"/>
                <a:gd name="connsiteX15" fmla="*/ 482445 w 571128"/>
                <a:gd name="connsiteY15" fmla="*/ 558595 h 761503"/>
                <a:gd name="connsiteX16" fmla="*/ 479725 w 571128"/>
                <a:gd name="connsiteY16" fmla="*/ 602109 h 761503"/>
                <a:gd name="connsiteX17" fmla="*/ 485165 w 571128"/>
                <a:gd name="connsiteY17" fmla="*/ 648343 h 761503"/>
                <a:gd name="connsiteX18" fmla="*/ 474286 w 571128"/>
                <a:gd name="connsiteY18" fmla="*/ 675540 h 761503"/>
                <a:gd name="connsiteX19" fmla="*/ 428052 w 571128"/>
                <a:gd name="connsiteY19" fmla="*/ 691858 h 761503"/>
                <a:gd name="connsiteX20" fmla="*/ 387257 w 571128"/>
                <a:gd name="connsiteY20" fmla="*/ 683699 h 761503"/>
                <a:gd name="connsiteX21" fmla="*/ 351901 w 571128"/>
                <a:gd name="connsiteY21" fmla="*/ 664661 h 761503"/>
                <a:gd name="connsiteX22" fmla="*/ 305667 w 571128"/>
                <a:gd name="connsiteY22" fmla="*/ 596670 h 761503"/>
                <a:gd name="connsiteX23" fmla="*/ 270312 w 571128"/>
                <a:gd name="connsiteY23" fmla="*/ 509641 h 761503"/>
                <a:gd name="connsiteX24" fmla="*/ 251274 w 571128"/>
                <a:gd name="connsiteY24" fmla="*/ 460687 h 761503"/>
                <a:gd name="connsiteX25" fmla="*/ 224077 w 571128"/>
                <a:gd name="connsiteY25" fmla="*/ 381817 h 761503"/>
                <a:gd name="connsiteX26" fmla="*/ 207759 w 571128"/>
                <a:gd name="connsiteY26" fmla="*/ 330144 h 761503"/>
                <a:gd name="connsiteX27" fmla="*/ 191442 w 571128"/>
                <a:gd name="connsiteY27" fmla="*/ 286629 h 761503"/>
                <a:gd name="connsiteX28" fmla="*/ 183283 w 571128"/>
                <a:gd name="connsiteY28" fmla="*/ 278470 h 761503"/>
                <a:gd name="connsiteX29" fmla="*/ 180563 w 571128"/>
                <a:gd name="connsiteY29" fmla="*/ 292069 h 761503"/>
                <a:gd name="connsiteX30" fmla="*/ 180563 w 571128"/>
                <a:gd name="connsiteY30" fmla="*/ 305667 h 761503"/>
                <a:gd name="connsiteX31" fmla="*/ 183283 w 571128"/>
                <a:gd name="connsiteY31" fmla="*/ 354621 h 761503"/>
                <a:gd name="connsiteX32" fmla="*/ 188722 w 571128"/>
                <a:gd name="connsiteY32" fmla="*/ 449809 h 761503"/>
                <a:gd name="connsiteX33" fmla="*/ 188722 w 571128"/>
                <a:gd name="connsiteY33" fmla="*/ 479725 h 761503"/>
                <a:gd name="connsiteX34" fmla="*/ 188722 w 571128"/>
                <a:gd name="connsiteY34" fmla="*/ 542277 h 761503"/>
                <a:gd name="connsiteX35" fmla="*/ 186002 w 571128"/>
                <a:gd name="connsiteY35" fmla="*/ 615708 h 761503"/>
                <a:gd name="connsiteX36" fmla="*/ 186002 w 571128"/>
                <a:gd name="connsiteY36" fmla="*/ 637465 h 761503"/>
                <a:gd name="connsiteX37" fmla="*/ 183283 w 571128"/>
                <a:gd name="connsiteY37" fmla="*/ 664661 h 761503"/>
                <a:gd name="connsiteX38" fmla="*/ 226797 w 571128"/>
                <a:gd name="connsiteY38" fmla="*/ 664661 h 761503"/>
                <a:gd name="connsiteX39" fmla="*/ 253994 w 571128"/>
                <a:gd name="connsiteY39" fmla="*/ 680979 h 761503"/>
                <a:gd name="connsiteX40" fmla="*/ 248554 w 571128"/>
                <a:gd name="connsiteY40" fmla="*/ 697297 h 761503"/>
                <a:gd name="connsiteX41" fmla="*/ 234956 w 571128"/>
                <a:gd name="connsiteY41" fmla="*/ 705456 h 761503"/>
                <a:gd name="connsiteX42" fmla="*/ 218638 w 571128"/>
                <a:gd name="connsiteY42" fmla="*/ 708176 h 761503"/>
                <a:gd name="connsiteX43" fmla="*/ 183283 w 571128"/>
                <a:gd name="connsiteY43" fmla="*/ 708176 h 761503"/>
                <a:gd name="connsiteX44" fmla="*/ 150647 w 571128"/>
                <a:gd name="connsiteY44" fmla="*/ 708176 h 761503"/>
                <a:gd name="connsiteX45" fmla="*/ 107132 w 571128"/>
                <a:gd name="connsiteY45" fmla="*/ 708176 h 761503"/>
                <a:gd name="connsiteX46" fmla="*/ 88094 w 571128"/>
                <a:gd name="connsiteY46" fmla="*/ 708176 h 761503"/>
                <a:gd name="connsiteX47" fmla="*/ 69057 w 571128"/>
                <a:gd name="connsiteY47" fmla="*/ 702737 h 761503"/>
                <a:gd name="connsiteX48" fmla="*/ 58178 w 571128"/>
                <a:gd name="connsiteY48" fmla="*/ 686419 h 761503"/>
                <a:gd name="connsiteX49" fmla="*/ 60898 w 571128"/>
                <a:gd name="connsiteY49" fmla="*/ 678260 h 761503"/>
                <a:gd name="connsiteX50" fmla="*/ 77216 w 571128"/>
                <a:gd name="connsiteY50" fmla="*/ 670101 h 761503"/>
                <a:gd name="connsiteX51" fmla="*/ 120730 w 571128"/>
                <a:gd name="connsiteY51" fmla="*/ 664661 h 761503"/>
                <a:gd name="connsiteX52" fmla="*/ 131609 w 571128"/>
                <a:gd name="connsiteY52" fmla="*/ 664661 h 761503"/>
                <a:gd name="connsiteX53" fmla="*/ 134329 w 571128"/>
                <a:gd name="connsiteY53" fmla="*/ 539557 h 761503"/>
                <a:gd name="connsiteX54" fmla="*/ 134329 w 571128"/>
                <a:gd name="connsiteY54" fmla="*/ 504202 h 761503"/>
                <a:gd name="connsiteX55" fmla="*/ 131609 w 571128"/>
                <a:gd name="connsiteY55" fmla="*/ 376378 h 761503"/>
                <a:gd name="connsiteX56" fmla="*/ 131609 w 571128"/>
                <a:gd name="connsiteY56" fmla="*/ 302947 h 761503"/>
                <a:gd name="connsiteX57" fmla="*/ 134329 w 571128"/>
                <a:gd name="connsiteY57" fmla="*/ 221357 h 761503"/>
                <a:gd name="connsiteX58" fmla="*/ 137048 w 571128"/>
                <a:gd name="connsiteY58" fmla="*/ 123450 h 761503"/>
                <a:gd name="connsiteX59" fmla="*/ 107132 w 571128"/>
                <a:gd name="connsiteY59" fmla="*/ 123450 h 761503"/>
                <a:gd name="connsiteX60" fmla="*/ 88094 w 571128"/>
                <a:gd name="connsiteY60" fmla="*/ 123450 h 761503"/>
                <a:gd name="connsiteX61" fmla="*/ 69057 w 571128"/>
                <a:gd name="connsiteY61" fmla="*/ 118011 h 761503"/>
                <a:gd name="connsiteX62" fmla="*/ 58178 w 571128"/>
                <a:gd name="connsiteY62" fmla="*/ 101693 h 761503"/>
                <a:gd name="connsiteX63" fmla="*/ 60898 w 571128"/>
                <a:gd name="connsiteY63" fmla="*/ 93534 h 761503"/>
                <a:gd name="connsiteX64" fmla="*/ 77216 w 571128"/>
                <a:gd name="connsiteY64" fmla="*/ 85375 h 761503"/>
                <a:gd name="connsiteX65" fmla="*/ 131609 w 571128"/>
                <a:gd name="connsiteY65" fmla="*/ 79936 h 761503"/>
                <a:gd name="connsiteX66" fmla="*/ 161525 w 571128"/>
                <a:gd name="connsiteY66" fmla="*/ 79936 h 761503"/>
                <a:gd name="connsiteX67" fmla="*/ 177843 w 571128"/>
                <a:gd name="connsiteY67" fmla="*/ 66337 h 761503"/>
                <a:gd name="connsiteX68" fmla="*/ 202320 w 571128"/>
                <a:gd name="connsiteY68" fmla="*/ 58178 h 761503"/>
                <a:gd name="connsiteX69" fmla="*/ 234956 w 571128"/>
                <a:gd name="connsiteY69" fmla="*/ 77216 h 761503"/>
                <a:gd name="connsiteX70" fmla="*/ 251274 w 571128"/>
                <a:gd name="connsiteY70" fmla="*/ 107132 h 761503"/>
                <a:gd name="connsiteX71" fmla="*/ 267592 w 571128"/>
                <a:gd name="connsiteY71" fmla="*/ 147927 h 761503"/>
                <a:gd name="connsiteX72" fmla="*/ 281190 w 571128"/>
                <a:gd name="connsiteY72" fmla="*/ 183282 h 761503"/>
                <a:gd name="connsiteX73" fmla="*/ 297508 w 571128"/>
                <a:gd name="connsiteY73" fmla="*/ 224077 h 761503"/>
                <a:gd name="connsiteX74" fmla="*/ 308387 w 571128"/>
                <a:gd name="connsiteY74" fmla="*/ 264872 h 761503"/>
                <a:gd name="connsiteX75" fmla="*/ 319265 w 571128"/>
                <a:gd name="connsiteY75" fmla="*/ 300228 h 761503"/>
                <a:gd name="connsiteX76" fmla="*/ 351901 w 571128"/>
                <a:gd name="connsiteY76" fmla="*/ 379098 h 761503"/>
                <a:gd name="connsiteX77" fmla="*/ 365500 w 571128"/>
                <a:gd name="connsiteY77" fmla="*/ 417173 h 761503"/>
                <a:gd name="connsiteX78" fmla="*/ 379098 w 571128"/>
                <a:gd name="connsiteY78" fmla="*/ 457968 h 761503"/>
                <a:gd name="connsiteX79" fmla="*/ 395416 w 571128"/>
                <a:gd name="connsiteY79" fmla="*/ 496043 h 761503"/>
                <a:gd name="connsiteX80" fmla="*/ 406295 w 571128"/>
                <a:gd name="connsiteY80" fmla="*/ 512361 h 761503"/>
                <a:gd name="connsiteX81" fmla="*/ 411734 w 571128"/>
                <a:gd name="connsiteY81" fmla="*/ 531398 h 761503"/>
                <a:gd name="connsiteX82" fmla="*/ 419893 w 571128"/>
                <a:gd name="connsiteY82" fmla="*/ 558595 h 761503"/>
                <a:gd name="connsiteX83" fmla="*/ 425332 w 571128"/>
                <a:gd name="connsiteY83" fmla="*/ 564034 h 761503"/>
                <a:gd name="connsiteX84" fmla="*/ 430771 w 571128"/>
                <a:gd name="connsiteY84" fmla="*/ 558595 h 761503"/>
                <a:gd name="connsiteX85" fmla="*/ 430771 w 571128"/>
                <a:gd name="connsiteY85" fmla="*/ 550436 h 761503"/>
                <a:gd name="connsiteX86" fmla="*/ 430771 w 571128"/>
                <a:gd name="connsiteY86" fmla="*/ 501482 h 761503"/>
                <a:gd name="connsiteX87" fmla="*/ 430771 w 571128"/>
                <a:gd name="connsiteY87" fmla="*/ 403575 h 761503"/>
                <a:gd name="connsiteX88" fmla="*/ 425332 w 571128"/>
                <a:gd name="connsiteY88" fmla="*/ 313826 h 761503"/>
                <a:gd name="connsiteX89" fmla="*/ 425332 w 571128"/>
                <a:gd name="connsiteY89" fmla="*/ 248554 h 761503"/>
                <a:gd name="connsiteX90" fmla="*/ 425332 w 571128"/>
                <a:gd name="connsiteY90" fmla="*/ 210479 h 761503"/>
                <a:gd name="connsiteX91" fmla="*/ 422613 w 571128"/>
                <a:gd name="connsiteY91" fmla="*/ 153366 h 761503"/>
                <a:gd name="connsiteX92" fmla="*/ 425332 w 571128"/>
                <a:gd name="connsiteY92" fmla="*/ 123450 h 761503"/>
                <a:gd name="connsiteX93" fmla="*/ 398136 w 571128"/>
                <a:gd name="connsiteY93" fmla="*/ 123450 h 761503"/>
                <a:gd name="connsiteX94" fmla="*/ 379098 w 571128"/>
                <a:gd name="connsiteY94" fmla="*/ 123450 h 761503"/>
                <a:gd name="connsiteX95" fmla="*/ 360060 w 571128"/>
                <a:gd name="connsiteY95" fmla="*/ 118011 h 761503"/>
                <a:gd name="connsiteX96" fmla="*/ 349182 w 571128"/>
                <a:gd name="connsiteY96" fmla="*/ 101693 h 761503"/>
                <a:gd name="connsiteX97" fmla="*/ 351901 w 571128"/>
                <a:gd name="connsiteY97" fmla="*/ 93534 h 761503"/>
                <a:gd name="connsiteX98" fmla="*/ 368219 w 571128"/>
                <a:gd name="connsiteY98" fmla="*/ 85375 h 761503"/>
                <a:gd name="connsiteX99" fmla="*/ 422613 w 571128"/>
                <a:gd name="connsiteY99" fmla="*/ 79936 h 761503"/>
                <a:gd name="connsiteX100" fmla="*/ 444370 w 571128"/>
                <a:gd name="connsiteY100" fmla="*/ 79936 h 761503"/>
                <a:gd name="connsiteX101" fmla="*/ 463407 w 571128"/>
                <a:gd name="connsiteY101" fmla="*/ 71776 h 761503"/>
                <a:gd name="connsiteX102" fmla="*/ 477006 w 571128"/>
                <a:gd name="connsiteY102" fmla="*/ 79936 h 761503"/>
                <a:gd name="connsiteX103" fmla="*/ 512361 w 571128"/>
                <a:gd name="connsiteY103" fmla="*/ 79936 h 761503"/>
                <a:gd name="connsiteX104" fmla="*/ 512361 w 571128"/>
                <a:gd name="connsiteY104" fmla="*/ 79936 h 761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</a:cxnLst>
              <a:rect l="l" t="t" r="r" b="b"/>
              <a:pathLst>
                <a:path w="571128" h="761503">
                  <a:moveTo>
                    <a:pt x="512361" y="79936"/>
                  </a:moveTo>
                  <a:cubicBezTo>
                    <a:pt x="520520" y="79936"/>
                    <a:pt x="539558" y="79936"/>
                    <a:pt x="539558" y="96253"/>
                  </a:cubicBezTo>
                  <a:cubicBezTo>
                    <a:pt x="539558" y="104412"/>
                    <a:pt x="539558" y="107132"/>
                    <a:pt x="534118" y="112571"/>
                  </a:cubicBezTo>
                  <a:cubicBezTo>
                    <a:pt x="531399" y="118011"/>
                    <a:pt x="525960" y="120730"/>
                    <a:pt x="523240" y="120730"/>
                  </a:cubicBezTo>
                  <a:cubicBezTo>
                    <a:pt x="515081" y="123450"/>
                    <a:pt x="512361" y="123450"/>
                    <a:pt x="506922" y="123450"/>
                  </a:cubicBezTo>
                  <a:cubicBezTo>
                    <a:pt x="504202" y="123450"/>
                    <a:pt x="490604" y="123450"/>
                    <a:pt x="477006" y="123450"/>
                  </a:cubicBezTo>
                  <a:cubicBezTo>
                    <a:pt x="477006" y="131609"/>
                    <a:pt x="479725" y="137048"/>
                    <a:pt x="479725" y="145207"/>
                  </a:cubicBezTo>
                  <a:cubicBezTo>
                    <a:pt x="479725" y="156086"/>
                    <a:pt x="477006" y="166964"/>
                    <a:pt x="477006" y="180563"/>
                  </a:cubicBezTo>
                  <a:cubicBezTo>
                    <a:pt x="477006" y="196881"/>
                    <a:pt x="479725" y="215918"/>
                    <a:pt x="482445" y="232236"/>
                  </a:cubicBezTo>
                  <a:cubicBezTo>
                    <a:pt x="485165" y="248554"/>
                    <a:pt x="485165" y="267592"/>
                    <a:pt x="485165" y="283910"/>
                  </a:cubicBezTo>
                  <a:cubicBezTo>
                    <a:pt x="485165" y="297508"/>
                    <a:pt x="485165" y="313826"/>
                    <a:pt x="485165" y="327424"/>
                  </a:cubicBezTo>
                  <a:cubicBezTo>
                    <a:pt x="485165" y="343742"/>
                    <a:pt x="487884" y="357340"/>
                    <a:pt x="487884" y="373658"/>
                  </a:cubicBezTo>
                  <a:cubicBezTo>
                    <a:pt x="487884" y="389976"/>
                    <a:pt x="485165" y="403575"/>
                    <a:pt x="485165" y="419892"/>
                  </a:cubicBezTo>
                  <a:cubicBezTo>
                    <a:pt x="485165" y="436210"/>
                    <a:pt x="485165" y="449809"/>
                    <a:pt x="485165" y="463407"/>
                  </a:cubicBezTo>
                  <a:cubicBezTo>
                    <a:pt x="485165" y="479725"/>
                    <a:pt x="485165" y="498762"/>
                    <a:pt x="482445" y="515080"/>
                  </a:cubicBezTo>
                  <a:cubicBezTo>
                    <a:pt x="482445" y="528679"/>
                    <a:pt x="482445" y="542277"/>
                    <a:pt x="482445" y="558595"/>
                  </a:cubicBezTo>
                  <a:cubicBezTo>
                    <a:pt x="482445" y="572193"/>
                    <a:pt x="479725" y="588511"/>
                    <a:pt x="479725" y="602109"/>
                  </a:cubicBezTo>
                  <a:cubicBezTo>
                    <a:pt x="479725" y="615708"/>
                    <a:pt x="485165" y="632026"/>
                    <a:pt x="485165" y="648343"/>
                  </a:cubicBezTo>
                  <a:cubicBezTo>
                    <a:pt x="485165" y="659222"/>
                    <a:pt x="482445" y="670101"/>
                    <a:pt x="474286" y="675540"/>
                  </a:cubicBezTo>
                  <a:cubicBezTo>
                    <a:pt x="460688" y="686419"/>
                    <a:pt x="444370" y="691858"/>
                    <a:pt x="428052" y="691858"/>
                  </a:cubicBezTo>
                  <a:cubicBezTo>
                    <a:pt x="414454" y="691858"/>
                    <a:pt x="400855" y="689138"/>
                    <a:pt x="387257" y="683699"/>
                  </a:cubicBezTo>
                  <a:cubicBezTo>
                    <a:pt x="373659" y="678260"/>
                    <a:pt x="360060" y="672820"/>
                    <a:pt x="351901" y="664661"/>
                  </a:cubicBezTo>
                  <a:cubicBezTo>
                    <a:pt x="330144" y="645624"/>
                    <a:pt x="316546" y="621147"/>
                    <a:pt x="305667" y="596670"/>
                  </a:cubicBezTo>
                  <a:cubicBezTo>
                    <a:pt x="292069" y="569473"/>
                    <a:pt x="281190" y="539557"/>
                    <a:pt x="270312" y="509641"/>
                  </a:cubicBezTo>
                  <a:cubicBezTo>
                    <a:pt x="264872" y="493323"/>
                    <a:pt x="256713" y="477005"/>
                    <a:pt x="251274" y="460687"/>
                  </a:cubicBezTo>
                  <a:cubicBezTo>
                    <a:pt x="240395" y="433491"/>
                    <a:pt x="232236" y="409014"/>
                    <a:pt x="224077" y="381817"/>
                  </a:cubicBezTo>
                  <a:cubicBezTo>
                    <a:pt x="218638" y="365499"/>
                    <a:pt x="213199" y="346462"/>
                    <a:pt x="207759" y="330144"/>
                  </a:cubicBezTo>
                  <a:cubicBezTo>
                    <a:pt x="202320" y="316545"/>
                    <a:pt x="196881" y="300228"/>
                    <a:pt x="191442" y="286629"/>
                  </a:cubicBezTo>
                  <a:cubicBezTo>
                    <a:pt x="188722" y="281190"/>
                    <a:pt x="186002" y="278470"/>
                    <a:pt x="183283" y="278470"/>
                  </a:cubicBezTo>
                  <a:cubicBezTo>
                    <a:pt x="180563" y="278470"/>
                    <a:pt x="180563" y="286629"/>
                    <a:pt x="180563" y="292069"/>
                  </a:cubicBezTo>
                  <a:cubicBezTo>
                    <a:pt x="180563" y="297508"/>
                    <a:pt x="180563" y="302947"/>
                    <a:pt x="180563" y="305667"/>
                  </a:cubicBezTo>
                  <a:cubicBezTo>
                    <a:pt x="180563" y="321985"/>
                    <a:pt x="183283" y="338303"/>
                    <a:pt x="183283" y="354621"/>
                  </a:cubicBezTo>
                  <a:cubicBezTo>
                    <a:pt x="183283" y="387257"/>
                    <a:pt x="186002" y="417173"/>
                    <a:pt x="188722" y="449809"/>
                  </a:cubicBezTo>
                  <a:cubicBezTo>
                    <a:pt x="188722" y="460687"/>
                    <a:pt x="188722" y="468846"/>
                    <a:pt x="188722" y="479725"/>
                  </a:cubicBezTo>
                  <a:cubicBezTo>
                    <a:pt x="188722" y="501482"/>
                    <a:pt x="188722" y="523239"/>
                    <a:pt x="188722" y="542277"/>
                  </a:cubicBezTo>
                  <a:cubicBezTo>
                    <a:pt x="188722" y="566754"/>
                    <a:pt x="186002" y="591231"/>
                    <a:pt x="186002" y="615708"/>
                  </a:cubicBezTo>
                  <a:cubicBezTo>
                    <a:pt x="186002" y="623867"/>
                    <a:pt x="186002" y="632026"/>
                    <a:pt x="186002" y="637465"/>
                  </a:cubicBezTo>
                  <a:cubicBezTo>
                    <a:pt x="186002" y="645624"/>
                    <a:pt x="183283" y="656502"/>
                    <a:pt x="183283" y="664661"/>
                  </a:cubicBezTo>
                  <a:cubicBezTo>
                    <a:pt x="202320" y="664661"/>
                    <a:pt x="218638" y="664661"/>
                    <a:pt x="226797" y="664661"/>
                  </a:cubicBezTo>
                  <a:cubicBezTo>
                    <a:pt x="234956" y="664661"/>
                    <a:pt x="253994" y="664661"/>
                    <a:pt x="253994" y="680979"/>
                  </a:cubicBezTo>
                  <a:cubicBezTo>
                    <a:pt x="253994" y="689138"/>
                    <a:pt x="253994" y="691858"/>
                    <a:pt x="248554" y="697297"/>
                  </a:cubicBezTo>
                  <a:cubicBezTo>
                    <a:pt x="245835" y="702737"/>
                    <a:pt x="240395" y="705456"/>
                    <a:pt x="234956" y="705456"/>
                  </a:cubicBezTo>
                  <a:cubicBezTo>
                    <a:pt x="226797" y="708176"/>
                    <a:pt x="224077" y="708176"/>
                    <a:pt x="218638" y="708176"/>
                  </a:cubicBezTo>
                  <a:cubicBezTo>
                    <a:pt x="215918" y="708176"/>
                    <a:pt x="199600" y="708176"/>
                    <a:pt x="183283" y="708176"/>
                  </a:cubicBezTo>
                  <a:cubicBezTo>
                    <a:pt x="166965" y="708176"/>
                    <a:pt x="153366" y="708176"/>
                    <a:pt x="150647" y="708176"/>
                  </a:cubicBezTo>
                  <a:cubicBezTo>
                    <a:pt x="139768" y="708176"/>
                    <a:pt x="120730" y="708176"/>
                    <a:pt x="107132" y="708176"/>
                  </a:cubicBezTo>
                  <a:cubicBezTo>
                    <a:pt x="101693" y="708176"/>
                    <a:pt x="96253" y="708176"/>
                    <a:pt x="88094" y="708176"/>
                  </a:cubicBezTo>
                  <a:cubicBezTo>
                    <a:pt x="82655" y="708176"/>
                    <a:pt x="74496" y="708176"/>
                    <a:pt x="69057" y="702737"/>
                  </a:cubicBezTo>
                  <a:cubicBezTo>
                    <a:pt x="63618" y="700017"/>
                    <a:pt x="58178" y="691858"/>
                    <a:pt x="58178" y="686419"/>
                  </a:cubicBezTo>
                  <a:cubicBezTo>
                    <a:pt x="58178" y="683699"/>
                    <a:pt x="58178" y="680979"/>
                    <a:pt x="60898" y="678260"/>
                  </a:cubicBezTo>
                  <a:cubicBezTo>
                    <a:pt x="63618" y="675540"/>
                    <a:pt x="71777" y="672820"/>
                    <a:pt x="77216" y="670101"/>
                  </a:cubicBezTo>
                  <a:cubicBezTo>
                    <a:pt x="90814" y="667381"/>
                    <a:pt x="115291" y="664661"/>
                    <a:pt x="120730" y="664661"/>
                  </a:cubicBezTo>
                  <a:cubicBezTo>
                    <a:pt x="123450" y="664661"/>
                    <a:pt x="126170" y="664661"/>
                    <a:pt x="131609" y="664661"/>
                  </a:cubicBezTo>
                  <a:cubicBezTo>
                    <a:pt x="131609" y="623867"/>
                    <a:pt x="134329" y="583072"/>
                    <a:pt x="134329" y="539557"/>
                  </a:cubicBezTo>
                  <a:cubicBezTo>
                    <a:pt x="134329" y="528679"/>
                    <a:pt x="134329" y="515080"/>
                    <a:pt x="134329" y="504202"/>
                  </a:cubicBezTo>
                  <a:cubicBezTo>
                    <a:pt x="131609" y="460687"/>
                    <a:pt x="131609" y="417173"/>
                    <a:pt x="131609" y="376378"/>
                  </a:cubicBezTo>
                  <a:cubicBezTo>
                    <a:pt x="131609" y="351901"/>
                    <a:pt x="131609" y="327424"/>
                    <a:pt x="131609" y="302947"/>
                  </a:cubicBezTo>
                  <a:cubicBezTo>
                    <a:pt x="131609" y="275751"/>
                    <a:pt x="131609" y="248554"/>
                    <a:pt x="134329" y="221357"/>
                  </a:cubicBezTo>
                  <a:cubicBezTo>
                    <a:pt x="134329" y="188722"/>
                    <a:pt x="137048" y="156086"/>
                    <a:pt x="137048" y="123450"/>
                  </a:cubicBezTo>
                  <a:cubicBezTo>
                    <a:pt x="126170" y="123450"/>
                    <a:pt x="115291" y="123450"/>
                    <a:pt x="107132" y="123450"/>
                  </a:cubicBezTo>
                  <a:cubicBezTo>
                    <a:pt x="101693" y="123450"/>
                    <a:pt x="96253" y="123450"/>
                    <a:pt x="88094" y="123450"/>
                  </a:cubicBezTo>
                  <a:cubicBezTo>
                    <a:pt x="82655" y="123450"/>
                    <a:pt x="74496" y="120730"/>
                    <a:pt x="69057" y="118011"/>
                  </a:cubicBezTo>
                  <a:cubicBezTo>
                    <a:pt x="63618" y="115291"/>
                    <a:pt x="58178" y="107132"/>
                    <a:pt x="58178" y="101693"/>
                  </a:cubicBezTo>
                  <a:cubicBezTo>
                    <a:pt x="58178" y="98973"/>
                    <a:pt x="58178" y="96253"/>
                    <a:pt x="60898" y="93534"/>
                  </a:cubicBezTo>
                  <a:cubicBezTo>
                    <a:pt x="63618" y="90814"/>
                    <a:pt x="71777" y="88095"/>
                    <a:pt x="77216" y="85375"/>
                  </a:cubicBezTo>
                  <a:cubicBezTo>
                    <a:pt x="90814" y="82655"/>
                    <a:pt x="126170" y="79936"/>
                    <a:pt x="131609" y="79936"/>
                  </a:cubicBezTo>
                  <a:cubicBezTo>
                    <a:pt x="137048" y="79936"/>
                    <a:pt x="147927" y="79936"/>
                    <a:pt x="161525" y="79936"/>
                  </a:cubicBezTo>
                  <a:cubicBezTo>
                    <a:pt x="166965" y="74496"/>
                    <a:pt x="172404" y="71776"/>
                    <a:pt x="177843" y="66337"/>
                  </a:cubicBezTo>
                  <a:cubicBezTo>
                    <a:pt x="186002" y="60898"/>
                    <a:pt x="194161" y="58178"/>
                    <a:pt x="202320" y="58178"/>
                  </a:cubicBezTo>
                  <a:cubicBezTo>
                    <a:pt x="215918" y="58178"/>
                    <a:pt x="226797" y="63618"/>
                    <a:pt x="234956" y="77216"/>
                  </a:cubicBezTo>
                  <a:cubicBezTo>
                    <a:pt x="240395" y="88095"/>
                    <a:pt x="248554" y="96253"/>
                    <a:pt x="251274" y="107132"/>
                  </a:cubicBezTo>
                  <a:cubicBezTo>
                    <a:pt x="256713" y="120730"/>
                    <a:pt x="259433" y="134329"/>
                    <a:pt x="267592" y="147927"/>
                  </a:cubicBezTo>
                  <a:cubicBezTo>
                    <a:pt x="273031" y="158806"/>
                    <a:pt x="275751" y="172404"/>
                    <a:pt x="281190" y="183282"/>
                  </a:cubicBezTo>
                  <a:cubicBezTo>
                    <a:pt x="286630" y="196881"/>
                    <a:pt x="292069" y="210479"/>
                    <a:pt x="297508" y="224077"/>
                  </a:cubicBezTo>
                  <a:cubicBezTo>
                    <a:pt x="300228" y="237676"/>
                    <a:pt x="305667" y="251274"/>
                    <a:pt x="308387" y="264872"/>
                  </a:cubicBezTo>
                  <a:cubicBezTo>
                    <a:pt x="311107" y="278470"/>
                    <a:pt x="311107" y="289349"/>
                    <a:pt x="319265" y="300228"/>
                  </a:cubicBezTo>
                  <a:cubicBezTo>
                    <a:pt x="332864" y="324704"/>
                    <a:pt x="346462" y="351901"/>
                    <a:pt x="351901" y="379098"/>
                  </a:cubicBezTo>
                  <a:cubicBezTo>
                    <a:pt x="354621" y="392696"/>
                    <a:pt x="360060" y="403575"/>
                    <a:pt x="365500" y="417173"/>
                  </a:cubicBezTo>
                  <a:cubicBezTo>
                    <a:pt x="373659" y="430771"/>
                    <a:pt x="373659" y="444369"/>
                    <a:pt x="379098" y="457968"/>
                  </a:cubicBezTo>
                  <a:cubicBezTo>
                    <a:pt x="381818" y="471566"/>
                    <a:pt x="387257" y="482445"/>
                    <a:pt x="395416" y="496043"/>
                  </a:cubicBezTo>
                  <a:cubicBezTo>
                    <a:pt x="398136" y="501482"/>
                    <a:pt x="403575" y="506921"/>
                    <a:pt x="406295" y="512361"/>
                  </a:cubicBezTo>
                  <a:cubicBezTo>
                    <a:pt x="409014" y="517800"/>
                    <a:pt x="409014" y="525959"/>
                    <a:pt x="411734" y="531398"/>
                  </a:cubicBezTo>
                  <a:cubicBezTo>
                    <a:pt x="414454" y="539557"/>
                    <a:pt x="417173" y="550436"/>
                    <a:pt x="419893" y="558595"/>
                  </a:cubicBezTo>
                  <a:cubicBezTo>
                    <a:pt x="422613" y="561314"/>
                    <a:pt x="422613" y="564034"/>
                    <a:pt x="425332" y="564034"/>
                  </a:cubicBezTo>
                  <a:cubicBezTo>
                    <a:pt x="428052" y="564034"/>
                    <a:pt x="428052" y="561314"/>
                    <a:pt x="430771" y="558595"/>
                  </a:cubicBezTo>
                  <a:cubicBezTo>
                    <a:pt x="430771" y="555875"/>
                    <a:pt x="430771" y="553156"/>
                    <a:pt x="430771" y="550436"/>
                  </a:cubicBezTo>
                  <a:cubicBezTo>
                    <a:pt x="430771" y="534118"/>
                    <a:pt x="430771" y="517800"/>
                    <a:pt x="430771" y="501482"/>
                  </a:cubicBezTo>
                  <a:cubicBezTo>
                    <a:pt x="430771" y="468846"/>
                    <a:pt x="433491" y="436210"/>
                    <a:pt x="430771" y="403575"/>
                  </a:cubicBezTo>
                  <a:cubicBezTo>
                    <a:pt x="430771" y="373658"/>
                    <a:pt x="425332" y="343742"/>
                    <a:pt x="425332" y="313826"/>
                  </a:cubicBezTo>
                  <a:cubicBezTo>
                    <a:pt x="425332" y="292069"/>
                    <a:pt x="425332" y="270311"/>
                    <a:pt x="425332" y="248554"/>
                  </a:cubicBezTo>
                  <a:cubicBezTo>
                    <a:pt x="425332" y="234956"/>
                    <a:pt x="425332" y="224077"/>
                    <a:pt x="425332" y="210479"/>
                  </a:cubicBezTo>
                  <a:cubicBezTo>
                    <a:pt x="425332" y="191441"/>
                    <a:pt x="422613" y="172404"/>
                    <a:pt x="422613" y="153366"/>
                  </a:cubicBezTo>
                  <a:cubicBezTo>
                    <a:pt x="422613" y="142488"/>
                    <a:pt x="422613" y="134329"/>
                    <a:pt x="425332" y="123450"/>
                  </a:cubicBezTo>
                  <a:cubicBezTo>
                    <a:pt x="417173" y="123450"/>
                    <a:pt x="406295" y="123450"/>
                    <a:pt x="398136" y="123450"/>
                  </a:cubicBezTo>
                  <a:cubicBezTo>
                    <a:pt x="392696" y="123450"/>
                    <a:pt x="387257" y="123450"/>
                    <a:pt x="379098" y="123450"/>
                  </a:cubicBezTo>
                  <a:cubicBezTo>
                    <a:pt x="373659" y="123450"/>
                    <a:pt x="365500" y="120730"/>
                    <a:pt x="360060" y="118011"/>
                  </a:cubicBezTo>
                  <a:cubicBezTo>
                    <a:pt x="354621" y="115291"/>
                    <a:pt x="349182" y="107132"/>
                    <a:pt x="349182" y="101693"/>
                  </a:cubicBezTo>
                  <a:cubicBezTo>
                    <a:pt x="349182" y="98973"/>
                    <a:pt x="349182" y="96253"/>
                    <a:pt x="351901" y="93534"/>
                  </a:cubicBezTo>
                  <a:cubicBezTo>
                    <a:pt x="354621" y="90814"/>
                    <a:pt x="362780" y="88095"/>
                    <a:pt x="368219" y="85375"/>
                  </a:cubicBezTo>
                  <a:cubicBezTo>
                    <a:pt x="381818" y="82655"/>
                    <a:pt x="417173" y="79936"/>
                    <a:pt x="422613" y="79936"/>
                  </a:cubicBezTo>
                  <a:cubicBezTo>
                    <a:pt x="428052" y="79936"/>
                    <a:pt x="433491" y="79936"/>
                    <a:pt x="444370" y="79936"/>
                  </a:cubicBezTo>
                  <a:cubicBezTo>
                    <a:pt x="449809" y="74496"/>
                    <a:pt x="455248" y="71776"/>
                    <a:pt x="463407" y="71776"/>
                  </a:cubicBezTo>
                  <a:cubicBezTo>
                    <a:pt x="471566" y="71776"/>
                    <a:pt x="477006" y="74496"/>
                    <a:pt x="477006" y="79936"/>
                  </a:cubicBezTo>
                  <a:cubicBezTo>
                    <a:pt x="490604" y="82655"/>
                    <a:pt x="504202" y="79936"/>
                    <a:pt x="512361" y="79936"/>
                  </a:cubicBezTo>
                  <a:lnTo>
                    <a:pt x="512361" y="79936"/>
                  </a:ln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6" name="Freeform: Shape 35">
              <a:extLst>
                <a:ext uri="{FF2B5EF4-FFF2-40B4-BE49-F238E27FC236}">
                  <a16:creationId xmlns:a16="http://schemas.microsoft.com/office/drawing/2014/main" id="{417FE90C-6359-4A38-A932-B9E34A36EB87}"/>
                </a:ext>
              </a:extLst>
            </p:cNvPr>
            <p:cNvSpPr/>
            <p:nvPr/>
          </p:nvSpPr>
          <p:spPr>
            <a:xfrm>
              <a:off x="2987430" y="4242177"/>
              <a:ext cx="494979" cy="674476"/>
            </a:xfrm>
            <a:custGeom>
              <a:avLst/>
              <a:gdLst>
                <a:gd name="connsiteX0" fmla="*/ 228453 w 494979"/>
                <a:gd name="connsiteY0" fmla="*/ 97907 h 674476"/>
                <a:gd name="connsiteX1" fmla="*/ 212135 w 494979"/>
                <a:gd name="connsiteY1" fmla="*/ 119665 h 674476"/>
                <a:gd name="connsiteX2" fmla="*/ 203976 w 494979"/>
                <a:gd name="connsiteY2" fmla="*/ 152300 h 674476"/>
                <a:gd name="connsiteX3" fmla="*/ 201256 w 494979"/>
                <a:gd name="connsiteY3" fmla="*/ 168618 h 674476"/>
                <a:gd name="connsiteX4" fmla="*/ 198537 w 494979"/>
                <a:gd name="connsiteY4" fmla="*/ 184936 h 674476"/>
                <a:gd name="connsiteX5" fmla="*/ 190378 w 494979"/>
                <a:gd name="connsiteY5" fmla="*/ 220292 h 674476"/>
                <a:gd name="connsiteX6" fmla="*/ 171340 w 494979"/>
                <a:gd name="connsiteY6" fmla="*/ 291003 h 674476"/>
                <a:gd name="connsiteX7" fmla="*/ 163180 w 494979"/>
                <a:gd name="connsiteY7" fmla="*/ 323639 h 674476"/>
                <a:gd name="connsiteX8" fmla="*/ 152302 w 494979"/>
                <a:gd name="connsiteY8" fmla="*/ 361714 h 674476"/>
                <a:gd name="connsiteX9" fmla="*/ 146862 w 494979"/>
                <a:gd name="connsiteY9" fmla="*/ 388910 h 674476"/>
                <a:gd name="connsiteX10" fmla="*/ 152302 w 494979"/>
                <a:gd name="connsiteY10" fmla="*/ 391630 h 674476"/>
                <a:gd name="connsiteX11" fmla="*/ 174060 w 494979"/>
                <a:gd name="connsiteY11" fmla="*/ 391630 h 674476"/>
                <a:gd name="connsiteX12" fmla="*/ 195817 w 494979"/>
                <a:gd name="connsiteY12" fmla="*/ 388910 h 674476"/>
                <a:gd name="connsiteX13" fmla="*/ 214855 w 494979"/>
                <a:gd name="connsiteY13" fmla="*/ 388910 h 674476"/>
                <a:gd name="connsiteX14" fmla="*/ 239332 w 494979"/>
                <a:gd name="connsiteY14" fmla="*/ 388910 h 674476"/>
                <a:gd name="connsiteX15" fmla="*/ 252930 w 494979"/>
                <a:gd name="connsiteY15" fmla="*/ 386191 h 674476"/>
                <a:gd name="connsiteX16" fmla="*/ 261089 w 494979"/>
                <a:gd name="connsiteY16" fmla="*/ 386191 h 674476"/>
                <a:gd name="connsiteX17" fmla="*/ 258369 w 494979"/>
                <a:gd name="connsiteY17" fmla="*/ 367153 h 674476"/>
                <a:gd name="connsiteX18" fmla="*/ 252930 w 494979"/>
                <a:gd name="connsiteY18" fmla="*/ 331797 h 674476"/>
                <a:gd name="connsiteX19" fmla="*/ 250210 w 494979"/>
                <a:gd name="connsiteY19" fmla="*/ 244769 h 674476"/>
                <a:gd name="connsiteX20" fmla="*/ 244771 w 494979"/>
                <a:gd name="connsiteY20" fmla="*/ 203974 h 674476"/>
                <a:gd name="connsiteX21" fmla="*/ 239332 w 494979"/>
                <a:gd name="connsiteY21" fmla="*/ 157740 h 674476"/>
                <a:gd name="connsiteX22" fmla="*/ 236612 w 494979"/>
                <a:gd name="connsiteY22" fmla="*/ 119665 h 674476"/>
                <a:gd name="connsiteX23" fmla="*/ 228453 w 494979"/>
                <a:gd name="connsiteY23" fmla="*/ 97907 h 674476"/>
                <a:gd name="connsiteX24" fmla="*/ 274687 w 494979"/>
                <a:gd name="connsiteY24" fmla="*/ 0 h 674476"/>
                <a:gd name="connsiteX25" fmla="*/ 304603 w 494979"/>
                <a:gd name="connsiteY25" fmla="*/ 5439 h 674476"/>
                <a:gd name="connsiteX26" fmla="*/ 320921 w 494979"/>
                <a:gd name="connsiteY26" fmla="*/ 24477 h 674476"/>
                <a:gd name="connsiteX27" fmla="*/ 334519 w 494979"/>
                <a:gd name="connsiteY27" fmla="*/ 43515 h 674476"/>
                <a:gd name="connsiteX28" fmla="*/ 339959 w 494979"/>
                <a:gd name="connsiteY28" fmla="*/ 65272 h 674476"/>
                <a:gd name="connsiteX29" fmla="*/ 348118 w 494979"/>
                <a:gd name="connsiteY29" fmla="*/ 114226 h 674476"/>
                <a:gd name="connsiteX30" fmla="*/ 361716 w 494979"/>
                <a:gd name="connsiteY30" fmla="*/ 163180 h 674476"/>
                <a:gd name="connsiteX31" fmla="*/ 369875 w 494979"/>
                <a:gd name="connsiteY31" fmla="*/ 220293 h 674476"/>
                <a:gd name="connsiteX32" fmla="*/ 378034 w 494979"/>
                <a:gd name="connsiteY32" fmla="*/ 274686 h 674476"/>
                <a:gd name="connsiteX33" fmla="*/ 383473 w 494979"/>
                <a:gd name="connsiteY33" fmla="*/ 301883 h 674476"/>
                <a:gd name="connsiteX34" fmla="*/ 391632 w 494979"/>
                <a:gd name="connsiteY34" fmla="*/ 337238 h 674476"/>
                <a:gd name="connsiteX35" fmla="*/ 397071 w 494979"/>
                <a:gd name="connsiteY35" fmla="*/ 364435 h 674476"/>
                <a:gd name="connsiteX36" fmla="*/ 405230 w 494979"/>
                <a:gd name="connsiteY36" fmla="*/ 383473 h 674476"/>
                <a:gd name="connsiteX37" fmla="*/ 416109 w 494979"/>
                <a:gd name="connsiteY37" fmla="*/ 386192 h 674476"/>
                <a:gd name="connsiteX38" fmla="*/ 426988 w 494979"/>
                <a:gd name="connsiteY38" fmla="*/ 386192 h 674476"/>
                <a:gd name="connsiteX39" fmla="*/ 454184 w 494979"/>
                <a:gd name="connsiteY39" fmla="*/ 397071 h 674476"/>
                <a:gd name="connsiteX40" fmla="*/ 456904 w 494979"/>
                <a:gd name="connsiteY40" fmla="*/ 405230 h 674476"/>
                <a:gd name="connsiteX41" fmla="*/ 451465 w 494979"/>
                <a:gd name="connsiteY41" fmla="*/ 416108 h 674476"/>
                <a:gd name="connsiteX42" fmla="*/ 432427 w 494979"/>
                <a:gd name="connsiteY42" fmla="*/ 429707 h 674476"/>
                <a:gd name="connsiteX43" fmla="*/ 421548 w 494979"/>
                <a:gd name="connsiteY43" fmla="*/ 432426 h 674476"/>
                <a:gd name="connsiteX44" fmla="*/ 413389 w 494979"/>
                <a:gd name="connsiteY44" fmla="*/ 435146 h 674476"/>
                <a:gd name="connsiteX45" fmla="*/ 413389 w 494979"/>
                <a:gd name="connsiteY45" fmla="*/ 440585 h 674476"/>
                <a:gd name="connsiteX46" fmla="*/ 416109 w 494979"/>
                <a:gd name="connsiteY46" fmla="*/ 451464 h 674476"/>
                <a:gd name="connsiteX47" fmla="*/ 418829 w 494979"/>
                <a:gd name="connsiteY47" fmla="*/ 465062 h 674476"/>
                <a:gd name="connsiteX48" fmla="*/ 418829 w 494979"/>
                <a:gd name="connsiteY48" fmla="*/ 475941 h 674476"/>
                <a:gd name="connsiteX49" fmla="*/ 418829 w 494979"/>
                <a:gd name="connsiteY49" fmla="*/ 486820 h 674476"/>
                <a:gd name="connsiteX50" fmla="*/ 426988 w 494979"/>
                <a:gd name="connsiteY50" fmla="*/ 516736 h 674476"/>
                <a:gd name="connsiteX51" fmla="*/ 432427 w 494979"/>
                <a:gd name="connsiteY51" fmla="*/ 543932 h 674476"/>
                <a:gd name="connsiteX52" fmla="*/ 437866 w 494979"/>
                <a:gd name="connsiteY52" fmla="*/ 573848 h 674476"/>
                <a:gd name="connsiteX53" fmla="*/ 443306 w 494979"/>
                <a:gd name="connsiteY53" fmla="*/ 606484 h 674476"/>
                <a:gd name="connsiteX54" fmla="*/ 446025 w 494979"/>
                <a:gd name="connsiteY54" fmla="*/ 617363 h 674476"/>
                <a:gd name="connsiteX55" fmla="*/ 470502 w 494979"/>
                <a:gd name="connsiteY55" fmla="*/ 617363 h 674476"/>
                <a:gd name="connsiteX56" fmla="*/ 494979 w 494979"/>
                <a:gd name="connsiteY56" fmla="*/ 641840 h 674476"/>
                <a:gd name="connsiteX57" fmla="*/ 486820 w 494979"/>
                <a:gd name="connsiteY57" fmla="*/ 655438 h 674476"/>
                <a:gd name="connsiteX58" fmla="*/ 470502 w 494979"/>
                <a:gd name="connsiteY58" fmla="*/ 663597 h 674476"/>
                <a:gd name="connsiteX59" fmla="*/ 446025 w 494979"/>
                <a:gd name="connsiteY59" fmla="*/ 666317 h 674476"/>
                <a:gd name="connsiteX60" fmla="*/ 424268 w 494979"/>
                <a:gd name="connsiteY60" fmla="*/ 666317 h 674476"/>
                <a:gd name="connsiteX61" fmla="*/ 416109 w 494979"/>
                <a:gd name="connsiteY61" fmla="*/ 666317 h 674476"/>
                <a:gd name="connsiteX62" fmla="*/ 402511 w 494979"/>
                <a:gd name="connsiteY62" fmla="*/ 671756 h 674476"/>
                <a:gd name="connsiteX63" fmla="*/ 386193 w 494979"/>
                <a:gd name="connsiteY63" fmla="*/ 674476 h 674476"/>
                <a:gd name="connsiteX64" fmla="*/ 350837 w 494979"/>
                <a:gd name="connsiteY64" fmla="*/ 669036 h 674476"/>
                <a:gd name="connsiteX65" fmla="*/ 329080 w 494979"/>
                <a:gd name="connsiteY65" fmla="*/ 669036 h 674476"/>
                <a:gd name="connsiteX66" fmla="*/ 280126 w 494979"/>
                <a:gd name="connsiteY66" fmla="*/ 669036 h 674476"/>
                <a:gd name="connsiteX67" fmla="*/ 255649 w 494979"/>
                <a:gd name="connsiteY67" fmla="*/ 663597 h 674476"/>
                <a:gd name="connsiteX68" fmla="*/ 239331 w 494979"/>
                <a:gd name="connsiteY68" fmla="*/ 647279 h 674476"/>
                <a:gd name="connsiteX69" fmla="*/ 263808 w 494979"/>
                <a:gd name="connsiteY69" fmla="*/ 630961 h 674476"/>
                <a:gd name="connsiteX70" fmla="*/ 291005 w 494979"/>
                <a:gd name="connsiteY70" fmla="*/ 628241 h 674476"/>
                <a:gd name="connsiteX71" fmla="*/ 288285 w 494979"/>
                <a:gd name="connsiteY71" fmla="*/ 609204 h 674476"/>
                <a:gd name="connsiteX72" fmla="*/ 285565 w 494979"/>
                <a:gd name="connsiteY72" fmla="*/ 582007 h 674476"/>
                <a:gd name="connsiteX73" fmla="*/ 282846 w 494979"/>
                <a:gd name="connsiteY73" fmla="*/ 568409 h 674476"/>
                <a:gd name="connsiteX74" fmla="*/ 285565 w 494979"/>
                <a:gd name="connsiteY74" fmla="*/ 554811 h 674476"/>
                <a:gd name="connsiteX75" fmla="*/ 280126 w 494979"/>
                <a:gd name="connsiteY75" fmla="*/ 538493 h 674476"/>
                <a:gd name="connsiteX76" fmla="*/ 274687 w 494979"/>
                <a:gd name="connsiteY76" fmla="*/ 505857 h 674476"/>
                <a:gd name="connsiteX77" fmla="*/ 271967 w 494979"/>
                <a:gd name="connsiteY77" fmla="*/ 478660 h 674476"/>
                <a:gd name="connsiteX78" fmla="*/ 269247 w 494979"/>
                <a:gd name="connsiteY78" fmla="*/ 446025 h 674476"/>
                <a:gd name="connsiteX79" fmla="*/ 263808 w 494979"/>
                <a:gd name="connsiteY79" fmla="*/ 437866 h 674476"/>
                <a:gd name="connsiteX80" fmla="*/ 252929 w 494979"/>
                <a:gd name="connsiteY80" fmla="*/ 437866 h 674476"/>
                <a:gd name="connsiteX81" fmla="*/ 223013 w 494979"/>
                <a:gd name="connsiteY81" fmla="*/ 440585 h 674476"/>
                <a:gd name="connsiteX82" fmla="*/ 193097 w 494979"/>
                <a:gd name="connsiteY82" fmla="*/ 443305 h 674476"/>
                <a:gd name="connsiteX83" fmla="*/ 168620 w 494979"/>
                <a:gd name="connsiteY83" fmla="*/ 443305 h 674476"/>
                <a:gd name="connsiteX84" fmla="*/ 146862 w 494979"/>
                <a:gd name="connsiteY84" fmla="*/ 440585 h 674476"/>
                <a:gd name="connsiteX85" fmla="*/ 138703 w 494979"/>
                <a:gd name="connsiteY85" fmla="*/ 454184 h 674476"/>
                <a:gd name="connsiteX86" fmla="*/ 133263 w 494979"/>
                <a:gd name="connsiteY86" fmla="*/ 486820 h 674476"/>
                <a:gd name="connsiteX87" fmla="*/ 122385 w 494979"/>
                <a:gd name="connsiteY87" fmla="*/ 541213 h 674476"/>
                <a:gd name="connsiteX88" fmla="*/ 106067 w 494979"/>
                <a:gd name="connsiteY88" fmla="*/ 614643 h 674476"/>
                <a:gd name="connsiteX89" fmla="*/ 135983 w 494979"/>
                <a:gd name="connsiteY89" fmla="*/ 614643 h 674476"/>
                <a:gd name="connsiteX90" fmla="*/ 171340 w 494979"/>
                <a:gd name="connsiteY90" fmla="*/ 630961 h 674476"/>
                <a:gd name="connsiteX91" fmla="*/ 165900 w 494979"/>
                <a:gd name="connsiteY91" fmla="*/ 647279 h 674476"/>
                <a:gd name="connsiteX92" fmla="*/ 149581 w 494979"/>
                <a:gd name="connsiteY92" fmla="*/ 655438 h 674476"/>
                <a:gd name="connsiteX93" fmla="*/ 127824 w 494979"/>
                <a:gd name="connsiteY93" fmla="*/ 658158 h 674476"/>
                <a:gd name="connsiteX94" fmla="*/ 106067 w 494979"/>
                <a:gd name="connsiteY94" fmla="*/ 658158 h 674476"/>
                <a:gd name="connsiteX95" fmla="*/ 62552 w 494979"/>
                <a:gd name="connsiteY95" fmla="*/ 658158 h 674476"/>
                <a:gd name="connsiteX96" fmla="*/ 40795 w 494979"/>
                <a:gd name="connsiteY96" fmla="*/ 658158 h 674476"/>
                <a:gd name="connsiteX97" fmla="*/ 16318 w 494979"/>
                <a:gd name="connsiteY97" fmla="*/ 652718 h 674476"/>
                <a:gd name="connsiteX98" fmla="*/ 0 w 494979"/>
                <a:gd name="connsiteY98" fmla="*/ 636401 h 674476"/>
                <a:gd name="connsiteX99" fmla="*/ 2720 w 494979"/>
                <a:gd name="connsiteY99" fmla="*/ 628241 h 674476"/>
                <a:gd name="connsiteX100" fmla="*/ 24477 w 494979"/>
                <a:gd name="connsiteY100" fmla="*/ 620082 h 674476"/>
                <a:gd name="connsiteX101" fmla="*/ 62552 w 494979"/>
                <a:gd name="connsiteY101" fmla="*/ 617363 h 674476"/>
                <a:gd name="connsiteX102" fmla="*/ 62552 w 494979"/>
                <a:gd name="connsiteY102" fmla="*/ 614643 h 674476"/>
                <a:gd name="connsiteX103" fmla="*/ 65272 w 494979"/>
                <a:gd name="connsiteY103" fmla="*/ 587447 h 674476"/>
                <a:gd name="connsiteX104" fmla="*/ 76151 w 494979"/>
                <a:gd name="connsiteY104" fmla="*/ 522175 h 674476"/>
                <a:gd name="connsiteX105" fmla="*/ 87029 w 494979"/>
                <a:gd name="connsiteY105" fmla="*/ 470501 h 674476"/>
                <a:gd name="connsiteX106" fmla="*/ 92469 w 494979"/>
                <a:gd name="connsiteY106" fmla="*/ 446025 h 674476"/>
                <a:gd name="connsiteX107" fmla="*/ 65272 w 494979"/>
                <a:gd name="connsiteY107" fmla="*/ 432426 h 674476"/>
                <a:gd name="connsiteX108" fmla="*/ 54393 w 494979"/>
                <a:gd name="connsiteY108" fmla="*/ 421548 h 674476"/>
                <a:gd name="connsiteX109" fmla="*/ 73431 w 494979"/>
                <a:gd name="connsiteY109" fmla="*/ 407949 h 674476"/>
                <a:gd name="connsiteX110" fmla="*/ 100628 w 494979"/>
                <a:gd name="connsiteY110" fmla="*/ 399790 h 674476"/>
                <a:gd name="connsiteX111" fmla="*/ 108787 w 494979"/>
                <a:gd name="connsiteY111" fmla="*/ 369874 h 674476"/>
                <a:gd name="connsiteX112" fmla="*/ 125105 w 494979"/>
                <a:gd name="connsiteY112" fmla="*/ 307322 h 674476"/>
                <a:gd name="connsiteX113" fmla="*/ 141423 w 494979"/>
                <a:gd name="connsiteY113" fmla="*/ 242051 h 674476"/>
                <a:gd name="connsiteX114" fmla="*/ 155021 w 494979"/>
                <a:gd name="connsiteY114" fmla="*/ 179498 h 674476"/>
                <a:gd name="connsiteX115" fmla="*/ 168620 w 494979"/>
                <a:gd name="connsiteY115" fmla="*/ 119665 h 674476"/>
                <a:gd name="connsiteX116" fmla="*/ 193097 w 494979"/>
                <a:gd name="connsiteY116" fmla="*/ 57113 h 674476"/>
                <a:gd name="connsiteX117" fmla="*/ 201256 w 494979"/>
                <a:gd name="connsiteY117" fmla="*/ 38075 h 674476"/>
                <a:gd name="connsiteX118" fmla="*/ 217574 w 494979"/>
                <a:gd name="connsiteY118" fmla="*/ 13598 h 674476"/>
                <a:gd name="connsiteX119" fmla="*/ 274687 w 494979"/>
                <a:gd name="connsiteY119" fmla="*/ 0 h 6744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</a:cxnLst>
              <a:rect l="l" t="t" r="r" b="b"/>
              <a:pathLst>
                <a:path w="494979" h="674476">
                  <a:moveTo>
                    <a:pt x="228453" y="97907"/>
                  </a:moveTo>
                  <a:cubicBezTo>
                    <a:pt x="220294" y="97907"/>
                    <a:pt x="212135" y="114225"/>
                    <a:pt x="212135" y="119665"/>
                  </a:cubicBezTo>
                  <a:cubicBezTo>
                    <a:pt x="209415" y="130543"/>
                    <a:pt x="206696" y="144141"/>
                    <a:pt x="203976" y="152300"/>
                  </a:cubicBezTo>
                  <a:cubicBezTo>
                    <a:pt x="201256" y="157740"/>
                    <a:pt x="201256" y="163179"/>
                    <a:pt x="201256" y="168618"/>
                  </a:cubicBezTo>
                  <a:cubicBezTo>
                    <a:pt x="201256" y="174058"/>
                    <a:pt x="198537" y="179497"/>
                    <a:pt x="198537" y="184936"/>
                  </a:cubicBezTo>
                  <a:cubicBezTo>
                    <a:pt x="195817" y="195815"/>
                    <a:pt x="193097" y="209413"/>
                    <a:pt x="190378" y="220292"/>
                  </a:cubicBezTo>
                  <a:cubicBezTo>
                    <a:pt x="187658" y="244769"/>
                    <a:pt x="179499" y="269246"/>
                    <a:pt x="171340" y="291003"/>
                  </a:cubicBezTo>
                  <a:cubicBezTo>
                    <a:pt x="168620" y="301881"/>
                    <a:pt x="165900" y="312760"/>
                    <a:pt x="163180" y="323639"/>
                  </a:cubicBezTo>
                  <a:cubicBezTo>
                    <a:pt x="160461" y="337237"/>
                    <a:pt x="157741" y="348115"/>
                    <a:pt x="152302" y="361714"/>
                  </a:cubicBezTo>
                  <a:cubicBezTo>
                    <a:pt x="149582" y="367153"/>
                    <a:pt x="146862" y="383471"/>
                    <a:pt x="146862" y="388910"/>
                  </a:cubicBezTo>
                  <a:cubicBezTo>
                    <a:pt x="146862" y="391630"/>
                    <a:pt x="149582" y="391630"/>
                    <a:pt x="152302" y="391630"/>
                  </a:cubicBezTo>
                  <a:cubicBezTo>
                    <a:pt x="157741" y="391630"/>
                    <a:pt x="171340" y="391630"/>
                    <a:pt x="174060" y="391630"/>
                  </a:cubicBezTo>
                  <a:cubicBezTo>
                    <a:pt x="182219" y="391630"/>
                    <a:pt x="190378" y="391630"/>
                    <a:pt x="195817" y="388910"/>
                  </a:cubicBezTo>
                  <a:cubicBezTo>
                    <a:pt x="201256" y="388910"/>
                    <a:pt x="206696" y="388910"/>
                    <a:pt x="214855" y="388910"/>
                  </a:cubicBezTo>
                  <a:cubicBezTo>
                    <a:pt x="220294" y="388910"/>
                    <a:pt x="228453" y="388910"/>
                    <a:pt x="239332" y="388910"/>
                  </a:cubicBezTo>
                  <a:cubicBezTo>
                    <a:pt x="244771" y="388910"/>
                    <a:pt x="250210" y="388910"/>
                    <a:pt x="252930" y="386191"/>
                  </a:cubicBezTo>
                  <a:cubicBezTo>
                    <a:pt x="258369" y="391630"/>
                    <a:pt x="261089" y="388910"/>
                    <a:pt x="261089" y="386191"/>
                  </a:cubicBezTo>
                  <a:cubicBezTo>
                    <a:pt x="261089" y="380751"/>
                    <a:pt x="258369" y="372592"/>
                    <a:pt x="258369" y="367153"/>
                  </a:cubicBezTo>
                  <a:cubicBezTo>
                    <a:pt x="255650" y="353555"/>
                    <a:pt x="252930" y="342676"/>
                    <a:pt x="252930" y="331797"/>
                  </a:cubicBezTo>
                  <a:cubicBezTo>
                    <a:pt x="252930" y="301881"/>
                    <a:pt x="252930" y="274685"/>
                    <a:pt x="250210" y="244769"/>
                  </a:cubicBezTo>
                  <a:cubicBezTo>
                    <a:pt x="250210" y="231170"/>
                    <a:pt x="247491" y="217572"/>
                    <a:pt x="244771" y="203974"/>
                  </a:cubicBezTo>
                  <a:cubicBezTo>
                    <a:pt x="242051" y="187656"/>
                    <a:pt x="239332" y="174058"/>
                    <a:pt x="239332" y="157740"/>
                  </a:cubicBezTo>
                  <a:cubicBezTo>
                    <a:pt x="239332" y="152300"/>
                    <a:pt x="239332" y="133263"/>
                    <a:pt x="236612" y="119665"/>
                  </a:cubicBezTo>
                  <a:cubicBezTo>
                    <a:pt x="236612" y="106066"/>
                    <a:pt x="233892" y="97907"/>
                    <a:pt x="228453" y="97907"/>
                  </a:cubicBezTo>
                  <a:close/>
                  <a:moveTo>
                    <a:pt x="274687" y="0"/>
                  </a:moveTo>
                  <a:cubicBezTo>
                    <a:pt x="288285" y="0"/>
                    <a:pt x="293724" y="2720"/>
                    <a:pt x="304603" y="5439"/>
                  </a:cubicBezTo>
                  <a:cubicBezTo>
                    <a:pt x="315482" y="10879"/>
                    <a:pt x="315482" y="16318"/>
                    <a:pt x="320921" y="24477"/>
                  </a:cubicBezTo>
                  <a:cubicBezTo>
                    <a:pt x="326360" y="29916"/>
                    <a:pt x="331800" y="35356"/>
                    <a:pt x="334519" y="43515"/>
                  </a:cubicBezTo>
                  <a:cubicBezTo>
                    <a:pt x="337239" y="51674"/>
                    <a:pt x="337239" y="57113"/>
                    <a:pt x="339959" y="65272"/>
                  </a:cubicBezTo>
                  <a:cubicBezTo>
                    <a:pt x="345398" y="78870"/>
                    <a:pt x="342678" y="97908"/>
                    <a:pt x="348118" y="114226"/>
                  </a:cubicBezTo>
                  <a:cubicBezTo>
                    <a:pt x="350837" y="130544"/>
                    <a:pt x="358996" y="146863"/>
                    <a:pt x="361716" y="163180"/>
                  </a:cubicBezTo>
                  <a:cubicBezTo>
                    <a:pt x="364435" y="182218"/>
                    <a:pt x="364435" y="201256"/>
                    <a:pt x="369875" y="220293"/>
                  </a:cubicBezTo>
                  <a:cubicBezTo>
                    <a:pt x="375314" y="239331"/>
                    <a:pt x="378034" y="255649"/>
                    <a:pt x="378034" y="274686"/>
                  </a:cubicBezTo>
                  <a:cubicBezTo>
                    <a:pt x="378034" y="282845"/>
                    <a:pt x="380753" y="293724"/>
                    <a:pt x="383473" y="301883"/>
                  </a:cubicBezTo>
                  <a:cubicBezTo>
                    <a:pt x="386193" y="312762"/>
                    <a:pt x="388912" y="326360"/>
                    <a:pt x="391632" y="337238"/>
                  </a:cubicBezTo>
                  <a:cubicBezTo>
                    <a:pt x="391632" y="342678"/>
                    <a:pt x="394352" y="353556"/>
                    <a:pt x="397071" y="364435"/>
                  </a:cubicBezTo>
                  <a:cubicBezTo>
                    <a:pt x="399791" y="372594"/>
                    <a:pt x="402511" y="380753"/>
                    <a:pt x="405230" y="383473"/>
                  </a:cubicBezTo>
                  <a:cubicBezTo>
                    <a:pt x="407950" y="386192"/>
                    <a:pt x="413389" y="386192"/>
                    <a:pt x="416109" y="386192"/>
                  </a:cubicBezTo>
                  <a:cubicBezTo>
                    <a:pt x="418829" y="386192"/>
                    <a:pt x="424268" y="386192"/>
                    <a:pt x="426988" y="386192"/>
                  </a:cubicBezTo>
                  <a:cubicBezTo>
                    <a:pt x="437866" y="386192"/>
                    <a:pt x="448745" y="388912"/>
                    <a:pt x="454184" y="397071"/>
                  </a:cubicBezTo>
                  <a:cubicBezTo>
                    <a:pt x="456904" y="399790"/>
                    <a:pt x="456904" y="402510"/>
                    <a:pt x="456904" y="405230"/>
                  </a:cubicBezTo>
                  <a:cubicBezTo>
                    <a:pt x="456904" y="407949"/>
                    <a:pt x="454184" y="410669"/>
                    <a:pt x="451465" y="416108"/>
                  </a:cubicBezTo>
                  <a:cubicBezTo>
                    <a:pt x="446025" y="421548"/>
                    <a:pt x="440586" y="426987"/>
                    <a:pt x="432427" y="429707"/>
                  </a:cubicBezTo>
                  <a:cubicBezTo>
                    <a:pt x="429707" y="429707"/>
                    <a:pt x="426988" y="432426"/>
                    <a:pt x="421548" y="432426"/>
                  </a:cubicBezTo>
                  <a:cubicBezTo>
                    <a:pt x="418829" y="432426"/>
                    <a:pt x="416109" y="432426"/>
                    <a:pt x="413389" y="435146"/>
                  </a:cubicBezTo>
                  <a:cubicBezTo>
                    <a:pt x="413389" y="435146"/>
                    <a:pt x="413389" y="437866"/>
                    <a:pt x="413389" y="440585"/>
                  </a:cubicBezTo>
                  <a:cubicBezTo>
                    <a:pt x="413389" y="443305"/>
                    <a:pt x="413389" y="448744"/>
                    <a:pt x="416109" y="451464"/>
                  </a:cubicBezTo>
                  <a:cubicBezTo>
                    <a:pt x="416109" y="456903"/>
                    <a:pt x="418829" y="462343"/>
                    <a:pt x="418829" y="465062"/>
                  </a:cubicBezTo>
                  <a:lnTo>
                    <a:pt x="418829" y="475941"/>
                  </a:lnTo>
                  <a:cubicBezTo>
                    <a:pt x="418829" y="481380"/>
                    <a:pt x="418829" y="484100"/>
                    <a:pt x="418829" y="486820"/>
                  </a:cubicBezTo>
                  <a:cubicBezTo>
                    <a:pt x="421548" y="497698"/>
                    <a:pt x="424268" y="505857"/>
                    <a:pt x="426988" y="516736"/>
                  </a:cubicBezTo>
                  <a:cubicBezTo>
                    <a:pt x="426988" y="524895"/>
                    <a:pt x="429707" y="535773"/>
                    <a:pt x="432427" y="543932"/>
                  </a:cubicBezTo>
                  <a:cubicBezTo>
                    <a:pt x="435147" y="554811"/>
                    <a:pt x="437866" y="562970"/>
                    <a:pt x="437866" y="573848"/>
                  </a:cubicBezTo>
                  <a:cubicBezTo>
                    <a:pt x="437866" y="587447"/>
                    <a:pt x="440586" y="595606"/>
                    <a:pt x="443306" y="606484"/>
                  </a:cubicBezTo>
                  <a:cubicBezTo>
                    <a:pt x="443306" y="609204"/>
                    <a:pt x="446025" y="614643"/>
                    <a:pt x="446025" y="617363"/>
                  </a:cubicBezTo>
                  <a:cubicBezTo>
                    <a:pt x="454184" y="617363"/>
                    <a:pt x="462343" y="617363"/>
                    <a:pt x="470502" y="617363"/>
                  </a:cubicBezTo>
                  <a:cubicBezTo>
                    <a:pt x="478661" y="625522"/>
                    <a:pt x="492259" y="630961"/>
                    <a:pt x="494979" y="641840"/>
                  </a:cubicBezTo>
                  <a:cubicBezTo>
                    <a:pt x="494979" y="647279"/>
                    <a:pt x="489540" y="649999"/>
                    <a:pt x="486820" y="655438"/>
                  </a:cubicBezTo>
                  <a:cubicBezTo>
                    <a:pt x="484100" y="660877"/>
                    <a:pt x="475942" y="663597"/>
                    <a:pt x="470502" y="663597"/>
                  </a:cubicBezTo>
                  <a:cubicBezTo>
                    <a:pt x="459623" y="666317"/>
                    <a:pt x="454184" y="666317"/>
                    <a:pt x="446025" y="666317"/>
                  </a:cubicBezTo>
                  <a:cubicBezTo>
                    <a:pt x="440586" y="666317"/>
                    <a:pt x="432427" y="666317"/>
                    <a:pt x="424268" y="666317"/>
                  </a:cubicBezTo>
                  <a:cubicBezTo>
                    <a:pt x="421548" y="666317"/>
                    <a:pt x="418829" y="666317"/>
                    <a:pt x="416109" y="666317"/>
                  </a:cubicBezTo>
                  <a:cubicBezTo>
                    <a:pt x="410670" y="669036"/>
                    <a:pt x="407950" y="669036"/>
                    <a:pt x="402511" y="671756"/>
                  </a:cubicBezTo>
                  <a:cubicBezTo>
                    <a:pt x="397071" y="671756"/>
                    <a:pt x="391632" y="674476"/>
                    <a:pt x="386193" y="674476"/>
                  </a:cubicBezTo>
                  <a:cubicBezTo>
                    <a:pt x="375314" y="674476"/>
                    <a:pt x="361716" y="671756"/>
                    <a:pt x="350837" y="669036"/>
                  </a:cubicBezTo>
                  <a:cubicBezTo>
                    <a:pt x="342678" y="669036"/>
                    <a:pt x="334519" y="669036"/>
                    <a:pt x="329080" y="669036"/>
                  </a:cubicBezTo>
                  <a:cubicBezTo>
                    <a:pt x="307323" y="669036"/>
                    <a:pt x="288285" y="669036"/>
                    <a:pt x="280126" y="669036"/>
                  </a:cubicBezTo>
                  <a:cubicBezTo>
                    <a:pt x="271967" y="669036"/>
                    <a:pt x="261088" y="669036"/>
                    <a:pt x="255649" y="663597"/>
                  </a:cubicBezTo>
                  <a:cubicBezTo>
                    <a:pt x="250210" y="660877"/>
                    <a:pt x="239331" y="655438"/>
                    <a:pt x="239331" y="647279"/>
                  </a:cubicBezTo>
                  <a:cubicBezTo>
                    <a:pt x="239331" y="636401"/>
                    <a:pt x="255649" y="633681"/>
                    <a:pt x="263808" y="630961"/>
                  </a:cubicBezTo>
                  <a:cubicBezTo>
                    <a:pt x="269247" y="630961"/>
                    <a:pt x="277406" y="630961"/>
                    <a:pt x="291005" y="628241"/>
                  </a:cubicBezTo>
                  <a:cubicBezTo>
                    <a:pt x="291005" y="620082"/>
                    <a:pt x="291005" y="614643"/>
                    <a:pt x="288285" y="609204"/>
                  </a:cubicBezTo>
                  <a:cubicBezTo>
                    <a:pt x="288285" y="601045"/>
                    <a:pt x="285565" y="590166"/>
                    <a:pt x="285565" y="582007"/>
                  </a:cubicBezTo>
                  <a:cubicBezTo>
                    <a:pt x="285565" y="576568"/>
                    <a:pt x="282846" y="573848"/>
                    <a:pt x="282846" y="568409"/>
                  </a:cubicBezTo>
                  <a:cubicBezTo>
                    <a:pt x="282846" y="562970"/>
                    <a:pt x="285565" y="557531"/>
                    <a:pt x="285565" y="554811"/>
                  </a:cubicBezTo>
                  <a:cubicBezTo>
                    <a:pt x="285565" y="549371"/>
                    <a:pt x="282846" y="546652"/>
                    <a:pt x="280126" y="538493"/>
                  </a:cubicBezTo>
                  <a:cubicBezTo>
                    <a:pt x="280126" y="527614"/>
                    <a:pt x="274687" y="516736"/>
                    <a:pt x="274687" y="505857"/>
                  </a:cubicBezTo>
                  <a:cubicBezTo>
                    <a:pt x="274687" y="494978"/>
                    <a:pt x="274687" y="486820"/>
                    <a:pt x="271967" y="478660"/>
                  </a:cubicBezTo>
                  <a:cubicBezTo>
                    <a:pt x="269247" y="467782"/>
                    <a:pt x="269247" y="456903"/>
                    <a:pt x="269247" y="446025"/>
                  </a:cubicBezTo>
                  <a:cubicBezTo>
                    <a:pt x="269247" y="440585"/>
                    <a:pt x="266528" y="437866"/>
                    <a:pt x="263808" y="437866"/>
                  </a:cubicBezTo>
                  <a:cubicBezTo>
                    <a:pt x="261088" y="437866"/>
                    <a:pt x="258369" y="437866"/>
                    <a:pt x="252929" y="437866"/>
                  </a:cubicBezTo>
                  <a:cubicBezTo>
                    <a:pt x="242051" y="437866"/>
                    <a:pt x="231172" y="437866"/>
                    <a:pt x="223013" y="440585"/>
                  </a:cubicBezTo>
                  <a:cubicBezTo>
                    <a:pt x="212135" y="440585"/>
                    <a:pt x="203976" y="443305"/>
                    <a:pt x="193097" y="443305"/>
                  </a:cubicBezTo>
                  <a:cubicBezTo>
                    <a:pt x="184938" y="443305"/>
                    <a:pt x="176779" y="443305"/>
                    <a:pt x="168620" y="443305"/>
                  </a:cubicBezTo>
                  <a:cubicBezTo>
                    <a:pt x="165900" y="443305"/>
                    <a:pt x="155021" y="440585"/>
                    <a:pt x="146862" y="440585"/>
                  </a:cubicBezTo>
                  <a:cubicBezTo>
                    <a:pt x="138703" y="440585"/>
                    <a:pt x="138703" y="448744"/>
                    <a:pt x="138703" y="454184"/>
                  </a:cubicBezTo>
                  <a:cubicBezTo>
                    <a:pt x="138703" y="465062"/>
                    <a:pt x="135983" y="475941"/>
                    <a:pt x="133263" y="486820"/>
                  </a:cubicBezTo>
                  <a:cubicBezTo>
                    <a:pt x="130544" y="505857"/>
                    <a:pt x="125105" y="522175"/>
                    <a:pt x="122385" y="541213"/>
                  </a:cubicBezTo>
                  <a:cubicBezTo>
                    <a:pt x="119665" y="560250"/>
                    <a:pt x="111506" y="595606"/>
                    <a:pt x="106067" y="614643"/>
                  </a:cubicBezTo>
                  <a:cubicBezTo>
                    <a:pt x="114226" y="614643"/>
                    <a:pt x="125105" y="614643"/>
                    <a:pt x="135983" y="614643"/>
                  </a:cubicBezTo>
                  <a:cubicBezTo>
                    <a:pt x="149581" y="614643"/>
                    <a:pt x="171340" y="614643"/>
                    <a:pt x="171340" y="630961"/>
                  </a:cubicBezTo>
                  <a:cubicBezTo>
                    <a:pt x="171340" y="639120"/>
                    <a:pt x="168620" y="639120"/>
                    <a:pt x="165900" y="647279"/>
                  </a:cubicBezTo>
                  <a:cubicBezTo>
                    <a:pt x="163181" y="652718"/>
                    <a:pt x="155021" y="655438"/>
                    <a:pt x="149581" y="655438"/>
                  </a:cubicBezTo>
                  <a:cubicBezTo>
                    <a:pt x="141423" y="658158"/>
                    <a:pt x="135983" y="658158"/>
                    <a:pt x="127824" y="658158"/>
                  </a:cubicBezTo>
                  <a:cubicBezTo>
                    <a:pt x="122385" y="658158"/>
                    <a:pt x="116946" y="658158"/>
                    <a:pt x="106067" y="658158"/>
                  </a:cubicBezTo>
                  <a:cubicBezTo>
                    <a:pt x="92469" y="658158"/>
                    <a:pt x="78870" y="658158"/>
                    <a:pt x="62552" y="658158"/>
                  </a:cubicBezTo>
                  <a:cubicBezTo>
                    <a:pt x="54393" y="658158"/>
                    <a:pt x="46234" y="658158"/>
                    <a:pt x="40795" y="658158"/>
                  </a:cubicBezTo>
                  <a:cubicBezTo>
                    <a:pt x="32636" y="658158"/>
                    <a:pt x="21758" y="658158"/>
                    <a:pt x="16318" y="652718"/>
                  </a:cubicBezTo>
                  <a:cubicBezTo>
                    <a:pt x="8159" y="649999"/>
                    <a:pt x="0" y="641840"/>
                    <a:pt x="0" y="636401"/>
                  </a:cubicBezTo>
                  <a:cubicBezTo>
                    <a:pt x="0" y="633681"/>
                    <a:pt x="0" y="630961"/>
                    <a:pt x="2720" y="628241"/>
                  </a:cubicBezTo>
                  <a:cubicBezTo>
                    <a:pt x="8159" y="625522"/>
                    <a:pt x="16318" y="622802"/>
                    <a:pt x="24477" y="620082"/>
                  </a:cubicBezTo>
                  <a:cubicBezTo>
                    <a:pt x="38075" y="617363"/>
                    <a:pt x="48954" y="617363"/>
                    <a:pt x="62552" y="617363"/>
                  </a:cubicBezTo>
                  <a:cubicBezTo>
                    <a:pt x="62552" y="617363"/>
                    <a:pt x="62552" y="614643"/>
                    <a:pt x="62552" y="614643"/>
                  </a:cubicBezTo>
                  <a:cubicBezTo>
                    <a:pt x="62552" y="603765"/>
                    <a:pt x="65272" y="590166"/>
                    <a:pt x="65272" y="587447"/>
                  </a:cubicBezTo>
                  <a:cubicBezTo>
                    <a:pt x="67992" y="565689"/>
                    <a:pt x="73431" y="543932"/>
                    <a:pt x="76151" y="522175"/>
                  </a:cubicBezTo>
                  <a:cubicBezTo>
                    <a:pt x="78870" y="505857"/>
                    <a:pt x="81590" y="486820"/>
                    <a:pt x="87029" y="470501"/>
                  </a:cubicBezTo>
                  <a:cubicBezTo>
                    <a:pt x="87029" y="465062"/>
                    <a:pt x="92469" y="451464"/>
                    <a:pt x="92469" y="446025"/>
                  </a:cubicBezTo>
                  <a:cubicBezTo>
                    <a:pt x="92469" y="437866"/>
                    <a:pt x="73431" y="437866"/>
                    <a:pt x="65272" y="432426"/>
                  </a:cubicBezTo>
                  <a:cubicBezTo>
                    <a:pt x="59833" y="429707"/>
                    <a:pt x="54393" y="426987"/>
                    <a:pt x="54393" y="421548"/>
                  </a:cubicBezTo>
                  <a:cubicBezTo>
                    <a:pt x="54393" y="413389"/>
                    <a:pt x="62552" y="410669"/>
                    <a:pt x="73431" y="407949"/>
                  </a:cubicBezTo>
                  <a:cubicBezTo>
                    <a:pt x="78870" y="407949"/>
                    <a:pt x="92469" y="405230"/>
                    <a:pt x="100628" y="399790"/>
                  </a:cubicBezTo>
                  <a:cubicBezTo>
                    <a:pt x="106067" y="394351"/>
                    <a:pt x="106067" y="378033"/>
                    <a:pt x="108787" y="369874"/>
                  </a:cubicBezTo>
                  <a:cubicBezTo>
                    <a:pt x="114226" y="348117"/>
                    <a:pt x="119665" y="326360"/>
                    <a:pt x="125105" y="307322"/>
                  </a:cubicBezTo>
                  <a:cubicBezTo>
                    <a:pt x="130544" y="285565"/>
                    <a:pt x="135983" y="263808"/>
                    <a:pt x="141423" y="242051"/>
                  </a:cubicBezTo>
                  <a:cubicBezTo>
                    <a:pt x="146862" y="220293"/>
                    <a:pt x="152301" y="198536"/>
                    <a:pt x="155021" y="179498"/>
                  </a:cubicBezTo>
                  <a:cubicBezTo>
                    <a:pt x="157740" y="160461"/>
                    <a:pt x="163181" y="138703"/>
                    <a:pt x="168620" y="119665"/>
                  </a:cubicBezTo>
                  <a:cubicBezTo>
                    <a:pt x="176779" y="100627"/>
                    <a:pt x="182218" y="76150"/>
                    <a:pt x="193097" y="57113"/>
                  </a:cubicBezTo>
                  <a:lnTo>
                    <a:pt x="201256" y="38075"/>
                  </a:lnTo>
                  <a:cubicBezTo>
                    <a:pt x="206695" y="29916"/>
                    <a:pt x="209415" y="19038"/>
                    <a:pt x="217574" y="13598"/>
                  </a:cubicBezTo>
                  <a:cubicBezTo>
                    <a:pt x="231172" y="2720"/>
                    <a:pt x="255649" y="0"/>
                    <a:pt x="274687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7" name="Freeform: Shape 36">
              <a:extLst>
                <a:ext uri="{FF2B5EF4-FFF2-40B4-BE49-F238E27FC236}">
                  <a16:creationId xmlns:a16="http://schemas.microsoft.com/office/drawing/2014/main" id="{0195EC85-116E-4D1D-AAC5-E1EE778E9F14}"/>
                </a:ext>
              </a:extLst>
            </p:cNvPr>
            <p:cNvSpPr/>
            <p:nvPr/>
          </p:nvSpPr>
          <p:spPr>
            <a:xfrm>
              <a:off x="3443268" y="4186718"/>
              <a:ext cx="435145" cy="761503"/>
            </a:xfrm>
            <a:custGeom>
              <a:avLst/>
              <a:gdLst>
                <a:gd name="connsiteX0" fmla="*/ 400855 w 435145"/>
                <a:gd name="connsiteY0" fmla="*/ 678260 h 761503"/>
                <a:gd name="connsiteX1" fmla="*/ 384537 w 435145"/>
                <a:gd name="connsiteY1" fmla="*/ 719054 h 761503"/>
                <a:gd name="connsiteX2" fmla="*/ 368219 w 435145"/>
                <a:gd name="connsiteY2" fmla="*/ 713615 h 761503"/>
                <a:gd name="connsiteX3" fmla="*/ 360060 w 435145"/>
                <a:gd name="connsiteY3" fmla="*/ 697297 h 761503"/>
                <a:gd name="connsiteX4" fmla="*/ 360060 w 435145"/>
                <a:gd name="connsiteY4" fmla="*/ 651063 h 761503"/>
                <a:gd name="connsiteX5" fmla="*/ 332864 w 435145"/>
                <a:gd name="connsiteY5" fmla="*/ 686418 h 761503"/>
                <a:gd name="connsiteX6" fmla="*/ 251274 w 435145"/>
                <a:gd name="connsiteY6" fmla="*/ 721774 h 761503"/>
                <a:gd name="connsiteX7" fmla="*/ 229517 w 435145"/>
                <a:gd name="connsiteY7" fmla="*/ 719054 h 761503"/>
                <a:gd name="connsiteX8" fmla="*/ 158806 w 435145"/>
                <a:gd name="connsiteY8" fmla="*/ 694578 h 761503"/>
                <a:gd name="connsiteX9" fmla="*/ 112571 w 435145"/>
                <a:gd name="connsiteY9" fmla="*/ 659222 h 761503"/>
                <a:gd name="connsiteX10" fmla="*/ 79936 w 435145"/>
                <a:gd name="connsiteY10" fmla="*/ 607548 h 761503"/>
                <a:gd name="connsiteX11" fmla="*/ 63618 w 435145"/>
                <a:gd name="connsiteY11" fmla="*/ 542277 h 761503"/>
                <a:gd name="connsiteX12" fmla="*/ 58178 w 435145"/>
                <a:gd name="connsiteY12" fmla="*/ 471566 h 761503"/>
                <a:gd name="connsiteX13" fmla="*/ 60898 w 435145"/>
                <a:gd name="connsiteY13" fmla="*/ 400855 h 761503"/>
                <a:gd name="connsiteX14" fmla="*/ 66337 w 435145"/>
                <a:gd name="connsiteY14" fmla="*/ 335583 h 761503"/>
                <a:gd name="connsiteX15" fmla="*/ 85375 w 435145"/>
                <a:gd name="connsiteY15" fmla="*/ 267592 h 761503"/>
                <a:gd name="connsiteX16" fmla="*/ 109852 w 435145"/>
                <a:gd name="connsiteY16" fmla="*/ 199600 h 761503"/>
                <a:gd name="connsiteX17" fmla="*/ 145207 w 435145"/>
                <a:gd name="connsiteY17" fmla="*/ 145207 h 761503"/>
                <a:gd name="connsiteX18" fmla="*/ 188722 w 435145"/>
                <a:gd name="connsiteY18" fmla="*/ 96253 h 761503"/>
                <a:gd name="connsiteX19" fmla="*/ 243115 w 435145"/>
                <a:gd name="connsiteY19" fmla="*/ 71776 h 761503"/>
                <a:gd name="connsiteX20" fmla="*/ 286630 w 435145"/>
                <a:gd name="connsiteY20" fmla="*/ 63617 h 761503"/>
                <a:gd name="connsiteX21" fmla="*/ 305667 w 435145"/>
                <a:gd name="connsiteY21" fmla="*/ 66337 h 761503"/>
                <a:gd name="connsiteX22" fmla="*/ 324705 w 435145"/>
                <a:gd name="connsiteY22" fmla="*/ 79936 h 761503"/>
                <a:gd name="connsiteX23" fmla="*/ 341023 w 435145"/>
                <a:gd name="connsiteY23" fmla="*/ 101693 h 761503"/>
                <a:gd name="connsiteX24" fmla="*/ 354621 w 435145"/>
                <a:gd name="connsiteY24" fmla="*/ 123450 h 761503"/>
                <a:gd name="connsiteX25" fmla="*/ 354621 w 435145"/>
                <a:gd name="connsiteY25" fmla="*/ 98973 h 761503"/>
                <a:gd name="connsiteX26" fmla="*/ 360060 w 435145"/>
                <a:gd name="connsiteY26" fmla="*/ 74496 h 761503"/>
                <a:gd name="connsiteX27" fmla="*/ 365500 w 435145"/>
                <a:gd name="connsiteY27" fmla="*/ 63617 h 761503"/>
                <a:gd name="connsiteX28" fmla="*/ 373659 w 435145"/>
                <a:gd name="connsiteY28" fmla="*/ 58178 h 761503"/>
                <a:gd name="connsiteX29" fmla="*/ 381818 w 435145"/>
                <a:gd name="connsiteY29" fmla="*/ 63617 h 761503"/>
                <a:gd name="connsiteX30" fmla="*/ 389977 w 435145"/>
                <a:gd name="connsiteY30" fmla="*/ 82655 h 761503"/>
                <a:gd name="connsiteX31" fmla="*/ 392696 w 435145"/>
                <a:gd name="connsiteY31" fmla="*/ 126170 h 761503"/>
                <a:gd name="connsiteX32" fmla="*/ 395416 w 435145"/>
                <a:gd name="connsiteY32" fmla="*/ 186002 h 761503"/>
                <a:gd name="connsiteX33" fmla="*/ 398136 w 435145"/>
                <a:gd name="connsiteY33" fmla="*/ 237675 h 761503"/>
                <a:gd name="connsiteX34" fmla="*/ 398136 w 435145"/>
                <a:gd name="connsiteY34" fmla="*/ 243115 h 761503"/>
                <a:gd name="connsiteX35" fmla="*/ 395416 w 435145"/>
                <a:gd name="connsiteY35" fmla="*/ 256713 h 761503"/>
                <a:gd name="connsiteX36" fmla="*/ 379098 w 435145"/>
                <a:gd name="connsiteY36" fmla="*/ 278470 h 761503"/>
                <a:gd name="connsiteX37" fmla="*/ 362780 w 435145"/>
                <a:gd name="connsiteY37" fmla="*/ 273031 h 761503"/>
                <a:gd name="connsiteX38" fmla="*/ 354621 w 435145"/>
                <a:gd name="connsiteY38" fmla="*/ 256713 h 761503"/>
                <a:gd name="connsiteX39" fmla="*/ 354621 w 435145"/>
                <a:gd name="connsiteY39" fmla="*/ 213198 h 761503"/>
                <a:gd name="connsiteX40" fmla="*/ 354621 w 435145"/>
                <a:gd name="connsiteY40" fmla="*/ 205040 h 761503"/>
                <a:gd name="connsiteX41" fmla="*/ 338303 w 435145"/>
                <a:gd name="connsiteY41" fmla="*/ 147927 h 761503"/>
                <a:gd name="connsiteX42" fmla="*/ 292069 w 435145"/>
                <a:gd name="connsiteY42" fmla="*/ 107132 h 761503"/>
                <a:gd name="connsiteX43" fmla="*/ 262153 w 435145"/>
                <a:gd name="connsiteY43" fmla="*/ 120730 h 761503"/>
                <a:gd name="connsiteX44" fmla="*/ 251274 w 435145"/>
                <a:gd name="connsiteY44" fmla="*/ 131609 h 761503"/>
                <a:gd name="connsiteX45" fmla="*/ 240395 w 435145"/>
                <a:gd name="connsiteY45" fmla="*/ 139768 h 761503"/>
                <a:gd name="connsiteX46" fmla="*/ 237676 w 435145"/>
                <a:gd name="connsiteY46" fmla="*/ 164245 h 761503"/>
                <a:gd name="connsiteX47" fmla="*/ 226797 w 435145"/>
                <a:gd name="connsiteY47" fmla="*/ 196881 h 761503"/>
                <a:gd name="connsiteX48" fmla="*/ 213199 w 435145"/>
                <a:gd name="connsiteY48" fmla="*/ 259433 h 761503"/>
                <a:gd name="connsiteX49" fmla="*/ 207759 w 435145"/>
                <a:gd name="connsiteY49" fmla="*/ 324704 h 761503"/>
                <a:gd name="connsiteX50" fmla="*/ 207759 w 435145"/>
                <a:gd name="connsiteY50" fmla="*/ 335583 h 761503"/>
                <a:gd name="connsiteX51" fmla="*/ 205040 w 435145"/>
                <a:gd name="connsiteY51" fmla="*/ 349181 h 761503"/>
                <a:gd name="connsiteX52" fmla="*/ 207759 w 435145"/>
                <a:gd name="connsiteY52" fmla="*/ 368219 h 761503"/>
                <a:gd name="connsiteX53" fmla="*/ 207759 w 435145"/>
                <a:gd name="connsiteY53" fmla="*/ 376378 h 761503"/>
                <a:gd name="connsiteX54" fmla="*/ 205040 w 435145"/>
                <a:gd name="connsiteY54" fmla="*/ 387256 h 761503"/>
                <a:gd name="connsiteX55" fmla="*/ 205040 w 435145"/>
                <a:gd name="connsiteY55" fmla="*/ 395415 h 761503"/>
                <a:gd name="connsiteX56" fmla="*/ 205040 w 435145"/>
                <a:gd name="connsiteY56" fmla="*/ 406294 h 761503"/>
                <a:gd name="connsiteX57" fmla="*/ 205040 w 435145"/>
                <a:gd name="connsiteY57" fmla="*/ 425332 h 761503"/>
                <a:gd name="connsiteX58" fmla="*/ 213199 w 435145"/>
                <a:gd name="connsiteY58" fmla="*/ 493323 h 761503"/>
                <a:gd name="connsiteX59" fmla="*/ 221358 w 435145"/>
                <a:gd name="connsiteY59" fmla="*/ 561314 h 761503"/>
                <a:gd name="connsiteX60" fmla="*/ 226797 w 435145"/>
                <a:gd name="connsiteY60" fmla="*/ 591231 h 761503"/>
                <a:gd name="connsiteX61" fmla="*/ 240395 w 435145"/>
                <a:gd name="connsiteY61" fmla="*/ 618427 h 761503"/>
                <a:gd name="connsiteX62" fmla="*/ 283910 w 435145"/>
                <a:gd name="connsiteY62" fmla="*/ 651063 h 761503"/>
                <a:gd name="connsiteX63" fmla="*/ 338303 w 435145"/>
                <a:gd name="connsiteY63" fmla="*/ 612988 h 761503"/>
                <a:gd name="connsiteX64" fmla="*/ 354621 w 435145"/>
                <a:gd name="connsiteY64" fmla="*/ 577632 h 761503"/>
                <a:gd name="connsiteX65" fmla="*/ 357341 w 435145"/>
                <a:gd name="connsiteY65" fmla="*/ 509641 h 761503"/>
                <a:gd name="connsiteX66" fmla="*/ 362780 w 435145"/>
                <a:gd name="connsiteY66" fmla="*/ 485164 h 761503"/>
                <a:gd name="connsiteX67" fmla="*/ 368219 w 435145"/>
                <a:gd name="connsiteY67" fmla="*/ 474286 h 761503"/>
                <a:gd name="connsiteX68" fmla="*/ 376378 w 435145"/>
                <a:gd name="connsiteY68" fmla="*/ 468846 h 761503"/>
                <a:gd name="connsiteX69" fmla="*/ 384537 w 435145"/>
                <a:gd name="connsiteY69" fmla="*/ 474286 h 761503"/>
                <a:gd name="connsiteX70" fmla="*/ 392696 w 435145"/>
                <a:gd name="connsiteY70" fmla="*/ 493323 h 761503"/>
                <a:gd name="connsiteX71" fmla="*/ 395416 w 435145"/>
                <a:gd name="connsiteY71" fmla="*/ 558595 h 761503"/>
                <a:gd name="connsiteX72" fmla="*/ 398136 w 435145"/>
                <a:gd name="connsiteY72" fmla="*/ 618427 h 761503"/>
                <a:gd name="connsiteX73" fmla="*/ 400855 w 435145"/>
                <a:gd name="connsiteY73" fmla="*/ 678260 h 761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</a:cxnLst>
              <a:rect l="l" t="t" r="r" b="b"/>
              <a:pathLst>
                <a:path w="435145" h="761503">
                  <a:moveTo>
                    <a:pt x="400855" y="678260"/>
                  </a:moveTo>
                  <a:cubicBezTo>
                    <a:pt x="400855" y="689138"/>
                    <a:pt x="400855" y="719054"/>
                    <a:pt x="384537" y="719054"/>
                  </a:cubicBezTo>
                  <a:cubicBezTo>
                    <a:pt x="376378" y="719054"/>
                    <a:pt x="373659" y="716335"/>
                    <a:pt x="368219" y="713615"/>
                  </a:cubicBezTo>
                  <a:cubicBezTo>
                    <a:pt x="362780" y="710895"/>
                    <a:pt x="360060" y="702736"/>
                    <a:pt x="360060" y="697297"/>
                  </a:cubicBezTo>
                  <a:cubicBezTo>
                    <a:pt x="357341" y="680979"/>
                    <a:pt x="357341" y="664661"/>
                    <a:pt x="360060" y="651063"/>
                  </a:cubicBezTo>
                  <a:cubicBezTo>
                    <a:pt x="354621" y="659222"/>
                    <a:pt x="341023" y="678260"/>
                    <a:pt x="332864" y="686418"/>
                  </a:cubicBezTo>
                  <a:cubicBezTo>
                    <a:pt x="311107" y="708176"/>
                    <a:pt x="283910" y="721774"/>
                    <a:pt x="251274" y="721774"/>
                  </a:cubicBezTo>
                  <a:cubicBezTo>
                    <a:pt x="243115" y="721774"/>
                    <a:pt x="237676" y="721774"/>
                    <a:pt x="229517" y="719054"/>
                  </a:cubicBezTo>
                  <a:cubicBezTo>
                    <a:pt x="207759" y="716335"/>
                    <a:pt x="183283" y="708176"/>
                    <a:pt x="158806" y="694578"/>
                  </a:cubicBezTo>
                  <a:cubicBezTo>
                    <a:pt x="142488" y="686418"/>
                    <a:pt x="126170" y="672820"/>
                    <a:pt x="112571" y="659222"/>
                  </a:cubicBezTo>
                  <a:cubicBezTo>
                    <a:pt x="98973" y="642904"/>
                    <a:pt x="88095" y="626586"/>
                    <a:pt x="79936" y="607548"/>
                  </a:cubicBezTo>
                  <a:cubicBezTo>
                    <a:pt x="71777" y="585791"/>
                    <a:pt x="66337" y="566754"/>
                    <a:pt x="63618" y="542277"/>
                  </a:cubicBezTo>
                  <a:cubicBezTo>
                    <a:pt x="60898" y="517800"/>
                    <a:pt x="58178" y="493323"/>
                    <a:pt x="58178" y="471566"/>
                  </a:cubicBezTo>
                  <a:cubicBezTo>
                    <a:pt x="58178" y="447089"/>
                    <a:pt x="58178" y="425332"/>
                    <a:pt x="60898" y="400855"/>
                  </a:cubicBezTo>
                  <a:cubicBezTo>
                    <a:pt x="63618" y="379098"/>
                    <a:pt x="60898" y="357340"/>
                    <a:pt x="66337" y="335583"/>
                  </a:cubicBezTo>
                  <a:cubicBezTo>
                    <a:pt x="69057" y="313826"/>
                    <a:pt x="77216" y="289349"/>
                    <a:pt x="85375" y="267592"/>
                  </a:cubicBezTo>
                  <a:cubicBezTo>
                    <a:pt x="93534" y="243115"/>
                    <a:pt x="98973" y="221357"/>
                    <a:pt x="109852" y="199600"/>
                  </a:cubicBezTo>
                  <a:cubicBezTo>
                    <a:pt x="118011" y="177843"/>
                    <a:pt x="131609" y="161525"/>
                    <a:pt x="145207" y="145207"/>
                  </a:cubicBezTo>
                  <a:cubicBezTo>
                    <a:pt x="158806" y="128889"/>
                    <a:pt x="172404" y="109852"/>
                    <a:pt x="188722" y="96253"/>
                  </a:cubicBezTo>
                  <a:cubicBezTo>
                    <a:pt x="205040" y="82655"/>
                    <a:pt x="224077" y="77216"/>
                    <a:pt x="243115" y="71776"/>
                  </a:cubicBezTo>
                  <a:cubicBezTo>
                    <a:pt x="256713" y="69057"/>
                    <a:pt x="273031" y="63617"/>
                    <a:pt x="286630" y="63617"/>
                  </a:cubicBezTo>
                  <a:cubicBezTo>
                    <a:pt x="292069" y="63617"/>
                    <a:pt x="297508" y="63617"/>
                    <a:pt x="305667" y="66337"/>
                  </a:cubicBezTo>
                  <a:cubicBezTo>
                    <a:pt x="313826" y="69057"/>
                    <a:pt x="319266" y="74496"/>
                    <a:pt x="324705" y="79936"/>
                  </a:cubicBezTo>
                  <a:cubicBezTo>
                    <a:pt x="332864" y="85375"/>
                    <a:pt x="332864" y="93534"/>
                    <a:pt x="341023" y="101693"/>
                  </a:cubicBezTo>
                  <a:cubicBezTo>
                    <a:pt x="346462" y="107132"/>
                    <a:pt x="349182" y="118011"/>
                    <a:pt x="354621" y="123450"/>
                  </a:cubicBezTo>
                  <a:cubicBezTo>
                    <a:pt x="354621" y="115291"/>
                    <a:pt x="354621" y="101693"/>
                    <a:pt x="354621" y="98973"/>
                  </a:cubicBezTo>
                  <a:cubicBezTo>
                    <a:pt x="354621" y="90814"/>
                    <a:pt x="354621" y="79936"/>
                    <a:pt x="360060" y="74496"/>
                  </a:cubicBezTo>
                  <a:cubicBezTo>
                    <a:pt x="362780" y="71776"/>
                    <a:pt x="362780" y="69057"/>
                    <a:pt x="365500" y="63617"/>
                  </a:cubicBezTo>
                  <a:cubicBezTo>
                    <a:pt x="368219" y="60898"/>
                    <a:pt x="370939" y="58178"/>
                    <a:pt x="373659" y="58178"/>
                  </a:cubicBezTo>
                  <a:cubicBezTo>
                    <a:pt x="376378" y="58178"/>
                    <a:pt x="379098" y="60898"/>
                    <a:pt x="381818" y="63617"/>
                  </a:cubicBezTo>
                  <a:cubicBezTo>
                    <a:pt x="384537" y="69057"/>
                    <a:pt x="387257" y="77216"/>
                    <a:pt x="389977" y="82655"/>
                  </a:cubicBezTo>
                  <a:cubicBezTo>
                    <a:pt x="389977" y="90814"/>
                    <a:pt x="392696" y="107132"/>
                    <a:pt x="392696" y="126170"/>
                  </a:cubicBezTo>
                  <a:cubicBezTo>
                    <a:pt x="392696" y="150647"/>
                    <a:pt x="392696" y="177843"/>
                    <a:pt x="395416" y="186002"/>
                  </a:cubicBezTo>
                  <a:cubicBezTo>
                    <a:pt x="398136" y="205040"/>
                    <a:pt x="398136" y="215918"/>
                    <a:pt x="398136" y="237675"/>
                  </a:cubicBezTo>
                  <a:cubicBezTo>
                    <a:pt x="398136" y="240395"/>
                    <a:pt x="398136" y="243115"/>
                    <a:pt x="398136" y="243115"/>
                  </a:cubicBezTo>
                  <a:cubicBezTo>
                    <a:pt x="398136" y="248554"/>
                    <a:pt x="398136" y="251274"/>
                    <a:pt x="395416" y="256713"/>
                  </a:cubicBezTo>
                  <a:cubicBezTo>
                    <a:pt x="392696" y="267592"/>
                    <a:pt x="389977" y="278470"/>
                    <a:pt x="379098" y="278470"/>
                  </a:cubicBezTo>
                  <a:cubicBezTo>
                    <a:pt x="370939" y="278470"/>
                    <a:pt x="368219" y="275751"/>
                    <a:pt x="362780" y="273031"/>
                  </a:cubicBezTo>
                  <a:cubicBezTo>
                    <a:pt x="357341" y="270311"/>
                    <a:pt x="354621" y="262152"/>
                    <a:pt x="354621" y="256713"/>
                  </a:cubicBezTo>
                  <a:cubicBezTo>
                    <a:pt x="349182" y="237675"/>
                    <a:pt x="354621" y="232236"/>
                    <a:pt x="354621" y="213198"/>
                  </a:cubicBezTo>
                  <a:cubicBezTo>
                    <a:pt x="354621" y="210479"/>
                    <a:pt x="354621" y="207759"/>
                    <a:pt x="354621" y="205040"/>
                  </a:cubicBezTo>
                  <a:cubicBezTo>
                    <a:pt x="349182" y="186002"/>
                    <a:pt x="343742" y="169684"/>
                    <a:pt x="338303" y="147927"/>
                  </a:cubicBezTo>
                  <a:cubicBezTo>
                    <a:pt x="332864" y="131609"/>
                    <a:pt x="311107" y="107132"/>
                    <a:pt x="292069" y="107132"/>
                  </a:cubicBezTo>
                  <a:cubicBezTo>
                    <a:pt x="281190" y="107132"/>
                    <a:pt x="270312" y="115291"/>
                    <a:pt x="262153" y="120730"/>
                  </a:cubicBezTo>
                  <a:cubicBezTo>
                    <a:pt x="259433" y="123450"/>
                    <a:pt x="256713" y="126170"/>
                    <a:pt x="251274" y="131609"/>
                  </a:cubicBezTo>
                  <a:cubicBezTo>
                    <a:pt x="248554" y="134329"/>
                    <a:pt x="243115" y="137048"/>
                    <a:pt x="240395" y="139768"/>
                  </a:cubicBezTo>
                  <a:cubicBezTo>
                    <a:pt x="237676" y="145207"/>
                    <a:pt x="240395" y="156086"/>
                    <a:pt x="237676" y="164245"/>
                  </a:cubicBezTo>
                  <a:cubicBezTo>
                    <a:pt x="232236" y="175123"/>
                    <a:pt x="229517" y="186002"/>
                    <a:pt x="226797" y="196881"/>
                  </a:cubicBezTo>
                  <a:cubicBezTo>
                    <a:pt x="221358" y="218638"/>
                    <a:pt x="218638" y="237675"/>
                    <a:pt x="213199" y="259433"/>
                  </a:cubicBezTo>
                  <a:cubicBezTo>
                    <a:pt x="210479" y="281190"/>
                    <a:pt x="207759" y="302947"/>
                    <a:pt x="207759" y="324704"/>
                  </a:cubicBezTo>
                  <a:cubicBezTo>
                    <a:pt x="207759" y="327424"/>
                    <a:pt x="207759" y="332863"/>
                    <a:pt x="207759" y="335583"/>
                  </a:cubicBezTo>
                  <a:cubicBezTo>
                    <a:pt x="207759" y="341022"/>
                    <a:pt x="205040" y="343742"/>
                    <a:pt x="205040" y="349181"/>
                  </a:cubicBezTo>
                  <a:cubicBezTo>
                    <a:pt x="205040" y="354621"/>
                    <a:pt x="207759" y="362779"/>
                    <a:pt x="207759" y="368219"/>
                  </a:cubicBezTo>
                  <a:cubicBezTo>
                    <a:pt x="207759" y="370939"/>
                    <a:pt x="207759" y="373658"/>
                    <a:pt x="207759" y="376378"/>
                  </a:cubicBezTo>
                  <a:cubicBezTo>
                    <a:pt x="205040" y="381817"/>
                    <a:pt x="205040" y="384537"/>
                    <a:pt x="205040" y="387256"/>
                  </a:cubicBezTo>
                  <a:cubicBezTo>
                    <a:pt x="205040" y="389976"/>
                    <a:pt x="205040" y="392696"/>
                    <a:pt x="205040" y="395415"/>
                  </a:cubicBezTo>
                  <a:cubicBezTo>
                    <a:pt x="205040" y="398135"/>
                    <a:pt x="205040" y="403574"/>
                    <a:pt x="205040" y="406294"/>
                  </a:cubicBezTo>
                  <a:cubicBezTo>
                    <a:pt x="205040" y="411733"/>
                    <a:pt x="205040" y="417173"/>
                    <a:pt x="205040" y="425332"/>
                  </a:cubicBezTo>
                  <a:cubicBezTo>
                    <a:pt x="205040" y="449809"/>
                    <a:pt x="213199" y="471566"/>
                    <a:pt x="213199" y="493323"/>
                  </a:cubicBezTo>
                  <a:cubicBezTo>
                    <a:pt x="213199" y="517800"/>
                    <a:pt x="215919" y="539557"/>
                    <a:pt x="221358" y="561314"/>
                  </a:cubicBezTo>
                  <a:cubicBezTo>
                    <a:pt x="224077" y="572193"/>
                    <a:pt x="224077" y="580352"/>
                    <a:pt x="226797" y="591231"/>
                  </a:cubicBezTo>
                  <a:cubicBezTo>
                    <a:pt x="229517" y="599390"/>
                    <a:pt x="237676" y="607548"/>
                    <a:pt x="240395" y="618427"/>
                  </a:cubicBezTo>
                  <a:cubicBezTo>
                    <a:pt x="248554" y="637465"/>
                    <a:pt x="262153" y="651063"/>
                    <a:pt x="283910" y="651063"/>
                  </a:cubicBezTo>
                  <a:cubicBezTo>
                    <a:pt x="302948" y="651063"/>
                    <a:pt x="330144" y="629306"/>
                    <a:pt x="338303" y="612988"/>
                  </a:cubicBezTo>
                  <a:cubicBezTo>
                    <a:pt x="346462" y="599390"/>
                    <a:pt x="351901" y="591231"/>
                    <a:pt x="354621" y="577632"/>
                  </a:cubicBezTo>
                  <a:cubicBezTo>
                    <a:pt x="354621" y="550436"/>
                    <a:pt x="354621" y="517800"/>
                    <a:pt x="357341" y="509641"/>
                  </a:cubicBezTo>
                  <a:cubicBezTo>
                    <a:pt x="357341" y="501482"/>
                    <a:pt x="357341" y="490603"/>
                    <a:pt x="362780" y="485164"/>
                  </a:cubicBezTo>
                  <a:cubicBezTo>
                    <a:pt x="365500" y="482444"/>
                    <a:pt x="365500" y="479725"/>
                    <a:pt x="368219" y="474286"/>
                  </a:cubicBezTo>
                  <a:cubicBezTo>
                    <a:pt x="370939" y="471566"/>
                    <a:pt x="373659" y="468846"/>
                    <a:pt x="376378" y="468846"/>
                  </a:cubicBezTo>
                  <a:cubicBezTo>
                    <a:pt x="379098" y="468846"/>
                    <a:pt x="381818" y="471566"/>
                    <a:pt x="384537" y="474286"/>
                  </a:cubicBezTo>
                  <a:cubicBezTo>
                    <a:pt x="387257" y="479725"/>
                    <a:pt x="389977" y="487884"/>
                    <a:pt x="392696" y="493323"/>
                  </a:cubicBezTo>
                  <a:cubicBezTo>
                    <a:pt x="392696" y="501482"/>
                    <a:pt x="395416" y="539557"/>
                    <a:pt x="395416" y="558595"/>
                  </a:cubicBezTo>
                  <a:cubicBezTo>
                    <a:pt x="395416" y="583072"/>
                    <a:pt x="395416" y="610268"/>
                    <a:pt x="398136" y="618427"/>
                  </a:cubicBezTo>
                  <a:cubicBezTo>
                    <a:pt x="398136" y="648343"/>
                    <a:pt x="400855" y="659222"/>
                    <a:pt x="400855" y="678260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8" name="Freeform: Shape 37">
              <a:extLst>
                <a:ext uri="{FF2B5EF4-FFF2-40B4-BE49-F238E27FC236}">
                  <a16:creationId xmlns:a16="http://schemas.microsoft.com/office/drawing/2014/main" id="{91199EB2-8CF7-412C-88D7-2C906A9B506E}"/>
                </a:ext>
              </a:extLst>
            </p:cNvPr>
            <p:cNvSpPr/>
            <p:nvPr/>
          </p:nvSpPr>
          <p:spPr>
            <a:xfrm>
              <a:off x="3829459" y="4200317"/>
              <a:ext cx="598325" cy="761503"/>
            </a:xfrm>
            <a:custGeom>
              <a:avLst/>
              <a:gdLst>
                <a:gd name="connsiteX0" fmla="*/ 360060 w 598324"/>
                <a:gd name="connsiteY0" fmla="*/ 332863 h 761503"/>
                <a:gd name="connsiteX1" fmla="*/ 341023 w 598324"/>
                <a:gd name="connsiteY1" fmla="*/ 370939 h 761503"/>
                <a:gd name="connsiteX2" fmla="*/ 376378 w 598324"/>
                <a:gd name="connsiteY2" fmla="*/ 389976 h 761503"/>
                <a:gd name="connsiteX3" fmla="*/ 425332 w 598324"/>
                <a:gd name="connsiteY3" fmla="*/ 433491 h 761503"/>
                <a:gd name="connsiteX4" fmla="*/ 438930 w 598324"/>
                <a:gd name="connsiteY4" fmla="*/ 463407 h 761503"/>
                <a:gd name="connsiteX5" fmla="*/ 449809 w 598324"/>
                <a:gd name="connsiteY5" fmla="*/ 498762 h 761503"/>
                <a:gd name="connsiteX6" fmla="*/ 457968 w 598324"/>
                <a:gd name="connsiteY6" fmla="*/ 528679 h 761503"/>
                <a:gd name="connsiteX7" fmla="*/ 466127 w 598324"/>
                <a:gd name="connsiteY7" fmla="*/ 564034 h 761503"/>
                <a:gd name="connsiteX8" fmla="*/ 471566 w 598324"/>
                <a:gd name="connsiteY8" fmla="*/ 593950 h 761503"/>
                <a:gd name="connsiteX9" fmla="*/ 479725 w 598324"/>
                <a:gd name="connsiteY9" fmla="*/ 607548 h 761503"/>
                <a:gd name="connsiteX10" fmla="*/ 487884 w 598324"/>
                <a:gd name="connsiteY10" fmla="*/ 623867 h 761503"/>
                <a:gd name="connsiteX11" fmla="*/ 501482 w 598324"/>
                <a:gd name="connsiteY11" fmla="*/ 651063 h 761503"/>
                <a:gd name="connsiteX12" fmla="*/ 523240 w 598324"/>
                <a:gd name="connsiteY12" fmla="*/ 670101 h 761503"/>
                <a:gd name="connsiteX13" fmla="*/ 534119 w 598324"/>
                <a:gd name="connsiteY13" fmla="*/ 686418 h 761503"/>
                <a:gd name="connsiteX14" fmla="*/ 531399 w 598324"/>
                <a:gd name="connsiteY14" fmla="*/ 694578 h 761503"/>
                <a:gd name="connsiteX15" fmla="*/ 498763 w 598324"/>
                <a:gd name="connsiteY15" fmla="*/ 708176 h 761503"/>
                <a:gd name="connsiteX16" fmla="*/ 449809 w 598324"/>
                <a:gd name="connsiteY16" fmla="*/ 700017 h 761503"/>
                <a:gd name="connsiteX17" fmla="*/ 400855 w 598324"/>
                <a:gd name="connsiteY17" fmla="*/ 667381 h 761503"/>
                <a:gd name="connsiteX18" fmla="*/ 381817 w 598324"/>
                <a:gd name="connsiteY18" fmla="*/ 642904 h 761503"/>
                <a:gd name="connsiteX19" fmla="*/ 368219 w 598324"/>
                <a:gd name="connsiteY19" fmla="*/ 610268 h 761503"/>
                <a:gd name="connsiteX20" fmla="*/ 349182 w 598324"/>
                <a:gd name="connsiteY20" fmla="*/ 550436 h 761503"/>
                <a:gd name="connsiteX21" fmla="*/ 338303 w 598324"/>
                <a:gd name="connsiteY21" fmla="*/ 504202 h 761503"/>
                <a:gd name="connsiteX22" fmla="*/ 330144 w 598324"/>
                <a:gd name="connsiteY22" fmla="*/ 477005 h 761503"/>
                <a:gd name="connsiteX23" fmla="*/ 321985 w 598324"/>
                <a:gd name="connsiteY23" fmla="*/ 455248 h 761503"/>
                <a:gd name="connsiteX24" fmla="*/ 305667 w 598324"/>
                <a:gd name="connsiteY24" fmla="*/ 436210 h 761503"/>
                <a:gd name="connsiteX25" fmla="*/ 294788 w 598324"/>
                <a:gd name="connsiteY25" fmla="*/ 441650 h 761503"/>
                <a:gd name="connsiteX26" fmla="*/ 278471 w 598324"/>
                <a:gd name="connsiteY26" fmla="*/ 463407 h 761503"/>
                <a:gd name="connsiteX27" fmla="*/ 264872 w 598324"/>
                <a:gd name="connsiteY27" fmla="*/ 496043 h 761503"/>
                <a:gd name="connsiteX28" fmla="*/ 262153 w 598324"/>
                <a:gd name="connsiteY28" fmla="*/ 517800 h 761503"/>
                <a:gd name="connsiteX29" fmla="*/ 262153 w 598324"/>
                <a:gd name="connsiteY29" fmla="*/ 523239 h 761503"/>
                <a:gd name="connsiteX30" fmla="*/ 262153 w 598324"/>
                <a:gd name="connsiteY30" fmla="*/ 553155 h 761503"/>
                <a:gd name="connsiteX31" fmla="*/ 262153 w 598324"/>
                <a:gd name="connsiteY31" fmla="*/ 629306 h 761503"/>
                <a:gd name="connsiteX32" fmla="*/ 259433 w 598324"/>
                <a:gd name="connsiteY32" fmla="*/ 659222 h 761503"/>
                <a:gd name="connsiteX33" fmla="*/ 283910 w 598324"/>
                <a:gd name="connsiteY33" fmla="*/ 659222 h 761503"/>
                <a:gd name="connsiteX34" fmla="*/ 321985 w 598324"/>
                <a:gd name="connsiteY34" fmla="*/ 675540 h 761503"/>
                <a:gd name="connsiteX35" fmla="*/ 316546 w 598324"/>
                <a:gd name="connsiteY35" fmla="*/ 691858 h 761503"/>
                <a:gd name="connsiteX36" fmla="*/ 300228 w 598324"/>
                <a:gd name="connsiteY36" fmla="*/ 700017 h 761503"/>
                <a:gd name="connsiteX37" fmla="*/ 278471 w 598324"/>
                <a:gd name="connsiteY37" fmla="*/ 702736 h 761503"/>
                <a:gd name="connsiteX38" fmla="*/ 243115 w 598324"/>
                <a:gd name="connsiteY38" fmla="*/ 702736 h 761503"/>
                <a:gd name="connsiteX39" fmla="*/ 221358 w 598324"/>
                <a:gd name="connsiteY39" fmla="*/ 710895 h 761503"/>
                <a:gd name="connsiteX40" fmla="*/ 194161 w 598324"/>
                <a:gd name="connsiteY40" fmla="*/ 702736 h 761503"/>
                <a:gd name="connsiteX41" fmla="*/ 177843 w 598324"/>
                <a:gd name="connsiteY41" fmla="*/ 702736 h 761503"/>
                <a:gd name="connsiteX42" fmla="*/ 126170 w 598324"/>
                <a:gd name="connsiteY42" fmla="*/ 702736 h 761503"/>
                <a:gd name="connsiteX43" fmla="*/ 101693 w 598324"/>
                <a:gd name="connsiteY43" fmla="*/ 702736 h 761503"/>
                <a:gd name="connsiteX44" fmla="*/ 74496 w 598324"/>
                <a:gd name="connsiteY44" fmla="*/ 697297 h 761503"/>
                <a:gd name="connsiteX45" fmla="*/ 58178 w 598324"/>
                <a:gd name="connsiteY45" fmla="*/ 680979 h 761503"/>
                <a:gd name="connsiteX46" fmla="*/ 63617 w 598324"/>
                <a:gd name="connsiteY46" fmla="*/ 672820 h 761503"/>
                <a:gd name="connsiteX47" fmla="*/ 85375 w 598324"/>
                <a:gd name="connsiteY47" fmla="*/ 664661 h 761503"/>
                <a:gd name="connsiteX48" fmla="*/ 128889 w 598324"/>
                <a:gd name="connsiteY48" fmla="*/ 659222 h 761503"/>
                <a:gd name="connsiteX49" fmla="*/ 147927 w 598324"/>
                <a:gd name="connsiteY49" fmla="*/ 659222 h 761503"/>
                <a:gd name="connsiteX50" fmla="*/ 145207 w 598324"/>
                <a:gd name="connsiteY50" fmla="*/ 653783 h 761503"/>
                <a:gd name="connsiteX51" fmla="*/ 131609 w 598324"/>
                <a:gd name="connsiteY51" fmla="*/ 585791 h 761503"/>
                <a:gd name="connsiteX52" fmla="*/ 134329 w 598324"/>
                <a:gd name="connsiteY52" fmla="*/ 498762 h 761503"/>
                <a:gd name="connsiteX53" fmla="*/ 137048 w 598324"/>
                <a:gd name="connsiteY53" fmla="*/ 406294 h 761503"/>
                <a:gd name="connsiteX54" fmla="*/ 134329 w 598324"/>
                <a:gd name="connsiteY54" fmla="*/ 327424 h 761503"/>
                <a:gd name="connsiteX55" fmla="*/ 137048 w 598324"/>
                <a:gd name="connsiteY55" fmla="*/ 253993 h 761503"/>
                <a:gd name="connsiteX56" fmla="*/ 139768 w 598324"/>
                <a:gd name="connsiteY56" fmla="*/ 207759 h 761503"/>
                <a:gd name="connsiteX57" fmla="*/ 137048 w 598324"/>
                <a:gd name="connsiteY57" fmla="*/ 172404 h 761503"/>
                <a:gd name="connsiteX58" fmla="*/ 137048 w 598324"/>
                <a:gd name="connsiteY58" fmla="*/ 112571 h 761503"/>
                <a:gd name="connsiteX59" fmla="*/ 126170 w 598324"/>
                <a:gd name="connsiteY59" fmla="*/ 112571 h 761503"/>
                <a:gd name="connsiteX60" fmla="*/ 101693 w 598324"/>
                <a:gd name="connsiteY60" fmla="*/ 112571 h 761503"/>
                <a:gd name="connsiteX61" fmla="*/ 74496 w 598324"/>
                <a:gd name="connsiteY61" fmla="*/ 107132 h 761503"/>
                <a:gd name="connsiteX62" fmla="*/ 58178 w 598324"/>
                <a:gd name="connsiteY62" fmla="*/ 90814 h 761503"/>
                <a:gd name="connsiteX63" fmla="*/ 63617 w 598324"/>
                <a:gd name="connsiteY63" fmla="*/ 82655 h 761503"/>
                <a:gd name="connsiteX64" fmla="*/ 85375 w 598324"/>
                <a:gd name="connsiteY64" fmla="*/ 74496 h 761503"/>
                <a:gd name="connsiteX65" fmla="*/ 137048 w 598324"/>
                <a:gd name="connsiteY65" fmla="*/ 69057 h 761503"/>
                <a:gd name="connsiteX66" fmla="*/ 145207 w 598324"/>
                <a:gd name="connsiteY66" fmla="*/ 69057 h 761503"/>
                <a:gd name="connsiteX67" fmla="*/ 169684 w 598324"/>
                <a:gd name="connsiteY67" fmla="*/ 58178 h 761503"/>
                <a:gd name="connsiteX68" fmla="*/ 177843 w 598324"/>
                <a:gd name="connsiteY68" fmla="*/ 58178 h 761503"/>
                <a:gd name="connsiteX69" fmla="*/ 205040 w 598324"/>
                <a:gd name="connsiteY69" fmla="*/ 66337 h 761503"/>
                <a:gd name="connsiteX70" fmla="*/ 286629 w 598324"/>
                <a:gd name="connsiteY70" fmla="*/ 63617 h 761503"/>
                <a:gd name="connsiteX71" fmla="*/ 324705 w 598324"/>
                <a:gd name="connsiteY71" fmla="*/ 79936 h 761503"/>
                <a:gd name="connsiteX72" fmla="*/ 319265 w 598324"/>
                <a:gd name="connsiteY72" fmla="*/ 96253 h 761503"/>
                <a:gd name="connsiteX73" fmla="*/ 302948 w 598324"/>
                <a:gd name="connsiteY73" fmla="*/ 104412 h 761503"/>
                <a:gd name="connsiteX74" fmla="*/ 278471 w 598324"/>
                <a:gd name="connsiteY74" fmla="*/ 112571 h 761503"/>
                <a:gd name="connsiteX75" fmla="*/ 232236 w 598324"/>
                <a:gd name="connsiteY75" fmla="*/ 112571 h 761503"/>
                <a:gd name="connsiteX76" fmla="*/ 240395 w 598324"/>
                <a:gd name="connsiteY76" fmla="*/ 137048 h 761503"/>
                <a:gd name="connsiteX77" fmla="*/ 240395 w 598324"/>
                <a:gd name="connsiteY77" fmla="*/ 150647 h 761503"/>
                <a:gd name="connsiteX78" fmla="*/ 243115 w 598324"/>
                <a:gd name="connsiteY78" fmla="*/ 158805 h 761503"/>
                <a:gd name="connsiteX79" fmla="*/ 248554 w 598324"/>
                <a:gd name="connsiteY79" fmla="*/ 188722 h 761503"/>
                <a:gd name="connsiteX80" fmla="*/ 248554 w 598324"/>
                <a:gd name="connsiteY80" fmla="*/ 199600 h 761503"/>
                <a:gd name="connsiteX81" fmla="*/ 248554 w 598324"/>
                <a:gd name="connsiteY81" fmla="*/ 221357 h 761503"/>
                <a:gd name="connsiteX82" fmla="*/ 253994 w 598324"/>
                <a:gd name="connsiteY82" fmla="*/ 264872 h 761503"/>
                <a:gd name="connsiteX83" fmla="*/ 262153 w 598324"/>
                <a:gd name="connsiteY83" fmla="*/ 297508 h 761503"/>
                <a:gd name="connsiteX84" fmla="*/ 264872 w 598324"/>
                <a:gd name="connsiteY84" fmla="*/ 324704 h 761503"/>
                <a:gd name="connsiteX85" fmla="*/ 264872 w 598324"/>
                <a:gd name="connsiteY85" fmla="*/ 332863 h 761503"/>
                <a:gd name="connsiteX86" fmla="*/ 264872 w 598324"/>
                <a:gd name="connsiteY86" fmla="*/ 351901 h 761503"/>
                <a:gd name="connsiteX87" fmla="*/ 262153 w 598324"/>
                <a:gd name="connsiteY87" fmla="*/ 370939 h 761503"/>
                <a:gd name="connsiteX88" fmla="*/ 267592 w 598324"/>
                <a:gd name="connsiteY88" fmla="*/ 384537 h 761503"/>
                <a:gd name="connsiteX89" fmla="*/ 278471 w 598324"/>
                <a:gd name="connsiteY89" fmla="*/ 370939 h 761503"/>
                <a:gd name="connsiteX90" fmla="*/ 297508 w 598324"/>
                <a:gd name="connsiteY90" fmla="*/ 332863 h 761503"/>
                <a:gd name="connsiteX91" fmla="*/ 311106 w 598324"/>
                <a:gd name="connsiteY91" fmla="*/ 305667 h 761503"/>
                <a:gd name="connsiteX92" fmla="*/ 335583 w 598324"/>
                <a:gd name="connsiteY92" fmla="*/ 259433 h 761503"/>
                <a:gd name="connsiteX93" fmla="*/ 354621 w 598324"/>
                <a:gd name="connsiteY93" fmla="*/ 224077 h 761503"/>
                <a:gd name="connsiteX94" fmla="*/ 381817 w 598324"/>
                <a:gd name="connsiteY94" fmla="*/ 172404 h 761503"/>
                <a:gd name="connsiteX95" fmla="*/ 409014 w 598324"/>
                <a:gd name="connsiteY95" fmla="*/ 118011 h 761503"/>
                <a:gd name="connsiteX96" fmla="*/ 411734 w 598324"/>
                <a:gd name="connsiteY96" fmla="*/ 115291 h 761503"/>
                <a:gd name="connsiteX97" fmla="*/ 398136 w 598324"/>
                <a:gd name="connsiteY97" fmla="*/ 115291 h 761503"/>
                <a:gd name="connsiteX98" fmla="*/ 379098 w 598324"/>
                <a:gd name="connsiteY98" fmla="*/ 109852 h 761503"/>
                <a:gd name="connsiteX99" fmla="*/ 368219 w 598324"/>
                <a:gd name="connsiteY99" fmla="*/ 93534 h 761503"/>
                <a:gd name="connsiteX100" fmla="*/ 370939 w 598324"/>
                <a:gd name="connsiteY100" fmla="*/ 85375 h 761503"/>
                <a:gd name="connsiteX101" fmla="*/ 387257 w 598324"/>
                <a:gd name="connsiteY101" fmla="*/ 77216 h 761503"/>
                <a:gd name="connsiteX102" fmla="*/ 422612 w 598324"/>
                <a:gd name="connsiteY102" fmla="*/ 71776 h 761503"/>
                <a:gd name="connsiteX103" fmla="*/ 436211 w 598324"/>
                <a:gd name="connsiteY103" fmla="*/ 71776 h 761503"/>
                <a:gd name="connsiteX104" fmla="*/ 438930 w 598324"/>
                <a:gd name="connsiteY104" fmla="*/ 69057 h 761503"/>
                <a:gd name="connsiteX105" fmla="*/ 452529 w 598324"/>
                <a:gd name="connsiteY105" fmla="*/ 66337 h 761503"/>
                <a:gd name="connsiteX106" fmla="*/ 466127 w 598324"/>
                <a:gd name="connsiteY106" fmla="*/ 69057 h 761503"/>
                <a:gd name="connsiteX107" fmla="*/ 471566 w 598324"/>
                <a:gd name="connsiteY107" fmla="*/ 71776 h 761503"/>
                <a:gd name="connsiteX108" fmla="*/ 515081 w 598324"/>
                <a:gd name="connsiteY108" fmla="*/ 71776 h 761503"/>
                <a:gd name="connsiteX109" fmla="*/ 542277 w 598324"/>
                <a:gd name="connsiteY109" fmla="*/ 88094 h 761503"/>
                <a:gd name="connsiteX110" fmla="*/ 536838 w 598324"/>
                <a:gd name="connsiteY110" fmla="*/ 104412 h 761503"/>
                <a:gd name="connsiteX111" fmla="*/ 525959 w 598324"/>
                <a:gd name="connsiteY111" fmla="*/ 112571 h 761503"/>
                <a:gd name="connsiteX112" fmla="*/ 509642 w 598324"/>
                <a:gd name="connsiteY112" fmla="*/ 115291 h 761503"/>
                <a:gd name="connsiteX113" fmla="*/ 468847 w 598324"/>
                <a:gd name="connsiteY113" fmla="*/ 115291 h 761503"/>
                <a:gd name="connsiteX114" fmla="*/ 457968 w 598324"/>
                <a:gd name="connsiteY114" fmla="*/ 137048 h 761503"/>
                <a:gd name="connsiteX115" fmla="*/ 430771 w 598324"/>
                <a:gd name="connsiteY115" fmla="*/ 194161 h 761503"/>
                <a:gd name="connsiteX116" fmla="*/ 400855 w 598324"/>
                <a:gd name="connsiteY116" fmla="*/ 262152 h 761503"/>
                <a:gd name="connsiteX117" fmla="*/ 360060 w 598324"/>
                <a:gd name="connsiteY117" fmla="*/ 332863 h 761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</a:cxnLst>
              <a:rect l="l" t="t" r="r" b="b"/>
              <a:pathLst>
                <a:path w="598324" h="761503">
                  <a:moveTo>
                    <a:pt x="360060" y="332863"/>
                  </a:moveTo>
                  <a:cubicBezTo>
                    <a:pt x="351901" y="343742"/>
                    <a:pt x="341023" y="357340"/>
                    <a:pt x="341023" y="370939"/>
                  </a:cubicBezTo>
                  <a:cubicBezTo>
                    <a:pt x="341023" y="379098"/>
                    <a:pt x="357341" y="381817"/>
                    <a:pt x="376378" y="389976"/>
                  </a:cubicBezTo>
                  <a:cubicBezTo>
                    <a:pt x="395416" y="398135"/>
                    <a:pt x="417173" y="417173"/>
                    <a:pt x="425332" y="433491"/>
                  </a:cubicBezTo>
                  <a:cubicBezTo>
                    <a:pt x="430771" y="444369"/>
                    <a:pt x="436211" y="452528"/>
                    <a:pt x="438930" y="463407"/>
                  </a:cubicBezTo>
                  <a:cubicBezTo>
                    <a:pt x="444370" y="474286"/>
                    <a:pt x="447089" y="487884"/>
                    <a:pt x="449809" y="498762"/>
                  </a:cubicBezTo>
                  <a:cubicBezTo>
                    <a:pt x="452529" y="512361"/>
                    <a:pt x="452529" y="517800"/>
                    <a:pt x="457968" y="528679"/>
                  </a:cubicBezTo>
                  <a:cubicBezTo>
                    <a:pt x="463407" y="539557"/>
                    <a:pt x="463407" y="553155"/>
                    <a:pt x="466127" y="564034"/>
                  </a:cubicBezTo>
                  <a:cubicBezTo>
                    <a:pt x="468847" y="572193"/>
                    <a:pt x="468847" y="585791"/>
                    <a:pt x="471566" y="593950"/>
                  </a:cubicBezTo>
                  <a:cubicBezTo>
                    <a:pt x="474286" y="599390"/>
                    <a:pt x="477006" y="602109"/>
                    <a:pt x="479725" y="607548"/>
                  </a:cubicBezTo>
                  <a:cubicBezTo>
                    <a:pt x="482445" y="612988"/>
                    <a:pt x="487884" y="618427"/>
                    <a:pt x="487884" y="623867"/>
                  </a:cubicBezTo>
                  <a:cubicBezTo>
                    <a:pt x="490604" y="634745"/>
                    <a:pt x="496043" y="642904"/>
                    <a:pt x="501482" y="651063"/>
                  </a:cubicBezTo>
                  <a:cubicBezTo>
                    <a:pt x="506922" y="661942"/>
                    <a:pt x="512361" y="664661"/>
                    <a:pt x="523240" y="670101"/>
                  </a:cubicBezTo>
                  <a:cubicBezTo>
                    <a:pt x="528679" y="672820"/>
                    <a:pt x="534119" y="680979"/>
                    <a:pt x="534119" y="686418"/>
                  </a:cubicBezTo>
                  <a:cubicBezTo>
                    <a:pt x="534119" y="689138"/>
                    <a:pt x="534119" y="691858"/>
                    <a:pt x="531399" y="694578"/>
                  </a:cubicBezTo>
                  <a:cubicBezTo>
                    <a:pt x="525959" y="702736"/>
                    <a:pt x="512361" y="708176"/>
                    <a:pt x="498763" y="708176"/>
                  </a:cubicBezTo>
                  <a:cubicBezTo>
                    <a:pt x="485165" y="708176"/>
                    <a:pt x="466127" y="705456"/>
                    <a:pt x="449809" y="700017"/>
                  </a:cubicBezTo>
                  <a:cubicBezTo>
                    <a:pt x="430771" y="694578"/>
                    <a:pt x="409014" y="675540"/>
                    <a:pt x="400855" y="667381"/>
                  </a:cubicBezTo>
                  <a:cubicBezTo>
                    <a:pt x="392696" y="659222"/>
                    <a:pt x="387257" y="651063"/>
                    <a:pt x="381817" y="642904"/>
                  </a:cubicBezTo>
                  <a:cubicBezTo>
                    <a:pt x="376378" y="632025"/>
                    <a:pt x="370939" y="623867"/>
                    <a:pt x="368219" y="610268"/>
                  </a:cubicBezTo>
                  <a:cubicBezTo>
                    <a:pt x="360060" y="588511"/>
                    <a:pt x="357341" y="574913"/>
                    <a:pt x="349182" y="550436"/>
                  </a:cubicBezTo>
                  <a:cubicBezTo>
                    <a:pt x="343742" y="534118"/>
                    <a:pt x="341023" y="520520"/>
                    <a:pt x="338303" y="504202"/>
                  </a:cubicBezTo>
                  <a:cubicBezTo>
                    <a:pt x="335583" y="493323"/>
                    <a:pt x="332864" y="485164"/>
                    <a:pt x="330144" y="477005"/>
                  </a:cubicBezTo>
                  <a:cubicBezTo>
                    <a:pt x="327424" y="471566"/>
                    <a:pt x="324705" y="463407"/>
                    <a:pt x="321985" y="455248"/>
                  </a:cubicBezTo>
                  <a:cubicBezTo>
                    <a:pt x="316546" y="444369"/>
                    <a:pt x="311106" y="436210"/>
                    <a:pt x="305667" y="436210"/>
                  </a:cubicBezTo>
                  <a:cubicBezTo>
                    <a:pt x="302948" y="436210"/>
                    <a:pt x="300228" y="438930"/>
                    <a:pt x="294788" y="441650"/>
                  </a:cubicBezTo>
                  <a:cubicBezTo>
                    <a:pt x="289349" y="447089"/>
                    <a:pt x="283910" y="455248"/>
                    <a:pt x="278471" y="463407"/>
                  </a:cubicBezTo>
                  <a:cubicBezTo>
                    <a:pt x="270312" y="474286"/>
                    <a:pt x="267592" y="485164"/>
                    <a:pt x="264872" y="496043"/>
                  </a:cubicBezTo>
                  <a:cubicBezTo>
                    <a:pt x="264872" y="504202"/>
                    <a:pt x="262153" y="512361"/>
                    <a:pt x="262153" y="517800"/>
                  </a:cubicBezTo>
                  <a:cubicBezTo>
                    <a:pt x="262153" y="520520"/>
                    <a:pt x="262153" y="520520"/>
                    <a:pt x="262153" y="523239"/>
                  </a:cubicBezTo>
                  <a:cubicBezTo>
                    <a:pt x="262153" y="528679"/>
                    <a:pt x="262153" y="544997"/>
                    <a:pt x="262153" y="553155"/>
                  </a:cubicBezTo>
                  <a:cubicBezTo>
                    <a:pt x="262153" y="583072"/>
                    <a:pt x="264872" y="599390"/>
                    <a:pt x="262153" y="629306"/>
                  </a:cubicBezTo>
                  <a:cubicBezTo>
                    <a:pt x="262153" y="640184"/>
                    <a:pt x="262153" y="648343"/>
                    <a:pt x="259433" y="659222"/>
                  </a:cubicBezTo>
                  <a:cubicBezTo>
                    <a:pt x="270312" y="659222"/>
                    <a:pt x="278471" y="659222"/>
                    <a:pt x="283910" y="659222"/>
                  </a:cubicBezTo>
                  <a:cubicBezTo>
                    <a:pt x="297508" y="659222"/>
                    <a:pt x="321985" y="659222"/>
                    <a:pt x="321985" y="675540"/>
                  </a:cubicBezTo>
                  <a:cubicBezTo>
                    <a:pt x="321985" y="683699"/>
                    <a:pt x="319265" y="686418"/>
                    <a:pt x="316546" y="691858"/>
                  </a:cubicBezTo>
                  <a:cubicBezTo>
                    <a:pt x="311106" y="697297"/>
                    <a:pt x="305667" y="700017"/>
                    <a:pt x="300228" y="700017"/>
                  </a:cubicBezTo>
                  <a:cubicBezTo>
                    <a:pt x="292069" y="702736"/>
                    <a:pt x="283910" y="702736"/>
                    <a:pt x="278471" y="702736"/>
                  </a:cubicBezTo>
                  <a:cubicBezTo>
                    <a:pt x="275751" y="702736"/>
                    <a:pt x="259433" y="702736"/>
                    <a:pt x="243115" y="702736"/>
                  </a:cubicBezTo>
                  <a:cubicBezTo>
                    <a:pt x="237676" y="708176"/>
                    <a:pt x="229517" y="710895"/>
                    <a:pt x="221358" y="710895"/>
                  </a:cubicBezTo>
                  <a:cubicBezTo>
                    <a:pt x="213199" y="710895"/>
                    <a:pt x="202320" y="708176"/>
                    <a:pt x="194161" y="702736"/>
                  </a:cubicBezTo>
                  <a:cubicBezTo>
                    <a:pt x="186002" y="702736"/>
                    <a:pt x="180563" y="702736"/>
                    <a:pt x="177843" y="702736"/>
                  </a:cubicBezTo>
                  <a:cubicBezTo>
                    <a:pt x="164245" y="702736"/>
                    <a:pt x="139768" y="702736"/>
                    <a:pt x="126170" y="702736"/>
                  </a:cubicBezTo>
                  <a:cubicBezTo>
                    <a:pt x="118011" y="702736"/>
                    <a:pt x="109852" y="702736"/>
                    <a:pt x="101693" y="702736"/>
                  </a:cubicBezTo>
                  <a:cubicBezTo>
                    <a:pt x="93534" y="702736"/>
                    <a:pt x="82655" y="702736"/>
                    <a:pt x="74496" y="697297"/>
                  </a:cubicBezTo>
                  <a:cubicBezTo>
                    <a:pt x="66337" y="694578"/>
                    <a:pt x="58178" y="686418"/>
                    <a:pt x="58178" y="680979"/>
                  </a:cubicBezTo>
                  <a:cubicBezTo>
                    <a:pt x="58178" y="678260"/>
                    <a:pt x="58178" y="675540"/>
                    <a:pt x="63617" y="672820"/>
                  </a:cubicBezTo>
                  <a:cubicBezTo>
                    <a:pt x="69057" y="670101"/>
                    <a:pt x="79935" y="667381"/>
                    <a:pt x="85375" y="664661"/>
                  </a:cubicBezTo>
                  <a:cubicBezTo>
                    <a:pt x="104412" y="661942"/>
                    <a:pt x="123450" y="659222"/>
                    <a:pt x="128889" y="659222"/>
                  </a:cubicBezTo>
                  <a:cubicBezTo>
                    <a:pt x="134329" y="659222"/>
                    <a:pt x="139768" y="659222"/>
                    <a:pt x="147927" y="659222"/>
                  </a:cubicBezTo>
                  <a:cubicBezTo>
                    <a:pt x="147927" y="656502"/>
                    <a:pt x="145207" y="653783"/>
                    <a:pt x="145207" y="653783"/>
                  </a:cubicBezTo>
                  <a:cubicBezTo>
                    <a:pt x="131609" y="632025"/>
                    <a:pt x="131609" y="610268"/>
                    <a:pt x="131609" y="585791"/>
                  </a:cubicBezTo>
                  <a:cubicBezTo>
                    <a:pt x="131609" y="555875"/>
                    <a:pt x="131609" y="528679"/>
                    <a:pt x="134329" y="498762"/>
                  </a:cubicBezTo>
                  <a:cubicBezTo>
                    <a:pt x="134329" y="468846"/>
                    <a:pt x="137048" y="436210"/>
                    <a:pt x="137048" y="406294"/>
                  </a:cubicBezTo>
                  <a:cubicBezTo>
                    <a:pt x="137048" y="379098"/>
                    <a:pt x="134329" y="354621"/>
                    <a:pt x="134329" y="327424"/>
                  </a:cubicBezTo>
                  <a:cubicBezTo>
                    <a:pt x="134329" y="302947"/>
                    <a:pt x="137048" y="278470"/>
                    <a:pt x="137048" y="253993"/>
                  </a:cubicBezTo>
                  <a:cubicBezTo>
                    <a:pt x="137048" y="237675"/>
                    <a:pt x="139768" y="224077"/>
                    <a:pt x="139768" y="207759"/>
                  </a:cubicBezTo>
                  <a:cubicBezTo>
                    <a:pt x="139768" y="196881"/>
                    <a:pt x="137048" y="183282"/>
                    <a:pt x="137048" y="172404"/>
                  </a:cubicBezTo>
                  <a:cubicBezTo>
                    <a:pt x="137048" y="150647"/>
                    <a:pt x="137048" y="131609"/>
                    <a:pt x="137048" y="112571"/>
                  </a:cubicBezTo>
                  <a:cubicBezTo>
                    <a:pt x="134329" y="112571"/>
                    <a:pt x="137048" y="112571"/>
                    <a:pt x="126170" y="112571"/>
                  </a:cubicBezTo>
                  <a:cubicBezTo>
                    <a:pt x="118011" y="112571"/>
                    <a:pt x="109852" y="112571"/>
                    <a:pt x="101693" y="112571"/>
                  </a:cubicBezTo>
                  <a:cubicBezTo>
                    <a:pt x="93534" y="112571"/>
                    <a:pt x="82655" y="109852"/>
                    <a:pt x="74496" y="107132"/>
                  </a:cubicBezTo>
                  <a:cubicBezTo>
                    <a:pt x="66337" y="104412"/>
                    <a:pt x="58178" y="96253"/>
                    <a:pt x="58178" y="90814"/>
                  </a:cubicBezTo>
                  <a:cubicBezTo>
                    <a:pt x="58178" y="88094"/>
                    <a:pt x="58178" y="85375"/>
                    <a:pt x="63617" y="82655"/>
                  </a:cubicBezTo>
                  <a:cubicBezTo>
                    <a:pt x="69057" y="79936"/>
                    <a:pt x="79935" y="77216"/>
                    <a:pt x="85375" y="74496"/>
                  </a:cubicBezTo>
                  <a:cubicBezTo>
                    <a:pt x="104412" y="71776"/>
                    <a:pt x="128889" y="69057"/>
                    <a:pt x="137048" y="69057"/>
                  </a:cubicBezTo>
                  <a:cubicBezTo>
                    <a:pt x="137048" y="69057"/>
                    <a:pt x="139768" y="69057"/>
                    <a:pt x="145207" y="69057"/>
                  </a:cubicBezTo>
                  <a:cubicBezTo>
                    <a:pt x="150646" y="60898"/>
                    <a:pt x="158806" y="58178"/>
                    <a:pt x="169684" y="58178"/>
                  </a:cubicBezTo>
                  <a:cubicBezTo>
                    <a:pt x="172404" y="58178"/>
                    <a:pt x="175123" y="58178"/>
                    <a:pt x="177843" y="58178"/>
                  </a:cubicBezTo>
                  <a:cubicBezTo>
                    <a:pt x="186002" y="58178"/>
                    <a:pt x="196881" y="63617"/>
                    <a:pt x="205040" y="66337"/>
                  </a:cubicBezTo>
                  <a:cubicBezTo>
                    <a:pt x="237676" y="66337"/>
                    <a:pt x="273031" y="63617"/>
                    <a:pt x="286629" y="63617"/>
                  </a:cubicBezTo>
                  <a:cubicBezTo>
                    <a:pt x="300228" y="63617"/>
                    <a:pt x="324705" y="63617"/>
                    <a:pt x="324705" y="79936"/>
                  </a:cubicBezTo>
                  <a:cubicBezTo>
                    <a:pt x="324705" y="88094"/>
                    <a:pt x="321985" y="90814"/>
                    <a:pt x="319265" y="96253"/>
                  </a:cubicBezTo>
                  <a:cubicBezTo>
                    <a:pt x="313826" y="101693"/>
                    <a:pt x="308387" y="104412"/>
                    <a:pt x="302948" y="104412"/>
                  </a:cubicBezTo>
                  <a:cubicBezTo>
                    <a:pt x="289349" y="112571"/>
                    <a:pt x="283910" y="112571"/>
                    <a:pt x="278471" y="112571"/>
                  </a:cubicBezTo>
                  <a:cubicBezTo>
                    <a:pt x="273031" y="112571"/>
                    <a:pt x="253994" y="112571"/>
                    <a:pt x="232236" y="112571"/>
                  </a:cubicBezTo>
                  <a:cubicBezTo>
                    <a:pt x="237676" y="120730"/>
                    <a:pt x="240395" y="128889"/>
                    <a:pt x="240395" y="137048"/>
                  </a:cubicBezTo>
                  <a:cubicBezTo>
                    <a:pt x="240395" y="142487"/>
                    <a:pt x="240395" y="145207"/>
                    <a:pt x="240395" y="150647"/>
                  </a:cubicBezTo>
                  <a:cubicBezTo>
                    <a:pt x="240395" y="153366"/>
                    <a:pt x="240395" y="156086"/>
                    <a:pt x="243115" y="158805"/>
                  </a:cubicBezTo>
                  <a:cubicBezTo>
                    <a:pt x="245835" y="169684"/>
                    <a:pt x="245835" y="180563"/>
                    <a:pt x="248554" y="188722"/>
                  </a:cubicBezTo>
                  <a:cubicBezTo>
                    <a:pt x="248554" y="191441"/>
                    <a:pt x="248554" y="194161"/>
                    <a:pt x="248554" y="199600"/>
                  </a:cubicBezTo>
                  <a:cubicBezTo>
                    <a:pt x="248554" y="207759"/>
                    <a:pt x="248554" y="213198"/>
                    <a:pt x="248554" y="221357"/>
                  </a:cubicBezTo>
                  <a:cubicBezTo>
                    <a:pt x="248554" y="234956"/>
                    <a:pt x="251274" y="248554"/>
                    <a:pt x="253994" y="264872"/>
                  </a:cubicBezTo>
                  <a:cubicBezTo>
                    <a:pt x="256713" y="275751"/>
                    <a:pt x="259433" y="286629"/>
                    <a:pt x="262153" y="297508"/>
                  </a:cubicBezTo>
                  <a:cubicBezTo>
                    <a:pt x="264872" y="305667"/>
                    <a:pt x="264872" y="313826"/>
                    <a:pt x="264872" y="324704"/>
                  </a:cubicBezTo>
                  <a:cubicBezTo>
                    <a:pt x="264872" y="327424"/>
                    <a:pt x="264872" y="330144"/>
                    <a:pt x="264872" y="332863"/>
                  </a:cubicBezTo>
                  <a:cubicBezTo>
                    <a:pt x="264872" y="338303"/>
                    <a:pt x="264872" y="346462"/>
                    <a:pt x="264872" y="351901"/>
                  </a:cubicBezTo>
                  <a:cubicBezTo>
                    <a:pt x="264872" y="357340"/>
                    <a:pt x="262153" y="365499"/>
                    <a:pt x="262153" y="370939"/>
                  </a:cubicBezTo>
                  <a:cubicBezTo>
                    <a:pt x="262153" y="376378"/>
                    <a:pt x="264872" y="384537"/>
                    <a:pt x="267592" y="384537"/>
                  </a:cubicBezTo>
                  <a:cubicBezTo>
                    <a:pt x="273031" y="384537"/>
                    <a:pt x="275751" y="376378"/>
                    <a:pt x="278471" y="370939"/>
                  </a:cubicBezTo>
                  <a:cubicBezTo>
                    <a:pt x="283910" y="360060"/>
                    <a:pt x="289349" y="346462"/>
                    <a:pt x="297508" y="332863"/>
                  </a:cubicBezTo>
                  <a:cubicBezTo>
                    <a:pt x="302948" y="324704"/>
                    <a:pt x="305667" y="313826"/>
                    <a:pt x="311106" y="305667"/>
                  </a:cubicBezTo>
                  <a:cubicBezTo>
                    <a:pt x="319265" y="289349"/>
                    <a:pt x="327424" y="275751"/>
                    <a:pt x="335583" y="259433"/>
                  </a:cubicBezTo>
                  <a:cubicBezTo>
                    <a:pt x="341023" y="248554"/>
                    <a:pt x="349182" y="234956"/>
                    <a:pt x="354621" y="224077"/>
                  </a:cubicBezTo>
                  <a:cubicBezTo>
                    <a:pt x="362780" y="207759"/>
                    <a:pt x="370939" y="191441"/>
                    <a:pt x="381817" y="172404"/>
                  </a:cubicBezTo>
                  <a:cubicBezTo>
                    <a:pt x="389977" y="153366"/>
                    <a:pt x="400855" y="134329"/>
                    <a:pt x="409014" y="118011"/>
                  </a:cubicBezTo>
                  <a:cubicBezTo>
                    <a:pt x="409014" y="115291"/>
                    <a:pt x="409014" y="115291"/>
                    <a:pt x="411734" y="115291"/>
                  </a:cubicBezTo>
                  <a:cubicBezTo>
                    <a:pt x="406294" y="115291"/>
                    <a:pt x="400855" y="115291"/>
                    <a:pt x="398136" y="115291"/>
                  </a:cubicBezTo>
                  <a:cubicBezTo>
                    <a:pt x="392696" y="115291"/>
                    <a:pt x="384537" y="115291"/>
                    <a:pt x="379098" y="109852"/>
                  </a:cubicBezTo>
                  <a:cubicBezTo>
                    <a:pt x="373659" y="107132"/>
                    <a:pt x="368219" y="98973"/>
                    <a:pt x="368219" y="93534"/>
                  </a:cubicBezTo>
                  <a:cubicBezTo>
                    <a:pt x="368219" y="90814"/>
                    <a:pt x="368219" y="88094"/>
                    <a:pt x="370939" y="85375"/>
                  </a:cubicBezTo>
                  <a:cubicBezTo>
                    <a:pt x="373659" y="82655"/>
                    <a:pt x="381817" y="79936"/>
                    <a:pt x="387257" y="77216"/>
                  </a:cubicBezTo>
                  <a:cubicBezTo>
                    <a:pt x="400855" y="74496"/>
                    <a:pt x="414453" y="71776"/>
                    <a:pt x="422612" y="71776"/>
                  </a:cubicBezTo>
                  <a:cubicBezTo>
                    <a:pt x="425332" y="71776"/>
                    <a:pt x="430771" y="71776"/>
                    <a:pt x="436211" y="71776"/>
                  </a:cubicBezTo>
                  <a:cubicBezTo>
                    <a:pt x="436211" y="71776"/>
                    <a:pt x="438930" y="69057"/>
                    <a:pt x="438930" y="69057"/>
                  </a:cubicBezTo>
                  <a:cubicBezTo>
                    <a:pt x="444370" y="66337"/>
                    <a:pt x="447089" y="66337"/>
                    <a:pt x="452529" y="66337"/>
                  </a:cubicBezTo>
                  <a:cubicBezTo>
                    <a:pt x="457968" y="66337"/>
                    <a:pt x="460688" y="66337"/>
                    <a:pt x="466127" y="69057"/>
                  </a:cubicBezTo>
                  <a:cubicBezTo>
                    <a:pt x="468847" y="69057"/>
                    <a:pt x="471566" y="71776"/>
                    <a:pt x="471566" y="71776"/>
                  </a:cubicBezTo>
                  <a:cubicBezTo>
                    <a:pt x="490604" y="71776"/>
                    <a:pt x="506922" y="71776"/>
                    <a:pt x="515081" y="71776"/>
                  </a:cubicBezTo>
                  <a:cubicBezTo>
                    <a:pt x="523240" y="71776"/>
                    <a:pt x="542277" y="71776"/>
                    <a:pt x="542277" y="88094"/>
                  </a:cubicBezTo>
                  <a:cubicBezTo>
                    <a:pt x="542277" y="96253"/>
                    <a:pt x="542277" y="98973"/>
                    <a:pt x="536838" y="104412"/>
                  </a:cubicBezTo>
                  <a:cubicBezTo>
                    <a:pt x="534119" y="109852"/>
                    <a:pt x="528679" y="112571"/>
                    <a:pt x="525959" y="112571"/>
                  </a:cubicBezTo>
                  <a:cubicBezTo>
                    <a:pt x="520520" y="115291"/>
                    <a:pt x="515081" y="115291"/>
                    <a:pt x="509642" y="115291"/>
                  </a:cubicBezTo>
                  <a:cubicBezTo>
                    <a:pt x="506922" y="115291"/>
                    <a:pt x="487884" y="115291"/>
                    <a:pt x="468847" y="115291"/>
                  </a:cubicBezTo>
                  <a:cubicBezTo>
                    <a:pt x="466127" y="123450"/>
                    <a:pt x="460688" y="128889"/>
                    <a:pt x="457968" y="137048"/>
                  </a:cubicBezTo>
                  <a:cubicBezTo>
                    <a:pt x="447089" y="156086"/>
                    <a:pt x="438930" y="175123"/>
                    <a:pt x="430771" y="194161"/>
                  </a:cubicBezTo>
                  <a:cubicBezTo>
                    <a:pt x="419893" y="215918"/>
                    <a:pt x="411734" y="240395"/>
                    <a:pt x="400855" y="262152"/>
                  </a:cubicBezTo>
                  <a:cubicBezTo>
                    <a:pt x="387257" y="289349"/>
                    <a:pt x="373659" y="311106"/>
                    <a:pt x="360060" y="332863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: Shape 38">
              <a:extLst>
                <a:ext uri="{FF2B5EF4-FFF2-40B4-BE49-F238E27FC236}">
                  <a16:creationId xmlns:a16="http://schemas.microsoft.com/office/drawing/2014/main" id="{AA54ECDD-525B-4F0D-A32C-CAD98CC4E1E2}"/>
                </a:ext>
              </a:extLst>
            </p:cNvPr>
            <p:cNvSpPr/>
            <p:nvPr/>
          </p:nvSpPr>
          <p:spPr>
            <a:xfrm>
              <a:off x="4335316" y="4186718"/>
              <a:ext cx="353556" cy="761503"/>
            </a:xfrm>
            <a:custGeom>
              <a:avLst/>
              <a:gdLst>
                <a:gd name="connsiteX0" fmla="*/ 283910 w 353555"/>
                <a:gd name="connsiteY0" fmla="*/ 672820 h 761503"/>
                <a:gd name="connsiteX1" fmla="*/ 321985 w 353555"/>
                <a:gd name="connsiteY1" fmla="*/ 689138 h 761503"/>
                <a:gd name="connsiteX2" fmla="*/ 316546 w 353555"/>
                <a:gd name="connsiteY2" fmla="*/ 705456 h 761503"/>
                <a:gd name="connsiteX3" fmla="*/ 300228 w 353555"/>
                <a:gd name="connsiteY3" fmla="*/ 713615 h 761503"/>
                <a:gd name="connsiteX4" fmla="*/ 278471 w 353555"/>
                <a:gd name="connsiteY4" fmla="*/ 716335 h 761503"/>
                <a:gd name="connsiteX5" fmla="*/ 237676 w 353555"/>
                <a:gd name="connsiteY5" fmla="*/ 716335 h 761503"/>
                <a:gd name="connsiteX6" fmla="*/ 180563 w 353555"/>
                <a:gd name="connsiteY6" fmla="*/ 719054 h 761503"/>
                <a:gd name="connsiteX7" fmla="*/ 126170 w 353555"/>
                <a:gd name="connsiteY7" fmla="*/ 719054 h 761503"/>
                <a:gd name="connsiteX8" fmla="*/ 101693 w 353555"/>
                <a:gd name="connsiteY8" fmla="*/ 719054 h 761503"/>
                <a:gd name="connsiteX9" fmla="*/ 74496 w 353555"/>
                <a:gd name="connsiteY9" fmla="*/ 713615 h 761503"/>
                <a:gd name="connsiteX10" fmla="*/ 58178 w 353555"/>
                <a:gd name="connsiteY10" fmla="*/ 697297 h 761503"/>
                <a:gd name="connsiteX11" fmla="*/ 63617 w 353555"/>
                <a:gd name="connsiteY11" fmla="*/ 689138 h 761503"/>
                <a:gd name="connsiteX12" fmla="*/ 85375 w 353555"/>
                <a:gd name="connsiteY12" fmla="*/ 680979 h 761503"/>
                <a:gd name="connsiteX13" fmla="*/ 131609 w 353555"/>
                <a:gd name="connsiteY13" fmla="*/ 675540 h 761503"/>
                <a:gd name="connsiteX14" fmla="*/ 142488 w 353555"/>
                <a:gd name="connsiteY14" fmla="*/ 675540 h 761503"/>
                <a:gd name="connsiteX15" fmla="*/ 131609 w 353555"/>
                <a:gd name="connsiteY15" fmla="*/ 653783 h 761503"/>
                <a:gd name="connsiteX16" fmla="*/ 128889 w 353555"/>
                <a:gd name="connsiteY16" fmla="*/ 640184 h 761503"/>
                <a:gd name="connsiteX17" fmla="*/ 128889 w 353555"/>
                <a:gd name="connsiteY17" fmla="*/ 629306 h 761503"/>
                <a:gd name="connsiteX18" fmla="*/ 128889 w 353555"/>
                <a:gd name="connsiteY18" fmla="*/ 621147 h 761503"/>
                <a:gd name="connsiteX19" fmla="*/ 128889 w 353555"/>
                <a:gd name="connsiteY19" fmla="*/ 593950 h 761503"/>
                <a:gd name="connsiteX20" fmla="*/ 128889 w 353555"/>
                <a:gd name="connsiteY20" fmla="*/ 583072 h 761503"/>
                <a:gd name="connsiteX21" fmla="*/ 128889 w 353555"/>
                <a:gd name="connsiteY21" fmla="*/ 436210 h 761503"/>
                <a:gd name="connsiteX22" fmla="*/ 128889 w 353555"/>
                <a:gd name="connsiteY22" fmla="*/ 357340 h 761503"/>
                <a:gd name="connsiteX23" fmla="*/ 131609 w 353555"/>
                <a:gd name="connsiteY23" fmla="*/ 289349 h 761503"/>
                <a:gd name="connsiteX24" fmla="*/ 131609 w 353555"/>
                <a:gd name="connsiteY24" fmla="*/ 251274 h 761503"/>
                <a:gd name="connsiteX25" fmla="*/ 131609 w 353555"/>
                <a:gd name="connsiteY25" fmla="*/ 205040 h 761503"/>
                <a:gd name="connsiteX26" fmla="*/ 131609 w 353555"/>
                <a:gd name="connsiteY26" fmla="*/ 139768 h 761503"/>
                <a:gd name="connsiteX27" fmla="*/ 131609 w 353555"/>
                <a:gd name="connsiteY27" fmla="*/ 128889 h 761503"/>
                <a:gd name="connsiteX28" fmla="*/ 126170 w 353555"/>
                <a:gd name="connsiteY28" fmla="*/ 128889 h 761503"/>
                <a:gd name="connsiteX29" fmla="*/ 101693 w 353555"/>
                <a:gd name="connsiteY29" fmla="*/ 128889 h 761503"/>
                <a:gd name="connsiteX30" fmla="*/ 74496 w 353555"/>
                <a:gd name="connsiteY30" fmla="*/ 123450 h 761503"/>
                <a:gd name="connsiteX31" fmla="*/ 58178 w 353555"/>
                <a:gd name="connsiteY31" fmla="*/ 107132 h 761503"/>
                <a:gd name="connsiteX32" fmla="*/ 60898 w 353555"/>
                <a:gd name="connsiteY32" fmla="*/ 98973 h 761503"/>
                <a:gd name="connsiteX33" fmla="*/ 82655 w 353555"/>
                <a:gd name="connsiteY33" fmla="*/ 93534 h 761503"/>
                <a:gd name="connsiteX34" fmla="*/ 131609 w 353555"/>
                <a:gd name="connsiteY34" fmla="*/ 88094 h 761503"/>
                <a:gd name="connsiteX35" fmla="*/ 131609 w 353555"/>
                <a:gd name="connsiteY35" fmla="*/ 82655 h 761503"/>
                <a:gd name="connsiteX36" fmla="*/ 134329 w 353555"/>
                <a:gd name="connsiteY36" fmla="*/ 71776 h 761503"/>
                <a:gd name="connsiteX37" fmla="*/ 147927 w 353555"/>
                <a:gd name="connsiteY37" fmla="*/ 63617 h 761503"/>
                <a:gd name="connsiteX38" fmla="*/ 164245 w 353555"/>
                <a:gd name="connsiteY38" fmla="*/ 58178 h 761503"/>
                <a:gd name="connsiteX39" fmla="*/ 177843 w 353555"/>
                <a:gd name="connsiteY39" fmla="*/ 58178 h 761503"/>
                <a:gd name="connsiteX40" fmla="*/ 196881 w 353555"/>
                <a:gd name="connsiteY40" fmla="*/ 60898 h 761503"/>
                <a:gd name="connsiteX41" fmla="*/ 232236 w 353555"/>
                <a:gd name="connsiteY41" fmla="*/ 88094 h 761503"/>
                <a:gd name="connsiteX42" fmla="*/ 278471 w 353555"/>
                <a:gd name="connsiteY42" fmla="*/ 88094 h 761503"/>
                <a:gd name="connsiteX43" fmla="*/ 316546 w 353555"/>
                <a:gd name="connsiteY43" fmla="*/ 104412 h 761503"/>
                <a:gd name="connsiteX44" fmla="*/ 311106 w 353555"/>
                <a:gd name="connsiteY44" fmla="*/ 120730 h 761503"/>
                <a:gd name="connsiteX45" fmla="*/ 294788 w 353555"/>
                <a:gd name="connsiteY45" fmla="*/ 128889 h 761503"/>
                <a:gd name="connsiteX46" fmla="*/ 273031 w 353555"/>
                <a:gd name="connsiteY46" fmla="*/ 131609 h 761503"/>
                <a:gd name="connsiteX47" fmla="*/ 243115 w 353555"/>
                <a:gd name="connsiteY47" fmla="*/ 131609 h 761503"/>
                <a:gd name="connsiteX48" fmla="*/ 243115 w 353555"/>
                <a:gd name="connsiteY48" fmla="*/ 134329 h 761503"/>
                <a:gd name="connsiteX49" fmla="*/ 248554 w 353555"/>
                <a:gd name="connsiteY49" fmla="*/ 169684 h 761503"/>
                <a:gd name="connsiteX50" fmla="*/ 251274 w 353555"/>
                <a:gd name="connsiteY50" fmla="*/ 205040 h 761503"/>
                <a:gd name="connsiteX51" fmla="*/ 251274 w 353555"/>
                <a:gd name="connsiteY51" fmla="*/ 240395 h 761503"/>
                <a:gd name="connsiteX52" fmla="*/ 251274 w 353555"/>
                <a:gd name="connsiteY52" fmla="*/ 256713 h 761503"/>
                <a:gd name="connsiteX53" fmla="*/ 253994 w 353555"/>
                <a:gd name="connsiteY53" fmla="*/ 270311 h 761503"/>
                <a:gd name="connsiteX54" fmla="*/ 259433 w 353555"/>
                <a:gd name="connsiteY54" fmla="*/ 343742 h 761503"/>
                <a:gd name="connsiteX55" fmla="*/ 262153 w 353555"/>
                <a:gd name="connsiteY55" fmla="*/ 425332 h 761503"/>
                <a:gd name="connsiteX56" fmla="*/ 264872 w 353555"/>
                <a:gd name="connsiteY56" fmla="*/ 490603 h 761503"/>
                <a:gd name="connsiteX57" fmla="*/ 270312 w 353555"/>
                <a:gd name="connsiteY57" fmla="*/ 564034 h 761503"/>
                <a:gd name="connsiteX58" fmla="*/ 270312 w 353555"/>
                <a:gd name="connsiteY58" fmla="*/ 599390 h 761503"/>
                <a:gd name="connsiteX59" fmla="*/ 270312 w 353555"/>
                <a:gd name="connsiteY59" fmla="*/ 637465 h 761503"/>
                <a:gd name="connsiteX60" fmla="*/ 264872 w 353555"/>
                <a:gd name="connsiteY60" fmla="*/ 670101 h 761503"/>
                <a:gd name="connsiteX61" fmla="*/ 283910 w 353555"/>
                <a:gd name="connsiteY61" fmla="*/ 672820 h 761503"/>
                <a:gd name="connsiteX62" fmla="*/ 283910 w 353555"/>
                <a:gd name="connsiteY62" fmla="*/ 672820 h 761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</a:cxnLst>
              <a:rect l="l" t="t" r="r" b="b"/>
              <a:pathLst>
                <a:path w="353555" h="761503">
                  <a:moveTo>
                    <a:pt x="283910" y="672820"/>
                  </a:moveTo>
                  <a:cubicBezTo>
                    <a:pt x="297508" y="672820"/>
                    <a:pt x="321985" y="672820"/>
                    <a:pt x="321985" y="689138"/>
                  </a:cubicBezTo>
                  <a:cubicBezTo>
                    <a:pt x="321985" y="697297"/>
                    <a:pt x="319265" y="697297"/>
                    <a:pt x="316546" y="705456"/>
                  </a:cubicBezTo>
                  <a:cubicBezTo>
                    <a:pt x="311106" y="710895"/>
                    <a:pt x="305667" y="713615"/>
                    <a:pt x="300228" y="713615"/>
                  </a:cubicBezTo>
                  <a:cubicBezTo>
                    <a:pt x="292069" y="716335"/>
                    <a:pt x="283910" y="716335"/>
                    <a:pt x="278471" y="716335"/>
                  </a:cubicBezTo>
                  <a:cubicBezTo>
                    <a:pt x="275751" y="716335"/>
                    <a:pt x="256713" y="716335"/>
                    <a:pt x="237676" y="716335"/>
                  </a:cubicBezTo>
                  <a:cubicBezTo>
                    <a:pt x="213199" y="716335"/>
                    <a:pt x="186002" y="719054"/>
                    <a:pt x="180563" y="719054"/>
                  </a:cubicBezTo>
                  <a:cubicBezTo>
                    <a:pt x="166965" y="719054"/>
                    <a:pt x="142488" y="719054"/>
                    <a:pt x="126170" y="719054"/>
                  </a:cubicBezTo>
                  <a:cubicBezTo>
                    <a:pt x="118011" y="719054"/>
                    <a:pt x="109852" y="719054"/>
                    <a:pt x="101693" y="719054"/>
                  </a:cubicBezTo>
                  <a:cubicBezTo>
                    <a:pt x="93534" y="719054"/>
                    <a:pt x="82655" y="719054"/>
                    <a:pt x="74496" y="713615"/>
                  </a:cubicBezTo>
                  <a:cubicBezTo>
                    <a:pt x="66337" y="710895"/>
                    <a:pt x="58178" y="702736"/>
                    <a:pt x="58178" y="697297"/>
                  </a:cubicBezTo>
                  <a:cubicBezTo>
                    <a:pt x="58178" y="694578"/>
                    <a:pt x="58178" y="691858"/>
                    <a:pt x="63617" y="689138"/>
                  </a:cubicBezTo>
                  <a:cubicBezTo>
                    <a:pt x="69057" y="686418"/>
                    <a:pt x="79935" y="683699"/>
                    <a:pt x="85375" y="680979"/>
                  </a:cubicBezTo>
                  <a:cubicBezTo>
                    <a:pt x="104412" y="678260"/>
                    <a:pt x="123450" y="675540"/>
                    <a:pt x="131609" y="675540"/>
                  </a:cubicBezTo>
                  <a:cubicBezTo>
                    <a:pt x="134329" y="675540"/>
                    <a:pt x="137048" y="675540"/>
                    <a:pt x="142488" y="675540"/>
                  </a:cubicBezTo>
                  <a:cubicBezTo>
                    <a:pt x="134329" y="670101"/>
                    <a:pt x="131609" y="661942"/>
                    <a:pt x="131609" y="653783"/>
                  </a:cubicBezTo>
                  <a:cubicBezTo>
                    <a:pt x="131609" y="648343"/>
                    <a:pt x="131609" y="642904"/>
                    <a:pt x="128889" y="640184"/>
                  </a:cubicBezTo>
                  <a:cubicBezTo>
                    <a:pt x="128889" y="637465"/>
                    <a:pt x="128889" y="634745"/>
                    <a:pt x="128889" y="629306"/>
                  </a:cubicBezTo>
                  <a:cubicBezTo>
                    <a:pt x="128889" y="626586"/>
                    <a:pt x="128889" y="623867"/>
                    <a:pt x="128889" y="621147"/>
                  </a:cubicBezTo>
                  <a:cubicBezTo>
                    <a:pt x="128889" y="612988"/>
                    <a:pt x="128889" y="604829"/>
                    <a:pt x="128889" y="593950"/>
                  </a:cubicBezTo>
                  <a:cubicBezTo>
                    <a:pt x="128889" y="591231"/>
                    <a:pt x="128889" y="585791"/>
                    <a:pt x="128889" y="583072"/>
                  </a:cubicBezTo>
                  <a:cubicBezTo>
                    <a:pt x="128889" y="534118"/>
                    <a:pt x="131609" y="485164"/>
                    <a:pt x="128889" y="436210"/>
                  </a:cubicBezTo>
                  <a:cubicBezTo>
                    <a:pt x="128889" y="409014"/>
                    <a:pt x="128889" y="384537"/>
                    <a:pt x="128889" y="357340"/>
                  </a:cubicBezTo>
                  <a:cubicBezTo>
                    <a:pt x="128889" y="335583"/>
                    <a:pt x="131609" y="313826"/>
                    <a:pt x="131609" y="289349"/>
                  </a:cubicBezTo>
                  <a:cubicBezTo>
                    <a:pt x="131609" y="275751"/>
                    <a:pt x="131609" y="264872"/>
                    <a:pt x="131609" y="251274"/>
                  </a:cubicBezTo>
                  <a:cubicBezTo>
                    <a:pt x="131609" y="234956"/>
                    <a:pt x="131609" y="221357"/>
                    <a:pt x="131609" y="205040"/>
                  </a:cubicBezTo>
                  <a:cubicBezTo>
                    <a:pt x="131609" y="183282"/>
                    <a:pt x="131609" y="161525"/>
                    <a:pt x="131609" y="139768"/>
                  </a:cubicBezTo>
                  <a:cubicBezTo>
                    <a:pt x="131609" y="137048"/>
                    <a:pt x="131609" y="134329"/>
                    <a:pt x="131609" y="128889"/>
                  </a:cubicBezTo>
                  <a:cubicBezTo>
                    <a:pt x="128889" y="128889"/>
                    <a:pt x="126170" y="128889"/>
                    <a:pt x="126170" y="128889"/>
                  </a:cubicBezTo>
                  <a:cubicBezTo>
                    <a:pt x="118011" y="128889"/>
                    <a:pt x="109852" y="128889"/>
                    <a:pt x="101693" y="128889"/>
                  </a:cubicBezTo>
                  <a:cubicBezTo>
                    <a:pt x="93534" y="128889"/>
                    <a:pt x="82655" y="128889"/>
                    <a:pt x="74496" y="123450"/>
                  </a:cubicBezTo>
                  <a:cubicBezTo>
                    <a:pt x="66337" y="120730"/>
                    <a:pt x="58178" y="112571"/>
                    <a:pt x="58178" y="107132"/>
                  </a:cubicBezTo>
                  <a:cubicBezTo>
                    <a:pt x="58178" y="104412"/>
                    <a:pt x="58178" y="101693"/>
                    <a:pt x="60898" y="98973"/>
                  </a:cubicBezTo>
                  <a:cubicBezTo>
                    <a:pt x="63617" y="96253"/>
                    <a:pt x="77216" y="93534"/>
                    <a:pt x="82655" y="93534"/>
                  </a:cubicBezTo>
                  <a:cubicBezTo>
                    <a:pt x="98973" y="90814"/>
                    <a:pt x="123450" y="88094"/>
                    <a:pt x="131609" y="88094"/>
                  </a:cubicBezTo>
                  <a:cubicBezTo>
                    <a:pt x="131609" y="85375"/>
                    <a:pt x="131609" y="85375"/>
                    <a:pt x="131609" y="82655"/>
                  </a:cubicBezTo>
                  <a:cubicBezTo>
                    <a:pt x="131609" y="77216"/>
                    <a:pt x="131609" y="74496"/>
                    <a:pt x="134329" y="71776"/>
                  </a:cubicBezTo>
                  <a:cubicBezTo>
                    <a:pt x="137048" y="69057"/>
                    <a:pt x="145207" y="66337"/>
                    <a:pt x="147927" y="63617"/>
                  </a:cubicBezTo>
                  <a:cubicBezTo>
                    <a:pt x="153366" y="60898"/>
                    <a:pt x="158806" y="58178"/>
                    <a:pt x="164245" y="58178"/>
                  </a:cubicBezTo>
                  <a:cubicBezTo>
                    <a:pt x="169684" y="58178"/>
                    <a:pt x="175123" y="58178"/>
                    <a:pt x="177843" y="58178"/>
                  </a:cubicBezTo>
                  <a:cubicBezTo>
                    <a:pt x="183283" y="58178"/>
                    <a:pt x="191442" y="58178"/>
                    <a:pt x="196881" y="60898"/>
                  </a:cubicBezTo>
                  <a:cubicBezTo>
                    <a:pt x="213199" y="63617"/>
                    <a:pt x="224077" y="74496"/>
                    <a:pt x="232236" y="88094"/>
                  </a:cubicBezTo>
                  <a:cubicBezTo>
                    <a:pt x="253994" y="88094"/>
                    <a:pt x="270312" y="88094"/>
                    <a:pt x="278471" y="88094"/>
                  </a:cubicBezTo>
                  <a:cubicBezTo>
                    <a:pt x="292069" y="88094"/>
                    <a:pt x="316546" y="88094"/>
                    <a:pt x="316546" y="104412"/>
                  </a:cubicBezTo>
                  <a:cubicBezTo>
                    <a:pt x="316546" y="112571"/>
                    <a:pt x="313826" y="112571"/>
                    <a:pt x="311106" y="120730"/>
                  </a:cubicBezTo>
                  <a:cubicBezTo>
                    <a:pt x="305667" y="126170"/>
                    <a:pt x="300228" y="128889"/>
                    <a:pt x="294788" y="128889"/>
                  </a:cubicBezTo>
                  <a:cubicBezTo>
                    <a:pt x="286630" y="131609"/>
                    <a:pt x="278471" y="131609"/>
                    <a:pt x="273031" y="131609"/>
                  </a:cubicBezTo>
                  <a:cubicBezTo>
                    <a:pt x="270312" y="131609"/>
                    <a:pt x="259433" y="131609"/>
                    <a:pt x="243115" y="131609"/>
                  </a:cubicBezTo>
                  <a:lnTo>
                    <a:pt x="243115" y="134329"/>
                  </a:lnTo>
                  <a:cubicBezTo>
                    <a:pt x="245835" y="145207"/>
                    <a:pt x="245835" y="158805"/>
                    <a:pt x="248554" y="169684"/>
                  </a:cubicBezTo>
                  <a:cubicBezTo>
                    <a:pt x="251274" y="180563"/>
                    <a:pt x="251274" y="194161"/>
                    <a:pt x="251274" y="205040"/>
                  </a:cubicBezTo>
                  <a:cubicBezTo>
                    <a:pt x="251274" y="215918"/>
                    <a:pt x="251274" y="226797"/>
                    <a:pt x="251274" y="240395"/>
                  </a:cubicBezTo>
                  <a:cubicBezTo>
                    <a:pt x="251274" y="245834"/>
                    <a:pt x="251274" y="251274"/>
                    <a:pt x="251274" y="256713"/>
                  </a:cubicBezTo>
                  <a:cubicBezTo>
                    <a:pt x="251274" y="262152"/>
                    <a:pt x="251274" y="267592"/>
                    <a:pt x="253994" y="270311"/>
                  </a:cubicBezTo>
                  <a:cubicBezTo>
                    <a:pt x="256713" y="294788"/>
                    <a:pt x="256713" y="319265"/>
                    <a:pt x="259433" y="343742"/>
                  </a:cubicBezTo>
                  <a:cubicBezTo>
                    <a:pt x="259433" y="370939"/>
                    <a:pt x="262153" y="398135"/>
                    <a:pt x="262153" y="425332"/>
                  </a:cubicBezTo>
                  <a:cubicBezTo>
                    <a:pt x="262153" y="447089"/>
                    <a:pt x="262153" y="468846"/>
                    <a:pt x="264872" y="490603"/>
                  </a:cubicBezTo>
                  <a:cubicBezTo>
                    <a:pt x="264872" y="515080"/>
                    <a:pt x="270312" y="539557"/>
                    <a:pt x="270312" y="564034"/>
                  </a:cubicBezTo>
                  <a:cubicBezTo>
                    <a:pt x="270312" y="574913"/>
                    <a:pt x="270312" y="588511"/>
                    <a:pt x="270312" y="599390"/>
                  </a:cubicBezTo>
                  <a:cubicBezTo>
                    <a:pt x="270312" y="612988"/>
                    <a:pt x="270312" y="623867"/>
                    <a:pt x="270312" y="637465"/>
                  </a:cubicBezTo>
                  <a:cubicBezTo>
                    <a:pt x="270312" y="648343"/>
                    <a:pt x="270312" y="661942"/>
                    <a:pt x="264872" y="670101"/>
                  </a:cubicBezTo>
                  <a:cubicBezTo>
                    <a:pt x="273031" y="672820"/>
                    <a:pt x="278471" y="672820"/>
                    <a:pt x="283910" y="672820"/>
                  </a:cubicBezTo>
                  <a:lnTo>
                    <a:pt x="283910" y="672820"/>
                  </a:ln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0" name="Freeform: Shape 39">
              <a:extLst>
                <a:ext uri="{FF2B5EF4-FFF2-40B4-BE49-F238E27FC236}">
                  <a16:creationId xmlns:a16="http://schemas.microsoft.com/office/drawing/2014/main" id="{099AA5A5-B810-47BF-9870-E078E580E225}"/>
                </a:ext>
              </a:extLst>
            </p:cNvPr>
            <p:cNvSpPr/>
            <p:nvPr/>
          </p:nvSpPr>
          <p:spPr>
            <a:xfrm>
              <a:off x="4620880" y="4194877"/>
              <a:ext cx="598325" cy="761503"/>
            </a:xfrm>
            <a:custGeom>
              <a:avLst/>
              <a:gdLst>
                <a:gd name="connsiteX0" fmla="*/ 515081 w 598324"/>
                <a:gd name="connsiteY0" fmla="*/ 79935 h 761503"/>
                <a:gd name="connsiteX1" fmla="*/ 542277 w 598324"/>
                <a:gd name="connsiteY1" fmla="*/ 96253 h 761503"/>
                <a:gd name="connsiteX2" fmla="*/ 536838 w 598324"/>
                <a:gd name="connsiteY2" fmla="*/ 112571 h 761503"/>
                <a:gd name="connsiteX3" fmla="*/ 523240 w 598324"/>
                <a:gd name="connsiteY3" fmla="*/ 120730 h 761503"/>
                <a:gd name="connsiteX4" fmla="*/ 506922 w 598324"/>
                <a:gd name="connsiteY4" fmla="*/ 123450 h 761503"/>
                <a:gd name="connsiteX5" fmla="*/ 477006 w 598324"/>
                <a:gd name="connsiteY5" fmla="*/ 123450 h 761503"/>
                <a:gd name="connsiteX6" fmla="*/ 479725 w 598324"/>
                <a:gd name="connsiteY6" fmla="*/ 145207 h 761503"/>
                <a:gd name="connsiteX7" fmla="*/ 477006 w 598324"/>
                <a:gd name="connsiteY7" fmla="*/ 180563 h 761503"/>
                <a:gd name="connsiteX8" fmla="*/ 482445 w 598324"/>
                <a:gd name="connsiteY8" fmla="*/ 232236 h 761503"/>
                <a:gd name="connsiteX9" fmla="*/ 485165 w 598324"/>
                <a:gd name="connsiteY9" fmla="*/ 283909 h 761503"/>
                <a:gd name="connsiteX10" fmla="*/ 485165 w 598324"/>
                <a:gd name="connsiteY10" fmla="*/ 327424 h 761503"/>
                <a:gd name="connsiteX11" fmla="*/ 487884 w 598324"/>
                <a:gd name="connsiteY11" fmla="*/ 373658 h 761503"/>
                <a:gd name="connsiteX12" fmla="*/ 485165 w 598324"/>
                <a:gd name="connsiteY12" fmla="*/ 419892 h 761503"/>
                <a:gd name="connsiteX13" fmla="*/ 485165 w 598324"/>
                <a:gd name="connsiteY13" fmla="*/ 463407 h 761503"/>
                <a:gd name="connsiteX14" fmla="*/ 482445 w 598324"/>
                <a:gd name="connsiteY14" fmla="*/ 515080 h 761503"/>
                <a:gd name="connsiteX15" fmla="*/ 482445 w 598324"/>
                <a:gd name="connsiteY15" fmla="*/ 558595 h 761503"/>
                <a:gd name="connsiteX16" fmla="*/ 479725 w 598324"/>
                <a:gd name="connsiteY16" fmla="*/ 602109 h 761503"/>
                <a:gd name="connsiteX17" fmla="*/ 485165 w 598324"/>
                <a:gd name="connsiteY17" fmla="*/ 648343 h 761503"/>
                <a:gd name="connsiteX18" fmla="*/ 474286 w 598324"/>
                <a:gd name="connsiteY18" fmla="*/ 675540 h 761503"/>
                <a:gd name="connsiteX19" fmla="*/ 428052 w 598324"/>
                <a:gd name="connsiteY19" fmla="*/ 691858 h 761503"/>
                <a:gd name="connsiteX20" fmla="*/ 387257 w 598324"/>
                <a:gd name="connsiteY20" fmla="*/ 683699 h 761503"/>
                <a:gd name="connsiteX21" fmla="*/ 351901 w 598324"/>
                <a:gd name="connsiteY21" fmla="*/ 664661 h 761503"/>
                <a:gd name="connsiteX22" fmla="*/ 305667 w 598324"/>
                <a:gd name="connsiteY22" fmla="*/ 596670 h 761503"/>
                <a:gd name="connsiteX23" fmla="*/ 270312 w 598324"/>
                <a:gd name="connsiteY23" fmla="*/ 509641 h 761503"/>
                <a:gd name="connsiteX24" fmla="*/ 251274 w 598324"/>
                <a:gd name="connsiteY24" fmla="*/ 460687 h 761503"/>
                <a:gd name="connsiteX25" fmla="*/ 224077 w 598324"/>
                <a:gd name="connsiteY25" fmla="*/ 381817 h 761503"/>
                <a:gd name="connsiteX26" fmla="*/ 207759 w 598324"/>
                <a:gd name="connsiteY26" fmla="*/ 330144 h 761503"/>
                <a:gd name="connsiteX27" fmla="*/ 191442 w 598324"/>
                <a:gd name="connsiteY27" fmla="*/ 286629 h 761503"/>
                <a:gd name="connsiteX28" fmla="*/ 183283 w 598324"/>
                <a:gd name="connsiteY28" fmla="*/ 278470 h 761503"/>
                <a:gd name="connsiteX29" fmla="*/ 180563 w 598324"/>
                <a:gd name="connsiteY29" fmla="*/ 292068 h 761503"/>
                <a:gd name="connsiteX30" fmla="*/ 180563 w 598324"/>
                <a:gd name="connsiteY30" fmla="*/ 305667 h 761503"/>
                <a:gd name="connsiteX31" fmla="*/ 183283 w 598324"/>
                <a:gd name="connsiteY31" fmla="*/ 354620 h 761503"/>
                <a:gd name="connsiteX32" fmla="*/ 188722 w 598324"/>
                <a:gd name="connsiteY32" fmla="*/ 449808 h 761503"/>
                <a:gd name="connsiteX33" fmla="*/ 188722 w 598324"/>
                <a:gd name="connsiteY33" fmla="*/ 479725 h 761503"/>
                <a:gd name="connsiteX34" fmla="*/ 188722 w 598324"/>
                <a:gd name="connsiteY34" fmla="*/ 542277 h 761503"/>
                <a:gd name="connsiteX35" fmla="*/ 186002 w 598324"/>
                <a:gd name="connsiteY35" fmla="*/ 615708 h 761503"/>
                <a:gd name="connsiteX36" fmla="*/ 186002 w 598324"/>
                <a:gd name="connsiteY36" fmla="*/ 637465 h 761503"/>
                <a:gd name="connsiteX37" fmla="*/ 183283 w 598324"/>
                <a:gd name="connsiteY37" fmla="*/ 664661 h 761503"/>
                <a:gd name="connsiteX38" fmla="*/ 226797 w 598324"/>
                <a:gd name="connsiteY38" fmla="*/ 664661 h 761503"/>
                <a:gd name="connsiteX39" fmla="*/ 253994 w 598324"/>
                <a:gd name="connsiteY39" fmla="*/ 680979 h 761503"/>
                <a:gd name="connsiteX40" fmla="*/ 248554 w 598324"/>
                <a:gd name="connsiteY40" fmla="*/ 697297 h 761503"/>
                <a:gd name="connsiteX41" fmla="*/ 234956 w 598324"/>
                <a:gd name="connsiteY41" fmla="*/ 705456 h 761503"/>
                <a:gd name="connsiteX42" fmla="*/ 218638 w 598324"/>
                <a:gd name="connsiteY42" fmla="*/ 708176 h 761503"/>
                <a:gd name="connsiteX43" fmla="*/ 183283 w 598324"/>
                <a:gd name="connsiteY43" fmla="*/ 708176 h 761503"/>
                <a:gd name="connsiteX44" fmla="*/ 150647 w 598324"/>
                <a:gd name="connsiteY44" fmla="*/ 708176 h 761503"/>
                <a:gd name="connsiteX45" fmla="*/ 107132 w 598324"/>
                <a:gd name="connsiteY45" fmla="*/ 708176 h 761503"/>
                <a:gd name="connsiteX46" fmla="*/ 88094 w 598324"/>
                <a:gd name="connsiteY46" fmla="*/ 708176 h 761503"/>
                <a:gd name="connsiteX47" fmla="*/ 69057 w 598324"/>
                <a:gd name="connsiteY47" fmla="*/ 702736 h 761503"/>
                <a:gd name="connsiteX48" fmla="*/ 58178 w 598324"/>
                <a:gd name="connsiteY48" fmla="*/ 686418 h 761503"/>
                <a:gd name="connsiteX49" fmla="*/ 60898 w 598324"/>
                <a:gd name="connsiteY49" fmla="*/ 678259 h 761503"/>
                <a:gd name="connsiteX50" fmla="*/ 77216 w 598324"/>
                <a:gd name="connsiteY50" fmla="*/ 670101 h 761503"/>
                <a:gd name="connsiteX51" fmla="*/ 120730 w 598324"/>
                <a:gd name="connsiteY51" fmla="*/ 664661 h 761503"/>
                <a:gd name="connsiteX52" fmla="*/ 131609 w 598324"/>
                <a:gd name="connsiteY52" fmla="*/ 664661 h 761503"/>
                <a:gd name="connsiteX53" fmla="*/ 134329 w 598324"/>
                <a:gd name="connsiteY53" fmla="*/ 539557 h 761503"/>
                <a:gd name="connsiteX54" fmla="*/ 134329 w 598324"/>
                <a:gd name="connsiteY54" fmla="*/ 504201 h 761503"/>
                <a:gd name="connsiteX55" fmla="*/ 131609 w 598324"/>
                <a:gd name="connsiteY55" fmla="*/ 376378 h 761503"/>
                <a:gd name="connsiteX56" fmla="*/ 131609 w 598324"/>
                <a:gd name="connsiteY56" fmla="*/ 302947 h 761503"/>
                <a:gd name="connsiteX57" fmla="*/ 134329 w 598324"/>
                <a:gd name="connsiteY57" fmla="*/ 221357 h 761503"/>
                <a:gd name="connsiteX58" fmla="*/ 137048 w 598324"/>
                <a:gd name="connsiteY58" fmla="*/ 123450 h 761503"/>
                <a:gd name="connsiteX59" fmla="*/ 107132 w 598324"/>
                <a:gd name="connsiteY59" fmla="*/ 123450 h 761503"/>
                <a:gd name="connsiteX60" fmla="*/ 88094 w 598324"/>
                <a:gd name="connsiteY60" fmla="*/ 123450 h 761503"/>
                <a:gd name="connsiteX61" fmla="*/ 69057 w 598324"/>
                <a:gd name="connsiteY61" fmla="*/ 118011 h 761503"/>
                <a:gd name="connsiteX62" fmla="*/ 58178 w 598324"/>
                <a:gd name="connsiteY62" fmla="*/ 101693 h 761503"/>
                <a:gd name="connsiteX63" fmla="*/ 60898 w 598324"/>
                <a:gd name="connsiteY63" fmla="*/ 93534 h 761503"/>
                <a:gd name="connsiteX64" fmla="*/ 77216 w 598324"/>
                <a:gd name="connsiteY64" fmla="*/ 85375 h 761503"/>
                <a:gd name="connsiteX65" fmla="*/ 131609 w 598324"/>
                <a:gd name="connsiteY65" fmla="*/ 79935 h 761503"/>
                <a:gd name="connsiteX66" fmla="*/ 161525 w 598324"/>
                <a:gd name="connsiteY66" fmla="*/ 79935 h 761503"/>
                <a:gd name="connsiteX67" fmla="*/ 177843 w 598324"/>
                <a:gd name="connsiteY67" fmla="*/ 66337 h 761503"/>
                <a:gd name="connsiteX68" fmla="*/ 202320 w 598324"/>
                <a:gd name="connsiteY68" fmla="*/ 58178 h 761503"/>
                <a:gd name="connsiteX69" fmla="*/ 234956 w 598324"/>
                <a:gd name="connsiteY69" fmla="*/ 77216 h 761503"/>
                <a:gd name="connsiteX70" fmla="*/ 251274 w 598324"/>
                <a:gd name="connsiteY70" fmla="*/ 107132 h 761503"/>
                <a:gd name="connsiteX71" fmla="*/ 267592 w 598324"/>
                <a:gd name="connsiteY71" fmla="*/ 147927 h 761503"/>
                <a:gd name="connsiteX72" fmla="*/ 281190 w 598324"/>
                <a:gd name="connsiteY72" fmla="*/ 183282 h 761503"/>
                <a:gd name="connsiteX73" fmla="*/ 297508 w 598324"/>
                <a:gd name="connsiteY73" fmla="*/ 224077 h 761503"/>
                <a:gd name="connsiteX74" fmla="*/ 308387 w 598324"/>
                <a:gd name="connsiteY74" fmla="*/ 264872 h 761503"/>
                <a:gd name="connsiteX75" fmla="*/ 319265 w 598324"/>
                <a:gd name="connsiteY75" fmla="*/ 300227 h 761503"/>
                <a:gd name="connsiteX76" fmla="*/ 351901 w 598324"/>
                <a:gd name="connsiteY76" fmla="*/ 379097 h 761503"/>
                <a:gd name="connsiteX77" fmla="*/ 365500 w 598324"/>
                <a:gd name="connsiteY77" fmla="*/ 417173 h 761503"/>
                <a:gd name="connsiteX78" fmla="*/ 379098 w 598324"/>
                <a:gd name="connsiteY78" fmla="*/ 457967 h 761503"/>
                <a:gd name="connsiteX79" fmla="*/ 395416 w 598324"/>
                <a:gd name="connsiteY79" fmla="*/ 496043 h 761503"/>
                <a:gd name="connsiteX80" fmla="*/ 406294 w 598324"/>
                <a:gd name="connsiteY80" fmla="*/ 512361 h 761503"/>
                <a:gd name="connsiteX81" fmla="*/ 411734 w 598324"/>
                <a:gd name="connsiteY81" fmla="*/ 531398 h 761503"/>
                <a:gd name="connsiteX82" fmla="*/ 419893 w 598324"/>
                <a:gd name="connsiteY82" fmla="*/ 558595 h 761503"/>
                <a:gd name="connsiteX83" fmla="*/ 425332 w 598324"/>
                <a:gd name="connsiteY83" fmla="*/ 564034 h 761503"/>
                <a:gd name="connsiteX84" fmla="*/ 430771 w 598324"/>
                <a:gd name="connsiteY84" fmla="*/ 558595 h 761503"/>
                <a:gd name="connsiteX85" fmla="*/ 430771 w 598324"/>
                <a:gd name="connsiteY85" fmla="*/ 550436 h 761503"/>
                <a:gd name="connsiteX86" fmla="*/ 430771 w 598324"/>
                <a:gd name="connsiteY86" fmla="*/ 501482 h 761503"/>
                <a:gd name="connsiteX87" fmla="*/ 430771 w 598324"/>
                <a:gd name="connsiteY87" fmla="*/ 403574 h 761503"/>
                <a:gd name="connsiteX88" fmla="*/ 425332 w 598324"/>
                <a:gd name="connsiteY88" fmla="*/ 313826 h 761503"/>
                <a:gd name="connsiteX89" fmla="*/ 425332 w 598324"/>
                <a:gd name="connsiteY89" fmla="*/ 248554 h 761503"/>
                <a:gd name="connsiteX90" fmla="*/ 425332 w 598324"/>
                <a:gd name="connsiteY90" fmla="*/ 210479 h 761503"/>
                <a:gd name="connsiteX91" fmla="*/ 422613 w 598324"/>
                <a:gd name="connsiteY91" fmla="*/ 153366 h 761503"/>
                <a:gd name="connsiteX92" fmla="*/ 425332 w 598324"/>
                <a:gd name="connsiteY92" fmla="*/ 123450 h 761503"/>
                <a:gd name="connsiteX93" fmla="*/ 398136 w 598324"/>
                <a:gd name="connsiteY93" fmla="*/ 123450 h 761503"/>
                <a:gd name="connsiteX94" fmla="*/ 379098 w 598324"/>
                <a:gd name="connsiteY94" fmla="*/ 123450 h 761503"/>
                <a:gd name="connsiteX95" fmla="*/ 360060 w 598324"/>
                <a:gd name="connsiteY95" fmla="*/ 118011 h 761503"/>
                <a:gd name="connsiteX96" fmla="*/ 349182 w 598324"/>
                <a:gd name="connsiteY96" fmla="*/ 101693 h 761503"/>
                <a:gd name="connsiteX97" fmla="*/ 351901 w 598324"/>
                <a:gd name="connsiteY97" fmla="*/ 93534 h 761503"/>
                <a:gd name="connsiteX98" fmla="*/ 368219 w 598324"/>
                <a:gd name="connsiteY98" fmla="*/ 85375 h 761503"/>
                <a:gd name="connsiteX99" fmla="*/ 422613 w 598324"/>
                <a:gd name="connsiteY99" fmla="*/ 79935 h 761503"/>
                <a:gd name="connsiteX100" fmla="*/ 444370 w 598324"/>
                <a:gd name="connsiteY100" fmla="*/ 79935 h 761503"/>
                <a:gd name="connsiteX101" fmla="*/ 463407 w 598324"/>
                <a:gd name="connsiteY101" fmla="*/ 71776 h 761503"/>
                <a:gd name="connsiteX102" fmla="*/ 477006 w 598324"/>
                <a:gd name="connsiteY102" fmla="*/ 79935 h 761503"/>
                <a:gd name="connsiteX103" fmla="*/ 515081 w 598324"/>
                <a:gd name="connsiteY103" fmla="*/ 79935 h 761503"/>
                <a:gd name="connsiteX104" fmla="*/ 515081 w 598324"/>
                <a:gd name="connsiteY104" fmla="*/ 79935 h 761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</a:cxnLst>
              <a:rect l="l" t="t" r="r" b="b"/>
              <a:pathLst>
                <a:path w="598324" h="761503">
                  <a:moveTo>
                    <a:pt x="515081" y="79935"/>
                  </a:moveTo>
                  <a:cubicBezTo>
                    <a:pt x="523240" y="79935"/>
                    <a:pt x="542277" y="79935"/>
                    <a:pt x="542277" y="96253"/>
                  </a:cubicBezTo>
                  <a:cubicBezTo>
                    <a:pt x="542277" y="104412"/>
                    <a:pt x="542277" y="107132"/>
                    <a:pt x="536838" y="112571"/>
                  </a:cubicBezTo>
                  <a:cubicBezTo>
                    <a:pt x="534119" y="118011"/>
                    <a:pt x="528679" y="120730"/>
                    <a:pt x="523240" y="120730"/>
                  </a:cubicBezTo>
                  <a:cubicBezTo>
                    <a:pt x="515081" y="123450"/>
                    <a:pt x="512361" y="123450"/>
                    <a:pt x="506922" y="123450"/>
                  </a:cubicBezTo>
                  <a:cubicBezTo>
                    <a:pt x="504202" y="123450"/>
                    <a:pt x="490604" y="123450"/>
                    <a:pt x="477006" y="123450"/>
                  </a:cubicBezTo>
                  <a:cubicBezTo>
                    <a:pt x="477006" y="131609"/>
                    <a:pt x="479725" y="137048"/>
                    <a:pt x="479725" y="145207"/>
                  </a:cubicBezTo>
                  <a:cubicBezTo>
                    <a:pt x="479725" y="156086"/>
                    <a:pt x="477006" y="166964"/>
                    <a:pt x="477006" y="180563"/>
                  </a:cubicBezTo>
                  <a:cubicBezTo>
                    <a:pt x="477006" y="196881"/>
                    <a:pt x="479725" y="215918"/>
                    <a:pt x="482445" y="232236"/>
                  </a:cubicBezTo>
                  <a:cubicBezTo>
                    <a:pt x="485165" y="248554"/>
                    <a:pt x="485165" y="267592"/>
                    <a:pt x="485165" y="283909"/>
                  </a:cubicBezTo>
                  <a:cubicBezTo>
                    <a:pt x="485165" y="297508"/>
                    <a:pt x="485165" y="313826"/>
                    <a:pt x="485165" y="327424"/>
                  </a:cubicBezTo>
                  <a:cubicBezTo>
                    <a:pt x="485165" y="343742"/>
                    <a:pt x="487884" y="357340"/>
                    <a:pt x="487884" y="373658"/>
                  </a:cubicBezTo>
                  <a:cubicBezTo>
                    <a:pt x="487884" y="389976"/>
                    <a:pt x="485165" y="403574"/>
                    <a:pt x="485165" y="419892"/>
                  </a:cubicBezTo>
                  <a:cubicBezTo>
                    <a:pt x="485165" y="436210"/>
                    <a:pt x="485165" y="449808"/>
                    <a:pt x="485165" y="463407"/>
                  </a:cubicBezTo>
                  <a:cubicBezTo>
                    <a:pt x="485165" y="479725"/>
                    <a:pt x="485165" y="498762"/>
                    <a:pt x="482445" y="515080"/>
                  </a:cubicBezTo>
                  <a:cubicBezTo>
                    <a:pt x="482445" y="528678"/>
                    <a:pt x="482445" y="542277"/>
                    <a:pt x="482445" y="558595"/>
                  </a:cubicBezTo>
                  <a:cubicBezTo>
                    <a:pt x="482445" y="572193"/>
                    <a:pt x="479725" y="588511"/>
                    <a:pt x="479725" y="602109"/>
                  </a:cubicBezTo>
                  <a:cubicBezTo>
                    <a:pt x="479725" y="615708"/>
                    <a:pt x="485165" y="632025"/>
                    <a:pt x="485165" y="648343"/>
                  </a:cubicBezTo>
                  <a:cubicBezTo>
                    <a:pt x="485165" y="659222"/>
                    <a:pt x="482445" y="670101"/>
                    <a:pt x="474286" y="675540"/>
                  </a:cubicBezTo>
                  <a:cubicBezTo>
                    <a:pt x="460688" y="686418"/>
                    <a:pt x="444370" y="691858"/>
                    <a:pt x="428052" y="691858"/>
                  </a:cubicBezTo>
                  <a:cubicBezTo>
                    <a:pt x="414453" y="691858"/>
                    <a:pt x="400855" y="689138"/>
                    <a:pt x="387257" y="683699"/>
                  </a:cubicBezTo>
                  <a:cubicBezTo>
                    <a:pt x="373659" y="678259"/>
                    <a:pt x="360060" y="672820"/>
                    <a:pt x="351901" y="664661"/>
                  </a:cubicBezTo>
                  <a:cubicBezTo>
                    <a:pt x="330144" y="645624"/>
                    <a:pt x="316546" y="621147"/>
                    <a:pt x="305667" y="596670"/>
                  </a:cubicBezTo>
                  <a:cubicBezTo>
                    <a:pt x="292069" y="569473"/>
                    <a:pt x="281190" y="539557"/>
                    <a:pt x="270312" y="509641"/>
                  </a:cubicBezTo>
                  <a:cubicBezTo>
                    <a:pt x="264872" y="493323"/>
                    <a:pt x="256713" y="477005"/>
                    <a:pt x="251274" y="460687"/>
                  </a:cubicBezTo>
                  <a:cubicBezTo>
                    <a:pt x="240395" y="433490"/>
                    <a:pt x="232236" y="409014"/>
                    <a:pt x="224077" y="381817"/>
                  </a:cubicBezTo>
                  <a:cubicBezTo>
                    <a:pt x="218638" y="365499"/>
                    <a:pt x="213199" y="346462"/>
                    <a:pt x="207759" y="330144"/>
                  </a:cubicBezTo>
                  <a:cubicBezTo>
                    <a:pt x="202320" y="316545"/>
                    <a:pt x="196881" y="300227"/>
                    <a:pt x="191442" y="286629"/>
                  </a:cubicBezTo>
                  <a:cubicBezTo>
                    <a:pt x="188722" y="281190"/>
                    <a:pt x="186002" y="278470"/>
                    <a:pt x="183283" y="278470"/>
                  </a:cubicBezTo>
                  <a:cubicBezTo>
                    <a:pt x="180563" y="278470"/>
                    <a:pt x="180563" y="286629"/>
                    <a:pt x="180563" y="292068"/>
                  </a:cubicBezTo>
                  <a:cubicBezTo>
                    <a:pt x="180563" y="297508"/>
                    <a:pt x="180563" y="302947"/>
                    <a:pt x="180563" y="305667"/>
                  </a:cubicBezTo>
                  <a:cubicBezTo>
                    <a:pt x="180563" y="321985"/>
                    <a:pt x="183283" y="338303"/>
                    <a:pt x="183283" y="354620"/>
                  </a:cubicBezTo>
                  <a:cubicBezTo>
                    <a:pt x="183283" y="387256"/>
                    <a:pt x="186002" y="417173"/>
                    <a:pt x="188722" y="449808"/>
                  </a:cubicBezTo>
                  <a:cubicBezTo>
                    <a:pt x="188722" y="460687"/>
                    <a:pt x="188722" y="468846"/>
                    <a:pt x="188722" y="479725"/>
                  </a:cubicBezTo>
                  <a:cubicBezTo>
                    <a:pt x="188722" y="501482"/>
                    <a:pt x="188722" y="523239"/>
                    <a:pt x="188722" y="542277"/>
                  </a:cubicBezTo>
                  <a:cubicBezTo>
                    <a:pt x="188722" y="566754"/>
                    <a:pt x="186002" y="591231"/>
                    <a:pt x="186002" y="615708"/>
                  </a:cubicBezTo>
                  <a:cubicBezTo>
                    <a:pt x="186002" y="623866"/>
                    <a:pt x="186002" y="632025"/>
                    <a:pt x="186002" y="637465"/>
                  </a:cubicBezTo>
                  <a:cubicBezTo>
                    <a:pt x="186002" y="645624"/>
                    <a:pt x="183283" y="656502"/>
                    <a:pt x="183283" y="664661"/>
                  </a:cubicBezTo>
                  <a:cubicBezTo>
                    <a:pt x="202320" y="664661"/>
                    <a:pt x="218638" y="664661"/>
                    <a:pt x="226797" y="664661"/>
                  </a:cubicBezTo>
                  <a:cubicBezTo>
                    <a:pt x="234956" y="664661"/>
                    <a:pt x="253994" y="664661"/>
                    <a:pt x="253994" y="680979"/>
                  </a:cubicBezTo>
                  <a:cubicBezTo>
                    <a:pt x="253994" y="689138"/>
                    <a:pt x="253994" y="691858"/>
                    <a:pt x="248554" y="697297"/>
                  </a:cubicBezTo>
                  <a:cubicBezTo>
                    <a:pt x="245835" y="702736"/>
                    <a:pt x="240395" y="705456"/>
                    <a:pt x="234956" y="705456"/>
                  </a:cubicBezTo>
                  <a:cubicBezTo>
                    <a:pt x="226797" y="708176"/>
                    <a:pt x="224077" y="708176"/>
                    <a:pt x="218638" y="708176"/>
                  </a:cubicBezTo>
                  <a:cubicBezTo>
                    <a:pt x="215918" y="708176"/>
                    <a:pt x="199600" y="708176"/>
                    <a:pt x="183283" y="708176"/>
                  </a:cubicBezTo>
                  <a:cubicBezTo>
                    <a:pt x="166965" y="708176"/>
                    <a:pt x="153366" y="708176"/>
                    <a:pt x="150647" y="708176"/>
                  </a:cubicBezTo>
                  <a:cubicBezTo>
                    <a:pt x="139768" y="708176"/>
                    <a:pt x="120730" y="708176"/>
                    <a:pt x="107132" y="708176"/>
                  </a:cubicBezTo>
                  <a:cubicBezTo>
                    <a:pt x="101693" y="708176"/>
                    <a:pt x="96254" y="708176"/>
                    <a:pt x="88094" y="708176"/>
                  </a:cubicBezTo>
                  <a:cubicBezTo>
                    <a:pt x="82655" y="708176"/>
                    <a:pt x="74496" y="708176"/>
                    <a:pt x="69057" y="702736"/>
                  </a:cubicBezTo>
                  <a:cubicBezTo>
                    <a:pt x="63617" y="700017"/>
                    <a:pt x="58178" y="691858"/>
                    <a:pt x="58178" y="686418"/>
                  </a:cubicBezTo>
                  <a:cubicBezTo>
                    <a:pt x="58178" y="683699"/>
                    <a:pt x="58178" y="680979"/>
                    <a:pt x="60898" y="678259"/>
                  </a:cubicBezTo>
                  <a:cubicBezTo>
                    <a:pt x="63617" y="675540"/>
                    <a:pt x="71777" y="672820"/>
                    <a:pt x="77216" y="670101"/>
                  </a:cubicBezTo>
                  <a:cubicBezTo>
                    <a:pt x="90814" y="667381"/>
                    <a:pt x="115291" y="664661"/>
                    <a:pt x="120730" y="664661"/>
                  </a:cubicBezTo>
                  <a:cubicBezTo>
                    <a:pt x="123450" y="664661"/>
                    <a:pt x="126170" y="664661"/>
                    <a:pt x="131609" y="664661"/>
                  </a:cubicBezTo>
                  <a:cubicBezTo>
                    <a:pt x="131609" y="623866"/>
                    <a:pt x="134329" y="583072"/>
                    <a:pt x="134329" y="539557"/>
                  </a:cubicBezTo>
                  <a:cubicBezTo>
                    <a:pt x="134329" y="528678"/>
                    <a:pt x="134329" y="515080"/>
                    <a:pt x="134329" y="504201"/>
                  </a:cubicBezTo>
                  <a:cubicBezTo>
                    <a:pt x="131609" y="460687"/>
                    <a:pt x="131609" y="417173"/>
                    <a:pt x="131609" y="376378"/>
                  </a:cubicBezTo>
                  <a:cubicBezTo>
                    <a:pt x="131609" y="351901"/>
                    <a:pt x="131609" y="327424"/>
                    <a:pt x="131609" y="302947"/>
                  </a:cubicBezTo>
                  <a:cubicBezTo>
                    <a:pt x="131609" y="275751"/>
                    <a:pt x="131609" y="248554"/>
                    <a:pt x="134329" y="221357"/>
                  </a:cubicBezTo>
                  <a:cubicBezTo>
                    <a:pt x="134329" y="188722"/>
                    <a:pt x="137048" y="156086"/>
                    <a:pt x="137048" y="123450"/>
                  </a:cubicBezTo>
                  <a:cubicBezTo>
                    <a:pt x="126170" y="123450"/>
                    <a:pt x="115291" y="123450"/>
                    <a:pt x="107132" y="123450"/>
                  </a:cubicBezTo>
                  <a:cubicBezTo>
                    <a:pt x="101693" y="123450"/>
                    <a:pt x="96254" y="123450"/>
                    <a:pt x="88094" y="123450"/>
                  </a:cubicBezTo>
                  <a:cubicBezTo>
                    <a:pt x="82655" y="123450"/>
                    <a:pt x="74496" y="120730"/>
                    <a:pt x="69057" y="118011"/>
                  </a:cubicBezTo>
                  <a:cubicBezTo>
                    <a:pt x="63617" y="115291"/>
                    <a:pt x="58178" y="107132"/>
                    <a:pt x="58178" y="101693"/>
                  </a:cubicBezTo>
                  <a:cubicBezTo>
                    <a:pt x="58178" y="98973"/>
                    <a:pt x="58178" y="96253"/>
                    <a:pt x="60898" y="93534"/>
                  </a:cubicBezTo>
                  <a:cubicBezTo>
                    <a:pt x="63617" y="90814"/>
                    <a:pt x="71777" y="88094"/>
                    <a:pt x="77216" y="85375"/>
                  </a:cubicBezTo>
                  <a:cubicBezTo>
                    <a:pt x="90814" y="82655"/>
                    <a:pt x="126170" y="79935"/>
                    <a:pt x="131609" y="79935"/>
                  </a:cubicBezTo>
                  <a:cubicBezTo>
                    <a:pt x="137048" y="79935"/>
                    <a:pt x="147927" y="79935"/>
                    <a:pt x="161525" y="79935"/>
                  </a:cubicBezTo>
                  <a:cubicBezTo>
                    <a:pt x="166965" y="74496"/>
                    <a:pt x="172404" y="71776"/>
                    <a:pt x="177843" y="66337"/>
                  </a:cubicBezTo>
                  <a:cubicBezTo>
                    <a:pt x="186002" y="60898"/>
                    <a:pt x="194161" y="58178"/>
                    <a:pt x="202320" y="58178"/>
                  </a:cubicBezTo>
                  <a:cubicBezTo>
                    <a:pt x="215918" y="58178"/>
                    <a:pt x="226797" y="63617"/>
                    <a:pt x="234956" y="77216"/>
                  </a:cubicBezTo>
                  <a:cubicBezTo>
                    <a:pt x="240395" y="88094"/>
                    <a:pt x="248554" y="96253"/>
                    <a:pt x="251274" y="107132"/>
                  </a:cubicBezTo>
                  <a:cubicBezTo>
                    <a:pt x="256713" y="120730"/>
                    <a:pt x="259433" y="134328"/>
                    <a:pt x="267592" y="147927"/>
                  </a:cubicBezTo>
                  <a:cubicBezTo>
                    <a:pt x="273031" y="158805"/>
                    <a:pt x="275751" y="172404"/>
                    <a:pt x="281190" y="183282"/>
                  </a:cubicBezTo>
                  <a:cubicBezTo>
                    <a:pt x="286630" y="196881"/>
                    <a:pt x="292069" y="210479"/>
                    <a:pt x="297508" y="224077"/>
                  </a:cubicBezTo>
                  <a:cubicBezTo>
                    <a:pt x="300228" y="237675"/>
                    <a:pt x="305667" y="251274"/>
                    <a:pt x="308387" y="264872"/>
                  </a:cubicBezTo>
                  <a:cubicBezTo>
                    <a:pt x="311106" y="278470"/>
                    <a:pt x="311106" y="289349"/>
                    <a:pt x="319265" y="300227"/>
                  </a:cubicBezTo>
                  <a:cubicBezTo>
                    <a:pt x="332864" y="324704"/>
                    <a:pt x="346462" y="351901"/>
                    <a:pt x="351901" y="379097"/>
                  </a:cubicBezTo>
                  <a:cubicBezTo>
                    <a:pt x="354621" y="392696"/>
                    <a:pt x="360060" y="403574"/>
                    <a:pt x="365500" y="417173"/>
                  </a:cubicBezTo>
                  <a:cubicBezTo>
                    <a:pt x="373659" y="430771"/>
                    <a:pt x="373659" y="444369"/>
                    <a:pt x="379098" y="457967"/>
                  </a:cubicBezTo>
                  <a:cubicBezTo>
                    <a:pt x="381818" y="471566"/>
                    <a:pt x="387257" y="482444"/>
                    <a:pt x="395416" y="496043"/>
                  </a:cubicBezTo>
                  <a:cubicBezTo>
                    <a:pt x="398136" y="501482"/>
                    <a:pt x="403575" y="506921"/>
                    <a:pt x="406294" y="512361"/>
                  </a:cubicBezTo>
                  <a:cubicBezTo>
                    <a:pt x="409014" y="517800"/>
                    <a:pt x="409014" y="525959"/>
                    <a:pt x="411734" y="531398"/>
                  </a:cubicBezTo>
                  <a:cubicBezTo>
                    <a:pt x="414453" y="539557"/>
                    <a:pt x="417173" y="550436"/>
                    <a:pt x="419893" y="558595"/>
                  </a:cubicBezTo>
                  <a:cubicBezTo>
                    <a:pt x="422613" y="561314"/>
                    <a:pt x="422613" y="564034"/>
                    <a:pt x="425332" y="564034"/>
                  </a:cubicBezTo>
                  <a:cubicBezTo>
                    <a:pt x="428052" y="564034"/>
                    <a:pt x="428052" y="561314"/>
                    <a:pt x="430771" y="558595"/>
                  </a:cubicBezTo>
                  <a:cubicBezTo>
                    <a:pt x="430771" y="555875"/>
                    <a:pt x="430771" y="553155"/>
                    <a:pt x="430771" y="550436"/>
                  </a:cubicBezTo>
                  <a:cubicBezTo>
                    <a:pt x="430771" y="534118"/>
                    <a:pt x="430771" y="517800"/>
                    <a:pt x="430771" y="501482"/>
                  </a:cubicBezTo>
                  <a:cubicBezTo>
                    <a:pt x="430771" y="468846"/>
                    <a:pt x="433491" y="436210"/>
                    <a:pt x="430771" y="403574"/>
                  </a:cubicBezTo>
                  <a:cubicBezTo>
                    <a:pt x="430771" y="373658"/>
                    <a:pt x="425332" y="343742"/>
                    <a:pt x="425332" y="313826"/>
                  </a:cubicBezTo>
                  <a:cubicBezTo>
                    <a:pt x="425332" y="292068"/>
                    <a:pt x="425332" y="270311"/>
                    <a:pt x="425332" y="248554"/>
                  </a:cubicBezTo>
                  <a:cubicBezTo>
                    <a:pt x="425332" y="234956"/>
                    <a:pt x="425332" y="224077"/>
                    <a:pt x="425332" y="210479"/>
                  </a:cubicBezTo>
                  <a:cubicBezTo>
                    <a:pt x="425332" y="191441"/>
                    <a:pt x="422613" y="172404"/>
                    <a:pt x="422613" y="153366"/>
                  </a:cubicBezTo>
                  <a:cubicBezTo>
                    <a:pt x="422613" y="142487"/>
                    <a:pt x="422613" y="134328"/>
                    <a:pt x="425332" y="123450"/>
                  </a:cubicBezTo>
                  <a:cubicBezTo>
                    <a:pt x="417173" y="123450"/>
                    <a:pt x="406294" y="123450"/>
                    <a:pt x="398136" y="123450"/>
                  </a:cubicBezTo>
                  <a:cubicBezTo>
                    <a:pt x="392696" y="123450"/>
                    <a:pt x="387257" y="123450"/>
                    <a:pt x="379098" y="123450"/>
                  </a:cubicBezTo>
                  <a:cubicBezTo>
                    <a:pt x="373659" y="123450"/>
                    <a:pt x="365500" y="120730"/>
                    <a:pt x="360060" y="118011"/>
                  </a:cubicBezTo>
                  <a:cubicBezTo>
                    <a:pt x="354621" y="115291"/>
                    <a:pt x="349182" y="107132"/>
                    <a:pt x="349182" y="101693"/>
                  </a:cubicBezTo>
                  <a:cubicBezTo>
                    <a:pt x="349182" y="98973"/>
                    <a:pt x="349182" y="96253"/>
                    <a:pt x="351901" y="93534"/>
                  </a:cubicBezTo>
                  <a:cubicBezTo>
                    <a:pt x="354621" y="90814"/>
                    <a:pt x="362780" y="88094"/>
                    <a:pt x="368219" y="85375"/>
                  </a:cubicBezTo>
                  <a:cubicBezTo>
                    <a:pt x="381818" y="82655"/>
                    <a:pt x="417173" y="79935"/>
                    <a:pt x="422613" y="79935"/>
                  </a:cubicBezTo>
                  <a:cubicBezTo>
                    <a:pt x="428052" y="79935"/>
                    <a:pt x="433491" y="79935"/>
                    <a:pt x="444370" y="79935"/>
                  </a:cubicBezTo>
                  <a:cubicBezTo>
                    <a:pt x="449809" y="74496"/>
                    <a:pt x="455248" y="71776"/>
                    <a:pt x="463407" y="71776"/>
                  </a:cubicBezTo>
                  <a:cubicBezTo>
                    <a:pt x="471566" y="71776"/>
                    <a:pt x="477006" y="74496"/>
                    <a:pt x="477006" y="79935"/>
                  </a:cubicBezTo>
                  <a:cubicBezTo>
                    <a:pt x="493324" y="79935"/>
                    <a:pt x="506922" y="79935"/>
                    <a:pt x="515081" y="79935"/>
                  </a:cubicBezTo>
                  <a:lnTo>
                    <a:pt x="515081" y="79935"/>
                  </a:ln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1" name="Freeform: Shape 40">
              <a:extLst>
                <a:ext uri="{FF2B5EF4-FFF2-40B4-BE49-F238E27FC236}">
                  <a16:creationId xmlns:a16="http://schemas.microsoft.com/office/drawing/2014/main" id="{8176AE20-94DB-48D9-93A0-3EB3C1F5FB2E}"/>
                </a:ext>
              </a:extLst>
            </p:cNvPr>
            <p:cNvSpPr/>
            <p:nvPr/>
          </p:nvSpPr>
          <p:spPr>
            <a:xfrm>
              <a:off x="5139126" y="4192158"/>
              <a:ext cx="516735" cy="788700"/>
            </a:xfrm>
            <a:custGeom>
              <a:avLst/>
              <a:gdLst>
                <a:gd name="connsiteX0" fmla="*/ 464616 w 516735"/>
                <a:gd name="connsiteY0" fmla="*/ 436210 h 788699"/>
                <a:gd name="connsiteX1" fmla="*/ 445578 w 516735"/>
                <a:gd name="connsiteY1" fmla="*/ 455248 h 788699"/>
                <a:gd name="connsiteX2" fmla="*/ 404784 w 516735"/>
                <a:gd name="connsiteY2" fmla="*/ 466126 h 788699"/>
                <a:gd name="connsiteX3" fmla="*/ 385746 w 516735"/>
                <a:gd name="connsiteY3" fmla="*/ 479725 h 788699"/>
                <a:gd name="connsiteX4" fmla="*/ 388466 w 516735"/>
                <a:gd name="connsiteY4" fmla="*/ 512361 h 788699"/>
                <a:gd name="connsiteX5" fmla="*/ 388466 w 516735"/>
                <a:gd name="connsiteY5" fmla="*/ 544997 h 788699"/>
                <a:gd name="connsiteX6" fmla="*/ 388466 w 516735"/>
                <a:gd name="connsiteY6" fmla="*/ 566754 h 788699"/>
                <a:gd name="connsiteX7" fmla="*/ 391185 w 516735"/>
                <a:gd name="connsiteY7" fmla="*/ 632026 h 788699"/>
                <a:gd name="connsiteX8" fmla="*/ 393905 w 516735"/>
                <a:gd name="connsiteY8" fmla="*/ 683699 h 788699"/>
                <a:gd name="connsiteX9" fmla="*/ 377587 w 516735"/>
                <a:gd name="connsiteY9" fmla="*/ 724494 h 788699"/>
                <a:gd name="connsiteX10" fmla="*/ 361269 w 516735"/>
                <a:gd name="connsiteY10" fmla="*/ 719054 h 788699"/>
                <a:gd name="connsiteX11" fmla="*/ 353110 w 516735"/>
                <a:gd name="connsiteY11" fmla="*/ 702737 h 788699"/>
                <a:gd name="connsiteX12" fmla="*/ 350390 w 516735"/>
                <a:gd name="connsiteY12" fmla="*/ 686419 h 788699"/>
                <a:gd name="connsiteX13" fmla="*/ 353110 w 516735"/>
                <a:gd name="connsiteY13" fmla="*/ 659222 h 788699"/>
                <a:gd name="connsiteX14" fmla="*/ 353110 w 516735"/>
                <a:gd name="connsiteY14" fmla="*/ 656502 h 788699"/>
                <a:gd name="connsiteX15" fmla="*/ 317755 w 516735"/>
                <a:gd name="connsiteY15" fmla="*/ 708176 h 788699"/>
                <a:gd name="connsiteX16" fmla="*/ 241604 w 516735"/>
                <a:gd name="connsiteY16" fmla="*/ 735372 h 788699"/>
                <a:gd name="connsiteX17" fmla="*/ 187211 w 516735"/>
                <a:gd name="connsiteY17" fmla="*/ 727214 h 788699"/>
                <a:gd name="connsiteX18" fmla="*/ 135538 w 516735"/>
                <a:gd name="connsiteY18" fmla="*/ 694578 h 788699"/>
                <a:gd name="connsiteX19" fmla="*/ 86584 w 516735"/>
                <a:gd name="connsiteY19" fmla="*/ 621147 h 788699"/>
                <a:gd name="connsiteX20" fmla="*/ 67546 w 516735"/>
                <a:gd name="connsiteY20" fmla="*/ 555875 h 788699"/>
                <a:gd name="connsiteX21" fmla="*/ 59387 w 516735"/>
                <a:gd name="connsiteY21" fmla="*/ 509641 h 788699"/>
                <a:gd name="connsiteX22" fmla="*/ 59387 w 516735"/>
                <a:gd name="connsiteY22" fmla="*/ 468846 h 788699"/>
                <a:gd name="connsiteX23" fmla="*/ 86584 w 516735"/>
                <a:gd name="connsiteY23" fmla="*/ 302947 h 788699"/>
                <a:gd name="connsiteX24" fmla="*/ 108341 w 516735"/>
                <a:gd name="connsiteY24" fmla="*/ 224077 h 788699"/>
                <a:gd name="connsiteX25" fmla="*/ 146416 w 516735"/>
                <a:gd name="connsiteY25" fmla="*/ 145207 h 788699"/>
                <a:gd name="connsiteX26" fmla="*/ 198090 w 516735"/>
                <a:gd name="connsiteY26" fmla="*/ 85375 h 788699"/>
                <a:gd name="connsiteX27" fmla="*/ 228006 w 516735"/>
                <a:gd name="connsiteY27" fmla="*/ 69057 h 788699"/>
                <a:gd name="connsiteX28" fmla="*/ 268801 w 516735"/>
                <a:gd name="connsiteY28" fmla="*/ 58178 h 788699"/>
                <a:gd name="connsiteX29" fmla="*/ 274240 w 516735"/>
                <a:gd name="connsiteY29" fmla="*/ 58178 h 788699"/>
                <a:gd name="connsiteX30" fmla="*/ 295997 w 516735"/>
                <a:gd name="connsiteY30" fmla="*/ 60898 h 788699"/>
                <a:gd name="connsiteX31" fmla="*/ 331353 w 516735"/>
                <a:gd name="connsiteY31" fmla="*/ 71776 h 788699"/>
                <a:gd name="connsiteX32" fmla="*/ 350390 w 516735"/>
                <a:gd name="connsiteY32" fmla="*/ 93534 h 788699"/>
                <a:gd name="connsiteX33" fmla="*/ 353110 w 516735"/>
                <a:gd name="connsiteY33" fmla="*/ 74496 h 788699"/>
                <a:gd name="connsiteX34" fmla="*/ 358549 w 516735"/>
                <a:gd name="connsiteY34" fmla="*/ 63618 h 788699"/>
                <a:gd name="connsiteX35" fmla="*/ 366708 w 516735"/>
                <a:gd name="connsiteY35" fmla="*/ 58178 h 788699"/>
                <a:gd name="connsiteX36" fmla="*/ 374867 w 516735"/>
                <a:gd name="connsiteY36" fmla="*/ 63618 h 788699"/>
                <a:gd name="connsiteX37" fmla="*/ 383026 w 516735"/>
                <a:gd name="connsiteY37" fmla="*/ 82655 h 788699"/>
                <a:gd name="connsiteX38" fmla="*/ 385746 w 516735"/>
                <a:gd name="connsiteY38" fmla="*/ 126170 h 788699"/>
                <a:gd name="connsiteX39" fmla="*/ 388466 w 516735"/>
                <a:gd name="connsiteY39" fmla="*/ 186002 h 788699"/>
                <a:gd name="connsiteX40" fmla="*/ 391185 w 516735"/>
                <a:gd name="connsiteY40" fmla="*/ 237676 h 788699"/>
                <a:gd name="connsiteX41" fmla="*/ 374867 w 516735"/>
                <a:gd name="connsiteY41" fmla="*/ 278470 h 788699"/>
                <a:gd name="connsiteX42" fmla="*/ 358549 w 516735"/>
                <a:gd name="connsiteY42" fmla="*/ 273031 h 788699"/>
                <a:gd name="connsiteX43" fmla="*/ 350390 w 516735"/>
                <a:gd name="connsiteY43" fmla="*/ 256713 h 788699"/>
                <a:gd name="connsiteX44" fmla="*/ 347671 w 516735"/>
                <a:gd name="connsiteY44" fmla="*/ 240395 h 788699"/>
                <a:gd name="connsiteX45" fmla="*/ 347671 w 516735"/>
                <a:gd name="connsiteY45" fmla="*/ 213199 h 788699"/>
                <a:gd name="connsiteX46" fmla="*/ 344951 w 516735"/>
                <a:gd name="connsiteY46" fmla="*/ 194161 h 788699"/>
                <a:gd name="connsiteX47" fmla="*/ 339512 w 516735"/>
                <a:gd name="connsiteY47" fmla="*/ 150647 h 788699"/>
                <a:gd name="connsiteX48" fmla="*/ 323194 w 516735"/>
                <a:gd name="connsiteY48" fmla="*/ 112571 h 788699"/>
                <a:gd name="connsiteX49" fmla="*/ 293278 w 516735"/>
                <a:gd name="connsiteY49" fmla="*/ 101693 h 788699"/>
                <a:gd name="connsiteX50" fmla="*/ 263361 w 516735"/>
                <a:gd name="connsiteY50" fmla="*/ 120730 h 788699"/>
                <a:gd name="connsiteX51" fmla="*/ 241604 w 516735"/>
                <a:gd name="connsiteY51" fmla="*/ 153366 h 788699"/>
                <a:gd name="connsiteX52" fmla="*/ 233445 w 516735"/>
                <a:gd name="connsiteY52" fmla="*/ 194161 h 788699"/>
                <a:gd name="connsiteX53" fmla="*/ 225286 w 516735"/>
                <a:gd name="connsiteY53" fmla="*/ 232236 h 788699"/>
                <a:gd name="connsiteX54" fmla="*/ 217127 w 516735"/>
                <a:gd name="connsiteY54" fmla="*/ 275751 h 788699"/>
                <a:gd name="connsiteX55" fmla="*/ 211688 w 516735"/>
                <a:gd name="connsiteY55" fmla="*/ 316545 h 788699"/>
                <a:gd name="connsiteX56" fmla="*/ 206249 w 516735"/>
                <a:gd name="connsiteY56" fmla="*/ 354621 h 788699"/>
                <a:gd name="connsiteX57" fmla="*/ 200809 w 516735"/>
                <a:gd name="connsiteY57" fmla="*/ 398135 h 788699"/>
                <a:gd name="connsiteX58" fmla="*/ 195370 w 516735"/>
                <a:gd name="connsiteY58" fmla="*/ 438930 h 788699"/>
                <a:gd name="connsiteX59" fmla="*/ 192650 w 516735"/>
                <a:gd name="connsiteY59" fmla="*/ 474286 h 788699"/>
                <a:gd name="connsiteX60" fmla="*/ 195370 w 516735"/>
                <a:gd name="connsiteY60" fmla="*/ 525959 h 788699"/>
                <a:gd name="connsiteX61" fmla="*/ 208968 w 516735"/>
                <a:gd name="connsiteY61" fmla="*/ 596670 h 788699"/>
                <a:gd name="connsiteX62" fmla="*/ 214407 w 516735"/>
                <a:gd name="connsiteY62" fmla="*/ 623867 h 788699"/>
                <a:gd name="connsiteX63" fmla="*/ 228006 w 516735"/>
                <a:gd name="connsiteY63" fmla="*/ 656502 h 788699"/>
                <a:gd name="connsiteX64" fmla="*/ 271520 w 516735"/>
                <a:gd name="connsiteY64" fmla="*/ 689138 h 788699"/>
                <a:gd name="connsiteX65" fmla="*/ 306876 w 516735"/>
                <a:gd name="connsiteY65" fmla="*/ 664661 h 788699"/>
                <a:gd name="connsiteX66" fmla="*/ 331353 w 516735"/>
                <a:gd name="connsiteY66" fmla="*/ 602109 h 788699"/>
                <a:gd name="connsiteX67" fmla="*/ 336792 w 516735"/>
                <a:gd name="connsiteY67" fmla="*/ 544997 h 788699"/>
                <a:gd name="connsiteX68" fmla="*/ 336792 w 516735"/>
                <a:gd name="connsiteY68" fmla="*/ 498762 h 788699"/>
                <a:gd name="connsiteX69" fmla="*/ 336792 w 516735"/>
                <a:gd name="connsiteY69" fmla="*/ 490603 h 788699"/>
                <a:gd name="connsiteX70" fmla="*/ 320474 w 516735"/>
                <a:gd name="connsiteY70" fmla="*/ 477005 h 788699"/>
                <a:gd name="connsiteX71" fmla="*/ 282399 w 516735"/>
                <a:gd name="connsiteY71" fmla="*/ 479725 h 788699"/>
                <a:gd name="connsiteX72" fmla="*/ 252483 w 516735"/>
                <a:gd name="connsiteY72" fmla="*/ 474286 h 788699"/>
                <a:gd name="connsiteX73" fmla="*/ 247043 w 516735"/>
                <a:gd name="connsiteY73" fmla="*/ 466126 h 788699"/>
                <a:gd name="connsiteX74" fmla="*/ 249763 w 516735"/>
                <a:gd name="connsiteY74" fmla="*/ 457968 h 788699"/>
                <a:gd name="connsiteX75" fmla="*/ 268801 w 516735"/>
                <a:gd name="connsiteY75" fmla="*/ 447089 h 788699"/>
                <a:gd name="connsiteX76" fmla="*/ 312315 w 516735"/>
                <a:gd name="connsiteY76" fmla="*/ 436210 h 788699"/>
                <a:gd name="connsiteX77" fmla="*/ 353110 w 516735"/>
                <a:gd name="connsiteY77" fmla="*/ 430771 h 788699"/>
                <a:gd name="connsiteX78" fmla="*/ 385746 w 516735"/>
                <a:gd name="connsiteY78" fmla="*/ 430771 h 788699"/>
                <a:gd name="connsiteX79" fmla="*/ 437420 w 516735"/>
                <a:gd name="connsiteY79" fmla="*/ 428051 h 788699"/>
                <a:gd name="connsiteX80" fmla="*/ 464616 w 516735"/>
                <a:gd name="connsiteY80" fmla="*/ 436210 h 7886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</a:cxnLst>
              <a:rect l="l" t="t" r="r" b="b"/>
              <a:pathLst>
                <a:path w="516735" h="788699">
                  <a:moveTo>
                    <a:pt x="464616" y="436210"/>
                  </a:moveTo>
                  <a:cubicBezTo>
                    <a:pt x="464616" y="447089"/>
                    <a:pt x="453737" y="452528"/>
                    <a:pt x="445578" y="455248"/>
                  </a:cubicBezTo>
                  <a:cubicBezTo>
                    <a:pt x="434700" y="460687"/>
                    <a:pt x="415662" y="463407"/>
                    <a:pt x="404784" y="466126"/>
                  </a:cubicBezTo>
                  <a:cubicBezTo>
                    <a:pt x="393905" y="466126"/>
                    <a:pt x="385746" y="468846"/>
                    <a:pt x="385746" y="479725"/>
                  </a:cubicBezTo>
                  <a:cubicBezTo>
                    <a:pt x="385746" y="487884"/>
                    <a:pt x="388466" y="506921"/>
                    <a:pt x="388466" y="512361"/>
                  </a:cubicBezTo>
                  <a:cubicBezTo>
                    <a:pt x="388466" y="515080"/>
                    <a:pt x="388466" y="539557"/>
                    <a:pt x="388466" y="544997"/>
                  </a:cubicBezTo>
                  <a:cubicBezTo>
                    <a:pt x="388466" y="550436"/>
                    <a:pt x="388466" y="558595"/>
                    <a:pt x="388466" y="566754"/>
                  </a:cubicBezTo>
                  <a:cubicBezTo>
                    <a:pt x="388466" y="591231"/>
                    <a:pt x="388466" y="621147"/>
                    <a:pt x="391185" y="632026"/>
                  </a:cubicBezTo>
                  <a:cubicBezTo>
                    <a:pt x="393905" y="653783"/>
                    <a:pt x="393905" y="661942"/>
                    <a:pt x="393905" y="683699"/>
                  </a:cubicBezTo>
                  <a:cubicBezTo>
                    <a:pt x="393905" y="694578"/>
                    <a:pt x="393905" y="724494"/>
                    <a:pt x="377587" y="724494"/>
                  </a:cubicBezTo>
                  <a:cubicBezTo>
                    <a:pt x="369428" y="724494"/>
                    <a:pt x="366708" y="721774"/>
                    <a:pt x="361269" y="719054"/>
                  </a:cubicBezTo>
                  <a:cubicBezTo>
                    <a:pt x="355830" y="716335"/>
                    <a:pt x="353110" y="708176"/>
                    <a:pt x="353110" y="702737"/>
                  </a:cubicBezTo>
                  <a:cubicBezTo>
                    <a:pt x="350390" y="694578"/>
                    <a:pt x="350390" y="689138"/>
                    <a:pt x="350390" y="686419"/>
                  </a:cubicBezTo>
                  <a:cubicBezTo>
                    <a:pt x="350390" y="678260"/>
                    <a:pt x="353110" y="672820"/>
                    <a:pt x="353110" y="659222"/>
                  </a:cubicBezTo>
                  <a:lnTo>
                    <a:pt x="353110" y="656502"/>
                  </a:lnTo>
                  <a:cubicBezTo>
                    <a:pt x="347671" y="675540"/>
                    <a:pt x="334072" y="694578"/>
                    <a:pt x="317755" y="708176"/>
                  </a:cubicBezTo>
                  <a:cubicBezTo>
                    <a:pt x="293278" y="727214"/>
                    <a:pt x="274240" y="735372"/>
                    <a:pt x="241604" y="735372"/>
                  </a:cubicBezTo>
                  <a:cubicBezTo>
                    <a:pt x="222566" y="735372"/>
                    <a:pt x="203529" y="732653"/>
                    <a:pt x="187211" y="727214"/>
                  </a:cubicBezTo>
                  <a:cubicBezTo>
                    <a:pt x="165454" y="719054"/>
                    <a:pt x="149136" y="708176"/>
                    <a:pt x="135538" y="694578"/>
                  </a:cubicBezTo>
                  <a:cubicBezTo>
                    <a:pt x="113780" y="672820"/>
                    <a:pt x="100182" y="648343"/>
                    <a:pt x="86584" y="621147"/>
                  </a:cubicBezTo>
                  <a:cubicBezTo>
                    <a:pt x="75705" y="599390"/>
                    <a:pt x="70266" y="580352"/>
                    <a:pt x="67546" y="555875"/>
                  </a:cubicBezTo>
                  <a:cubicBezTo>
                    <a:pt x="64826" y="539557"/>
                    <a:pt x="62107" y="525959"/>
                    <a:pt x="59387" y="509641"/>
                  </a:cubicBezTo>
                  <a:cubicBezTo>
                    <a:pt x="56667" y="493323"/>
                    <a:pt x="59387" y="485164"/>
                    <a:pt x="59387" y="468846"/>
                  </a:cubicBezTo>
                  <a:cubicBezTo>
                    <a:pt x="59387" y="414453"/>
                    <a:pt x="72985" y="362780"/>
                    <a:pt x="86584" y="302947"/>
                  </a:cubicBezTo>
                  <a:cubicBezTo>
                    <a:pt x="92023" y="275751"/>
                    <a:pt x="100182" y="248554"/>
                    <a:pt x="108341" y="224077"/>
                  </a:cubicBezTo>
                  <a:cubicBezTo>
                    <a:pt x="116500" y="196881"/>
                    <a:pt x="130098" y="169684"/>
                    <a:pt x="146416" y="145207"/>
                  </a:cubicBezTo>
                  <a:cubicBezTo>
                    <a:pt x="160014" y="123450"/>
                    <a:pt x="176332" y="101693"/>
                    <a:pt x="198090" y="85375"/>
                  </a:cubicBezTo>
                  <a:cubicBezTo>
                    <a:pt x="206249" y="77216"/>
                    <a:pt x="217127" y="71776"/>
                    <a:pt x="228006" y="69057"/>
                  </a:cubicBezTo>
                  <a:cubicBezTo>
                    <a:pt x="241604" y="63618"/>
                    <a:pt x="255202" y="58178"/>
                    <a:pt x="268801" y="58178"/>
                  </a:cubicBezTo>
                  <a:cubicBezTo>
                    <a:pt x="271520" y="58178"/>
                    <a:pt x="274240" y="58178"/>
                    <a:pt x="274240" y="58178"/>
                  </a:cubicBezTo>
                  <a:cubicBezTo>
                    <a:pt x="279679" y="58178"/>
                    <a:pt x="285119" y="58178"/>
                    <a:pt x="295997" y="60898"/>
                  </a:cubicBezTo>
                  <a:cubicBezTo>
                    <a:pt x="309595" y="63618"/>
                    <a:pt x="320474" y="66337"/>
                    <a:pt x="331353" y="71776"/>
                  </a:cubicBezTo>
                  <a:cubicBezTo>
                    <a:pt x="339512" y="77216"/>
                    <a:pt x="347671" y="85375"/>
                    <a:pt x="350390" y="93534"/>
                  </a:cubicBezTo>
                  <a:cubicBezTo>
                    <a:pt x="350390" y="88095"/>
                    <a:pt x="353110" y="79936"/>
                    <a:pt x="353110" y="74496"/>
                  </a:cubicBezTo>
                  <a:cubicBezTo>
                    <a:pt x="355830" y="71776"/>
                    <a:pt x="355830" y="69057"/>
                    <a:pt x="358549" y="63618"/>
                  </a:cubicBezTo>
                  <a:cubicBezTo>
                    <a:pt x="361269" y="60898"/>
                    <a:pt x="363989" y="58178"/>
                    <a:pt x="366708" y="58178"/>
                  </a:cubicBezTo>
                  <a:cubicBezTo>
                    <a:pt x="369428" y="58178"/>
                    <a:pt x="372148" y="60898"/>
                    <a:pt x="374867" y="63618"/>
                  </a:cubicBezTo>
                  <a:cubicBezTo>
                    <a:pt x="377587" y="69057"/>
                    <a:pt x="380307" y="77216"/>
                    <a:pt x="383026" y="82655"/>
                  </a:cubicBezTo>
                  <a:cubicBezTo>
                    <a:pt x="383026" y="90814"/>
                    <a:pt x="385746" y="107132"/>
                    <a:pt x="385746" y="126170"/>
                  </a:cubicBezTo>
                  <a:cubicBezTo>
                    <a:pt x="385746" y="150647"/>
                    <a:pt x="385746" y="177843"/>
                    <a:pt x="388466" y="186002"/>
                  </a:cubicBezTo>
                  <a:cubicBezTo>
                    <a:pt x="391185" y="207759"/>
                    <a:pt x="391185" y="215918"/>
                    <a:pt x="391185" y="237676"/>
                  </a:cubicBezTo>
                  <a:cubicBezTo>
                    <a:pt x="391185" y="248554"/>
                    <a:pt x="391185" y="278470"/>
                    <a:pt x="374867" y="278470"/>
                  </a:cubicBezTo>
                  <a:cubicBezTo>
                    <a:pt x="366708" y="278470"/>
                    <a:pt x="363989" y="275751"/>
                    <a:pt x="358549" y="273031"/>
                  </a:cubicBezTo>
                  <a:cubicBezTo>
                    <a:pt x="353110" y="270311"/>
                    <a:pt x="350390" y="262152"/>
                    <a:pt x="350390" y="256713"/>
                  </a:cubicBezTo>
                  <a:cubicBezTo>
                    <a:pt x="350390" y="251274"/>
                    <a:pt x="347671" y="245834"/>
                    <a:pt x="347671" y="240395"/>
                  </a:cubicBezTo>
                  <a:cubicBezTo>
                    <a:pt x="347671" y="232236"/>
                    <a:pt x="347671" y="224077"/>
                    <a:pt x="347671" y="213199"/>
                  </a:cubicBezTo>
                  <a:cubicBezTo>
                    <a:pt x="347671" y="207759"/>
                    <a:pt x="347671" y="199600"/>
                    <a:pt x="344951" y="194161"/>
                  </a:cubicBezTo>
                  <a:cubicBezTo>
                    <a:pt x="342232" y="180563"/>
                    <a:pt x="342232" y="164245"/>
                    <a:pt x="339512" y="150647"/>
                  </a:cubicBezTo>
                  <a:cubicBezTo>
                    <a:pt x="336792" y="137048"/>
                    <a:pt x="331353" y="123450"/>
                    <a:pt x="323194" y="112571"/>
                  </a:cubicBezTo>
                  <a:cubicBezTo>
                    <a:pt x="317755" y="104412"/>
                    <a:pt x="304156" y="101693"/>
                    <a:pt x="293278" y="101693"/>
                  </a:cubicBezTo>
                  <a:cubicBezTo>
                    <a:pt x="279679" y="101693"/>
                    <a:pt x="271520" y="109852"/>
                    <a:pt x="263361" y="120730"/>
                  </a:cubicBezTo>
                  <a:cubicBezTo>
                    <a:pt x="257922" y="131609"/>
                    <a:pt x="247043" y="139768"/>
                    <a:pt x="241604" y="153366"/>
                  </a:cubicBezTo>
                  <a:cubicBezTo>
                    <a:pt x="236165" y="166964"/>
                    <a:pt x="233445" y="180563"/>
                    <a:pt x="233445" y="194161"/>
                  </a:cubicBezTo>
                  <a:cubicBezTo>
                    <a:pt x="233445" y="207759"/>
                    <a:pt x="230726" y="218638"/>
                    <a:pt x="225286" y="232236"/>
                  </a:cubicBezTo>
                  <a:cubicBezTo>
                    <a:pt x="219847" y="245834"/>
                    <a:pt x="219847" y="262152"/>
                    <a:pt x="217127" y="275751"/>
                  </a:cubicBezTo>
                  <a:cubicBezTo>
                    <a:pt x="214407" y="289349"/>
                    <a:pt x="214407" y="302947"/>
                    <a:pt x="211688" y="316545"/>
                  </a:cubicBezTo>
                  <a:cubicBezTo>
                    <a:pt x="211688" y="330144"/>
                    <a:pt x="206249" y="341022"/>
                    <a:pt x="206249" y="354621"/>
                  </a:cubicBezTo>
                  <a:cubicBezTo>
                    <a:pt x="203529" y="368219"/>
                    <a:pt x="203529" y="381817"/>
                    <a:pt x="200809" y="398135"/>
                  </a:cubicBezTo>
                  <a:cubicBezTo>
                    <a:pt x="198090" y="411733"/>
                    <a:pt x="198090" y="425332"/>
                    <a:pt x="195370" y="438930"/>
                  </a:cubicBezTo>
                  <a:cubicBezTo>
                    <a:pt x="195370" y="449809"/>
                    <a:pt x="192650" y="463407"/>
                    <a:pt x="192650" y="474286"/>
                  </a:cubicBezTo>
                  <a:cubicBezTo>
                    <a:pt x="192650" y="490603"/>
                    <a:pt x="195370" y="509641"/>
                    <a:pt x="195370" y="525959"/>
                  </a:cubicBezTo>
                  <a:cubicBezTo>
                    <a:pt x="195370" y="550436"/>
                    <a:pt x="203529" y="572193"/>
                    <a:pt x="208968" y="596670"/>
                  </a:cubicBezTo>
                  <a:cubicBezTo>
                    <a:pt x="211688" y="604829"/>
                    <a:pt x="211688" y="615708"/>
                    <a:pt x="214407" y="623867"/>
                  </a:cubicBezTo>
                  <a:cubicBezTo>
                    <a:pt x="217127" y="634745"/>
                    <a:pt x="222566" y="645624"/>
                    <a:pt x="228006" y="656502"/>
                  </a:cubicBezTo>
                  <a:cubicBezTo>
                    <a:pt x="236165" y="670101"/>
                    <a:pt x="252483" y="689138"/>
                    <a:pt x="271520" y="689138"/>
                  </a:cubicBezTo>
                  <a:cubicBezTo>
                    <a:pt x="287838" y="689138"/>
                    <a:pt x="298717" y="675540"/>
                    <a:pt x="306876" y="664661"/>
                  </a:cubicBezTo>
                  <a:cubicBezTo>
                    <a:pt x="320474" y="645624"/>
                    <a:pt x="325914" y="623867"/>
                    <a:pt x="331353" y="602109"/>
                  </a:cubicBezTo>
                  <a:cubicBezTo>
                    <a:pt x="334072" y="583072"/>
                    <a:pt x="336792" y="564034"/>
                    <a:pt x="336792" y="544997"/>
                  </a:cubicBezTo>
                  <a:cubicBezTo>
                    <a:pt x="336792" y="531398"/>
                    <a:pt x="336792" y="512361"/>
                    <a:pt x="336792" y="498762"/>
                  </a:cubicBezTo>
                  <a:cubicBezTo>
                    <a:pt x="336792" y="496043"/>
                    <a:pt x="336792" y="493323"/>
                    <a:pt x="336792" y="490603"/>
                  </a:cubicBezTo>
                  <a:cubicBezTo>
                    <a:pt x="336792" y="479725"/>
                    <a:pt x="336792" y="477005"/>
                    <a:pt x="320474" y="477005"/>
                  </a:cubicBezTo>
                  <a:cubicBezTo>
                    <a:pt x="309595" y="477005"/>
                    <a:pt x="295997" y="479725"/>
                    <a:pt x="282399" y="479725"/>
                  </a:cubicBezTo>
                  <a:cubicBezTo>
                    <a:pt x="271520" y="479725"/>
                    <a:pt x="260642" y="479725"/>
                    <a:pt x="252483" y="474286"/>
                  </a:cubicBezTo>
                  <a:cubicBezTo>
                    <a:pt x="249763" y="471566"/>
                    <a:pt x="247043" y="468846"/>
                    <a:pt x="247043" y="466126"/>
                  </a:cubicBezTo>
                  <a:cubicBezTo>
                    <a:pt x="247043" y="463407"/>
                    <a:pt x="247043" y="460687"/>
                    <a:pt x="249763" y="457968"/>
                  </a:cubicBezTo>
                  <a:cubicBezTo>
                    <a:pt x="255202" y="452528"/>
                    <a:pt x="260642" y="449809"/>
                    <a:pt x="268801" y="447089"/>
                  </a:cubicBezTo>
                  <a:cubicBezTo>
                    <a:pt x="282399" y="441650"/>
                    <a:pt x="295997" y="438930"/>
                    <a:pt x="312315" y="436210"/>
                  </a:cubicBezTo>
                  <a:cubicBezTo>
                    <a:pt x="325914" y="433491"/>
                    <a:pt x="339512" y="433491"/>
                    <a:pt x="353110" y="430771"/>
                  </a:cubicBezTo>
                  <a:cubicBezTo>
                    <a:pt x="363989" y="430771"/>
                    <a:pt x="374867" y="430771"/>
                    <a:pt x="385746" y="430771"/>
                  </a:cubicBezTo>
                  <a:cubicBezTo>
                    <a:pt x="402064" y="430771"/>
                    <a:pt x="426541" y="428051"/>
                    <a:pt x="437420" y="428051"/>
                  </a:cubicBezTo>
                  <a:cubicBezTo>
                    <a:pt x="451018" y="419892"/>
                    <a:pt x="464616" y="425332"/>
                    <a:pt x="464616" y="436210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2" name="Freeform: Shape 41">
              <a:extLst>
                <a:ext uri="{FF2B5EF4-FFF2-40B4-BE49-F238E27FC236}">
                  <a16:creationId xmlns:a16="http://schemas.microsoft.com/office/drawing/2014/main" id="{35CAD56A-462D-4366-9EFB-54581CD299AF}"/>
                </a:ext>
              </a:extLst>
            </p:cNvPr>
            <p:cNvSpPr/>
            <p:nvPr/>
          </p:nvSpPr>
          <p:spPr>
            <a:xfrm>
              <a:off x="5651630" y="4181279"/>
              <a:ext cx="734308" cy="788700"/>
            </a:xfrm>
            <a:custGeom>
              <a:avLst/>
              <a:gdLst>
                <a:gd name="connsiteX0" fmla="*/ 653783 w 734307"/>
                <a:gd name="connsiteY0" fmla="*/ 678259 h 788699"/>
                <a:gd name="connsiteX1" fmla="*/ 691859 w 734307"/>
                <a:gd name="connsiteY1" fmla="*/ 694577 h 788699"/>
                <a:gd name="connsiteX2" fmla="*/ 686419 w 734307"/>
                <a:gd name="connsiteY2" fmla="*/ 710895 h 788699"/>
                <a:gd name="connsiteX3" fmla="*/ 670101 w 734307"/>
                <a:gd name="connsiteY3" fmla="*/ 719054 h 788699"/>
                <a:gd name="connsiteX4" fmla="*/ 648344 w 734307"/>
                <a:gd name="connsiteY4" fmla="*/ 721774 h 788699"/>
                <a:gd name="connsiteX5" fmla="*/ 618428 w 734307"/>
                <a:gd name="connsiteY5" fmla="*/ 721774 h 788699"/>
                <a:gd name="connsiteX6" fmla="*/ 572194 w 734307"/>
                <a:gd name="connsiteY6" fmla="*/ 735372 h 788699"/>
                <a:gd name="connsiteX7" fmla="*/ 544997 w 734307"/>
                <a:gd name="connsiteY7" fmla="*/ 729933 h 788699"/>
                <a:gd name="connsiteX8" fmla="*/ 534119 w 734307"/>
                <a:gd name="connsiteY8" fmla="*/ 721774 h 788699"/>
                <a:gd name="connsiteX9" fmla="*/ 496043 w 734307"/>
                <a:gd name="connsiteY9" fmla="*/ 721774 h 788699"/>
                <a:gd name="connsiteX10" fmla="*/ 471566 w 734307"/>
                <a:gd name="connsiteY10" fmla="*/ 721774 h 788699"/>
                <a:gd name="connsiteX11" fmla="*/ 444370 w 734307"/>
                <a:gd name="connsiteY11" fmla="*/ 716335 h 788699"/>
                <a:gd name="connsiteX12" fmla="*/ 428052 w 734307"/>
                <a:gd name="connsiteY12" fmla="*/ 700017 h 788699"/>
                <a:gd name="connsiteX13" fmla="*/ 433491 w 734307"/>
                <a:gd name="connsiteY13" fmla="*/ 691858 h 788699"/>
                <a:gd name="connsiteX14" fmla="*/ 455248 w 734307"/>
                <a:gd name="connsiteY14" fmla="*/ 683699 h 788699"/>
                <a:gd name="connsiteX15" fmla="*/ 506922 w 734307"/>
                <a:gd name="connsiteY15" fmla="*/ 678259 h 788699"/>
                <a:gd name="connsiteX16" fmla="*/ 509641 w 734307"/>
                <a:gd name="connsiteY16" fmla="*/ 678259 h 788699"/>
                <a:gd name="connsiteX17" fmla="*/ 506922 w 734307"/>
                <a:gd name="connsiteY17" fmla="*/ 664661 h 788699"/>
                <a:gd name="connsiteX18" fmla="*/ 498763 w 734307"/>
                <a:gd name="connsiteY18" fmla="*/ 580352 h 788699"/>
                <a:gd name="connsiteX19" fmla="*/ 496043 w 734307"/>
                <a:gd name="connsiteY19" fmla="*/ 479725 h 788699"/>
                <a:gd name="connsiteX20" fmla="*/ 493324 w 734307"/>
                <a:gd name="connsiteY20" fmla="*/ 389976 h 788699"/>
                <a:gd name="connsiteX21" fmla="*/ 490604 w 734307"/>
                <a:gd name="connsiteY21" fmla="*/ 302947 h 788699"/>
                <a:gd name="connsiteX22" fmla="*/ 487884 w 734307"/>
                <a:gd name="connsiteY22" fmla="*/ 229516 h 788699"/>
                <a:gd name="connsiteX23" fmla="*/ 485165 w 734307"/>
                <a:gd name="connsiteY23" fmla="*/ 221357 h 788699"/>
                <a:gd name="connsiteX24" fmla="*/ 482445 w 734307"/>
                <a:gd name="connsiteY24" fmla="*/ 226797 h 788699"/>
                <a:gd name="connsiteX25" fmla="*/ 477006 w 734307"/>
                <a:gd name="connsiteY25" fmla="*/ 262152 h 788699"/>
                <a:gd name="connsiteX26" fmla="*/ 460688 w 734307"/>
                <a:gd name="connsiteY26" fmla="*/ 341022 h 788699"/>
                <a:gd name="connsiteX27" fmla="*/ 444370 w 734307"/>
                <a:gd name="connsiteY27" fmla="*/ 417173 h 788699"/>
                <a:gd name="connsiteX28" fmla="*/ 436211 w 734307"/>
                <a:gd name="connsiteY28" fmla="*/ 455248 h 788699"/>
                <a:gd name="connsiteX29" fmla="*/ 425332 w 734307"/>
                <a:gd name="connsiteY29" fmla="*/ 493323 h 788699"/>
                <a:gd name="connsiteX30" fmla="*/ 411734 w 734307"/>
                <a:gd name="connsiteY30" fmla="*/ 531398 h 788699"/>
                <a:gd name="connsiteX31" fmla="*/ 376378 w 734307"/>
                <a:gd name="connsiteY31" fmla="*/ 547716 h 788699"/>
                <a:gd name="connsiteX32" fmla="*/ 319265 w 734307"/>
                <a:gd name="connsiteY32" fmla="*/ 525959 h 788699"/>
                <a:gd name="connsiteX33" fmla="*/ 289349 w 734307"/>
                <a:gd name="connsiteY33" fmla="*/ 455248 h 788699"/>
                <a:gd name="connsiteX34" fmla="*/ 273031 w 734307"/>
                <a:gd name="connsiteY34" fmla="*/ 373658 h 788699"/>
                <a:gd name="connsiteX35" fmla="*/ 262153 w 734307"/>
                <a:gd name="connsiteY35" fmla="*/ 316545 h 788699"/>
                <a:gd name="connsiteX36" fmla="*/ 245835 w 734307"/>
                <a:gd name="connsiteY36" fmla="*/ 237675 h 788699"/>
                <a:gd name="connsiteX37" fmla="*/ 234956 w 734307"/>
                <a:gd name="connsiteY37" fmla="*/ 196881 h 788699"/>
                <a:gd name="connsiteX38" fmla="*/ 232236 w 734307"/>
                <a:gd name="connsiteY38" fmla="*/ 191441 h 788699"/>
                <a:gd name="connsiteX39" fmla="*/ 226797 w 734307"/>
                <a:gd name="connsiteY39" fmla="*/ 207759 h 788699"/>
                <a:gd name="connsiteX40" fmla="*/ 226797 w 734307"/>
                <a:gd name="connsiteY40" fmla="*/ 232236 h 788699"/>
                <a:gd name="connsiteX41" fmla="*/ 224077 w 734307"/>
                <a:gd name="connsiteY41" fmla="*/ 267592 h 788699"/>
                <a:gd name="connsiteX42" fmla="*/ 221358 w 734307"/>
                <a:gd name="connsiteY42" fmla="*/ 311106 h 788699"/>
                <a:gd name="connsiteX43" fmla="*/ 218638 w 734307"/>
                <a:gd name="connsiteY43" fmla="*/ 360060 h 788699"/>
                <a:gd name="connsiteX44" fmla="*/ 215919 w 734307"/>
                <a:gd name="connsiteY44" fmla="*/ 398135 h 788699"/>
                <a:gd name="connsiteX45" fmla="*/ 213199 w 734307"/>
                <a:gd name="connsiteY45" fmla="*/ 430771 h 788699"/>
                <a:gd name="connsiteX46" fmla="*/ 213199 w 734307"/>
                <a:gd name="connsiteY46" fmla="*/ 455248 h 788699"/>
                <a:gd name="connsiteX47" fmla="*/ 213199 w 734307"/>
                <a:gd name="connsiteY47" fmla="*/ 477005 h 788699"/>
                <a:gd name="connsiteX48" fmla="*/ 207759 w 734307"/>
                <a:gd name="connsiteY48" fmla="*/ 520520 h 788699"/>
                <a:gd name="connsiteX49" fmla="*/ 196881 w 734307"/>
                <a:gd name="connsiteY49" fmla="*/ 610268 h 788699"/>
                <a:gd name="connsiteX50" fmla="*/ 194161 w 734307"/>
                <a:gd name="connsiteY50" fmla="*/ 653783 h 788699"/>
                <a:gd name="connsiteX51" fmla="*/ 191441 w 734307"/>
                <a:gd name="connsiteY51" fmla="*/ 667381 h 788699"/>
                <a:gd name="connsiteX52" fmla="*/ 243115 w 734307"/>
                <a:gd name="connsiteY52" fmla="*/ 667381 h 788699"/>
                <a:gd name="connsiteX53" fmla="*/ 273031 w 734307"/>
                <a:gd name="connsiteY53" fmla="*/ 683699 h 788699"/>
                <a:gd name="connsiteX54" fmla="*/ 262153 w 734307"/>
                <a:gd name="connsiteY54" fmla="*/ 697297 h 788699"/>
                <a:gd name="connsiteX55" fmla="*/ 248554 w 734307"/>
                <a:gd name="connsiteY55" fmla="*/ 705456 h 788699"/>
                <a:gd name="connsiteX56" fmla="*/ 232236 w 734307"/>
                <a:gd name="connsiteY56" fmla="*/ 708176 h 788699"/>
                <a:gd name="connsiteX57" fmla="*/ 166965 w 734307"/>
                <a:gd name="connsiteY57" fmla="*/ 708176 h 788699"/>
                <a:gd name="connsiteX58" fmla="*/ 109852 w 734307"/>
                <a:gd name="connsiteY58" fmla="*/ 708176 h 788699"/>
                <a:gd name="connsiteX59" fmla="*/ 90814 w 734307"/>
                <a:gd name="connsiteY59" fmla="*/ 708176 h 788699"/>
                <a:gd name="connsiteX60" fmla="*/ 69057 w 734307"/>
                <a:gd name="connsiteY60" fmla="*/ 702736 h 788699"/>
                <a:gd name="connsiteX61" fmla="*/ 58178 w 734307"/>
                <a:gd name="connsiteY61" fmla="*/ 686418 h 788699"/>
                <a:gd name="connsiteX62" fmla="*/ 60898 w 734307"/>
                <a:gd name="connsiteY62" fmla="*/ 678259 h 788699"/>
                <a:gd name="connsiteX63" fmla="*/ 77216 w 734307"/>
                <a:gd name="connsiteY63" fmla="*/ 670101 h 788699"/>
                <a:gd name="connsiteX64" fmla="*/ 126170 w 734307"/>
                <a:gd name="connsiteY64" fmla="*/ 664661 h 788699"/>
                <a:gd name="connsiteX65" fmla="*/ 142487 w 734307"/>
                <a:gd name="connsiteY65" fmla="*/ 664661 h 788699"/>
                <a:gd name="connsiteX66" fmla="*/ 147927 w 734307"/>
                <a:gd name="connsiteY66" fmla="*/ 588511 h 788699"/>
                <a:gd name="connsiteX67" fmla="*/ 153366 w 734307"/>
                <a:gd name="connsiteY67" fmla="*/ 493323 h 788699"/>
                <a:gd name="connsiteX68" fmla="*/ 156086 w 734307"/>
                <a:gd name="connsiteY68" fmla="*/ 411733 h 788699"/>
                <a:gd name="connsiteX69" fmla="*/ 161525 w 734307"/>
                <a:gd name="connsiteY69" fmla="*/ 297508 h 788699"/>
                <a:gd name="connsiteX70" fmla="*/ 166965 w 734307"/>
                <a:gd name="connsiteY70" fmla="*/ 240395 h 788699"/>
                <a:gd name="connsiteX71" fmla="*/ 177843 w 734307"/>
                <a:gd name="connsiteY71" fmla="*/ 161525 h 788699"/>
                <a:gd name="connsiteX72" fmla="*/ 183282 w 734307"/>
                <a:gd name="connsiteY72" fmla="*/ 118011 h 788699"/>
                <a:gd name="connsiteX73" fmla="*/ 183282 w 734307"/>
                <a:gd name="connsiteY73" fmla="*/ 115291 h 788699"/>
                <a:gd name="connsiteX74" fmla="*/ 161525 w 734307"/>
                <a:gd name="connsiteY74" fmla="*/ 115291 h 788699"/>
                <a:gd name="connsiteX75" fmla="*/ 137048 w 734307"/>
                <a:gd name="connsiteY75" fmla="*/ 115291 h 788699"/>
                <a:gd name="connsiteX76" fmla="*/ 109852 w 734307"/>
                <a:gd name="connsiteY76" fmla="*/ 109851 h 788699"/>
                <a:gd name="connsiteX77" fmla="*/ 93534 w 734307"/>
                <a:gd name="connsiteY77" fmla="*/ 93534 h 788699"/>
                <a:gd name="connsiteX78" fmla="*/ 98973 w 734307"/>
                <a:gd name="connsiteY78" fmla="*/ 85375 h 788699"/>
                <a:gd name="connsiteX79" fmla="*/ 120730 w 734307"/>
                <a:gd name="connsiteY79" fmla="*/ 77216 h 788699"/>
                <a:gd name="connsiteX80" fmla="*/ 172404 w 734307"/>
                <a:gd name="connsiteY80" fmla="*/ 71776 h 788699"/>
                <a:gd name="connsiteX81" fmla="*/ 234956 w 734307"/>
                <a:gd name="connsiteY81" fmla="*/ 69057 h 788699"/>
                <a:gd name="connsiteX82" fmla="*/ 243115 w 734307"/>
                <a:gd name="connsiteY82" fmla="*/ 69057 h 788699"/>
                <a:gd name="connsiteX83" fmla="*/ 270312 w 734307"/>
                <a:gd name="connsiteY83" fmla="*/ 74496 h 788699"/>
                <a:gd name="connsiteX84" fmla="*/ 308387 w 734307"/>
                <a:gd name="connsiteY84" fmla="*/ 123450 h 788699"/>
                <a:gd name="connsiteX85" fmla="*/ 332864 w 734307"/>
                <a:gd name="connsiteY85" fmla="*/ 202320 h 788699"/>
                <a:gd name="connsiteX86" fmla="*/ 338303 w 734307"/>
                <a:gd name="connsiteY86" fmla="*/ 237675 h 788699"/>
                <a:gd name="connsiteX87" fmla="*/ 349182 w 734307"/>
                <a:gd name="connsiteY87" fmla="*/ 281190 h 788699"/>
                <a:gd name="connsiteX88" fmla="*/ 357341 w 734307"/>
                <a:gd name="connsiteY88" fmla="*/ 316545 h 788699"/>
                <a:gd name="connsiteX89" fmla="*/ 365500 w 734307"/>
                <a:gd name="connsiteY89" fmla="*/ 351901 h 788699"/>
                <a:gd name="connsiteX90" fmla="*/ 376378 w 734307"/>
                <a:gd name="connsiteY90" fmla="*/ 389976 h 788699"/>
                <a:gd name="connsiteX91" fmla="*/ 387257 w 734307"/>
                <a:gd name="connsiteY91" fmla="*/ 414453 h 788699"/>
                <a:gd name="connsiteX92" fmla="*/ 398136 w 734307"/>
                <a:gd name="connsiteY92" fmla="*/ 376378 h 788699"/>
                <a:gd name="connsiteX93" fmla="*/ 406295 w 734307"/>
                <a:gd name="connsiteY93" fmla="*/ 332863 h 788699"/>
                <a:gd name="connsiteX94" fmla="*/ 425332 w 734307"/>
                <a:gd name="connsiteY94" fmla="*/ 243115 h 788699"/>
                <a:gd name="connsiteX95" fmla="*/ 444370 w 734307"/>
                <a:gd name="connsiteY95" fmla="*/ 150646 h 788699"/>
                <a:gd name="connsiteX96" fmla="*/ 477006 w 734307"/>
                <a:gd name="connsiteY96" fmla="*/ 79935 h 788699"/>
                <a:gd name="connsiteX97" fmla="*/ 523240 w 734307"/>
                <a:gd name="connsiteY97" fmla="*/ 58178 h 788699"/>
                <a:gd name="connsiteX98" fmla="*/ 544997 w 734307"/>
                <a:gd name="connsiteY98" fmla="*/ 63617 h 788699"/>
                <a:gd name="connsiteX99" fmla="*/ 612988 w 734307"/>
                <a:gd name="connsiteY99" fmla="*/ 63617 h 788699"/>
                <a:gd name="connsiteX100" fmla="*/ 651064 w 734307"/>
                <a:gd name="connsiteY100" fmla="*/ 79935 h 788699"/>
                <a:gd name="connsiteX101" fmla="*/ 645624 w 734307"/>
                <a:gd name="connsiteY101" fmla="*/ 96253 h 788699"/>
                <a:gd name="connsiteX102" fmla="*/ 629307 w 734307"/>
                <a:gd name="connsiteY102" fmla="*/ 104412 h 788699"/>
                <a:gd name="connsiteX103" fmla="*/ 607549 w 734307"/>
                <a:gd name="connsiteY103" fmla="*/ 107132 h 788699"/>
                <a:gd name="connsiteX104" fmla="*/ 580353 w 734307"/>
                <a:gd name="connsiteY104" fmla="*/ 107132 h 788699"/>
                <a:gd name="connsiteX105" fmla="*/ 583072 w 734307"/>
                <a:gd name="connsiteY105" fmla="*/ 115291 h 788699"/>
                <a:gd name="connsiteX106" fmla="*/ 588512 w 734307"/>
                <a:gd name="connsiteY106" fmla="*/ 156086 h 788699"/>
                <a:gd name="connsiteX107" fmla="*/ 593951 w 734307"/>
                <a:gd name="connsiteY107" fmla="*/ 196881 h 788699"/>
                <a:gd name="connsiteX108" fmla="*/ 599390 w 734307"/>
                <a:gd name="connsiteY108" fmla="*/ 226797 h 788699"/>
                <a:gd name="connsiteX109" fmla="*/ 599390 w 734307"/>
                <a:gd name="connsiteY109" fmla="*/ 232236 h 788699"/>
                <a:gd name="connsiteX110" fmla="*/ 599390 w 734307"/>
                <a:gd name="connsiteY110" fmla="*/ 240395 h 788699"/>
                <a:gd name="connsiteX111" fmla="*/ 602110 w 734307"/>
                <a:gd name="connsiteY111" fmla="*/ 270311 h 788699"/>
                <a:gd name="connsiteX112" fmla="*/ 607549 w 734307"/>
                <a:gd name="connsiteY112" fmla="*/ 308386 h 788699"/>
                <a:gd name="connsiteX113" fmla="*/ 607549 w 734307"/>
                <a:gd name="connsiteY113" fmla="*/ 319265 h 788699"/>
                <a:gd name="connsiteX114" fmla="*/ 612988 w 734307"/>
                <a:gd name="connsiteY114" fmla="*/ 335583 h 788699"/>
                <a:gd name="connsiteX115" fmla="*/ 612988 w 734307"/>
                <a:gd name="connsiteY115" fmla="*/ 346462 h 788699"/>
                <a:gd name="connsiteX116" fmla="*/ 612988 w 734307"/>
                <a:gd name="connsiteY116" fmla="*/ 370939 h 788699"/>
                <a:gd name="connsiteX117" fmla="*/ 612988 w 734307"/>
                <a:gd name="connsiteY117" fmla="*/ 395415 h 788699"/>
                <a:gd name="connsiteX118" fmla="*/ 615708 w 734307"/>
                <a:gd name="connsiteY118" fmla="*/ 422612 h 788699"/>
                <a:gd name="connsiteX119" fmla="*/ 618428 w 734307"/>
                <a:gd name="connsiteY119" fmla="*/ 441650 h 788699"/>
                <a:gd name="connsiteX120" fmla="*/ 618428 w 734307"/>
                <a:gd name="connsiteY120" fmla="*/ 455248 h 788699"/>
                <a:gd name="connsiteX121" fmla="*/ 621147 w 734307"/>
                <a:gd name="connsiteY121" fmla="*/ 463407 h 788699"/>
                <a:gd name="connsiteX122" fmla="*/ 626587 w 734307"/>
                <a:gd name="connsiteY122" fmla="*/ 482444 h 788699"/>
                <a:gd name="connsiteX123" fmla="*/ 629307 w 734307"/>
                <a:gd name="connsiteY123" fmla="*/ 517800 h 788699"/>
                <a:gd name="connsiteX124" fmla="*/ 634746 w 734307"/>
                <a:gd name="connsiteY124" fmla="*/ 561314 h 788699"/>
                <a:gd name="connsiteX125" fmla="*/ 634746 w 734307"/>
                <a:gd name="connsiteY125" fmla="*/ 566754 h 788699"/>
                <a:gd name="connsiteX126" fmla="*/ 634746 w 734307"/>
                <a:gd name="connsiteY126" fmla="*/ 583072 h 788699"/>
                <a:gd name="connsiteX127" fmla="*/ 637466 w 734307"/>
                <a:gd name="connsiteY127" fmla="*/ 607548 h 788699"/>
                <a:gd name="connsiteX128" fmla="*/ 640185 w 734307"/>
                <a:gd name="connsiteY128" fmla="*/ 618427 h 788699"/>
                <a:gd name="connsiteX129" fmla="*/ 640185 w 734307"/>
                <a:gd name="connsiteY129" fmla="*/ 632025 h 788699"/>
                <a:gd name="connsiteX130" fmla="*/ 640185 w 734307"/>
                <a:gd name="connsiteY130" fmla="*/ 640184 h 788699"/>
                <a:gd name="connsiteX131" fmla="*/ 642905 w 734307"/>
                <a:gd name="connsiteY131" fmla="*/ 659222 h 788699"/>
                <a:gd name="connsiteX132" fmla="*/ 642905 w 734307"/>
                <a:gd name="connsiteY132" fmla="*/ 664661 h 788699"/>
                <a:gd name="connsiteX133" fmla="*/ 653783 w 734307"/>
                <a:gd name="connsiteY133" fmla="*/ 678259 h 788699"/>
                <a:gd name="connsiteX134" fmla="*/ 653783 w 734307"/>
                <a:gd name="connsiteY134" fmla="*/ 678259 h 7886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</a:cxnLst>
              <a:rect l="l" t="t" r="r" b="b"/>
              <a:pathLst>
                <a:path w="734307" h="788699">
                  <a:moveTo>
                    <a:pt x="653783" y="678259"/>
                  </a:moveTo>
                  <a:cubicBezTo>
                    <a:pt x="667382" y="678259"/>
                    <a:pt x="691859" y="678259"/>
                    <a:pt x="691859" y="694577"/>
                  </a:cubicBezTo>
                  <a:cubicBezTo>
                    <a:pt x="691859" y="702736"/>
                    <a:pt x="689139" y="705456"/>
                    <a:pt x="686419" y="710895"/>
                  </a:cubicBezTo>
                  <a:cubicBezTo>
                    <a:pt x="683700" y="716335"/>
                    <a:pt x="675541" y="719054"/>
                    <a:pt x="670101" y="719054"/>
                  </a:cubicBezTo>
                  <a:cubicBezTo>
                    <a:pt x="661942" y="721774"/>
                    <a:pt x="653783" y="721774"/>
                    <a:pt x="648344" y="721774"/>
                  </a:cubicBezTo>
                  <a:cubicBezTo>
                    <a:pt x="645624" y="721774"/>
                    <a:pt x="634746" y="721774"/>
                    <a:pt x="618428" y="721774"/>
                  </a:cubicBezTo>
                  <a:cubicBezTo>
                    <a:pt x="604829" y="729933"/>
                    <a:pt x="588512" y="735372"/>
                    <a:pt x="572194" y="735372"/>
                  </a:cubicBezTo>
                  <a:cubicBezTo>
                    <a:pt x="564035" y="735372"/>
                    <a:pt x="553156" y="732653"/>
                    <a:pt x="544997" y="729933"/>
                  </a:cubicBezTo>
                  <a:cubicBezTo>
                    <a:pt x="539558" y="727213"/>
                    <a:pt x="536838" y="724494"/>
                    <a:pt x="534119" y="721774"/>
                  </a:cubicBezTo>
                  <a:cubicBezTo>
                    <a:pt x="520520" y="721774"/>
                    <a:pt x="509641" y="721774"/>
                    <a:pt x="496043" y="721774"/>
                  </a:cubicBezTo>
                  <a:cubicBezTo>
                    <a:pt x="487884" y="721774"/>
                    <a:pt x="479725" y="721774"/>
                    <a:pt x="471566" y="721774"/>
                  </a:cubicBezTo>
                  <a:cubicBezTo>
                    <a:pt x="463407" y="721774"/>
                    <a:pt x="452529" y="721774"/>
                    <a:pt x="444370" y="716335"/>
                  </a:cubicBezTo>
                  <a:cubicBezTo>
                    <a:pt x="436211" y="713615"/>
                    <a:pt x="428052" y="705456"/>
                    <a:pt x="428052" y="700017"/>
                  </a:cubicBezTo>
                  <a:cubicBezTo>
                    <a:pt x="428052" y="697297"/>
                    <a:pt x="428052" y="694577"/>
                    <a:pt x="433491" y="691858"/>
                  </a:cubicBezTo>
                  <a:cubicBezTo>
                    <a:pt x="438930" y="689138"/>
                    <a:pt x="449809" y="686418"/>
                    <a:pt x="455248" y="683699"/>
                  </a:cubicBezTo>
                  <a:cubicBezTo>
                    <a:pt x="474286" y="680979"/>
                    <a:pt x="498763" y="678259"/>
                    <a:pt x="506922" y="678259"/>
                  </a:cubicBezTo>
                  <a:cubicBezTo>
                    <a:pt x="506922" y="678259"/>
                    <a:pt x="509641" y="678259"/>
                    <a:pt x="509641" y="678259"/>
                  </a:cubicBezTo>
                  <a:cubicBezTo>
                    <a:pt x="509641" y="672820"/>
                    <a:pt x="506922" y="670101"/>
                    <a:pt x="506922" y="664661"/>
                  </a:cubicBezTo>
                  <a:cubicBezTo>
                    <a:pt x="501483" y="640184"/>
                    <a:pt x="501483" y="612988"/>
                    <a:pt x="498763" y="580352"/>
                  </a:cubicBezTo>
                  <a:cubicBezTo>
                    <a:pt x="496043" y="547716"/>
                    <a:pt x="498763" y="512361"/>
                    <a:pt x="496043" y="479725"/>
                  </a:cubicBezTo>
                  <a:cubicBezTo>
                    <a:pt x="493324" y="449808"/>
                    <a:pt x="493324" y="419892"/>
                    <a:pt x="493324" y="389976"/>
                  </a:cubicBezTo>
                  <a:cubicBezTo>
                    <a:pt x="493324" y="360060"/>
                    <a:pt x="490604" y="332863"/>
                    <a:pt x="490604" y="302947"/>
                  </a:cubicBezTo>
                  <a:cubicBezTo>
                    <a:pt x="487884" y="275751"/>
                    <a:pt x="487884" y="240395"/>
                    <a:pt x="487884" y="229516"/>
                  </a:cubicBezTo>
                  <a:cubicBezTo>
                    <a:pt x="487884" y="224077"/>
                    <a:pt x="487884" y="221357"/>
                    <a:pt x="485165" y="221357"/>
                  </a:cubicBezTo>
                  <a:cubicBezTo>
                    <a:pt x="485165" y="221357"/>
                    <a:pt x="482445" y="224077"/>
                    <a:pt x="482445" y="226797"/>
                  </a:cubicBezTo>
                  <a:cubicBezTo>
                    <a:pt x="479725" y="237675"/>
                    <a:pt x="479725" y="251274"/>
                    <a:pt x="477006" y="262152"/>
                  </a:cubicBezTo>
                  <a:cubicBezTo>
                    <a:pt x="471566" y="289349"/>
                    <a:pt x="466127" y="316545"/>
                    <a:pt x="460688" y="341022"/>
                  </a:cubicBezTo>
                  <a:cubicBezTo>
                    <a:pt x="455248" y="365499"/>
                    <a:pt x="447090" y="392696"/>
                    <a:pt x="444370" y="417173"/>
                  </a:cubicBezTo>
                  <a:cubicBezTo>
                    <a:pt x="441650" y="430771"/>
                    <a:pt x="438930" y="441650"/>
                    <a:pt x="436211" y="455248"/>
                  </a:cubicBezTo>
                  <a:cubicBezTo>
                    <a:pt x="433491" y="468846"/>
                    <a:pt x="428052" y="479725"/>
                    <a:pt x="425332" y="493323"/>
                  </a:cubicBezTo>
                  <a:cubicBezTo>
                    <a:pt x="422612" y="506921"/>
                    <a:pt x="419893" y="520520"/>
                    <a:pt x="411734" y="531398"/>
                  </a:cubicBezTo>
                  <a:cubicBezTo>
                    <a:pt x="406295" y="539557"/>
                    <a:pt x="395416" y="547716"/>
                    <a:pt x="376378" y="547716"/>
                  </a:cubicBezTo>
                  <a:cubicBezTo>
                    <a:pt x="357341" y="547716"/>
                    <a:pt x="335583" y="539557"/>
                    <a:pt x="319265" y="525959"/>
                  </a:cubicBezTo>
                  <a:cubicBezTo>
                    <a:pt x="300228" y="506921"/>
                    <a:pt x="294788" y="479725"/>
                    <a:pt x="289349" y="455248"/>
                  </a:cubicBezTo>
                  <a:cubicBezTo>
                    <a:pt x="283910" y="428051"/>
                    <a:pt x="278470" y="400855"/>
                    <a:pt x="273031" y="373658"/>
                  </a:cubicBezTo>
                  <a:cubicBezTo>
                    <a:pt x="273031" y="368219"/>
                    <a:pt x="267592" y="346462"/>
                    <a:pt x="262153" y="316545"/>
                  </a:cubicBezTo>
                  <a:cubicBezTo>
                    <a:pt x="256713" y="292068"/>
                    <a:pt x="251274" y="262152"/>
                    <a:pt x="245835" y="237675"/>
                  </a:cubicBezTo>
                  <a:cubicBezTo>
                    <a:pt x="240395" y="218638"/>
                    <a:pt x="237675" y="205039"/>
                    <a:pt x="234956" y="196881"/>
                  </a:cubicBezTo>
                  <a:cubicBezTo>
                    <a:pt x="232236" y="191441"/>
                    <a:pt x="232236" y="191441"/>
                    <a:pt x="232236" y="191441"/>
                  </a:cubicBezTo>
                  <a:cubicBezTo>
                    <a:pt x="229517" y="191441"/>
                    <a:pt x="229517" y="196881"/>
                    <a:pt x="226797" y="207759"/>
                  </a:cubicBezTo>
                  <a:cubicBezTo>
                    <a:pt x="226797" y="215918"/>
                    <a:pt x="226797" y="229516"/>
                    <a:pt x="226797" y="232236"/>
                  </a:cubicBezTo>
                  <a:cubicBezTo>
                    <a:pt x="226797" y="243115"/>
                    <a:pt x="224077" y="256713"/>
                    <a:pt x="224077" y="267592"/>
                  </a:cubicBezTo>
                  <a:cubicBezTo>
                    <a:pt x="224077" y="278470"/>
                    <a:pt x="224077" y="294788"/>
                    <a:pt x="221358" y="311106"/>
                  </a:cubicBezTo>
                  <a:cubicBezTo>
                    <a:pt x="221358" y="327424"/>
                    <a:pt x="218638" y="343742"/>
                    <a:pt x="218638" y="360060"/>
                  </a:cubicBezTo>
                  <a:cubicBezTo>
                    <a:pt x="218638" y="373658"/>
                    <a:pt x="215919" y="384537"/>
                    <a:pt x="215919" y="398135"/>
                  </a:cubicBezTo>
                  <a:cubicBezTo>
                    <a:pt x="215919" y="409014"/>
                    <a:pt x="213199" y="419892"/>
                    <a:pt x="213199" y="430771"/>
                  </a:cubicBezTo>
                  <a:cubicBezTo>
                    <a:pt x="213199" y="438930"/>
                    <a:pt x="213199" y="447089"/>
                    <a:pt x="213199" y="455248"/>
                  </a:cubicBezTo>
                  <a:cubicBezTo>
                    <a:pt x="213199" y="463407"/>
                    <a:pt x="213199" y="471566"/>
                    <a:pt x="213199" y="477005"/>
                  </a:cubicBezTo>
                  <a:cubicBezTo>
                    <a:pt x="210479" y="490603"/>
                    <a:pt x="207759" y="506921"/>
                    <a:pt x="207759" y="520520"/>
                  </a:cubicBezTo>
                  <a:cubicBezTo>
                    <a:pt x="202320" y="550436"/>
                    <a:pt x="199600" y="580352"/>
                    <a:pt x="196881" y="610268"/>
                  </a:cubicBezTo>
                  <a:cubicBezTo>
                    <a:pt x="196881" y="623866"/>
                    <a:pt x="196881" y="640184"/>
                    <a:pt x="194161" y="653783"/>
                  </a:cubicBezTo>
                  <a:cubicBezTo>
                    <a:pt x="194161" y="659222"/>
                    <a:pt x="194161" y="661942"/>
                    <a:pt x="191441" y="667381"/>
                  </a:cubicBezTo>
                  <a:cubicBezTo>
                    <a:pt x="213199" y="667381"/>
                    <a:pt x="232236" y="667381"/>
                    <a:pt x="243115" y="667381"/>
                  </a:cubicBezTo>
                  <a:cubicBezTo>
                    <a:pt x="253994" y="667381"/>
                    <a:pt x="273031" y="670101"/>
                    <a:pt x="273031" y="683699"/>
                  </a:cubicBezTo>
                  <a:cubicBezTo>
                    <a:pt x="273031" y="691858"/>
                    <a:pt x="267592" y="691858"/>
                    <a:pt x="262153" y="697297"/>
                  </a:cubicBezTo>
                  <a:cubicBezTo>
                    <a:pt x="259433" y="702736"/>
                    <a:pt x="253994" y="705456"/>
                    <a:pt x="248554" y="705456"/>
                  </a:cubicBezTo>
                  <a:cubicBezTo>
                    <a:pt x="240395" y="708176"/>
                    <a:pt x="234956" y="708176"/>
                    <a:pt x="232236" y="708176"/>
                  </a:cubicBezTo>
                  <a:cubicBezTo>
                    <a:pt x="226797" y="708176"/>
                    <a:pt x="175124" y="708176"/>
                    <a:pt x="166965" y="708176"/>
                  </a:cubicBezTo>
                  <a:cubicBezTo>
                    <a:pt x="156086" y="708176"/>
                    <a:pt x="120730" y="708176"/>
                    <a:pt x="109852" y="708176"/>
                  </a:cubicBezTo>
                  <a:cubicBezTo>
                    <a:pt x="104412" y="708176"/>
                    <a:pt x="96253" y="708176"/>
                    <a:pt x="90814" y="708176"/>
                  </a:cubicBezTo>
                  <a:cubicBezTo>
                    <a:pt x="85375" y="708176"/>
                    <a:pt x="77216" y="705456"/>
                    <a:pt x="69057" y="702736"/>
                  </a:cubicBezTo>
                  <a:cubicBezTo>
                    <a:pt x="63617" y="700017"/>
                    <a:pt x="58178" y="691858"/>
                    <a:pt x="58178" y="686418"/>
                  </a:cubicBezTo>
                  <a:cubicBezTo>
                    <a:pt x="58178" y="683699"/>
                    <a:pt x="58178" y="680979"/>
                    <a:pt x="60898" y="678259"/>
                  </a:cubicBezTo>
                  <a:cubicBezTo>
                    <a:pt x="63617" y="675540"/>
                    <a:pt x="71777" y="672820"/>
                    <a:pt x="77216" y="670101"/>
                  </a:cubicBezTo>
                  <a:cubicBezTo>
                    <a:pt x="90814" y="667381"/>
                    <a:pt x="120730" y="664661"/>
                    <a:pt x="126170" y="664661"/>
                  </a:cubicBezTo>
                  <a:cubicBezTo>
                    <a:pt x="128889" y="664661"/>
                    <a:pt x="134329" y="664661"/>
                    <a:pt x="142487" y="664661"/>
                  </a:cubicBezTo>
                  <a:cubicBezTo>
                    <a:pt x="142487" y="640184"/>
                    <a:pt x="147927" y="612988"/>
                    <a:pt x="147927" y="588511"/>
                  </a:cubicBezTo>
                  <a:cubicBezTo>
                    <a:pt x="150646" y="555875"/>
                    <a:pt x="153366" y="523239"/>
                    <a:pt x="153366" y="493323"/>
                  </a:cubicBezTo>
                  <a:cubicBezTo>
                    <a:pt x="153366" y="466126"/>
                    <a:pt x="156086" y="438930"/>
                    <a:pt x="156086" y="411733"/>
                  </a:cubicBezTo>
                  <a:cubicBezTo>
                    <a:pt x="158806" y="373658"/>
                    <a:pt x="158806" y="335583"/>
                    <a:pt x="161525" y="297508"/>
                  </a:cubicBezTo>
                  <a:cubicBezTo>
                    <a:pt x="161525" y="278470"/>
                    <a:pt x="164245" y="259433"/>
                    <a:pt x="166965" y="240395"/>
                  </a:cubicBezTo>
                  <a:cubicBezTo>
                    <a:pt x="169684" y="210479"/>
                    <a:pt x="172404" y="191441"/>
                    <a:pt x="177843" y="161525"/>
                  </a:cubicBezTo>
                  <a:cubicBezTo>
                    <a:pt x="180563" y="147927"/>
                    <a:pt x="180563" y="131609"/>
                    <a:pt x="183282" y="118011"/>
                  </a:cubicBezTo>
                  <a:cubicBezTo>
                    <a:pt x="183282" y="118011"/>
                    <a:pt x="183282" y="115291"/>
                    <a:pt x="183282" y="115291"/>
                  </a:cubicBezTo>
                  <a:cubicBezTo>
                    <a:pt x="177843" y="115291"/>
                    <a:pt x="172404" y="115291"/>
                    <a:pt x="161525" y="115291"/>
                  </a:cubicBezTo>
                  <a:cubicBezTo>
                    <a:pt x="153366" y="115291"/>
                    <a:pt x="145207" y="115291"/>
                    <a:pt x="137048" y="115291"/>
                  </a:cubicBezTo>
                  <a:cubicBezTo>
                    <a:pt x="128889" y="115291"/>
                    <a:pt x="118011" y="115291"/>
                    <a:pt x="109852" y="109851"/>
                  </a:cubicBezTo>
                  <a:cubicBezTo>
                    <a:pt x="101693" y="107132"/>
                    <a:pt x="93534" y="98973"/>
                    <a:pt x="93534" y="93534"/>
                  </a:cubicBezTo>
                  <a:cubicBezTo>
                    <a:pt x="93534" y="90814"/>
                    <a:pt x="93534" y="88094"/>
                    <a:pt x="98973" y="85375"/>
                  </a:cubicBezTo>
                  <a:cubicBezTo>
                    <a:pt x="104412" y="82655"/>
                    <a:pt x="115291" y="79935"/>
                    <a:pt x="120730" y="77216"/>
                  </a:cubicBezTo>
                  <a:cubicBezTo>
                    <a:pt x="139768" y="74496"/>
                    <a:pt x="164245" y="71776"/>
                    <a:pt x="172404" y="71776"/>
                  </a:cubicBezTo>
                  <a:cubicBezTo>
                    <a:pt x="194161" y="71776"/>
                    <a:pt x="210479" y="69057"/>
                    <a:pt x="234956" y="69057"/>
                  </a:cubicBezTo>
                  <a:cubicBezTo>
                    <a:pt x="237675" y="69057"/>
                    <a:pt x="240395" y="69057"/>
                    <a:pt x="243115" y="69057"/>
                  </a:cubicBezTo>
                  <a:cubicBezTo>
                    <a:pt x="251274" y="69057"/>
                    <a:pt x="262153" y="69057"/>
                    <a:pt x="270312" y="74496"/>
                  </a:cubicBezTo>
                  <a:cubicBezTo>
                    <a:pt x="283910" y="82655"/>
                    <a:pt x="300228" y="96253"/>
                    <a:pt x="308387" y="123450"/>
                  </a:cubicBezTo>
                  <a:cubicBezTo>
                    <a:pt x="316546" y="147927"/>
                    <a:pt x="327424" y="175123"/>
                    <a:pt x="332864" y="202320"/>
                  </a:cubicBezTo>
                  <a:cubicBezTo>
                    <a:pt x="335583" y="213198"/>
                    <a:pt x="335583" y="226797"/>
                    <a:pt x="338303" y="237675"/>
                  </a:cubicBezTo>
                  <a:cubicBezTo>
                    <a:pt x="343742" y="251274"/>
                    <a:pt x="346462" y="264872"/>
                    <a:pt x="349182" y="281190"/>
                  </a:cubicBezTo>
                  <a:cubicBezTo>
                    <a:pt x="351901" y="292068"/>
                    <a:pt x="351901" y="305667"/>
                    <a:pt x="357341" y="316545"/>
                  </a:cubicBezTo>
                  <a:cubicBezTo>
                    <a:pt x="362780" y="327424"/>
                    <a:pt x="362780" y="338303"/>
                    <a:pt x="365500" y="351901"/>
                  </a:cubicBezTo>
                  <a:cubicBezTo>
                    <a:pt x="365500" y="357340"/>
                    <a:pt x="373658" y="373658"/>
                    <a:pt x="376378" y="389976"/>
                  </a:cubicBezTo>
                  <a:cubicBezTo>
                    <a:pt x="381817" y="403574"/>
                    <a:pt x="384537" y="414453"/>
                    <a:pt x="387257" y="414453"/>
                  </a:cubicBezTo>
                  <a:cubicBezTo>
                    <a:pt x="392696" y="414453"/>
                    <a:pt x="395416" y="381817"/>
                    <a:pt x="398136" y="376378"/>
                  </a:cubicBezTo>
                  <a:cubicBezTo>
                    <a:pt x="400855" y="362779"/>
                    <a:pt x="403575" y="346462"/>
                    <a:pt x="406295" y="332863"/>
                  </a:cubicBezTo>
                  <a:cubicBezTo>
                    <a:pt x="411734" y="302947"/>
                    <a:pt x="417173" y="273031"/>
                    <a:pt x="425332" y="243115"/>
                  </a:cubicBezTo>
                  <a:cubicBezTo>
                    <a:pt x="430771" y="213198"/>
                    <a:pt x="436211" y="180563"/>
                    <a:pt x="444370" y="150646"/>
                  </a:cubicBezTo>
                  <a:cubicBezTo>
                    <a:pt x="449809" y="126170"/>
                    <a:pt x="460688" y="98973"/>
                    <a:pt x="477006" y="79935"/>
                  </a:cubicBezTo>
                  <a:cubicBezTo>
                    <a:pt x="487884" y="66337"/>
                    <a:pt x="506922" y="58178"/>
                    <a:pt x="523240" y="58178"/>
                  </a:cubicBezTo>
                  <a:cubicBezTo>
                    <a:pt x="528679" y="58178"/>
                    <a:pt x="539558" y="58178"/>
                    <a:pt x="544997" y="63617"/>
                  </a:cubicBezTo>
                  <a:lnTo>
                    <a:pt x="612988" y="63617"/>
                  </a:lnTo>
                  <a:cubicBezTo>
                    <a:pt x="626587" y="63617"/>
                    <a:pt x="651064" y="63617"/>
                    <a:pt x="651064" y="79935"/>
                  </a:cubicBezTo>
                  <a:cubicBezTo>
                    <a:pt x="651064" y="88094"/>
                    <a:pt x="648344" y="88094"/>
                    <a:pt x="645624" y="96253"/>
                  </a:cubicBezTo>
                  <a:cubicBezTo>
                    <a:pt x="640185" y="101693"/>
                    <a:pt x="634746" y="104412"/>
                    <a:pt x="629307" y="104412"/>
                  </a:cubicBezTo>
                  <a:cubicBezTo>
                    <a:pt x="621147" y="107132"/>
                    <a:pt x="612988" y="107132"/>
                    <a:pt x="607549" y="107132"/>
                  </a:cubicBezTo>
                  <a:cubicBezTo>
                    <a:pt x="604829" y="107132"/>
                    <a:pt x="591231" y="107132"/>
                    <a:pt x="580353" y="107132"/>
                  </a:cubicBezTo>
                  <a:cubicBezTo>
                    <a:pt x="580353" y="109851"/>
                    <a:pt x="583072" y="112571"/>
                    <a:pt x="583072" y="115291"/>
                  </a:cubicBezTo>
                  <a:cubicBezTo>
                    <a:pt x="585792" y="128889"/>
                    <a:pt x="585792" y="142487"/>
                    <a:pt x="588512" y="156086"/>
                  </a:cubicBezTo>
                  <a:cubicBezTo>
                    <a:pt x="591231" y="169684"/>
                    <a:pt x="591231" y="183282"/>
                    <a:pt x="593951" y="196881"/>
                  </a:cubicBezTo>
                  <a:cubicBezTo>
                    <a:pt x="593951" y="207759"/>
                    <a:pt x="599390" y="215918"/>
                    <a:pt x="599390" y="226797"/>
                  </a:cubicBezTo>
                  <a:cubicBezTo>
                    <a:pt x="599390" y="229516"/>
                    <a:pt x="599390" y="229516"/>
                    <a:pt x="599390" y="232236"/>
                  </a:cubicBezTo>
                  <a:cubicBezTo>
                    <a:pt x="599390" y="234956"/>
                    <a:pt x="599390" y="237675"/>
                    <a:pt x="599390" y="240395"/>
                  </a:cubicBezTo>
                  <a:cubicBezTo>
                    <a:pt x="599390" y="251274"/>
                    <a:pt x="599390" y="259433"/>
                    <a:pt x="602110" y="270311"/>
                  </a:cubicBezTo>
                  <a:cubicBezTo>
                    <a:pt x="604829" y="283909"/>
                    <a:pt x="607549" y="294788"/>
                    <a:pt x="607549" y="308386"/>
                  </a:cubicBezTo>
                  <a:cubicBezTo>
                    <a:pt x="607549" y="311106"/>
                    <a:pt x="607549" y="316545"/>
                    <a:pt x="607549" y="319265"/>
                  </a:cubicBezTo>
                  <a:cubicBezTo>
                    <a:pt x="607549" y="324704"/>
                    <a:pt x="610269" y="330144"/>
                    <a:pt x="612988" y="335583"/>
                  </a:cubicBezTo>
                  <a:cubicBezTo>
                    <a:pt x="612988" y="338303"/>
                    <a:pt x="612988" y="343742"/>
                    <a:pt x="612988" y="346462"/>
                  </a:cubicBezTo>
                  <a:cubicBezTo>
                    <a:pt x="612988" y="354620"/>
                    <a:pt x="612988" y="362779"/>
                    <a:pt x="612988" y="370939"/>
                  </a:cubicBezTo>
                  <a:cubicBezTo>
                    <a:pt x="612988" y="379097"/>
                    <a:pt x="612988" y="387256"/>
                    <a:pt x="612988" y="395415"/>
                  </a:cubicBezTo>
                  <a:cubicBezTo>
                    <a:pt x="612988" y="403574"/>
                    <a:pt x="615708" y="414453"/>
                    <a:pt x="615708" y="422612"/>
                  </a:cubicBezTo>
                  <a:cubicBezTo>
                    <a:pt x="618428" y="430771"/>
                    <a:pt x="618428" y="436210"/>
                    <a:pt x="618428" y="441650"/>
                  </a:cubicBezTo>
                  <a:cubicBezTo>
                    <a:pt x="618428" y="444369"/>
                    <a:pt x="618428" y="449808"/>
                    <a:pt x="618428" y="455248"/>
                  </a:cubicBezTo>
                  <a:cubicBezTo>
                    <a:pt x="618428" y="460687"/>
                    <a:pt x="618428" y="460687"/>
                    <a:pt x="621147" y="463407"/>
                  </a:cubicBezTo>
                  <a:cubicBezTo>
                    <a:pt x="623867" y="471566"/>
                    <a:pt x="623867" y="477005"/>
                    <a:pt x="626587" y="482444"/>
                  </a:cubicBezTo>
                  <a:cubicBezTo>
                    <a:pt x="629307" y="493323"/>
                    <a:pt x="629307" y="506921"/>
                    <a:pt x="629307" y="517800"/>
                  </a:cubicBezTo>
                  <a:cubicBezTo>
                    <a:pt x="632026" y="534118"/>
                    <a:pt x="632026" y="547716"/>
                    <a:pt x="634746" y="561314"/>
                  </a:cubicBezTo>
                  <a:cubicBezTo>
                    <a:pt x="634746" y="564034"/>
                    <a:pt x="634746" y="564034"/>
                    <a:pt x="634746" y="566754"/>
                  </a:cubicBezTo>
                  <a:cubicBezTo>
                    <a:pt x="634746" y="572193"/>
                    <a:pt x="634746" y="577632"/>
                    <a:pt x="634746" y="583072"/>
                  </a:cubicBezTo>
                  <a:cubicBezTo>
                    <a:pt x="634746" y="596670"/>
                    <a:pt x="637466" y="602109"/>
                    <a:pt x="637466" y="607548"/>
                  </a:cubicBezTo>
                  <a:cubicBezTo>
                    <a:pt x="637466" y="610268"/>
                    <a:pt x="640185" y="615708"/>
                    <a:pt x="640185" y="618427"/>
                  </a:cubicBezTo>
                  <a:cubicBezTo>
                    <a:pt x="640185" y="623866"/>
                    <a:pt x="640185" y="629306"/>
                    <a:pt x="640185" y="632025"/>
                  </a:cubicBezTo>
                  <a:cubicBezTo>
                    <a:pt x="640185" y="634745"/>
                    <a:pt x="640185" y="637465"/>
                    <a:pt x="640185" y="640184"/>
                  </a:cubicBezTo>
                  <a:cubicBezTo>
                    <a:pt x="640185" y="645624"/>
                    <a:pt x="642905" y="653783"/>
                    <a:pt x="642905" y="659222"/>
                  </a:cubicBezTo>
                  <a:cubicBezTo>
                    <a:pt x="642905" y="661942"/>
                    <a:pt x="642905" y="661942"/>
                    <a:pt x="642905" y="664661"/>
                  </a:cubicBezTo>
                  <a:cubicBezTo>
                    <a:pt x="645624" y="678259"/>
                    <a:pt x="651064" y="678259"/>
                    <a:pt x="653783" y="678259"/>
                  </a:cubicBezTo>
                  <a:lnTo>
                    <a:pt x="653783" y="678259"/>
                  </a:ln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3" name="Freeform: Shape 42">
              <a:extLst>
                <a:ext uri="{FF2B5EF4-FFF2-40B4-BE49-F238E27FC236}">
                  <a16:creationId xmlns:a16="http://schemas.microsoft.com/office/drawing/2014/main" id="{277C2FCB-7D05-4824-AE10-F453FE482C72}"/>
                </a:ext>
              </a:extLst>
            </p:cNvPr>
            <p:cNvSpPr/>
            <p:nvPr/>
          </p:nvSpPr>
          <p:spPr>
            <a:xfrm>
              <a:off x="6362526" y="4242177"/>
              <a:ext cx="492259" cy="674476"/>
            </a:xfrm>
            <a:custGeom>
              <a:avLst/>
              <a:gdLst>
                <a:gd name="connsiteX0" fmla="*/ 225733 w 492259"/>
                <a:gd name="connsiteY0" fmla="*/ 97907 h 674476"/>
                <a:gd name="connsiteX1" fmla="*/ 209415 w 492259"/>
                <a:gd name="connsiteY1" fmla="*/ 119665 h 674476"/>
                <a:gd name="connsiteX2" fmla="*/ 201256 w 492259"/>
                <a:gd name="connsiteY2" fmla="*/ 152300 h 674476"/>
                <a:gd name="connsiteX3" fmla="*/ 198536 w 492259"/>
                <a:gd name="connsiteY3" fmla="*/ 168618 h 674476"/>
                <a:gd name="connsiteX4" fmla="*/ 195817 w 492259"/>
                <a:gd name="connsiteY4" fmla="*/ 184936 h 674476"/>
                <a:gd name="connsiteX5" fmla="*/ 187658 w 492259"/>
                <a:gd name="connsiteY5" fmla="*/ 220292 h 674476"/>
                <a:gd name="connsiteX6" fmla="*/ 168620 w 492259"/>
                <a:gd name="connsiteY6" fmla="*/ 291003 h 674476"/>
                <a:gd name="connsiteX7" fmla="*/ 160461 w 492259"/>
                <a:gd name="connsiteY7" fmla="*/ 323639 h 674476"/>
                <a:gd name="connsiteX8" fmla="*/ 149582 w 492259"/>
                <a:gd name="connsiteY8" fmla="*/ 361714 h 674476"/>
                <a:gd name="connsiteX9" fmla="*/ 144143 w 492259"/>
                <a:gd name="connsiteY9" fmla="*/ 388910 h 674476"/>
                <a:gd name="connsiteX10" fmla="*/ 149582 w 492259"/>
                <a:gd name="connsiteY10" fmla="*/ 391630 h 674476"/>
                <a:gd name="connsiteX11" fmla="*/ 171340 w 492259"/>
                <a:gd name="connsiteY11" fmla="*/ 391630 h 674476"/>
                <a:gd name="connsiteX12" fmla="*/ 193097 w 492259"/>
                <a:gd name="connsiteY12" fmla="*/ 388910 h 674476"/>
                <a:gd name="connsiteX13" fmla="*/ 212135 w 492259"/>
                <a:gd name="connsiteY13" fmla="*/ 388910 h 674476"/>
                <a:gd name="connsiteX14" fmla="*/ 236611 w 492259"/>
                <a:gd name="connsiteY14" fmla="*/ 388910 h 674476"/>
                <a:gd name="connsiteX15" fmla="*/ 250210 w 492259"/>
                <a:gd name="connsiteY15" fmla="*/ 386191 h 674476"/>
                <a:gd name="connsiteX16" fmla="*/ 258369 w 492259"/>
                <a:gd name="connsiteY16" fmla="*/ 386191 h 674476"/>
                <a:gd name="connsiteX17" fmla="*/ 255649 w 492259"/>
                <a:gd name="connsiteY17" fmla="*/ 367153 h 674476"/>
                <a:gd name="connsiteX18" fmla="*/ 250210 w 492259"/>
                <a:gd name="connsiteY18" fmla="*/ 331797 h 674476"/>
                <a:gd name="connsiteX19" fmla="*/ 247490 w 492259"/>
                <a:gd name="connsiteY19" fmla="*/ 244769 h 674476"/>
                <a:gd name="connsiteX20" fmla="*/ 242051 w 492259"/>
                <a:gd name="connsiteY20" fmla="*/ 203974 h 674476"/>
                <a:gd name="connsiteX21" fmla="*/ 236611 w 492259"/>
                <a:gd name="connsiteY21" fmla="*/ 157740 h 674476"/>
                <a:gd name="connsiteX22" fmla="*/ 233892 w 492259"/>
                <a:gd name="connsiteY22" fmla="*/ 119665 h 674476"/>
                <a:gd name="connsiteX23" fmla="*/ 225733 w 492259"/>
                <a:gd name="connsiteY23" fmla="*/ 97907 h 674476"/>
                <a:gd name="connsiteX24" fmla="*/ 274687 w 492259"/>
                <a:gd name="connsiteY24" fmla="*/ 0 h 674476"/>
                <a:gd name="connsiteX25" fmla="*/ 304603 w 492259"/>
                <a:gd name="connsiteY25" fmla="*/ 5439 h 674476"/>
                <a:gd name="connsiteX26" fmla="*/ 320921 w 492259"/>
                <a:gd name="connsiteY26" fmla="*/ 24477 h 674476"/>
                <a:gd name="connsiteX27" fmla="*/ 334519 w 492259"/>
                <a:gd name="connsiteY27" fmla="*/ 43515 h 674476"/>
                <a:gd name="connsiteX28" fmla="*/ 339959 w 492259"/>
                <a:gd name="connsiteY28" fmla="*/ 65272 h 674476"/>
                <a:gd name="connsiteX29" fmla="*/ 348118 w 492259"/>
                <a:gd name="connsiteY29" fmla="*/ 114226 h 674476"/>
                <a:gd name="connsiteX30" fmla="*/ 361716 w 492259"/>
                <a:gd name="connsiteY30" fmla="*/ 163180 h 674476"/>
                <a:gd name="connsiteX31" fmla="*/ 369875 w 492259"/>
                <a:gd name="connsiteY31" fmla="*/ 220293 h 674476"/>
                <a:gd name="connsiteX32" fmla="*/ 378034 w 492259"/>
                <a:gd name="connsiteY32" fmla="*/ 274686 h 674476"/>
                <a:gd name="connsiteX33" fmla="*/ 383473 w 492259"/>
                <a:gd name="connsiteY33" fmla="*/ 301883 h 674476"/>
                <a:gd name="connsiteX34" fmla="*/ 391632 w 492259"/>
                <a:gd name="connsiteY34" fmla="*/ 337238 h 674476"/>
                <a:gd name="connsiteX35" fmla="*/ 397071 w 492259"/>
                <a:gd name="connsiteY35" fmla="*/ 364435 h 674476"/>
                <a:gd name="connsiteX36" fmla="*/ 405230 w 492259"/>
                <a:gd name="connsiteY36" fmla="*/ 383473 h 674476"/>
                <a:gd name="connsiteX37" fmla="*/ 416109 w 492259"/>
                <a:gd name="connsiteY37" fmla="*/ 386192 h 674476"/>
                <a:gd name="connsiteX38" fmla="*/ 426988 w 492259"/>
                <a:gd name="connsiteY38" fmla="*/ 386192 h 674476"/>
                <a:gd name="connsiteX39" fmla="*/ 454184 w 492259"/>
                <a:gd name="connsiteY39" fmla="*/ 397071 h 674476"/>
                <a:gd name="connsiteX40" fmla="*/ 456904 w 492259"/>
                <a:gd name="connsiteY40" fmla="*/ 405230 h 674476"/>
                <a:gd name="connsiteX41" fmla="*/ 451464 w 492259"/>
                <a:gd name="connsiteY41" fmla="*/ 416108 h 674476"/>
                <a:gd name="connsiteX42" fmla="*/ 432427 w 492259"/>
                <a:gd name="connsiteY42" fmla="*/ 429707 h 674476"/>
                <a:gd name="connsiteX43" fmla="*/ 421548 w 492259"/>
                <a:gd name="connsiteY43" fmla="*/ 432426 h 674476"/>
                <a:gd name="connsiteX44" fmla="*/ 413389 w 492259"/>
                <a:gd name="connsiteY44" fmla="*/ 435146 h 674476"/>
                <a:gd name="connsiteX45" fmla="*/ 413389 w 492259"/>
                <a:gd name="connsiteY45" fmla="*/ 440585 h 674476"/>
                <a:gd name="connsiteX46" fmla="*/ 416109 w 492259"/>
                <a:gd name="connsiteY46" fmla="*/ 451464 h 674476"/>
                <a:gd name="connsiteX47" fmla="*/ 418829 w 492259"/>
                <a:gd name="connsiteY47" fmla="*/ 465062 h 674476"/>
                <a:gd name="connsiteX48" fmla="*/ 418829 w 492259"/>
                <a:gd name="connsiteY48" fmla="*/ 475941 h 674476"/>
                <a:gd name="connsiteX49" fmla="*/ 418829 w 492259"/>
                <a:gd name="connsiteY49" fmla="*/ 486820 h 674476"/>
                <a:gd name="connsiteX50" fmla="*/ 426988 w 492259"/>
                <a:gd name="connsiteY50" fmla="*/ 516736 h 674476"/>
                <a:gd name="connsiteX51" fmla="*/ 432427 w 492259"/>
                <a:gd name="connsiteY51" fmla="*/ 543932 h 674476"/>
                <a:gd name="connsiteX52" fmla="*/ 437866 w 492259"/>
                <a:gd name="connsiteY52" fmla="*/ 573848 h 674476"/>
                <a:gd name="connsiteX53" fmla="*/ 443306 w 492259"/>
                <a:gd name="connsiteY53" fmla="*/ 606484 h 674476"/>
                <a:gd name="connsiteX54" fmla="*/ 446025 w 492259"/>
                <a:gd name="connsiteY54" fmla="*/ 617363 h 674476"/>
                <a:gd name="connsiteX55" fmla="*/ 470502 w 492259"/>
                <a:gd name="connsiteY55" fmla="*/ 617363 h 674476"/>
                <a:gd name="connsiteX56" fmla="*/ 492259 w 492259"/>
                <a:gd name="connsiteY56" fmla="*/ 641840 h 674476"/>
                <a:gd name="connsiteX57" fmla="*/ 484101 w 492259"/>
                <a:gd name="connsiteY57" fmla="*/ 655438 h 674476"/>
                <a:gd name="connsiteX58" fmla="*/ 467782 w 492259"/>
                <a:gd name="connsiteY58" fmla="*/ 663597 h 674476"/>
                <a:gd name="connsiteX59" fmla="*/ 443306 w 492259"/>
                <a:gd name="connsiteY59" fmla="*/ 666317 h 674476"/>
                <a:gd name="connsiteX60" fmla="*/ 421548 w 492259"/>
                <a:gd name="connsiteY60" fmla="*/ 666317 h 674476"/>
                <a:gd name="connsiteX61" fmla="*/ 413389 w 492259"/>
                <a:gd name="connsiteY61" fmla="*/ 666317 h 674476"/>
                <a:gd name="connsiteX62" fmla="*/ 399791 w 492259"/>
                <a:gd name="connsiteY62" fmla="*/ 671756 h 674476"/>
                <a:gd name="connsiteX63" fmla="*/ 383473 w 492259"/>
                <a:gd name="connsiteY63" fmla="*/ 674476 h 674476"/>
                <a:gd name="connsiteX64" fmla="*/ 348118 w 492259"/>
                <a:gd name="connsiteY64" fmla="*/ 669036 h 674476"/>
                <a:gd name="connsiteX65" fmla="*/ 326360 w 492259"/>
                <a:gd name="connsiteY65" fmla="*/ 669036 h 674476"/>
                <a:gd name="connsiteX66" fmla="*/ 277406 w 492259"/>
                <a:gd name="connsiteY66" fmla="*/ 669036 h 674476"/>
                <a:gd name="connsiteX67" fmla="*/ 252930 w 492259"/>
                <a:gd name="connsiteY67" fmla="*/ 663597 h 674476"/>
                <a:gd name="connsiteX68" fmla="*/ 236611 w 492259"/>
                <a:gd name="connsiteY68" fmla="*/ 647279 h 674476"/>
                <a:gd name="connsiteX69" fmla="*/ 261088 w 492259"/>
                <a:gd name="connsiteY69" fmla="*/ 630961 h 674476"/>
                <a:gd name="connsiteX70" fmla="*/ 288285 w 492259"/>
                <a:gd name="connsiteY70" fmla="*/ 628241 h 674476"/>
                <a:gd name="connsiteX71" fmla="*/ 285565 w 492259"/>
                <a:gd name="connsiteY71" fmla="*/ 609204 h 674476"/>
                <a:gd name="connsiteX72" fmla="*/ 282846 w 492259"/>
                <a:gd name="connsiteY72" fmla="*/ 582007 h 674476"/>
                <a:gd name="connsiteX73" fmla="*/ 280126 w 492259"/>
                <a:gd name="connsiteY73" fmla="*/ 568409 h 674476"/>
                <a:gd name="connsiteX74" fmla="*/ 282846 w 492259"/>
                <a:gd name="connsiteY74" fmla="*/ 554811 h 674476"/>
                <a:gd name="connsiteX75" fmla="*/ 277406 w 492259"/>
                <a:gd name="connsiteY75" fmla="*/ 538493 h 674476"/>
                <a:gd name="connsiteX76" fmla="*/ 271967 w 492259"/>
                <a:gd name="connsiteY76" fmla="*/ 505857 h 674476"/>
                <a:gd name="connsiteX77" fmla="*/ 269247 w 492259"/>
                <a:gd name="connsiteY77" fmla="*/ 478660 h 674476"/>
                <a:gd name="connsiteX78" fmla="*/ 266528 w 492259"/>
                <a:gd name="connsiteY78" fmla="*/ 446025 h 674476"/>
                <a:gd name="connsiteX79" fmla="*/ 261088 w 492259"/>
                <a:gd name="connsiteY79" fmla="*/ 437866 h 674476"/>
                <a:gd name="connsiteX80" fmla="*/ 250210 w 492259"/>
                <a:gd name="connsiteY80" fmla="*/ 437866 h 674476"/>
                <a:gd name="connsiteX81" fmla="*/ 220293 w 492259"/>
                <a:gd name="connsiteY81" fmla="*/ 440585 h 674476"/>
                <a:gd name="connsiteX82" fmla="*/ 190377 w 492259"/>
                <a:gd name="connsiteY82" fmla="*/ 443305 h 674476"/>
                <a:gd name="connsiteX83" fmla="*/ 165900 w 492259"/>
                <a:gd name="connsiteY83" fmla="*/ 443305 h 674476"/>
                <a:gd name="connsiteX84" fmla="*/ 144143 w 492259"/>
                <a:gd name="connsiteY84" fmla="*/ 440585 h 674476"/>
                <a:gd name="connsiteX85" fmla="*/ 135984 w 492259"/>
                <a:gd name="connsiteY85" fmla="*/ 454184 h 674476"/>
                <a:gd name="connsiteX86" fmla="*/ 130545 w 492259"/>
                <a:gd name="connsiteY86" fmla="*/ 486820 h 674476"/>
                <a:gd name="connsiteX87" fmla="*/ 119666 w 492259"/>
                <a:gd name="connsiteY87" fmla="*/ 541213 h 674476"/>
                <a:gd name="connsiteX88" fmla="*/ 103348 w 492259"/>
                <a:gd name="connsiteY88" fmla="*/ 614643 h 674476"/>
                <a:gd name="connsiteX89" fmla="*/ 133264 w 492259"/>
                <a:gd name="connsiteY89" fmla="*/ 614643 h 674476"/>
                <a:gd name="connsiteX90" fmla="*/ 168620 w 492259"/>
                <a:gd name="connsiteY90" fmla="*/ 630961 h 674476"/>
                <a:gd name="connsiteX91" fmla="*/ 163181 w 492259"/>
                <a:gd name="connsiteY91" fmla="*/ 647279 h 674476"/>
                <a:gd name="connsiteX92" fmla="*/ 146863 w 492259"/>
                <a:gd name="connsiteY92" fmla="*/ 655438 h 674476"/>
                <a:gd name="connsiteX93" fmla="*/ 127825 w 492259"/>
                <a:gd name="connsiteY93" fmla="*/ 658158 h 674476"/>
                <a:gd name="connsiteX94" fmla="*/ 106068 w 492259"/>
                <a:gd name="connsiteY94" fmla="*/ 658158 h 674476"/>
                <a:gd name="connsiteX95" fmla="*/ 62552 w 492259"/>
                <a:gd name="connsiteY95" fmla="*/ 658158 h 674476"/>
                <a:gd name="connsiteX96" fmla="*/ 40795 w 492259"/>
                <a:gd name="connsiteY96" fmla="*/ 658158 h 674476"/>
                <a:gd name="connsiteX97" fmla="*/ 16318 w 492259"/>
                <a:gd name="connsiteY97" fmla="*/ 652718 h 674476"/>
                <a:gd name="connsiteX98" fmla="*/ 0 w 492259"/>
                <a:gd name="connsiteY98" fmla="*/ 636401 h 674476"/>
                <a:gd name="connsiteX99" fmla="*/ 2720 w 492259"/>
                <a:gd name="connsiteY99" fmla="*/ 628241 h 674476"/>
                <a:gd name="connsiteX100" fmla="*/ 24477 w 492259"/>
                <a:gd name="connsiteY100" fmla="*/ 620082 h 674476"/>
                <a:gd name="connsiteX101" fmla="*/ 62552 w 492259"/>
                <a:gd name="connsiteY101" fmla="*/ 617363 h 674476"/>
                <a:gd name="connsiteX102" fmla="*/ 62552 w 492259"/>
                <a:gd name="connsiteY102" fmla="*/ 614643 h 674476"/>
                <a:gd name="connsiteX103" fmla="*/ 65272 w 492259"/>
                <a:gd name="connsiteY103" fmla="*/ 587447 h 674476"/>
                <a:gd name="connsiteX104" fmla="*/ 76151 w 492259"/>
                <a:gd name="connsiteY104" fmla="*/ 522175 h 674476"/>
                <a:gd name="connsiteX105" fmla="*/ 87029 w 492259"/>
                <a:gd name="connsiteY105" fmla="*/ 470501 h 674476"/>
                <a:gd name="connsiteX106" fmla="*/ 92468 w 492259"/>
                <a:gd name="connsiteY106" fmla="*/ 446025 h 674476"/>
                <a:gd name="connsiteX107" fmla="*/ 65272 w 492259"/>
                <a:gd name="connsiteY107" fmla="*/ 432426 h 674476"/>
                <a:gd name="connsiteX108" fmla="*/ 54393 w 492259"/>
                <a:gd name="connsiteY108" fmla="*/ 421548 h 674476"/>
                <a:gd name="connsiteX109" fmla="*/ 73431 w 492259"/>
                <a:gd name="connsiteY109" fmla="*/ 407949 h 674476"/>
                <a:gd name="connsiteX110" fmla="*/ 100629 w 492259"/>
                <a:gd name="connsiteY110" fmla="*/ 399790 h 674476"/>
                <a:gd name="connsiteX111" fmla="*/ 108788 w 492259"/>
                <a:gd name="connsiteY111" fmla="*/ 369874 h 674476"/>
                <a:gd name="connsiteX112" fmla="*/ 125105 w 492259"/>
                <a:gd name="connsiteY112" fmla="*/ 307322 h 674476"/>
                <a:gd name="connsiteX113" fmla="*/ 141423 w 492259"/>
                <a:gd name="connsiteY113" fmla="*/ 242051 h 674476"/>
                <a:gd name="connsiteX114" fmla="*/ 155022 w 492259"/>
                <a:gd name="connsiteY114" fmla="*/ 179498 h 674476"/>
                <a:gd name="connsiteX115" fmla="*/ 168620 w 492259"/>
                <a:gd name="connsiteY115" fmla="*/ 119665 h 674476"/>
                <a:gd name="connsiteX116" fmla="*/ 193097 w 492259"/>
                <a:gd name="connsiteY116" fmla="*/ 57113 h 674476"/>
                <a:gd name="connsiteX117" fmla="*/ 201256 w 492259"/>
                <a:gd name="connsiteY117" fmla="*/ 38075 h 674476"/>
                <a:gd name="connsiteX118" fmla="*/ 217574 w 492259"/>
                <a:gd name="connsiteY118" fmla="*/ 13598 h 674476"/>
                <a:gd name="connsiteX119" fmla="*/ 274687 w 492259"/>
                <a:gd name="connsiteY119" fmla="*/ 0 h 6744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</a:cxnLst>
              <a:rect l="l" t="t" r="r" b="b"/>
              <a:pathLst>
                <a:path w="492259" h="674476">
                  <a:moveTo>
                    <a:pt x="225733" y="97907"/>
                  </a:moveTo>
                  <a:cubicBezTo>
                    <a:pt x="217574" y="97907"/>
                    <a:pt x="209415" y="114225"/>
                    <a:pt x="209415" y="119665"/>
                  </a:cubicBezTo>
                  <a:cubicBezTo>
                    <a:pt x="206695" y="130543"/>
                    <a:pt x="203976" y="144141"/>
                    <a:pt x="201256" y="152300"/>
                  </a:cubicBezTo>
                  <a:cubicBezTo>
                    <a:pt x="198536" y="157740"/>
                    <a:pt x="198536" y="163179"/>
                    <a:pt x="198536" y="168618"/>
                  </a:cubicBezTo>
                  <a:cubicBezTo>
                    <a:pt x="198536" y="174058"/>
                    <a:pt x="195817" y="179497"/>
                    <a:pt x="195817" y="184936"/>
                  </a:cubicBezTo>
                  <a:cubicBezTo>
                    <a:pt x="193097" y="195815"/>
                    <a:pt x="190377" y="209413"/>
                    <a:pt x="187658" y="220292"/>
                  </a:cubicBezTo>
                  <a:cubicBezTo>
                    <a:pt x="184938" y="244769"/>
                    <a:pt x="176779" y="269246"/>
                    <a:pt x="168620" y="291003"/>
                  </a:cubicBezTo>
                  <a:cubicBezTo>
                    <a:pt x="165900" y="301881"/>
                    <a:pt x="163181" y="312760"/>
                    <a:pt x="160461" y="323639"/>
                  </a:cubicBezTo>
                  <a:cubicBezTo>
                    <a:pt x="157742" y="337237"/>
                    <a:pt x="155022" y="348115"/>
                    <a:pt x="149582" y="361714"/>
                  </a:cubicBezTo>
                  <a:cubicBezTo>
                    <a:pt x="146863" y="367153"/>
                    <a:pt x="144143" y="383471"/>
                    <a:pt x="144143" y="388910"/>
                  </a:cubicBezTo>
                  <a:cubicBezTo>
                    <a:pt x="144143" y="391630"/>
                    <a:pt x="146863" y="391630"/>
                    <a:pt x="149582" y="391630"/>
                  </a:cubicBezTo>
                  <a:cubicBezTo>
                    <a:pt x="155022" y="391630"/>
                    <a:pt x="168620" y="391630"/>
                    <a:pt x="171340" y="391630"/>
                  </a:cubicBezTo>
                  <a:cubicBezTo>
                    <a:pt x="179498" y="391630"/>
                    <a:pt x="187658" y="391630"/>
                    <a:pt x="193097" y="388910"/>
                  </a:cubicBezTo>
                  <a:cubicBezTo>
                    <a:pt x="198536" y="388910"/>
                    <a:pt x="203976" y="388910"/>
                    <a:pt x="212135" y="388910"/>
                  </a:cubicBezTo>
                  <a:cubicBezTo>
                    <a:pt x="217574" y="388910"/>
                    <a:pt x="225733" y="388910"/>
                    <a:pt x="236611" y="388910"/>
                  </a:cubicBezTo>
                  <a:cubicBezTo>
                    <a:pt x="242051" y="388910"/>
                    <a:pt x="247490" y="388910"/>
                    <a:pt x="250210" y="386191"/>
                  </a:cubicBezTo>
                  <a:cubicBezTo>
                    <a:pt x="255649" y="391630"/>
                    <a:pt x="258369" y="388910"/>
                    <a:pt x="258369" y="386191"/>
                  </a:cubicBezTo>
                  <a:cubicBezTo>
                    <a:pt x="258369" y="380751"/>
                    <a:pt x="255649" y="372592"/>
                    <a:pt x="255649" y="367153"/>
                  </a:cubicBezTo>
                  <a:cubicBezTo>
                    <a:pt x="252930" y="353555"/>
                    <a:pt x="250210" y="342676"/>
                    <a:pt x="250210" y="331797"/>
                  </a:cubicBezTo>
                  <a:cubicBezTo>
                    <a:pt x="250210" y="301881"/>
                    <a:pt x="250210" y="274685"/>
                    <a:pt x="247490" y="244769"/>
                  </a:cubicBezTo>
                  <a:cubicBezTo>
                    <a:pt x="247490" y="231170"/>
                    <a:pt x="244771" y="217572"/>
                    <a:pt x="242051" y="203974"/>
                  </a:cubicBezTo>
                  <a:cubicBezTo>
                    <a:pt x="239331" y="187656"/>
                    <a:pt x="236611" y="174058"/>
                    <a:pt x="236611" y="157740"/>
                  </a:cubicBezTo>
                  <a:cubicBezTo>
                    <a:pt x="236611" y="152300"/>
                    <a:pt x="236611" y="133263"/>
                    <a:pt x="233892" y="119665"/>
                  </a:cubicBezTo>
                  <a:cubicBezTo>
                    <a:pt x="233892" y="106066"/>
                    <a:pt x="231172" y="97907"/>
                    <a:pt x="225733" y="97907"/>
                  </a:cubicBezTo>
                  <a:close/>
                  <a:moveTo>
                    <a:pt x="274687" y="0"/>
                  </a:moveTo>
                  <a:cubicBezTo>
                    <a:pt x="288285" y="0"/>
                    <a:pt x="293724" y="2720"/>
                    <a:pt x="304603" y="5439"/>
                  </a:cubicBezTo>
                  <a:cubicBezTo>
                    <a:pt x="315481" y="10879"/>
                    <a:pt x="315481" y="16318"/>
                    <a:pt x="320921" y="24477"/>
                  </a:cubicBezTo>
                  <a:cubicBezTo>
                    <a:pt x="326360" y="29916"/>
                    <a:pt x="331800" y="35356"/>
                    <a:pt x="334519" y="43515"/>
                  </a:cubicBezTo>
                  <a:cubicBezTo>
                    <a:pt x="337239" y="51674"/>
                    <a:pt x="337239" y="57113"/>
                    <a:pt x="339959" y="65272"/>
                  </a:cubicBezTo>
                  <a:cubicBezTo>
                    <a:pt x="345398" y="78870"/>
                    <a:pt x="342678" y="97908"/>
                    <a:pt x="348118" y="114226"/>
                  </a:cubicBezTo>
                  <a:cubicBezTo>
                    <a:pt x="350837" y="130544"/>
                    <a:pt x="358996" y="146863"/>
                    <a:pt x="361716" y="163180"/>
                  </a:cubicBezTo>
                  <a:cubicBezTo>
                    <a:pt x="364435" y="182218"/>
                    <a:pt x="364435" y="201256"/>
                    <a:pt x="369875" y="220293"/>
                  </a:cubicBezTo>
                  <a:cubicBezTo>
                    <a:pt x="375314" y="239331"/>
                    <a:pt x="378034" y="255649"/>
                    <a:pt x="378034" y="274686"/>
                  </a:cubicBezTo>
                  <a:cubicBezTo>
                    <a:pt x="378034" y="282845"/>
                    <a:pt x="380753" y="293724"/>
                    <a:pt x="383473" y="301883"/>
                  </a:cubicBezTo>
                  <a:cubicBezTo>
                    <a:pt x="386193" y="312762"/>
                    <a:pt x="388913" y="326360"/>
                    <a:pt x="391632" y="337238"/>
                  </a:cubicBezTo>
                  <a:cubicBezTo>
                    <a:pt x="391632" y="342678"/>
                    <a:pt x="394352" y="353556"/>
                    <a:pt x="397071" y="364435"/>
                  </a:cubicBezTo>
                  <a:cubicBezTo>
                    <a:pt x="399791" y="372594"/>
                    <a:pt x="402511" y="380753"/>
                    <a:pt x="405230" y="383473"/>
                  </a:cubicBezTo>
                  <a:cubicBezTo>
                    <a:pt x="407950" y="386192"/>
                    <a:pt x="413389" y="386192"/>
                    <a:pt x="416109" y="386192"/>
                  </a:cubicBezTo>
                  <a:cubicBezTo>
                    <a:pt x="418829" y="386192"/>
                    <a:pt x="424268" y="386192"/>
                    <a:pt x="426988" y="386192"/>
                  </a:cubicBezTo>
                  <a:cubicBezTo>
                    <a:pt x="437866" y="386192"/>
                    <a:pt x="448745" y="388912"/>
                    <a:pt x="454184" y="397071"/>
                  </a:cubicBezTo>
                  <a:cubicBezTo>
                    <a:pt x="456904" y="399790"/>
                    <a:pt x="456904" y="402510"/>
                    <a:pt x="456904" y="405230"/>
                  </a:cubicBezTo>
                  <a:cubicBezTo>
                    <a:pt x="456904" y="407949"/>
                    <a:pt x="454184" y="410669"/>
                    <a:pt x="451464" y="416108"/>
                  </a:cubicBezTo>
                  <a:cubicBezTo>
                    <a:pt x="446025" y="421548"/>
                    <a:pt x="440586" y="426987"/>
                    <a:pt x="432427" y="429707"/>
                  </a:cubicBezTo>
                  <a:cubicBezTo>
                    <a:pt x="429707" y="429707"/>
                    <a:pt x="426988" y="432426"/>
                    <a:pt x="421548" y="432426"/>
                  </a:cubicBezTo>
                  <a:cubicBezTo>
                    <a:pt x="418829" y="432426"/>
                    <a:pt x="416109" y="432426"/>
                    <a:pt x="413389" y="435146"/>
                  </a:cubicBezTo>
                  <a:cubicBezTo>
                    <a:pt x="413389" y="435146"/>
                    <a:pt x="413389" y="437866"/>
                    <a:pt x="413389" y="440585"/>
                  </a:cubicBezTo>
                  <a:cubicBezTo>
                    <a:pt x="413389" y="443305"/>
                    <a:pt x="413389" y="448744"/>
                    <a:pt x="416109" y="451464"/>
                  </a:cubicBezTo>
                  <a:cubicBezTo>
                    <a:pt x="416109" y="456903"/>
                    <a:pt x="418829" y="462343"/>
                    <a:pt x="418829" y="465062"/>
                  </a:cubicBezTo>
                  <a:lnTo>
                    <a:pt x="418829" y="475941"/>
                  </a:lnTo>
                  <a:cubicBezTo>
                    <a:pt x="418829" y="481380"/>
                    <a:pt x="418829" y="484100"/>
                    <a:pt x="418829" y="486820"/>
                  </a:cubicBezTo>
                  <a:cubicBezTo>
                    <a:pt x="421548" y="497698"/>
                    <a:pt x="424268" y="505857"/>
                    <a:pt x="426988" y="516736"/>
                  </a:cubicBezTo>
                  <a:cubicBezTo>
                    <a:pt x="426988" y="524895"/>
                    <a:pt x="429707" y="535773"/>
                    <a:pt x="432427" y="543932"/>
                  </a:cubicBezTo>
                  <a:cubicBezTo>
                    <a:pt x="435147" y="554811"/>
                    <a:pt x="437866" y="562970"/>
                    <a:pt x="437866" y="573848"/>
                  </a:cubicBezTo>
                  <a:cubicBezTo>
                    <a:pt x="437866" y="587447"/>
                    <a:pt x="440586" y="595606"/>
                    <a:pt x="443306" y="606484"/>
                  </a:cubicBezTo>
                  <a:cubicBezTo>
                    <a:pt x="443306" y="609204"/>
                    <a:pt x="446025" y="614643"/>
                    <a:pt x="446025" y="617363"/>
                  </a:cubicBezTo>
                  <a:cubicBezTo>
                    <a:pt x="454184" y="617363"/>
                    <a:pt x="462343" y="617363"/>
                    <a:pt x="470502" y="617363"/>
                  </a:cubicBezTo>
                  <a:cubicBezTo>
                    <a:pt x="475942" y="625522"/>
                    <a:pt x="492259" y="630961"/>
                    <a:pt x="492259" y="641840"/>
                  </a:cubicBezTo>
                  <a:cubicBezTo>
                    <a:pt x="492259" y="647279"/>
                    <a:pt x="486820" y="649999"/>
                    <a:pt x="484101" y="655438"/>
                  </a:cubicBezTo>
                  <a:cubicBezTo>
                    <a:pt x="481381" y="660877"/>
                    <a:pt x="473222" y="663597"/>
                    <a:pt x="467782" y="663597"/>
                  </a:cubicBezTo>
                  <a:cubicBezTo>
                    <a:pt x="456904" y="666317"/>
                    <a:pt x="451464" y="666317"/>
                    <a:pt x="443306" y="666317"/>
                  </a:cubicBezTo>
                  <a:cubicBezTo>
                    <a:pt x="437866" y="666317"/>
                    <a:pt x="429707" y="666317"/>
                    <a:pt x="421548" y="666317"/>
                  </a:cubicBezTo>
                  <a:cubicBezTo>
                    <a:pt x="418829" y="666317"/>
                    <a:pt x="416109" y="666317"/>
                    <a:pt x="413389" y="666317"/>
                  </a:cubicBezTo>
                  <a:cubicBezTo>
                    <a:pt x="407950" y="669036"/>
                    <a:pt x="405230" y="669036"/>
                    <a:pt x="399791" y="671756"/>
                  </a:cubicBezTo>
                  <a:cubicBezTo>
                    <a:pt x="394352" y="671756"/>
                    <a:pt x="388913" y="674476"/>
                    <a:pt x="383473" y="674476"/>
                  </a:cubicBezTo>
                  <a:cubicBezTo>
                    <a:pt x="372594" y="674476"/>
                    <a:pt x="358996" y="671756"/>
                    <a:pt x="348118" y="669036"/>
                  </a:cubicBezTo>
                  <a:cubicBezTo>
                    <a:pt x="339959" y="669036"/>
                    <a:pt x="331800" y="669036"/>
                    <a:pt x="326360" y="669036"/>
                  </a:cubicBezTo>
                  <a:cubicBezTo>
                    <a:pt x="304603" y="669036"/>
                    <a:pt x="285565" y="669036"/>
                    <a:pt x="277406" y="669036"/>
                  </a:cubicBezTo>
                  <a:cubicBezTo>
                    <a:pt x="269247" y="669036"/>
                    <a:pt x="258369" y="669036"/>
                    <a:pt x="252930" y="663597"/>
                  </a:cubicBezTo>
                  <a:cubicBezTo>
                    <a:pt x="247490" y="660877"/>
                    <a:pt x="236611" y="655438"/>
                    <a:pt x="236611" y="647279"/>
                  </a:cubicBezTo>
                  <a:cubicBezTo>
                    <a:pt x="236611" y="636401"/>
                    <a:pt x="252930" y="633681"/>
                    <a:pt x="261088" y="630961"/>
                  </a:cubicBezTo>
                  <a:cubicBezTo>
                    <a:pt x="266528" y="630961"/>
                    <a:pt x="274687" y="630961"/>
                    <a:pt x="288285" y="628241"/>
                  </a:cubicBezTo>
                  <a:cubicBezTo>
                    <a:pt x="288285" y="620082"/>
                    <a:pt x="288285" y="614643"/>
                    <a:pt x="285565" y="609204"/>
                  </a:cubicBezTo>
                  <a:cubicBezTo>
                    <a:pt x="285565" y="601045"/>
                    <a:pt x="282846" y="590166"/>
                    <a:pt x="282846" y="582007"/>
                  </a:cubicBezTo>
                  <a:cubicBezTo>
                    <a:pt x="282846" y="576568"/>
                    <a:pt x="280126" y="573848"/>
                    <a:pt x="280126" y="568409"/>
                  </a:cubicBezTo>
                  <a:cubicBezTo>
                    <a:pt x="280126" y="562970"/>
                    <a:pt x="282846" y="557531"/>
                    <a:pt x="282846" y="554811"/>
                  </a:cubicBezTo>
                  <a:cubicBezTo>
                    <a:pt x="282846" y="549371"/>
                    <a:pt x="280126" y="546652"/>
                    <a:pt x="277406" y="538493"/>
                  </a:cubicBezTo>
                  <a:cubicBezTo>
                    <a:pt x="277406" y="527614"/>
                    <a:pt x="271967" y="516736"/>
                    <a:pt x="271967" y="505857"/>
                  </a:cubicBezTo>
                  <a:cubicBezTo>
                    <a:pt x="271967" y="494978"/>
                    <a:pt x="271967" y="486820"/>
                    <a:pt x="269247" y="478660"/>
                  </a:cubicBezTo>
                  <a:cubicBezTo>
                    <a:pt x="266528" y="467782"/>
                    <a:pt x="266528" y="456903"/>
                    <a:pt x="266528" y="446025"/>
                  </a:cubicBezTo>
                  <a:cubicBezTo>
                    <a:pt x="266528" y="440585"/>
                    <a:pt x="263808" y="437866"/>
                    <a:pt x="261088" y="437866"/>
                  </a:cubicBezTo>
                  <a:cubicBezTo>
                    <a:pt x="258369" y="437866"/>
                    <a:pt x="255649" y="437866"/>
                    <a:pt x="250210" y="437866"/>
                  </a:cubicBezTo>
                  <a:cubicBezTo>
                    <a:pt x="239331" y="437866"/>
                    <a:pt x="228452" y="437866"/>
                    <a:pt x="220293" y="440585"/>
                  </a:cubicBezTo>
                  <a:cubicBezTo>
                    <a:pt x="209415" y="440585"/>
                    <a:pt x="201256" y="443305"/>
                    <a:pt x="190377" y="443305"/>
                  </a:cubicBezTo>
                  <a:cubicBezTo>
                    <a:pt x="182218" y="443305"/>
                    <a:pt x="174059" y="443305"/>
                    <a:pt x="165900" y="443305"/>
                  </a:cubicBezTo>
                  <a:cubicBezTo>
                    <a:pt x="163181" y="443305"/>
                    <a:pt x="152302" y="440585"/>
                    <a:pt x="144143" y="440585"/>
                  </a:cubicBezTo>
                  <a:cubicBezTo>
                    <a:pt x="135984" y="440585"/>
                    <a:pt x="135984" y="448744"/>
                    <a:pt x="135984" y="454184"/>
                  </a:cubicBezTo>
                  <a:cubicBezTo>
                    <a:pt x="135984" y="465062"/>
                    <a:pt x="133264" y="475941"/>
                    <a:pt x="130545" y="486820"/>
                  </a:cubicBezTo>
                  <a:cubicBezTo>
                    <a:pt x="127825" y="505857"/>
                    <a:pt x="122386" y="522175"/>
                    <a:pt x="119666" y="541213"/>
                  </a:cubicBezTo>
                  <a:cubicBezTo>
                    <a:pt x="116947" y="560250"/>
                    <a:pt x="108788" y="595606"/>
                    <a:pt x="103348" y="614643"/>
                  </a:cubicBezTo>
                  <a:cubicBezTo>
                    <a:pt x="111507" y="614643"/>
                    <a:pt x="122386" y="614643"/>
                    <a:pt x="133264" y="614643"/>
                  </a:cubicBezTo>
                  <a:cubicBezTo>
                    <a:pt x="146863" y="614643"/>
                    <a:pt x="168620" y="614643"/>
                    <a:pt x="168620" y="630961"/>
                  </a:cubicBezTo>
                  <a:cubicBezTo>
                    <a:pt x="168620" y="639120"/>
                    <a:pt x="165900" y="639120"/>
                    <a:pt x="163181" y="647279"/>
                  </a:cubicBezTo>
                  <a:cubicBezTo>
                    <a:pt x="160461" y="652718"/>
                    <a:pt x="152302" y="655438"/>
                    <a:pt x="146863" y="655438"/>
                  </a:cubicBezTo>
                  <a:cubicBezTo>
                    <a:pt x="138704" y="658158"/>
                    <a:pt x="133264" y="658158"/>
                    <a:pt x="127825" y="658158"/>
                  </a:cubicBezTo>
                  <a:cubicBezTo>
                    <a:pt x="122386" y="658158"/>
                    <a:pt x="116947" y="658158"/>
                    <a:pt x="106068" y="658158"/>
                  </a:cubicBezTo>
                  <a:cubicBezTo>
                    <a:pt x="92468" y="658158"/>
                    <a:pt x="78870" y="658158"/>
                    <a:pt x="62552" y="658158"/>
                  </a:cubicBezTo>
                  <a:cubicBezTo>
                    <a:pt x="54393" y="658158"/>
                    <a:pt x="46234" y="658158"/>
                    <a:pt x="40795" y="658158"/>
                  </a:cubicBezTo>
                  <a:cubicBezTo>
                    <a:pt x="32636" y="658158"/>
                    <a:pt x="21758" y="658158"/>
                    <a:pt x="16318" y="652718"/>
                  </a:cubicBezTo>
                  <a:cubicBezTo>
                    <a:pt x="8159" y="649999"/>
                    <a:pt x="0" y="641840"/>
                    <a:pt x="0" y="636401"/>
                  </a:cubicBezTo>
                  <a:cubicBezTo>
                    <a:pt x="0" y="633681"/>
                    <a:pt x="0" y="630961"/>
                    <a:pt x="2720" y="628241"/>
                  </a:cubicBezTo>
                  <a:cubicBezTo>
                    <a:pt x="8159" y="625522"/>
                    <a:pt x="16318" y="622802"/>
                    <a:pt x="24477" y="620082"/>
                  </a:cubicBezTo>
                  <a:cubicBezTo>
                    <a:pt x="38075" y="617363"/>
                    <a:pt x="48954" y="617363"/>
                    <a:pt x="62552" y="617363"/>
                  </a:cubicBezTo>
                  <a:cubicBezTo>
                    <a:pt x="62552" y="617363"/>
                    <a:pt x="62552" y="614643"/>
                    <a:pt x="62552" y="614643"/>
                  </a:cubicBezTo>
                  <a:cubicBezTo>
                    <a:pt x="62552" y="603765"/>
                    <a:pt x="65272" y="590166"/>
                    <a:pt x="65272" y="587447"/>
                  </a:cubicBezTo>
                  <a:cubicBezTo>
                    <a:pt x="67992" y="565689"/>
                    <a:pt x="73431" y="543932"/>
                    <a:pt x="76151" y="522175"/>
                  </a:cubicBezTo>
                  <a:cubicBezTo>
                    <a:pt x="78870" y="505857"/>
                    <a:pt x="81590" y="486820"/>
                    <a:pt x="87029" y="470501"/>
                  </a:cubicBezTo>
                  <a:cubicBezTo>
                    <a:pt x="87029" y="465062"/>
                    <a:pt x="92468" y="451464"/>
                    <a:pt x="92468" y="446025"/>
                  </a:cubicBezTo>
                  <a:cubicBezTo>
                    <a:pt x="92468" y="437866"/>
                    <a:pt x="73431" y="437866"/>
                    <a:pt x="65272" y="432426"/>
                  </a:cubicBezTo>
                  <a:cubicBezTo>
                    <a:pt x="59833" y="429707"/>
                    <a:pt x="54393" y="426987"/>
                    <a:pt x="54393" y="421548"/>
                  </a:cubicBezTo>
                  <a:cubicBezTo>
                    <a:pt x="54393" y="413389"/>
                    <a:pt x="62552" y="410669"/>
                    <a:pt x="73431" y="407949"/>
                  </a:cubicBezTo>
                  <a:cubicBezTo>
                    <a:pt x="78870" y="407949"/>
                    <a:pt x="92468" y="405230"/>
                    <a:pt x="100629" y="399790"/>
                  </a:cubicBezTo>
                  <a:cubicBezTo>
                    <a:pt x="106068" y="394351"/>
                    <a:pt x="106068" y="378033"/>
                    <a:pt x="108788" y="369874"/>
                  </a:cubicBezTo>
                  <a:cubicBezTo>
                    <a:pt x="114227" y="348117"/>
                    <a:pt x="119666" y="326360"/>
                    <a:pt x="125105" y="307322"/>
                  </a:cubicBezTo>
                  <a:cubicBezTo>
                    <a:pt x="130545" y="285565"/>
                    <a:pt x="135984" y="263808"/>
                    <a:pt x="141423" y="242051"/>
                  </a:cubicBezTo>
                  <a:cubicBezTo>
                    <a:pt x="146863" y="220293"/>
                    <a:pt x="152302" y="198536"/>
                    <a:pt x="155022" y="179498"/>
                  </a:cubicBezTo>
                  <a:cubicBezTo>
                    <a:pt x="157742" y="160461"/>
                    <a:pt x="163181" y="138703"/>
                    <a:pt x="168620" y="119665"/>
                  </a:cubicBezTo>
                  <a:cubicBezTo>
                    <a:pt x="176779" y="100627"/>
                    <a:pt x="182218" y="76150"/>
                    <a:pt x="193097" y="57113"/>
                  </a:cubicBezTo>
                  <a:lnTo>
                    <a:pt x="201256" y="38075"/>
                  </a:lnTo>
                  <a:cubicBezTo>
                    <a:pt x="206695" y="29916"/>
                    <a:pt x="209415" y="19038"/>
                    <a:pt x="217574" y="13598"/>
                  </a:cubicBezTo>
                  <a:cubicBezTo>
                    <a:pt x="231172" y="2720"/>
                    <a:pt x="255649" y="0"/>
                    <a:pt x="274687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4" name="Freeform: Shape 43">
              <a:extLst>
                <a:ext uri="{FF2B5EF4-FFF2-40B4-BE49-F238E27FC236}">
                  <a16:creationId xmlns:a16="http://schemas.microsoft.com/office/drawing/2014/main" id="{6019EDE9-B07A-4FD5-87B9-487B5E3194EF}"/>
                </a:ext>
              </a:extLst>
            </p:cNvPr>
            <p:cNvSpPr/>
            <p:nvPr/>
          </p:nvSpPr>
          <p:spPr>
            <a:xfrm>
              <a:off x="6876542" y="4244897"/>
              <a:ext cx="462342" cy="677195"/>
            </a:xfrm>
            <a:custGeom>
              <a:avLst/>
              <a:gdLst>
                <a:gd name="connsiteX0" fmla="*/ 214853 w 462342"/>
                <a:gd name="connsiteY0" fmla="*/ 65272 h 677195"/>
                <a:gd name="connsiteX1" fmla="*/ 195815 w 462342"/>
                <a:gd name="connsiteY1" fmla="*/ 73431 h 677195"/>
                <a:gd name="connsiteX2" fmla="*/ 193096 w 462342"/>
                <a:gd name="connsiteY2" fmla="*/ 125105 h 677195"/>
                <a:gd name="connsiteX3" fmla="*/ 190376 w 462342"/>
                <a:gd name="connsiteY3" fmla="*/ 280125 h 677195"/>
                <a:gd name="connsiteX4" fmla="*/ 190376 w 462342"/>
                <a:gd name="connsiteY4" fmla="*/ 301882 h 677195"/>
                <a:gd name="connsiteX5" fmla="*/ 193096 w 462342"/>
                <a:gd name="connsiteY5" fmla="*/ 342677 h 677195"/>
                <a:gd name="connsiteX6" fmla="*/ 195815 w 462342"/>
                <a:gd name="connsiteY6" fmla="*/ 397070 h 677195"/>
                <a:gd name="connsiteX7" fmla="*/ 195815 w 462342"/>
                <a:gd name="connsiteY7" fmla="*/ 443304 h 677195"/>
                <a:gd name="connsiteX8" fmla="*/ 195815 w 462342"/>
                <a:gd name="connsiteY8" fmla="*/ 530333 h 677195"/>
                <a:gd name="connsiteX9" fmla="*/ 193096 w 462342"/>
                <a:gd name="connsiteY9" fmla="*/ 554810 h 677195"/>
                <a:gd name="connsiteX10" fmla="*/ 190376 w 462342"/>
                <a:gd name="connsiteY10" fmla="*/ 603764 h 677195"/>
                <a:gd name="connsiteX11" fmla="*/ 198535 w 462342"/>
                <a:gd name="connsiteY11" fmla="*/ 611923 h 677195"/>
                <a:gd name="connsiteX12" fmla="*/ 214853 w 462342"/>
                <a:gd name="connsiteY12" fmla="*/ 611923 h 677195"/>
                <a:gd name="connsiteX13" fmla="*/ 236610 w 462342"/>
                <a:gd name="connsiteY13" fmla="*/ 611923 h 677195"/>
                <a:gd name="connsiteX14" fmla="*/ 263807 w 462342"/>
                <a:gd name="connsiteY14" fmla="*/ 598325 h 677195"/>
                <a:gd name="connsiteX15" fmla="*/ 277405 w 462342"/>
                <a:gd name="connsiteY15" fmla="*/ 592885 h 677195"/>
                <a:gd name="connsiteX16" fmla="*/ 291004 w 462342"/>
                <a:gd name="connsiteY16" fmla="*/ 573848 h 677195"/>
                <a:gd name="connsiteX17" fmla="*/ 307322 w 462342"/>
                <a:gd name="connsiteY17" fmla="*/ 543931 h 677195"/>
                <a:gd name="connsiteX18" fmla="*/ 326359 w 462342"/>
                <a:gd name="connsiteY18" fmla="*/ 481379 h 677195"/>
                <a:gd name="connsiteX19" fmla="*/ 337238 w 462342"/>
                <a:gd name="connsiteY19" fmla="*/ 413388 h 677195"/>
                <a:gd name="connsiteX20" fmla="*/ 337238 w 462342"/>
                <a:gd name="connsiteY20" fmla="*/ 350836 h 677195"/>
                <a:gd name="connsiteX21" fmla="*/ 334518 w 462342"/>
                <a:gd name="connsiteY21" fmla="*/ 296443 h 677195"/>
                <a:gd name="connsiteX22" fmla="*/ 329079 w 462342"/>
                <a:gd name="connsiteY22" fmla="*/ 244769 h 677195"/>
                <a:gd name="connsiteX23" fmla="*/ 307322 w 462342"/>
                <a:gd name="connsiteY23" fmla="*/ 135983 h 677195"/>
                <a:gd name="connsiteX24" fmla="*/ 271966 w 462342"/>
                <a:gd name="connsiteY24" fmla="*/ 78870 h 677195"/>
                <a:gd name="connsiteX25" fmla="*/ 214853 w 462342"/>
                <a:gd name="connsiteY25" fmla="*/ 65272 h 677195"/>
                <a:gd name="connsiteX26" fmla="*/ 114226 w 462342"/>
                <a:gd name="connsiteY26" fmla="*/ 0 h 677195"/>
                <a:gd name="connsiteX27" fmla="*/ 127824 w 462342"/>
                <a:gd name="connsiteY27" fmla="*/ 0 h 677195"/>
                <a:gd name="connsiteX28" fmla="*/ 146862 w 462342"/>
                <a:gd name="connsiteY28" fmla="*/ 2720 h 677195"/>
                <a:gd name="connsiteX29" fmla="*/ 174059 w 462342"/>
                <a:gd name="connsiteY29" fmla="*/ 21758 h 677195"/>
                <a:gd name="connsiteX30" fmla="*/ 193096 w 462342"/>
                <a:gd name="connsiteY30" fmla="*/ 21758 h 677195"/>
                <a:gd name="connsiteX31" fmla="*/ 261088 w 462342"/>
                <a:gd name="connsiteY31" fmla="*/ 27197 h 677195"/>
                <a:gd name="connsiteX32" fmla="*/ 310042 w 462342"/>
                <a:gd name="connsiteY32" fmla="*/ 35356 h 677195"/>
                <a:gd name="connsiteX33" fmla="*/ 334518 w 462342"/>
                <a:gd name="connsiteY33" fmla="*/ 40795 h 677195"/>
                <a:gd name="connsiteX34" fmla="*/ 356276 w 462342"/>
                <a:gd name="connsiteY34" fmla="*/ 59833 h 677195"/>
                <a:gd name="connsiteX35" fmla="*/ 372593 w 462342"/>
                <a:gd name="connsiteY35" fmla="*/ 76151 h 677195"/>
                <a:gd name="connsiteX36" fmla="*/ 380752 w 462342"/>
                <a:gd name="connsiteY36" fmla="*/ 95188 h 677195"/>
                <a:gd name="connsiteX37" fmla="*/ 405230 w 462342"/>
                <a:gd name="connsiteY37" fmla="*/ 114226 h 677195"/>
                <a:gd name="connsiteX38" fmla="*/ 416108 w 462342"/>
                <a:gd name="connsiteY38" fmla="*/ 141422 h 677195"/>
                <a:gd name="connsiteX39" fmla="*/ 451464 w 462342"/>
                <a:gd name="connsiteY39" fmla="*/ 201256 h 677195"/>
                <a:gd name="connsiteX40" fmla="*/ 456903 w 462342"/>
                <a:gd name="connsiteY40" fmla="*/ 252929 h 677195"/>
                <a:gd name="connsiteX41" fmla="*/ 456903 w 462342"/>
                <a:gd name="connsiteY41" fmla="*/ 291004 h 677195"/>
                <a:gd name="connsiteX42" fmla="*/ 459623 w 462342"/>
                <a:gd name="connsiteY42" fmla="*/ 318201 h 677195"/>
                <a:gd name="connsiteX43" fmla="*/ 459623 w 462342"/>
                <a:gd name="connsiteY43" fmla="*/ 326360 h 677195"/>
                <a:gd name="connsiteX44" fmla="*/ 459623 w 462342"/>
                <a:gd name="connsiteY44" fmla="*/ 348117 h 677195"/>
                <a:gd name="connsiteX45" fmla="*/ 462342 w 462342"/>
                <a:gd name="connsiteY45" fmla="*/ 367155 h 677195"/>
                <a:gd name="connsiteX46" fmla="*/ 456903 w 462342"/>
                <a:gd name="connsiteY46" fmla="*/ 391632 h 677195"/>
                <a:gd name="connsiteX47" fmla="*/ 456903 w 462342"/>
                <a:gd name="connsiteY47" fmla="*/ 418828 h 677195"/>
                <a:gd name="connsiteX48" fmla="*/ 451464 w 462342"/>
                <a:gd name="connsiteY48" fmla="*/ 437866 h 677195"/>
                <a:gd name="connsiteX49" fmla="*/ 446025 w 462342"/>
                <a:gd name="connsiteY49" fmla="*/ 454184 h 677195"/>
                <a:gd name="connsiteX50" fmla="*/ 440585 w 462342"/>
                <a:gd name="connsiteY50" fmla="*/ 481380 h 677195"/>
                <a:gd name="connsiteX51" fmla="*/ 432426 w 462342"/>
                <a:gd name="connsiteY51" fmla="*/ 508577 h 677195"/>
                <a:gd name="connsiteX52" fmla="*/ 418828 w 462342"/>
                <a:gd name="connsiteY52" fmla="*/ 530334 h 677195"/>
                <a:gd name="connsiteX53" fmla="*/ 410669 w 462342"/>
                <a:gd name="connsiteY53" fmla="*/ 549371 h 677195"/>
                <a:gd name="connsiteX54" fmla="*/ 391631 w 462342"/>
                <a:gd name="connsiteY54" fmla="*/ 579288 h 677195"/>
                <a:gd name="connsiteX55" fmla="*/ 337238 w 462342"/>
                <a:gd name="connsiteY55" fmla="*/ 630961 h 677195"/>
                <a:gd name="connsiteX56" fmla="*/ 301883 w 462342"/>
                <a:gd name="connsiteY56" fmla="*/ 647279 h 677195"/>
                <a:gd name="connsiteX57" fmla="*/ 263807 w 462342"/>
                <a:gd name="connsiteY57" fmla="*/ 652718 h 677195"/>
                <a:gd name="connsiteX58" fmla="*/ 233891 w 462342"/>
                <a:gd name="connsiteY58" fmla="*/ 649999 h 677195"/>
                <a:gd name="connsiteX59" fmla="*/ 187657 w 462342"/>
                <a:gd name="connsiteY59" fmla="*/ 652718 h 677195"/>
                <a:gd name="connsiteX60" fmla="*/ 171339 w 462342"/>
                <a:gd name="connsiteY60" fmla="*/ 669036 h 677195"/>
                <a:gd name="connsiteX61" fmla="*/ 155021 w 462342"/>
                <a:gd name="connsiteY61" fmla="*/ 671756 h 677195"/>
                <a:gd name="connsiteX62" fmla="*/ 138703 w 462342"/>
                <a:gd name="connsiteY62" fmla="*/ 674476 h 677195"/>
                <a:gd name="connsiteX63" fmla="*/ 125105 w 462342"/>
                <a:gd name="connsiteY63" fmla="*/ 677195 h 677195"/>
                <a:gd name="connsiteX64" fmla="*/ 106067 w 462342"/>
                <a:gd name="connsiteY64" fmla="*/ 671756 h 677195"/>
                <a:gd name="connsiteX65" fmla="*/ 87029 w 462342"/>
                <a:gd name="connsiteY65" fmla="*/ 658158 h 677195"/>
                <a:gd name="connsiteX66" fmla="*/ 81590 w 462342"/>
                <a:gd name="connsiteY66" fmla="*/ 652718 h 677195"/>
                <a:gd name="connsiteX67" fmla="*/ 67992 w 462342"/>
                <a:gd name="connsiteY67" fmla="*/ 652718 h 677195"/>
                <a:gd name="connsiteX68" fmla="*/ 43515 w 462342"/>
                <a:gd name="connsiteY68" fmla="*/ 652718 h 677195"/>
                <a:gd name="connsiteX69" fmla="*/ 16318 w 462342"/>
                <a:gd name="connsiteY69" fmla="*/ 647279 h 677195"/>
                <a:gd name="connsiteX70" fmla="*/ 0 w 462342"/>
                <a:gd name="connsiteY70" fmla="*/ 630961 h 677195"/>
                <a:gd name="connsiteX71" fmla="*/ 5439 w 462342"/>
                <a:gd name="connsiteY71" fmla="*/ 620083 h 677195"/>
                <a:gd name="connsiteX72" fmla="*/ 27197 w 462342"/>
                <a:gd name="connsiteY72" fmla="*/ 611924 h 677195"/>
                <a:gd name="connsiteX73" fmla="*/ 65272 w 462342"/>
                <a:gd name="connsiteY73" fmla="*/ 609204 h 677195"/>
                <a:gd name="connsiteX74" fmla="*/ 65272 w 462342"/>
                <a:gd name="connsiteY74" fmla="*/ 584727 h 677195"/>
                <a:gd name="connsiteX75" fmla="*/ 62552 w 462342"/>
                <a:gd name="connsiteY75" fmla="*/ 456903 h 677195"/>
                <a:gd name="connsiteX76" fmla="*/ 65272 w 462342"/>
                <a:gd name="connsiteY76" fmla="*/ 337238 h 677195"/>
                <a:gd name="connsiteX77" fmla="*/ 67992 w 462342"/>
                <a:gd name="connsiteY77" fmla="*/ 203975 h 677195"/>
                <a:gd name="connsiteX78" fmla="*/ 70712 w 462342"/>
                <a:gd name="connsiteY78" fmla="*/ 119665 h 677195"/>
                <a:gd name="connsiteX79" fmla="*/ 73431 w 462342"/>
                <a:gd name="connsiteY79" fmla="*/ 67992 h 677195"/>
                <a:gd name="connsiteX80" fmla="*/ 67992 w 462342"/>
                <a:gd name="connsiteY80" fmla="*/ 67992 h 677195"/>
                <a:gd name="connsiteX81" fmla="*/ 43515 w 462342"/>
                <a:gd name="connsiteY81" fmla="*/ 67992 h 677195"/>
                <a:gd name="connsiteX82" fmla="*/ 16318 w 462342"/>
                <a:gd name="connsiteY82" fmla="*/ 62552 h 677195"/>
                <a:gd name="connsiteX83" fmla="*/ 0 w 462342"/>
                <a:gd name="connsiteY83" fmla="*/ 46234 h 677195"/>
                <a:gd name="connsiteX84" fmla="*/ 5439 w 462342"/>
                <a:gd name="connsiteY84" fmla="*/ 35356 h 677195"/>
                <a:gd name="connsiteX85" fmla="*/ 27197 w 462342"/>
                <a:gd name="connsiteY85" fmla="*/ 27197 h 677195"/>
                <a:gd name="connsiteX86" fmla="*/ 76151 w 462342"/>
                <a:gd name="connsiteY86" fmla="*/ 21758 h 677195"/>
                <a:gd name="connsiteX87" fmla="*/ 81590 w 462342"/>
                <a:gd name="connsiteY87" fmla="*/ 13598 h 677195"/>
                <a:gd name="connsiteX88" fmla="*/ 97908 w 462342"/>
                <a:gd name="connsiteY88" fmla="*/ 5439 h 677195"/>
                <a:gd name="connsiteX89" fmla="*/ 114226 w 462342"/>
                <a:gd name="connsiteY89" fmla="*/ 0 h 6771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</a:cxnLst>
              <a:rect l="l" t="t" r="r" b="b"/>
              <a:pathLst>
                <a:path w="462342" h="677195">
                  <a:moveTo>
                    <a:pt x="214853" y="65272"/>
                  </a:moveTo>
                  <a:cubicBezTo>
                    <a:pt x="203975" y="65272"/>
                    <a:pt x="195815" y="67992"/>
                    <a:pt x="195815" y="73431"/>
                  </a:cubicBezTo>
                  <a:cubicBezTo>
                    <a:pt x="193096" y="78870"/>
                    <a:pt x="193096" y="100628"/>
                    <a:pt x="193096" y="125105"/>
                  </a:cubicBezTo>
                  <a:cubicBezTo>
                    <a:pt x="193096" y="182217"/>
                    <a:pt x="193096" y="266527"/>
                    <a:pt x="190376" y="280125"/>
                  </a:cubicBezTo>
                  <a:cubicBezTo>
                    <a:pt x="190376" y="288284"/>
                    <a:pt x="190376" y="293723"/>
                    <a:pt x="190376" y="301882"/>
                  </a:cubicBezTo>
                  <a:cubicBezTo>
                    <a:pt x="190376" y="315480"/>
                    <a:pt x="190376" y="329079"/>
                    <a:pt x="193096" y="342677"/>
                  </a:cubicBezTo>
                  <a:cubicBezTo>
                    <a:pt x="193096" y="361715"/>
                    <a:pt x="193096" y="378033"/>
                    <a:pt x="195815" y="397070"/>
                  </a:cubicBezTo>
                  <a:cubicBezTo>
                    <a:pt x="195815" y="413388"/>
                    <a:pt x="195815" y="426986"/>
                    <a:pt x="195815" y="443304"/>
                  </a:cubicBezTo>
                  <a:cubicBezTo>
                    <a:pt x="195815" y="465061"/>
                    <a:pt x="198535" y="508576"/>
                    <a:pt x="195815" y="530333"/>
                  </a:cubicBezTo>
                  <a:cubicBezTo>
                    <a:pt x="195815" y="538492"/>
                    <a:pt x="193096" y="546651"/>
                    <a:pt x="193096" y="554810"/>
                  </a:cubicBezTo>
                  <a:cubicBezTo>
                    <a:pt x="193096" y="560249"/>
                    <a:pt x="190376" y="590166"/>
                    <a:pt x="190376" y="603764"/>
                  </a:cubicBezTo>
                  <a:cubicBezTo>
                    <a:pt x="190376" y="609203"/>
                    <a:pt x="190376" y="611923"/>
                    <a:pt x="198535" y="611923"/>
                  </a:cubicBezTo>
                  <a:cubicBezTo>
                    <a:pt x="206694" y="611923"/>
                    <a:pt x="209414" y="611923"/>
                    <a:pt x="214853" y="611923"/>
                  </a:cubicBezTo>
                  <a:cubicBezTo>
                    <a:pt x="223012" y="611923"/>
                    <a:pt x="220293" y="611923"/>
                    <a:pt x="236610" y="611923"/>
                  </a:cubicBezTo>
                  <a:cubicBezTo>
                    <a:pt x="242050" y="611923"/>
                    <a:pt x="258368" y="601044"/>
                    <a:pt x="263807" y="598325"/>
                  </a:cubicBezTo>
                  <a:cubicBezTo>
                    <a:pt x="266527" y="598325"/>
                    <a:pt x="274686" y="592885"/>
                    <a:pt x="277405" y="592885"/>
                  </a:cubicBezTo>
                  <a:cubicBezTo>
                    <a:pt x="285564" y="587446"/>
                    <a:pt x="288284" y="579287"/>
                    <a:pt x="291004" y="573848"/>
                  </a:cubicBezTo>
                  <a:cubicBezTo>
                    <a:pt x="296443" y="562969"/>
                    <a:pt x="301882" y="554810"/>
                    <a:pt x="307322" y="543931"/>
                  </a:cubicBezTo>
                  <a:cubicBezTo>
                    <a:pt x="315481" y="524894"/>
                    <a:pt x="320920" y="524894"/>
                    <a:pt x="326359" y="481379"/>
                  </a:cubicBezTo>
                  <a:cubicBezTo>
                    <a:pt x="329079" y="456903"/>
                    <a:pt x="334518" y="435145"/>
                    <a:pt x="337238" y="413388"/>
                  </a:cubicBezTo>
                  <a:cubicBezTo>
                    <a:pt x="337238" y="391631"/>
                    <a:pt x="337238" y="369873"/>
                    <a:pt x="337238" y="350836"/>
                  </a:cubicBezTo>
                  <a:cubicBezTo>
                    <a:pt x="337238" y="339957"/>
                    <a:pt x="337238" y="320920"/>
                    <a:pt x="334518" y="296443"/>
                  </a:cubicBezTo>
                  <a:cubicBezTo>
                    <a:pt x="331798" y="269246"/>
                    <a:pt x="329079" y="250209"/>
                    <a:pt x="329079" y="244769"/>
                  </a:cubicBezTo>
                  <a:cubicBezTo>
                    <a:pt x="323640" y="206694"/>
                    <a:pt x="318200" y="174058"/>
                    <a:pt x="307322" y="135983"/>
                  </a:cubicBezTo>
                  <a:cubicBezTo>
                    <a:pt x="304602" y="125105"/>
                    <a:pt x="304602" y="108787"/>
                    <a:pt x="271966" y="78870"/>
                  </a:cubicBezTo>
                  <a:cubicBezTo>
                    <a:pt x="263807" y="73431"/>
                    <a:pt x="233891" y="65272"/>
                    <a:pt x="214853" y="65272"/>
                  </a:cubicBezTo>
                  <a:close/>
                  <a:moveTo>
                    <a:pt x="114226" y="0"/>
                  </a:moveTo>
                  <a:cubicBezTo>
                    <a:pt x="119665" y="0"/>
                    <a:pt x="125105" y="0"/>
                    <a:pt x="127824" y="0"/>
                  </a:cubicBezTo>
                  <a:cubicBezTo>
                    <a:pt x="133264" y="0"/>
                    <a:pt x="141422" y="0"/>
                    <a:pt x="146862" y="2720"/>
                  </a:cubicBezTo>
                  <a:cubicBezTo>
                    <a:pt x="157741" y="5439"/>
                    <a:pt x="165900" y="13598"/>
                    <a:pt x="174059" y="21758"/>
                  </a:cubicBezTo>
                  <a:cubicBezTo>
                    <a:pt x="179498" y="21758"/>
                    <a:pt x="187657" y="21758"/>
                    <a:pt x="193096" y="21758"/>
                  </a:cubicBezTo>
                  <a:cubicBezTo>
                    <a:pt x="212134" y="21758"/>
                    <a:pt x="228452" y="27197"/>
                    <a:pt x="261088" y="27197"/>
                  </a:cubicBezTo>
                  <a:cubicBezTo>
                    <a:pt x="277405" y="27197"/>
                    <a:pt x="293723" y="35356"/>
                    <a:pt x="310042" y="35356"/>
                  </a:cubicBezTo>
                  <a:cubicBezTo>
                    <a:pt x="318200" y="35356"/>
                    <a:pt x="329079" y="35356"/>
                    <a:pt x="334518" y="40795"/>
                  </a:cubicBezTo>
                  <a:cubicBezTo>
                    <a:pt x="342677" y="46234"/>
                    <a:pt x="348117" y="54393"/>
                    <a:pt x="356276" y="59833"/>
                  </a:cubicBezTo>
                  <a:cubicBezTo>
                    <a:pt x="361715" y="65272"/>
                    <a:pt x="369874" y="67992"/>
                    <a:pt x="372593" y="76151"/>
                  </a:cubicBezTo>
                  <a:cubicBezTo>
                    <a:pt x="375313" y="81590"/>
                    <a:pt x="378033" y="89749"/>
                    <a:pt x="380752" y="95188"/>
                  </a:cubicBezTo>
                  <a:cubicBezTo>
                    <a:pt x="386192" y="103347"/>
                    <a:pt x="391631" y="106067"/>
                    <a:pt x="405230" y="114226"/>
                  </a:cubicBezTo>
                  <a:cubicBezTo>
                    <a:pt x="413388" y="119665"/>
                    <a:pt x="410669" y="133263"/>
                    <a:pt x="416108" y="141422"/>
                  </a:cubicBezTo>
                  <a:cubicBezTo>
                    <a:pt x="426987" y="160461"/>
                    <a:pt x="446025" y="182218"/>
                    <a:pt x="451464" y="201256"/>
                  </a:cubicBezTo>
                  <a:cubicBezTo>
                    <a:pt x="456903" y="220293"/>
                    <a:pt x="456903" y="236611"/>
                    <a:pt x="456903" y="252929"/>
                  </a:cubicBezTo>
                  <a:cubicBezTo>
                    <a:pt x="456903" y="266527"/>
                    <a:pt x="456903" y="277406"/>
                    <a:pt x="456903" y="291004"/>
                  </a:cubicBezTo>
                  <a:cubicBezTo>
                    <a:pt x="456903" y="299163"/>
                    <a:pt x="456903" y="307322"/>
                    <a:pt x="459623" y="318201"/>
                  </a:cubicBezTo>
                  <a:cubicBezTo>
                    <a:pt x="459623" y="320921"/>
                    <a:pt x="459623" y="323640"/>
                    <a:pt x="459623" y="326360"/>
                  </a:cubicBezTo>
                  <a:cubicBezTo>
                    <a:pt x="462342" y="331799"/>
                    <a:pt x="459623" y="337238"/>
                    <a:pt x="459623" y="348117"/>
                  </a:cubicBezTo>
                  <a:cubicBezTo>
                    <a:pt x="459623" y="350837"/>
                    <a:pt x="462342" y="361715"/>
                    <a:pt x="462342" y="367155"/>
                  </a:cubicBezTo>
                  <a:cubicBezTo>
                    <a:pt x="462342" y="375314"/>
                    <a:pt x="456903" y="383473"/>
                    <a:pt x="456903" y="391632"/>
                  </a:cubicBezTo>
                  <a:cubicBezTo>
                    <a:pt x="456903" y="399790"/>
                    <a:pt x="456903" y="410669"/>
                    <a:pt x="456903" y="418828"/>
                  </a:cubicBezTo>
                  <a:cubicBezTo>
                    <a:pt x="456903" y="421548"/>
                    <a:pt x="454183" y="429707"/>
                    <a:pt x="451464" y="437866"/>
                  </a:cubicBezTo>
                  <a:cubicBezTo>
                    <a:pt x="448744" y="443305"/>
                    <a:pt x="448744" y="451464"/>
                    <a:pt x="446025" y="454184"/>
                  </a:cubicBezTo>
                  <a:cubicBezTo>
                    <a:pt x="443305" y="462343"/>
                    <a:pt x="440585" y="473221"/>
                    <a:pt x="440585" y="481380"/>
                  </a:cubicBezTo>
                  <a:cubicBezTo>
                    <a:pt x="437865" y="489539"/>
                    <a:pt x="437865" y="500418"/>
                    <a:pt x="432426" y="508577"/>
                  </a:cubicBezTo>
                  <a:cubicBezTo>
                    <a:pt x="429706" y="516736"/>
                    <a:pt x="424267" y="522175"/>
                    <a:pt x="418828" y="530334"/>
                  </a:cubicBezTo>
                  <a:cubicBezTo>
                    <a:pt x="416108" y="535773"/>
                    <a:pt x="413388" y="543932"/>
                    <a:pt x="410669" y="549371"/>
                  </a:cubicBezTo>
                  <a:cubicBezTo>
                    <a:pt x="405230" y="557531"/>
                    <a:pt x="397071" y="573848"/>
                    <a:pt x="391631" y="579288"/>
                  </a:cubicBezTo>
                  <a:cubicBezTo>
                    <a:pt x="369874" y="609204"/>
                    <a:pt x="350836" y="620083"/>
                    <a:pt x="337238" y="630961"/>
                  </a:cubicBezTo>
                  <a:cubicBezTo>
                    <a:pt x="326359" y="639120"/>
                    <a:pt x="315481" y="641840"/>
                    <a:pt x="301883" y="647279"/>
                  </a:cubicBezTo>
                  <a:cubicBezTo>
                    <a:pt x="291004" y="649999"/>
                    <a:pt x="277405" y="652718"/>
                    <a:pt x="263807" y="652718"/>
                  </a:cubicBezTo>
                  <a:cubicBezTo>
                    <a:pt x="252929" y="652718"/>
                    <a:pt x="244770" y="649999"/>
                    <a:pt x="233891" y="649999"/>
                  </a:cubicBezTo>
                  <a:cubicBezTo>
                    <a:pt x="206694" y="649999"/>
                    <a:pt x="217573" y="652718"/>
                    <a:pt x="187657" y="652718"/>
                  </a:cubicBezTo>
                  <a:cubicBezTo>
                    <a:pt x="184937" y="660877"/>
                    <a:pt x="179498" y="666317"/>
                    <a:pt x="171339" y="669036"/>
                  </a:cubicBezTo>
                  <a:cubicBezTo>
                    <a:pt x="165900" y="671756"/>
                    <a:pt x="160460" y="671756"/>
                    <a:pt x="155021" y="671756"/>
                  </a:cubicBezTo>
                  <a:cubicBezTo>
                    <a:pt x="149581" y="671756"/>
                    <a:pt x="144142" y="674476"/>
                    <a:pt x="138703" y="674476"/>
                  </a:cubicBezTo>
                  <a:cubicBezTo>
                    <a:pt x="135983" y="674476"/>
                    <a:pt x="127824" y="677195"/>
                    <a:pt x="125105" y="677195"/>
                  </a:cubicBezTo>
                  <a:cubicBezTo>
                    <a:pt x="116946" y="677195"/>
                    <a:pt x="108787" y="671756"/>
                    <a:pt x="106067" y="671756"/>
                  </a:cubicBezTo>
                  <a:cubicBezTo>
                    <a:pt x="100628" y="669036"/>
                    <a:pt x="95188" y="663597"/>
                    <a:pt x="87029" y="658158"/>
                  </a:cubicBezTo>
                  <a:cubicBezTo>
                    <a:pt x="84310" y="655438"/>
                    <a:pt x="81590" y="655438"/>
                    <a:pt x="81590" y="652718"/>
                  </a:cubicBezTo>
                  <a:cubicBezTo>
                    <a:pt x="73431" y="652718"/>
                    <a:pt x="81590" y="652718"/>
                    <a:pt x="67992" y="652718"/>
                  </a:cubicBezTo>
                  <a:cubicBezTo>
                    <a:pt x="59833" y="652718"/>
                    <a:pt x="51674" y="652718"/>
                    <a:pt x="43515" y="652718"/>
                  </a:cubicBezTo>
                  <a:cubicBezTo>
                    <a:pt x="35356" y="652718"/>
                    <a:pt x="24477" y="652718"/>
                    <a:pt x="16318" y="647279"/>
                  </a:cubicBezTo>
                  <a:cubicBezTo>
                    <a:pt x="8159" y="644559"/>
                    <a:pt x="0" y="636401"/>
                    <a:pt x="0" y="630961"/>
                  </a:cubicBezTo>
                  <a:cubicBezTo>
                    <a:pt x="0" y="625522"/>
                    <a:pt x="0" y="622802"/>
                    <a:pt x="5439" y="620083"/>
                  </a:cubicBezTo>
                  <a:cubicBezTo>
                    <a:pt x="10879" y="617363"/>
                    <a:pt x="21758" y="614643"/>
                    <a:pt x="27197" y="611924"/>
                  </a:cubicBezTo>
                  <a:cubicBezTo>
                    <a:pt x="38076" y="609204"/>
                    <a:pt x="54393" y="609204"/>
                    <a:pt x="65272" y="609204"/>
                  </a:cubicBezTo>
                  <a:cubicBezTo>
                    <a:pt x="65272" y="601045"/>
                    <a:pt x="65272" y="592886"/>
                    <a:pt x="65272" y="584727"/>
                  </a:cubicBezTo>
                  <a:cubicBezTo>
                    <a:pt x="65272" y="541213"/>
                    <a:pt x="62552" y="500418"/>
                    <a:pt x="62552" y="456903"/>
                  </a:cubicBezTo>
                  <a:cubicBezTo>
                    <a:pt x="62552" y="440585"/>
                    <a:pt x="65272" y="397071"/>
                    <a:pt x="65272" y="337238"/>
                  </a:cubicBezTo>
                  <a:cubicBezTo>
                    <a:pt x="65272" y="293724"/>
                    <a:pt x="67992" y="247490"/>
                    <a:pt x="67992" y="203975"/>
                  </a:cubicBezTo>
                  <a:cubicBezTo>
                    <a:pt x="67992" y="179498"/>
                    <a:pt x="67992" y="149582"/>
                    <a:pt x="70712" y="119665"/>
                  </a:cubicBezTo>
                  <a:cubicBezTo>
                    <a:pt x="70712" y="103347"/>
                    <a:pt x="73431" y="84309"/>
                    <a:pt x="73431" y="67992"/>
                  </a:cubicBezTo>
                  <a:cubicBezTo>
                    <a:pt x="73431" y="67992"/>
                    <a:pt x="70712" y="67992"/>
                    <a:pt x="67992" y="67992"/>
                  </a:cubicBezTo>
                  <a:cubicBezTo>
                    <a:pt x="59833" y="67992"/>
                    <a:pt x="51674" y="67992"/>
                    <a:pt x="43515" y="67992"/>
                  </a:cubicBezTo>
                  <a:cubicBezTo>
                    <a:pt x="35356" y="67992"/>
                    <a:pt x="24477" y="67992"/>
                    <a:pt x="16318" y="62552"/>
                  </a:cubicBezTo>
                  <a:cubicBezTo>
                    <a:pt x="8159" y="59833"/>
                    <a:pt x="0" y="51674"/>
                    <a:pt x="0" y="46234"/>
                  </a:cubicBezTo>
                  <a:cubicBezTo>
                    <a:pt x="0" y="43515"/>
                    <a:pt x="0" y="38075"/>
                    <a:pt x="5439" y="35356"/>
                  </a:cubicBezTo>
                  <a:cubicBezTo>
                    <a:pt x="10879" y="32636"/>
                    <a:pt x="21758" y="29916"/>
                    <a:pt x="27197" y="27197"/>
                  </a:cubicBezTo>
                  <a:cubicBezTo>
                    <a:pt x="46234" y="24477"/>
                    <a:pt x="65272" y="21758"/>
                    <a:pt x="76151" y="21758"/>
                  </a:cubicBezTo>
                  <a:cubicBezTo>
                    <a:pt x="76151" y="19038"/>
                    <a:pt x="78871" y="16318"/>
                    <a:pt x="81590" y="13598"/>
                  </a:cubicBezTo>
                  <a:cubicBezTo>
                    <a:pt x="84310" y="10879"/>
                    <a:pt x="92469" y="5439"/>
                    <a:pt x="97908" y="5439"/>
                  </a:cubicBezTo>
                  <a:cubicBezTo>
                    <a:pt x="103347" y="2720"/>
                    <a:pt x="108787" y="0"/>
                    <a:pt x="114226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5" name="Freeform: Shape 44">
              <a:extLst>
                <a:ext uri="{FF2B5EF4-FFF2-40B4-BE49-F238E27FC236}">
                  <a16:creationId xmlns:a16="http://schemas.microsoft.com/office/drawing/2014/main" id="{E57DE58C-884C-473D-88BB-56EE3548B302}"/>
                </a:ext>
              </a:extLst>
            </p:cNvPr>
            <p:cNvSpPr/>
            <p:nvPr/>
          </p:nvSpPr>
          <p:spPr>
            <a:xfrm>
              <a:off x="7310622" y="4197597"/>
              <a:ext cx="489539" cy="761503"/>
            </a:xfrm>
            <a:custGeom>
              <a:avLst/>
              <a:gdLst>
                <a:gd name="connsiteX0" fmla="*/ 433491 w 489538"/>
                <a:gd name="connsiteY0" fmla="*/ 651063 h 761503"/>
                <a:gd name="connsiteX1" fmla="*/ 438930 w 489538"/>
                <a:gd name="connsiteY1" fmla="*/ 661942 h 761503"/>
                <a:gd name="connsiteX2" fmla="*/ 425332 w 489538"/>
                <a:gd name="connsiteY2" fmla="*/ 683699 h 761503"/>
                <a:gd name="connsiteX3" fmla="*/ 400855 w 489538"/>
                <a:gd name="connsiteY3" fmla="*/ 691858 h 761503"/>
                <a:gd name="connsiteX4" fmla="*/ 343742 w 489538"/>
                <a:gd name="connsiteY4" fmla="*/ 700017 h 761503"/>
                <a:gd name="connsiteX5" fmla="*/ 316546 w 489538"/>
                <a:gd name="connsiteY5" fmla="*/ 705456 h 761503"/>
                <a:gd name="connsiteX6" fmla="*/ 275751 w 489538"/>
                <a:gd name="connsiteY6" fmla="*/ 705456 h 761503"/>
                <a:gd name="connsiteX7" fmla="*/ 264872 w 489538"/>
                <a:gd name="connsiteY7" fmla="*/ 708176 h 761503"/>
                <a:gd name="connsiteX8" fmla="*/ 253994 w 489538"/>
                <a:gd name="connsiteY8" fmla="*/ 708176 h 761503"/>
                <a:gd name="connsiteX9" fmla="*/ 240395 w 489538"/>
                <a:gd name="connsiteY9" fmla="*/ 719054 h 761503"/>
                <a:gd name="connsiteX10" fmla="*/ 224077 w 489538"/>
                <a:gd name="connsiteY10" fmla="*/ 721774 h 761503"/>
                <a:gd name="connsiteX11" fmla="*/ 205040 w 489538"/>
                <a:gd name="connsiteY11" fmla="*/ 724494 h 761503"/>
                <a:gd name="connsiteX12" fmla="*/ 191441 w 489538"/>
                <a:gd name="connsiteY12" fmla="*/ 727213 h 761503"/>
                <a:gd name="connsiteX13" fmla="*/ 169684 w 489538"/>
                <a:gd name="connsiteY13" fmla="*/ 721774 h 761503"/>
                <a:gd name="connsiteX14" fmla="*/ 150646 w 489538"/>
                <a:gd name="connsiteY14" fmla="*/ 708176 h 761503"/>
                <a:gd name="connsiteX15" fmla="*/ 139768 w 489538"/>
                <a:gd name="connsiteY15" fmla="*/ 708176 h 761503"/>
                <a:gd name="connsiteX16" fmla="*/ 120730 w 489538"/>
                <a:gd name="connsiteY16" fmla="*/ 708176 h 761503"/>
                <a:gd name="connsiteX17" fmla="*/ 98973 w 489538"/>
                <a:gd name="connsiteY17" fmla="*/ 708176 h 761503"/>
                <a:gd name="connsiteX18" fmla="*/ 74496 w 489538"/>
                <a:gd name="connsiteY18" fmla="*/ 702736 h 761503"/>
                <a:gd name="connsiteX19" fmla="*/ 58178 w 489538"/>
                <a:gd name="connsiteY19" fmla="*/ 683699 h 761503"/>
                <a:gd name="connsiteX20" fmla="*/ 63617 w 489538"/>
                <a:gd name="connsiteY20" fmla="*/ 675540 h 761503"/>
                <a:gd name="connsiteX21" fmla="*/ 85375 w 489538"/>
                <a:gd name="connsiteY21" fmla="*/ 667381 h 761503"/>
                <a:gd name="connsiteX22" fmla="*/ 128889 w 489538"/>
                <a:gd name="connsiteY22" fmla="*/ 661942 h 761503"/>
                <a:gd name="connsiteX23" fmla="*/ 128889 w 489538"/>
                <a:gd name="connsiteY23" fmla="*/ 602109 h 761503"/>
                <a:gd name="connsiteX24" fmla="*/ 126170 w 489538"/>
                <a:gd name="connsiteY24" fmla="*/ 523239 h 761503"/>
                <a:gd name="connsiteX25" fmla="*/ 126170 w 489538"/>
                <a:gd name="connsiteY25" fmla="*/ 468846 h 761503"/>
                <a:gd name="connsiteX26" fmla="*/ 123450 w 489538"/>
                <a:gd name="connsiteY26" fmla="*/ 409014 h 761503"/>
                <a:gd name="connsiteX27" fmla="*/ 123450 w 489538"/>
                <a:gd name="connsiteY27" fmla="*/ 384537 h 761503"/>
                <a:gd name="connsiteX28" fmla="*/ 126170 w 489538"/>
                <a:gd name="connsiteY28" fmla="*/ 349181 h 761503"/>
                <a:gd name="connsiteX29" fmla="*/ 126170 w 489538"/>
                <a:gd name="connsiteY29" fmla="*/ 324704 h 761503"/>
                <a:gd name="connsiteX30" fmla="*/ 128889 w 489538"/>
                <a:gd name="connsiteY30" fmla="*/ 292068 h 761503"/>
                <a:gd name="connsiteX31" fmla="*/ 134329 w 489538"/>
                <a:gd name="connsiteY31" fmla="*/ 234956 h 761503"/>
                <a:gd name="connsiteX32" fmla="*/ 134329 w 489538"/>
                <a:gd name="connsiteY32" fmla="*/ 172404 h 761503"/>
                <a:gd name="connsiteX33" fmla="*/ 137048 w 489538"/>
                <a:gd name="connsiteY33" fmla="*/ 123450 h 761503"/>
                <a:gd name="connsiteX34" fmla="*/ 123450 w 489538"/>
                <a:gd name="connsiteY34" fmla="*/ 123450 h 761503"/>
                <a:gd name="connsiteX35" fmla="*/ 101693 w 489538"/>
                <a:gd name="connsiteY35" fmla="*/ 123450 h 761503"/>
                <a:gd name="connsiteX36" fmla="*/ 77216 w 489538"/>
                <a:gd name="connsiteY36" fmla="*/ 118011 h 761503"/>
                <a:gd name="connsiteX37" fmla="*/ 60898 w 489538"/>
                <a:gd name="connsiteY37" fmla="*/ 98973 h 761503"/>
                <a:gd name="connsiteX38" fmla="*/ 66337 w 489538"/>
                <a:gd name="connsiteY38" fmla="*/ 90814 h 761503"/>
                <a:gd name="connsiteX39" fmla="*/ 88094 w 489538"/>
                <a:gd name="connsiteY39" fmla="*/ 82655 h 761503"/>
                <a:gd name="connsiteX40" fmla="*/ 145207 w 489538"/>
                <a:gd name="connsiteY40" fmla="*/ 77216 h 761503"/>
                <a:gd name="connsiteX41" fmla="*/ 145207 w 489538"/>
                <a:gd name="connsiteY41" fmla="*/ 77216 h 761503"/>
                <a:gd name="connsiteX42" fmla="*/ 153366 w 489538"/>
                <a:gd name="connsiteY42" fmla="*/ 69057 h 761503"/>
                <a:gd name="connsiteX43" fmla="*/ 177843 w 489538"/>
                <a:gd name="connsiteY43" fmla="*/ 60898 h 761503"/>
                <a:gd name="connsiteX44" fmla="*/ 196881 w 489538"/>
                <a:gd name="connsiteY44" fmla="*/ 58178 h 761503"/>
                <a:gd name="connsiteX45" fmla="*/ 205040 w 489538"/>
                <a:gd name="connsiteY45" fmla="*/ 58178 h 761503"/>
                <a:gd name="connsiteX46" fmla="*/ 215919 w 489538"/>
                <a:gd name="connsiteY46" fmla="*/ 63617 h 761503"/>
                <a:gd name="connsiteX47" fmla="*/ 229517 w 489538"/>
                <a:gd name="connsiteY47" fmla="*/ 69057 h 761503"/>
                <a:gd name="connsiteX48" fmla="*/ 256713 w 489538"/>
                <a:gd name="connsiteY48" fmla="*/ 77216 h 761503"/>
                <a:gd name="connsiteX49" fmla="*/ 264872 w 489538"/>
                <a:gd name="connsiteY49" fmla="*/ 77216 h 761503"/>
                <a:gd name="connsiteX50" fmla="*/ 281190 w 489538"/>
                <a:gd name="connsiteY50" fmla="*/ 77216 h 761503"/>
                <a:gd name="connsiteX51" fmla="*/ 330144 w 489538"/>
                <a:gd name="connsiteY51" fmla="*/ 77216 h 761503"/>
                <a:gd name="connsiteX52" fmla="*/ 357341 w 489538"/>
                <a:gd name="connsiteY52" fmla="*/ 79935 h 761503"/>
                <a:gd name="connsiteX53" fmla="*/ 387257 w 489538"/>
                <a:gd name="connsiteY53" fmla="*/ 82655 h 761503"/>
                <a:gd name="connsiteX54" fmla="*/ 406295 w 489538"/>
                <a:gd name="connsiteY54" fmla="*/ 85375 h 761503"/>
                <a:gd name="connsiteX55" fmla="*/ 417173 w 489538"/>
                <a:gd name="connsiteY55" fmla="*/ 79935 h 761503"/>
                <a:gd name="connsiteX56" fmla="*/ 425332 w 489538"/>
                <a:gd name="connsiteY56" fmla="*/ 85375 h 761503"/>
                <a:gd name="connsiteX57" fmla="*/ 433491 w 489538"/>
                <a:gd name="connsiteY57" fmla="*/ 104412 h 761503"/>
                <a:gd name="connsiteX58" fmla="*/ 436211 w 489538"/>
                <a:gd name="connsiteY58" fmla="*/ 137048 h 761503"/>
                <a:gd name="connsiteX59" fmla="*/ 438930 w 489538"/>
                <a:gd name="connsiteY59" fmla="*/ 183282 h 761503"/>
                <a:gd name="connsiteX60" fmla="*/ 422612 w 489538"/>
                <a:gd name="connsiteY60" fmla="*/ 218638 h 761503"/>
                <a:gd name="connsiteX61" fmla="*/ 406295 w 489538"/>
                <a:gd name="connsiteY61" fmla="*/ 213198 h 761503"/>
                <a:gd name="connsiteX62" fmla="*/ 398136 w 489538"/>
                <a:gd name="connsiteY62" fmla="*/ 196881 h 761503"/>
                <a:gd name="connsiteX63" fmla="*/ 395416 w 489538"/>
                <a:gd name="connsiteY63" fmla="*/ 175123 h 761503"/>
                <a:gd name="connsiteX64" fmla="*/ 395416 w 489538"/>
                <a:gd name="connsiteY64" fmla="*/ 153366 h 761503"/>
                <a:gd name="connsiteX65" fmla="*/ 395416 w 489538"/>
                <a:gd name="connsiteY65" fmla="*/ 126170 h 761503"/>
                <a:gd name="connsiteX66" fmla="*/ 370939 w 489538"/>
                <a:gd name="connsiteY66" fmla="*/ 128889 h 761503"/>
                <a:gd name="connsiteX67" fmla="*/ 338303 w 489538"/>
                <a:gd name="connsiteY67" fmla="*/ 131609 h 761503"/>
                <a:gd name="connsiteX68" fmla="*/ 286629 w 489538"/>
                <a:gd name="connsiteY68" fmla="*/ 134328 h 761503"/>
                <a:gd name="connsiteX69" fmla="*/ 273031 w 489538"/>
                <a:gd name="connsiteY69" fmla="*/ 137048 h 761503"/>
                <a:gd name="connsiteX70" fmla="*/ 262153 w 489538"/>
                <a:gd name="connsiteY70" fmla="*/ 142487 h 761503"/>
                <a:gd name="connsiteX71" fmla="*/ 259433 w 489538"/>
                <a:gd name="connsiteY71" fmla="*/ 153366 h 761503"/>
                <a:gd name="connsiteX72" fmla="*/ 262153 w 489538"/>
                <a:gd name="connsiteY72" fmla="*/ 166964 h 761503"/>
                <a:gd name="connsiteX73" fmla="*/ 262153 w 489538"/>
                <a:gd name="connsiteY73" fmla="*/ 196881 h 761503"/>
                <a:gd name="connsiteX74" fmla="*/ 262153 w 489538"/>
                <a:gd name="connsiteY74" fmla="*/ 215918 h 761503"/>
                <a:gd name="connsiteX75" fmla="*/ 262153 w 489538"/>
                <a:gd name="connsiteY75" fmla="*/ 251274 h 761503"/>
                <a:gd name="connsiteX76" fmla="*/ 259433 w 489538"/>
                <a:gd name="connsiteY76" fmla="*/ 278470 h 761503"/>
                <a:gd name="connsiteX77" fmla="*/ 259433 w 489538"/>
                <a:gd name="connsiteY77" fmla="*/ 308386 h 761503"/>
                <a:gd name="connsiteX78" fmla="*/ 259433 w 489538"/>
                <a:gd name="connsiteY78" fmla="*/ 321985 h 761503"/>
                <a:gd name="connsiteX79" fmla="*/ 259433 w 489538"/>
                <a:gd name="connsiteY79" fmla="*/ 332863 h 761503"/>
                <a:gd name="connsiteX80" fmla="*/ 267592 w 489538"/>
                <a:gd name="connsiteY80" fmla="*/ 335583 h 761503"/>
                <a:gd name="connsiteX81" fmla="*/ 281190 w 489538"/>
                <a:gd name="connsiteY81" fmla="*/ 335583 h 761503"/>
                <a:gd name="connsiteX82" fmla="*/ 327424 w 489538"/>
                <a:gd name="connsiteY82" fmla="*/ 338303 h 761503"/>
                <a:gd name="connsiteX83" fmla="*/ 351901 w 489538"/>
                <a:gd name="connsiteY83" fmla="*/ 341022 h 761503"/>
                <a:gd name="connsiteX84" fmla="*/ 351901 w 489538"/>
                <a:gd name="connsiteY84" fmla="*/ 335583 h 761503"/>
                <a:gd name="connsiteX85" fmla="*/ 351901 w 489538"/>
                <a:gd name="connsiteY85" fmla="*/ 313826 h 761503"/>
                <a:gd name="connsiteX86" fmla="*/ 357341 w 489538"/>
                <a:gd name="connsiteY86" fmla="*/ 289349 h 761503"/>
                <a:gd name="connsiteX87" fmla="*/ 373658 w 489538"/>
                <a:gd name="connsiteY87" fmla="*/ 273031 h 761503"/>
                <a:gd name="connsiteX88" fmla="*/ 381817 w 489538"/>
                <a:gd name="connsiteY88" fmla="*/ 278470 h 761503"/>
                <a:gd name="connsiteX89" fmla="*/ 389977 w 489538"/>
                <a:gd name="connsiteY89" fmla="*/ 300228 h 761503"/>
                <a:gd name="connsiteX90" fmla="*/ 395416 w 489538"/>
                <a:gd name="connsiteY90" fmla="*/ 351901 h 761503"/>
                <a:gd name="connsiteX91" fmla="*/ 398136 w 489538"/>
                <a:gd name="connsiteY91" fmla="*/ 409014 h 761503"/>
                <a:gd name="connsiteX92" fmla="*/ 381817 w 489538"/>
                <a:gd name="connsiteY92" fmla="*/ 444369 h 761503"/>
                <a:gd name="connsiteX93" fmla="*/ 365500 w 489538"/>
                <a:gd name="connsiteY93" fmla="*/ 438930 h 761503"/>
                <a:gd name="connsiteX94" fmla="*/ 357341 w 489538"/>
                <a:gd name="connsiteY94" fmla="*/ 422612 h 761503"/>
                <a:gd name="connsiteX95" fmla="*/ 354621 w 489538"/>
                <a:gd name="connsiteY95" fmla="*/ 400855 h 761503"/>
                <a:gd name="connsiteX96" fmla="*/ 354621 w 489538"/>
                <a:gd name="connsiteY96" fmla="*/ 381817 h 761503"/>
                <a:gd name="connsiteX97" fmla="*/ 270312 w 489538"/>
                <a:gd name="connsiteY97" fmla="*/ 381817 h 761503"/>
                <a:gd name="connsiteX98" fmla="*/ 256713 w 489538"/>
                <a:gd name="connsiteY98" fmla="*/ 395415 h 761503"/>
                <a:gd name="connsiteX99" fmla="*/ 253994 w 489538"/>
                <a:gd name="connsiteY99" fmla="*/ 422612 h 761503"/>
                <a:gd name="connsiteX100" fmla="*/ 253994 w 489538"/>
                <a:gd name="connsiteY100" fmla="*/ 433490 h 761503"/>
                <a:gd name="connsiteX101" fmla="*/ 253994 w 489538"/>
                <a:gd name="connsiteY101" fmla="*/ 449809 h 761503"/>
                <a:gd name="connsiteX102" fmla="*/ 256713 w 489538"/>
                <a:gd name="connsiteY102" fmla="*/ 474285 h 761503"/>
                <a:gd name="connsiteX103" fmla="*/ 256713 w 489538"/>
                <a:gd name="connsiteY103" fmla="*/ 496043 h 761503"/>
                <a:gd name="connsiteX104" fmla="*/ 259433 w 489538"/>
                <a:gd name="connsiteY104" fmla="*/ 534118 h 761503"/>
                <a:gd name="connsiteX105" fmla="*/ 259433 w 489538"/>
                <a:gd name="connsiteY105" fmla="*/ 591231 h 761503"/>
                <a:gd name="connsiteX106" fmla="*/ 262153 w 489538"/>
                <a:gd name="connsiteY106" fmla="*/ 618427 h 761503"/>
                <a:gd name="connsiteX107" fmla="*/ 267592 w 489538"/>
                <a:gd name="connsiteY107" fmla="*/ 648343 h 761503"/>
                <a:gd name="connsiteX108" fmla="*/ 292069 w 489538"/>
                <a:gd name="connsiteY108" fmla="*/ 651063 h 761503"/>
                <a:gd name="connsiteX109" fmla="*/ 327424 w 489538"/>
                <a:gd name="connsiteY109" fmla="*/ 651063 h 761503"/>
                <a:gd name="connsiteX110" fmla="*/ 362780 w 489538"/>
                <a:gd name="connsiteY110" fmla="*/ 653783 h 761503"/>
                <a:gd name="connsiteX111" fmla="*/ 395416 w 489538"/>
                <a:gd name="connsiteY111" fmla="*/ 648343 h 761503"/>
                <a:gd name="connsiteX112" fmla="*/ 395416 w 489538"/>
                <a:gd name="connsiteY112" fmla="*/ 618427 h 761503"/>
                <a:gd name="connsiteX113" fmla="*/ 395416 w 489538"/>
                <a:gd name="connsiteY113" fmla="*/ 596670 h 761503"/>
                <a:gd name="connsiteX114" fmla="*/ 398136 w 489538"/>
                <a:gd name="connsiteY114" fmla="*/ 574913 h 761503"/>
                <a:gd name="connsiteX115" fmla="*/ 406295 w 489538"/>
                <a:gd name="connsiteY115" fmla="*/ 558595 h 761503"/>
                <a:gd name="connsiteX116" fmla="*/ 422612 w 489538"/>
                <a:gd name="connsiteY116" fmla="*/ 553155 h 761503"/>
                <a:gd name="connsiteX117" fmla="*/ 438930 w 489538"/>
                <a:gd name="connsiteY117" fmla="*/ 588511 h 761503"/>
                <a:gd name="connsiteX118" fmla="*/ 436211 w 489538"/>
                <a:gd name="connsiteY118" fmla="*/ 645624 h 761503"/>
                <a:gd name="connsiteX119" fmla="*/ 433491 w 489538"/>
                <a:gd name="connsiteY119" fmla="*/ 651063 h 761503"/>
                <a:gd name="connsiteX120" fmla="*/ 433491 w 489538"/>
                <a:gd name="connsiteY120" fmla="*/ 651063 h 761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</a:cxnLst>
              <a:rect l="l" t="t" r="r" b="b"/>
              <a:pathLst>
                <a:path w="489538" h="761503">
                  <a:moveTo>
                    <a:pt x="433491" y="651063"/>
                  </a:moveTo>
                  <a:cubicBezTo>
                    <a:pt x="436211" y="653783"/>
                    <a:pt x="438930" y="656502"/>
                    <a:pt x="438930" y="661942"/>
                  </a:cubicBezTo>
                  <a:cubicBezTo>
                    <a:pt x="438930" y="670101"/>
                    <a:pt x="433491" y="678259"/>
                    <a:pt x="425332" y="683699"/>
                  </a:cubicBezTo>
                  <a:cubicBezTo>
                    <a:pt x="417173" y="689138"/>
                    <a:pt x="409014" y="689138"/>
                    <a:pt x="400855" y="691858"/>
                  </a:cubicBezTo>
                  <a:cubicBezTo>
                    <a:pt x="381817" y="694578"/>
                    <a:pt x="362780" y="694578"/>
                    <a:pt x="343742" y="700017"/>
                  </a:cubicBezTo>
                  <a:cubicBezTo>
                    <a:pt x="335583" y="702736"/>
                    <a:pt x="324705" y="702736"/>
                    <a:pt x="316546" y="705456"/>
                  </a:cubicBezTo>
                  <a:cubicBezTo>
                    <a:pt x="308387" y="705456"/>
                    <a:pt x="289349" y="705456"/>
                    <a:pt x="275751" y="705456"/>
                  </a:cubicBezTo>
                  <a:cubicBezTo>
                    <a:pt x="270312" y="705456"/>
                    <a:pt x="267592" y="708176"/>
                    <a:pt x="264872" y="708176"/>
                  </a:cubicBezTo>
                  <a:cubicBezTo>
                    <a:pt x="264872" y="708176"/>
                    <a:pt x="259433" y="708176"/>
                    <a:pt x="253994" y="708176"/>
                  </a:cubicBezTo>
                  <a:cubicBezTo>
                    <a:pt x="251274" y="713615"/>
                    <a:pt x="245835" y="716335"/>
                    <a:pt x="240395" y="719054"/>
                  </a:cubicBezTo>
                  <a:cubicBezTo>
                    <a:pt x="234956" y="721774"/>
                    <a:pt x="229517" y="721774"/>
                    <a:pt x="224077" y="721774"/>
                  </a:cubicBezTo>
                  <a:cubicBezTo>
                    <a:pt x="218638" y="721774"/>
                    <a:pt x="213199" y="724494"/>
                    <a:pt x="205040" y="724494"/>
                  </a:cubicBezTo>
                  <a:cubicBezTo>
                    <a:pt x="202320" y="724494"/>
                    <a:pt x="194161" y="727213"/>
                    <a:pt x="191441" y="727213"/>
                  </a:cubicBezTo>
                  <a:cubicBezTo>
                    <a:pt x="183282" y="727213"/>
                    <a:pt x="172404" y="721774"/>
                    <a:pt x="169684" y="721774"/>
                  </a:cubicBezTo>
                  <a:cubicBezTo>
                    <a:pt x="164245" y="719054"/>
                    <a:pt x="156086" y="713615"/>
                    <a:pt x="150646" y="708176"/>
                  </a:cubicBezTo>
                  <a:cubicBezTo>
                    <a:pt x="145207" y="708176"/>
                    <a:pt x="139768" y="708176"/>
                    <a:pt x="139768" y="708176"/>
                  </a:cubicBezTo>
                  <a:cubicBezTo>
                    <a:pt x="126170" y="708176"/>
                    <a:pt x="137048" y="708176"/>
                    <a:pt x="120730" y="708176"/>
                  </a:cubicBezTo>
                  <a:cubicBezTo>
                    <a:pt x="112571" y="708176"/>
                    <a:pt x="104412" y="708176"/>
                    <a:pt x="98973" y="708176"/>
                  </a:cubicBezTo>
                  <a:cubicBezTo>
                    <a:pt x="90814" y="708176"/>
                    <a:pt x="79936" y="708176"/>
                    <a:pt x="74496" y="702736"/>
                  </a:cubicBezTo>
                  <a:cubicBezTo>
                    <a:pt x="66337" y="700017"/>
                    <a:pt x="58178" y="689138"/>
                    <a:pt x="58178" y="683699"/>
                  </a:cubicBezTo>
                  <a:cubicBezTo>
                    <a:pt x="58178" y="680979"/>
                    <a:pt x="58178" y="678259"/>
                    <a:pt x="63617" y="675540"/>
                  </a:cubicBezTo>
                  <a:cubicBezTo>
                    <a:pt x="69057" y="672820"/>
                    <a:pt x="77216" y="670101"/>
                    <a:pt x="85375" y="667381"/>
                  </a:cubicBezTo>
                  <a:cubicBezTo>
                    <a:pt x="98973" y="664661"/>
                    <a:pt x="115291" y="664661"/>
                    <a:pt x="128889" y="661942"/>
                  </a:cubicBezTo>
                  <a:cubicBezTo>
                    <a:pt x="128889" y="645624"/>
                    <a:pt x="128889" y="623866"/>
                    <a:pt x="128889" y="602109"/>
                  </a:cubicBezTo>
                  <a:cubicBezTo>
                    <a:pt x="128889" y="566754"/>
                    <a:pt x="128889" y="531398"/>
                    <a:pt x="126170" y="523239"/>
                  </a:cubicBezTo>
                  <a:cubicBezTo>
                    <a:pt x="126170" y="517800"/>
                    <a:pt x="126170" y="487884"/>
                    <a:pt x="126170" y="468846"/>
                  </a:cubicBezTo>
                  <a:cubicBezTo>
                    <a:pt x="126170" y="449809"/>
                    <a:pt x="123450" y="430771"/>
                    <a:pt x="123450" y="409014"/>
                  </a:cubicBezTo>
                  <a:cubicBezTo>
                    <a:pt x="123450" y="400855"/>
                    <a:pt x="123450" y="392696"/>
                    <a:pt x="123450" y="384537"/>
                  </a:cubicBezTo>
                  <a:cubicBezTo>
                    <a:pt x="123450" y="373658"/>
                    <a:pt x="126170" y="360060"/>
                    <a:pt x="126170" y="349181"/>
                  </a:cubicBezTo>
                  <a:cubicBezTo>
                    <a:pt x="126170" y="341022"/>
                    <a:pt x="126170" y="332863"/>
                    <a:pt x="126170" y="324704"/>
                  </a:cubicBezTo>
                  <a:cubicBezTo>
                    <a:pt x="126170" y="313826"/>
                    <a:pt x="126170" y="302947"/>
                    <a:pt x="128889" y="292068"/>
                  </a:cubicBezTo>
                  <a:cubicBezTo>
                    <a:pt x="131609" y="273031"/>
                    <a:pt x="134329" y="253993"/>
                    <a:pt x="134329" y="234956"/>
                  </a:cubicBezTo>
                  <a:cubicBezTo>
                    <a:pt x="134329" y="213198"/>
                    <a:pt x="134329" y="191441"/>
                    <a:pt x="134329" y="172404"/>
                  </a:cubicBezTo>
                  <a:cubicBezTo>
                    <a:pt x="134329" y="156086"/>
                    <a:pt x="134329" y="139768"/>
                    <a:pt x="137048" y="123450"/>
                  </a:cubicBezTo>
                  <a:cubicBezTo>
                    <a:pt x="131609" y="123450"/>
                    <a:pt x="134329" y="123450"/>
                    <a:pt x="123450" y="123450"/>
                  </a:cubicBezTo>
                  <a:cubicBezTo>
                    <a:pt x="115291" y="123450"/>
                    <a:pt x="107132" y="123450"/>
                    <a:pt x="101693" y="123450"/>
                  </a:cubicBezTo>
                  <a:cubicBezTo>
                    <a:pt x="93534" y="123450"/>
                    <a:pt x="82655" y="123450"/>
                    <a:pt x="77216" y="118011"/>
                  </a:cubicBezTo>
                  <a:cubicBezTo>
                    <a:pt x="69057" y="115291"/>
                    <a:pt x="60898" y="101693"/>
                    <a:pt x="60898" y="98973"/>
                  </a:cubicBezTo>
                  <a:cubicBezTo>
                    <a:pt x="60898" y="96253"/>
                    <a:pt x="60898" y="93534"/>
                    <a:pt x="66337" y="90814"/>
                  </a:cubicBezTo>
                  <a:cubicBezTo>
                    <a:pt x="71777" y="88094"/>
                    <a:pt x="79936" y="85375"/>
                    <a:pt x="88094" y="82655"/>
                  </a:cubicBezTo>
                  <a:cubicBezTo>
                    <a:pt x="104412" y="79935"/>
                    <a:pt x="131609" y="77216"/>
                    <a:pt x="145207" y="77216"/>
                  </a:cubicBezTo>
                  <a:cubicBezTo>
                    <a:pt x="145207" y="77216"/>
                    <a:pt x="145207" y="77216"/>
                    <a:pt x="145207" y="77216"/>
                  </a:cubicBezTo>
                  <a:cubicBezTo>
                    <a:pt x="145207" y="74496"/>
                    <a:pt x="150646" y="71776"/>
                    <a:pt x="153366" y="69057"/>
                  </a:cubicBezTo>
                  <a:cubicBezTo>
                    <a:pt x="161525" y="63617"/>
                    <a:pt x="169684" y="63617"/>
                    <a:pt x="177843" y="60898"/>
                  </a:cubicBezTo>
                  <a:cubicBezTo>
                    <a:pt x="183282" y="58178"/>
                    <a:pt x="191441" y="58178"/>
                    <a:pt x="196881" y="58178"/>
                  </a:cubicBezTo>
                  <a:cubicBezTo>
                    <a:pt x="199600" y="58178"/>
                    <a:pt x="202320" y="58178"/>
                    <a:pt x="205040" y="58178"/>
                  </a:cubicBezTo>
                  <a:cubicBezTo>
                    <a:pt x="207759" y="58178"/>
                    <a:pt x="213199" y="60898"/>
                    <a:pt x="215919" y="63617"/>
                  </a:cubicBezTo>
                  <a:cubicBezTo>
                    <a:pt x="221358" y="66337"/>
                    <a:pt x="224077" y="66337"/>
                    <a:pt x="229517" y="69057"/>
                  </a:cubicBezTo>
                  <a:cubicBezTo>
                    <a:pt x="237675" y="71776"/>
                    <a:pt x="245835" y="77216"/>
                    <a:pt x="256713" y="77216"/>
                  </a:cubicBezTo>
                  <a:cubicBezTo>
                    <a:pt x="259433" y="77216"/>
                    <a:pt x="262153" y="77216"/>
                    <a:pt x="264872" y="77216"/>
                  </a:cubicBezTo>
                  <a:cubicBezTo>
                    <a:pt x="270312" y="77216"/>
                    <a:pt x="275751" y="77216"/>
                    <a:pt x="281190" y="77216"/>
                  </a:cubicBezTo>
                  <a:cubicBezTo>
                    <a:pt x="292069" y="77216"/>
                    <a:pt x="321985" y="77216"/>
                    <a:pt x="330144" y="77216"/>
                  </a:cubicBezTo>
                  <a:cubicBezTo>
                    <a:pt x="338303" y="77216"/>
                    <a:pt x="349182" y="77216"/>
                    <a:pt x="357341" y="79935"/>
                  </a:cubicBezTo>
                  <a:cubicBezTo>
                    <a:pt x="368219" y="79935"/>
                    <a:pt x="379098" y="82655"/>
                    <a:pt x="387257" y="82655"/>
                  </a:cubicBezTo>
                  <a:cubicBezTo>
                    <a:pt x="392696" y="82655"/>
                    <a:pt x="400855" y="85375"/>
                    <a:pt x="406295" y="85375"/>
                  </a:cubicBezTo>
                  <a:cubicBezTo>
                    <a:pt x="409014" y="82655"/>
                    <a:pt x="414453" y="79935"/>
                    <a:pt x="417173" y="79935"/>
                  </a:cubicBezTo>
                  <a:cubicBezTo>
                    <a:pt x="419893" y="79935"/>
                    <a:pt x="422612" y="79935"/>
                    <a:pt x="425332" y="85375"/>
                  </a:cubicBezTo>
                  <a:cubicBezTo>
                    <a:pt x="428052" y="90814"/>
                    <a:pt x="433491" y="98973"/>
                    <a:pt x="433491" y="104412"/>
                  </a:cubicBezTo>
                  <a:cubicBezTo>
                    <a:pt x="436211" y="131609"/>
                    <a:pt x="436211" y="120730"/>
                    <a:pt x="436211" y="137048"/>
                  </a:cubicBezTo>
                  <a:cubicBezTo>
                    <a:pt x="438930" y="158805"/>
                    <a:pt x="438930" y="158805"/>
                    <a:pt x="438930" y="183282"/>
                  </a:cubicBezTo>
                  <a:cubicBezTo>
                    <a:pt x="438930" y="194161"/>
                    <a:pt x="438930" y="218638"/>
                    <a:pt x="422612" y="218638"/>
                  </a:cubicBezTo>
                  <a:cubicBezTo>
                    <a:pt x="414453" y="218638"/>
                    <a:pt x="411734" y="215918"/>
                    <a:pt x="406295" y="213198"/>
                  </a:cubicBezTo>
                  <a:cubicBezTo>
                    <a:pt x="400855" y="210479"/>
                    <a:pt x="398136" y="202320"/>
                    <a:pt x="398136" y="196881"/>
                  </a:cubicBezTo>
                  <a:cubicBezTo>
                    <a:pt x="395416" y="188722"/>
                    <a:pt x="395416" y="183282"/>
                    <a:pt x="395416" y="175123"/>
                  </a:cubicBezTo>
                  <a:cubicBezTo>
                    <a:pt x="395416" y="169684"/>
                    <a:pt x="395416" y="164245"/>
                    <a:pt x="395416" y="153366"/>
                  </a:cubicBezTo>
                  <a:cubicBezTo>
                    <a:pt x="395416" y="145207"/>
                    <a:pt x="395416" y="134328"/>
                    <a:pt x="395416" y="126170"/>
                  </a:cubicBezTo>
                  <a:cubicBezTo>
                    <a:pt x="387257" y="128889"/>
                    <a:pt x="379098" y="128889"/>
                    <a:pt x="370939" y="128889"/>
                  </a:cubicBezTo>
                  <a:cubicBezTo>
                    <a:pt x="360060" y="128889"/>
                    <a:pt x="349182" y="128889"/>
                    <a:pt x="338303" y="131609"/>
                  </a:cubicBezTo>
                  <a:cubicBezTo>
                    <a:pt x="327424" y="131609"/>
                    <a:pt x="319265" y="134328"/>
                    <a:pt x="286629" y="134328"/>
                  </a:cubicBezTo>
                  <a:cubicBezTo>
                    <a:pt x="281190" y="134328"/>
                    <a:pt x="278470" y="134328"/>
                    <a:pt x="273031" y="137048"/>
                  </a:cubicBezTo>
                  <a:cubicBezTo>
                    <a:pt x="270312" y="137048"/>
                    <a:pt x="264872" y="137048"/>
                    <a:pt x="262153" y="142487"/>
                  </a:cubicBezTo>
                  <a:cubicBezTo>
                    <a:pt x="259433" y="145207"/>
                    <a:pt x="259433" y="150647"/>
                    <a:pt x="259433" y="153366"/>
                  </a:cubicBezTo>
                  <a:cubicBezTo>
                    <a:pt x="259433" y="158805"/>
                    <a:pt x="259433" y="164245"/>
                    <a:pt x="262153" y="166964"/>
                  </a:cubicBezTo>
                  <a:cubicBezTo>
                    <a:pt x="262153" y="177843"/>
                    <a:pt x="262153" y="186002"/>
                    <a:pt x="262153" y="196881"/>
                  </a:cubicBezTo>
                  <a:cubicBezTo>
                    <a:pt x="262153" y="202320"/>
                    <a:pt x="262153" y="210479"/>
                    <a:pt x="262153" y="215918"/>
                  </a:cubicBezTo>
                  <a:cubicBezTo>
                    <a:pt x="262153" y="229516"/>
                    <a:pt x="262153" y="240395"/>
                    <a:pt x="262153" y="251274"/>
                  </a:cubicBezTo>
                  <a:cubicBezTo>
                    <a:pt x="262153" y="259433"/>
                    <a:pt x="259433" y="270311"/>
                    <a:pt x="259433" y="278470"/>
                  </a:cubicBezTo>
                  <a:cubicBezTo>
                    <a:pt x="259433" y="289349"/>
                    <a:pt x="259433" y="297508"/>
                    <a:pt x="259433" y="308386"/>
                  </a:cubicBezTo>
                  <a:cubicBezTo>
                    <a:pt x="259433" y="313826"/>
                    <a:pt x="259433" y="319265"/>
                    <a:pt x="259433" y="321985"/>
                  </a:cubicBezTo>
                  <a:cubicBezTo>
                    <a:pt x="259433" y="324704"/>
                    <a:pt x="259433" y="330144"/>
                    <a:pt x="259433" y="332863"/>
                  </a:cubicBezTo>
                  <a:cubicBezTo>
                    <a:pt x="262153" y="335583"/>
                    <a:pt x="264872" y="335583"/>
                    <a:pt x="267592" y="335583"/>
                  </a:cubicBezTo>
                  <a:cubicBezTo>
                    <a:pt x="273031" y="335583"/>
                    <a:pt x="275751" y="335583"/>
                    <a:pt x="281190" y="335583"/>
                  </a:cubicBezTo>
                  <a:cubicBezTo>
                    <a:pt x="311107" y="335583"/>
                    <a:pt x="319265" y="335583"/>
                    <a:pt x="327424" y="338303"/>
                  </a:cubicBezTo>
                  <a:cubicBezTo>
                    <a:pt x="335583" y="341022"/>
                    <a:pt x="343742" y="341022"/>
                    <a:pt x="351901" y="341022"/>
                  </a:cubicBezTo>
                  <a:cubicBezTo>
                    <a:pt x="351901" y="338303"/>
                    <a:pt x="351901" y="338303"/>
                    <a:pt x="351901" y="335583"/>
                  </a:cubicBezTo>
                  <a:cubicBezTo>
                    <a:pt x="351901" y="327424"/>
                    <a:pt x="351901" y="319265"/>
                    <a:pt x="351901" y="313826"/>
                  </a:cubicBezTo>
                  <a:cubicBezTo>
                    <a:pt x="351901" y="305667"/>
                    <a:pt x="351901" y="294788"/>
                    <a:pt x="357341" y="289349"/>
                  </a:cubicBezTo>
                  <a:cubicBezTo>
                    <a:pt x="360060" y="281190"/>
                    <a:pt x="368219" y="273031"/>
                    <a:pt x="373658" y="273031"/>
                  </a:cubicBezTo>
                  <a:cubicBezTo>
                    <a:pt x="376378" y="273031"/>
                    <a:pt x="379098" y="273031"/>
                    <a:pt x="381817" y="278470"/>
                  </a:cubicBezTo>
                  <a:cubicBezTo>
                    <a:pt x="384537" y="283909"/>
                    <a:pt x="387257" y="292068"/>
                    <a:pt x="389977" y="300228"/>
                  </a:cubicBezTo>
                  <a:cubicBezTo>
                    <a:pt x="392696" y="316545"/>
                    <a:pt x="392696" y="335583"/>
                    <a:pt x="395416" y="351901"/>
                  </a:cubicBezTo>
                  <a:cubicBezTo>
                    <a:pt x="398136" y="373658"/>
                    <a:pt x="398136" y="384537"/>
                    <a:pt x="398136" y="409014"/>
                  </a:cubicBezTo>
                  <a:cubicBezTo>
                    <a:pt x="398136" y="422612"/>
                    <a:pt x="398136" y="444369"/>
                    <a:pt x="381817" y="444369"/>
                  </a:cubicBezTo>
                  <a:cubicBezTo>
                    <a:pt x="373658" y="444369"/>
                    <a:pt x="370939" y="441650"/>
                    <a:pt x="365500" y="438930"/>
                  </a:cubicBezTo>
                  <a:cubicBezTo>
                    <a:pt x="360060" y="436210"/>
                    <a:pt x="357341" y="428051"/>
                    <a:pt x="357341" y="422612"/>
                  </a:cubicBezTo>
                  <a:cubicBezTo>
                    <a:pt x="354621" y="414453"/>
                    <a:pt x="354621" y="409014"/>
                    <a:pt x="354621" y="400855"/>
                  </a:cubicBezTo>
                  <a:cubicBezTo>
                    <a:pt x="354621" y="395415"/>
                    <a:pt x="354621" y="389976"/>
                    <a:pt x="354621" y="381817"/>
                  </a:cubicBezTo>
                  <a:cubicBezTo>
                    <a:pt x="335583" y="381817"/>
                    <a:pt x="308387" y="384537"/>
                    <a:pt x="270312" y="381817"/>
                  </a:cubicBezTo>
                  <a:cubicBezTo>
                    <a:pt x="262153" y="381817"/>
                    <a:pt x="256713" y="387256"/>
                    <a:pt x="256713" y="395415"/>
                  </a:cubicBezTo>
                  <a:cubicBezTo>
                    <a:pt x="256713" y="403574"/>
                    <a:pt x="256713" y="414453"/>
                    <a:pt x="253994" y="422612"/>
                  </a:cubicBezTo>
                  <a:cubicBezTo>
                    <a:pt x="253994" y="425332"/>
                    <a:pt x="253994" y="430771"/>
                    <a:pt x="253994" y="433490"/>
                  </a:cubicBezTo>
                  <a:cubicBezTo>
                    <a:pt x="253994" y="438930"/>
                    <a:pt x="253994" y="444369"/>
                    <a:pt x="253994" y="449809"/>
                  </a:cubicBezTo>
                  <a:cubicBezTo>
                    <a:pt x="253994" y="457967"/>
                    <a:pt x="256713" y="466126"/>
                    <a:pt x="256713" y="474285"/>
                  </a:cubicBezTo>
                  <a:cubicBezTo>
                    <a:pt x="256713" y="482444"/>
                    <a:pt x="256713" y="490603"/>
                    <a:pt x="256713" y="496043"/>
                  </a:cubicBezTo>
                  <a:cubicBezTo>
                    <a:pt x="256713" y="509641"/>
                    <a:pt x="259433" y="520520"/>
                    <a:pt x="259433" y="534118"/>
                  </a:cubicBezTo>
                  <a:cubicBezTo>
                    <a:pt x="259433" y="553155"/>
                    <a:pt x="259433" y="572193"/>
                    <a:pt x="259433" y="591231"/>
                  </a:cubicBezTo>
                  <a:cubicBezTo>
                    <a:pt x="259433" y="602109"/>
                    <a:pt x="262153" y="610268"/>
                    <a:pt x="262153" y="618427"/>
                  </a:cubicBezTo>
                  <a:cubicBezTo>
                    <a:pt x="264872" y="626586"/>
                    <a:pt x="262153" y="642904"/>
                    <a:pt x="267592" y="648343"/>
                  </a:cubicBezTo>
                  <a:cubicBezTo>
                    <a:pt x="270312" y="651063"/>
                    <a:pt x="275751" y="651063"/>
                    <a:pt x="292069" y="651063"/>
                  </a:cubicBezTo>
                  <a:cubicBezTo>
                    <a:pt x="305667" y="651063"/>
                    <a:pt x="319265" y="651063"/>
                    <a:pt x="327424" y="651063"/>
                  </a:cubicBezTo>
                  <a:cubicBezTo>
                    <a:pt x="338303" y="651063"/>
                    <a:pt x="351901" y="653783"/>
                    <a:pt x="362780" y="653783"/>
                  </a:cubicBezTo>
                  <a:cubicBezTo>
                    <a:pt x="376378" y="653783"/>
                    <a:pt x="384537" y="651063"/>
                    <a:pt x="395416" y="648343"/>
                  </a:cubicBezTo>
                  <a:cubicBezTo>
                    <a:pt x="395416" y="637465"/>
                    <a:pt x="395416" y="629306"/>
                    <a:pt x="395416" y="618427"/>
                  </a:cubicBezTo>
                  <a:cubicBezTo>
                    <a:pt x="395416" y="610268"/>
                    <a:pt x="395416" y="602109"/>
                    <a:pt x="395416" y="596670"/>
                  </a:cubicBezTo>
                  <a:cubicBezTo>
                    <a:pt x="395416" y="591231"/>
                    <a:pt x="395416" y="585791"/>
                    <a:pt x="398136" y="574913"/>
                  </a:cubicBezTo>
                  <a:cubicBezTo>
                    <a:pt x="400855" y="569473"/>
                    <a:pt x="400855" y="564034"/>
                    <a:pt x="406295" y="558595"/>
                  </a:cubicBezTo>
                  <a:cubicBezTo>
                    <a:pt x="411734" y="553155"/>
                    <a:pt x="414453" y="553155"/>
                    <a:pt x="422612" y="553155"/>
                  </a:cubicBezTo>
                  <a:cubicBezTo>
                    <a:pt x="436211" y="553155"/>
                    <a:pt x="438930" y="577632"/>
                    <a:pt x="438930" y="588511"/>
                  </a:cubicBezTo>
                  <a:cubicBezTo>
                    <a:pt x="438930" y="612988"/>
                    <a:pt x="438930" y="623866"/>
                    <a:pt x="436211" y="645624"/>
                  </a:cubicBezTo>
                  <a:cubicBezTo>
                    <a:pt x="433491" y="648343"/>
                    <a:pt x="433491" y="648343"/>
                    <a:pt x="433491" y="651063"/>
                  </a:cubicBezTo>
                  <a:lnTo>
                    <a:pt x="433491" y="651063"/>
                  </a:ln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6" name="Freeform: Shape 45">
              <a:extLst>
                <a:ext uri="{FF2B5EF4-FFF2-40B4-BE49-F238E27FC236}">
                  <a16:creationId xmlns:a16="http://schemas.microsoft.com/office/drawing/2014/main" id="{4E622CD9-12E7-481D-9568-392632F69D07}"/>
                </a:ext>
              </a:extLst>
            </p:cNvPr>
            <p:cNvSpPr/>
            <p:nvPr/>
          </p:nvSpPr>
          <p:spPr>
            <a:xfrm>
              <a:off x="7912732" y="4250336"/>
              <a:ext cx="465062" cy="658157"/>
            </a:xfrm>
            <a:custGeom>
              <a:avLst/>
              <a:gdLst>
                <a:gd name="connsiteX0" fmla="*/ 193096 w 465062"/>
                <a:gd name="connsiteY0" fmla="*/ 59832 h 658157"/>
                <a:gd name="connsiteX1" fmla="*/ 193096 w 465062"/>
                <a:gd name="connsiteY1" fmla="*/ 114226 h 658157"/>
                <a:gd name="connsiteX2" fmla="*/ 198536 w 465062"/>
                <a:gd name="connsiteY2" fmla="*/ 209414 h 658157"/>
                <a:gd name="connsiteX3" fmla="*/ 201255 w 465062"/>
                <a:gd name="connsiteY3" fmla="*/ 282845 h 658157"/>
                <a:gd name="connsiteX4" fmla="*/ 203975 w 465062"/>
                <a:gd name="connsiteY4" fmla="*/ 315481 h 658157"/>
                <a:gd name="connsiteX5" fmla="*/ 203975 w 465062"/>
                <a:gd name="connsiteY5" fmla="*/ 320920 h 658157"/>
                <a:gd name="connsiteX6" fmla="*/ 212134 w 465062"/>
                <a:gd name="connsiteY6" fmla="*/ 329079 h 658157"/>
                <a:gd name="connsiteX7" fmla="*/ 223013 w 465062"/>
                <a:gd name="connsiteY7" fmla="*/ 329079 h 658157"/>
                <a:gd name="connsiteX8" fmla="*/ 239331 w 465062"/>
                <a:gd name="connsiteY8" fmla="*/ 329079 h 658157"/>
                <a:gd name="connsiteX9" fmla="*/ 280126 w 465062"/>
                <a:gd name="connsiteY9" fmla="*/ 312761 h 658157"/>
                <a:gd name="connsiteX10" fmla="*/ 296443 w 465062"/>
                <a:gd name="connsiteY10" fmla="*/ 288284 h 658157"/>
                <a:gd name="connsiteX11" fmla="*/ 304602 w 465062"/>
                <a:gd name="connsiteY11" fmla="*/ 258368 h 658157"/>
                <a:gd name="connsiteX12" fmla="*/ 312761 w 465062"/>
                <a:gd name="connsiteY12" fmla="*/ 225732 h 658157"/>
                <a:gd name="connsiteX13" fmla="*/ 315481 w 465062"/>
                <a:gd name="connsiteY13" fmla="*/ 195816 h 658157"/>
                <a:gd name="connsiteX14" fmla="*/ 318201 w 465062"/>
                <a:gd name="connsiteY14" fmla="*/ 168619 h 658157"/>
                <a:gd name="connsiteX15" fmla="*/ 312761 w 465062"/>
                <a:gd name="connsiteY15" fmla="*/ 135983 h 658157"/>
                <a:gd name="connsiteX16" fmla="*/ 312761 w 465062"/>
                <a:gd name="connsiteY16" fmla="*/ 122385 h 658157"/>
                <a:gd name="connsiteX17" fmla="*/ 293724 w 465062"/>
                <a:gd name="connsiteY17" fmla="*/ 84309 h 658157"/>
                <a:gd name="connsiteX18" fmla="*/ 280126 w 465062"/>
                <a:gd name="connsiteY18" fmla="*/ 73430 h 658157"/>
                <a:gd name="connsiteX19" fmla="*/ 258368 w 465062"/>
                <a:gd name="connsiteY19" fmla="*/ 62552 h 658157"/>
                <a:gd name="connsiteX20" fmla="*/ 217573 w 465062"/>
                <a:gd name="connsiteY20" fmla="*/ 59832 h 658157"/>
                <a:gd name="connsiteX21" fmla="*/ 111506 w 465062"/>
                <a:gd name="connsiteY21" fmla="*/ 0 h 658157"/>
                <a:gd name="connsiteX22" fmla="*/ 127824 w 465062"/>
                <a:gd name="connsiteY22" fmla="*/ 0 h 658157"/>
                <a:gd name="connsiteX23" fmla="*/ 157741 w 465062"/>
                <a:gd name="connsiteY23" fmla="*/ 5440 h 658157"/>
                <a:gd name="connsiteX24" fmla="*/ 179497 w 465062"/>
                <a:gd name="connsiteY24" fmla="*/ 16318 h 658157"/>
                <a:gd name="connsiteX25" fmla="*/ 209414 w 465062"/>
                <a:gd name="connsiteY25" fmla="*/ 16318 h 658157"/>
                <a:gd name="connsiteX26" fmla="*/ 247489 w 465062"/>
                <a:gd name="connsiteY26" fmla="*/ 16318 h 658157"/>
                <a:gd name="connsiteX27" fmla="*/ 266527 w 465062"/>
                <a:gd name="connsiteY27" fmla="*/ 16318 h 658157"/>
                <a:gd name="connsiteX28" fmla="*/ 312761 w 465062"/>
                <a:gd name="connsiteY28" fmla="*/ 27197 h 658157"/>
                <a:gd name="connsiteX29" fmla="*/ 337238 w 465062"/>
                <a:gd name="connsiteY29" fmla="*/ 38075 h 658157"/>
                <a:gd name="connsiteX30" fmla="*/ 364434 w 465062"/>
                <a:gd name="connsiteY30" fmla="*/ 54393 h 658157"/>
                <a:gd name="connsiteX31" fmla="*/ 386192 w 465062"/>
                <a:gd name="connsiteY31" fmla="*/ 73431 h 658157"/>
                <a:gd name="connsiteX32" fmla="*/ 407949 w 465062"/>
                <a:gd name="connsiteY32" fmla="*/ 103347 h 658157"/>
                <a:gd name="connsiteX33" fmla="*/ 416108 w 465062"/>
                <a:gd name="connsiteY33" fmla="*/ 141422 h 658157"/>
                <a:gd name="connsiteX34" fmla="*/ 418828 w 465062"/>
                <a:gd name="connsiteY34" fmla="*/ 163179 h 658157"/>
                <a:gd name="connsiteX35" fmla="*/ 418828 w 465062"/>
                <a:gd name="connsiteY35" fmla="*/ 171339 h 658157"/>
                <a:gd name="connsiteX36" fmla="*/ 421547 w 465062"/>
                <a:gd name="connsiteY36" fmla="*/ 187656 h 658157"/>
                <a:gd name="connsiteX37" fmla="*/ 418828 w 465062"/>
                <a:gd name="connsiteY37" fmla="*/ 206694 h 658157"/>
                <a:gd name="connsiteX38" fmla="*/ 416108 w 465062"/>
                <a:gd name="connsiteY38" fmla="*/ 233891 h 658157"/>
                <a:gd name="connsiteX39" fmla="*/ 405229 w 465062"/>
                <a:gd name="connsiteY39" fmla="*/ 263807 h 658157"/>
                <a:gd name="connsiteX40" fmla="*/ 394351 w 465062"/>
                <a:gd name="connsiteY40" fmla="*/ 274686 h 658157"/>
                <a:gd name="connsiteX41" fmla="*/ 388912 w 465062"/>
                <a:gd name="connsiteY41" fmla="*/ 285564 h 658157"/>
                <a:gd name="connsiteX42" fmla="*/ 369874 w 465062"/>
                <a:gd name="connsiteY42" fmla="*/ 304602 h 658157"/>
                <a:gd name="connsiteX43" fmla="*/ 358995 w 465062"/>
                <a:gd name="connsiteY43" fmla="*/ 310041 h 658157"/>
                <a:gd name="connsiteX44" fmla="*/ 348117 w 465062"/>
                <a:gd name="connsiteY44" fmla="*/ 320920 h 658157"/>
                <a:gd name="connsiteX45" fmla="*/ 326359 w 465062"/>
                <a:gd name="connsiteY45" fmla="*/ 339957 h 658157"/>
                <a:gd name="connsiteX46" fmla="*/ 312761 w 465062"/>
                <a:gd name="connsiteY46" fmla="*/ 353555 h 658157"/>
                <a:gd name="connsiteX47" fmla="*/ 337238 w 465062"/>
                <a:gd name="connsiteY47" fmla="*/ 380752 h 658157"/>
                <a:gd name="connsiteX48" fmla="*/ 358995 w 465062"/>
                <a:gd name="connsiteY48" fmla="*/ 421547 h 658157"/>
                <a:gd name="connsiteX49" fmla="*/ 372593 w 465062"/>
                <a:gd name="connsiteY49" fmla="*/ 459622 h 658157"/>
                <a:gd name="connsiteX50" fmla="*/ 386192 w 465062"/>
                <a:gd name="connsiteY50" fmla="*/ 514015 h 658157"/>
                <a:gd name="connsiteX51" fmla="*/ 407949 w 465062"/>
                <a:gd name="connsiteY51" fmla="*/ 568408 h 658157"/>
                <a:gd name="connsiteX52" fmla="*/ 421547 w 465062"/>
                <a:gd name="connsiteY52" fmla="*/ 598324 h 658157"/>
                <a:gd name="connsiteX53" fmla="*/ 451463 w 465062"/>
                <a:gd name="connsiteY53" fmla="*/ 628241 h 658157"/>
                <a:gd name="connsiteX54" fmla="*/ 465062 w 465062"/>
                <a:gd name="connsiteY54" fmla="*/ 644559 h 658157"/>
                <a:gd name="connsiteX55" fmla="*/ 462342 w 465062"/>
                <a:gd name="connsiteY55" fmla="*/ 649998 h 658157"/>
                <a:gd name="connsiteX56" fmla="*/ 437865 w 465062"/>
                <a:gd name="connsiteY56" fmla="*/ 658157 h 658157"/>
                <a:gd name="connsiteX57" fmla="*/ 361715 w 465062"/>
                <a:gd name="connsiteY57" fmla="*/ 622801 h 658157"/>
                <a:gd name="connsiteX58" fmla="*/ 320920 w 465062"/>
                <a:gd name="connsiteY58" fmla="*/ 565689 h 658157"/>
                <a:gd name="connsiteX59" fmla="*/ 304602 w 465062"/>
                <a:gd name="connsiteY59" fmla="*/ 530333 h 658157"/>
                <a:gd name="connsiteX60" fmla="*/ 293723 w 465062"/>
                <a:gd name="connsiteY60" fmla="*/ 497697 h 658157"/>
                <a:gd name="connsiteX61" fmla="*/ 282845 w 465062"/>
                <a:gd name="connsiteY61" fmla="*/ 462342 h 658157"/>
                <a:gd name="connsiteX62" fmla="*/ 269246 w 465062"/>
                <a:gd name="connsiteY62" fmla="*/ 424267 h 658157"/>
                <a:gd name="connsiteX63" fmla="*/ 255648 w 465062"/>
                <a:gd name="connsiteY63" fmla="*/ 391631 h 658157"/>
                <a:gd name="connsiteX64" fmla="*/ 236610 w 465062"/>
                <a:gd name="connsiteY64" fmla="*/ 367154 h 658157"/>
                <a:gd name="connsiteX65" fmla="*/ 217573 w 465062"/>
                <a:gd name="connsiteY65" fmla="*/ 361714 h 658157"/>
                <a:gd name="connsiteX66" fmla="*/ 201255 w 465062"/>
                <a:gd name="connsiteY66" fmla="*/ 361714 h 658157"/>
                <a:gd name="connsiteX67" fmla="*/ 198535 w 465062"/>
                <a:gd name="connsiteY67" fmla="*/ 367154 h 658157"/>
                <a:gd name="connsiteX68" fmla="*/ 201255 w 465062"/>
                <a:gd name="connsiteY68" fmla="*/ 388911 h 658157"/>
                <a:gd name="connsiteX69" fmla="*/ 198535 w 465062"/>
                <a:gd name="connsiteY69" fmla="*/ 426986 h 658157"/>
                <a:gd name="connsiteX70" fmla="*/ 203975 w 465062"/>
                <a:gd name="connsiteY70" fmla="*/ 478660 h 658157"/>
                <a:gd name="connsiteX71" fmla="*/ 198535 w 465062"/>
                <a:gd name="connsiteY71" fmla="*/ 552090 h 658157"/>
                <a:gd name="connsiteX72" fmla="*/ 195816 w 465062"/>
                <a:gd name="connsiteY72" fmla="*/ 576567 h 658157"/>
                <a:gd name="connsiteX73" fmla="*/ 198535 w 465062"/>
                <a:gd name="connsiteY73" fmla="*/ 592885 h 658157"/>
                <a:gd name="connsiteX74" fmla="*/ 233891 w 465062"/>
                <a:gd name="connsiteY74" fmla="*/ 592885 h 658157"/>
                <a:gd name="connsiteX75" fmla="*/ 271966 w 465062"/>
                <a:gd name="connsiteY75" fmla="*/ 611923 h 658157"/>
                <a:gd name="connsiteX76" fmla="*/ 266527 w 465062"/>
                <a:gd name="connsiteY76" fmla="*/ 628241 h 658157"/>
                <a:gd name="connsiteX77" fmla="*/ 250209 w 465062"/>
                <a:gd name="connsiteY77" fmla="*/ 636400 h 658157"/>
                <a:gd name="connsiteX78" fmla="*/ 228451 w 465062"/>
                <a:gd name="connsiteY78" fmla="*/ 639119 h 658157"/>
                <a:gd name="connsiteX79" fmla="*/ 187657 w 465062"/>
                <a:gd name="connsiteY79" fmla="*/ 639119 h 658157"/>
                <a:gd name="connsiteX80" fmla="*/ 152301 w 465062"/>
                <a:gd name="connsiteY80" fmla="*/ 652717 h 658157"/>
                <a:gd name="connsiteX81" fmla="*/ 133263 w 465062"/>
                <a:gd name="connsiteY81" fmla="*/ 655437 h 658157"/>
                <a:gd name="connsiteX82" fmla="*/ 122385 w 465062"/>
                <a:gd name="connsiteY82" fmla="*/ 652717 h 658157"/>
                <a:gd name="connsiteX83" fmla="*/ 97908 w 465062"/>
                <a:gd name="connsiteY83" fmla="*/ 639119 h 658157"/>
                <a:gd name="connsiteX84" fmla="*/ 70711 w 465062"/>
                <a:gd name="connsiteY84" fmla="*/ 639119 h 658157"/>
                <a:gd name="connsiteX85" fmla="*/ 46234 w 465062"/>
                <a:gd name="connsiteY85" fmla="*/ 639119 h 658157"/>
                <a:gd name="connsiteX86" fmla="*/ 19038 w 465062"/>
                <a:gd name="connsiteY86" fmla="*/ 630960 h 658157"/>
                <a:gd name="connsiteX87" fmla="*/ 2720 w 465062"/>
                <a:gd name="connsiteY87" fmla="*/ 614642 h 658157"/>
                <a:gd name="connsiteX88" fmla="*/ 8159 w 465062"/>
                <a:gd name="connsiteY88" fmla="*/ 606483 h 658157"/>
                <a:gd name="connsiteX89" fmla="*/ 29916 w 465062"/>
                <a:gd name="connsiteY89" fmla="*/ 598324 h 658157"/>
                <a:gd name="connsiteX90" fmla="*/ 76151 w 465062"/>
                <a:gd name="connsiteY90" fmla="*/ 592885 h 658157"/>
                <a:gd name="connsiteX91" fmla="*/ 73431 w 465062"/>
                <a:gd name="connsiteY91" fmla="*/ 573848 h 658157"/>
                <a:gd name="connsiteX92" fmla="*/ 70711 w 465062"/>
                <a:gd name="connsiteY92" fmla="*/ 500417 h 658157"/>
                <a:gd name="connsiteX93" fmla="*/ 73431 w 465062"/>
                <a:gd name="connsiteY93" fmla="*/ 437865 h 658157"/>
                <a:gd name="connsiteX94" fmla="*/ 70711 w 465062"/>
                <a:gd name="connsiteY94" fmla="*/ 369873 h 658157"/>
                <a:gd name="connsiteX95" fmla="*/ 70711 w 465062"/>
                <a:gd name="connsiteY95" fmla="*/ 293723 h 658157"/>
                <a:gd name="connsiteX96" fmla="*/ 73431 w 465062"/>
                <a:gd name="connsiteY96" fmla="*/ 212133 h 658157"/>
                <a:gd name="connsiteX97" fmla="*/ 76151 w 465062"/>
                <a:gd name="connsiteY97" fmla="*/ 155021 h 658157"/>
                <a:gd name="connsiteX98" fmla="*/ 76151 w 465062"/>
                <a:gd name="connsiteY98" fmla="*/ 119665 h 658157"/>
                <a:gd name="connsiteX99" fmla="*/ 78870 w 465062"/>
                <a:gd name="connsiteY99" fmla="*/ 84310 h 658157"/>
                <a:gd name="connsiteX100" fmla="*/ 76151 w 465062"/>
                <a:gd name="connsiteY100" fmla="*/ 62552 h 658157"/>
                <a:gd name="connsiteX101" fmla="*/ 67992 w 465062"/>
                <a:gd name="connsiteY101" fmla="*/ 62552 h 658157"/>
                <a:gd name="connsiteX102" fmla="*/ 43515 w 465062"/>
                <a:gd name="connsiteY102" fmla="*/ 62552 h 658157"/>
                <a:gd name="connsiteX103" fmla="*/ 16318 w 465062"/>
                <a:gd name="connsiteY103" fmla="*/ 57113 h 658157"/>
                <a:gd name="connsiteX104" fmla="*/ 0 w 465062"/>
                <a:gd name="connsiteY104" fmla="*/ 40795 h 658157"/>
                <a:gd name="connsiteX105" fmla="*/ 5439 w 465062"/>
                <a:gd name="connsiteY105" fmla="*/ 32636 h 658157"/>
                <a:gd name="connsiteX106" fmla="*/ 27197 w 465062"/>
                <a:gd name="connsiteY106" fmla="*/ 24477 h 658157"/>
                <a:gd name="connsiteX107" fmla="*/ 76151 w 465062"/>
                <a:gd name="connsiteY107" fmla="*/ 19038 h 658157"/>
                <a:gd name="connsiteX108" fmla="*/ 78870 w 465062"/>
                <a:gd name="connsiteY108" fmla="*/ 13598 h 658157"/>
                <a:gd name="connsiteX109" fmla="*/ 95188 w 465062"/>
                <a:gd name="connsiteY109" fmla="*/ 5440 h 658157"/>
                <a:gd name="connsiteX110" fmla="*/ 111506 w 465062"/>
                <a:gd name="connsiteY110" fmla="*/ 0 h 6581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</a:cxnLst>
              <a:rect l="l" t="t" r="r" b="b"/>
              <a:pathLst>
                <a:path w="465062" h="658157">
                  <a:moveTo>
                    <a:pt x="193096" y="59832"/>
                  </a:moveTo>
                  <a:cubicBezTo>
                    <a:pt x="193096" y="73430"/>
                    <a:pt x="193096" y="89748"/>
                    <a:pt x="193096" y="114226"/>
                  </a:cubicBezTo>
                  <a:cubicBezTo>
                    <a:pt x="193096" y="144142"/>
                    <a:pt x="195816" y="176778"/>
                    <a:pt x="198536" y="209414"/>
                  </a:cubicBezTo>
                  <a:cubicBezTo>
                    <a:pt x="198536" y="247489"/>
                    <a:pt x="201255" y="277406"/>
                    <a:pt x="201255" y="282845"/>
                  </a:cubicBezTo>
                  <a:cubicBezTo>
                    <a:pt x="201255" y="293723"/>
                    <a:pt x="203975" y="304602"/>
                    <a:pt x="203975" y="315481"/>
                  </a:cubicBezTo>
                  <a:cubicBezTo>
                    <a:pt x="203975" y="318200"/>
                    <a:pt x="203975" y="318200"/>
                    <a:pt x="203975" y="320920"/>
                  </a:cubicBezTo>
                  <a:cubicBezTo>
                    <a:pt x="203975" y="326359"/>
                    <a:pt x="206695" y="329079"/>
                    <a:pt x="212134" y="329079"/>
                  </a:cubicBezTo>
                  <a:cubicBezTo>
                    <a:pt x="214854" y="329079"/>
                    <a:pt x="220293" y="329079"/>
                    <a:pt x="223013" y="329079"/>
                  </a:cubicBezTo>
                  <a:cubicBezTo>
                    <a:pt x="228452" y="329079"/>
                    <a:pt x="233891" y="329079"/>
                    <a:pt x="239331" y="329079"/>
                  </a:cubicBezTo>
                  <a:cubicBezTo>
                    <a:pt x="252929" y="329079"/>
                    <a:pt x="271967" y="323640"/>
                    <a:pt x="280126" y="312761"/>
                  </a:cubicBezTo>
                  <a:cubicBezTo>
                    <a:pt x="288284" y="304602"/>
                    <a:pt x="291004" y="299163"/>
                    <a:pt x="296443" y="288284"/>
                  </a:cubicBezTo>
                  <a:cubicBezTo>
                    <a:pt x="299163" y="277406"/>
                    <a:pt x="301883" y="269247"/>
                    <a:pt x="304602" y="258368"/>
                  </a:cubicBezTo>
                  <a:cubicBezTo>
                    <a:pt x="307322" y="244770"/>
                    <a:pt x="310042" y="239330"/>
                    <a:pt x="312761" y="225732"/>
                  </a:cubicBezTo>
                  <a:cubicBezTo>
                    <a:pt x="315481" y="212134"/>
                    <a:pt x="315481" y="209414"/>
                    <a:pt x="315481" y="195816"/>
                  </a:cubicBezTo>
                  <a:cubicBezTo>
                    <a:pt x="315481" y="179498"/>
                    <a:pt x="315481" y="184937"/>
                    <a:pt x="318201" y="168619"/>
                  </a:cubicBezTo>
                  <a:cubicBezTo>
                    <a:pt x="312761" y="152302"/>
                    <a:pt x="312761" y="149582"/>
                    <a:pt x="312761" y="135983"/>
                  </a:cubicBezTo>
                  <a:cubicBezTo>
                    <a:pt x="312761" y="133264"/>
                    <a:pt x="312761" y="127825"/>
                    <a:pt x="312761" y="122385"/>
                  </a:cubicBezTo>
                  <a:cubicBezTo>
                    <a:pt x="312761" y="111507"/>
                    <a:pt x="301883" y="95188"/>
                    <a:pt x="293724" y="84309"/>
                  </a:cubicBezTo>
                  <a:cubicBezTo>
                    <a:pt x="288284" y="78870"/>
                    <a:pt x="285565" y="76150"/>
                    <a:pt x="280126" y="73430"/>
                  </a:cubicBezTo>
                  <a:cubicBezTo>
                    <a:pt x="271967" y="67991"/>
                    <a:pt x="266527" y="65271"/>
                    <a:pt x="258368" y="62552"/>
                  </a:cubicBezTo>
                  <a:cubicBezTo>
                    <a:pt x="244770" y="59832"/>
                    <a:pt x="228452" y="59832"/>
                    <a:pt x="217573" y="59832"/>
                  </a:cubicBezTo>
                  <a:close/>
                  <a:moveTo>
                    <a:pt x="111506" y="0"/>
                  </a:moveTo>
                  <a:cubicBezTo>
                    <a:pt x="114226" y="0"/>
                    <a:pt x="122385" y="0"/>
                    <a:pt x="127824" y="0"/>
                  </a:cubicBezTo>
                  <a:cubicBezTo>
                    <a:pt x="135983" y="0"/>
                    <a:pt x="146862" y="2720"/>
                    <a:pt x="157741" y="5440"/>
                  </a:cubicBezTo>
                  <a:cubicBezTo>
                    <a:pt x="168619" y="8159"/>
                    <a:pt x="176778" y="10879"/>
                    <a:pt x="179497" y="16318"/>
                  </a:cubicBezTo>
                  <a:cubicBezTo>
                    <a:pt x="193096" y="16318"/>
                    <a:pt x="201255" y="16318"/>
                    <a:pt x="209414" y="16318"/>
                  </a:cubicBezTo>
                  <a:cubicBezTo>
                    <a:pt x="220292" y="16318"/>
                    <a:pt x="231171" y="16318"/>
                    <a:pt x="247489" y="16318"/>
                  </a:cubicBezTo>
                  <a:cubicBezTo>
                    <a:pt x="250209" y="16318"/>
                    <a:pt x="258368" y="16318"/>
                    <a:pt x="266527" y="16318"/>
                  </a:cubicBezTo>
                  <a:cubicBezTo>
                    <a:pt x="277405" y="16318"/>
                    <a:pt x="291004" y="21758"/>
                    <a:pt x="312761" y="27197"/>
                  </a:cubicBezTo>
                  <a:cubicBezTo>
                    <a:pt x="320920" y="29917"/>
                    <a:pt x="329079" y="35356"/>
                    <a:pt x="337238" y="38075"/>
                  </a:cubicBezTo>
                  <a:cubicBezTo>
                    <a:pt x="342677" y="40795"/>
                    <a:pt x="353556" y="48954"/>
                    <a:pt x="364434" y="54393"/>
                  </a:cubicBezTo>
                  <a:cubicBezTo>
                    <a:pt x="375313" y="62552"/>
                    <a:pt x="386192" y="67992"/>
                    <a:pt x="386192" y="73431"/>
                  </a:cubicBezTo>
                  <a:cubicBezTo>
                    <a:pt x="391631" y="84310"/>
                    <a:pt x="402510" y="92469"/>
                    <a:pt x="407949" y="103347"/>
                  </a:cubicBezTo>
                  <a:cubicBezTo>
                    <a:pt x="413388" y="116945"/>
                    <a:pt x="416108" y="130544"/>
                    <a:pt x="416108" y="141422"/>
                  </a:cubicBezTo>
                  <a:cubicBezTo>
                    <a:pt x="416108" y="152301"/>
                    <a:pt x="418828" y="157740"/>
                    <a:pt x="418828" y="163179"/>
                  </a:cubicBezTo>
                  <a:cubicBezTo>
                    <a:pt x="418828" y="165899"/>
                    <a:pt x="418828" y="168619"/>
                    <a:pt x="418828" y="171339"/>
                  </a:cubicBezTo>
                  <a:cubicBezTo>
                    <a:pt x="418828" y="174058"/>
                    <a:pt x="421547" y="182217"/>
                    <a:pt x="421547" y="187656"/>
                  </a:cubicBezTo>
                  <a:cubicBezTo>
                    <a:pt x="421547" y="193096"/>
                    <a:pt x="418828" y="201255"/>
                    <a:pt x="418828" y="206694"/>
                  </a:cubicBezTo>
                  <a:cubicBezTo>
                    <a:pt x="418828" y="217573"/>
                    <a:pt x="418828" y="223012"/>
                    <a:pt x="416108" y="233891"/>
                  </a:cubicBezTo>
                  <a:cubicBezTo>
                    <a:pt x="413388" y="244769"/>
                    <a:pt x="410668" y="255648"/>
                    <a:pt x="405229" y="263807"/>
                  </a:cubicBezTo>
                  <a:cubicBezTo>
                    <a:pt x="402510" y="269246"/>
                    <a:pt x="397070" y="269246"/>
                    <a:pt x="394351" y="274686"/>
                  </a:cubicBezTo>
                  <a:cubicBezTo>
                    <a:pt x="391631" y="277405"/>
                    <a:pt x="391631" y="282844"/>
                    <a:pt x="388912" y="285564"/>
                  </a:cubicBezTo>
                  <a:cubicBezTo>
                    <a:pt x="383472" y="291003"/>
                    <a:pt x="375313" y="301882"/>
                    <a:pt x="369874" y="304602"/>
                  </a:cubicBezTo>
                  <a:cubicBezTo>
                    <a:pt x="367154" y="307321"/>
                    <a:pt x="361715" y="307321"/>
                    <a:pt x="358995" y="310041"/>
                  </a:cubicBezTo>
                  <a:cubicBezTo>
                    <a:pt x="356275" y="312761"/>
                    <a:pt x="350836" y="318200"/>
                    <a:pt x="348117" y="320920"/>
                  </a:cubicBezTo>
                  <a:cubicBezTo>
                    <a:pt x="339958" y="326359"/>
                    <a:pt x="334518" y="334518"/>
                    <a:pt x="326359" y="339957"/>
                  </a:cubicBezTo>
                  <a:cubicBezTo>
                    <a:pt x="320920" y="342677"/>
                    <a:pt x="312761" y="342677"/>
                    <a:pt x="312761" y="353555"/>
                  </a:cubicBezTo>
                  <a:cubicBezTo>
                    <a:pt x="312761" y="361714"/>
                    <a:pt x="334518" y="372593"/>
                    <a:pt x="337238" y="380752"/>
                  </a:cubicBezTo>
                  <a:cubicBezTo>
                    <a:pt x="345397" y="394350"/>
                    <a:pt x="353556" y="407948"/>
                    <a:pt x="358995" y="421547"/>
                  </a:cubicBezTo>
                  <a:cubicBezTo>
                    <a:pt x="364434" y="435145"/>
                    <a:pt x="367154" y="446024"/>
                    <a:pt x="372593" y="459622"/>
                  </a:cubicBezTo>
                  <a:cubicBezTo>
                    <a:pt x="378033" y="478660"/>
                    <a:pt x="383472" y="494978"/>
                    <a:pt x="386192" y="514015"/>
                  </a:cubicBezTo>
                  <a:cubicBezTo>
                    <a:pt x="391631" y="533053"/>
                    <a:pt x="402510" y="549371"/>
                    <a:pt x="407949" y="568408"/>
                  </a:cubicBezTo>
                  <a:cubicBezTo>
                    <a:pt x="410668" y="579287"/>
                    <a:pt x="416108" y="590165"/>
                    <a:pt x="421547" y="598324"/>
                  </a:cubicBezTo>
                  <a:cubicBezTo>
                    <a:pt x="435146" y="614642"/>
                    <a:pt x="443305" y="622801"/>
                    <a:pt x="451463" y="628241"/>
                  </a:cubicBezTo>
                  <a:cubicBezTo>
                    <a:pt x="456903" y="630960"/>
                    <a:pt x="465062" y="636400"/>
                    <a:pt x="465062" y="644559"/>
                  </a:cubicBezTo>
                  <a:cubicBezTo>
                    <a:pt x="465062" y="647278"/>
                    <a:pt x="465062" y="647278"/>
                    <a:pt x="462342" y="649998"/>
                  </a:cubicBezTo>
                  <a:cubicBezTo>
                    <a:pt x="456903" y="655437"/>
                    <a:pt x="446024" y="658157"/>
                    <a:pt x="437865" y="658157"/>
                  </a:cubicBezTo>
                  <a:cubicBezTo>
                    <a:pt x="413388" y="658157"/>
                    <a:pt x="378033" y="641839"/>
                    <a:pt x="361715" y="622801"/>
                  </a:cubicBezTo>
                  <a:cubicBezTo>
                    <a:pt x="345397" y="606483"/>
                    <a:pt x="334518" y="584726"/>
                    <a:pt x="320920" y="565689"/>
                  </a:cubicBezTo>
                  <a:cubicBezTo>
                    <a:pt x="315480" y="554810"/>
                    <a:pt x="310041" y="543931"/>
                    <a:pt x="304602" y="530333"/>
                  </a:cubicBezTo>
                  <a:cubicBezTo>
                    <a:pt x="299163" y="519454"/>
                    <a:pt x="296443" y="508576"/>
                    <a:pt x="293723" y="497697"/>
                  </a:cubicBezTo>
                  <a:cubicBezTo>
                    <a:pt x="291004" y="486819"/>
                    <a:pt x="288284" y="473220"/>
                    <a:pt x="282845" y="462342"/>
                  </a:cubicBezTo>
                  <a:cubicBezTo>
                    <a:pt x="280125" y="448743"/>
                    <a:pt x="274686" y="437865"/>
                    <a:pt x="269246" y="424267"/>
                  </a:cubicBezTo>
                  <a:cubicBezTo>
                    <a:pt x="266527" y="416108"/>
                    <a:pt x="261087" y="402509"/>
                    <a:pt x="255648" y="391631"/>
                  </a:cubicBezTo>
                  <a:cubicBezTo>
                    <a:pt x="250209" y="380752"/>
                    <a:pt x="244770" y="375313"/>
                    <a:pt x="236610" y="367154"/>
                  </a:cubicBezTo>
                  <a:cubicBezTo>
                    <a:pt x="231171" y="361714"/>
                    <a:pt x="223012" y="361714"/>
                    <a:pt x="217573" y="361714"/>
                  </a:cubicBezTo>
                  <a:cubicBezTo>
                    <a:pt x="212134" y="361714"/>
                    <a:pt x="206694" y="361714"/>
                    <a:pt x="201255" y="361714"/>
                  </a:cubicBezTo>
                  <a:cubicBezTo>
                    <a:pt x="198535" y="361714"/>
                    <a:pt x="198535" y="364434"/>
                    <a:pt x="198535" y="367154"/>
                  </a:cubicBezTo>
                  <a:cubicBezTo>
                    <a:pt x="198535" y="375313"/>
                    <a:pt x="201255" y="386191"/>
                    <a:pt x="201255" y="388911"/>
                  </a:cubicBezTo>
                  <a:cubicBezTo>
                    <a:pt x="201255" y="402509"/>
                    <a:pt x="198535" y="413388"/>
                    <a:pt x="198535" y="426986"/>
                  </a:cubicBezTo>
                  <a:cubicBezTo>
                    <a:pt x="198535" y="446024"/>
                    <a:pt x="203975" y="456902"/>
                    <a:pt x="203975" y="478660"/>
                  </a:cubicBezTo>
                  <a:cubicBezTo>
                    <a:pt x="203975" y="503136"/>
                    <a:pt x="201255" y="527613"/>
                    <a:pt x="198535" y="552090"/>
                  </a:cubicBezTo>
                  <a:cubicBezTo>
                    <a:pt x="198535" y="560249"/>
                    <a:pt x="195816" y="568408"/>
                    <a:pt x="195816" y="576567"/>
                  </a:cubicBezTo>
                  <a:cubicBezTo>
                    <a:pt x="195816" y="582006"/>
                    <a:pt x="195816" y="587446"/>
                    <a:pt x="198535" y="592885"/>
                  </a:cubicBezTo>
                  <a:cubicBezTo>
                    <a:pt x="212134" y="592885"/>
                    <a:pt x="225732" y="592885"/>
                    <a:pt x="233891" y="592885"/>
                  </a:cubicBezTo>
                  <a:cubicBezTo>
                    <a:pt x="247489" y="592885"/>
                    <a:pt x="271966" y="592885"/>
                    <a:pt x="271966" y="611923"/>
                  </a:cubicBezTo>
                  <a:cubicBezTo>
                    <a:pt x="271966" y="620082"/>
                    <a:pt x="269246" y="622801"/>
                    <a:pt x="266527" y="628241"/>
                  </a:cubicBezTo>
                  <a:cubicBezTo>
                    <a:pt x="261087" y="633680"/>
                    <a:pt x="255648" y="636400"/>
                    <a:pt x="250209" y="636400"/>
                  </a:cubicBezTo>
                  <a:cubicBezTo>
                    <a:pt x="239330" y="639119"/>
                    <a:pt x="233891" y="639119"/>
                    <a:pt x="228451" y="639119"/>
                  </a:cubicBezTo>
                  <a:cubicBezTo>
                    <a:pt x="223012" y="639119"/>
                    <a:pt x="206694" y="639119"/>
                    <a:pt x="187657" y="639119"/>
                  </a:cubicBezTo>
                  <a:cubicBezTo>
                    <a:pt x="176778" y="647278"/>
                    <a:pt x="163180" y="649998"/>
                    <a:pt x="152301" y="652717"/>
                  </a:cubicBezTo>
                  <a:cubicBezTo>
                    <a:pt x="146862" y="652717"/>
                    <a:pt x="138703" y="655437"/>
                    <a:pt x="133263" y="655437"/>
                  </a:cubicBezTo>
                  <a:cubicBezTo>
                    <a:pt x="130544" y="655437"/>
                    <a:pt x="125104" y="655437"/>
                    <a:pt x="122385" y="652717"/>
                  </a:cubicBezTo>
                  <a:cubicBezTo>
                    <a:pt x="114226" y="649998"/>
                    <a:pt x="103347" y="644559"/>
                    <a:pt x="97908" y="639119"/>
                  </a:cubicBezTo>
                  <a:cubicBezTo>
                    <a:pt x="87029" y="639119"/>
                    <a:pt x="78870" y="639119"/>
                    <a:pt x="70711" y="639119"/>
                  </a:cubicBezTo>
                  <a:cubicBezTo>
                    <a:pt x="62552" y="639119"/>
                    <a:pt x="54393" y="639119"/>
                    <a:pt x="46234" y="639119"/>
                  </a:cubicBezTo>
                  <a:cubicBezTo>
                    <a:pt x="38075" y="639119"/>
                    <a:pt x="27197" y="633680"/>
                    <a:pt x="19038" y="630960"/>
                  </a:cubicBezTo>
                  <a:cubicBezTo>
                    <a:pt x="10879" y="628241"/>
                    <a:pt x="2720" y="620082"/>
                    <a:pt x="2720" y="614642"/>
                  </a:cubicBezTo>
                  <a:cubicBezTo>
                    <a:pt x="2720" y="611923"/>
                    <a:pt x="2720" y="609203"/>
                    <a:pt x="8159" y="606483"/>
                  </a:cubicBezTo>
                  <a:cubicBezTo>
                    <a:pt x="13599" y="603764"/>
                    <a:pt x="24477" y="601044"/>
                    <a:pt x="29916" y="598324"/>
                  </a:cubicBezTo>
                  <a:cubicBezTo>
                    <a:pt x="43515" y="595605"/>
                    <a:pt x="62552" y="595605"/>
                    <a:pt x="76151" y="592885"/>
                  </a:cubicBezTo>
                  <a:cubicBezTo>
                    <a:pt x="76151" y="587446"/>
                    <a:pt x="73431" y="582006"/>
                    <a:pt x="73431" y="573848"/>
                  </a:cubicBezTo>
                  <a:cubicBezTo>
                    <a:pt x="73431" y="565689"/>
                    <a:pt x="70711" y="516735"/>
                    <a:pt x="70711" y="500417"/>
                  </a:cubicBezTo>
                  <a:cubicBezTo>
                    <a:pt x="70711" y="481379"/>
                    <a:pt x="73431" y="456902"/>
                    <a:pt x="73431" y="437865"/>
                  </a:cubicBezTo>
                  <a:cubicBezTo>
                    <a:pt x="73431" y="416108"/>
                    <a:pt x="70711" y="391631"/>
                    <a:pt x="70711" y="369873"/>
                  </a:cubicBezTo>
                  <a:cubicBezTo>
                    <a:pt x="70711" y="345397"/>
                    <a:pt x="70711" y="318200"/>
                    <a:pt x="70711" y="293723"/>
                  </a:cubicBezTo>
                  <a:cubicBezTo>
                    <a:pt x="70711" y="266526"/>
                    <a:pt x="73431" y="239330"/>
                    <a:pt x="73431" y="212133"/>
                  </a:cubicBezTo>
                  <a:cubicBezTo>
                    <a:pt x="73431" y="187656"/>
                    <a:pt x="76151" y="179498"/>
                    <a:pt x="76151" y="155021"/>
                  </a:cubicBezTo>
                  <a:cubicBezTo>
                    <a:pt x="76151" y="144142"/>
                    <a:pt x="76151" y="130544"/>
                    <a:pt x="76151" y="119665"/>
                  </a:cubicBezTo>
                  <a:cubicBezTo>
                    <a:pt x="76151" y="106067"/>
                    <a:pt x="78870" y="95188"/>
                    <a:pt x="78870" y="84310"/>
                  </a:cubicBezTo>
                  <a:cubicBezTo>
                    <a:pt x="78870" y="78870"/>
                    <a:pt x="78870" y="70711"/>
                    <a:pt x="76151" y="62552"/>
                  </a:cubicBezTo>
                  <a:cubicBezTo>
                    <a:pt x="76151" y="62552"/>
                    <a:pt x="73431" y="62552"/>
                    <a:pt x="67992" y="62552"/>
                  </a:cubicBezTo>
                  <a:cubicBezTo>
                    <a:pt x="59833" y="62552"/>
                    <a:pt x="51674" y="62552"/>
                    <a:pt x="43515" y="62552"/>
                  </a:cubicBezTo>
                  <a:cubicBezTo>
                    <a:pt x="35356" y="62552"/>
                    <a:pt x="24477" y="59833"/>
                    <a:pt x="16318" y="57113"/>
                  </a:cubicBezTo>
                  <a:cubicBezTo>
                    <a:pt x="8159" y="54393"/>
                    <a:pt x="0" y="43515"/>
                    <a:pt x="0" y="40795"/>
                  </a:cubicBezTo>
                  <a:cubicBezTo>
                    <a:pt x="0" y="38075"/>
                    <a:pt x="0" y="35356"/>
                    <a:pt x="5439" y="32636"/>
                  </a:cubicBezTo>
                  <a:cubicBezTo>
                    <a:pt x="10879" y="29917"/>
                    <a:pt x="21758" y="27197"/>
                    <a:pt x="27197" y="24477"/>
                  </a:cubicBezTo>
                  <a:cubicBezTo>
                    <a:pt x="46234" y="21758"/>
                    <a:pt x="62552" y="19038"/>
                    <a:pt x="76151" y="19038"/>
                  </a:cubicBezTo>
                  <a:cubicBezTo>
                    <a:pt x="76151" y="16318"/>
                    <a:pt x="78870" y="16318"/>
                    <a:pt x="78870" y="13598"/>
                  </a:cubicBezTo>
                  <a:cubicBezTo>
                    <a:pt x="84309" y="10879"/>
                    <a:pt x="89749" y="8159"/>
                    <a:pt x="95188" y="5440"/>
                  </a:cubicBezTo>
                  <a:cubicBezTo>
                    <a:pt x="100628" y="2720"/>
                    <a:pt x="106067" y="0"/>
                    <a:pt x="111506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7" name="Freeform: Shape 46">
              <a:extLst>
                <a:ext uri="{FF2B5EF4-FFF2-40B4-BE49-F238E27FC236}">
                  <a16:creationId xmlns:a16="http://schemas.microsoft.com/office/drawing/2014/main" id="{2CB86C1E-34D9-4E0F-88EC-65476446F32C}"/>
                </a:ext>
              </a:extLst>
            </p:cNvPr>
            <p:cNvSpPr/>
            <p:nvPr/>
          </p:nvSpPr>
          <p:spPr>
            <a:xfrm>
              <a:off x="8346812" y="4186718"/>
              <a:ext cx="353556" cy="761503"/>
            </a:xfrm>
            <a:custGeom>
              <a:avLst/>
              <a:gdLst>
                <a:gd name="connsiteX0" fmla="*/ 283910 w 353555"/>
                <a:gd name="connsiteY0" fmla="*/ 672820 h 761503"/>
                <a:gd name="connsiteX1" fmla="*/ 321985 w 353555"/>
                <a:gd name="connsiteY1" fmla="*/ 689138 h 761503"/>
                <a:gd name="connsiteX2" fmla="*/ 316546 w 353555"/>
                <a:gd name="connsiteY2" fmla="*/ 705456 h 761503"/>
                <a:gd name="connsiteX3" fmla="*/ 300228 w 353555"/>
                <a:gd name="connsiteY3" fmla="*/ 713615 h 761503"/>
                <a:gd name="connsiteX4" fmla="*/ 278471 w 353555"/>
                <a:gd name="connsiteY4" fmla="*/ 716335 h 761503"/>
                <a:gd name="connsiteX5" fmla="*/ 237676 w 353555"/>
                <a:gd name="connsiteY5" fmla="*/ 716335 h 761503"/>
                <a:gd name="connsiteX6" fmla="*/ 180563 w 353555"/>
                <a:gd name="connsiteY6" fmla="*/ 719054 h 761503"/>
                <a:gd name="connsiteX7" fmla="*/ 126170 w 353555"/>
                <a:gd name="connsiteY7" fmla="*/ 719054 h 761503"/>
                <a:gd name="connsiteX8" fmla="*/ 101693 w 353555"/>
                <a:gd name="connsiteY8" fmla="*/ 719054 h 761503"/>
                <a:gd name="connsiteX9" fmla="*/ 74496 w 353555"/>
                <a:gd name="connsiteY9" fmla="*/ 713615 h 761503"/>
                <a:gd name="connsiteX10" fmla="*/ 58178 w 353555"/>
                <a:gd name="connsiteY10" fmla="*/ 697297 h 761503"/>
                <a:gd name="connsiteX11" fmla="*/ 63618 w 353555"/>
                <a:gd name="connsiteY11" fmla="*/ 689138 h 761503"/>
                <a:gd name="connsiteX12" fmla="*/ 85375 w 353555"/>
                <a:gd name="connsiteY12" fmla="*/ 680979 h 761503"/>
                <a:gd name="connsiteX13" fmla="*/ 131609 w 353555"/>
                <a:gd name="connsiteY13" fmla="*/ 675540 h 761503"/>
                <a:gd name="connsiteX14" fmla="*/ 142488 w 353555"/>
                <a:gd name="connsiteY14" fmla="*/ 675540 h 761503"/>
                <a:gd name="connsiteX15" fmla="*/ 131609 w 353555"/>
                <a:gd name="connsiteY15" fmla="*/ 653783 h 761503"/>
                <a:gd name="connsiteX16" fmla="*/ 128890 w 353555"/>
                <a:gd name="connsiteY16" fmla="*/ 640184 h 761503"/>
                <a:gd name="connsiteX17" fmla="*/ 128890 w 353555"/>
                <a:gd name="connsiteY17" fmla="*/ 629306 h 761503"/>
                <a:gd name="connsiteX18" fmla="*/ 128890 w 353555"/>
                <a:gd name="connsiteY18" fmla="*/ 621147 h 761503"/>
                <a:gd name="connsiteX19" fmla="*/ 128890 w 353555"/>
                <a:gd name="connsiteY19" fmla="*/ 593950 h 761503"/>
                <a:gd name="connsiteX20" fmla="*/ 128890 w 353555"/>
                <a:gd name="connsiteY20" fmla="*/ 583072 h 761503"/>
                <a:gd name="connsiteX21" fmla="*/ 128890 w 353555"/>
                <a:gd name="connsiteY21" fmla="*/ 436210 h 761503"/>
                <a:gd name="connsiteX22" fmla="*/ 128890 w 353555"/>
                <a:gd name="connsiteY22" fmla="*/ 357340 h 761503"/>
                <a:gd name="connsiteX23" fmla="*/ 131609 w 353555"/>
                <a:gd name="connsiteY23" fmla="*/ 289349 h 761503"/>
                <a:gd name="connsiteX24" fmla="*/ 131609 w 353555"/>
                <a:gd name="connsiteY24" fmla="*/ 251274 h 761503"/>
                <a:gd name="connsiteX25" fmla="*/ 131609 w 353555"/>
                <a:gd name="connsiteY25" fmla="*/ 205040 h 761503"/>
                <a:gd name="connsiteX26" fmla="*/ 131609 w 353555"/>
                <a:gd name="connsiteY26" fmla="*/ 139768 h 761503"/>
                <a:gd name="connsiteX27" fmla="*/ 131609 w 353555"/>
                <a:gd name="connsiteY27" fmla="*/ 128889 h 761503"/>
                <a:gd name="connsiteX28" fmla="*/ 126170 w 353555"/>
                <a:gd name="connsiteY28" fmla="*/ 128889 h 761503"/>
                <a:gd name="connsiteX29" fmla="*/ 101693 w 353555"/>
                <a:gd name="connsiteY29" fmla="*/ 128889 h 761503"/>
                <a:gd name="connsiteX30" fmla="*/ 74496 w 353555"/>
                <a:gd name="connsiteY30" fmla="*/ 123450 h 761503"/>
                <a:gd name="connsiteX31" fmla="*/ 58178 w 353555"/>
                <a:gd name="connsiteY31" fmla="*/ 107132 h 761503"/>
                <a:gd name="connsiteX32" fmla="*/ 60898 w 353555"/>
                <a:gd name="connsiteY32" fmla="*/ 98973 h 761503"/>
                <a:gd name="connsiteX33" fmla="*/ 82655 w 353555"/>
                <a:gd name="connsiteY33" fmla="*/ 93534 h 761503"/>
                <a:gd name="connsiteX34" fmla="*/ 131609 w 353555"/>
                <a:gd name="connsiteY34" fmla="*/ 88094 h 761503"/>
                <a:gd name="connsiteX35" fmla="*/ 131609 w 353555"/>
                <a:gd name="connsiteY35" fmla="*/ 82655 h 761503"/>
                <a:gd name="connsiteX36" fmla="*/ 134329 w 353555"/>
                <a:gd name="connsiteY36" fmla="*/ 71776 h 761503"/>
                <a:gd name="connsiteX37" fmla="*/ 147927 w 353555"/>
                <a:gd name="connsiteY37" fmla="*/ 63617 h 761503"/>
                <a:gd name="connsiteX38" fmla="*/ 164245 w 353555"/>
                <a:gd name="connsiteY38" fmla="*/ 58178 h 761503"/>
                <a:gd name="connsiteX39" fmla="*/ 177843 w 353555"/>
                <a:gd name="connsiteY39" fmla="*/ 58178 h 761503"/>
                <a:gd name="connsiteX40" fmla="*/ 196881 w 353555"/>
                <a:gd name="connsiteY40" fmla="*/ 60898 h 761503"/>
                <a:gd name="connsiteX41" fmla="*/ 232237 w 353555"/>
                <a:gd name="connsiteY41" fmla="*/ 88094 h 761503"/>
                <a:gd name="connsiteX42" fmla="*/ 278471 w 353555"/>
                <a:gd name="connsiteY42" fmla="*/ 88094 h 761503"/>
                <a:gd name="connsiteX43" fmla="*/ 316546 w 353555"/>
                <a:gd name="connsiteY43" fmla="*/ 104412 h 761503"/>
                <a:gd name="connsiteX44" fmla="*/ 311107 w 353555"/>
                <a:gd name="connsiteY44" fmla="*/ 120730 h 761503"/>
                <a:gd name="connsiteX45" fmla="*/ 294789 w 353555"/>
                <a:gd name="connsiteY45" fmla="*/ 128889 h 761503"/>
                <a:gd name="connsiteX46" fmla="*/ 273032 w 353555"/>
                <a:gd name="connsiteY46" fmla="*/ 131609 h 761503"/>
                <a:gd name="connsiteX47" fmla="*/ 243115 w 353555"/>
                <a:gd name="connsiteY47" fmla="*/ 131609 h 761503"/>
                <a:gd name="connsiteX48" fmla="*/ 243115 w 353555"/>
                <a:gd name="connsiteY48" fmla="*/ 134329 h 761503"/>
                <a:gd name="connsiteX49" fmla="*/ 248554 w 353555"/>
                <a:gd name="connsiteY49" fmla="*/ 169684 h 761503"/>
                <a:gd name="connsiteX50" fmla="*/ 251274 w 353555"/>
                <a:gd name="connsiteY50" fmla="*/ 205040 h 761503"/>
                <a:gd name="connsiteX51" fmla="*/ 251274 w 353555"/>
                <a:gd name="connsiteY51" fmla="*/ 240395 h 761503"/>
                <a:gd name="connsiteX52" fmla="*/ 251274 w 353555"/>
                <a:gd name="connsiteY52" fmla="*/ 256713 h 761503"/>
                <a:gd name="connsiteX53" fmla="*/ 253994 w 353555"/>
                <a:gd name="connsiteY53" fmla="*/ 270311 h 761503"/>
                <a:gd name="connsiteX54" fmla="*/ 259433 w 353555"/>
                <a:gd name="connsiteY54" fmla="*/ 343742 h 761503"/>
                <a:gd name="connsiteX55" fmla="*/ 262153 w 353555"/>
                <a:gd name="connsiteY55" fmla="*/ 425332 h 761503"/>
                <a:gd name="connsiteX56" fmla="*/ 264872 w 353555"/>
                <a:gd name="connsiteY56" fmla="*/ 490603 h 761503"/>
                <a:gd name="connsiteX57" fmla="*/ 270312 w 353555"/>
                <a:gd name="connsiteY57" fmla="*/ 564034 h 761503"/>
                <a:gd name="connsiteX58" fmla="*/ 270312 w 353555"/>
                <a:gd name="connsiteY58" fmla="*/ 599390 h 761503"/>
                <a:gd name="connsiteX59" fmla="*/ 270312 w 353555"/>
                <a:gd name="connsiteY59" fmla="*/ 637465 h 761503"/>
                <a:gd name="connsiteX60" fmla="*/ 264872 w 353555"/>
                <a:gd name="connsiteY60" fmla="*/ 670101 h 761503"/>
                <a:gd name="connsiteX61" fmla="*/ 283910 w 353555"/>
                <a:gd name="connsiteY61" fmla="*/ 672820 h 761503"/>
                <a:gd name="connsiteX62" fmla="*/ 283910 w 353555"/>
                <a:gd name="connsiteY62" fmla="*/ 672820 h 761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</a:cxnLst>
              <a:rect l="l" t="t" r="r" b="b"/>
              <a:pathLst>
                <a:path w="353555" h="761503">
                  <a:moveTo>
                    <a:pt x="283910" y="672820"/>
                  </a:moveTo>
                  <a:cubicBezTo>
                    <a:pt x="297508" y="672820"/>
                    <a:pt x="321985" y="672820"/>
                    <a:pt x="321985" y="689138"/>
                  </a:cubicBezTo>
                  <a:cubicBezTo>
                    <a:pt x="321985" y="697297"/>
                    <a:pt x="319266" y="697297"/>
                    <a:pt x="316546" y="705456"/>
                  </a:cubicBezTo>
                  <a:cubicBezTo>
                    <a:pt x="311107" y="710895"/>
                    <a:pt x="305667" y="713615"/>
                    <a:pt x="300228" y="713615"/>
                  </a:cubicBezTo>
                  <a:cubicBezTo>
                    <a:pt x="292069" y="716335"/>
                    <a:pt x="283910" y="716335"/>
                    <a:pt x="278471" y="716335"/>
                  </a:cubicBezTo>
                  <a:cubicBezTo>
                    <a:pt x="275751" y="716335"/>
                    <a:pt x="256713" y="716335"/>
                    <a:pt x="237676" y="716335"/>
                  </a:cubicBezTo>
                  <a:cubicBezTo>
                    <a:pt x="213199" y="716335"/>
                    <a:pt x="186003" y="719054"/>
                    <a:pt x="180563" y="719054"/>
                  </a:cubicBezTo>
                  <a:cubicBezTo>
                    <a:pt x="166965" y="719054"/>
                    <a:pt x="142488" y="719054"/>
                    <a:pt x="126170" y="719054"/>
                  </a:cubicBezTo>
                  <a:cubicBezTo>
                    <a:pt x="118011" y="719054"/>
                    <a:pt x="109852" y="719054"/>
                    <a:pt x="101693" y="719054"/>
                  </a:cubicBezTo>
                  <a:cubicBezTo>
                    <a:pt x="93534" y="719054"/>
                    <a:pt x="82655" y="719054"/>
                    <a:pt x="74496" y="713615"/>
                  </a:cubicBezTo>
                  <a:cubicBezTo>
                    <a:pt x="66337" y="710895"/>
                    <a:pt x="58178" y="702736"/>
                    <a:pt x="58178" y="697297"/>
                  </a:cubicBezTo>
                  <a:cubicBezTo>
                    <a:pt x="58178" y="694578"/>
                    <a:pt x="58178" y="691858"/>
                    <a:pt x="63618" y="689138"/>
                  </a:cubicBezTo>
                  <a:cubicBezTo>
                    <a:pt x="69057" y="686418"/>
                    <a:pt x="79936" y="683699"/>
                    <a:pt x="85375" y="680979"/>
                  </a:cubicBezTo>
                  <a:cubicBezTo>
                    <a:pt x="104413" y="678260"/>
                    <a:pt x="123450" y="675540"/>
                    <a:pt x="131609" y="675540"/>
                  </a:cubicBezTo>
                  <a:cubicBezTo>
                    <a:pt x="134329" y="675540"/>
                    <a:pt x="137049" y="675540"/>
                    <a:pt x="142488" y="675540"/>
                  </a:cubicBezTo>
                  <a:cubicBezTo>
                    <a:pt x="134329" y="670101"/>
                    <a:pt x="131609" y="661942"/>
                    <a:pt x="131609" y="653783"/>
                  </a:cubicBezTo>
                  <a:cubicBezTo>
                    <a:pt x="131609" y="648343"/>
                    <a:pt x="131609" y="642904"/>
                    <a:pt x="128890" y="640184"/>
                  </a:cubicBezTo>
                  <a:cubicBezTo>
                    <a:pt x="128890" y="637465"/>
                    <a:pt x="128890" y="634745"/>
                    <a:pt x="128890" y="629306"/>
                  </a:cubicBezTo>
                  <a:cubicBezTo>
                    <a:pt x="128890" y="626586"/>
                    <a:pt x="128890" y="623867"/>
                    <a:pt x="128890" y="621147"/>
                  </a:cubicBezTo>
                  <a:cubicBezTo>
                    <a:pt x="128890" y="612988"/>
                    <a:pt x="128890" y="604829"/>
                    <a:pt x="128890" y="593950"/>
                  </a:cubicBezTo>
                  <a:cubicBezTo>
                    <a:pt x="128890" y="591231"/>
                    <a:pt x="128890" y="585791"/>
                    <a:pt x="128890" y="583072"/>
                  </a:cubicBezTo>
                  <a:cubicBezTo>
                    <a:pt x="128890" y="534118"/>
                    <a:pt x="131609" y="485164"/>
                    <a:pt x="128890" y="436210"/>
                  </a:cubicBezTo>
                  <a:cubicBezTo>
                    <a:pt x="128890" y="409014"/>
                    <a:pt x="128890" y="384537"/>
                    <a:pt x="128890" y="357340"/>
                  </a:cubicBezTo>
                  <a:cubicBezTo>
                    <a:pt x="128890" y="335583"/>
                    <a:pt x="131609" y="313826"/>
                    <a:pt x="131609" y="289349"/>
                  </a:cubicBezTo>
                  <a:cubicBezTo>
                    <a:pt x="131609" y="275751"/>
                    <a:pt x="131609" y="264872"/>
                    <a:pt x="131609" y="251274"/>
                  </a:cubicBezTo>
                  <a:cubicBezTo>
                    <a:pt x="131609" y="234956"/>
                    <a:pt x="131609" y="221357"/>
                    <a:pt x="131609" y="205040"/>
                  </a:cubicBezTo>
                  <a:cubicBezTo>
                    <a:pt x="131609" y="183282"/>
                    <a:pt x="131609" y="161525"/>
                    <a:pt x="131609" y="139768"/>
                  </a:cubicBezTo>
                  <a:cubicBezTo>
                    <a:pt x="131609" y="137048"/>
                    <a:pt x="131609" y="134329"/>
                    <a:pt x="131609" y="128889"/>
                  </a:cubicBezTo>
                  <a:cubicBezTo>
                    <a:pt x="128890" y="128889"/>
                    <a:pt x="126170" y="128889"/>
                    <a:pt x="126170" y="128889"/>
                  </a:cubicBezTo>
                  <a:cubicBezTo>
                    <a:pt x="118011" y="128889"/>
                    <a:pt x="109852" y="128889"/>
                    <a:pt x="101693" y="128889"/>
                  </a:cubicBezTo>
                  <a:cubicBezTo>
                    <a:pt x="93534" y="128889"/>
                    <a:pt x="82655" y="128889"/>
                    <a:pt x="74496" y="123450"/>
                  </a:cubicBezTo>
                  <a:cubicBezTo>
                    <a:pt x="66337" y="120730"/>
                    <a:pt x="58178" y="112571"/>
                    <a:pt x="58178" y="107132"/>
                  </a:cubicBezTo>
                  <a:cubicBezTo>
                    <a:pt x="58178" y="104412"/>
                    <a:pt x="58178" y="101693"/>
                    <a:pt x="60898" y="98973"/>
                  </a:cubicBezTo>
                  <a:cubicBezTo>
                    <a:pt x="63618" y="96253"/>
                    <a:pt x="77216" y="93534"/>
                    <a:pt x="82655" y="93534"/>
                  </a:cubicBezTo>
                  <a:cubicBezTo>
                    <a:pt x="98973" y="90814"/>
                    <a:pt x="123450" y="88094"/>
                    <a:pt x="131609" y="88094"/>
                  </a:cubicBezTo>
                  <a:cubicBezTo>
                    <a:pt x="131609" y="85375"/>
                    <a:pt x="131609" y="85375"/>
                    <a:pt x="131609" y="82655"/>
                  </a:cubicBezTo>
                  <a:cubicBezTo>
                    <a:pt x="131609" y="77216"/>
                    <a:pt x="131609" y="74496"/>
                    <a:pt x="134329" y="71776"/>
                  </a:cubicBezTo>
                  <a:cubicBezTo>
                    <a:pt x="137049" y="69057"/>
                    <a:pt x="145208" y="66337"/>
                    <a:pt x="147927" y="63617"/>
                  </a:cubicBezTo>
                  <a:cubicBezTo>
                    <a:pt x="153366" y="60898"/>
                    <a:pt x="158806" y="58178"/>
                    <a:pt x="164245" y="58178"/>
                  </a:cubicBezTo>
                  <a:cubicBezTo>
                    <a:pt x="169684" y="58178"/>
                    <a:pt x="175124" y="58178"/>
                    <a:pt x="177843" y="58178"/>
                  </a:cubicBezTo>
                  <a:cubicBezTo>
                    <a:pt x="183283" y="58178"/>
                    <a:pt x="191442" y="58178"/>
                    <a:pt x="196881" y="60898"/>
                  </a:cubicBezTo>
                  <a:cubicBezTo>
                    <a:pt x="213199" y="63617"/>
                    <a:pt x="224078" y="74496"/>
                    <a:pt x="232237" y="88094"/>
                  </a:cubicBezTo>
                  <a:cubicBezTo>
                    <a:pt x="253994" y="88094"/>
                    <a:pt x="270312" y="88094"/>
                    <a:pt x="278471" y="88094"/>
                  </a:cubicBezTo>
                  <a:cubicBezTo>
                    <a:pt x="292069" y="88094"/>
                    <a:pt x="316546" y="88094"/>
                    <a:pt x="316546" y="104412"/>
                  </a:cubicBezTo>
                  <a:cubicBezTo>
                    <a:pt x="316546" y="112571"/>
                    <a:pt x="313826" y="112571"/>
                    <a:pt x="311107" y="120730"/>
                  </a:cubicBezTo>
                  <a:cubicBezTo>
                    <a:pt x="305667" y="126170"/>
                    <a:pt x="300228" y="128889"/>
                    <a:pt x="294789" y="128889"/>
                  </a:cubicBezTo>
                  <a:cubicBezTo>
                    <a:pt x="286630" y="131609"/>
                    <a:pt x="278471" y="131609"/>
                    <a:pt x="273032" y="131609"/>
                  </a:cubicBezTo>
                  <a:cubicBezTo>
                    <a:pt x="270312" y="131609"/>
                    <a:pt x="259433" y="131609"/>
                    <a:pt x="243115" y="131609"/>
                  </a:cubicBezTo>
                  <a:lnTo>
                    <a:pt x="243115" y="134329"/>
                  </a:lnTo>
                  <a:cubicBezTo>
                    <a:pt x="245835" y="145207"/>
                    <a:pt x="245835" y="158805"/>
                    <a:pt x="248554" y="169684"/>
                  </a:cubicBezTo>
                  <a:cubicBezTo>
                    <a:pt x="251274" y="180563"/>
                    <a:pt x="251274" y="194161"/>
                    <a:pt x="251274" y="205040"/>
                  </a:cubicBezTo>
                  <a:cubicBezTo>
                    <a:pt x="251274" y="215918"/>
                    <a:pt x="251274" y="226797"/>
                    <a:pt x="251274" y="240395"/>
                  </a:cubicBezTo>
                  <a:cubicBezTo>
                    <a:pt x="251274" y="245834"/>
                    <a:pt x="251274" y="251274"/>
                    <a:pt x="251274" y="256713"/>
                  </a:cubicBezTo>
                  <a:cubicBezTo>
                    <a:pt x="251274" y="262152"/>
                    <a:pt x="251274" y="267592"/>
                    <a:pt x="253994" y="270311"/>
                  </a:cubicBezTo>
                  <a:cubicBezTo>
                    <a:pt x="256713" y="294788"/>
                    <a:pt x="256713" y="319265"/>
                    <a:pt x="259433" y="343742"/>
                  </a:cubicBezTo>
                  <a:cubicBezTo>
                    <a:pt x="259433" y="370939"/>
                    <a:pt x="262153" y="398135"/>
                    <a:pt x="262153" y="425332"/>
                  </a:cubicBezTo>
                  <a:cubicBezTo>
                    <a:pt x="262153" y="447089"/>
                    <a:pt x="262153" y="468846"/>
                    <a:pt x="264872" y="490603"/>
                  </a:cubicBezTo>
                  <a:cubicBezTo>
                    <a:pt x="264872" y="515080"/>
                    <a:pt x="270312" y="539557"/>
                    <a:pt x="270312" y="564034"/>
                  </a:cubicBezTo>
                  <a:cubicBezTo>
                    <a:pt x="270312" y="574913"/>
                    <a:pt x="270312" y="588511"/>
                    <a:pt x="270312" y="599390"/>
                  </a:cubicBezTo>
                  <a:cubicBezTo>
                    <a:pt x="270312" y="612988"/>
                    <a:pt x="270312" y="623867"/>
                    <a:pt x="270312" y="637465"/>
                  </a:cubicBezTo>
                  <a:cubicBezTo>
                    <a:pt x="270312" y="648343"/>
                    <a:pt x="270312" y="661942"/>
                    <a:pt x="264872" y="670101"/>
                  </a:cubicBezTo>
                  <a:cubicBezTo>
                    <a:pt x="273032" y="672820"/>
                    <a:pt x="278471" y="672820"/>
                    <a:pt x="283910" y="672820"/>
                  </a:cubicBezTo>
                  <a:lnTo>
                    <a:pt x="283910" y="672820"/>
                  </a:ln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8" name="Freeform: Shape 47">
              <a:extLst>
                <a:ext uri="{FF2B5EF4-FFF2-40B4-BE49-F238E27FC236}">
                  <a16:creationId xmlns:a16="http://schemas.microsoft.com/office/drawing/2014/main" id="{D932AD99-53C0-46CD-960C-6F1735F80A7B}"/>
                </a:ext>
              </a:extLst>
            </p:cNvPr>
            <p:cNvSpPr/>
            <p:nvPr/>
          </p:nvSpPr>
          <p:spPr>
            <a:xfrm>
              <a:off x="8652924" y="4192158"/>
              <a:ext cx="516735" cy="788700"/>
            </a:xfrm>
            <a:custGeom>
              <a:avLst/>
              <a:gdLst>
                <a:gd name="connsiteX0" fmla="*/ 464616 w 516735"/>
                <a:gd name="connsiteY0" fmla="*/ 436210 h 788699"/>
                <a:gd name="connsiteX1" fmla="*/ 445578 w 516735"/>
                <a:gd name="connsiteY1" fmla="*/ 455248 h 788699"/>
                <a:gd name="connsiteX2" fmla="*/ 404783 w 516735"/>
                <a:gd name="connsiteY2" fmla="*/ 466126 h 788699"/>
                <a:gd name="connsiteX3" fmla="*/ 385746 w 516735"/>
                <a:gd name="connsiteY3" fmla="*/ 479725 h 788699"/>
                <a:gd name="connsiteX4" fmla="*/ 388466 w 516735"/>
                <a:gd name="connsiteY4" fmla="*/ 512361 h 788699"/>
                <a:gd name="connsiteX5" fmla="*/ 388466 w 516735"/>
                <a:gd name="connsiteY5" fmla="*/ 544997 h 788699"/>
                <a:gd name="connsiteX6" fmla="*/ 388466 w 516735"/>
                <a:gd name="connsiteY6" fmla="*/ 566754 h 788699"/>
                <a:gd name="connsiteX7" fmla="*/ 391185 w 516735"/>
                <a:gd name="connsiteY7" fmla="*/ 632026 h 788699"/>
                <a:gd name="connsiteX8" fmla="*/ 393905 w 516735"/>
                <a:gd name="connsiteY8" fmla="*/ 683699 h 788699"/>
                <a:gd name="connsiteX9" fmla="*/ 377587 w 516735"/>
                <a:gd name="connsiteY9" fmla="*/ 724494 h 788699"/>
                <a:gd name="connsiteX10" fmla="*/ 361269 w 516735"/>
                <a:gd name="connsiteY10" fmla="*/ 719054 h 788699"/>
                <a:gd name="connsiteX11" fmla="*/ 353110 w 516735"/>
                <a:gd name="connsiteY11" fmla="*/ 702737 h 788699"/>
                <a:gd name="connsiteX12" fmla="*/ 350390 w 516735"/>
                <a:gd name="connsiteY12" fmla="*/ 686419 h 788699"/>
                <a:gd name="connsiteX13" fmla="*/ 353110 w 516735"/>
                <a:gd name="connsiteY13" fmla="*/ 659222 h 788699"/>
                <a:gd name="connsiteX14" fmla="*/ 353110 w 516735"/>
                <a:gd name="connsiteY14" fmla="*/ 656502 h 788699"/>
                <a:gd name="connsiteX15" fmla="*/ 317754 w 516735"/>
                <a:gd name="connsiteY15" fmla="*/ 708176 h 788699"/>
                <a:gd name="connsiteX16" fmla="*/ 241604 w 516735"/>
                <a:gd name="connsiteY16" fmla="*/ 735372 h 788699"/>
                <a:gd name="connsiteX17" fmla="*/ 187211 w 516735"/>
                <a:gd name="connsiteY17" fmla="*/ 727214 h 788699"/>
                <a:gd name="connsiteX18" fmla="*/ 135537 w 516735"/>
                <a:gd name="connsiteY18" fmla="*/ 694578 h 788699"/>
                <a:gd name="connsiteX19" fmla="*/ 86583 w 516735"/>
                <a:gd name="connsiteY19" fmla="*/ 621147 h 788699"/>
                <a:gd name="connsiteX20" fmla="*/ 67546 w 516735"/>
                <a:gd name="connsiteY20" fmla="*/ 555875 h 788699"/>
                <a:gd name="connsiteX21" fmla="*/ 59387 w 516735"/>
                <a:gd name="connsiteY21" fmla="*/ 509641 h 788699"/>
                <a:gd name="connsiteX22" fmla="*/ 59387 w 516735"/>
                <a:gd name="connsiteY22" fmla="*/ 468846 h 788699"/>
                <a:gd name="connsiteX23" fmla="*/ 86583 w 516735"/>
                <a:gd name="connsiteY23" fmla="*/ 302947 h 788699"/>
                <a:gd name="connsiteX24" fmla="*/ 108341 w 516735"/>
                <a:gd name="connsiteY24" fmla="*/ 224077 h 788699"/>
                <a:gd name="connsiteX25" fmla="*/ 146416 w 516735"/>
                <a:gd name="connsiteY25" fmla="*/ 145207 h 788699"/>
                <a:gd name="connsiteX26" fmla="*/ 198090 w 516735"/>
                <a:gd name="connsiteY26" fmla="*/ 85375 h 788699"/>
                <a:gd name="connsiteX27" fmla="*/ 228006 w 516735"/>
                <a:gd name="connsiteY27" fmla="*/ 69057 h 788699"/>
                <a:gd name="connsiteX28" fmla="*/ 268801 w 516735"/>
                <a:gd name="connsiteY28" fmla="*/ 58178 h 788699"/>
                <a:gd name="connsiteX29" fmla="*/ 274240 w 516735"/>
                <a:gd name="connsiteY29" fmla="*/ 58178 h 788699"/>
                <a:gd name="connsiteX30" fmla="*/ 295997 w 516735"/>
                <a:gd name="connsiteY30" fmla="*/ 60898 h 788699"/>
                <a:gd name="connsiteX31" fmla="*/ 331353 w 516735"/>
                <a:gd name="connsiteY31" fmla="*/ 71776 h 788699"/>
                <a:gd name="connsiteX32" fmla="*/ 350390 w 516735"/>
                <a:gd name="connsiteY32" fmla="*/ 93534 h 788699"/>
                <a:gd name="connsiteX33" fmla="*/ 353110 w 516735"/>
                <a:gd name="connsiteY33" fmla="*/ 74496 h 788699"/>
                <a:gd name="connsiteX34" fmla="*/ 358549 w 516735"/>
                <a:gd name="connsiteY34" fmla="*/ 63618 h 788699"/>
                <a:gd name="connsiteX35" fmla="*/ 366708 w 516735"/>
                <a:gd name="connsiteY35" fmla="*/ 58178 h 788699"/>
                <a:gd name="connsiteX36" fmla="*/ 374867 w 516735"/>
                <a:gd name="connsiteY36" fmla="*/ 63618 h 788699"/>
                <a:gd name="connsiteX37" fmla="*/ 383027 w 516735"/>
                <a:gd name="connsiteY37" fmla="*/ 82655 h 788699"/>
                <a:gd name="connsiteX38" fmla="*/ 385746 w 516735"/>
                <a:gd name="connsiteY38" fmla="*/ 126170 h 788699"/>
                <a:gd name="connsiteX39" fmla="*/ 388466 w 516735"/>
                <a:gd name="connsiteY39" fmla="*/ 186002 h 788699"/>
                <a:gd name="connsiteX40" fmla="*/ 391185 w 516735"/>
                <a:gd name="connsiteY40" fmla="*/ 237676 h 788699"/>
                <a:gd name="connsiteX41" fmla="*/ 374867 w 516735"/>
                <a:gd name="connsiteY41" fmla="*/ 278470 h 788699"/>
                <a:gd name="connsiteX42" fmla="*/ 358549 w 516735"/>
                <a:gd name="connsiteY42" fmla="*/ 273031 h 788699"/>
                <a:gd name="connsiteX43" fmla="*/ 350390 w 516735"/>
                <a:gd name="connsiteY43" fmla="*/ 256713 h 788699"/>
                <a:gd name="connsiteX44" fmla="*/ 347671 w 516735"/>
                <a:gd name="connsiteY44" fmla="*/ 240395 h 788699"/>
                <a:gd name="connsiteX45" fmla="*/ 347671 w 516735"/>
                <a:gd name="connsiteY45" fmla="*/ 213199 h 788699"/>
                <a:gd name="connsiteX46" fmla="*/ 344951 w 516735"/>
                <a:gd name="connsiteY46" fmla="*/ 194161 h 788699"/>
                <a:gd name="connsiteX47" fmla="*/ 339512 w 516735"/>
                <a:gd name="connsiteY47" fmla="*/ 150647 h 788699"/>
                <a:gd name="connsiteX48" fmla="*/ 323194 w 516735"/>
                <a:gd name="connsiteY48" fmla="*/ 112571 h 788699"/>
                <a:gd name="connsiteX49" fmla="*/ 293278 w 516735"/>
                <a:gd name="connsiteY49" fmla="*/ 101693 h 788699"/>
                <a:gd name="connsiteX50" fmla="*/ 263361 w 516735"/>
                <a:gd name="connsiteY50" fmla="*/ 120730 h 788699"/>
                <a:gd name="connsiteX51" fmla="*/ 241604 w 516735"/>
                <a:gd name="connsiteY51" fmla="*/ 153366 h 788699"/>
                <a:gd name="connsiteX52" fmla="*/ 233445 w 516735"/>
                <a:gd name="connsiteY52" fmla="*/ 194161 h 788699"/>
                <a:gd name="connsiteX53" fmla="*/ 225286 w 516735"/>
                <a:gd name="connsiteY53" fmla="*/ 232236 h 788699"/>
                <a:gd name="connsiteX54" fmla="*/ 217127 w 516735"/>
                <a:gd name="connsiteY54" fmla="*/ 275751 h 788699"/>
                <a:gd name="connsiteX55" fmla="*/ 211688 w 516735"/>
                <a:gd name="connsiteY55" fmla="*/ 316545 h 788699"/>
                <a:gd name="connsiteX56" fmla="*/ 206249 w 516735"/>
                <a:gd name="connsiteY56" fmla="*/ 354621 h 788699"/>
                <a:gd name="connsiteX57" fmla="*/ 200809 w 516735"/>
                <a:gd name="connsiteY57" fmla="*/ 398135 h 788699"/>
                <a:gd name="connsiteX58" fmla="*/ 195370 w 516735"/>
                <a:gd name="connsiteY58" fmla="*/ 438930 h 788699"/>
                <a:gd name="connsiteX59" fmla="*/ 192650 w 516735"/>
                <a:gd name="connsiteY59" fmla="*/ 474286 h 788699"/>
                <a:gd name="connsiteX60" fmla="*/ 195370 w 516735"/>
                <a:gd name="connsiteY60" fmla="*/ 525959 h 788699"/>
                <a:gd name="connsiteX61" fmla="*/ 208968 w 516735"/>
                <a:gd name="connsiteY61" fmla="*/ 596670 h 788699"/>
                <a:gd name="connsiteX62" fmla="*/ 214407 w 516735"/>
                <a:gd name="connsiteY62" fmla="*/ 623867 h 788699"/>
                <a:gd name="connsiteX63" fmla="*/ 228006 w 516735"/>
                <a:gd name="connsiteY63" fmla="*/ 656502 h 788699"/>
                <a:gd name="connsiteX64" fmla="*/ 271520 w 516735"/>
                <a:gd name="connsiteY64" fmla="*/ 689138 h 788699"/>
                <a:gd name="connsiteX65" fmla="*/ 306876 w 516735"/>
                <a:gd name="connsiteY65" fmla="*/ 664661 h 788699"/>
                <a:gd name="connsiteX66" fmla="*/ 331353 w 516735"/>
                <a:gd name="connsiteY66" fmla="*/ 602109 h 788699"/>
                <a:gd name="connsiteX67" fmla="*/ 336792 w 516735"/>
                <a:gd name="connsiteY67" fmla="*/ 544997 h 788699"/>
                <a:gd name="connsiteX68" fmla="*/ 336792 w 516735"/>
                <a:gd name="connsiteY68" fmla="*/ 498762 h 788699"/>
                <a:gd name="connsiteX69" fmla="*/ 336792 w 516735"/>
                <a:gd name="connsiteY69" fmla="*/ 490603 h 788699"/>
                <a:gd name="connsiteX70" fmla="*/ 320474 w 516735"/>
                <a:gd name="connsiteY70" fmla="*/ 477005 h 788699"/>
                <a:gd name="connsiteX71" fmla="*/ 282399 w 516735"/>
                <a:gd name="connsiteY71" fmla="*/ 479725 h 788699"/>
                <a:gd name="connsiteX72" fmla="*/ 252483 w 516735"/>
                <a:gd name="connsiteY72" fmla="*/ 474286 h 788699"/>
                <a:gd name="connsiteX73" fmla="*/ 247044 w 516735"/>
                <a:gd name="connsiteY73" fmla="*/ 466126 h 788699"/>
                <a:gd name="connsiteX74" fmla="*/ 249763 w 516735"/>
                <a:gd name="connsiteY74" fmla="*/ 457968 h 788699"/>
                <a:gd name="connsiteX75" fmla="*/ 268801 w 516735"/>
                <a:gd name="connsiteY75" fmla="*/ 447089 h 788699"/>
                <a:gd name="connsiteX76" fmla="*/ 312315 w 516735"/>
                <a:gd name="connsiteY76" fmla="*/ 436210 h 788699"/>
                <a:gd name="connsiteX77" fmla="*/ 353110 w 516735"/>
                <a:gd name="connsiteY77" fmla="*/ 430771 h 788699"/>
                <a:gd name="connsiteX78" fmla="*/ 385746 w 516735"/>
                <a:gd name="connsiteY78" fmla="*/ 430771 h 788699"/>
                <a:gd name="connsiteX79" fmla="*/ 437420 w 516735"/>
                <a:gd name="connsiteY79" fmla="*/ 428051 h 788699"/>
                <a:gd name="connsiteX80" fmla="*/ 464616 w 516735"/>
                <a:gd name="connsiteY80" fmla="*/ 436210 h 7886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</a:cxnLst>
              <a:rect l="l" t="t" r="r" b="b"/>
              <a:pathLst>
                <a:path w="516735" h="788699">
                  <a:moveTo>
                    <a:pt x="464616" y="436210"/>
                  </a:moveTo>
                  <a:cubicBezTo>
                    <a:pt x="464616" y="447089"/>
                    <a:pt x="453738" y="452528"/>
                    <a:pt x="445578" y="455248"/>
                  </a:cubicBezTo>
                  <a:cubicBezTo>
                    <a:pt x="434700" y="460687"/>
                    <a:pt x="415662" y="463407"/>
                    <a:pt x="404783" y="466126"/>
                  </a:cubicBezTo>
                  <a:cubicBezTo>
                    <a:pt x="393905" y="466126"/>
                    <a:pt x="385746" y="468846"/>
                    <a:pt x="385746" y="479725"/>
                  </a:cubicBezTo>
                  <a:cubicBezTo>
                    <a:pt x="385746" y="487884"/>
                    <a:pt x="388466" y="506921"/>
                    <a:pt x="388466" y="512361"/>
                  </a:cubicBezTo>
                  <a:cubicBezTo>
                    <a:pt x="388466" y="515080"/>
                    <a:pt x="388466" y="539557"/>
                    <a:pt x="388466" y="544997"/>
                  </a:cubicBezTo>
                  <a:cubicBezTo>
                    <a:pt x="388466" y="550436"/>
                    <a:pt x="388466" y="558595"/>
                    <a:pt x="388466" y="566754"/>
                  </a:cubicBezTo>
                  <a:cubicBezTo>
                    <a:pt x="388466" y="591231"/>
                    <a:pt x="388466" y="621147"/>
                    <a:pt x="391185" y="632026"/>
                  </a:cubicBezTo>
                  <a:cubicBezTo>
                    <a:pt x="393905" y="653783"/>
                    <a:pt x="393905" y="661942"/>
                    <a:pt x="393905" y="683699"/>
                  </a:cubicBezTo>
                  <a:cubicBezTo>
                    <a:pt x="393905" y="694578"/>
                    <a:pt x="393905" y="724494"/>
                    <a:pt x="377587" y="724494"/>
                  </a:cubicBezTo>
                  <a:cubicBezTo>
                    <a:pt x="369428" y="724494"/>
                    <a:pt x="366708" y="721774"/>
                    <a:pt x="361269" y="719054"/>
                  </a:cubicBezTo>
                  <a:cubicBezTo>
                    <a:pt x="355830" y="716335"/>
                    <a:pt x="353110" y="708176"/>
                    <a:pt x="353110" y="702737"/>
                  </a:cubicBezTo>
                  <a:cubicBezTo>
                    <a:pt x="350390" y="694578"/>
                    <a:pt x="350390" y="689138"/>
                    <a:pt x="350390" y="686419"/>
                  </a:cubicBezTo>
                  <a:cubicBezTo>
                    <a:pt x="350390" y="678260"/>
                    <a:pt x="353110" y="672820"/>
                    <a:pt x="353110" y="659222"/>
                  </a:cubicBezTo>
                  <a:lnTo>
                    <a:pt x="353110" y="656502"/>
                  </a:lnTo>
                  <a:cubicBezTo>
                    <a:pt x="347671" y="675540"/>
                    <a:pt x="334073" y="694578"/>
                    <a:pt x="317754" y="708176"/>
                  </a:cubicBezTo>
                  <a:cubicBezTo>
                    <a:pt x="293278" y="727214"/>
                    <a:pt x="274240" y="735372"/>
                    <a:pt x="241604" y="735372"/>
                  </a:cubicBezTo>
                  <a:cubicBezTo>
                    <a:pt x="222566" y="735372"/>
                    <a:pt x="203529" y="732653"/>
                    <a:pt x="187211" y="727214"/>
                  </a:cubicBezTo>
                  <a:cubicBezTo>
                    <a:pt x="165454" y="719054"/>
                    <a:pt x="149136" y="708176"/>
                    <a:pt x="135537" y="694578"/>
                  </a:cubicBezTo>
                  <a:cubicBezTo>
                    <a:pt x="113780" y="672820"/>
                    <a:pt x="100182" y="648343"/>
                    <a:pt x="86583" y="621147"/>
                  </a:cubicBezTo>
                  <a:cubicBezTo>
                    <a:pt x="75705" y="599390"/>
                    <a:pt x="70266" y="580352"/>
                    <a:pt x="67546" y="555875"/>
                  </a:cubicBezTo>
                  <a:cubicBezTo>
                    <a:pt x="64826" y="539557"/>
                    <a:pt x="62107" y="525959"/>
                    <a:pt x="59387" y="509641"/>
                  </a:cubicBezTo>
                  <a:cubicBezTo>
                    <a:pt x="56667" y="493323"/>
                    <a:pt x="59387" y="485164"/>
                    <a:pt x="59387" y="468846"/>
                  </a:cubicBezTo>
                  <a:cubicBezTo>
                    <a:pt x="59387" y="414453"/>
                    <a:pt x="72985" y="362780"/>
                    <a:pt x="86583" y="302947"/>
                  </a:cubicBezTo>
                  <a:cubicBezTo>
                    <a:pt x="92023" y="275751"/>
                    <a:pt x="100182" y="248554"/>
                    <a:pt x="108341" y="224077"/>
                  </a:cubicBezTo>
                  <a:cubicBezTo>
                    <a:pt x="116500" y="196881"/>
                    <a:pt x="130098" y="169684"/>
                    <a:pt x="146416" y="145207"/>
                  </a:cubicBezTo>
                  <a:cubicBezTo>
                    <a:pt x="160014" y="123450"/>
                    <a:pt x="176332" y="101693"/>
                    <a:pt x="198090" y="85375"/>
                  </a:cubicBezTo>
                  <a:cubicBezTo>
                    <a:pt x="206249" y="77216"/>
                    <a:pt x="217127" y="71776"/>
                    <a:pt x="228006" y="69057"/>
                  </a:cubicBezTo>
                  <a:cubicBezTo>
                    <a:pt x="241604" y="63618"/>
                    <a:pt x="255202" y="58178"/>
                    <a:pt x="268801" y="58178"/>
                  </a:cubicBezTo>
                  <a:cubicBezTo>
                    <a:pt x="271520" y="58178"/>
                    <a:pt x="274240" y="58178"/>
                    <a:pt x="274240" y="58178"/>
                  </a:cubicBezTo>
                  <a:cubicBezTo>
                    <a:pt x="279679" y="58178"/>
                    <a:pt x="285119" y="58178"/>
                    <a:pt x="295997" y="60898"/>
                  </a:cubicBezTo>
                  <a:cubicBezTo>
                    <a:pt x="309595" y="63618"/>
                    <a:pt x="320474" y="66337"/>
                    <a:pt x="331353" y="71776"/>
                  </a:cubicBezTo>
                  <a:cubicBezTo>
                    <a:pt x="339512" y="77216"/>
                    <a:pt x="347671" y="85375"/>
                    <a:pt x="350390" y="93534"/>
                  </a:cubicBezTo>
                  <a:cubicBezTo>
                    <a:pt x="350390" y="88095"/>
                    <a:pt x="353110" y="79936"/>
                    <a:pt x="353110" y="74496"/>
                  </a:cubicBezTo>
                  <a:cubicBezTo>
                    <a:pt x="355830" y="71776"/>
                    <a:pt x="355830" y="69057"/>
                    <a:pt x="358549" y="63618"/>
                  </a:cubicBezTo>
                  <a:cubicBezTo>
                    <a:pt x="361269" y="60898"/>
                    <a:pt x="363989" y="58178"/>
                    <a:pt x="366708" y="58178"/>
                  </a:cubicBezTo>
                  <a:cubicBezTo>
                    <a:pt x="369428" y="58178"/>
                    <a:pt x="372148" y="60898"/>
                    <a:pt x="374867" y="63618"/>
                  </a:cubicBezTo>
                  <a:cubicBezTo>
                    <a:pt x="377587" y="69057"/>
                    <a:pt x="380307" y="77216"/>
                    <a:pt x="383027" y="82655"/>
                  </a:cubicBezTo>
                  <a:cubicBezTo>
                    <a:pt x="383027" y="90814"/>
                    <a:pt x="385746" y="107132"/>
                    <a:pt x="385746" y="126170"/>
                  </a:cubicBezTo>
                  <a:cubicBezTo>
                    <a:pt x="385746" y="150647"/>
                    <a:pt x="385746" y="177843"/>
                    <a:pt x="388466" y="186002"/>
                  </a:cubicBezTo>
                  <a:cubicBezTo>
                    <a:pt x="391185" y="207759"/>
                    <a:pt x="391185" y="215918"/>
                    <a:pt x="391185" y="237676"/>
                  </a:cubicBezTo>
                  <a:cubicBezTo>
                    <a:pt x="391185" y="248554"/>
                    <a:pt x="391185" y="278470"/>
                    <a:pt x="374867" y="278470"/>
                  </a:cubicBezTo>
                  <a:cubicBezTo>
                    <a:pt x="366708" y="278470"/>
                    <a:pt x="363989" y="275751"/>
                    <a:pt x="358549" y="273031"/>
                  </a:cubicBezTo>
                  <a:cubicBezTo>
                    <a:pt x="353110" y="270311"/>
                    <a:pt x="350390" y="262152"/>
                    <a:pt x="350390" y="256713"/>
                  </a:cubicBezTo>
                  <a:cubicBezTo>
                    <a:pt x="350390" y="251274"/>
                    <a:pt x="347671" y="245834"/>
                    <a:pt x="347671" y="240395"/>
                  </a:cubicBezTo>
                  <a:cubicBezTo>
                    <a:pt x="347671" y="232236"/>
                    <a:pt x="347671" y="224077"/>
                    <a:pt x="347671" y="213199"/>
                  </a:cubicBezTo>
                  <a:cubicBezTo>
                    <a:pt x="347671" y="207759"/>
                    <a:pt x="347671" y="199600"/>
                    <a:pt x="344951" y="194161"/>
                  </a:cubicBezTo>
                  <a:cubicBezTo>
                    <a:pt x="342232" y="180563"/>
                    <a:pt x="342232" y="164245"/>
                    <a:pt x="339512" y="150647"/>
                  </a:cubicBezTo>
                  <a:cubicBezTo>
                    <a:pt x="336792" y="137048"/>
                    <a:pt x="331353" y="123450"/>
                    <a:pt x="323194" y="112571"/>
                  </a:cubicBezTo>
                  <a:cubicBezTo>
                    <a:pt x="317754" y="104412"/>
                    <a:pt x="304156" y="101693"/>
                    <a:pt x="293278" y="101693"/>
                  </a:cubicBezTo>
                  <a:cubicBezTo>
                    <a:pt x="279679" y="101693"/>
                    <a:pt x="271520" y="109852"/>
                    <a:pt x="263361" y="120730"/>
                  </a:cubicBezTo>
                  <a:cubicBezTo>
                    <a:pt x="257922" y="131609"/>
                    <a:pt x="247044" y="139768"/>
                    <a:pt x="241604" y="153366"/>
                  </a:cubicBezTo>
                  <a:cubicBezTo>
                    <a:pt x="236165" y="166964"/>
                    <a:pt x="233445" y="180563"/>
                    <a:pt x="233445" y="194161"/>
                  </a:cubicBezTo>
                  <a:cubicBezTo>
                    <a:pt x="233445" y="207759"/>
                    <a:pt x="230725" y="218638"/>
                    <a:pt x="225286" y="232236"/>
                  </a:cubicBezTo>
                  <a:cubicBezTo>
                    <a:pt x="219847" y="245834"/>
                    <a:pt x="219847" y="262152"/>
                    <a:pt x="217127" y="275751"/>
                  </a:cubicBezTo>
                  <a:cubicBezTo>
                    <a:pt x="214407" y="289349"/>
                    <a:pt x="214407" y="302947"/>
                    <a:pt x="211688" y="316545"/>
                  </a:cubicBezTo>
                  <a:cubicBezTo>
                    <a:pt x="211688" y="330144"/>
                    <a:pt x="206249" y="341022"/>
                    <a:pt x="206249" y="354621"/>
                  </a:cubicBezTo>
                  <a:cubicBezTo>
                    <a:pt x="203529" y="368219"/>
                    <a:pt x="203529" y="381817"/>
                    <a:pt x="200809" y="398135"/>
                  </a:cubicBezTo>
                  <a:cubicBezTo>
                    <a:pt x="198090" y="411733"/>
                    <a:pt x="198090" y="425332"/>
                    <a:pt x="195370" y="438930"/>
                  </a:cubicBezTo>
                  <a:cubicBezTo>
                    <a:pt x="195370" y="449809"/>
                    <a:pt x="192650" y="463407"/>
                    <a:pt x="192650" y="474286"/>
                  </a:cubicBezTo>
                  <a:cubicBezTo>
                    <a:pt x="192650" y="490603"/>
                    <a:pt x="195370" y="509641"/>
                    <a:pt x="195370" y="525959"/>
                  </a:cubicBezTo>
                  <a:cubicBezTo>
                    <a:pt x="195370" y="550436"/>
                    <a:pt x="203529" y="572193"/>
                    <a:pt x="208968" y="596670"/>
                  </a:cubicBezTo>
                  <a:cubicBezTo>
                    <a:pt x="211688" y="604829"/>
                    <a:pt x="211688" y="615708"/>
                    <a:pt x="214407" y="623867"/>
                  </a:cubicBezTo>
                  <a:cubicBezTo>
                    <a:pt x="217127" y="634745"/>
                    <a:pt x="222566" y="645624"/>
                    <a:pt x="228006" y="656502"/>
                  </a:cubicBezTo>
                  <a:cubicBezTo>
                    <a:pt x="236165" y="670101"/>
                    <a:pt x="252483" y="689138"/>
                    <a:pt x="271520" y="689138"/>
                  </a:cubicBezTo>
                  <a:cubicBezTo>
                    <a:pt x="287838" y="689138"/>
                    <a:pt x="298717" y="675540"/>
                    <a:pt x="306876" y="664661"/>
                  </a:cubicBezTo>
                  <a:cubicBezTo>
                    <a:pt x="320474" y="645624"/>
                    <a:pt x="325914" y="623867"/>
                    <a:pt x="331353" y="602109"/>
                  </a:cubicBezTo>
                  <a:cubicBezTo>
                    <a:pt x="334073" y="583072"/>
                    <a:pt x="336792" y="564034"/>
                    <a:pt x="336792" y="544997"/>
                  </a:cubicBezTo>
                  <a:cubicBezTo>
                    <a:pt x="336792" y="531398"/>
                    <a:pt x="336792" y="512361"/>
                    <a:pt x="336792" y="498762"/>
                  </a:cubicBezTo>
                  <a:cubicBezTo>
                    <a:pt x="336792" y="496043"/>
                    <a:pt x="336792" y="493323"/>
                    <a:pt x="336792" y="490603"/>
                  </a:cubicBezTo>
                  <a:cubicBezTo>
                    <a:pt x="336792" y="479725"/>
                    <a:pt x="336792" y="477005"/>
                    <a:pt x="320474" y="477005"/>
                  </a:cubicBezTo>
                  <a:cubicBezTo>
                    <a:pt x="309595" y="477005"/>
                    <a:pt x="295997" y="479725"/>
                    <a:pt x="282399" y="479725"/>
                  </a:cubicBezTo>
                  <a:cubicBezTo>
                    <a:pt x="271520" y="479725"/>
                    <a:pt x="260642" y="479725"/>
                    <a:pt x="252483" y="474286"/>
                  </a:cubicBezTo>
                  <a:cubicBezTo>
                    <a:pt x="249763" y="471566"/>
                    <a:pt x="247044" y="468846"/>
                    <a:pt x="247044" y="466126"/>
                  </a:cubicBezTo>
                  <a:cubicBezTo>
                    <a:pt x="247044" y="463407"/>
                    <a:pt x="247044" y="460687"/>
                    <a:pt x="249763" y="457968"/>
                  </a:cubicBezTo>
                  <a:cubicBezTo>
                    <a:pt x="255202" y="452528"/>
                    <a:pt x="260642" y="449809"/>
                    <a:pt x="268801" y="447089"/>
                  </a:cubicBezTo>
                  <a:cubicBezTo>
                    <a:pt x="282399" y="441650"/>
                    <a:pt x="295997" y="438930"/>
                    <a:pt x="312315" y="436210"/>
                  </a:cubicBezTo>
                  <a:cubicBezTo>
                    <a:pt x="325914" y="433491"/>
                    <a:pt x="339512" y="433491"/>
                    <a:pt x="353110" y="430771"/>
                  </a:cubicBezTo>
                  <a:cubicBezTo>
                    <a:pt x="363989" y="430771"/>
                    <a:pt x="374867" y="430771"/>
                    <a:pt x="385746" y="430771"/>
                  </a:cubicBezTo>
                  <a:cubicBezTo>
                    <a:pt x="402064" y="430771"/>
                    <a:pt x="426541" y="428051"/>
                    <a:pt x="437420" y="428051"/>
                  </a:cubicBezTo>
                  <a:cubicBezTo>
                    <a:pt x="451018" y="422612"/>
                    <a:pt x="464616" y="425332"/>
                    <a:pt x="464616" y="436210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9" name="Freeform: Shape 48">
              <a:extLst>
                <a:ext uri="{FF2B5EF4-FFF2-40B4-BE49-F238E27FC236}">
                  <a16:creationId xmlns:a16="http://schemas.microsoft.com/office/drawing/2014/main" id="{6C6EC568-17DB-458F-9492-F1CC33DF1A00}"/>
                </a:ext>
              </a:extLst>
            </p:cNvPr>
            <p:cNvSpPr/>
            <p:nvPr/>
          </p:nvSpPr>
          <p:spPr>
            <a:xfrm>
              <a:off x="9053923" y="4178559"/>
              <a:ext cx="625521" cy="788700"/>
            </a:xfrm>
            <a:custGeom>
              <a:avLst/>
              <a:gdLst>
                <a:gd name="connsiteX0" fmla="*/ 536838 w 625521"/>
                <a:gd name="connsiteY0" fmla="*/ 680979 h 788699"/>
                <a:gd name="connsiteX1" fmla="*/ 574913 w 625521"/>
                <a:gd name="connsiteY1" fmla="*/ 697297 h 788699"/>
                <a:gd name="connsiteX2" fmla="*/ 566755 w 625521"/>
                <a:gd name="connsiteY2" fmla="*/ 713615 h 788699"/>
                <a:gd name="connsiteX3" fmla="*/ 550437 w 625521"/>
                <a:gd name="connsiteY3" fmla="*/ 721774 h 788699"/>
                <a:gd name="connsiteX4" fmla="*/ 528680 w 625521"/>
                <a:gd name="connsiteY4" fmla="*/ 724494 h 788699"/>
                <a:gd name="connsiteX5" fmla="*/ 417174 w 625521"/>
                <a:gd name="connsiteY5" fmla="*/ 724494 h 788699"/>
                <a:gd name="connsiteX6" fmla="*/ 398136 w 625521"/>
                <a:gd name="connsiteY6" fmla="*/ 724494 h 788699"/>
                <a:gd name="connsiteX7" fmla="*/ 373659 w 625521"/>
                <a:gd name="connsiteY7" fmla="*/ 724494 h 788699"/>
                <a:gd name="connsiteX8" fmla="*/ 346462 w 625521"/>
                <a:gd name="connsiteY8" fmla="*/ 719054 h 788699"/>
                <a:gd name="connsiteX9" fmla="*/ 330144 w 625521"/>
                <a:gd name="connsiteY9" fmla="*/ 702737 h 788699"/>
                <a:gd name="connsiteX10" fmla="*/ 335584 w 625521"/>
                <a:gd name="connsiteY10" fmla="*/ 694578 h 788699"/>
                <a:gd name="connsiteX11" fmla="*/ 357341 w 625521"/>
                <a:gd name="connsiteY11" fmla="*/ 686419 h 788699"/>
                <a:gd name="connsiteX12" fmla="*/ 395416 w 625521"/>
                <a:gd name="connsiteY12" fmla="*/ 680979 h 788699"/>
                <a:gd name="connsiteX13" fmla="*/ 381817 w 625521"/>
                <a:gd name="connsiteY13" fmla="*/ 656502 h 788699"/>
                <a:gd name="connsiteX14" fmla="*/ 379098 w 625521"/>
                <a:gd name="connsiteY14" fmla="*/ 585791 h 788699"/>
                <a:gd name="connsiteX15" fmla="*/ 379098 w 625521"/>
                <a:gd name="connsiteY15" fmla="*/ 517800 h 788699"/>
                <a:gd name="connsiteX16" fmla="*/ 379098 w 625521"/>
                <a:gd name="connsiteY16" fmla="*/ 474286 h 788699"/>
                <a:gd name="connsiteX17" fmla="*/ 379098 w 625521"/>
                <a:gd name="connsiteY17" fmla="*/ 430771 h 788699"/>
                <a:gd name="connsiteX18" fmla="*/ 381817 w 625521"/>
                <a:gd name="connsiteY18" fmla="*/ 411733 h 788699"/>
                <a:gd name="connsiteX19" fmla="*/ 379098 w 625521"/>
                <a:gd name="connsiteY19" fmla="*/ 400855 h 788699"/>
                <a:gd name="connsiteX20" fmla="*/ 370939 w 625521"/>
                <a:gd name="connsiteY20" fmla="*/ 398135 h 788699"/>
                <a:gd name="connsiteX21" fmla="*/ 338304 w 625521"/>
                <a:gd name="connsiteY21" fmla="*/ 400855 h 788699"/>
                <a:gd name="connsiteX22" fmla="*/ 289349 w 625521"/>
                <a:gd name="connsiteY22" fmla="*/ 403575 h 788699"/>
                <a:gd name="connsiteX23" fmla="*/ 264872 w 625521"/>
                <a:gd name="connsiteY23" fmla="*/ 400855 h 788699"/>
                <a:gd name="connsiteX24" fmla="*/ 259433 w 625521"/>
                <a:gd name="connsiteY24" fmla="*/ 406294 h 788699"/>
                <a:gd name="connsiteX25" fmla="*/ 259433 w 625521"/>
                <a:gd name="connsiteY25" fmla="*/ 425332 h 788699"/>
                <a:gd name="connsiteX26" fmla="*/ 259433 w 625521"/>
                <a:gd name="connsiteY26" fmla="*/ 449809 h 788699"/>
                <a:gd name="connsiteX27" fmla="*/ 259433 w 625521"/>
                <a:gd name="connsiteY27" fmla="*/ 471566 h 788699"/>
                <a:gd name="connsiteX28" fmla="*/ 259433 w 625521"/>
                <a:gd name="connsiteY28" fmla="*/ 504202 h 788699"/>
                <a:gd name="connsiteX29" fmla="*/ 259433 w 625521"/>
                <a:gd name="connsiteY29" fmla="*/ 509641 h 788699"/>
                <a:gd name="connsiteX30" fmla="*/ 256714 w 625521"/>
                <a:gd name="connsiteY30" fmla="*/ 542277 h 788699"/>
                <a:gd name="connsiteX31" fmla="*/ 256714 w 625521"/>
                <a:gd name="connsiteY31" fmla="*/ 577632 h 788699"/>
                <a:gd name="connsiteX32" fmla="*/ 256714 w 625521"/>
                <a:gd name="connsiteY32" fmla="*/ 612988 h 788699"/>
                <a:gd name="connsiteX33" fmla="*/ 253994 w 625521"/>
                <a:gd name="connsiteY33" fmla="*/ 656502 h 788699"/>
                <a:gd name="connsiteX34" fmla="*/ 256714 w 625521"/>
                <a:gd name="connsiteY34" fmla="*/ 678260 h 788699"/>
                <a:gd name="connsiteX35" fmla="*/ 286629 w 625521"/>
                <a:gd name="connsiteY35" fmla="*/ 694578 h 788699"/>
                <a:gd name="connsiteX36" fmla="*/ 281191 w 625521"/>
                <a:gd name="connsiteY36" fmla="*/ 710895 h 788699"/>
                <a:gd name="connsiteX37" fmla="*/ 264872 w 625521"/>
                <a:gd name="connsiteY37" fmla="*/ 719054 h 788699"/>
                <a:gd name="connsiteX38" fmla="*/ 243116 w 625521"/>
                <a:gd name="connsiteY38" fmla="*/ 721774 h 788699"/>
                <a:gd name="connsiteX39" fmla="*/ 243116 w 625521"/>
                <a:gd name="connsiteY39" fmla="*/ 721774 h 788699"/>
                <a:gd name="connsiteX40" fmla="*/ 232236 w 625521"/>
                <a:gd name="connsiteY40" fmla="*/ 727214 h 788699"/>
                <a:gd name="connsiteX41" fmla="*/ 224078 w 625521"/>
                <a:gd name="connsiteY41" fmla="*/ 735372 h 788699"/>
                <a:gd name="connsiteX42" fmla="*/ 213199 w 625521"/>
                <a:gd name="connsiteY42" fmla="*/ 738092 h 788699"/>
                <a:gd name="connsiteX43" fmla="*/ 183283 w 625521"/>
                <a:gd name="connsiteY43" fmla="*/ 727214 h 788699"/>
                <a:gd name="connsiteX44" fmla="*/ 175124 w 625521"/>
                <a:gd name="connsiteY44" fmla="*/ 719054 h 788699"/>
                <a:gd name="connsiteX45" fmla="*/ 145208 w 625521"/>
                <a:gd name="connsiteY45" fmla="*/ 719054 h 788699"/>
                <a:gd name="connsiteX46" fmla="*/ 126170 w 625521"/>
                <a:gd name="connsiteY46" fmla="*/ 719054 h 788699"/>
                <a:gd name="connsiteX47" fmla="*/ 101693 w 625521"/>
                <a:gd name="connsiteY47" fmla="*/ 719054 h 788699"/>
                <a:gd name="connsiteX48" fmla="*/ 74496 w 625521"/>
                <a:gd name="connsiteY48" fmla="*/ 713615 h 788699"/>
                <a:gd name="connsiteX49" fmla="*/ 58178 w 625521"/>
                <a:gd name="connsiteY49" fmla="*/ 697297 h 788699"/>
                <a:gd name="connsiteX50" fmla="*/ 63618 w 625521"/>
                <a:gd name="connsiteY50" fmla="*/ 689138 h 788699"/>
                <a:gd name="connsiteX51" fmla="*/ 85375 w 625521"/>
                <a:gd name="connsiteY51" fmla="*/ 680979 h 788699"/>
                <a:gd name="connsiteX52" fmla="*/ 131609 w 625521"/>
                <a:gd name="connsiteY52" fmla="*/ 675540 h 788699"/>
                <a:gd name="connsiteX53" fmla="*/ 131609 w 625521"/>
                <a:gd name="connsiteY53" fmla="*/ 667381 h 788699"/>
                <a:gd name="connsiteX54" fmla="*/ 131609 w 625521"/>
                <a:gd name="connsiteY54" fmla="*/ 651063 h 788699"/>
                <a:gd name="connsiteX55" fmla="*/ 131609 w 625521"/>
                <a:gd name="connsiteY55" fmla="*/ 618427 h 788699"/>
                <a:gd name="connsiteX56" fmla="*/ 131609 w 625521"/>
                <a:gd name="connsiteY56" fmla="*/ 580352 h 788699"/>
                <a:gd name="connsiteX57" fmla="*/ 131609 w 625521"/>
                <a:gd name="connsiteY57" fmla="*/ 531398 h 788699"/>
                <a:gd name="connsiteX58" fmla="*/ 131609 w 625521"/>
                <a:gd name="connsiteY58" fmla="*/ 466126 h 788699"/>
                <a:gd name="connsiteX59" fmla="*/ 131609 w 625521"/>
                <a:gd name="connsiteY59" fmla="*/ 422612 h 788699"/>
                <a:gd name="connsiteX60" fmla="*/ 131609 w 625521"/>
                <a:gd name="connsiteY60" fmla="*/ 411733 h 788699"/>
                <a:gd name="connsiteX61" fmla="*/ 131609 w 625521"/>
                <a:gd name="connsiteY61" fmla="*/ 398135 h 788699"/>
                <a:gd name="connsiteX62" fmla="*/ 126170 w 625521"/>
                <a:gd name="connsiteY62" fmla="*/ 389976 h 788699"/>
                <a:gd name="connsiteX63" fmla="*/ 101693 w 625521"/>
                <a:gd name="connsiteY63" fmla="*/ 387257 h 788699"/>
                <a:gd name="connsiteX64" fmla="*/ 77216 w 625521"/>
                <a:gd name="connsiteY64" fmla="*/ 376378 h 788699"/>
                <a:gd name="connsiteX65" fmla="*/ 82655 w 625521"/>
                <a:gd name="connsiteY65" fmla="*/ 368219 h 788699"/>
                <a:gd name="connsiteX66" fmla="*/ 98973 w 625521"/>
                <a:gd name="connsiteY66" fmla="*/ 360060 h 788699"/>
                <a:gd name="connsiteX67" fmla="*/ 118011 w 625521"/>
                <a:gd name="connsiteY67" fmla="*/ 357340 h 788699"/>
                <a:gd name="connsiteX68" fmla="*/ 131609 w 625521"/>
                <a:gd name="connsiteY68" fmla="*/ 351901 h 788699"/>
                <a:gd name="connsiteX69" fmla="*/ 131609 w 625521"/>
                <a:gd name="connsiteY69" fmla="*/ 343742 h 788699"/>
                <a:gd name="connsiteX70" fmla="*/ 131609 w 625521"/>
                <a:gd name="connsiteY70" fmla="*/ 270311 h 788699"/>
                <a:gd name="connsiteX71" fmla="*/ 137048 w 625521"/>
                <a:gd name="connsiteY71" fmla="*/ 145207 h 788699"/>
                <a:gd name="connsiteX72" fmla="*/ 139768 w 625521"/>
                <a:gd name="connsiteY72" fmla="*/ 123450 h 788699"/>
                <a:gd name="connsiteX73" fmla="*/ 123450 w 625521"/>
                <a:gd name="connsiteY73" fmla="*/ 123450 h 788699"/>
                <a:gd name="connsiteX74" fmla="*/ 118011 w 625521"/>
                <a:gd name="connsiteY74" fmla="*/ 123450 h 788699"/>
                <a:gd name="connsiteX75" fmla="*/ 101693 w 625521"/>
                <a:gd name="connsiteY75" fmla="*/ 123450 h 788699"/>
                <a:gd name="connsiteX76" fmla="*/ 74496 w 625521"/>
                <a:gd name="connsiteY76" fmla="*/ 118011 h 788699"/>
                <a:gd name="connsiteX77" fmla="*/ 58178 w 625521"/>
                <a:gd name="connsiteY77" fmla="*/ 101693 h 788699"/>
                <a:gd name="connsiteX78" fmla="*/ 63618 w 625521"/>
                <a:gd name="connsiteY78" fmla="*/ 93534 h 788699"/>
                <a:gd name="connsiteX79" fmla="*/ 85375 w 625521"/>
                <a:gd name="connsiteY79" fmla="*/ 85375 h 788699"/>
                <a:gd name="connsiteX80" fmla="*/ 137048 w 625521"/>
                <a:gd name="connsiteY80" fmla="*/ 82655 h 788699"/>
                <a:gd name="connsiteX81" fmla="*/ 147927 w 625521"/>
                <a:gd name="connsiteY81" fmla="*/ 82655 h 788699"/>
                <a:gd name="connsiteX82" fmla="*/ 186003 w 625521"/>
                <a:gd name="connsiteY82" fmla="*/ 58178 h 788699"/>
                <a:gd name="connsiteX83" fmla="*/ 226797 w 625521"/>
                <a:gd name="connsiteY83" fmla="*/ 79936 h 788699"/>
                <a:gd name="connsiteX84" fmla="*/ 253994 w 625521"/>
                <a:gd name="connsiteY84" fmla="*/ 79936 h 788699"/>
                <a:gd name="connsiteX85" fmla="*/ 294789 w 625521"/>
                <a:gd name="connsiteY85" fmla="*/ 96253 h 788699"/>
                <a:gd name="connsiteX86" fmla="*/ 283910 w 625521"/>
                <a:gd name="connsiteY86" fmla="*/ 112571 h 788699"/>
                <a:gd name="connsiteX87" fmla="*/ 267592 w 625521"/>
                <a:gd name="connsiteY87" fmla="*/ 120730 h 788699"/>
                <a:gd name="connsiteX88" fmla="*/ 245835 w 625521"/>
                <a:gd name="connsiteY88" fmla="*/ 123450 h 788699"/>
                <a:gd name="connsiteX89" fmla="*/ 237676 w 625521"/>
                <a:gd name="connsiteY89" fmla="*/ 123450 h 788699"/>
                <a:gd name="connsiteX90" fmla="*/ 240396 w 625521"/>
                <a:gd name="connsiteY90" fmla="*/ 128889 h 788699"/>
                <a:gd name="connsiteX91" fmla="*/ 251274 w 625521"/>
                <a:gd name="connsiteY91" fmla="*/ 177843 h 788699"/>
                <a:gd name="connsiteX92" fmla="*/ 256714 w 625521"/>
                <a:gd name="connsiteY92" fmla="*/ 226797 h 788699"/>
                <a:gd name="connsiteX93" fmla="*/ 262153 w 625521"/>
                <a:gd name="connsiteY93" fmla="*/ 273031 h 788699"/>
                <a:gd name="connsiteX94" fmla="*/ 262153 w 625521"/>
                <a:gd name="connsiteY94" fmla="*/ 289349 h 788699"/>
                <a:gd name="connsiteX95" fmla="*/ 262153 w 625521"/>
                <a:gd name="connsiteY95" fmla="*/ 297508 h 788699"/>
                <a:gd name="connsiteX96" fmla="*/ 264872 w 625521"/>
                <a:gd name="connsiteY96" fmla="*/ 321985 h 788699"/>
                <a:gd name="connsiteX97" fmla="*/ 270312 w 625521"/>
                <a:gd name="connsiteY97" fmla="*/ 335583 h 788699"/>
                <a:gd name="connsiteX98" fmla="*/ 270312 w 625521"/>
                <a:gd name="connsiteY98" fmla="*/ 338303 h 788699"/>
                <a:gd name="connsiteX99" fmla="*/ 270312 w 625521"/>
                <a:gd name="connsiteY99" fmla="*/ 346462 h 788699"/>
                <a:gd name="connsiteX100" fmla="*/ 278471 w 625521"/>
                <a:gd name="connsiteY100" fmla="*/ 354621 h 788699"/>
                <a:gd name="connsiteX101" fmla="*/ 338304 w 625521"/>
                <a:gd name="connsiteY101" fmla="*/ 349181 h 788699"/>
                <a:gd name="connsiteX102" fmla="*/ 365500 w 625521"/>
                <a:gd name="connsiteY102" fmla="*/ 349181 h 788699"/>
                <a:gd name="connsiteX103" fmla="*/ 381817 w 625521"/>
                <a:gd name="connsiteY103" fmla="*/ 349181 h 788699"/>
                <a:gd name="connsiteX104" fmla="*/ 392697 w 625521"/>
                <a:gd name="connsiteY104" fmla="*/ 338303 h 788699"/>
                <a:gd name="connsiteX105" fmla="*/ 389977 w 625521"/>
                <a:gd name="connsiteY105" fmla="*/ 313826 h 788699"/>
                <a:gd name="connsiteX106" fmla="*/ 392697 w 625521"/>
                <a:gd name="connsiteY106" fmla="*/ 262152 h 788699"/>
                <a:gd name="connsiteX107" fmla="*/ 395416 w 625521"/>
                <a:gd name="connsiteY107" fmla="*/ 224077 h 788699"/>
                <a:gd name="connsiteX108" fmla="*/ 398136 w 625521"/>
                <a:gd name="connsiteY108" fmla="*/ 177843 h 788699"/>
                <a:gd name="connsiteX109" fmla="*/ 395416 w 625521"/>
                <a:gd name="connsiteY109" fmla="*/ 153366 h 788699"/>
                <a:gd name="connsiteX110" fmla="*/ 395416 w 625521"/>
                <a:gd name="connsiteY110" fmla="*/ 137048 h 788699"/>
                <a:gd name="connsiteX111" fmla="*/ 379098 w 625521"/>
                <a:gd name="connsiteY111" fmla="*/ 137048 h 788699"/>
                <a:gd name="connsiteX112" fmla="*/ 351902 w 625521"/>
                <a:gd name="connsiteY112" fmla="*/ 131609 h 788699"/>
                <a:gd name="connsiteX113" fmla="*/ 338304 w 625521"/>
                <a:gd name="connsiteY113" fmla="*/ 115291 h 788699"/>
                <a:gd name="connsiteX114" fmla="*/ 343742 w 625521"/>
                <a:gd name="connsiteY114" fmla="*/ 107132 h 788699"/>
                <a:gd name="connsiteX115" fmla="*/ 362780 w 625521"/>
                <a:gd name="connsiteY115" fmla="*/ 98973 h 788699"/>
                <a:gd name="connsiteX116" fmla="*/ 395416 w 625521"/>
                <a:gd name="connsiteY116" fmla="*/ 96253 h 788699"/>
                <a:gd name="connsiteX117" fmla="*/ 403575 w 625521"/>
                <a:gd name="connsiteY117" fmla="*/ 90814 h 788699"/>
                <a:gd name="connsiteX118" fmla="*/ 422612 w 625521"/>
                <a:gd name="connsiteY118" fmla="*/ 88095 h 788699"/>
                <a:gd name="connsiteX119" fmla="*/ 428052 w 625521"/>
                <a:gd name="connsiteY119" fmla="*/ 88095 h 788699"/>
                <a:gd name="connsiteX120" fmla="*/ 447090 w 625521"/>
                <a:gd name="connsiteY120" fmla="*/ 90814 h 788699"/>
                <a:gd name="connsiteX121" fmla="*/ 455249 w 625521"/>
                <a:gd name="connsiteY121" fmla="*/ 96253 h 788699"/>
                <a:gd name="connsiteX122" fmla="*/ 525960 w 625521"/>
                <a:gd name="connsiteY122" fmla="*/ 93534 h 788699"/>
                <a:gd name="connsiteX123" fmla="*/ 561315 w 625521"/>
                <a:gd name="connsiteY123" fmla="*/ 109852 h 788699"/>
                <a:gd name="connsiteX124" fmla="*/ 555876 w 625521"/>
                <a:gd name="connsiteY124" fmla="*/ 126170 h 788699"/>
                <a:gd name="connsiteX125" fmla="*/ 539558 w 625521"/>
                <a:gd name="connsiteY125" fmla="*/ 134329 h 788699"/>
                <a:gd name="connsiteX126" fmla="*/ 517800 w 625521"/>
                <a:gd name="connsiteY126" fmla="*/ 137048 h 788699"/>
                <a:gd name="connsiteX127" fmla="*/ 477006 w 625521"/>
                <a:gd name="connsiteY127" fmla="*/ 137048 h 788699"/>
                <a:gd name="connsiteX128" fmla="*/ 485165 w 625521"/>
                <a:gd name="connsiteY128" fmla="*/ 161525 h 788699"/>
                <a:gd name="connsiteX129" fmla="*/ 496043 w 625521"/>
                <a:gd name="connsiteY129" fmla="*/ 210479 h 788699"/>
                <a:gd name="connsiteX130" fmla="*/ 501483 w 625521"/>
                <a:gd name="connsiteY130" fmla="*/ 251274 h 788699"/>
                <a:gd name="connsiteX131" fmla="*/ 506922 w 625521"/>
                <a:gd name="connsiteY131" fmla="*/ 292069 h 788699"/>
                <a:gd name="connsiteX132" fmla="*/ 506922 w 625521"/>
                <a:gd name="connsiteY132" fmla="*/ 321985 h 788699"/>
                <a:gd name="connsiteX133" fmla="*/ 509642 w 625521"/>
                <a:gd name="connsiteY133" fmla="*/ 341022 h 788699"/>
                <a:gd name="connsiteX134" fmla="*/ 509642 w 625521"/>
                <a:gd name="connsiteY134" fmla="*/ 343742 h 788699"/>
                <a:gd name="connsiteX135" fmla="*/ 517800 w 625521"/>
                <a:gd name="connsiteY135" fmla="*/ 349181 h 788699"/>
                <a:gd name="connsiteX136" fmla="*/ 528680 w 625521"/>
                <a:gd name="connsiteY136" fmla="*/ 349181 h 788699"/>
                <a:gd name="connsiteX137" fmla="*/ 550437 w 625521"/>
                <a:gd name="connsiteY137" fmla="*/ 357340 h 788699"/>
                <a:gd name="connsiteX138" fmla="*/ 550437 w 625521"/>
                <a:gd name="connsiteY138" fmla="*/ 362780 h 788699"/>
                <a:gd name="connsiteX139" fmla="*/ 534119 w 625521"/>
                <a:gd name="connsiteY139" fmla="*/ 384537 h 788699"/>
                <a:gd name="connsiteX140" fmla="*/ 520520 w 625521"/>
                <a:gd name="connsiteY140" fmla="*/ 389976 h 788699"/>
                <a:gd name="connsiteX141" fmla="*/ 512362 w 625521"/>
                <a:gd name="connsiteY141" fmla="*/ 395415 h 788699"/>
                <a:gd name="connsiteX142" fmla="*/ 512362 w 625521"/>
                <a:gd name="connsiteY142" fmla="*/ 398135 h 788699"/>
                <a:gd name="connsiteX143" fmla="*/ 512362 w 625521"/>
                <a:gd name="connsiteY143" fmla="*/ 409014 h 788699"/>
                <a:gd name="connsiteX144" fmla="*/ 512362 w 625521"/>
                <a:gd name="connsiteY144" fmla="*/ 414453 h 788699"/>
                <a:gd name="connsiteX145" fmla="*/ 512362 w 625521"/>
                <a:gd name="connsiteY145" fmla="*/ 438930 h 788699"/>
                <a:gd name="connsiteX146" fmla="*/ 515081 w 625521"/>
                <a:gd name="connsiteY146" fmla="*/ 504202 h 788699"/>
                <a:gd name="connsiteX147" fmla="*/ 520520 w 625521"/>
                <a:gd name="connsiteY147" fmla="*/ 572193 h 788699"/>
                <a:gd name="connsiteX148" fmla="*/ 517800 w 625521"/>
                <a:gd name="connsiteY148" fmla="*/ 604829 h 788699"/>
                <a:gd name="connsiteX149" fmla="*/ 512362 w 625521"/>
                <a:gd name="connsiteY149" fmla="*/ 661942 h 788699"/>
                <a:gd name="connsiteX150" fmla="*/ 509642 w 625521"/>
                <a:gd name="connsiteY150" fmla="*/ 670101 h 788699"/>
                <a:gd name="connsiteX151" fmla="*/ 512362 w 625521"/>
                <a:gd name="connsiteY151" fmla="*/ 680979 h 788699"/>
                <a:gd name="connsiteX152" fmla="*/ 512362 w 625521"/>
                <a:gd name="connsiteY152" fmla="*/ 686419 h 788699"/>
                <a:gd name="connsiteX153" fmla="*/ 536838 w 625521"/>
                <a:gd name="connsiteY153" fmla="*/ 680979 h 788699"/>
                <a:gd name="connsiteX154" fmla="*/ 536838 w 625521"/>
                <a:gd name="connsiteY154" fmla="*/ 680979 h 7886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</a:cxnLst>
              <a:rect l="l" t="t" r="r" b="b"/>
              <a:pathLst>
                <a:path w="625521" h="788699">
                  <a:moveTo>
                    <a:pt x="536838" y="680979"/>
                  </a:moveTo>
                  <a:cubicBezTo>
                    <a:pt x="550437" y="680979"/>
                    <a:pt x="574913" y="680979"/>
                    <a:pt x="574913" y="697297"/>
                  </a:cubicBezTo>
                  <a:cubicBezTo>
                    <a:pt x="574913" y="705456"/>
                    <a:pt x="572194" y="708176"/>
                    <a:pt x="566755" y="713615"/>
                  </a:cubicBezTo>
                  <a:cubicBezTo>
                    <a:pt x="561315" y="719054"/>
                    <a:pt x="555876" y="721774"/>
                    <a:pt x="550437" y="721774"/>
                  </a:cubicBezTo>
                  <a:cubicBezTo>
                    <a:pt x="539558" y="724494"/>
                    <a:pt x="534119" y="724494"/>
                    <a:pt x="528680" y="724494"/>
                  </a:cubicBezTo>
                  <a:cubicBezTo>
                    <a:pt x="517800" y="724494"/>
                    <a:pt x="428052" y="724494"/>
                    <a:pt x="417174" y="724494"/>
                  </a:cubicBezTo>
                  <a:cubicBezTo>
                    <a:pt x="403575" y="724494"/>
                    <a:pt x="414454" y="724494"/>
                    <a:pt x="398136" y="724494"/>
                  </a:cubicBezTo>
                  <a:cubicBezTo>
                    <a:pt x="389977" y="724494"/>
                    <a:pt x="381817" y="724494"/>
                    <a:pt x="373659" y="724494"/>
                  </a:cubicBezTo>
                  <a:cubicBezTo>
                    <a:pt x="365500" y="724494"/>
                    <a:pt x="354621" y="721774"/>
                    <a:pt x="346462" y="719054"/>
                  </a:cubicBezTo>
                  <a:cubicBezTo>
                    <a:pt x="338304" y="716335"/>
                    <a:pt x="330144" y="708176"/>
                    <a:pt x="330144" y="702737"/>
                  </a:cubicBezTo>
                  <a:cubicBezTo>
                    <a:pt x="330144" y="700017"/>
                    <a:pt x="330144" y="697297"/>
                    <a:pt x="335584" y="694578"/>
                  </a:cubicBezTo>
                  <a:cubicBezTo>
                    <a:pt x="341023" y="691858"/>
                    <a:pt x="351902" y="689138"/>
                    <a:pt x="357341" y="686419"/>
                  </a:cubicBezTo>
                  <a:cubicBezTo>
                    <a:pt x="373659" y="683699"/>
                    <a:pt x="387257" y="680979"/>
                    <a:pt x="395416" y="680979"/>
                  </a:cubicBezTo>
                  <a:cubicBezTo>
                    <a:pt x="387257" y="675540"/>
                    <a:pt x="384537" y="670101"/>
                    <a:pt x="381817" y="656502"/>
                  </a:cubicBezTo>
                  <a:cubicBezTo>
                    <a:pt x="379098" y="632026"/>
                    <a:pt x="379098" y="610268"/>
                    <a:pt x="379098" y="585791"/>
                  </a:cubicBezTo>
                  <a:cubicBezTo>
                    <a:pt x="379098" y="564034"/>
                    <a:pt x="379098" y="542277"/>
                    <a:pt x="379098" y="517800"/>
                  </a:cubicBezTo>
                  <a:cubicBezTo>
                    <a:pt x="379098" y="504202"/>
                    <a:pt x="379098" y="487884"/>
                    <a:pt x="379098" y="474286"/>
                  </a:cubicBezTo>
                  <a:cubicBezTo>
                    <a:pt x="379098" y="457968"/>
                    <a:pt x="376379" y="444369"/>
                    <a:pt x="379098" y="430771"/>
                  </a:cubicBezTo>
                  <a:cubicBezTo>
                    <a:pt x="379098" y="425332"/>
                    <a:pt x="381817" y="417173"/>
                    <a:pt x="381817" y="411733"/>
                  </a:cubicBezTo>
                  <a:cubicBezTo>
                    <a:pt x="381817" y="406294"/>
                    <a:pt x="381817" y="403575"/>
                    <a:pt x="379098" y="400855"/>
                  </a:cubicBezTo>
                  <a:cubicBezTo>
                    <a:pt x="376379" y="400855"/>
                    <a:pt x="373659" y="398135"/>
                    <a:pt x="370939" y="398135"/>
                  </a:cubicBezTo>
                  <a:cubicBezTo>
                    <a:pt x="360061" y="398135"/>
                    <a:pt x="343742" y="400855"/>
                    <a:pt x="338304" y="400855"/>
                  </a:cubicBezTo>
                  <a:cubicBezTo>
                    <a:pt x="330144" y="400855"/>
                    <a:pt x="319266" y="403575"/>
                    <a:pt x="289349" y="403575"/>
                  </a:cubicBezTo>
                  <a:cubicBezTo>
                    <a:pt x="275751" y="403575"/>
                    <a:pt x="267592" y="400855"/>
                    <a:pt x="264872" y="400855"/>
                  </a:cubicBezTo>
                  <a:cubicBezTo>
                    <a:pt x="262153" y="400855"/>
                    <a:pt x="259433" y="400855"/>
                    <a:pt x="259433" y="406294"/>
                  </a:cubicBezTo>
                  <a:cubicBezTo>
                    <a:pt x="259433" y="414453"/>
                    <a:pt x="259433" y="419892"/>
                    <a:pt x="259433" y="425332"/>
                  </a:cubicBezTo>
                  <a:cubicBezTo>
                    <a:pt x="259433" y="433491"/>
                    <a:pt x="259433" y="441650"/>
                    <a:pt x="259433" y="449809"/>
                  </a:cubicBezTo>
                  <a:cubicBezTo>
                    <a:pt x="259433" y="457968"/>
                    <a:pt x="259433" y="463407"/>
                    <a:pt x="259433" y="471566"/>
                  </a:cubicBezTo>
                  <a:cubicBezTo>
                    <a:pt x="259433" y="482445"/>
                    <a:pt x="259433" y="493323"/>
                    <a:pt x="259433" y="504202"/>
                  </a:cubicBezTo>
                  <a:cubicBezTo>
                    <a:pt x="259433" y="506921"/>
                    <a:pt x="259433" y="506921"/>
                    <a:pt x="259433" y="509641"/>
                  </a:cubicBezTo>
                  <a:cubicBezTo>
                    <a:pt x="259433" y="520520"/>
                    <a:pt x="256714" y="531398"/>
                    <a:pt x="256714" y="542277"/>
                  </a:cubicBezTo>
                  <a:cubicBezTo>
                    <a:pt x="256714" y="553156"/>
                    <a:pt x="256714" y="566754"/>
                    <a:pt x="256714" y="577632"/>
                  </a:cubicBezTo>
                  <a:cubicBezTo>
                    <a:pt x="256714" y="588511"/>
                    <a:pt x="256714" y="599390"/>
                    <a:pt x="256714" y="612988"/>
                  </a:cubicBezTo>
                  <a:cubicBezTo>
                    <a:pt x="256714" y="629306"/>
                    <a:pt x="253994" y="642904"/>
                    <a:pt x="253994" y="656502"/>
                  </a:cubicBezTo>
                  <a:cubicBezTo>
                    <a:pt x="253994" y="664661"/>
                    <a:pt x="256714" y="672820"/>
                    <a:pt x="256714" y="678260"/>
                  </a:cubicBezTo>
                  <a:cubicBezTo>
                    <a:pt x="270312" y="678260"/>
                    <a:pt x="286629" y="680979"/>
                    <a:pt x="286629" y="694578"/>
                  </a:cubicBezTo>
                  <a:cubicBezTo>
                    <a:pt x="286629" y="702737"/>
                    <a:pt x="283910" y="705456"/>
                    <a:pt x="281191" y="710895"/>
                  </a:cubicBezTo>
                  <a:cubicBezTo>
                    <a:pt x="275751" y="716335"/>
                    <a:pt x="270312" y="719054"/>
                    <a:pt x="264872" y="719054"/>
                  </a:cubicBezTo>
                  <a:cubicBezTo>
                    <a:pt x="256714" y="721774"/>
                    <a:pt x="248554" y="721774"/>
                    <a:pt x="243116" y="721774"/>
                  </a:cubicBezTo>
                  <a:cubicBezTo>
                    <a:pt x="243116" y="721774"/>
                    <a:pt x="243116" y="721774"/>
                    <a:pt x="243116" y="721774"/>
                  </a:cubicBezTo>
                  <a:cubicBezTo>
                    <a:pt x="237676" y="724494"/>
                    <a:pt x="237676" y="724494"/>
                    <a:pt x="232236" y="727214"/>
                  </a:cubicBezTo>
                  <a:cubicBezTo>
                    <a:pt x="229517" y="729933"/>
                    <a:pt x="229517" y="732653"/>
                    <a:pt x="224078" y="735372"/>
                  </a:cubicBezTo>
                  <a:cubicBezTo>
                    <a:pt x="221358" y="738092"/>
                    <a:pt x="215919" y="738092"/>
                    <a:pt x="213199" y="738092"/>
                  </a:cubicBezTo>
                  <a:cubicBezTo>
                    <a:pt x="199601" y="738092"/>
                    <a:pt x="188722" y="735372"/>
                    <a:pt x="183283" y="727214"/>
                  </a:cubicBezTo>
                  <a:cubicBezTo>
                    <a:pt x="180563" y="724494"/>
                    <a:pt x="177843" y="721774"/>
                    <a:pt x="175124" y="719054"/>
                  </a:cubicBezTo>
                  <a:cubicBezTo>
                    <a:pt x="161526" y="719054"/>
                    <a:pt x="150646" y="719054"/>
                    <a:pt x="145208" y="719054"/>
                  </a:cubicBezTo>
                  <a:cubicBezTo>
                    <a:pt x="131609" y="719054"/>
                    <a:pt x="142488" y="719054"/>
                    <a:pt x="126170" y="719054"/>
                  </a:cubicBezTo>
                  <a:cubicBezTo>
                    <a:pt x="118011" y="719054"/>
                    <a:pt x="109852" y="719054"/>
                    <a:pt x="101693" y="719054"/>
                  </a:cubicBezTo>
                  <a:cubicBezTo>
                    <a:pt x="93534" y="719054"/>
                    <a:pt x="82655" y="719054"/>
                    <a:pt x="74496" y="713615"/>
                  </a:cubicBezTo>
                  <a:cubicBezTo>
                    <a:pt x="66338" y="710895"/>
                    <a:pt x="58178" y="702737"/>
                    <a:pt x="58178" y="697297"/>
                  </a:cubicBezTo>
                  <a:cubicBezTo>
                    <a:pt x="58178" y="694578"/>
                    <a:pt x="58178" y="691858"/>
                    <a:pt x="63618" y="689138"/>
                  </a:cubicBezTo>
                  <a:cubicBezTo>
                    <a:pt x="69057" y="686419"/>
                    <a:pt x="79936" y="683699"/>
                    <a:pt x="85375" y="680979"/>
                  </a:cubicBezTo>
                  <a:cubicBezTo>
                    <a:pt x="98973" y="678260"/>
                    <a:pt x="118011" y="678260"/>
                    <a:pt x="131609" y="675540"/>
                  </a:cubicBezTo>
                  <a:cubicBezTo>
                    <a:pt x="131609" y="672820"/>
                    <a:pt x="131609" y="670101"/>
                    <a:pt x="131609" y="667381"/>
                  </a:cubicBezTo>
                  <a:cubicBezTo>
                    <a:pt x="131609" y="661942"/>
                    <a:pt x="131609" y="656502"/>
                    <a:pt x="131609" y="651063"/>
                  </a:cubicBezTo>
                  <a:cubicBezTo>
                    <a:pt x="131609" y="640184"/>
                    <a:pt x="131609" y="629306"/>
                    <a:pt x="131609" y="618427"/>
                  </a:cubicBezTo>
                  <a:cubicBezTo>
                    <a:pt x="131609" y="604829"/>
                    <a:pt x="131609" y="593950"/>
                    <a:pt x="131609" y="580352"/>
                  </a:cubicBezTo>
                  <a:cubicBezTo>
                    <a:pt x="131609" y="564034"/>
                    <a:pt x="131609" y="547716"/>
                    <a:pt x="131609" y="531398"/>
                  </a:cubicBezTo>
                  <a:cubicBezTo>
                    <a:pt x="131609" y="509641"/>
                    <a:pt x="131609" y="487884"/>
                    <a:pt x="131609" y="466126"/>
                  </a:cubicBezTo>
                  <a:cubicBezTo>
                    <a:pt x="131609" y="452528"/>
                    <a:pt x="131609" y="436210"/>
                    <a:pt x="131609" y="422612"/>
                  </a:cubicBezTo>
                  <a:cubicBezTo>
                    <a:pt x="131609" y="419892"/>
                    <a:pt x="131609" y="414453"/>
                    <a:pt x="131609" y="411733"/>
                  </a:cubicBezTo>
                  <a:cubicBezTo>
                    <a:pt x="131609" y="409014"/>
                    <a:pt x="131609" y="400855"/>
                    <a:pt x="131609" y="398135"/>
                  </a:cubicBezTo>
                  <a:cubicBezTo>
                    <a:pt x="131609" y="392696"/>
                    <a:pt x="131609" y="392696"/>
                    <a:pt x="126170" y="389976"/>
                  </a:cubicBezTo>
                  <a:cubicBezTo>
                    <a:pt x="123450" y="389976"/>
                    <a:pt x="109852" y="387257"/>
                    <a:pt x="101693" y="387257"/>
                  </a:cubicBezTo>
                  <a:cubicBezTo>
                    <a:pt x="90814" y="384537"/>
                    <a:pt x="77216" y="381817"/>
                    <a:pt x="77216" y="376378"/>
                  </a:cubicBezTo>
                  <a:cubicBezTo>
                    <a:pt x="77216" y="373658"/>
                    <a:pt x="79936" y="370939"/>
                    <a:pt x="82655" y="368219"/>
                  </a:cubicBezTo>
                  <a:cubicBezTo>
                    <a:pt x="88095" y="365499"/>
                    <a:pt x="93534" y="362780"/>
                    <a:pt x="98973" y="360060"/>
                  </a:cubicBezTo>
                  <a:cubicBezTo>
                    <a:pt x="104413" y="360060"/>
                    <a:pt x="112571" y="357340"/>
                    <a:pt x="118011" y="357340"/>
                  </a:cubicBezTo>
                  <a:cubicBezTo>
                    <a:pt x="126170" y="354621"/>
                    <a:pt x="128890" y="357340"/>
                    <a:pt x="131609" y="351901"/>
                  </a:cubicBezTo>
                  <a:cubicBezTo>
                    <a:pt x="131609" y="349181"/>
                    <a:pt x="131609" y="346462"/>
                    <a:pt x="131609" y="343742"/>
                  </a:cubicBezTo>
                  <a:cubicBezTo>
                    <a:pt x="131609" y="319265"/>
                    <a:pt x="131609" y="294788"/>
                    <a:pt x="131609" y="270311"/>
                  </a:cubicBezTo>
                  <a:cubicBezTo>
                    <a:pt x="131609" y="226797"/>
                    <a:pt x="131609" y="186002"/>
                    <a:pt x="137048" y="145207"/>
                  </a:cubicBezTo>
                  <a:cubicBezTo>
                    <a:pt x="137048" y="139768"/>
                    <a:pt x="137048" y="131609"/>
                    <a:pt x="139768" y="123450"/>
                  </a:cubicBezTo>
                  <a:cubicBezTo>
                    <a:pt x="134329" y="123450"/>
                    <a:pt x="137048" y="123450"/>
                    <a:pt x="123450" y="123450"/>
                  </a:cubicBezTo>
                  <a:cubicBezTo>
                    <a:pt x="120731" y="123450"/>
                    <a:pt x="120731" y="123450"/>
                    <a:pt x="118011" y="123450"/>
                  </a:cubicBezTo>
                  <a:cubicBezTo>
                    <a:pt x="112571" y="123450"/>
                    <a:pt x="107133" y="123450"/>
                    <a:pt x="101693" y="123450"/>
                  </a:cubicBezTo>
                  <a:cubicBezTo>
                    <a:pt x="93534" y="123450"/>
                    <a:pt x="82655" y="120730"/>
                    <a:pt x="74496" y="118011"/>
                  </a:cubicBezTo>
                  <a:cubicBezTo>
                    <a:pt x="66338" y="115291"/>
                    <a:pt x="58178" y="107132"/>
                    <a:pt x="58178" y="101693"/>
                  </a:cubicBezTo>
                  <a:cubicBezTo>
                    <a:pt x="58178" y="98973"/>
                    <a:pt x="58178" y="96253"/>
                    <a:pt x="63618" y="93534"/>
                  </a:cubicBezTo>
                  <a:cubicBezTo>
                    <a:pt x="66338" y="90814"/>
                    <a:pt x="77216" y="88095"/>
                    <a:pt x="85375" y="85375"/>
                  </a:cubicBezTo>
                  <a:cubicBezTo>
                    <a:pt x="104413" y="82655"/>
                    <a:pt x="128890" y="82655"/>
                    <a:pt x="137048" y="82655"/>
                  </a:cubicBezTo>
                  <a:cubicBezTo>
                    <a:pt x="139768" y="82655"/>
                    <a:pt x="142488" y="82655"/>
                    <a:pt x="147927" y="82655"/>
                  </a:cubicBezTo>
                  <a:cubicBezTo>
                    <a:pt x="153366" y="69057"/>
                    <a:pt x="164245" y="58178"/>
                    <a:pt x="186003" y="58178"/>
                  </a:cubicBezTo>
                  <a:cubicBezTo>
                    <a:pt x="202321" y="58178"/>
                    <a:pt x="215919" y="66337"/>
                    <a:pt x="226797" y="79936"/>
                  </a:cubicBezTo>
                  <a:cubicBezTo>
                    <a:pt x="237676" y="79936"/>
                    <a:pt x="248554" y="79936"/>
                    <a:pt x="253994" y="79936"/>
                  </a:cubicBezTo>
                  <a:cubicBezTo>
                    <a:pt x="267592" y="79936"/>
                    <a:pt x="294789" y="79936"/>
                    <a:pt x="294789" y="96253"/>
                  </a:cubicBezTo>
                  <a:cubicBezTo>
                    <a:pt x="294789" y="104412"/>
                    <a:pt x="289349" y="107132"/>
                    <a:pt x="283910" y="112571"/>
                  </a:cubicBezTo>
                  <a:cubicBezTo>
                    <a:pt x="278471" y="118011"/>
                    <a:pt x="273031" y="120730"/>
                    <a:pt x="267592" y="120730"/>
                  </a:cubicBezTo>
                  <a:cubicBezTo>
                    <a:pt x="259433" y="123450"/>
                    <a:pt x="251274" y="123450"/>
                    <a:pt x="245835" y="123450"/>
                  </a:cubicBezTo>
                  <a:cubicBezTo>
                    <a:pt x="245835" y="123450"/>
                    <a:pt x="243116" y="123450"/>
                    <a:pt x="237676" y="123450"/>
                  </a:cubicBezTo>
                  <a:cubicBezTo>
                    <a:pt x="237676" y="126170"/>
                    <a:pt x="237676" y="126170"/>
                    <a:pt x="240396" y="128889"/>
                  </a:cubicBezTo>
                  <a:cubicBezTo>
                    <a:pt x="245835" y="145207"/>
                    <a:pt x="248554" y="161525"/>
                    <a:pt x="251274" y="177843"/>
                  </a:cubicBezTo>
                  <a:cubicBezTo>
                    <a:pt x="253994" y="194161"/>
                    <a:pt x="253994" y="210479"/>
                    <a:pt x="256714" y="226797"/>
                  </a:cubicBezTo>
                  <a:cubicBezTo>
                    <a:pt x="259433" y="243115"/>
                    <a:pt x="262153" y="256713"/>
                    <a:pt x="262153" y="273031"/>
                  </a:cubicBezTo>
                  <a:cubicBezTo>
                    <a:pt x="262153" y="278470"/>
                    <a:pt x="262153" y="283910"/>
                    <a:pt x="262153" y="289349"/>
                  </a:cubicBezTo>
                  <a:lnTo>
                    <a:pt x="262153" y="297508"/>
                  </a:lnTo>
                  <a:cubicBezTo>
                    <a:pt x="262153" y="305667"/>
                    <a:pt x="262153" y="313826"/>
                    <a:pt x="264872" y="321985"/>
                  </a:cubicBezTo>
                  <a:cubicBezTo>
                    <a:pt x="264872" y="327424"/>
                    <a:pt x="270312" y="330144"/>
                    <a:pt x="270312" y="335583"/>
                  </a:cubicBezTo>
                  <a:cubicBezTo>
                    <a:pt x="270312" y="335583"/>
                    <a:pt x="270312" y="338303"/>
                    <a:pt x="270312" y="338303"/>
                  </a:cubicBezTo>
                  <a:cubicBezTo>
                    <a:pt x="270312" y="341022"/>
                    <a:pt x="270312" y="343742"/>
                    <a:pt x="270312" y="346462"/>
                  </a:cubicBezTo>
                  <a:cubicBezTo>
                    <a:pt x="270312" y="351901"/>
                    <a:pt x="273031" y="354621"/>
                    <a:pt x="278471" y="354621"/>
                  </a:cubicBezTo>
                  <a:cubicBezTo>
                    <a:pt x="289349" y="354621"/>
                    <a:pt x="335584" y="351901"/>
                    <a:pt x="338304" y="349181"/>
                  </a:cubicBezTo>
                  <a:cubicBezTo>
                    <a:pt x="346462" y="349181"/>
                    <a:pt x="357341" y="349181"/>
                    <a:pt x="365500" y="349181"/>
                  </a:cubicBezTo>
                  <a:cubicBezTo>
                    <a:pt x="370939" y="349181"/>
                    <a:pt x="376379" y="349181"/>
                    <a:pt x="381817" y="349181"/>
                  </a:cubicBezTo>
                  <a:cubicBezTo>
                    <a:pt x="387257" y="349181"/>
                    <a:pt x="392697" y="346462"/>
                    <a:pt x="392697" y="338303"/>
                  </a:cubicBezTo>
                  <a:cubicBezTo>
                    <a:pt x="392697" y="330144"/>
                    <a:pt x="389977" y="316545"/>
                    <a:pt x="389977" y="313826"/>
                  </a:cubicBezTo>
                  <a:cubicBezTo>
                    <a:pt x="389977" y="294788"/>
                    <a:pt x="389977" y="278470"/>
                    <a:pt x="392697" y="262152"/>
                  </a:cubicBezTo>
                  <a:cubicBezTo>
                    <a:pt x="392697" y="259433"/>
                    <a:pt x="395416" y="243115"/>
                    <a:pt x="395416" y="224077"/>
                  </a:cubicBezTo>
                  <a:cubicBezTo>
                    <a:pt x="395416" y="207759"/>
                    <a:pt x="398136" y="188722"/>
                    <a:pt x="398136" y="177843"/>
                  </a:cubicBezTo>
                  <a:cubicBezTo>
                    <a:pt x="398136" y="169684"/>
                    <a:pt x="395416" y="158806"/>
                    <a:pt x="395416" y="153366"/>
                  </a:cubicBezTo>
                  <a:cubicBezTo>
                    <a:pt x="395416" y="145207"/>
                    <a:pt x="395416" y="142488"/>
                    <a:pt x="395416" y="137048"/>
                  </a:cubicBezTo>
                  <a:cubicBezTo>
                    <a:pt x="389977" y="137048"/>
                    <a:pt x="384537" y="137048"/>
                    <a:pt x="379098" y="137048"/>
                  </a:cubicBezTo>
                  <a:cubicBezTo>
                    <a:pt x="370939" y="137048"/>
                    <a:pt x="360061" y="134329"/>
                    <a:pt x="351902" y="131609"/>
                  </a:cubicBezTo>
                  <a:cubicBezTo>
                    <a:pt x="343742" y="128889"/>
                    <a:pt x="338304" y="120730"/>
                    <a:pt x="338304" y="115291"/>
                  </a:cubicBezTo>
                  <a:cubicBezTo>
                    <a:pt x="338304" y="112571"/>
                    <a:pt x="338304" y="109852"/>
                    <a:pt x="343742" y="107132"/>
                  </a:cubicBezTo>
                  <a:cubicBezTo>
                    <a:pt x="349182" y="104412"/>
                    <a:pt x="357341" y="101693"/>
                    <a:pt x="362780" y="98973"/>
                  </a:cubicBezTo>
                  <a:cubicBezTo>
                    <a:pt x="373659" y="96253"/>
                    <a:pt x="387257" y="96253"/>
                    <a:pt x="395416" y="96253"/>
                  </a:cubicBezTo>
                  <a:cubicBezTo>
                    <a:pt x="398136" y="93534"/>
                    <a:pt x="400855" y="90814"/>
                    <a:pt x="403575" y="90814"/>
                  </a:cubicBezTo>
                  <a:cubicBezTo>
                    <a:pt x="411734" y="90814"/>
                    <a:pt x="419893" y="88095"/>
                    <a:pt x="422612" y="88095"/>
                  </a:cubicBezTo>
                  <a:cubicBezTo>
                    <a:pt x="425332" y="88095"/>
                    <a:pt x="425332" y="88095"/>
                    <a:pt x="428052" y="88095"/>
                  </a:cubicBezTo>
                  <a:cubicBezTo>
                    <a:pt x="433492" y="88095"/>
                    <a:pt x="441650" y="88095"/>
                    <a:pt x="447090" y="90814"/>
                  </a:cubicBezTo>
                  <a:cubicBezTo>
                    <a:pt x="449809" y="90814"/>
                    <a:pt x="452529" y="93534"/>
                    <a:pt x="455249" y="96253"/>
                  </a:cubicBezTo>
                  <a:cubicBezTo>
                    <a:pt x="482445" y="96253"/>
                    <a:pt x="509642" y="93534"/>
                    <a:pt x="525960" y="93534"/>
                  </a:cubicBezTo>
                  <a:cubicBezTo>
                    <a:pt x="539558" y="93534"/>
                    <a:pt x="561315" y="93534"/>
                    <a:pt x="561315" y="109852"/>
                  </a:cubicBezTo>
                  <a:cubicBezTo>
                    <a:pt x="561315" y="118011"/>
                    <a:pt x="561315" y="120730"/>
                    <a:pt x="555876" y="126170"/>
                  </a:cubicBezTo>
                  <a:cubicBezTo>
                    <a:pt x="550437" y="131609"/>
                    <a:pt x="544997" y="134329"/>
                    <a:pt x="539558" y="134329"/>
                  </a:cubicBezTo>
                  <a:cubicBezTo>
                    <a:pt x="531399" y="137048"/>
                    <a:pt x="523240" y="137048"/>
                    <a:pt x="517800" y="137048"/>
                  </a:cubicBezTo>
                  <a:cubicBezTo>
                    <a:pt x="515081" y="137048"/>
                    <a:pt x="498763" y="137048"/>
                    <a:pt x="477006" y="137048"/>
                  </a:cubicBezTo>
                  <a:cubicBezTo>
                    <a:pt x="479725" y="145207"/>
                    <a:pt x="485165" y="153366"/>
                    <a:pt x="485165" y="161525"/>
                  </a:cubicBezTo>
                  <a:cubicBezTo>
                    <a:pt x="487885" y="177843"/>
                    <a:pt x="493324" y="194161"/>
                    <a:pt x="496043" y="210479"/>
                  </a:cubicBezTo>
                  <a:cubicBezTo>
                    <a:pt x="498763" y="224077"/>
                    <a:pt x="498763" y="237676"/>
                    <a:pt x="501483" y="251274"/>
                  </a:cubicBezTo>
                  <a:cubicBezTo>
                    <a:pt x="504202" y="264872"/>
                    <a:pt x="506922" y="275751"/>
                    <a:pt x="506922" y="292069"/>
                  </a:cubicBezTo>
                  <a:cubicBezTo>
                    <a:pt x="506922" y="302947"/>
                    <a:pt x="506922" y="311106"/>
                    <a:pt x="506922" y="321985"/>
                  </a:cubicBezTo>
                  <a:cubicBezTo>
                    <a:pt x="506922" y="327424"/>
                    <a:pt x="509642" y="335583"/>
                    <a:pt x="509642" y="341022"/>
                  </a:cubicBezTo>
                  <a:cubicBezTo>
                    <a:pt x="509642" y="343742"/>
                    <a:pt x="509642" y="343742"/>
                    <a:pt x="509642" y="343742"/>
                  </a:cubicBezTo>
                  <a:cubicBezTo>
                    <a:pt x="509642" y="349181"/>
                    <a:pt x="515081" y="349181"/>
                    <a:pt x="517800" y="349181"/>
                  </a:cubicBezTo>
                  <a:cubicBezTo>
                    <a:pt x="520520" y="349181"/>
                    <a:pt x="523240" y="349181"/>
                    <a:pt x="528680" y="349181"/>
                  </a:cubicBezTo>
                  <a:cubicBezTo>
                    <a:pt x="536838" y="349181"/>
                    <a:pt x="547717" y="349181"/>
                    <a:pt x="550437" y="357340"/>
                  </a:cubicBezTo>
                  <a:cubicBezTo>
                    <a:pt x="550437" y="360060"/>
                    <a:pt x="550437" y="360060"/>
                    <a:pt x="550437" y="362780"/>
                  </a:cubicBezTo>
                  <a:cubicBezTo>
                    <a:pt x="550437" y="370939"/>
                    <a:pt x="539558" y="381817"/>
                    <a:pt x="534119" y="384537"/>
                  </a:cubicBezTo>
                  <a:cubicBezTo>
                    <a:pt x="531399" y="387257"/>
                    <a:pt x="523240" y="387257"/>
                    <a:pt x="520520" y="389976"/>
                  </a:cubicBezTo>
                  <a:cubicBezTo>
                    <a:pt x="515081" y="389976"/>
                    <a:pt x="512362" y="392696"/>
                    <a:pt x="512362" y="395415"/>
                  </a:cubicBezTo>
                  <a:cubicBezTo>
                    <a:pt x="512362" y="395415"/>
                    <a:pt x="512362" y="398135"/>
                    <a:pt x="512362" y="398135"/>
                  </a:cubicBezTo>
                  <a:cubicBezTo>
                    <a:pt x="512362" y="400855"/>
                    <a:pt x="512362" y="406294"/>
                    <a:pt x="512362" y="409014"/>
                  </a:cubicBezTo>
                  <a:cubicBezTo>
                    <a:pt x="512362" y="411733"/>
                    <a:pt x="512362" y="411733"/>
                    <a:pt x="512362" y="414453"/>
                  </a:cubicBezTo>
                  <a:cubicBezTo>
                    <a:pt x="512362" y="422612"/>
                    <a:pt x="512362" y="430771"/>
                    <a:pt x="512362" y="438930"/>
                  </a:cubicBezTo>
                  <a:cubicBezTo>
                    <a:pt x="512362" y="460687"/>
                    <a:pt x="512362" y="482445"/>
                    <a:pt x="515081" y="504202"/>
                  </a:cubicBezTo>
                  <a:cubicBezTo>
                    <a:pt x="517800" y="525959"/>
                    <a:pt x="520520" y="550436"/>
                    <a:pt x="520520" y="572193"/>
                  </a:cubicBezTo>
                  <a:cubicBezTo>
                    <a:pt x="520520" y="583072"/>
                    <a:pt x="520520" y="593950"/>
                    <a:pt x="517800" y="604829"/>
                  </a:cubicBezTo>
                  <a:cubicBezTo>
                    <a:pt x="515081" y="623867"/>
                    <a:pt x="515081" y="642904"/>
                    <a:pt x="512362" y="661942"/>
                  </a:cubicBezTo>
                  <a:cubicBezTo>
                    <a:pt x="512362" y="664661"/>
                    <a:pt x="509642" y="667381"/>
                    <a:pt x="509642" y="670101"/>
                  </a:cubicBezTo>
                  <a:cubicBezTo>
                    <a:pt x="509642" y="672820"/>
                    <a:pt x="512362" y="678260"/>
                    <a:pt x="512362" y="680979"/>
                  </a:cubicBezTo>
                  <a:cubicBezTo>
                    <a:pt x="512362" y="683699"/>
                    <a:pt x="512362" y="686419"/>
                    <a:pt x="512362" y="686419"/>
                  </a:cubicBezTo>
                  <a:cubicBezTo>
                    <a:pt x="517800" y="680979"/>
                    <a:pt x="528680" y="680979"/>
                    <a:pt x="536838" y="680979"/>
                  </a:cubicBezTo>
                  <a:lnTo>
                    <a:pt x="536838" y="680979"/>
                  </a:ln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0" name="Freeform: Shape 49">
              <a:extLst>
                <a:ext uri="{FF2B5EF4-FFF2-40B4-BE49-F238E27FC236}">
                  <a16:creationId xmlns:a16="http://schemas.microsoft.com/office/drawing/2014/main" id="{045AFC19-C641-4E38-8827-516270B72E11}"/>
                </a:ext>
              </a:extLst>
            </p:cNvPr>
            <p:cNvSpPr/>
            <p:nvPr/>
          </p:nvSpPr>
          <p:spPr>
            <a:xfrm>
              <a:off x="9592416" y="4192158"/>
              <a:ext cx="516735" cy="761503"/>
            </a:xfrm>
            <a:custGeom>
              <a:avLst/>
              <a:gdLst>
                <a:gd name="connsiteX0" fmla="*/ 463407 w 516735"/>
                <a:gd name="connsiteY0" fmla="*/ 194161 h 761503"/>
                <a:gd name="connsiteX1" fmla="*/ 447089 w 516735"/>
                <a:gd name="connsiteY1" fmla="*/ 226797 h 761503"/>
                <a:gd name="connsiteX2" fmla="*/ 430771 w 516735"/>
                <a:gd name="connsiteY2" fmla="*/ 221357 h 761503"/>
                <a:gd name="connsiteX3" fmla="*/ 422612 w 516735"/>
                <a:gd name="connsiteY3" fmla="*/ 207759 h 761503"/>
                <a:gd name="connsiteX4" fmla="*/ 419893 w 516735"/>
                <a:gd name="connsiteY4" fmla="*/ 188722 h 761503"/>
                <a:gd name="connsiteX5" fmla="*/ 419893 w 516735"/>
                <a:gd name="connsiteY5" fmla="*/ 139768 h 761503"/>
                <a:gd name="connsiteX6" fmla="*/ 419893 w 516735"/>
                <a:gd name="connsiteY6" fmla="*/ 120730 h 761503"/>
                <a:gd name="connsiteX7" fmla="*/ 395416 w 516735"/>
                <a:gd name="connsiteY7" fmla="*/ 120730 h 761503"/>
                <a:gd name="connsiteX8" fmla="*/ 370939 w 516735"/>
                <a:gd name="connsiteY8" fmla="*/ 120730 h 761503"/>
                <a:gd name="connsiteX9" fmla="*/ 346461 w 516735"/>
                <a:gd name="connsiteY9" fmla="*/ 123450 h 761503"/>
                <a:gd name="connsiteX10" fmla="*/ 335583 w 516735"/>
                <a:gd name="connsiteY10" fmla="*/ 123450 h 761503"/>
                <a:gd name="connsiteX11" fmla="*/ 335583 w 516735"/>
                <a:gd name="connsiteY11" fmla="*/ 123450 h 761503"/>
                <a:gd name="connsiteX12" fmla="*/ 324704 w 516735"/>
                <a:gd name="connsiteY12" fmla="*/ 128889 h 761503"/>
                <a:gd name="connsiteX13" fmla="*/ 327424 w 516735"/>
                <a:gd name="connsiteY13" fmla="*/ 139768 h 761503"/>
                <a:gd name="connsiteX14" fmla="*/ 330144 w 516735"/>
                <a:gd name="connsiteY14" fmla="*/ 175123 h 761503"/>
                <a:gd name="connsiteX15" fmla="*/ 330144 w 516735"/>
                <a:gd name="connsiteY15" fmla="*/ 199600 h 761503"/>
                <a:gd name="connsiteX16" fmla="*/ 327424 w 516735"/>
                <a:gd name="connsiteY16" fmla="*/ 224077 h 761503"/>
                <a:gd name="connsiteX17" fmla="*/ 330144 w 516735"/>
                <a:gd name="connsiteY17" fmla="*/ 251274 h 761503"/>
                <a:gd name="connsiteX18" fmla="*/ 327424 w 516735"/>
                <a:gd name="connsiteY18" fmla="*/ 278470 h 761503"/>
                <a:gd name="connsiteX19" fmla="*/ 327424 w 516735"/>
                <a:gd name="connsiteY19" fmla="*/ 332864 h 761503"/>
                <a:gd name="connsiteX20" fmla="*/ 330144 w 516735"/>
                <a:gd name="connsiteY20" fmla="*/ 357340 h 761503"/>
                <a:gd name="connsiteX21" fmla="*/ 330144 w 516735"/>
                <a:gd name="connsiteY21" fmla="*/ 368219 h 761503"/>
                <a:gd name="connsiteX22" fmla="*/ 332863 w 516735"/>
                <a:gd name="connsiteY22" fmla="*/ 387257 h 761503"/>
                <a:gd name="connsiteX23" fmla="*/ 332863 w 516735"/>
                <a:gd name="connsiteY23" fmla="*/ 433491 h 761503"/>
                <a:gd name="connsiteX24" fmla="*/ 332863 w 516735"/>
                <a:gd name="connsiteY24" fmla="*/ 487884 h 761503"/>
                <a:gd name="connsiteX25" fmla="*/ 330144 w 516735"/>
                <a:gd name="connsiteY25" fmla="*/ 512361 h 761503"/>
                <a:gd name="connsiteX26" fmla="*/ 330144 w 516735"/>
                <a:gd name="connsiteY26" fmla="*/ 539557 h 761503"/>
                <a:gd name="connsiteX27" fmla="*/ 332863 w 516735"/>
                <a:gd name="connsiteY27" fmla="*/ 593950 h 761503"/>
                <a:gd name="connsiteX28" fmla="*/ 332863 w 516735"/>
                <a:gd name="connsiteY28" fmla="*/ 648343 h 761503"/>
                <a:gd name="connsiteX29" fmla="*/ 332863 w 516735"/>
                <a:gd name="connsiteY29" fmla="*/ 656502 h 761503"/>
                <a:gd name="connsiteX30" fmla="*/ 357341 w 516735"/>
                <a:gd name="connsiteY30" fmla="*/ 656502 h 761503"/>
                <a:gd name="connsiteX31" fmla="*/ 395416 w 516735"/>
                <a:gd name="connsiteY31" fmla="*/ 675540 h 761503"/>
                <a:gd name="connsiteX32" fmla="*/ 389976 w 516735"/>
                <a:gd name="connsiteY32" fmla="*/ 691858 h 761503"/>
                <a:gd name="connsiteX33" fmla="*/ 373658 w 516735"/>
                <a:gd name="connsiteY33" fmla="*/ 700017 h 761503"/>
                <a:gd name="connsiteX34" fmla="*/ 351901 w 516735"/>
                <a:gd name="connsiteY34" fmla="*/ 702737 h 761503"/>
                <a:gd name="connsiteX35" fmla="*/ 319265 w 516735"/>
                <a:gd name="connsiteY35" fmla="*/ 702737 h 761503"/>
                <a:gd name="connsiteX36" fmla="*/ 311106 w 516735"/>
                <a:gd name="connsiteY36" fmla="*/ 708176 h 761503"/>
                <a:gd name="connsiteX37" fmla="*/ 289349 w 516735"/>
                <a:gd name="connsiteY37" fmla="*/ 713615 h 761503"/>
                <a:gd name="connsiteX38" fmla="*/ 270311 w 516735"/>
                <a:gd name="connsiteY38" fmla="*/ 713615 h 761503"/>
                <a:gd name="connsiteX39" fmla="*/ 243115 w 516735"/>
                <a:gd name="connsiteY39" fmla="*/ 705456 h 761503"/>
                <a:gd name="connsiteX40" fmla="*/ 237675 w 516735"/>
                <a:gd name="connsiteY40" fmla="*/ 702737 h 761503"/>
                <a:gd name="connsiteX41" fmla="*/ 199600 w 516735"/>
                <a:gd name="connsiteY41" fmla="*/ 702737 h 761503"/>
                <a:gd name="connsiteX42" fmla="*/ 175123 w 516735"/>
                <a:gd name="connsiteY42" fmla="*/ 702737 h 761503"/>
                <a:gd name="connsiteX43" fmla="*/ 147927 w 516735"/>
                <a:gd name="connsiteY43" fmla="*/ 697297 h 761503"/>
                <a:gd name="connsiteX44" fmla="*/ 131609 w 516735"/>
                <a:gd name="connsiteY44" fmla="*/ 678260 h 761503"/>
                <a:gd name="connsiteX45" fmla="*/ 137048 w 516735"/>
                <a:gd name="connsiteY45" fmla="*/ 670101 h 761503"/>
                <a:gd name="connsiteX46" fmla="*/ 158805 w 516735"/>
                <a:gd name="connsiteY46" fmla="*/ 661942 h 761503"/>
                <a:gd name="connsiteX47" fmla="*/ 199600 w 516735"/>
                <a:gd name="connsiteY47" fmla="*/ 659222 h 761503"/>
                <a:gd name="connsiteX48" fmla="*/ 199600 w 516735"/>
                <a:gd name="connsiteY48" fmla="*/ 659222 h 761503"/>
                <a:gd name="connsiteX49" fmla="*/ 196880 w 516735"/>
                <a:gd name="connsiteY49" fmla="*/ 629306 h 761503"/>
                <a:gd name="connsiteX50" fmla="*/ 199600 w 516735"/>
                <a:gd name="connsiteY50" fmla="*/ 574913 h 761503"/>
                <a:gd name="connsiteX51" fmla="*/ 202320 w 516735"/>
                <a:gd name="connsiteY51" fmla="*/ 523239 h 761503"/>
                <a:gd name="connsiteX52" fmla="*/ 205040 w 516735"/>
                <a:gd name="connsiteY52" fmla="*/ 460687 h 761503"/>
                <a:gd name="connsiteX53" fmla="*/ 205040 w 516735"/>
                <a:gd name="connsiteY53" fmla="*/ 417173 h 761503"/>
                <a:gd name="connsiteX54" fmla="*/ 207759 w 516735"/>
                <a:gd name="connsiteY54" fmla="*/ 392696 h 761503"/>
                <a:gd name="connsiteX55" fmla="*/ 210478 w 516735"/>
                <a:gd name="connsiteY55" fmla="*/ 368219 h 761503"/>
                <a:gd name="connsiteX56" fmla="*/ 210478 w 516735"/>
                <a:gd name="connsiteY56" fmla="*/ 313826 h 761503"/>
                <a:gd name="connsiteX57" fmla="*/ 210478 w 516735"/>
                <a:gd name="connsiteY57" fmla="*/ 259433 h 761503"/>
                <a:gd name="connsiteX58" fmla="*/ 210478 w 516735"/>
                <a:gd name="connsiteY58" fmla="*/ 213199 h 761503"/>
                <a:gd name="connsiteX59" fmla="*/ 210478 w 516735"/>
                <a:gd name="connsiteY59" fmla="*/ 145207 h 761503"/>
                <a:gd name="connsiteX60" fmla="*/ 213198 w 516735"/>
                <a:gd name="connsiteY60" fmla="*/ 131609 h 761503"/>
                <a:gd name="connsiteX61" fmla="*/ 205040 w 516735"/>
                <a:gd name="connsiteY61" fmla="*/ 123450 h 761503"/>
                <a:gd name="connsiteX62" fmla="*/ 161525 w 516735"/>
                <a:gd name="connsiteY62" fmla="*/ 123450 h 761503"/>
                <a:gd name="connsiteX63" fmla="*/ 112571 w 516735"/>
                <a:gd name="connsiteY63" fmla="*/ 120730 h 761503"/>
                <a:gd name="connsiteX64" fmla="*/ 104412 w 516735"/>
                <a:gd name="connsiteY64" fmla="*/ 118011 h 761503"/>
                <a:gd name="connsiteX65" fmla="*/ 107132 w 516735"/>
                <a:gd name="connsiteY65" fmla="*/ 191441 h 761503"/>
                <a:gd name="connsiteX66" fmla="*/ 90814 w 516735"/>
                <a:gd name="connsiteY66" fmla="*/ 224077 h 761503"/>
                <a:gd name="connsiteX67" fmla="*/ 74496 w 516735"/>
                <a:gd name="connsiteY67" fmla="*/ 218638 h 761503"/>
                <a:gd name="connsiteX68" fmla="*/ 66337 w 516735"/>
                <a:gd name="connsiteY68" fmla="*/ 205040 h 761503"/>
                <a:gd name="connsiteX69" fmla="*/ 63617 w 516735"/>
                <a:gd name="connsiteY69" fmla="*/ 186002 h 761503"/>
                <a:gd name="connsiteX70" fmla="*/ 63617 w 516735"/>
                <a:gd name="connsiteY70" fmla="*/ 145207 h 761503"/>
                <a:gd name="connsiteX71" fmla="*/ 63617 w 516735"/>
                <a:gd name="connsiteY71" fmla="*/ 109852 h 761503"/>
                <a:gd name="connsiteX72" fmla="*/ 58178 w 516735"/>
                <a:gd name="connsiteY72" fmla="*/ 96253 h 761503"/>
                <a:gd name="connsiteX73" fmla="*/ 66337 w 516735"/>
                <a:gd name="connsiteY73" fmla="*/ 85375 h 761503"/>
                <a:gd name="connsiteX74" fmla="*/ 93533 w 516735"/>
                <a:gd name="connsiteY74" fmla="*/ 77216 h 761503"/>
                <a:gd name="connsiteX75" fmla="*/ 115290 w 516735"/>
                <a:gd name="connsiteY75" fmla="*/ 77216 h 761503"/>
                <a:gd name="connsiteX76" fmla="*/ 169684 w 516735"/>
                <a:gd name="connsiteY76" fmla="*/ 74496 h 761503"/>
                <a:gd name="connsiteX77" fmla="*/ 194161 w 516735"/>
                <a:gd name="connsiteY77" fmla="*/ 71776 h 761503"/>
                <a:gd name="connsiteX78" fmla="*/ 196880 w 516735"/>
                <a:gd name="connsiteY78" fmla="*/ 71776 h 761503"/>
                <a:gd name="connsiteX79" fmla="*/ 210478 w 516735"/>
                <a:gd name="connsiteY79" fmla="*/ 71776 h 761503"/>
                <a:gd name="connsiteX80" fmla="*/ 218638 w 516735"/>
                <a:gd name="connsiteY80" fmla="*/ 71776 h 761503"/>
                <a:gd name="connsiteX81" fmla="*/ 237675 w 516735"/>
                <a:gd name="connsiteY81" fmla="*/ 60898 h 761503"/>
                <a:gd name="connsiteX82" fmla="*/ 253993 w 516735"/>
                <a:gd name="connsiteY82" fmla="*/ 58178 h 761503"/>
                <a:gd name="connsiteX83" fmla="*/ 283910 w 516735"/>
                <a:gd name="connsiteY83" fmla="*/ 60898 h 761503"/>
                <a:gd name="connsiteX84" fmla="*/ 294788 w 516735"/>
                <a:gd name="connsiteY84" fmla="*/ 66337 h 761503"/>
                <a:gd name="connsiteX85" fmla="*/ 305667 w 516735"/>
                <a:gd name="connsiteY85" fmla="*/ 74496 h 761503"/>
                <a:gd name="connsiteX86" fmla="*/ 313826 w 516735"/>
                <a:gd name="connsiteY86" fmla="*/ 74496 h 761503"/>
                <a:gd name="connsiteX87" fmla="*/ 327424 w 516735"/>
                <a:gd name="connsiteY87" fmla="*/ 74496 h 761503"/>
                <a:gd name="connsiteX88" fmla="*/ 354621 w 516735"/>
                <a:gd name="connsiteY88" fmla="*/ 74496 h 761503"/>
                <a:gd name="connsiteX89" fmla="*/ 422612 w 516735"/>
                <a:gd name="connsiteY89" fmla="*/ 74496 h 761503"/>
                <a:gd name="connsiteX90" fmla="*/ 455248 w 516735"/>
                <a:gd name="connsiteY90" fmla="*/ 79936 h 761503"/>
                <a:gd name="connsiteX91" fmla="*/ 466127 w 516735"/>
                <a:gd name="connsiteY91" fmla="*/ 98973 h 761503"/>
                <a:gd name="connsiteX92" fmla="*/ 463407 w 516735"/>
                <a:gd name="connsiteY92" fmla="*/ 109852 h 761503"/>
                <a:gd name="connsiteX93" fmla="*/ 463407 w 516735"/>
                <a:gd name="connsiteY93" fmla="*/ 120730 h 761503"/>
                <a:gd name="connsiteX94" fmla="*/ 463407 w 516735"/>
                <a:gd name="connsiteY94" fmla="*/ 194161 h 761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</a:cxnLst>
              <a:rect l="l" t="t" r="r" b="b"/>
              <a:pathLst>
                <a:path w="516735" h="761503">
                  <a:moveTo>
                    <a:pt x="463407" y="194161"/>
                  </a:moveTo>
                  <a:cubicBezTo>
                    <a:pt x="463407" y="205040"/>
                    <a:pt x="463407" y="226797"/>
                    <a:pt x="447089" y="226797"/>
                  </a:cubicBezTo>
                  <a:cubicBezTo>
                    <a:pt x="438930" y="226797"/>
                    <a:pt x="436211" y="226797"/>
                    <a:pt x="430771" y="221357"/>
                  </a:cubicBezTo>
                  <a:cubicBezTo>
                    <a:pt x="425332" y="218638"/>
                    <a:pt x="422612" y="210479"/>
                    <a:pt x="422612" y="207759"/>
                  </a:cubicBezTo>
                  <a:cubicBezTo>
                    <a:pt x="419893" y="199600"/>
                    <a:pt x="419893" y="194161"/>
                    <a:pt x="419893" y="188722"/>
                  </a:cubicBezTo>
                  <a:cubicBezTo>
                    <a:pt x="419893" y="183282"/>
                    <a:pt x="419893" y="147927"/>
                    <a:pt x="419893" y="139768"/>
                  </a:cubicBezTo>
                  <a:cubicBezTo>
                    <a:pt x="419893" y="134329"/>
                    <a:pt x="419893" y="128889"/>
                    <a:pt x="419893" y="120730"/>
                  </a:cubicBezTo>
                  <a:cubicBezTo>
                    <a:pt x="411734" y="120730"/>
                    <a:pt x="403574" y="120730"/>
                    <a:pt x="395416" y="120730"/>
                  </a:cubicBezTo>
                  <a:cubicBezTo>
                    <a:pt x="387256" y="120730"/>
                    <a:pt x="379098" y="120730"/>
                    <a:pt x="370939" y="120730"/>
                  </a:cubicBezTo>
                  <a:cubicBezTo>
                    <a:pt x="362780" y="120730"/>
                    <a:pt x="354621" y="123450"/>
                    <a:pt x="346461" y="123450"/>
                  </a:cubicBezTo>
                  <a:cubicBezTo>
                    <a:pt x="343742" y="123450"/>
                    <a:pt x="341023" y="123450"/>
                    <a:pt x="335583" y="123450"/>
                  </a:cubicBezTo>
                  <a:cubicBezTo>
                    <a:pt x="335583" y="123450"/>
                    <a:pt x="335583" y="123450"/>
                    <a:pt x="335583" y="123450"/>
                  </a:cubicBezTo>
                  <a:cubicBezTo>
                    <a:pt x="327424" y="123450"/>
                    <a:pt x="324704" y="126170"/>
                    <a:pt x="324704" y="128889"/>
                  </a:cubicBezTo>
                  <a:cubicBezTo>
                    <a:pt x="324704" y="131609"/>
                    <a:pt x="324704" y="137048"/>
                    <a:pt x="327424" y="139768"/>
                  </a:cubicBezTo>
                  <a:cubicBezTo>
                    <a:pt x="330144" y="147927"/>
                    <a:pt x="330144" y="166964"/>
                    <a:pt x="330144" y="175123"/>
                  </a:cubicBezTo>
                  <a:cubicBezTo>
                    <a:pt x="330144" y="183282"/>
                    <a:pt x="330144" y="191441"/>
                    <a:pt x="330144" y="199600"/>
                  </a:cubicBezTo>
                  <a:cubicBezTo>
                    <a:pt x="330144" y="207759"/>
                    <a:pt x="327424" y="215918"/>
                    <a:pt x="327424" y="224077"/>
                  </a:cubicBezTo>
                  <a:cubicBezTo>
                    <a:pt x="327424" y="232236"/>
                    <a:pt x="330144" y="243115"/>
                    <a:pt x="330144" y="251274"/>
                  </a:cubicBezTo>
                  <a:cubicBezTo>
                    <a:pt x="330144" y="259433"/>
                    <a:pt x="330144" y="267592"/>
                    <a:pt x="327424" y="278470"/>
                  </a:cubicBezTo>
                  <a:cubicBezTo>
                    <a:pt x="327424" y="294788"/>
                    <a:pt x="327424" y="313826"/>
                    <a:pt x="327424" y="332864"/>
                  </a:cubicBezTo>
                  <a:cubicBezTo>
                    <a:pt x="327424" y="341022"/>
                    <a:pt x="327424" y="349181"/>
                    <a:pt x="330144" y="357340"/>
                  </a:cubicBezTo>
                  <a:cubicBezTo>
                    <a:pt x="330144" y="360060"/>
                    <a:pt x="330144" y="365499"/>
                    <a:pt x="330144" y="368219"/>
                  </a:cubicBezTo>
                  <a:cubicBezTo>
                    <a:pt x="330144" y="373658"/>
                    <a:pt x="332863" y="384537"/>
                    <a:pt x="332863" y="387257"/>
                  </a:cubicBezTo>
                  <a:cubicBezTo>
                    <a:pt x="332863" y="406294"/>
                    <a:pt x="332863" y="414453"/>
                    <a:pt x="332863" y="433491"/>
                  </a:cubicBezTo>
                  <a:cubicBezTo>
                    <a:pt x="332863" y="452528"/>
                    <a:pt x="335583" y="468846"/>
                    <a:pt x="332863" y="487884"/>
                  </a:cubicBezTo>
                  <a:cubicBezTo>
                    <a:pt x="332863" y="496043"/>
                    <a:pt x="330144" y="504202"/>
                    <a:pt x="330144" y="512361"/>
                  </a:cubicBezTo>
                  <a:cubicBezTo>
                    <a:pt x="330144" y="520520"/>
                    <a:pt x="330144" y="531398"/>
                    <a:pt x="330144" y="539557"/>
                  </a:cubicBezTo>
                  <a:cubicBezTo>
                    <a:pt x="330144" y="558595"/>
                    <a:pt x="330144" y="574913"/>
                    <a:pt x="332863" y="593950"/>
                  </a:cubicBezTo>
                  <a:cubicBezTo>
                    <a:pt x="332863" y="610268"/>
                    <a:pt x="332863" y="632026"/>
                    <a:pt x="332863" y="648343"/>
                  </a:cubicBezTo>
                  <a:cubicBezTo>
                    <a:pt x="332863" y="651063"/>
                    <a:pt x="332863" y="653783"/>
                    <a:pt x="332863" y="656502"/>
                  </a:cubicBezTo>
                  <a:cubicBezTo>
                    <a:pt x="343742" y="656502"/>
                    <a:pt x="351901" y="656502"/>
                    <a:pt x="357341" y="656502"/>
                  </a:cubicBezTo>
                  <a:cubicBezTo>
                    <a:pt x="370939" y="656502"/>
                    <a:pt x="395416" y="659222"/>
                    <a:pt x="395416" y="675540"/>
                  </a:cubicBezTo>
                  <a:cubicBezTo>
                    <a:pt x="395416" y="683699"/>
                    <a:pt x="392696" y="686419"/>
                    <a:pt x="389976" y="691858"/>
                  </a:cubicBezTo>
                  <a:cubicBezTo>
                    <a:pt x="384537" y="697297"/>
                    <a:pt x="379098" y="700017"/>
                    <a:pt x="373658" y="700017"/>
                  </a:cubicBezTo>
                  <a:cubicBezTo>
                    <a:pt x="365499" y="702737"/>
                    <a:pt x="357341" y="702737"/>
                    <a:pt x="351901" y="702737"/>
                  </a:cubicBezTo>
                  <a:cubicBezTo>
                    <a:pt x="349181" y="702737"/>
                    <a:pt x="335583" y="702737"/>
                    <a:pt x="319265" y="702737"/>
                  </a:cubicBezTo>
                  <a:cubicBezTo>
                    <a:pt x="316546" y="705456"/>
                    <a:pt x="313826" y="705456"/>
                    <a:pt x="311106" y="708176"/>
                  </a:cubicBezTo>
                  <a:cubicBezTo>
                    <a:pt x="302948" y="713615"/>
                    <a:pt x="297508" y="713615"/>
                    <a:pt x="289349" y="713615"/>
                  </a:cubicBezTo>
                  <a:cubicBezTo>
                    <a:pt x="283910" y="713615"/>
                    <a:pt x="278470" y="713615"/>
                    <a:pt x="270311" y="713615"/>
                  </a:cubicBezTo>
                  <a:cubicBezTo>
                    <a:pt x="259433" y="713615"/>
                    <a:pt x="251273" y="710895"/>
                    <a:pt x="243115" y="705456"/>
                  </a:cubicBezTo>
                  <a:cubicBezTo>
                    <a:pt x="240395" y="705456"/>
                    <a:pt x="237675" y="702737"/>
                    <a:pt x="237675" y="702737"/>
                  </a:cubicBezTo>
                  <a:cubicBezTo>
                    <a:pt x="224077" y="702737"/>
                    <a:pt x="213198" y="702737"/>
                    <a:pt x="199600" y="702737"/>
                  </a:cubicBezTo>
                  <a:cubicBezTo>
                    <a:pt x="191441" y="702737"/>
                    <a:pt x="183282" y="702737"/>
                    <a:pt x="175123" y="702737"/>
                  </a:cubicBezTo>
                  <a:cubicBezTo>
                    <a:pt x="166965" y="702737"/>
                    <a:pt x="156085" y="702737"/>
                    <a:pt x="147927" y="697297"/>
                  </a:cubicBezTo>
                  <a:cubicBezTo>
                    <a:pt x="139768" y="694578"/>
                    <a:pt x="131609" y="680979"/>
                    <a:pt x="131609" y="678260"/>
                  </a:cubicBezTo>
                  <a:cubicBezTo>
                    <a:pt x="131609" y="675540"/>
                    <a:pt x="131609" y="672820"/>
                    <a:pt x="137048" y="670101"/>
                  </a:cubicBezTo>
                  <a:cubicBezTo>
                    <a:pt x="142487" y="667381"/>
                    <a:pt x="153366" y="664661"/>
                    <a:pt x="158805" y="661942"/>
                  </a:cubicBezTo>
                  <a:cubicBezTo>
                    <a:pt x="175123" y="659222"/>
                    <a:pt x="191441" y="659222"/>
                    <a:pt x="199600" y="659222"/>
                  </a:cubicBezTo>
                  <a:lnTo>
                    <a:pt x="199600" y="659222"/>
                  </a:lnTo>
                  <a:cubicBezTo>
                    <a:pt x="199600" y="648343"/>
                    <a:pt x="196880" y="640184"/>
                    <a:pt x="196880" y="629306"/>
                  </a:cubicBezTo>
                  <a:cubicBezTo>
                    <a:pt x="196880" y="612988"/>
                    <a:pt x="196880" y="591231"/>
                    <a:pt x="199600" y="574913"/>
                  </a:cubicBezTo>
                  <a:cubicBezTo>
                    <a:pt x="199600" y="558595"/>
                    <a:pt x="199600" y="539557"/>
                    <a:pt x="202320" y="523239"/>
                  </a:cubicBezTo>
                  <a:cubicBezTo>
                    <a:pt x="202320" y="501482"/>
                    <a:pt x="205040" y="482445"/>
                    <a:pt x="205040" y="460687"/>
                  </a:cubicBezTo>
                  <a:cubicBezTo>
                    <a:pt x="205040" y="447089"/>
                    <a:pt x="205040" y="430771"/>
                    <a:pt x="205040" y="417173"/>
                  </a:cubicBezTo>
                  <a:cubicBezTo>
                    <a:pt x="205040" y="409014"/>
                    <a:pt x="207759" y="400855"/>
                    <a:pt x="207759" y="392696"/>
                  </a:cubicBezTo>
                  <a:cubicBezTo>
                    <a:pt x="207759" y="384537"/>
                    <a:pt x="210478" y="376378"/>
                    <a:pt x="210478" y="368219"/>
                  </a:cubicBezTo>
                  <a:cubicBezTo>
                    <a:pt x="210478" y="351901"/>
                    <a:pt x="210478" y="332864"/>
                    <a:pt x="210478" y="313826"/>
                  </a:cubicBezTo>
                  <a:cubicBezTo>
                    <a:pt x="210478" y="294788"/>
                    <a:pt x="210478" y="275751"/>
                    <a:pt x="210478" y="259433"/>
                  </a:cubicBezTo>
                  <a:cubicBezTo>
                    <a:pt x="210478" y="243115"/>
                    <a:pt x="210478" y="226797"/>
                    <a:pt x="210478" y="213199"/>
                  </a:cubicBezTo>
                  <a:cubicBezTo>
                    <a:pt x="210478" y="194161"/>
                    <a:pt x="210478" y="164245"/>
                    <a:pt x="210478" y="145207"/>
                  </a:cubicBezTo>
                  <a:cubicBezTo>
                    <a:pt x="210478" y="139768"/>
                    <a:pt x="213198" y="134329"/>
                    <a:pt x="213198" y="131609"/>
                  </a:cubicBezTo>
                  <a:cubicBezTo>
                    <a:pt x="213198" y="126170"/>
                    <a:pt x="207759" y="123450"/>
                    <a:pt x="205040" y="123450"/>
                  </a:cubicBezTo>
                  <a:cubicBezTo>
                    <a:pt x="199600" y="123450"/>
                    <a:pt x="166965" y="123450"/>
                    <a:pt x="161525" y="123450"/>
                  </a:cubicBezTo>
                  <a:cubicBezTo>
                    <a:pt x="145207" y="123450"/>
                    <a:pt x="128889" y="123450"/>
                    <a:pt x="112571" y="120730"/>
                  </a:cubicBezTo>
                  <a:cubicBezTo>
                    <a:pt x="109852" y="120730"/>
                    <a:pt x="107132" y="120730"/>
                    <a:pt x="104412" y="118011"/>
                  </a:cubicBezTo>
                  <a:cubicBezTo>
                    <a:pt x="107132" y="137048"/>
                    <a:pt x="107132" y="172404"/>
                    <a:pt x="107132" y="191441"/>
                  </a:cubicBezTo>
                  <a:cubicBezTo>
                    <a:pt x="107132" y="202320"/>
                    <a:pt x="107132" y="224077"/>
                    <a:pt x="90814" y="224077"/>
                  </a:cubicBezTo>
                  <a:cubicBezTo>
                    <a:pt x="82655" y="224077"/>
                    <a:pt x="79935" y="221357"/>
                    <a:pt x="74496" y="218638"/>
                  </a:cubicBezTo>
                  <a:cubicBezTo>
                    <a:pt x="69057" y="215918"/>
                    <a:pt x="66337" y="210479"/>
                    <a:pt x="66337" y="205040"/>
                  </a:cubicBezTo>
                  <a:cubicBezTo>
                    <a:pt x="63617" y="196881"/>
                    <a:pt x="63617" y="191441"/>
                    <a:pt x="63617" y="186002"/>
                  </a:cubicBezTo>
                  <a:cubicBezTo>
                    <a:pt x="63617" y="180563"/>
                    <a:pt x="63617" y="153366"/>
                    <a:pt x="63617" y="145207"/>
                  </a:cubicBezTo>
                  <a:cubicBezTo>
                    <a:pt x="63617" y="134329"/>
                    <a:pt x="63617" y="120730"/>
                    <a:pt x="63617" y="109852"/>
                  </a:cubicBezTo>
                  <a:cubicBezTo>
                    <a:pt x="60897" y="104412"/>
                    <a:pt x="58178" y="101693"/>
                    <a:pt x="58178" y="96253"/>
                  </a:cubicBezTo>
                  <a:cubicBezTo>
                    <a:pt x="58178" y="93534"/>
                    <a:pt x="60897" y="88095"/>
                    <a:pt x="66337" y="85375"/>
                  </a:cubicBezTo>
                  <a:cubicBezTo>
                    <a:pt x="74496" y="79936"/>
                    <a:pt x="77215" y="77216"/>
                    <a:pt x="93533" y="77216"/>
                  </a:cubicBezTo>
                  <a:cubicBezTo>
                    <a:pt x="101692" y="77216"/>
                    <a:pt x="109852" y="77216"/>
                    <a:pt x="115290" y="77216"/>
                  </a:cubicBezTo>
                  <a:cubicBezTo>
                    <a:pt x="134328" y="77216"/>
                    <a:pt x="150646" y="77216"/>
                    <a:pt x="169684" y="74496"/>
                  </a:cubicBezTo>
                  <a:cubicBezTo>
                    <a:pt x="177843" y="74496"/>
                    <a:pt x="186002" y="71776"/>
                    <a:pt x="194161" y="71776"/>
                  </a:cubicBezTo>
                  <a:cubicBezTo>
                    <a:pt x="194161" y="71776"/>
                    <a:pt x="196880" y="71776"/>
                    <a:pt x="196880" y="71776"/>
                  </a:cubicBezTo>
                  <a:cubicBezTo>
                    <a:pt x="199600" y="71776"/>
                    <a:pt x="205040" y="71776"/>
                    <a:pt x="210478" y="71776"/>
                  </a:cubicBezTo>
                  <a:cubicBezTo>
                    <a:pt x="213198" y="71776"/>
                    <a:pt x="215918" y="71776"/>
                    <a:pt x="218638" y="71776"/>
                  </a:cubicBezTo>
                  <a:cubicBezTo>
                    <a:pt x="224077" y="69057"/>
                    <a:pt x="229516" y="63618"/>
                    <a:pt x="237675" y="60898"/>
                  </a:cubicBezTo>
                  <a:cubicBezTo>
                    <a:pt x="243115" y="58178"/>
                    <a:pt x="248554" y="58178"/>
                    <a:pt x="253993" y="58178"/>
                  </a:cubicBezTo>
                  <a:cubicBezTo>
                    <a:pt x="264872" y="58178"/>
                    <a:pt x="273031" y="58178"/>
                    <a:pt x="283910" y="60898"/>
                  </a:cubicBezTo>
                  <a:cubicBezTo>
                    <a:pt x="286629" y="60898"/>
                    <a:pt x="292068" y="63618"/>
                    <a:pt x="294788" y="66337"/>
                  </a:cubicBezTo>
                  <a:cubicBezTo>
                    <a:pt x="297508" y="69057"/>
                    <a:pt x="302948" y="71776"/>
                    <a:pt x="305667" y="74496"/>
                  </a:cubicBezTo>
                  <a:cubicBezTo>
                    <a:pt x="308386" y="74496"/>
                    <a:pt x="311106" y="74496"/>
                    <a:pt x="313826" y="74496"/>
                  </a:cubicBezTo>
                  <a:cubicBezTo>
                    <a:pt x="319265" y="74496"/>
                    <a:pt x="321985" y="74496"/>
                    <a:pt x="327424" y="74496"/>
                  </a:cubicBezTo>
                  <a:cubicBezTo>
                    <a:pt x="335583" y="74496"/>
                    <a:pt x="346461" y="74496"/>
                    <a:pt x="354621" y="74496"/>
                  </a:cubicBezTo>
                  <a:cubicBezTo>
                    <a:pt x="376378" y="74496"/>
                    <a:pt x="400855" y="74496"/>
                    <a:pt x="422612" y="74496"/>
                  </a:cubicBezTo>
                  <a:cubicBezTo>
                    <a:pt x="433491" y="74496"/>
                    <a:pt x="447089" y="74496"/>
                    <a:pt x="455248" y="79936"/>
                  </a:cubicBezTo>
                  <a:cubicBezTo>
                    <a:pt x="460687" y="82655"/>
                    <a:pt x="466127" y="90814"/>
                    <a:pt x="466127" y="98973"/>
                  </a:cubicBezTo>
                  <a:cubicBezTo>
                    <a:pt x="466127" y="101693"/>
                    <a:pt x="466127" y="107132"/>
                    <a:pt x="463407" y="109852"/>
                  </a:cubicBezTo>
                  <a:cubicBezTo>
                    <a:pt x="463407" y="112571"/>
                    <a:pt x="463407" y="112571"/>
                    <a:pt x="463407" y="120730"/>
                  </a:cubicBezTo>
                  <a:cubicBezTo>
                    <a:pt x="463407" y="142488"/>
                    <a:pt x="463407" y="172404"/>
                    <a:pt x="463407" y="194161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60" name="Content Placeholder 59">
            <a:extLst>
              <a:ext uri="{FF2B5EF4-FFF2-40B4-BE49-F238E27FC236}">
                <a16:creationId xmlns:a16="http://schemas.microsoft.com/office/drawing/2014/main" id="{8EFE1F84-4849-448C-8C35-33EC553AD838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6538914" y="1860550"/>
            <a:ext cx="5065254" cy="268605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 or choose an icon below to insert other conten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241535468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ullfram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: Shape 5">
            <a:extLst>
              <a:ext uri="{FF2B5EF4-FFF2-40B4-BE49-F238E27FC236}">
                <a16:creationId xmlns:a16="http://schemas.microsoft.com/office/drawing/2014/main" id="{CB31FDED-D159-4F4F-8CA3-B83301DF537B}"/>
              </a:ext>
            </a:extLst>
          </p:cNvPr>
          <p:cNvSpPr/>
          <p:nvPr/>
        </p:nvSpPr>
        <p:spPr bwMode="ltGray">
          <a:xfrm>
            <a:off x="10441275" y="5951300"/>
            <a:ext cx="1627670" cy="906700"/>
          </a:xfrm>
          <a:custGeom>
            <a:avLst/>
            <a:gdLst>
              <a:gd name="connsiteX0" fmla="*/ 838774 w 1585477"/>
              <a:gd name="connsiteY0" fmla="*/ 14 h 883197"/>
              <a:gd name="connsiteX1" fmla="*/ 996107 w 1585477"/>
              <a:gd name="connsiteY1" fmla="*/ 18377 h 883197"/>
              <a:gd name="connsiteX2" fmla="*/ 1585477 w 1585477"/>
              <a:gd name="connsiteY2" fmla="*/ 746145 h 883197"/>
              <a:gd name="connsiteX3" fmla="*/ 1585202 w 1585477"/>
              <a:gd name="connsiteY3" fmla="*/ 883197 h 883197"/>
              <a:gd name="connsiteX4" fmla="*/ 695 w 1585477"/>
              <a:gd name="connsiteY4" fmla="*/ 883197 h 883197"/>
              <a:gd name="connsiteX5" fmla="*/ 294 w 1585477"/>
              <a:gd name="connsiteY5" fmla="*/ 879328 h 883197"/>
              <a:gd name="connsiteX6" fmla="*/ 20167 w 1585477"/>
              <a:gd name="connsiteY6" fmla="*/ 648487 h 883197"/>
              <a:gd name="connsiteX7" fmla="*/ 838774 w 1585477"/>
              <a:gd name="connsiteY7" fmla="*/ 14 h 8831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585477" h="883197">
                <a:moveTo>
                  <a:pt x="838774" y="14"/>
                </a:moveTo>
                <a:cubicBezTo>
                  <a:pt x="891699" y="335"/>
                  <a:pt x="944452" y="6288"/>
                  <a:pt x="996107" y="18377"/>
                </a:cubicBezTo>
                <a:cubicBezTo>
                  <a:pt x="1344865" y="100437"/>
                  <a:pt x="1558993" y="409128"/>
                  <a:pt x="1585477" y="746145"/>
                </a:cubicBezTo>
                <a:lnTo>
                  <a:pt x="1585202" y="883197"/>
                </a:lnTo>
                <a:lnTo>
                  <a:pt x="695" y="883197"/>
                </a:lnTo>
                <a:lnTo>
                  <a:pt x="294" y="879328"/>
                </a:lnTo>
                <a:cubicBezTo>
                  <a:pt x="-1813" y="797038"/>
                  <a:pt x="7712" y="718092"/>
                  <a:pt x="20167" y="648487"/>
                </a:cubicBezTo>
                <a:cubicBezTo>
                  <a:pt x="89408" y="271519"/>
                  <a:pt x="468297" y="-2229"/>
                  <a:pt x="838774" y="14"/>
                </a:cubicBezTo>
                <a:close/>
              </a:path>
            </a:pathLst>
          </a:custGeom>
          <a:solidFill>
            <a:srgbClr val="4F2170"/>
          </a:solidFill>
          <a:ln w="9525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>
              <a:lnSpc>
                <a:spcPct val="90000"/>
              </a:lnSpc>
            </a:pPr>
            <a:endParaRPr lang="en-US">
              <a:solidFill>
                <a:schemeClr val="bg1"/>
              </a:solidFill>
            </a:endParaRPr>
          </a:p>
        </p:txBody>
      </p:sp>
      <p:sp>
        <p:nvSpPr>
          <p:cNvPr id="51" name="Picture Placeholder 50">
            <a:extLst>
              <a:ext uri="{FF2B5EF4-FFF2-40B4-BE49-F238E27FC236}">
                <a16:creationId xmlns:a16="http://schemas.microsoft.com/office/drawing/2014/main" id="{9A604104-23C8-45DB-B8E5-CC8FD54A777D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12047573 w 12192000"/>
              <a:gd name="connsiteY3" fmla="*/ 6858000 h 6858000"/>
              <a:gd name="connsiteX4" fmla="*/ 12047848 w 12192000"/>
              <a:gd name="connsiteY4" fmla="*/ 6720949 h 6858000"/>
              <a:gd name="connsiteX5" fmla="*/ 11458478 w 12192000"/>
              <a:gd name="connsiteY5" fmla="*/ 5993181 h 6858000"/>
              <a:gd name="connsiteX6" fmla="*/ 11301145 w 12192000"/>
              <a:gd name="connsiteY6" fmla="*/ 5974818 h 6858000"/>
              <a:gd name="connsiteX7" fmla="*/ 10482538 w 12192000"/>
              <a:gd name="connsiteY7" fmla="*/ 6623291 h 6858000"/>
              <a:gd name="connsiteX8" fmla="*/ 10462665 w 12192000"/>
              <a:gd name="connsiteY8" fmla="*/ 6854132 h 6858000"/>
              <a:gd name="connsiteX9" fmla="*/ 10463066 w 12192000"/>
              <a:gd name="connsiteY9" fmla="*/ 6858000 h 6858000"/>
              <a:gd name="connsiteX10" fmla="*/ 0 w 12192000"/>
              <a:gd name="connsiteY10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12047573" y="6858000"/>
                </a:lnTo>
                <a:lnTo>
                  <a:pt x="12047848" y="6720949"/>
                </a:lnTo>
                <a:cubicBezTo>
                  <a:pt x="12021364" y="6383932"/>
                  <a:pt x="11807236" y="6075241"/>
                  <a:pt x="11458478" y="5993181"/>
                </a:cubicBezTo>
                <a:cubicBezTo>
                  <a:pt x="11406823" y="5981092"/>
                  <a:pt x="11354070" y="5975139"/>
                  <a:pt x="11301145" y="5974818"/>
                </a:cubicBezTo>
                <a:cubicBezTo>
                  <a:pt x="10930668" y="5972575"/>
                  <a:pt x="10551779" y="6246323"/>
                  <a:pt x="10482538" y="6623291"/>
                </a:cubicBezTo>
                <a:cubicBezTo>
                  <a:pt x="10470083" y="6692896"/>
                  <a:pt x="10460558" y="6771842"/>
                  <a:pt x="10462665" y="6854132"/>
                </a:cubicBezTo>
                <a:lnTo>
                  <a:pt x="10463066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D9D9D9"/>
          </a:solidFill>
        </p:spPr>
        <p:txBody>
          <a:bodyPr wrap="square" lIns="3657600" tIns="0" rIns="0" anchor="ctr" anchorCtr="0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Arial" panose="020B0604020202020204" pitchFamily="34" charset="0"/>
              <a:buNone/>
              <a:tabLst/>
              <a:defRPr sz="16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insert picture</a:t>
            </a:r>
            <a:br>
              <a:rPr lang="en-US"/>
            </a:br>
            <a:r>
              <a:rPr lang="en-US"/>
              <a:t>(minimum recommended size for </a:t>
            </a:r>
            <a:br>
              <a:rPr lang="en-US"/>
            </a:br>
            <a:r>
              <a:rPr lang="en-US"/>
              <a:t>full slide image is 1280 x 720 pixels)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0C975EE0-AD02-4365-B012-AEF1EB027E17}"/>
              </a:ext>
            </a:extLst>
          </p:cNvPr>
          <p:cNvGrpSpPr>
            <a:grpSpLocks noChangeAspect="1"/>
          </p:cNvGrpSpPr>
          <p:nvPr/>
        </p:nvGrpSpPr>
        <p:grpSpPr>
          <a:xfrm>
            <a:off x="10676779" y="6205751"/>
            <a:ext cx="1143000" cy="440144"/>
            <a:chOff x="2078951" y="1888610"/>
            <a:chExt cx="8030200" cy="3092248"/>
          </a:xfrm>
          <a:solidFill>
            <a:srgbClr val="FFFFFF"/>
          </a:solidFill>
        </p:grpSpPr>
        <p:sp>
          <p:nvSpPr>
            <p:cNvPr id="8" name="Freeform: Shape 7">
              <a:extLst>
                <a:ext uri="{FF2B5EF4-FFF2-40B4-BE49-F238E27FC236}">
                  <a16:creationId xmlns:a16="http://schemas.microsoft.com/office/drawing/2014/main" id="{4E98E784-FC01-4610-B058-2CCB322671BA}"/>
                </a:ext>
              </a:extLst>
            </p:cNvPr>
            <p:cNvSpPr/>
            <p:nvPr/>
          </p:nvSpPr>
          <p:spPr>
            <a:xfrm>
              <a:off x="2078951" y="2872694"/>
              <a:ext cx="951880" cy="652717"/>
            </a:xfrm>
            <a:custGeom>
              <a:avLst/>
              <a:gdLst>
                <a:gd name="connsiteX0" fmla="*/ 903041 w 951880"/>
                <a:gd name="connsiteY0" fmla="*/ 330574 h 652717"/>
                <a:gd name="connsiteX1" fmla="*/ 780656 w 951880"/>
                <a:gd name="connsiteY1" fmla="*/ 379528 h 652717"/>
                <a:gd name="connsiteX2" fmla="*/ 598439 w 951880"/>
                <a:gd name="connsiteY2" fmla="*/ 311537 h 652717"/>
                <a:gd name="connsiteX3" fmla="*/ 505970 w 951880"/>
                <a:gd name="connsiteY3" fmla="*/ 164675 h 652717"/>
                <a:gd name="connsiteX4" fmla="*/ 266640 w 951880"/>
                <a:gd name="connsiteY4" fmla="*/ 61329 h 652717"/>
                <a:gd name="connsiteX5" fmla="*/ 103461 w 951880"/>
                <a:gd name="connsiteY5" fmla="*/ 458398 h 652717"/>
                <a:gd name="connsiteX6" fmla="*/ 756179 w 951880"/>
                <a:gd name="connsiteY6" fmla="*/ 485595 h 652717"/>
                <a:gd name="connsiteX7" fmla="*/ 903041 w 951880"/>
                <a:gd name="connsiteY7" fmla="*/ 330574 h 6527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51880" h="652717">
                  <a:moveTo>
                    <a:pt x="903041" y="330574"/>
                  </a:moveTo>
                  <a:cubicBezTo>
                    <a:pt x="867685" y="363210"/>
                    <a:pt x="813292" y="374089"/>
                    <a:pt x="780656" y="379528"/>
                  </a:cubicBezTo>
                  <a:cubicBezTo>
                    <a:pt x="712664" y="387687"/>
                    <a:pt x="641953" y="365930"/>
                    <a:pt x="598439" y="311537"/>
                  </a:cubicBezTo>
                  <a:cubicBezTo>
                    <a:pt x="563083" y="268022"/>
                    <a:pt x="544046" y="210910"/>
                    <a:pt x="505970" y="164675"/>
                  </a:cubicBezTo>
                  <a:cubicBezTo>
                    <a:pt x="448858" y="93964"/>
                    <a:pt x="359109" y="45011"/>
                    <a:pt x="266640" y="61329"/>
                  </a:cubicBezTo>
                  <a:cubicBezTo>
                    <a:pt x="81704" y="93964"/>
                    <a:pt x="114" y="308817"/>
                    <a:pt x="103461" y="458398"/>
                  </a:cubicBezTo>
                  <a:cubicBezTo>
                    <a:pt x="253042" y="670531"/>
                    <a:pt x="584840" y="635176"/>
                    <a:pt x="756179" y="485595"/>
                  </a:cubicBezTo>
                  <a:cubicBezTo>
                    <a:pt x="813292" y="442080"/>
                    <a:pt x="862246" y="390407"/>
                    <a:pt x="903041" y="330574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" name="Freeform: Shape 8">
              <a:extLst>
                <a:ext uri="{FF2B5EF4-FFF2-40B4-BE49-F238E27FC236}">
                  <a16:creationId xmlns:a16="http://schemas.microsoft.com/office/drawing/2014/main" id="{DFF2B29D-E74D-4303-BB3A-2284D731A034}"/>
                </a:ext>
              </a:extLst>
            </p:cNvPr>
            <p:cNvSpPr/>
            <p:nvPr/>
          </p:nvSpPr>
          <p:spPr>
            <a:xfrm>
              <a:off x="9151831" y="2872694"/>
              <a:ext cx="951880" cy="652717"/>
            </a:xfrm>
            <a:custGeom>
              <a:avLst/>
              <a:gdLst>
                <a:gd name="connsiteX0" fmla="*/ 58178 w 951880"/>
                <a:gd name="connsiteY0" fmla="*/ 330574 h 652717"/>
                <a:gd name="connsiteX1" fmla="*/ 180563 w 951880"/>
                <a:gd name="connsiteY1" fmla="*/ 379528 h 652717"/>
                <a:gd name="connsiteX2" fmla="*/ 362780 w 951880"/>
                <a:gd name="connsiteY2" fmla="*/ 311537 h 652717"/>
                <a:gd name="connsiteX3" fmla="*/ 455249 w 951880"/>
                <a:gd name="connsiteY3" fmla="*/ 164675 h 652717"/>
                <a:gd name="connsiteX4" fmla="*/ 694578 w 951880"/>
                <a:gd name="connsiteY4" fmla="*/ 61329 h 652717"/>
                <a:gd name="connsiteX5" fmla="*/ 857758 w 951880"/>
                <a:gd name="connsiteY5" fmla="*/ 458398 h 652717"/>
                <a:gd name="connsiteX6" fmla="*/ 205040 w 951880"/>
                <a:gd name="connsiteY6" fmla="*/ 485595 h 652717"/>
                <a:gd name="connsiteX7" fmla="*/ 58178 w 951880"/>
                <a:gd name="connsiteY7" fmla="*/ 330574 h 6527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51880" h="652717">
                  <a:moveTo>
                    <a:pt x="58178" y="330574"/>
                  </a:moveTo>
                  <a:cubicBezTo>
                    <a:pt x="96253" y="363210"/>
                    <a:pt x="147927" y="374089"/>
                    <a:pt x="180563" y="379528"/>
                  </a:cubicBezTo>
                  <a:cubicBezTo>
                    <a:pt x="248554" y="387687"/>
                    <a:pt x="319266" y="365930"/>
                    <a:pt x="362780" y="311537"/>
                  </a:cubicBezTo>
                  <a:cubicBezTo>
                    <a:pt x="398136" y="268022"/>
                    <a:pt x="417174" y="210910"/>
                    <a:pt x="455249" y="164675"/>
                  </a:cubicBezTo>
                  <a:cubicBezTo>
                    <a:pt x="512362" y="93964"/>
                    <a:pt x="602110" y="45011"/>
                    <a:pt x="694578" y="61329"/>
                  </a:cubicBezTo>
                  <a:cubicBezTo>
                    <a:pt x="879515" y="93964"/>
                    <a:pt x="961105" y="308817"/>
                    <a:pt x="857758" y="458398"/>
                  </a:cubicBezTo>
                  <a:cubicBezTo>
                    <a:pt x="708176" y="670531"/>
                    <a:pt x="376379" y="635176"/>
                    <a:pt x="205040" y="485595"/>
                  </a:cubicBezTo>
                  <a:cubicBezTo>
                    <a:pt x="150646" y="442080"/>
                    <a:pt x="101693" y="390407"/>
                    <a:pt x="58178" y="330574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" name="Freeform: Shape 9">
              <a:extLst>
                <a:ext uri="{FF2B5EF4-FFF2-40B4-BE49-F238E27FC236}">
                  <a16:creationId xmlns:a16="http://schemas.microsoft.com/office/drawing/2014/main" id="{5FD16FEA-B5DB-4F05-ABCB-F67FBB3F290E}"/>
                </a:ext>
              </a:extLst>
            </p:cNvPr>
            <p:cNvSpPr/>
            <p:nvPr/>
          </p:nvSpPr>
          <p:spPr>
            <a:xfrm>
              <a:off x="8001294" y="2010994"/>
              <a:ext cx="734308" cy="299162"/>
            </a:xfrm>
            <a:custGeom>
              <a:avLst/>
              <a:gdLst>
                <a:gd name="connsiteX0" fmla="*/ 596792 w 734307"/>
                <a:gd name="connsiteY0" fmla="*/ 58178 h 299162"/>
                <a:gd name="connsiteX1" fmla="*/ 148048 w 734307"/>
                <a:gd name="connsiteY1" fmla="*/ 58178 h 299162"/>
                <a:gd name="connsiteX2" fmla="*/ 58299 w 734307"/>
                <a:gd name="connsiteY2" fmla="*/ 150646 h 299162"/>
                <a:gd name="connsiteX3" fmla="*/ 148048 w 734307"/>
                <a:gd name="connsiteY3" fmla="*/ 251274 h 299162"/>
                <a:gd name="connsiteX4" fmla="*/ 596792 w 734307"/>
                <a:gd name="connsiteY4" fmla="*/ 251274 h 299162"/>
                <a:gd name="connsiteX5" fmla="*/ 686541 w 734307"/>
                <a:gd name="connsiteY5" fmla="*/ 158805 h 299162"/>
                <a:gd name="connsiteX6" fmla="*/ 596792 w 734307"/>
                <a:gd name="connsiteY6" fmla="*/ 58178 h 2991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34307" h="299162">
                  <a:moveTo>
                    <a:pt x="596792" y="58178"/>
                  </a:moveTo>
                  <a:cubicBezTo>
                    <a:pt x="591353" y="58178"/>
                    <a:pt x="153487" y="58178"/>
                    <a:pt x="148048" y="58178"/>
                  </a:cubicBezTo>
                  <a:cubicBezTo>
                    <a:pt x="99094" y="60898"/>
                    <a:pt x="61019" y="104412"/>
                    <a:pt x="58299" y="150646"/>
                  </a:cubicBezTo>
                  <a:cubicBezTo>
                    <a:pt x="55580" y="199600"/>
                    <a:pt x="99094" y="248554"/>
                    <a:pt x="148048" y="251274"/>
                  </a:cubicBezTo>
                  <a:cubicBezTo>
                    <a:pt x="153487" y="251274"/>
                    <a:pt x="591353" y="251274"/>
                    <a:pt x="596792" y="251274"/>
                  </a:cubicBezTo>
                  <a:cubicBezTo>
                    <a:pt x="645746" y="248554"/>
                    <a:pt x="683821" y="205040"/>
                    <a:pt x="686541" y="158805"/>
                  </a:cubicBezTo>
                  <a:cubicBezTo>
                    <a:pt x="689260" y="109852"/>
                    <a:pt x="648465" y="60898"/>
                    <a:pt x="596792" y="58178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73DE2517-FFDB-44E3-991E-865C415B8826}"/>
                </a:ext>
              </a:extLst>
            </p:cNvPr>
            <p:cNvSpPr/>
            <p:nvPr/>
          </p:nvSpPr>
          <p:spPr>
            <a:xfrm>
              <a:off x="4920042" y="2277520"/>
              <a:ext cx="1006274" cy="951879"/>
            </a:xfrm>
            <a:custGeom>
              <a:avLst/>
              <a:gdLst>
                <a:gd name="connsiteX0" fmla="*/ 884954 w 1006273"/>
                <a:gd name="connsiteY0" fmla="*/ 746251 h 951879"/>
                <a:gd name="connsiteX1" fmla="*/ 874076 w 1006273"/>
                <a:gd name="connsiteY1" fmla="*/ 670101 h 951879"/>
                <a:gd name="connsiteX2" fmla="*/ 874076 w 1006273"/>
                <a:gd name="connsiteY2" fmla="*/ 536837 h 951879"/>
                <a:gd name="connsiteX3" fmla="*/ 689139 w 1006273"/>
                <a:gd name="connsiteY3" fmla="*/ 88094 h 951879"/>
                <a:gd name="connsiteX4" fmla="*/ 428052 w 1006273"/>
                <a:gd name="connsiteY4" fmla="*/ 253993 h 951879"/>
                <a:gd name="connsiteX5" fmla="*/ 196881 w 1006273"/>
                <a:gd name="connsiteY5" fmla="*/ 58178 h 951879"/>
                <a:gd name="connsiteX6" fmla="*/ 58178 w 1006273"/>
                <a:gd name="connsiteY6" fmla="*/ 128889 h 951879"/>
                <a:gd name="connsiteX7" fmla="*/ 142488 w 1006273"/>
                <a:gd name="connsiteY7" fmla="*/ 273031 h 951879"/>
                <a:gd name="connsiteX8" fmla="*/ 142488 w 1006273"/>
                <a:gd name="connsiteY8" fmla="*/ 757130 h 951879"/>
                <a:gd name="connsiteX9" fmla="*/ 283910 w 1006273"/>
                <a:gd name="connsiteY9" fmla="*/ 895832 h 951879"/>
                <a:gd name="connsiteX10" fmla="*/ 428052 w 1006273"/>
                <a:gd name="connsiteY10" fmla="*/ 757130 h 951879"/>
                <a:gd name="connsiteX11" fmla="*/ 428052 w 1006273"/>
                <a:gd name="connsiteY11" fmla="*/ 400855 h 951879"/>
                <a:gd name="connsiteX12" fmla="*/ 523240 w 1006273"/>
                <a:gd name="connsiteY12" fmla="*/ 283910 h 951879"/>
                <a:gd name="connsiteX13" fmla="*/ 591231 w 1006273"/>
                <a:gd name="connsiteY13" fmla="*/ 354621 h 951879"/>
                <a:gd name="connsiteX14" fmla="*/ 591231 w 1006273"/>
                <a:gd name="connsiteY14" fmla="*/ 697297 h 951879"/>
                <a:gd name="connsiteX15" fmla="*/ 593951 w 1006273"/>
                <a:gd name="connsiteY15" fmla="*/ 729933 h 951879"/>
                <a:gd name="connsiteX16" fmla="*/ 610269 w 1006273"/>
                <a:gd name="connsiteY16" fmla="*/ 778887 h 951879"/>
                <a:gd name="connsiteX17" fmla="*/ 822402 w 1006273"/>
                <a:gd name="connsiteY17" fmla="*/ 893112 h 951879"/>
                <a:gd name="connsiteX18" fmla="*/ 961105 w 1006273"/>
                <a:gd name="connsiteY18" fmla="*/ 822401 h 951879"/>
                <a:gd name="connsiteX19" fmla="*/ 884954 w 1006273"/>
                <a:gd name="connsiteY19" fmla="*/ 746251 h 9518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006273" h="951879">
                  <a:moveTo>
                    <a:pt x="884954" y="746251"/>
                  </a:moveTo>
                  <a:cubicBezTo>
                    <a:pt x="879515" y="721774"/>
                    <a:pt x="876795" y="694578"/>
                    <a:pt x="874076" y="670101"/>
                  </a:cubicBezTo>
                  <a:cubicBezTo>
                    <a:pt x="874076" y="634745"/>
                    <a:pt x="874076" y="583072"/>
                    <a:pt x="874076" y="536837"/>
                  </a:cubicBezTo>
                  <a:cubicBezTo>
                    <a:pt x="879515" y="373658"/>
                    <a:pt x="909431" y="88094"/>
                    <a:pt x="689139" y="88094"/>
                  </a:cubicBezTo>
                  <a:cubicBezTo>
                    <a:pt x="539558" y="88094"/>
                    <a:pt x="452529" y="213199"/>
                    <a:pt x="428052" y="253993"/>
                  </a:cubicBezTo>
                  <a:cubicBezTo>
                    <a:pt x="425332" y="139768"/>
                    <a:pt x="335583" y="58178"/>
                    <a:pt x="196881" y="58178"/>
                  </a:cubicBezTo>
                  <a:cubicBezTo>
                    <a:pt x="109852" y="58178"/>
                    <a:pt x="58178" y="128889"/>
                    <a:pt x="58178" y="128889"/>
                  </a:cubicBezTo>
                  <a:cubicBezTo>
                    <a:pt x="58178" y="128889"/>
                    <a:pt x="142488" y="158805"/>
                    <a:pt x="142488" y="273031"/>
                  </a:cubicBezTo>
                  <a:cubicBezTo>
                    <a:pt x="142488" y="354621"/>
                    <a:pt x="142488" y="757130"/>
                    <a:pt x="142488" y="757130"/>
                  </a:cubicBezTo>
                  <a:cubicBezTo>
                    <a:pt x="145207" y="827841"/>
                    <a:pt x="194161" y="895832"/>
                    <a:pt x="283910" y="895832"/>
                  </a:cubicBezTo>
                  <a:cubicBezTo>
                    <a:pt x="373659" y="895832"/>
                    <a:pt x="428052" y="827841"/>
                    <a:pt x="428052" y="757130"/>
                  </a:cubicBezTo>
                  <a:lnTo>
                    <a:pt x="428052" y="400855"/>
                  </a:lnTo>
                  <a:cubicBezTo>
                    <a:pt x="441650" y="343742"/>
                    <a:pt x="474286" y="283910"/>
                    <a:pt x="523240" y="283910"/>
                  </a:cubicBezTo>
                  <a:cubicBezTo>
                    <a:pt x="585792" y="283910"/>
                    <a:pt x="591231" y="354621"/>
                    <a:pt x="591231" y="354621"/>
                  </a:cubicBezTo>
                  <a:lnTo>
                    <a:pt x="591231" y="697297"/>
                  </a:lnTo>
                  <a:cubicBezTo>
                    <a:pt x="591231" y="708176"/>
                    <a:pt x="593951" y="719054"/>
                    <a:pt x="593951" y="729933"/>
                  </a:cubicBezTo>
                  <a:cubicBezTo>
                    <a:pt x="596671" y="748971"/>
                    <a:pt x="602110" y="765289"/>
                    <a:pt x="610269" y="778887"/>
                  </a:cubicBezTo>
                  <a:cubicBezTo>
                    <a:pt x="645624" y="846878"/>
                    <a:pt x="719055" y="893112"/>
                    <a:pt x="822402" y="893112"/>
                  </a:cubicBezTo>
                  <a:cubicBezTo>
                    <a:pt x="909431" y="893112"/>
                    <a:pt x="961105" y="822401"/>
                    <a:pt x="961105" y="822401"/>
                  </a:cubicBezTo>
                  <a:cubicBezTo>
                    <a:pt x="961105" y="822401"/>
                    <a:pt x="909431" y="808803"/>
                    <a:pt x="884954" y="746251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156F7D03-AC74-4987-8247-B58A990351E5}"/>
                </a:ext>
              </a:extLst>
            </p:cNvPr>
            <p:cNvSpPr/>
            <p:nvPr/>
          </p:nvSpPr>
          <p:spPr>
            <a:xfrm>
              <a:off x="7552331" y="1888610"/>
              <a:ext cx="489539" cy="1332631"/>
            </a:xfrm>
            <a:custGeom>
              <a:avLst/>
              <a:gdLst>
                <a:gd name="connsiteX0" fmla="*/ 368560 w 489538"/>
                <a:gd name="connsiteY0" fmla="*/ 1135162 h 1332630"/>
                <a:gd name="connsiteX1" fmla="*/ 357681 w 489538"/>
                <a:gd name="connsiteY1" fmla="*/ 1059011 h 1332630"/>
                <a:gd name="connsiteX2" fmla="*/ 357681 w 489538"/>
                <a:gd name="connsiteY2" fmla="*/ 207759 h 1332630"/>
                <a:gd name="connsiteX3" fmla="*/ 208099 w 489538"/>
                <a:gd name="connsiteY3" fmla="*/ 58178 h 1332630"/>
                <a:gd name="connsiteX4" fmla="*/ 58518 w 489538"/>
                <a:gd name="connsiteY4" fmla="*/ 207759 h 1332630"/>
                <a:gd name="connsiteX5" fmla="*/ 58518 w 489538"/>
                <a:gd name="connsiteY5" fmla="*/ 961104 h 1332630"/>
                <a:gd name="connsiteX6" fmla="*/ 85715 w 489538"/>
                <a:gd name="connsiteY6" fmla="*/ 1159639 h 1332630"/>
                <a:gd name="connsiteX7" fmla="*/ 306007 w 489538"/>
                <a:gd name="connsiteY7" fmla="*/ 1282023 h 1332630"/>
                <a:gd name="connsiteX8" fmla="*/ 444710 w 489538"/>
                <a:gd name="connsiteY8" fmla="*/ 1211312 h 1332630"/>
                <a:gd name="connsiteX9" fmla="*/ 368560 w 489538"/>
                <a:gd name="connsiteY9" fmla="*/ 1135162 h 13326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89538" h="1332630">
                  <a:moveTo>
                    <a:pt x="368560" y="1135162"/>
                  </a:moveTo>
                  <a:cubicBezTo>
                    <a:pt x="363120" y="1110685"/>
                    <a:pt x="357681" y="1083488"/>
                    <a:pt x="357681" y="1059011"/>
                  </a:cubicBezTo>
                  <a:lnTo>
                    <a:pt x="357681" y="207759"/>
                  </a:lnTo>
                  <a:cubicBezTo>
                    <a:pt x="357681" y="126170"/>
                    <a:pt x="289689" y="58178"/>
                    <a:pt x="208099" y="58178"/>
                  </a:cubicBezTo>
                  <a:cubicBezTo>
                    <a:pt x="126510" y="58178"/>
                    <a:pt x="58518" y="126170"/>
                    <a:pt x="58518" y="207759"/>
                  </a:cubicBezTo>
                  <a:lnTo>
                    <a:pt x="58518" y="961104"/>
                  </a:lnTo>
                  <a:cubicBezTo>
                    <a:pt x="58518" y="1029095"/>
                    <a:pt x="53079" y="1097086"/>
                    <a:pt x="85715" y="1159639"/>
                  </a:cubicBezTo>
                  <a:cubicBezTo>
                    <a:pt x="118351" y="1227630"/>
                    <a:pt x="202660" y="1282023"/>
                    <a:pt x="306007" y="1282023"/>
                  </a:cubicBezTo>
                  <a:cubicBezTo>
                    <a:pt x="393036" y="1282023"/>
                    <a:pt x="444710" y="1211312"/>
                    <a:pt x="444710" y="1211312"/>
                  </a:cubicBezTo>
                  <a:cubicBezTo>
                    <a:pt x="444710" y="1211312"/>
                    <a:pt x="393036" y="1197714"/>
                    <a:pt x="368560" y="1135162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ADBEEF49-1973-43EE-ABD4-7E037813A7B0}"/>
                </a:ext>
              </a:extLst>
            </p:cNvPr>
            <p:cNvSpPr/>
            <p:nvPr/>
          </p:nvSpPr>
          <p:spPr>
            <a:xfrm>
              <a:off x="4162324" y="2357456"/>
              <a:ext cx="815899" cy="815898"/>
            </a:xfrm>
            <a:custGeom>
              <a:avLst/>
              <a:gdLst>
                <a:gd name="connsiteX0" fmla="*/ 407949 w 815899"/>
                <a:gd name="connsiteY0" fmla="*/ 174058 h 815898"/>
                <a:gd name="connsiteX1" fmla="*/ 293723 w 815899"/>
                <a:gd name="connsiteY1" fmla="*/ 407950 h 815898"/>
                <a:gd name="connsiteX2" fmla="*/ 410669 w 815899"/>
                <a:gd name="connsiteY2" fmla="*/ 641840 h 815898"/>
                <a:gd name="connsiteX3" fmla="*/ 522175 w 815899"/>
                <a:gd name="connsiteY3" fmla="*/ 407950 h 815898"/>
                <a:gd name="connsiteX4" fmla="*/ 407949 w 815899"/>
                <a:gd name="connsiteY4" fmla="*/ 174058 h 815898"/>
                <a:gd name="connsiteX5" fmla="*/ 407950 w 815899"/>
                <a:gd name="connsiteY5" fmla="*/ 0 h 815898"/>
                <a:gd name="connsiteX6" fmla="*/ 815899 w 815899"/>
                <a:gd name="connsiteY6" fmla="*/ 407949 h 815898"/>
                <a:gd name="connsiteX7" fmla="*/ 407950 w 815899"/>
                <a:gd name="connsiteY7" fmla="*/ 815898 h 815898"/>
                <a:gd name="connsiteX8" fmla="*/ 0 w 815899"/>
                <a:gd name="connsiteY8" fmla="*/ 407949 h 815898"/>
                <a:gd name="connsiteX9" fmla="*/ 407950 w 815899"/>
                <a:gd name="connsiteY9" fmla="*/ 0 h 815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15899" h="815898">
                  <a:moveTo>
                    <a:pt x="407949" y="174058"/>
                  </a:moveTo>
                  <a:cubicBezTo>
                    <a:pt x="342677" y="174058"/>
                    <a:pt x="293723" y="263807"/>
                    <a:pt x="293723" y="407950"/>
                  </a:cubicBezTo>
                  <a:cubicBezTo>
                    <a:pt x="293723" y="552091"/>
                    <a:pt x="331799" y="639120"/>
                    <a:pt x="410669" y="641840"/>
                  </a:cubicBezTo>
                  <a:cubicBezTo>
                    <a:pt x="489539" y="641840"/>
                    <a:pt x="527614" y="552091"/>
                    <a:pt x="522175" y="407950"/>
                  </a:cubicBezTo>
                  <a:cubicBezTo>
                    <a:pt x="522175" y="263807"/>
                    <a:pt x="473221" y="176778"/>
                    <a:pt x="407949" y="174058"/>
                  </a:cubicBezTo>
                  <a:close/>
                  <a:moveTo>
                    <a:pt x="407950" y="0"/>
                  </a:moveTo>
                  <a:cubicBezTo>
                    <a:pt x="633682" y="0"/>
                    <a:pt x="815899" y="182217"/>
                    <a:pt x="815899" y="407949"/>
                  </a:cubicBezTo>
                  <a:cubicBezTo>
                    <a:pt x="815899" y="633681"/>
                    <a:pt x="633682" y="815898"/>
                    <a:pt x="407950" y="815898"/>
                  </a:cubicBezTo>
                  <a:cubicBezTo>
                    <a:pt x="182218" y="815898"/>
                    <a:pt x="0" y="633681"/>
                    <a:pt x="0" y="407949"/>
                  </a:cubicBezTo>
                  <a:cubicBezTo>
                    <a:pt x="0" y="182217"/>
                    <a:pt x="182218" y="0"/>
                    <a:pt x="407950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BDB7EADA-FB78-4FA9-9520-D83E0D8F84CD}"/>
                </a:ext>
              </a:extLst>
            </p:cNvPr>
            <p:cNvSpPr/>
            <p:nvPr/>
          </p:nvSpPr>
          <p:spPr>
            <a:xfrm>
              <a:off x="5884871" y="1946788"/>
              <a:ext cx="912802" cy="1223846"/>
            </a:xfrm>
            <a:custGeom>
              <a:avLst/>
              <a:gdLst>
                <a:gd name="connsiteX0" fmla="*/ 387907 w 912802"/>
                <a:gd name="connsiteY0" fmla="*/ 620081 h 1223846"/>
                <a:gd name="connsiteX1" fmla="*/ 273681 w 912802"/>
                <a:gd name="connsiteY1" fmla="*/ 824055 h 1223846"/>
                <a:gd name="connsiteX2" fmla="*/ 390627 w 912802"/>
                <a:gd name="connsiteY2" fmla="*/ 1028029 h 1223846"/>
                <a:gd name="connsiteX3" fmla="*/ 502132 w 912802"/>
                <a:gd name="connsiteY3" fmla="*/ 824055 h 1223846"/>
                <a:gd name="connsiteX4" fmla="*/ 387907 w 912802"/>
                <a:gd name="connsiteY4" fmla="*/ 620081 h 1223846"/>
                <a:gd name="connsiteX5" fmla="*/ 676192 w 912802"/>
                <a:gd name="connsiteY5" fmla="*/ 0 h 1223846"/>
                <a:gd name="connsiteX6" fmla="*/ 825773 w 912802"/>
                <a:gd name="connsiteY6" fmla="*/ 149581 h 1223846"/>
                <a:gd name="connsiteX7" fmla="*/ 825773 w 912802"/>
                <a:gd name="connsiteY7" fmla="*/ 1000834 h 1223846"/>
                <a:gd name="connsiteX8" fmla="*/ 836651 w 912802"/>
                <a:gd name="connsiteY8" fmla="*/ 1076985 h 1223846"/>
                <a:gd name="connsiteX9" fmla="*/ 912802 w 912802"/>
                <a:gd name="connsiteY9" fmla="*/ 1150415 h 1223846"/>
                <a:gd name="connsiteX10" fmla="*/ 774099 w 912802"/>
                <a:gd name="connsiteY10" fmla="*/ 1221126 h 1223846"/>
                <a:gd name="connsiteX11" fmla="*/ 553807 w 912802"/>
                <a:gd name="connsiteY11" fmla="*/ 1098742 h 1223846"/>
                <a:gd name="connsiteX12" fmla="*/ 548367 w 912802"/>
                <a:gd name="connsiteY12" fmla="*/ 1085144 h 1223846"/>
                <a:gd name="connsiteX13" fmla="*/ 398786 w 912802"/>
                <a:gd name="connsiteY13" fmla="*/ 1212967 h 1223846"/>
                <a:gd name="connsiteX14" fmla="*/ 156736 w 912802"/>
                <a:gd name="connsiteY14" fmla="*/ 1180332 h 1223846"/>
                <a:gd name="connsiteX15" fmla="*/ 287280 w 912802"/>
                <a:gd name="connsiteY15" fmla="*/ 416107 h 1223846"/>
                <a:gd name="connsiteX16" fmla="*/ 526611 w 912802"/>
                <a:gd name="connsiteY16" fmla="*/ 552091 h 1223846"/>
                <a:gd name="connsiteX17" fmla="*/ 526611 w 912802"/>
                <a:gd name="connsiteY17" fmla="*/ 149581 h 1223846"/>
                <a:gd name="connsiteX18" fmla="*/ 676192 w 912802"/>
                <a:gd name="connsiteY18" fmla="*/ 0 h 1223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912802" h="1223846">
                  <a:moveTo>
                    <a:pt x="387907" y="620081"/>
                  </a:moveTo>
                  <a:cubicBezTo>
                    <a:pt x="322635" y="620081"/>
                    <a:pt x="273681" y="698951"/>
                    <a:pt x="273681" y="824055"/>
                  </a:cubicBezTo>
                  <a:cubicBezTo>
                    <a:pt x="273681" y="949160"/>
                    <a:pt x="311756" y="1028029"/>
                    <a:pt x="390627" y="1028029"/>
                  </a:cubicBezTo>
                  <a:cubicBezTo>
                    <a:pt x="466777" y="1025310"/>
                    <a:pt x="504852" y="949160"/>
                    <a:pt x="502132" y="824055"/>
                  </a:cubicBezTo>
                  <a:cubicBezTo>
                    <a:pt x="502132" y="698951"/>
                    <a:pt x="455898" y="622801"/>
                    <a:pt x="387907" y="620081"/>
                  </a:cubicBezTo>
                  <a:close/>
                  <a:moveTo>
                    <a:pt x="676192" y="0"/>
                  </a:moveTo>
                  <a:cubicBezTo>
                    <a:pt x="757781" y="0"/>
                    <a:pt x="825773" y="67992"/>
                    <a:pt x="825773" y="149581"/>
                  </a:cubicBezTo>
                  <a:lnTo>
                    <a:pt x="825773" y="1000834"/>
                  </a:lnTo>
                  <a:cubicBezTo>
                    <a:pt x="828492" y="1025311"/>
                    <a:pt x="831212" y="1052508"/>
                    <a:pt x="836651" y="1076985"/>
                  </a:cubicBezTo>
                  <a:cubicBezTo>
                    <a:pt x="861128" y="1139537"/>
                    <a:pt x="912802" y="1150415"/>
                    <a:pt x="912802" y="1150415"/>
                  </a:cubicBezTo>
                  <a:cubicBezTo>
                    <a:pt x="912802" y="1150415"/>
                    <a:pt x="861128" y="1221126"/>
                    <a:pt x="774099" y="1221126"/>
                  </a:cubicBezTo>
                  <a:cubicBezTo>
                    <a:pt x="670752" y="1221126"/>
                    <a:pt x="589162" y="1166733"/>
                    <a:pt x="553807" y="1098742"/>
                  </a:cubicBezTo>
                  <a:cubicBezTo>
                    <a:pt x="551087" y="1093303"/>
                    <a:pt x="551087" y="1090583"/>
                    <a:pt x="548367" y="1085144"/>
                  </a:cubicBezTo>
                  <a:cubicBezTo>
                    <a:pt x="534769" y="1147696"/>
                    <a:pt x="450460" y="1199369"/>
                    <a:pt x="398786" y="1212967"/>
                  </a:cubicBezTo>
                  <a:cubicBezTo>
                    <a:pt x="322636" y="1234725"/>
                    <a:pt x="222008" y="1223846"/>
                    <a:pt x="156736" y="1180332"/>
                  </a:cubicBezTo>
                  <a:cubicBezTo>
                    <a:pt x="-79874" y="1028031"/>
                    <a:pt x="-58117" y="416107"/>
                    <a:pt x="287280" y="416107"/>
                  </a:cubicBezTo>
                  <a:cubicBezTo>
                    <a:pt x="412385" y="416107"/>
                    <a:pt x="491255" y="503137"/>
                    <a:pt x="526611" y="552091"/>
                  </a:cubicBezTo>
                  <a:lnTo>
                    <a:pt x="526611" y="149581"/>
                  </a:lnTo>
                  <a:cubicBezTo>
                    <a:pt x="526611" y="67992"/>
                    <a:pt x="594602" y="0"/>
                    <a:pt x="676192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548CB4A2-0C87-47C9-8C4B-B9BA3E2C90BC}"/>
                </a:ext>
              </a:extLst>
            </p:cNvPr>
            <p:cNvSpPr/>
            <p:nvPr/>
          </p:nvSpPr>
          <p:spPr>
            <a:xfrm>
              <a:off x="6789513" y="2362895"/>
              <a:ext cx="747906" cy="810458"/>
            </a:xfrm>
            <a:custGeom>
              <a:avLst/>
              <a:gdLst>
                <a:gd name="connsiteX0" fmla="*/ 394818 w 747906"/>
                <a:gd name="connsiteY0" fmla="*/ 163222 h 810458"/>
                <a:gd name="connsiteX1" fmla="*/ 356275 w 747906"/>
                <a:gd name="connsiteY1" fmla="*/ 174058 h 810458"/>
                <a:gd name="connsiteX2" fmla="*/ 274685 w 747906"/>
                <a:gd name="connsiteY2" fmla="*/ 356275 h 810458"/>
                <a:gd name="connsiteX3" fmla="*/ 375313 w 747906"/>
                <a:gd name="connsiteY3" fmla="*/ 358994 h 810458"/>
                <a:gd name="connsiteX4" fmla="*/ 473220 w 747906"/>
                <a:gd name="connsiteY4" fmla="*/ 239329 h 810458"/>
                <a:gd name="connsiteX5" fmla="*/ 394818 w 747906"/>
                <a:gd name="connsiteY5" fmla="*/ 163222 h 810458"/>
                <a:gd name="connsiteX6" fmla="*/ 386192 w 747906"/>
                <a:gd name="connsiteY6" fmla="*/ 0 h 810458"/>
                <a:gd name="connsiteX7" fmla="*/ 747906 w 747906"/>
                <a:gd name="connsiteY7" fmla="*/ 266526 h 810458"/>
                <a:gd name="connsiteX8" fmla="*/ 291004 w 747906"/>
                <a:gd name="connsiteY8" fmla="*/ 484100 h 810458"/>
                <a:gd name="connsiteX9" fmla="*/ 497698 w 747906"/>
                <a:gd name="connsiteY9" fmla="*/ 617363 h 810458"/>
                <a:gd name="connsiteX10" fmla="*/ 712551 w 747906"/>
                <a:gd name="connsiteY10" fmla="*/ 557530 h 810458"/>
                <a:gd name="connsiteX11" fmla="*/ 388912 w 747906"/>
                <a:gd name="connsiteY11" fmla="*/ 810458 h 810458"/>
                <a:gd name="connsiteX12" fmla="*/ 0 w 747906"/>
                <a:gd name="connsiteY12" fmla="*/ 413389 h 810458"/>
                <a:gd name="connsiteX13" fmla="*/ 386192 w 747906"/>
                <a:gd name="connsiteY13" fmla="*/ 0 h 8104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747906" h="810458">
                  <a:moveTo>
                    <a:pt x="394818" y="163222"/>
                  </a:moveTo>
                  <a:cubicBezTo>
                    <a:pt x="381772" y="163179"/>
                    <a:pt x="368514" y="166579"/>
                    <a:pt x="356275" y="174058"/>
                  </a:cubicBezTo>
                  <a:cubicBezTo>
                    <a:pt x="299162" y="212133"/>
                    <a:pt x="282844" y="291003"/>
                    <a:pt x="274685" y="356275"/>
                  </a:cubicBezTo>
                  <a:cubicBezTo>
                    <a:pt x="274685" y="364434"/>
                    <a:pt x="369873" y="358994"/>
                    <a:pt x="375313" y="358994"/>
                  </a:cubicBezTo>
                  <a:cubicBezTo>
                    <a:pt x="432425" y="345396"/>
                    <a:pt x="473220" y="301881"/>
                    <a:pt x="473220" y="239329"/>
                  </a:cubicBezTo>
                  <a:cubicBezTo>
                    <a:pt x="471181" y="194455"/>
                    <a:pt x="433956" y="163349"/>
                    <a:pt x="394818" y="163222"/>
                  </a:cubicBezTo>
                  <a:close/>
                  <a:moveTo>
                    <a:pt x="386192" y="0"/>
                  </a:moveTo>
                  <a:cubicBezTo>
                    <a:pt x="519455" y="0"/>
                    <a:pt x="747906" y="65272"/>
                    <a:pt x="747906" y="266526"/>
                  </a:cubicBezTo>
                  <a:cubicBezTo>
                    <a:pt x="747906" y="467782"/>
                    <a:pt x="538493" y="484100"/>
                    <a:pt x="291004" y="484100"/>
                  </a:cubicBezTo>
                  <a:cubicBezTo>
                    <a:pt x="291004" y="484100"/>
                    <a:pt x="326359" y="617363"/>
                    <a:pt x="497698" y="617363"/>
                  </a:cubicBezTo>
                  <a:cubicBezTo>
                    <a:pt x="669036" y="617363"/>
                    <a:pt x="712551" y="557530"/>
                    <a:pt x="712551" y="557530"/>
                  </a:cubicBezTo>
                  <a:cubicBezTo>
                    <a:pt x="712551" y="557530"/>
                    <a:pt x="696233" y="810458"/>
                    <a:pt x="388912" y="810458"/>
                  </a:cubicBezTo>
                  <a:cubicBezTo>
                    <a:pt x="212134" y="810458"/>
                    <a:pt x="0" y="677195"/>
                    <a:pt x="0" y="413389"/>
                  </a:cubicBezTo>
                  <a:cubicBezTo>
                    <a:pt x="0" y="176778"/>
                    <a:pt x="163180" y="0"/>
                    <a:pt x="386192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02D2D5C1-4179-4736-BA45-C19AC8497060}"/>
                </a:ext>
              </a:extLst>
            </p:cNvPr>
            <p:cNvSpPr/>
            <p:nvPr/>
          </p:nvSpPr>
          <p:spPr>
            <a:xfrm>
              <a:off x="7988882" y="2362895"/>
              <a:ext cx="747906" cy="810458"/>
            </a:xfrm>
            <a:custGeom>
              <a:avLst/>
              <a:gdLst>
                <a:gd name="connsiteX0" fmla="*/ 394818 w 747906"/>
                <a:gd name="connsiteY0" fmla="*/ 163222 h 810458"/>
                <a:gd name="connsiteX1" fmla="*/ 356275 w 747906"/>
                <a:gd name="connsiteY1" fmla="*/ 174058 h 810458"/>
                <a:gd name="connsiteX2" fmla="*/ 274685 w 747906"/>
                <a:gd name="connsiteY2" fmla="*/ 356275 h 810458"/>
                <a:gd name="connsiteX3" fmla="*/ 375313 w 747906"/>
                <a:gd name="connsiteY3" fmla="*/ 358994 h 810458"/>
                <a:gd name="connsiteX4" fmla="*/ 473220 w 747906"/>
                <a:gd name="connsiteY4" fmla="*/ 239329 h 810458"/>
                <a:gd name="connsiteX5" fmla="*/ 394818 w 747906"/>
                <a:gd name="connsiteY5" fmla="*/ 163222 h 810458"/>
                <a:gd name="connsiteX6" fmla="*/ 386192 w 747906"/>
                <a:gd name="connsiteY6" fmla="*/ 0 h 810458"/>
                <a:gd name="connsiteX7" fmla="*/ 747906 w 747906"/>
                <a:gd name="connsiteY7" fmla="*/ 266526 h 810458"/>
                <a:gd name="connsiteX8" fmla="*/ 291004 w 747906"/>
                <a:gd name="connsiteY8" fmla="*/ 484100 h 810458"/>
                <a:gd name="connsiteX9" fmla="*/ 497697 w 747906"/>
                <a:gd name="connsiteY9" fmla="*/ 617363 h 810458"/>
                <a:gd name="connsiteX10" fmla="*/ 712551 w 747906"/>
                <a:gd name="connsiteY10" fmla="*/ 557530 h 810458"/>
                <a:gd name="connsiteX11" fmla="*/ 388911 w 747906"/>
                <a:gd name="connsiteY11" fmla="*/ 810458 h 810458"/>
                <a:gd name="connsiteX12" fmla="*/ 0 w 747906"/>
                <a:gd name="connsiteY12" fmla="*/ 413389 h 810458"/>
                <a:gd name="connsiteX13" fmla="*/ 386192 w 747906"/>
                <a:gd name="connsiteY13" fmla="*/ 0 h 8104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747906" h="810458">
                  <a:moveTo>
                    <a:pt x="394818" y="163222"/>
                  </a:moveTo>
                  <a:cubicBezTo>
                    <a:pt x="381772" y="163179"/>
                    <a:pt x="368514" y="166579"/>
                    <a:pt x="356275" y="174058"/>
                  </a:cubicBezTo>
                  <a:cubicBezTo>
                    <a:pt x="299162" y="212133"/>
                    <a:pt x="282844" y="291003"/>
                    <a:pt x="274685" y="356275"/>
                  </a:cubicBezTo>
                  <a:cubicBezTo>
                    <a:pt x="274685" y="364434"/>
                    <a:pt x="369873" y="358994"/>
                    <a:pt x="375313" y="358994"/>
                  </a:cubicBezTo>
                  <a:cubicBezTo>
                    <a:pt x="432426" y="345396"/>
                    <a:pt x="473220" y="301881"/>
                    <a:pt x="473220" y="239329"/>
                  </a:cubicBezTo>
                  <a:cubicBezTo>
                    <a:pt x="471181" y="194455"/>
                    <a:pt x="433955" y="163349"/>
                    <a:pt x="394818" y="163222"/>
                  </a:cubicBezTo>
                  <a:close/>
                  <a:moveTo>
                    <a:pt x="386192" y="0"/>
                  </a:moveTo>
                  <a:cubicBezTo>
                    <a:pt x="519455" y="0"/>
                    <a:pt x="747906" y="65272"/>
                    <a:pt x="747906" y="266526"/>
                  </a:cubicBezTo>
                  <a:cubicBezTo>
                    <a:pt x="747906" y="467782"/>
                    <a:pt x="538492" y="484100"/>
                    <a:pt x="291004" y="484100"/>
                  </a:cubicBezTo>
                  <a:cubicBezTo>
                    <a:pt x="291004" y="484100"/>
                    <a:pt x="326359" y="617363"/>
                    <a:pt x="497697" y="617363"/>
                  </a:cubicBezTo>
                  <a:cubicBezTo>
                    <a:pt x="669036" y="617363"/>
                    <a:pt x="712551" y="557530"/>
                    <a:pt x="712551" y="557530"/>
                  </a:cubicBezTo>
                  <a:cubicBezTo>
                    <a:pt x="712551" y="557530"/>
                    <a:pt x="696233" y="810458"/>
                    <a:pt x="388911" y="810458"/>
                  </a:cubicBezTo>
                  <a:cubicBezTo>
                    <a:pt x="212133" y="810458"/>
                    <a:pt x="0" y="677195"/>
                    <a:pt x="0" y="413389"/>
                  </a:cubicBezTo>
                  <a:cubicBezTo>
                    <a:pt x="0" y="176778"/>
                    <a:pt x="163180" y="0"/>
                    <a:pt x="386192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98B32661-72D5-4F04-ACE1-EC30AB0CDE8C}"/>
                </a:ext>
              </a:extLst>
            </p:cNvPr>
            <p:cNvSpPr/>
            <p:nvPr/>
          </p:nvSpPr>
          <p:spPr>
            <a:xfrm>
              <a:off x="8683414" y="2274801"/>
              <a:ext cx="897487" cy="951879"/>
            </a:xfrm>
            <a:custGeom>
              <a:avLst/>
              <a:gdLst>
                <a:gd name="connsiteX0" fmla="*/ 580988 w 897487"/>
                <a:gd name="connsiteY0" fmla="*/ 667381 h 951879"/>
                <a:gd name="connsiteX1" fmla="*/ 409649 w 897487"/>
                <a:gd name="connsiteY1" fmla="*/ 667381 h 951879"/>
                <a:gd name="connsiteX2" fmla="*/ 591866 w 897487"/>
                <a:gd name="connsiteY2" fmla="*/ 525959 h 951879"/>
                <a:gd name="connsiteX3" fmla="*/ 842075 w 897487"/>
                <a:gd name="connsiteY3" fmla="*/ 123450 h 951879"/>
                <a:gd name="connsiteX4" fmla="*/ 842075 w 897487"/>
                <a:gd name="connsiteY4" fmla="*/ 123450 h 951879"/>
                <a:gd name="connsiteX5" fmla="*/ 798560 w 897487"/>
                <a:gd name="connsiteY5" fmla="*/ 58178 h 951879"/>
                <a:gd name="connsiteX6" fmla="*/ 746887 w 897487"/>
                <a:gd name="connsiteY6" fmla="*/ 107132 h 951879"/>
                <a:gd name="connsiteX7" fmla="*/ 697933 w 897487"/>
                <a:gd name="connsiteY7" fmla="*/ 115291 h 951879"/>
                <a:gd name="connsiteX8" fmla="*/ 219273 w 897487"/>
                <a:gd name="connsiteY8" fmla="*/ 115291 h 951879"/>
                <a:gd name="connsiteX9" fmla="*/ 102328 w 897487"/>
                <a:gd name="connsiteY9" fmla="*/ 224077 h 951879"/>
                <a:gd name="connsiteX10" fmla="*/ 213834 w 897487"/>
                <a:gd name="connsiteY10" fmla="*/ 332863 h 951879"/>
                <a:gd name="connsiteX11" fmla="*/ 485800 w 897487"/>
                <a:gd name="connsiteY11" fmla="*/ 335583 h 951879"/>
                <a:gd name="connsiteX12" fmla="*/ 134964 w 897487"/>
                <a:gd name="connsiteY12" fmla="*/ 615708 h 951879"/>
                <a:gd name="connsiteX13" fmla="*/ 61533 w 897487"/>
                <a:gd name="connsiteY13" fmla="*/ 884953 h 951879"/>
                <a:gd name="connsiteX14" fmla="*/ 398771 w 897487"/>
                <a:gd name="connsiteY14" fmla="*/ 806083 h 951879"/>
                <a:gd name="connsiteX15" fmla="*/ 529314 w 897487"/>
                <a:gd name="connsiteY15" fmla="*/ 863196 h 951879"/>
                <a:gd name="connsiteX16" fmla="*/ 782242 w 897487"/>
                <a:gd name="connsiteY16" fmla="*/ 607549 h 951879"/>
                <a:gd name="connsiteX17" fmla="*/ 580988 w 897487"/>
                <a:gd name="connsiteY17" fmla="*/ 667381 h 9518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897487" h="951879">
                  <a:moveTo>
                    <a:pt x="580988" y="667381"/>
                  </a:moveTo>
                  <a:lnTo>
                    <a:pt x="409649" y="667381"/>
                  </a:lnTo>
                  <a:cubicBezTo>
                    <a:pt x="423248" y="667381"/>
                    <a:pt x="548352" y="561314"/>
                    <a:pt x="591866" y="525959"/>
                  </a:cubicBezTo>
                  <a:cubicBezTo>
                    <a:pt x="700653" y="433491"/>
                    <a:pt x="899188" y="297508"/>
                    <a:pt x="842075" y="123450"/>
                  </a:cubicBezTo>
                  <a:lnTo>
                    <a:pt x="842075" y="123450"/>
                  </a:lnTo>
                  <a:cubicBezTo>
                    <a:pt x="831197" y="82655"/>
                    <a:pt x="798560" y="58178"/>
                    <a:pt x="798560" y="58178"/>
                  </a:cubicBezTo>
                  <a:cubicBezTo>
                    <a:pt x="798560" y="58178"/>
                    <a:pt x="787682" y="90814"/>
                    <a:pt x="746887" y="107132"/>
                  </a:cubicBezTo>
                  <a:cubicBezTo>
                    <a:pt x="730569" y="109852"/>
                    <a:pt x="714251" y="115291"/>
                    <a:pt x="697933" y="115291"/>
                  </a:cubicBezTo>
                  <a:cubicBezTo>
                    <a:pt x="684334" y="115291"/>
                    <a:pt x="219273" y="115291"/>
                    <a:pt x="219273" y="115291"/>
                  </a:cubicBezTo>
                  <a:cubicBezTo>
                    <a:pt x="156721" y="115291"/>
                    <a:pt x="105048" y="166964"/>
                    <a:pt x="102328" y="224077"/>
                  </a:cubicBezTo>
                  <a:cubicBezTo>
                    <a:pt x="102328" y="283910"/>
                    <a:pt x="151282" y="332863"/>
                    <a:pt x="213834" y="332863"/>
                  </a:cubicBezTo>
                  <a:lnTo>
                    <a:pt x="485800" y="335583"/>
                  </a:lnTo>
                  <a:cubicBezTo>
                    <a:pt x="360695" y="406294"/>
                    <a:pt x="211114" y="487884"/>
                    <a:pt x="134964" y="615708"/>
                  </a:cubicBezTo>
                  <a:cubicBezTo>
                    <a:pt x="91449" y="689138"/>
                    <a:pt x="45215" y="800644"/>
                    <a:pt x="61533" y="884953"/>
                  </a:cubicBezTo>
                  <a:cubicBezTo>
                    <a:pt x="121366" y="830560"/>
                    <a:pt x="279106" y="778887"/>
                    <a:pt x="398771" y="806083"/>
                  </a:cubicBezTo>
                  <a:cubicBezTo>
                    <a:pt x="445005" y="814242"/>
                    <a:pt x="491239" y="838719"/>
                    <a:pt x="529314" y="863196"/>
                  </a:cubicBezTo>
                  <a:cubicBezTo>
                    <a:pt x="755046" y="1004618"/>
                    <a:pt x="891029" y="727213"/>
                    <a:pt x="782242" y="607549"/>
                  </a:cubicBezTo>
                  <a:cubicBezTo>
                    <a:pt x="784962" y="607549"/>
                    <a:pt x="722410" y="667381"/>
                    <a:pt x="580988" y="667381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2A331478-F85F-4D3E-A6DA-5647BA14CD3D}"/>
                </a:ext>
              </a:extLst>
            </p:cNvPr>
            <p:cNvSpPr/>
            <p:nvPr/>
          </p:nvSpPr>
          <p:spPr>
            <a:xfrm>
              <a:off x="2624650" y="1948442"/>
              <a:ext cx="1903761" cy="1577400"/>
            </a:xfrm>
            <a:custGeom>
              <a:avLst/>
              <a:gdLst>
                <a:gd name="connsiteX0" fmla="*/ 1559430 w 1903760"/>
                <a:gd name="connsiteY0" fmla="*/ 1165078 h 1577399"/>
                <a:gd name="connsiteX1" fmla="*/ 1369054 w 1903760"/>
                <a:gd name="connsiteY1" fmla="*/ 593950 h 1577399"/>
                <a:gd name="connsiteX2" fmla="*/ 1483279 w 1903760"/>
                <a:gd name="connsiteY2" fmla="*/ 126170 h 1577399"/>
                <a:gd name="connsiteX3" fmla="*/ 1311941 w 1903760"/>
                <a:gd name="connsiteY3" fmla="*/ 58178 h 1577399"/>
                <a:gd name="connsiteX4" fmla="*/ 1078050 w 1903760"/>
                <a:gd name="connsiteY4" fmla="*/ 205040 h 1577399"/>
                <a:gd name="connsiteX5" fmla="*/ 846879 w 1903760"/>
                <a:gd name="connsiteY5" fmla="*/ 523239 h 1577399"/>
                <a:gd name="connsiteX6" fmla="*/ 645624 w 1903760"/>
                <a:gd name="connsiteY6" fmla="*/ 210479 h 1577399"/>
                <a:gd name="connsiteX7" fmla="*/ 455248 w 1903760"/>
                <a:gd name="connsiteY7" fmla="*/ 63617 h 1577399"/>
                <a:gd name="connsiteX8" fmla="*/ 234956 w 1903760"/>
                <a:gd name="connsiteY8" fmla="*/ 137048 h 1577399"/>
                <a:gd name="connsiteX9" fmla="*/ 316546 w 1903760"/>
                <a:gd name="connsiteY9" fmla="*/ 588511 h 1577399"/>
                <a:gd name="connsiteX10" fmla="*/ 58178 w 1903760"/>
                <a:gd name="connsiteY10" fmla="*/ 1072610 h 1577399"/>
                <a:gd name="connsiteX11" fmla="*/ 474286 w 1903760"/>
                <a:gd name="connsiteY11" fmla="*/ 1020936 h 1577399"/>
                <a:gd name="connsiteX12" fmla="*/ 555876 w 1903760"/>
                <a:gd name="connsiteY12" fmla="*/ 572193 h 1577399"/>
                <a:gd name="connsiteX13" fmla="*/ 830561 w 1903760"/>
                <a:gd name="connsiteY13" fmla="*/ 993740 h 1577399"/>
                <a:gd name="connsiteX14" fmla="*/ 1140602 w 1903760"/>
                <a:gd name="connsiteY14" fmla="*/ 574913 h 1577399"/>
                <a:gd name="connsiteX15" fmla="*/ 1567589 w 1903760"/>
                <a:gd name="connsiteY15" fmla="*/ 1526792 h 1577399"/>
                <a:gd name="connsiteX16" fmla="*/ 1866751 w 1903760"/>
                <a:gd name="connsiteY16" fmla="*/ 1322818 h 1577399"/>
                <a:gd name="connsiteX17" fmla="*/ 1559430 w 1903760"/>
                <a:gd name="connsiteY17" fmla="*/ 1165078 h 15773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903760" h="1577399">
                  <a:moveTo>
                    <a:pt x="1559430" y="1165078"/>
                  </a:moveTo>
                  <a:cubicBezTo>
                    <a:pt x="1420727" y="1012777"/>
                    <a:pt x="1377213" y="762569"/>
                    <a:pt x="1369054" y="593950"/>
                  </a:cubicBezTo>
                  <a:cubicBezTo>
                    <a:pt x="1360895" y="449809"/>
                    <a:pt x="1369054" y="199600"/>
                    <a:pt x="1483279" y="126170"/>
                  </a:cubicBezTo>
                  <a:cubicBezTo>
                    <a:pt x="1445204" y="77216"/>
                    <a:pt x="1369054" y="58178"/>
                    <a:pt x="1311941" y="58178"/>
                  </a:cubicBezTo>
                  <a:cubicBezTo>
                    <a:pt x="1184117" y="58178"/>
                    <a:pt x="1121565" y="142488"/>
                    <a:pt x="1078050" y="205040"/>
                  </a:cubicBezTo>
                  <a:cubicBezTo>
                    <a:pt x="1064452" y="224077"/>
                    <a:pt x="846879" y="523239"/>
                    <a:pt x="846879" y="523239"/>
                  </a:cubicBezTo>
                  <a:cubicBezTo>
                    <a:pt x="846879" y="523239"/>
                    <a:pt x="667382" y="243115"/>
                    <a:pt x="645624" y="210479"/>
                  </a:cubicBezTo>
                  <a:cubicBezTo>
                    <a:pt x="615708" y="164245"/>
                    <a:pt x="555876" y="77216"/>
                    <a:pt x="455248" y="63617"/>
                  </a:cubicBezTo>
                  <a:cubicBezTo>
                    <a:pt x="411734" y="58178"/>
                    <a:pt x="297508" y="52739"/>
                    <a:pt x="234956" y="137048"/>
                  </a:cubicBezTo>
                  <a:cubicBezTo>
                    <a:pt x="341023" y="221357"/>
                    <a:pt x="338303" y="438930"/>
                    <a:pt x="316546" y="588511"/>
                  </a:cubicBezTo>
                  <a:cubicBezTo>
                    <a:pt x="248554" y="1031815"/>
                    <a:pt x="58178" y="1072610"/>
                    <a:pt x="58178" y="1072610"/>
                  </a:cubicBezTo>
                  <a:cubicBezTo>
                    <a:pt x="156086" y="1333696"/>
                    <a:pt x="403575" y="1230350"/>
                    <a:pt x="474286" y="1020936"/>
                  </a:cubicBezTo>
                  <a:cubicBezTo>
                    <a:pt x="520520" y="884953"/>
                    <a:pt x="550436" y="713615"/>
                    <a:pt x="555876" y="572193"/>
                  </a:cubicBezTo>
                  <a:lnTo>
                    <a:pt x="830561" y="993740"/>
                  </a:lnTo>
                  <a:cubicBezTo>
                    <a:pt x="830561" y="993740"/>
                    <a:pt x="1140602" y="574913"/>
                    <a:pt x="1140602" y="574913"/>
                  </a:cubicBezTo>
                  <a:cubicBezTo>
                    <a:pt x="1088929" y="1314659"/>
                    <a:pt x="1344577" y="1526792"/>
                    <a:pt x="1567589" y="1526792"/>
                  </a:cubicBezTo>
                  <a:cubicBezTo>
                    <a:pt x="1790601" y="1526792"/>
                    <a:pt x="1866751" y="1322818"/>
                    <a:pt x="1866751" y="1322818"/>
                  </a:cubicBezTo>
                  <a:cubicBezTo>
                    <a:pt x="1744367" y="1314659"/>
                    <a:pt x="1641019" y="1252107"/>
                    <a:pt x="1559430" y="1165078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DF8068D5-9178-44A0-AAEB-6F35EED63A67}"/>
                </a:ext>
              </a:extLst>
            </p:cNvPr>
            <p:cNvSpPr/>
            <p:nvPr/>
          </p:nvSpPr>
          <p:spPr>
            <a:xfrm>
              <a:off x="4792218" y="3234839"/>
              <a:ext cx="271966" cy="652717"/>
            </a:xfrm>
            <a:custGeom>
              <a:avLst/>
              <a:gdLst>
                <a:gd name="connsiteX0" fmla="*/ 88095 w 271965"/>
                <a:gd name="connsiteY0" fmla="*/ 120730 h 652717"/>
                <a:gd name="connsiteX1" fmla="*/ 93534 w 271965"/>
                <a:gd name="connsiteY1" fmla="*/ 153366 h 652717"/>
                <a:gd name="connsiteX2" fmla="*/ 93534 w 271965"/>
                <a:gd name="connsiteY2" fmla="*/ 544997 h 652717"/>
                <a:gd name="connsiteX3" fmla="*/ 156086 w 271965"/>
                <a:gd name="connsiteY3" fmla="*/ 604829 h 652717"/>
                <a:gd name="connsiteX4" fmla="*/ 221358 w 271965"/>
                <a:gd name="connsiteY4" fmla="*/ 544997 h 652717"/>
                <a:gd name="connsiteX5" fmla="*/ 221358 w 271965"/>
                <a:gd name="connsiteY5" fmla="*/ 194161 h 652717"/>
                <a:gd name="connsiteX6" fmla="*/ 210479 w 271965"/>
                <a:gd name="connsiteY6" fmla="*/ 109852 h 652717"/>
                <a:gd name="connsiteX7" fmla="*/ 118011 w 271965"/>
                <a:gd name="connsiteY7" fmla="*/ 58178 h 652717"/>
                <a:gd name="connsiteX8" fmla="*/ 58178 w 271965"/>
                <a:gd name="connsiteY8" fmla="*/ 88094 h 652717"/>
                <a:gd name="connsiteX9" fmla="*/ 88095 w 271965"/>
                <a:gd name="connsiteY9" fmla="*/ 120730 h 6527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71965" h="652717">
                  <a:moveTo>
                    <a:pt x="88095" y="120730"/>
                  </a:moveTo>
                  <a:cubicBezTo>
                    <a:pt x="90814" y="131609"/>
                    <a:pt x="90814" y="142487"/>
                    <a:pt x="93534" y="153366"/>
                  </a:cubicBezTo>
                  <a:cubicBezTo>
                    <a:pt x="93534" y="156086"/>
                    <a:pt x="93534" y="542277"/>
                    <a:pt x="93534" y="544997"/>
                  </a:cubicBezTo>
                  <a:cubicBezTo>
                    <a:pt x="93534" y="577632"/>
                    <a:pt x="123450" y="604829"/>
                    <a:pt x="156086" y="604829"/>
                  </a:cubicBezTo>
                  <a:cubicBezTo>
                    <a:pt x="188722" y="607548"/>
                    <a:pt x="221358" y="577632"/>
                    <a:pt x="221358" y="544997"/>
                  </a:cubicBezTo>
                  <a:cubicBezTo>
                    <a:pt x="221358" y="539557"/>
                    <a:pt x="221358" y="194161"/>
                    <a:pt x="221358" y="194161"/>
                  </a:cubicBezTo>
                  <a:cubicBezTo>
                    <a:pt x="221358" y="164245"/>
                    <a:pt x="224078" y="134329"/>
                    <a:pt x="210479" y="109852"/>
                  </a:cubicBezTo>
                  <a:cubicBezTo>
                    <a:pt x="196881" y="79935"/>
                    <a:pt x="158806" y="58178"/>
                    <a:pt x="118011" y="58178"/>
                  </a:cubicBezTo>
                  <a:cubicBezTo>
                    <a:pt x="79936" y="58178"/>
                    <a:pt x="58178" y="88094"/>
                    <a:pt x="58178" y="88094"/>
                  </a:cubicBezTo>
                  <a:cubicBezTo>
                    <a:pt x="58178" y="88094"/>
                    <a:pt x="77216" y="93534"/>
                    <a:pt x="88095" y="120730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CE3593E3-C1E4-4BBB-8B41-202BB57C5F6D}"/>
                </a:ext>
              </a:extLst>
            </p:cNvPr>
            <p:cNvSpPr/>
            <p:nvPr/>
          </p:nvSpPr>
          <p:spPr>
            <a:xfrm>
              <a:off x="8751819" y="3234667"/>
              <a:ext cx="271966" cy="652717"/>
            </a:xfrm>
            <a:custGeom>
              <a:avLst/>
              <a:gdLst>
                <a:gd name="connsiteX0" fmla="*/ 191663 w 271965"/>
                <a:gd name="connsiteY0" fmla="*/ 542449 h 652717"/>
                <a:gd name="connsiteX1" fmla="*/ 186224 w 271965"/>
                <a:gd name="connsiteY1" fmla="*/ 509813 h 652717"/>
                <a:gd name="connsiteX2" fmla="*/ 186224 w 271965"/>
                <a:gd name="connsiteY2" fmla="*/ 118183 h 652717"/>
                <a:gd name="connsiteX3" fmla="*/ 123672 w 271965"/>
                <a:gd name="connsiteY3" fmla="*/ 58350 h 652717"/>
                <a:gd name="connsiteX4" fmla="*/ 58400 w 271965"/>
                <a:gd name="connsiteY4" fmla="*/ 118183 h 652717"/>
                <a:gd name="connsiteX5" fmla="*/ 58400 w 271965"/>
                <a:gd name="connsiteY5" fmla="*/ 469018 h 652717"/>
                <a:gd name="connsiteX6" fmla="*/ 69279 w 271965"/>
                <a:gd name="connsiteY6" fmla="*/ 553328 h 652717"/>
                <a:gd name="connsiteX7" fmla="*/ 161747 w 271965"/>
                <a:gd name="connsiteY7" fmla="*/ 605001 h 652717"/>
                <a:gd name="connsiteX8" fmla="*/ 221580 w 271965"/>
                <a:gd name="connsiteY8" fmla="*/ 575085 h 652717"/>
                <a:gd name="connsiteX9" fmla="*/ 191663 w 271965"/>
                <a:gd name="connsiteY9" fmla="*/ 542449 h 6527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71965" h="652717">
                  <a:moveTo>
                    <a:pt x="191663" y="542449"/>
                  </a:moveTo>
                  <a:cubicBezTo>
                    <a:pt x="188944" y="531570"/>
                    <a:pt x="186224" y="520692"/>
                    <a:pt x="186224" y="509813"/>
                  </a:cubicBezTo>
                  <a:cubicBezTo>
                    <a:pt x="186224" y="507093"/>
                    <a:pt x="186224" y="120902"/>
                    <a:pt x="186224" y="118183"/>
                  </a:cubicBezTo>
                  <a:cubicBezTo>
                    <a:pt x="186224" y="85547"/>
                    <a:pt x="156308" y="58350"/>
                    <a:pt x="123672" y="58350"/>
                  </a:cubicBezTo>
                  <a:cubicBezTo>
                    <a:pt x="91036" y="55631"/>
                    <a:pt x="58400" y="85547"/>
                    <a:pt x="58400" y="118183"/>
                  </a:cubicBezTo>
                  <a:cubicBezTo>
                    <a:pt x="58400" y="123622"/>
                    <a:pt x="58400" y="469018"/>
                    <a:pt x="58400" y="469018"/>
                  </a:cubicBezTo>
                  <a:cubicBezTo>
                    <a:pt x="58400" y="498934"/>
                    <a:pt x="55680" y="528851"/>
                    <a:pt x="69279" y="553328"/>
                  </a:cubicBezTo>
                  <a:cubicBezTo>
                    <a:pt x="82877" y="583244"/>
                    <a:pt x="120953" y="605001"/>
                    <a:pt x="161747" y="605001"/>
                  </a:cubicBezTo>
                  <a:cubicBezTo>
                    <a:pt x="199822" y="605001"/>
                    <a:pt x="221580" y="575085"/>
                    <a:pt x="221580" y="575085"/>
                  </a:cubicBezTo>
                  <a:cubicBezTo>
                    <a:pt x="221580" y="575085"/>
                    <a:pt x="202542" y="566926"/>
                    <a:pt x="191663" y="542449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5BB18E18-DA27-4B34-9C93-966E6D88235F}"/>
                </a:ext>
              </a:extLst>
            </p:cNvPr>
            <p:cNvSpPr/>
            <p:nvPr/>
          </p:nvSpPr>
          <p:spPr>
            <a:xfrm>
              <a:off x="6320666" y="3416868"/>
              <a:ext cx="435145" cy="462341"/>
            </a:xfrm>
            <a:custGeom>
              <a:avLst/>
              <a:gdLst>
                <a:gd name="connsiteX0" fmla="*/ 302948 w 435145"/>
                <a:gd name="connsiteY0" fmla="*/ 74684 h 462341"/>
                <a:gd name="connsiteX1" fmla="*/ 186003 w 435145"/>
                <a:gd name="connsiteY1" fmla="*/ 148115 h 462341"/>
                <a:gd name="connsiteX2" fmla="*/ 186003 w 435145"/>
                <a:gd name="connsiteY2" fmla="*/ 148115 h 462341"/>
                <a:gd name="connsiteX3" fmla="*/ 186003 w 435145"/>
                <a:gd name="connsiteY3" fmla="*/ 115479 h 462341"/>
                <a:gd name="connsiteX4" fmla="*/ 123450 w 435145"/>
                <a:gd name="connsiteY4" fmla="*/ 58366 h 462341"/>
                <a:gd name="connsiteX5" fmla="*/ 58178 w 435145"/>
                <a:gd name="connsiteY5" fmla="*/ 115479 h 462341"/>
                <a:gd name="connsiteX6" fmla="*/ 58178 w 435145"/>
                <a:gd name="connsiteY6" fmla="*/ 362967 h 462341"/>
                <a:gd name="connsiteX7" fmla="*/ 120730 w 435145"/>
                <a:gd name="connsiteY7" fmla="*/ 422800 h 462341"/>
                <a:gd name="connsiteX8" fmla="*/ 186003 w 435145"/>
                <a:gd name="connsiteY8" fmla="*/ 362967 h 462341"/>
                <a:gd name="connsiteX9" fmla="*/ 186003 w 435145"/>
                <a:gd name="connsiteY9" fmla="*/ 213386 h 462341"/>
                <a:gd name="connsiteX10" fmla="*/ 186003 w 435145"/>
                <a:gd name="connsiteY10" fmla="*/ 213386 h 462341"/>
                <a:gd name="connsiteX11" fmla="*/ 229517 w 435145"/>
                <a:gd name="connsiteY11" fmla="*/ 161713 h 462341"/>
                <a:gd name="connsiteX12" fmla="*/ 259433 w 435145"/>
                <a:gd name="connsiteY12" fmla="*/ 194349 h 462341"/>
                <a:gd name="connsiteX13" fmla="*/ 259433 w 435145"/>
                <a:gd name="connsiteY13" fmla="*/ 362967 h 462341"/>
                <a:gd name="connsiteX14" fmla="*/ 321985 w 435145"/>
                <a:gd name="connsiteY14" fmla="*/ 422800 h 462341"/>
                <a:gd name="connsiteX15" fmla="*/ 387257 w 435145"/>
                <a:gd name="connsiteY15" fmla="*/ 362967 h 462341"/>
                <a:gd name="connsiteX16" fmla="*/ 387257 w 435145"/>
                <a:gd name="connsiteY16" fmla="*/ 273219 h 462341"/>
                <a:gd name="connsiteX17" fmla="*/ 302948 w 435145"/>
                <a:gd name="connsiteY17" fmla="*/ 74684 h 4623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435145" h="462341">
                  <a:moveTo>
                    <a:pt x="302948" y="74684"/>
                  </a:moveTo>
                  <a:cubicBezTo>
                    <a:pt x="234956" y="74684"/>
                    <a:pt x="196881" y="131797"/>
                    <a:pt x="186003" y="148115"/>
                  </a:cubicBezTo>
                  <a:lnTo>
                    <a:pt x="186003" y="148115"/>
                  </a:lnTo>
                  <a:cubicBezTo>
                    <a:pt x="186003" y="129077"/>
                    <a:pt x="186003" y="115479"/>
                    <a:pt x="186003" y="115479"/>
                  </a:cubicBezTo>
                  <a:cubicBezTo>
                    <a:pt x="186003" y="82843"/>
                    <a:pt x="156086" y="58366"/>
                    <a:pt x="123450" y="58366"/>
                  </a:cubicBezTo>
                  <a:cubicBezTo>
                    <a:pt x="90814" y="55646"/>
                    <a:pt x="58178" y="82843"/>
                    <a:pt x="58178" y="115479"/>
                  </a:cubicBezTo>
                  <a:cubicBezTo>
                    <a:pt x="58178" y="120918"/>
                    <a:pt x="58178" y="360248"/>
                    <a:pt x="58178" y="362967"/>
                  </a:cubicBezTo>
                  <a:cubicBezTo>
                    <a:pt x="58178" y="395603"/>
                    <a:pt x="88095" y="422800"/>
                    <a:pt x="120730" y="422800"/>
                  </a:cubicBezTo>
                  <a:cubicBezTo>
                    <a:pt x="153366" y="425519"/>
                    <a:pt x="186003" y="395603"/>
                    <a:pt x="186003" y="362967"/>
                  </a:cubicBezTo>
                  <a:cubicBezTo>
                    <a:pt x="186003" y="360248"/>
                    <a:pt x="186003" y="281378"/>
                    <a:pt x="186003" y="213386"/>
                  </a:cubicBezTo>
                  <a:lnTo>
                    <a:pt x="186003" y="213386"/>
                  </a:lnTo>
                  <a:cubicBezTo>
                    <a:pt x="191442" y="186190"/>
                    <a:pt x="205040" y="161713"/>
                    <a:pt x="229517" y="161713"/>
                  </a:cubicBezTo>
                  <a:cubicBezTo>
                    <a:pt x="259433" y="161713"/>
                    <a:pt x="259433" y="194349"/>
                    <a:pt x="259433" y="194349"/>
                  </a:cubicBezTo>
                  <a:lnTo>
                    <a:pt x="259433" y="362967"/>
                  </a:lnTo>
                  <a:cubicBezTo>
                    <a:pt x="259433" y="395603"/>
                    <a:pt x="289349" y="422800"/>
                    <a:pt x="321985" y="422800"/>
                  </a:cubicBezTo>
                  <a:cubicBezTo>
                    <a:pt x="354621" y="425519"/>
                    <a:pt x="387257" y="395603"/>
                    <a:pt x="387257" y="362967"/>
                  </a:cubicBezTo>
                  <a:lnTo>
                    <a:pt x="387257" y="273219"/>
                  </a:lnTo>
                  <a:cubicBezTo>
                    <a:pt x="387257" y="183470"/>
                    <a:pt x="395416" y="71964"/>
                    <a:pt x="302948" y="74684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7499867C-A199-4323-96E0-4E372C32987F}"/>
                </a:ext>
              </a:extLst>
            </p:cNvPr>
            <p:cNvSpPr/>
            <p:nvPr/>
          </p:nvSpPr>
          <p:spPr>
            <a:xfrm>
              <a:off x="7960620" y="3416868"/>
              <a:ext cx="435145" cy="462341"/>
            </a:xfrm>
            <a:custGeom>
              <a:avLst/>
              <a:gdLst>
                <a:gd name="connsiteX0" fmla="*/ 302948 w 435145"/>
                <a:gd name="connsiteY0" fmla="*/ 74684 h 462341"/>
                <a:gd name="connsiteX1" fmla="*/ 186002 w 435145"/>
                <a:gd name="connsiteY1" fmla="*/ 148115 h 462341"/>
                <a:gd name="connsiteX2" fmla="*/ 186002 w 435145"/>
                <a:gd name="connsiteY2" fmla="*/ 148115 h 462341"/>
                <a:gd name="connsiteX3" fmla="*/ 186002 w 435145"/>
                <a:gd name="connsiteY3" fmla="*/ 115479 h 462341"/>
                <a:gd name="connsiteX4" fmla="*/ 123450 w 435145"/>
                <a:gd name="connsiteY4" fmla="*/ 58366 h 462341"/>
                <a:gd name="connsiteX5" fmla="*/ 58178 w 435145"/>
                <a:gd name="connsiteY5" fmla="*/ 115479 h 462341"/>
                <a:gd name="connsiteX6" fmla="*/ 58178 w 435145"/>
                <a:gd name="connsiteY6" fmla="*/ 362967 h 462341"/>
                <a:gd name="connsiteX7" fmla="*/ 120730 w 435145"/>
                <a:gd name="connsiteY7" fmla="*/ 422800 h 462341"/>
                <a:gd name="connsiteX8" fmla="*/ 186002 w 435145"/>
                <a:gd name="connsiteY8" fmla="*/ 362967 h 462341"/>
                <a:gd name="connsiteX9" fmla="*/ 186002 w 435145"/>
                <a:gd name="connsiteY9" fmla="*/ 213386 h 462341"/>
                <a:gd name="connsiteX10" fmla="*/ 186002 w 435145"/>
                <a:gd name="connsiteY10" fmla="*/ 213386 h 462341"/>
                <a:gd name="connsiteX11" fmla="*/ 229517 w 435145"/>
                <a:gd name="connsiteY11" fmla="*/ 161713 h 462341"/>
                <a:gd name="connsiteX12" fmla="*/ 259433 w 435145"/>
                <a:gd name="connsiteY12" fmla="*/ 194349 h 462341"/>
                <a:gd name="connsiteX13" fmla="*/ 259433 w 435145"/>
                <a:gd name="connsiteY13" fmla="*/ 362967 h 462341"/>
                <a:gd name="connsiteX14" fmla="*/ 321985 w 435145"/>
                <a:gd name="connsiteY14" fmla="*/ 422800 h 462341"/>
                <a:gd name="connsiteX15" fmla="*/ 387257 w 435145"/>
                <a:gd name="connsiteY15" fmla="*/ 362967 h 462341"/>
                <a:gd name="connsiteX16" fmla="*/ 387257 w 435145"/>
                <a:gd name="connsiteY16" fmla="*/ 273219 h 462341"/>
                <a:gd name="connsiteX17" fmla="*/ 302948 w 435145"/>
                <a:gd name="connsiteY17" fmla="*/ 74684 h 4623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435145" h="462341">
                  <a:moveTo>
                    <a:pt x="302948" y="74684"/>
                  </a:moveTo>
                  <a:cubicBezTo>
                    <a:pt x="234956" y="74684"/>
                    <a:pt x="196881" y="131797"/>
                    <a:pt x="186002" y="148115"/>
                  </a:cubicBezTo>
                  <a:lnTo>
                    <a:pt x="186002" y="148115"/>
                  </a:lnTo>
                  <a:cubicBezTo>
                    <a:pt x="186002" y="129077"/>
                    <a:pt x="186002" y="115479"/>
                    <a:pt x="186002" y="115479"/>
                  </a:cubicBezTo>
                  <a:cubicBezTo>
                    <a:pt x="186002" y="82843"/>
                    <a:pt x="156086" y="58366"/>
                    <a:pt x="123450" y="58366"/>
                  </a:cubicBezTo>
                  <a:cubicBezTo>
                    <a:pt x="90814" y="55646"/>
                    <a:pt x="58178" y="82843"/>
                    <a:pt x="58178" y="115479"/>
                  </a:cubicBezTo>
                  <a:cubicBezTo>
                    <a:pt x="58178" y="120918"/>
                    <a:pt x="58178" y="360248"/>
                    <a:pt x="58178" y="362967"/>
                  </a:cubicBezTo>
                  <a:cubicBezTo>
                    <a:pt x="58178" y="395603"/>
                    <a:pt x="88095" y="422800"/>
                    <a:pt x="120730" y="422800"/>
                  </a:cubicBezTo>
                  <a:cubicBezTo>
                    <a:pt x="153366" y="425519"/>
                    <a:pt x="186002" y="395603"/>
                    <a:pt x="186002" y="362967"/>
                  </a:cubicBezTo>
                  <a:cubicBezTo>
                    <a:pt x="186002" y="360248"/>
                    <a:pt x="186002" y="281378"/>
                    <a:pt x="186002" y="213386"/>
                  </a:cubicBezTo>
                  <a:lnTo>
                    <a:pt x="186002" y="213386"/>
                  </a:lnTo>
                  <a:cubicBezTo>
                    <a:pt x="191442" y="186190"/>
                    <a:pt x="205040" y="161713"/>
                    <a:pt x="229517" y="161713"/>
                  </a:cubicBezTo>
                  <a:cubicBezTo>
                    <a:pt x="259433" y="161713"/>
                    <a:pt x="259433" y="194349"/>
                    <a:pt x="259433" y="194349"/>
                  </a:cubicBezTo>
                  <a:lnTo>
                    <a:pt x="259433" y="362967"/>
                  </a:lnTo>
                  <a:cubicBezTo>
                    <a:pt x="259433" y="395603"/>
                    <a:pt x="289349" y="422800"/>
                    <a:pt x="321985" y="422800"/>
                  </a:cubicBezTo>
                  <a:cubicBezTo>
                    <a:pt x="354621" y="425519"/>
                    <a:pt x="387257" y="395603"/>
                    <a:pt x="387257" y="362967"/>
                  </a:cubicBezTo>
                  <a:lnTo>
                    <a:pt x="387257" y="273219"/>
                  </a:lnTo>
                  <a:cubicBezTo>
                    <a:pt x="384537" y="183470"/>
                    <a:pt x="395416" y="71964"/>
                    <a:pt x="302948" y="74684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BF5424D8-84CB-4710-93EA-67FB2CF29EAF}"/>
                </a:ext>
              </a:extLst>
            </p:cNvPr>
            <p:cNvSpPr/>
            <p:nvPr/>
          </p:nvSpPr>
          <p:spPr>
            <a:xfrm>
              <a:off x="5020669" y="3416868"/>
              <a:ext cx="435145" cy="462341"/>
            </a:xfrm>
            <a:custGeom>
              <a:avLst/>
              <a:gdLst>
                <a:gd name="connsiteX0" fmla="*/ 302948 w 435145"/>
                <a:gd name="connsiteY0" fmla="*/ 74684 h 462341"/>
                <a:gd name="connsiteX1" fmla="*/ 186002 w 435145"/>
                <a:gd name="connsiteY1" fmla="*/ 148115 h 462341"/>
                <a:gd name="connsiteX2" fmla="*/ 186002 w 435145"/>
                <a:gd name="connsiteY2" fmla="*/ 148115 h 462341"/>
                <a:gd name="connsiteX3" fmla="*/ 186002 w 435145"/>
                <a:gd name="connsiteY3" fmla="*/ 115479 h 462341"/>
                <a:gd name="connsiteX4" fmla="*/ 123450 w 435145"/>
                <a:gd name="connsiteY4" fmla="*/ 58366 h 462341"/>
                <a:gd name="connsiteX5" fmla="*/ 58178 w 435145"/>
                <a:gd name="connsiteY5" fmla="*/ 115479 h 462341"/>
                <a:gd name="connsiteX6" fmla="*/ 58178 w 435145"/>
                <a:gd name="connsiteY6" fmla="*/ 362967 h 462341"/>
                <a:gd name="connsiteX7" fmla="*/ 120730 w 435145"/>
                <a:gd name="connsiteY7" fmla="*/ 422800 h 462341"/>
                <a:gd name="connsiteX8" fmla="*/ 186002 w 435145"/>
                <a:gd name="connsiteY8" fmla="*/ 362967 h 462341"/>
                <a:gd name="connsiteX9" fmla="*/ 186002 w 435145"/>
                <a:gd name="connsiteY9" fmla="*/ 213386 h 462341"/>
                <a:gd name="connsiteX10" fmla="*/ 186002 w 435145"/>
                <a:gd name="connsiteY10" fmla="*/ 213386 h 462341"/>
                <a:gd name="connsiteX11" fmla="*/ 229517 w 435145"/>
                <a:gd name="connsiteY11" fmla="*/ 161713 h 462341"/>
                <a:gd name="connsiteX12" fmla="*/ 259433 w 435145"/>
                <a:gd name="connsiteY12" fmla="*/ 194349 h 462341"/>
                <a:gd name="connsiteX13" fmla="*/ 259433 w 435145"/>
                <a:gd name="connsiteY13" fmla="*/ 362967 h 462341"/>
                <a:gd name="connsiteX14" fmla="*/ 321985 w 435145"/>
                <a:gd name="connsiteY14" fmla="*/ 422800 h 462341"/>
                <a:gd name="connsiteX15" fmla="*/ 387257 w 435145"/>
                <a:gd name="connsiteY15" fmla="*/ 362967 h 462341"/>
                <a:gd name="connsiteX16" fmla="*/ 387257 w 435145"/>
                <a:gd name="connsiteY16" fmla="*/ 273219 h 462341"/>
                <a:gd name="connsiteX17" fmla="*/ 302948 w 435145"/>
                <a:gd name="connsiteY17" fmla="*/ 74684 h 4623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435145" h="462341">
                  <a:moveTo>
                    <a:pt x="302948" y="74684"/>
                  </a:moveTo>
                  <a:cubicBezTo>
                    <a:pt x="234956" y="74684"/>
                    <a:pt x="196881" y="131797"/>
                    <a:pt x="186002" y="148115"/>
                  </a:cubicBezTo>
                  <a:lnTo>
                    <a:pt x="186002" y="148115"/>
                  </a:lnTo>
                  <a:cubicBezTo>
                    <a:pt x="186002" y="129077"/>
                    <a:pt x="186002" y="115479"/>
                    <a:pt x="186002" y="115479"/>
                  </a:cubicBezTo>
                  <a:cubicBezTo>
                    <a:pt x="186002" y="82843"/>
                    <a:pt x="156086" y="58366"/>
                    <a:pt x="123450" y="58366"/>
                  </a:cubicBezTo>
                  <a:cubicBezTo>
                    <a:pt x="90814" y="55646"/>
                    <a:pt x="58178" y="82843"/>
                    <a:pt x="58178" y="115479"/>
                  </a:cubicBezTo>
                  <a:cubicBezTo>
                    <a:pt x="58178" y="120918"/>
                    <a:pt x="58178" y="360248"/>
                    <a:pt x="58178" y="362967"/>
                  </a:cubicBezTo>
                  <a:cubicBezTo>
                    <a:pt x="58178" y="395603"/>
                    <a:pt x="88094" y="422800"/>
                    <a:pt x="120730" y="422800"/>
                  </a:cubicBezTo>
                  <a:cubicBezTo>
                    <a:pt x="153366" y="425519"/>
                    <a:pt x="186002" y="395603"/>
                    <a:pt x="186002" y="362967"/>
                  </a:cubicBezTo>
                  <a:cubicBezTo>
                    <a:pt x="186002" y="360248"/>
                    <a:pt x="186002" y="281378"/>
                    <a:pt x="186002" y="213386"/>
                  </a:cubicBezTo>
                  <a:lnTo>
                    <a:pt x="186002" y="213386"/>
                  </a:lnTo>
                  <a:cubicBezTo>
                    <a:pt x="191442" y="186190"/>
                    <a:pt x="205040" y="161713"/>
                    <a:pt x="229517" y="161713"/>
                  </a:cubicBezTo>
                  <a:cubicBezTo>
                    <a:pt x="259433" y="161713"/>
                    <a:pt x="259433" y="194349"/>
                    <a:pt x="259433" y="194349"/>
                  </a:cubicBezTo>
                  <a:lnTo>
                    <a:pt x="259433" y="362967"/>
                  </a:lnTo>
                  <a:cubicBezTo>
                    <a:pt x="259433" y="395603"/>
                    <a:pt x="289349" y="422800"/>
                    <a:pt x="321985" y="422800"/>
                  </a:cubicBezTo>
                  <a:cubicBezTo>
                    <a:pt x="354621" y="425519"/>
                    <a:pt x="387257" y="395603"/>
                    <a:pt x="387257" y="362967"/>
                  </a:cubicBezTo>
                  <a:lnTo>
                    <a:pt x="387257" y="273219"/>
                  </a:lnTo>
                  <a:cubicBezTo>
                    <a:pt x="384537" y="183470"/>
                    <a:pt x="395416" y="71964"/>
                    <a:pt x="302948" y="74684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7DDB42FA-72B7-4EC6-8731-88363F1EC79A}"/>
                </a:ext>
              </a:extLst>
            </p:cNvPr>
            <p:cNvSpPr/>
            <p:nvPr/>
          </p:nvSpPr>
          <p:spPr>
            <a:xfrm>
              <a:off x="7616289" y="3475234"/>
              <a:ext cx="364436" cy="364434"/>
            </a:xfrm>
            <a:custGeom>
              <a:avLst/>
              <a:gdLst>
                <a:gd name="connsiteX0" fmla="*/ 182218 w 364436"/>
                <a:gd name="connsiteY0" fmla="*/ 73431 h 364434"/>
                <a:gd name="connsiteX1" fmla="*/ 130544 w 364436"/>
                <a:gd name="connsiteY1" fmla="*/ 179499 h 364434"/>
                <a:gd name="connsiteX2" fmla="*/ 182218 w 364436"/>
                <a:gd name="connsiteY2" fmla="*/ 285565 h 364434"/>
                <a:gd name="connsiteX3" fmla="*/ 233891 w 364436"/>
                <a:gd name="connsiteY3" fmla="*/ 179499 h 364434"/>
                <a:gd name="connsiteX4" fmla="*/ 182218 w 364436"/>
                <a:gd name="connsiteY4" fmla="*/ 73431 h 364434"/>
                <a:gd name="connsiteX5" fmla="*/ 182219 w 364436"/>
                <a:gd name="connsiteY5" fmla="*/ 0 h 364434"/>
                <a:gd name="connsiteX6" fmla="*/ 364436 w 364436"/>
                <a:gd name="connsiteY6" fmla="*/ 182217 h 364434"/>
                <a:gd name="connsiteX7" fmla="*/ 182219 w 364436"/>
                <a:gd name="connsiteY7" fmla="*/ 364434 h 364434"/>
                <a:gd name="connsiteX8" fmla="*/ 0 w 364436"/>
                <a:gd name="connsiteY8" fmla="*/ 182217 h 364434"/>
                <a:gd name="connsiteX9" fmla="*/ 182219 w 364436"/>
                <a:gd name="connsiteY9" fmla="*/ 0 h 3644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64436" h="364434">
                  <a:moveTo>
                    <a:pt x="182218" y="73431"/>
                  </a:moveTo>
                  <a:cubicBezTo>
                    <a:pt x="152302" y="76151"/>
                    <a:pt x="130544" y="114226"/>
                    <a:pt x="130544" y="179499"/>
                  </a:cubicBezTo>
                  <a:cubicBezTo>
                    <a:pt x="130544" y="244770"/>
                    <a:pt x="146862" y="285565"/>
                    <a:pt x="182218" y="285565"/>
                  </a:cubicBezTo>
                  <a:cubicBezTo>
                    <a:pt x="217573" y="285565"/>
                    <a:pt x="233891" y="247490"/>
                    <a:pt x="233891" y="179499"/>
                  </a:cubicBezTo>
                  <a:cubicBezTo>
                    <a:pt x="233891" y="114226"/>
                    <a:pt x="212134" y="73431"/>
                    <a:pt x="182218" y="73431"/>
                  </a:cubicBezTo>
                  <a:close/>
                  <a:moveTo>
                    <a:pt x="182219" y="0"/>
                  </a:moveTo>
                  <a:cubicBezTo>
                    <a:pt x="282846" y="0"/>
                    <a:pt x="364436" y="81590"/>
                    <a:pt x="364436" y="182217"/>
                  </a:cubicBezTo>
                  <a:cubicBezTo>
                    <a:pt x="364436" y="282844"/>
                    <a:pt x="282846" y="364434"/>
                    <a:pt x="182219" y="364434"/>
                  </a:cubicBezTo>
                  <a:cubicBezTo>
                    <a:pt x="81591" y="364434"/>
                    <a:pt x="0" y="282844"/>
                    <a:pt x="0" y="182217"/>
                  </a:cubicBezTo>
                  <a:cubicBezTo>
                    <a:pt x="0" y="81590"/>
                    <a:pt x="81591" y="0"/>
                    <a:pt x="182219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178809C4-0D47-4B10-9CB8-45403FAB078D}"/>
                </a:ext>
              </a:extLst>
            </p:cNvPr>
            <p:cNvSpPr/>
            <p:nvPr/>
          </p:nvSpPr>
          <p:spPr>
            <a:xfrm>
              <a:off x="6743101" y="3464184"/>
              <a:ext cx="372773" cy="375657"/>
            </a:xfrm>
            <a:custGeom>
              <a:avLst/>
              <a:gdLst>
                <a:gd name="connsiteX0" fmla="*/ 176958 w 372773"/>
                <a:gd name="connsiteY0" fmla="*/ 98080 h 375657"/>
                <a:gd name="connsiteX1" fmla="*/ 125284 w 372773"/>
                <a:gd name="connsiteY1" fmla="*/ 190548 h 375657"/>
                <a:gd name="connsiteX2" fmla="*/ 176958 w 372773"/>
                <a:gd name="connsiteY2" fmla="*/ 283017 h 375657"/>
                <a:gd name="connsiteX3" fmla="*/ 228631 w 372773"/>
                <a:gd name="connsiteY3" fmla="*/ 190548 h 375657"/>
                <a:gd name="connsiteX4" fmla="*/ 176958 w 372773"/>
                <a:gd name="connsiteY4" fmla="*/ 98080 h 375657"/>
                <a:gd name="connsiteX5" fmla="*/ 307501 w 372773"/>
                <a:gd name="connsiteY5" fmla="*/ 172 h 375657"/>
                <a:gd name="connsiteX6" fmla="*/ 372773 w 372773"/>
                <a:gd name="connsiteY6" fmla="*/ 62724 h 375657"/>
                <a:gd name="connsiteX7" fmla="*/ 372773 w 372773"/>
                <a:gd name="connsiteY7" fmla="*/ 312934 h 375657"/>
                <a:gd name="connsiteX8" fmla="*/ 302061 w 372773"/>
                <a:gd name="connsiteY8" fmla="*/ 375486 h 375657"/>
                <a:gd name="connsiteX9" fmla="*/ 239509 w 372773"/>
                <a:gd name="connsiteY9" fmla="*/ 326532 h 375657"/>
                <a:gd name="connsiteX10" fmla="*/ 179677 w 372773"/>
                <a:gd name="connsiteY10" fmla="*/ 370046 h 375657"/>
                <a:gd name="connsiteX11" fmla="*/ 70890 w 372773"/>
                <a:gd name="connsiteY11" fmla="*/ 353728 h 375657"/>
                <a:gd name="connsiteX12" fmla="*/ 128003 w 372773"/>
                <a:gd name="connsiteY12" fmla="*/ 11051 h 375657"/>
                <a:gd name="connsiteX13" fmla="*/ 236790 w 372773"/>
                <a:gd name="connsiteY13" fmla="*/ 70883 h 375657"/>
                <a:gd name="connsiteX14" fmla="*/ 236790 w 372773"/>
                <a:gd name="connsiteY14" fmla="*/ 62724 h 375657"/>
                <a:gd name="connsiteX15" fmla="*/ 307501 w 372773"/>
                <a:gd name="connsiteY15" fmla="*/ 172 h 3756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72773" h="375657">
                  <a:moveTo>
                    <a:pt x="176958" y="98080"/>
                  </a:moveTo>
                  <a:cubicBezTo>
                    <a:pt x="147042" y="100800"/>
                    <a:pt x="125284" y="133436"/>
                    <a:pt x="125284" y="190548"/>
                  </a:cubicBezTo>
                  <a:cubicBezTo>
                    <a:pt x="125284" y="247661"/>
                    <a:pt x="141602" y="283017"/>
                    <a:pt x="176958" y="283017"/>
                  </a:cubicBezTo>
                  <a:cubicBezTo>
                    <a:pt x="212314" y="283017"/>
                    <a:pt x="228631" y="247661"/>
                    <a:pt x="228631" y="190548"/>
                  </a:cubicBezTo>
                  <a:cubicBezTo>
                    <a:pt x="228631" y="133436"/>
                    <a:pt x="206874" y="98080"/>
                    <a:pt x="176958" y="98080"/>
                  </a:cubicBezTo>
                  <a:close/>
                  <a:moveTo>
                    <a:pt x="307501" y="172"/>
                  </a:moveTo>
                  <a:cubicBezTo>
                    <a:pt x="340137" y="172"/>
                    <a:pt x="372773" y="30088"/>
                    <a:pt x="372773" y="62724"/>
                  </a:cubicBezTo>
                  <a:cubicBezTo>
                    <a:pt x="372773" y="65444"/>
                    <a:pt x="372773" y="307494"/>
                    <a:pt x="372773" y="312934"/>
                  </a:cubicBezTo>
                  <a:cubicBezTo>
                    <a:pt x="370053" y="348289"/>
                    <a:pt x="337417" y="378205"/>
                    <a:pt x="302061" y="375486"/>
                  </a:cubicBezTo>
                  <a:cubicBezTo>
                    <a:pt x="274865" y="372766"/>
                    <a:pt x="247668" y="353728"/>
                    <a:pt x="239509" y="326532"/>
                  </a:cubicBezTo>
                  <a:cubicBezTo>
                    <a:pt x="225911" y="348289"/>
                    <a:pt x="198715" y="364607"/>
                    <a:pt x="179677" y="370046"/>
                  </a:cubicBezTo>
                  <a:cubicBezTo>
                    <a:pt x="147041" y="378205"/>
                    <a:pt x="100807" y="372766"/>
                    <a:pt x="70890" y="353728"/>
                  </a:cubicBezTo>
                  <a:cubicBezTo>
                    <a:pt x="-35177" y="285737"/>
                    <a:pt x="-27018" y="11051"/>
                    <a:pt x="128003" y="11051"/>
                  </a:cubicBezTo>
                  <a:cubicBezTo>
                    <a:pt x="185116" y="11051"/>
                    <a:pt x="220471" y="49126"/>
                    <a:pt x="236790" y="70883"/>
                  </a:cubicBezTo>
                  <a:cubicBezTo>
                    <a:pt x="236790" y="70883"/>
                    <a:pt x="236790" y="65444"/>
                    <a:pt x="236790" y="62724"/>
                  </a:cubicBezTo>
                  <a:cubicBezTo>
                    <a:pt x="239509" y="27369"/>
                    <a:pt x="272145" y="-2547"/>
                    <a:pt x="307501" y="172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28D60CB4-24EE-4286-B104-B1E7780F25F7}"/>
                </a:ext>
              </a:extLst>
            </p:cNvPr>
            <p:cNvSpPr/>
            <p:nvPr/>
          </p:nvSpPr>
          <p:spPr>
            <a:xfrm>
              <a:off x="8380335" y="3464184"/>
              <a:ext cx="372772" cy="375657"/>
            </a:xfrm>
            <a:custGeom>
              <a:avLst/>
              <a:gdLst>
                <a:gd name="connsiteX0" fmla="*/ 176957 w 372772"/>
                <a:gd name="connsiteY0" fmla="*/ 98080 h 375657"/>
                <a:gd name="connsiteX1" fmla="*/ 125282 w 372772"/>
                <a:gd name="connsiteY1" fmla="*/ 190548 h 375657"/>
                <a:gd name="connsiteX2" fmla="*/ 176957 w 372772"/>
                <a:gd name="connsiteY2" fmla="*/ 283017 h 375657"/>
                <a:gd name="connsiteX3" fmla="*/ 228630 w 372772"/>
                <a:gd name="connsiteY3" fmla="*/ 190548 h 375657"/>
                <a:gd name="connsiteX4" fmla="*/ 176957 w 372772"/>
                <a:gd name="connsiteY4" fmla="*/ 98080 h 375657"/>
                <a:gd name="connsiteX5" fmla="*/ 307501 w 372772"/>
                <a:gd name="connsiteY5" fmla="*/ 172 h 375657"/>
                <a:gd name="connsiteX6" fmla="*/ 372772 w 372772"/>
                <a:gd name="connsiteY6" fmla="*/ 62724 h 375657"/>
                <a:gd name="connsiteX7" fmla="*/ 372772 w 372772"/>
                <a:gd name="connsiteY7" fmla="*/ 312934 h 375657"/>
                <a:gd name="connsiteX8" fmla="*/ 302062 w 372772"/>
                <a:gd name="connsiteY8" fmla="*/ 375486 h 375657"/>
                <a:gd name="connsiteX9" fmla="*/ 239509 w 372772"/>
                <a:gd name="connsiteY9" fmla="*/ 326532 h 375657"/>
                <a:gd name="connsiteX10" fmla="*/ 179677 w 372772"/>
                <a:gd name="connsiteY10" fmla="*/ 370046 h 375657"/>
                <a:gd name="connsiteX11" fmla="*/ 70890 w 372772"/>
                <a:gd name="connsiteY11" fmla="*/ 353728 h 375657"/>
                <a:gd name="connsiteX12" fmla="*/ 128002 w 372772"/>
                <a:gd name="connsiteY12" fmla="*/ 11051 h 375657"/>
                <a:gd name="connsiteX13" fmla="*/ 236790 w 372772"/>
                <a:gd name="connsiteY13" fmla="*/ 70883 h 375657"/>
                <a:gd name="connsiteX14" fmla="*/ 236790 w 372772"/>
                <a:gd name="connsiteY14" fmla="*/ 62724 h 375657"/>
                <a:gd name="connsiteX15" fmla="*/ 307501 w 372772"/>
                <a:gd name="connsiteY15" fmla="*/ 172 h 3756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72772" h="375657">
                  <a:moveTo>
                    <a:pt x="176957" y="98080"/>
                  </a:moveTo>
                  <a:cubicBezTo>
                    <a:pt x="147039" y="100800"/>
                    <a:pt x="125282" y="133436"/>
                    <a:pt x="125282" y="190548"/>
                  </a:cubicBezTo>
                  <a:cubicBezTo>
                    <a:pt x="125282" y="247661"/>
                    <a:pt x="141600" y="283017"/>
                    <a:pt x="176957" y="283017"/>
                  </a:cubicBezTo>
                  <a:cubicBezTo>
                    <a:pt x="212312" y="283017"/>
                    <a:pt x="228630" y="247661"/>
                    <a:pt x="228630" y="190548"/>
                  </a:cubicBezTo>
                  <a:cubicBezTo>
                    <a:pt x="228630" y="133436"/>
                    <a:pt x="206873" y="98080"/>
                    <a:pt x="176957" y="98080"/>
                  </a:cubicBezTo>
                  <a:close/>
                  <a:moveTo>
                    <a:pt x="307501" y="172"/>
                  </a:moveTo>
                  <a:cubicBezTo>
                    <a:pt x="340137" y="172"/>
                    <a:pt x="372772" y="30088"/>
                    <a:pt x="372772" y="62724"/>
                  </a:cubicBezTo>
                  <a:cubicBezTo>
                    <a:pt x="372772" y="65444"/>
                    <a:pt x="372772" y="307494"/>
                    <a:pt x="372772" y="312934"/>
                  </a:cubicBezTo>
                  <a:cubicBezTo>
                    <a:pt x="370053" y="348289"/>
                    <a:pt x="337417" y="378205"/>
                    <a:pt x="302062" y="375486"/>
                  </a:cubicBezTo>
                  <a:cubicBezTo>
                    <a:pt x="274865" y="372766"/>
                    <a:pt x="247668" y="353728"/>
                    <a:pt x="239509" y="326532"/>
                  </a:cubicBezTo>
                  <a:cubicBezTo>
                    <a:pt x="228630" y="348289"/>
                    <a:pt x="198714" y="364607"/>
                    <a:pt x="179677" y="370046"/>
                  </a:cubicBezTo>
                  <a:cubicBezTo>
                    <a:pt x="147040" y="378205"/>
                    <a:pt x="100806" y="372766"/>
                    <a:pt x="70890" y="353728"/>
                  </a:cubicBezTo>
                  <a:cubicBezTo>
                    <a:pt x="-35177" y="285737"/>
                    <a:pt x="-27018" y="11051"/>
                    <a:pt x="128002" y="11051"/>
                  </a:cubicBezTo>
                  <a:cubicBezTo>
                    <a:pt x="185116" y="11051"/>
                    <a:pt x="220472" y="49126"/>
                    <a:pt x="236790" y="70883"/>
                  </a:cubicBezTo>
                  <a:cubicBezTo>
                    <a:pt x="236790" y="70883"/>
                    <a:pt x="236790" y="65444"/>
                    <a:pt x="236790" y="62724"/>
                  </a:cubicBezTo>
                  <a:cubicBezTo>
                    <a:pt x="239509" y="27369"/>
                    <a:pt x="272145" y="-2547"/>
                    <a:pt x="307501" y="172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AC807290-9044-47A7-90E1-CA3E462987B6}"/>
                </a:ext>
              </a:extLst>
            </p:cNvPr>
            <p:cNvSpPr/>
            <p:nvPr/>
          </p:nvSpPr>
          <p:spPr>
            <a:xfrm>
              <a:off x="7389492" y="3444253"/>
              <a:ext cx="217573" cy="435145"/>
            </a:xfrm>
            <a:custGeom>
              <a:avLst/>
              <a:gdLst>
                <a:gd name="connsiteX0" fmla="*/ 186002 w 217572"/>
                <a:gd name="connsiteY0" fmla="*/ 118011 h 435144"/>
                <a:gd name="connsiteX1" fmla="*/ 128890 w 217572"/>
                <a:gd name="connsiteY1" fmla="*/ 58178 h 435144"/>
                <a:gd name="connsiteX2" fmla="*/ 123450 w 217572"/>
                <a:gd name="connsiteY2" fmla="*/ 58178 h 435144"/>
                <a:gd name="connsiteX3" fmla="*/ 58178 w 217572"/>
                <a:gd name="connsiteY3" fmla="*/ 115291 h 435144"/>
                <a:gd name="connsiteX4" fmla="*/ 58178 w 217572"/>
                <a:gd name="connsiteY4" fmla="*/ 232236 h 435144"/>
                <a:gd name="connsiteX5" fmla="*/ 58178 w 217572"/>
                <a:gd name="connsiteY5" fmla="*/ 232236 h 435144"/>
                <a:gd name="connsiteX6" fmla="*/ 58178 w 217572"/>
                <a:gd name="connsiteY6" fmla="*/ 335583 h 435144"/>
                <a:gd name="connsiteX7" fmla="*/ 115291 w 217572"/>
                <a:gd name="connsiteY7" fmla="*/ 395415 h 435144"/>
                <a:gd name="connsiteX8" fmla="*/ 120730 w 217572"/>
                <a:gd name="connsiteY8" fmla="*/ 395415 h 435144"/>
                <a:gd name="connsiteX9" fmla="*/ 186002 w 217572"/>
                <a:gd name="connsiteY9" fmla="*/ 338303 h 435144"/>
                <a:gd name="connsiteX10" fmla="*/ 186002 w 217572"/>
                <a:gd name="connsiteY10" fmla="*/ 240395 h 435144"/>
                <a:gd name="connsiteX11" fmla="*/ 186002 w 217572"/>
                <a:gd name="connsiteY11" fmla="*/ 240395 h 435144"/>
                <a:gd name="connsiteX12" fmla="*/ 186002 w 217572"/>
                <a:gd name="connsiteY12" fmla="*/ 118011 h 4351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17572" h="435144">
                  <a:moveTo>
                    <a:pt x="186002" y="118011"/>
                  </a:moveTo>
                  <a:cubicBezTo>
                    <a:pt x="183283" y="85375"/>
                    <a:pt x="158806" y="60898"/>
                    <a:pt x="128890" y="58178"/>
                  </a:cubicBezTo>
                  <a:cubicBezTo>
                    <a:pt x="126170" y="58178"/>
                    <a:pt x="126170" y="58178"/>
                    <a:pt x="123450" y="58178"/>
                  </a:cubicBezTo>
                  <a:cubicBezTo>
                    <a:pt x="96254" y="58178"/>
                    <a:pt x="58178" y="82655"/>
                    <a:pt x="58178" y="115291"/>
                  </a:cubicBezTo>
                  <a:lnTo>
                    <a:pt x="58178" y="232236"/>
                  </a:lnTo>
                  <a:lnTo>
                    <a:pt x="58178" y="232236"/>
                  </a:lnTo>
                  <a:cubicBezTo>
                    <a:pt x="58178" y="270311"/>
                    <a:pt x="58178" y="335583"/>
                    <a:pt x="58178" y="335583"/>
                  </a:cubicBezTo>
                  <a:cubicBezTo>
                    <a:pt x="60898" y="368219"/>
                    <a:pt x="85375" y="392696"/>
                    <a:pt x="115291" y="395415"/>
                  </a:cubicBezTo>
                  <a:cubicBezTo>
                    <a:pt x="118011" y="395415"/>
                    <a:pt x="118011" y="395415"/>
                    <a:pt x="120730" y="395415"/>
                  </a:cubicBezTo>
                  <a:cubicBezTo>
                    <a:pt x="147927" y="395415"/>
                    <a:pt x="186002" y="370938"/>
                    <a:pt x="186002" y="338303"/>
                  </a:cubicBezTo>
                  <a:lnTo>
                    <a:pt x="186002" y="240395"/>
                  </a:lnTo>
                  <a:lnTo>
                    <a:pt x="186002" y="240395"/>
                  </a:lnTo>
                  <a:cubicBezTo>
                    <a:pt x="186002" y="202320"/>
                    <a:pt x="186002" y="118011"/>
                    <a:pt x="186002" y="118011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344258D2-EA42-49C8-AB37-BBF96FAEA587}"/>
                </a:ext>
              </a:extLst>
            </p:cNvPr>
            <p:cNvSpPr/>
            <p:nvPr/>
          </p:nvSpPr>
          <p:spPr>
            <a:xfrm>
              <a:off x="7392212" y="3280901"/>
              <a:ext cx="217573" cy="217572"/>
            </a:xfrm>
            <a:custGeom>
              <a:avLst/>
              <a:gdLst>
                <a:gd name="connsiteX0" fmla="*/ 183282 w 217572"/>
                <a:gd name="connsiteY0" fmla="*/ 120902 h 217572"/>
                <a:gd name="connsiteX1" fmla="*/ 120730 w 217572"/>
                <a:gd name="connsiteY1" fmla="*/ 183454 h 217572"/>
                <a:gd name="connsiteX2" fmla="*/ 58178 w 217572"/>
                <a:gd name="connsiteY2" fmla="*/ 120902 h 217572"/>
                <a:gd name="connsiteX3" fmla="*/ 120730 w 217572"/>
                <a:gd name="connsiteY3" fmla="*/ 58350 h 217572"/>
                <a:gd name="connsiteX4" fmla="*/ 183282 w 217572"/>
                <a:gd name="connsiteY4" fmla="*/ 120902 h 2175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17572" h="217572">
                  <a:moveTo>
                    <a:pt x="183282" y="120902"/>
                  </a:moveTo>
                  <a:cubicBezTo>
                    <a:pt x="183282" y="156258"/>
                    <a:pt x="156086" y="183454"/>
                    <a:pt x="120730" y="183454"/>
                  </a:cubicBezTo>
                  <a:cubicBezTo>
                    <a:pt x="85375" y="183454"/>
                    <a:pt x="58178" y="156258"/>
                    <a:pt x="58178" y="120902"/>
                  </a:cubicBezTo>
                  <a:cubicBezTo>
                    <a:pt x="58178" y="85547"/>
                    <a:pt x="85375" y="58350"/>
                    <a:pt x="120730" y="58350"/>
                  </a:cubicBezTo>
                  <a:cubicBezTo>
                    <a:pt x="153366" y="55630"/>
                    <a:pt x="183282" y="85547"/>
                    <a:pt x="183282" y="120902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CAE1932C-E9CE-473B-AC83-46E902037AB3}"/>
                </a:ext>
              </a:extLst>
            </p:cNvPr>
            <p:cNvSpPr/>
            <p:nvPr/>
          </p:nvSpPr>
          <p:spPr>
            <a:xfrm>
              <a:off x="6005186" y="3416884"/>
              <a:ext cx="380752" cy="462341"/>
            </a:xfrm>
            <a:custGeom>
              <a:avLst/>
              <a:gdLst>
                <a:gd name="connsiteX0" fmla="*/ 270312 w 380752"/>
                <a:gd name="connsiteY0" fmla="*/ 69229 h 462341"/>
                <a:gd name="connsiteX1" fmla="*/ 188722 w 380752"/>
                <a:gd name="connsiteY1" fmla="*/ 134501 h 462341"/>
                <a:gd name="connsiteX2" fmla="*/ 188722 w 380752"/>
                <a:gd name="connsiteY2" fmla="*/ 118183 h 462341"/>
                <a:gd name="connsiteX3" fmla="*/ 126170 w 380752"/>
                <a:gd name="connsiteY3" fmla="*/ 58350 h 462341"/>
                <a:gd name="connsiteX4" fmla="*/ 58178 w 380752"/>
                <a:gd name="connsiteY4" fmla="*/ 118183 h 462341"/>
                <a:gd name="connsiteX5" fmla="*/ 58178 w 380752"/>
                <a:gd name="connsiteY5" fmla="*/ 210651 h 462341"/>
                <a:gd name="connsiteX6" fmla="*/ 58178 w 380752"/>
                <a:gd name="connsiteY6" fmla="*/ 365671 h 462341"/>
                <a:gd name="connsiteX7" fmla="*/ 58178 w 380752"/>
                <a:gd name="connsiteY7" fmla="*/ 365671 h 462341"/>
                <a:gd name="connsiteX8" fmla="*/ 120730 w 380752"/>
                <a:gd name="connsiteY8" fmla="*/ 425504 h 462341"/>
                <a:gd name="connsiteX9" fmla="*/ 186002 w 380752"/>
                <a:gd name="connsiteY9" fmla="*/ 365671 h 462341"/>
                <a:gd name="connsiteX10" fmla="*/ 186002 w 380752"/>
                <a:gd name="connsiteY10" fmla="*/ 365671 h 462341"/>
                <a:gd name="connsiteX11" fmla="*/ 186002 w 380752"/>
                <a:gd name="connsiteY11" fmla="*/ 210651 h 462341"/>
                <a:gd name="connsiteX12" fmla="*/ 215919 w 380752"/>
                <a:gd name="connsiteY12" fmla="*/ 158978 h 462341"/>
                <a:gd name="connsiteX13" fmla="*/ 275751 w 380752"/>
                <a:gd name="connsiteY13" fmla="*/ 221530 h 462341"/>
                <a:gd name="connsiteX14" fmla="*/ 270312 w 380752"/>
                <a:gd name="connsiteY14" fmla="*/ 69229 h 4623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80752" h="462341">
                  <a:moveTo>
                    <a:pt x="270312" y="69229"/>
                  </a:moveTo>
                  <a:cubicBezTo>
                    <a:pt x="232236" y="71949"/>
                    <a:pt x="213199" y="99145"/>
                    <a:pt x="188722" y="134501"/>
                  </a:cubicBezTo>
                  <a:cubicBezTo>
                    <a:pt x="188722" y="134501"/>
                    <a:pt x="188722" y="118183"/>
                    <a:pt x="188722" y="118183"/>
                  </a:cubicBezTo>
                  <a:cubicBezTo>
                    <a:pt x="188722" y="85547"/>
                    <a:pt x="158806" y="58350"/>
                    <a:pt x="126170" y="58350"/>
                  </a:cubicBezTo>
                  <a:cubicBezTo>
                    <a:pt x="93534" y="55631"/>
                    <a:pt x="60898" y="85547"/>
                    <a:pt x="58178" y="118183"/>
                  </a:cubicBezTo>
                  <a:lnTo>
                    <a:pt x="58178" y="210651"/>
                  </a:lnTo>
                  <a:lnTo>
                    <a:pt x="58178" y="365671"/>
                  </a:lnTo>
                  <a:lnTo>
                    <a:pt x="58178" y="365671"/>
                  </a:lnTo>
                  <a:cubicBezTo>
                    <a:pt x="58178" y="398307"/>
                    <a:pt x="88094" y="425504"/>
                    <a:pt x="120730" y="425504"/>
                  </a:cubicBezTo>
                  <a:cubicBezTo>
                    <a:pt x="153366" y="428224"/>
                    <a:pt x="186002" y="398307"/>
                    <a:pt x="186002" y="365671"/>
                  </a:cubicBezTo>
                  <a:lnTo>
                    <a:pt x="186002" y="365671"/>
                  </a:lnTo>
                  <a:lnTo>
                    <a:pt x="186002" y="210651"/>
                  </a:lnTo>
                  <a:cubicBezTo>
                    <a:pt x="188722" y="188894"/>
                    <a:pt x="196881" y="158978"/>
                    <a:pt x="215919" y="158978"/>
                  </a:cubicBezTo>
                  <a:cubicBezTo>
                    <a:pt x="243115" y="158978"/>
                    <a:pt x="215919" y="221530"/>
                    <a:pt x="275751" y="221530"/>
                  </a:cubicBezTo>
                  <a:cubicBezTo>
                    <a:pt x="362780" y="221530"/>
                    <a:pt x="373658" y="63790"/>
                    <a:pt x="270312" y="69229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5D230A14-0748-4725-BC9F-A79515DCCFDB}"/>
                </a:ext>
              </a:extLst>
            </p:cNvPr>
            <p:cNvSpPr/>
            <p:nvPr/>
          </p:nvSpPr>
          <p:spPr>
            <a:xfrm>
              <a:off x="5693490" y="3475234"/>
              <a:ext cx="337238" cy="364434"/>
            </a:xfrm>
            <a:custGeom>
              <a:avLst/>
              <a:gdLst>
                <a:gd name="connsiteX0" fmla="*/ 180433 w 337238"/>
                <a:gd name="connsiteY0" fmla="*/ 73984 h 364434"/>
                <a:gd name="connsiteX1" fmla="*/ 163180 w 337238"/>
                <a:gd name="connsiteY1" fmla="*/ 78870 h 364434"/>
                <a:gd name="connsiteX2" fmla="*/ 125105 w 337238"/>
                <a:gd name="connsiteY2" fmla="*/ 160461 h 364434"/>
                <a:gd name="connsiteX3" fmla="*/ 171339 w 337238"/>
                <a:gd name="connsiteY3" fmla="*/ 163180 h 364434"/>
                <a:gd name="connsiteX4" fmla="*/ 214854 w 337238"/>
                <a:gd name="connsiteY4" fmla="*/ 108787 h 364434"/>
                <a:gd name="connsiteX5" fmla="*/ 180433 w 337238"/>
                <a:gd name="connsiteY5" fmla="*/ 73984 h 364434"/>
                <a:gd name="connsiteX6" fmla="*/ 174059 w 337238"/>
                <a:gd name="connsiteY6" fmla="*/ 0 h 364434"/>
                <a:gd name="connsiteX7" fmla="*/ 337238 w 337238"/>
                <a:gd name="connsiteY7" fmla="*/ 119665 h 364434"/>
                <a:gd name="connsiteX8" fmla="*/ 133264 w 337238"/>
                <a:gd name="connsiteY8" fmla="*/ 217573 h 364434"/>
                <a:gd name="connsiteX9" fmla="*/ 225732 w 337238"/>
                <a:gd name="connsiteY9" fmla="*/ 277405 h 364434"/>
                <a:gd name="connsiteX10" fmla="*/ 320920 w 337238"/>
                <a:gd name="connsiteY10" fmla="*/ 250208 h 364434"/>
                <a:gd name="connsiteX11" fmla="*/ 174059 w 337238"/>
                <a:gd name="connsiteY11" fmla="*/ 364434 h 364434"/>
                <a:gd name="connsiteX12" fmla="*/ 0 w 337238"/>
                <a:gd name="connsiteY12" fmla="*/ 184937 h 364434"/>
                <a:gd name="connsiteX13" fmla="*/ 174059 w 337238"/>
                <a:gd name="connsiteY13" fmla="*/ 0 h 3644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37238" h="364434">
                  <a:moveTo>
                    <a:pt x="180433" y="73984"/>
                  </a:moveTo>
                  <a:cubicBezTo>
                    <a:pt x="174569" y="73941"/>
                    <a:pt x="168620" y="75471"/>
                    <a:pt x="163180" y="78870"/>
                  </a:cubicBezTo>
                  <a:cubicBezTo>
                    <a:pt x="135984" y="95189"/>
                    <a:pt x="127825" y="130544"/>
                    <a:pt x="125105" y="160461"/>
                  </a:cubicBezTo>
                  <a:cubicBezTo>
                    <a:pt x="125105" y="163180"/>
                    <a:pt x="168620" y="160461"/>
                    <a:pt x="171339" y="163180"/>
                  </a:cubicBezTo>
                  <a:cubicBezTo>
                    <a:pt x="195816" y="157741"/>
                    <a:pt x="214854" y="135984"/>
                    <a:pt x="214854" y="108787"/>
                  </a:cubicBezTo>
                  <a:cubicBezTo>
                    <a:pt x="214854" y="88389"/>
                    <a:pt x="198026" y="74111"/>
                    <a:pt x="180433" y="73984"/>
                  </a:cubicBezTo>
                  <a:close/>
                  <a:moveTo>
                    <a:pt x="174059" y="0"/>
                  </a:moveTo>
                  <a:cubicBezTo>
                    <a:pt x="233891" y="0"/>
                    <a:pt x="337238" y="29916"/>
                    <a:pt x="337238" y="119665"/>
                  </a:cubicBezTo>
                  <a:cubicBezTo>
                    <a:pt x="337238" y="209414"/>
                    <a:pt x="244770" y="217573"/>
                    <a:pt x="133264" y="217573"/>
                  </a:cubicBezTo>
                  <a:cubicBezTo>
                    <a:pt x="133264" y="217573"/>
                    <a:pt x="149581" y="277405"/>
                    <a:pt x="225732" y="277405"/>
                  </a:cubicBezTo>
                  <a:cubicBezTo>
                    <a:pt x="301883" y="277405"/>
                    <a:pt x="320920" y="250208"/>
                    <a:pt x="320920" y="250208"/>
                  </a:cubicBezTo>
                  <a:cubicBezTo>
                    <a:pt x="320920" y="250208"/>
                    <a:pt x="315481" y="364434"/>
                    <a:pt x="174059" y="364434"/>
                  </a:cubicBezTo>
                  <a:cubicBezTo>
                    <a:pt x="95188" y="364434"/>
                    <a:pt x="0" y="304602"/>
                    <a:pt x="0" y="184937"/>
                  </a:cubicBezTo>
                  <a:cubicBezTo>
                    <a:pt x="0" y="78870"/>
                    <a:pt x="73431" y="0"/>
                    <a:pt x="174059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CC00DD94-854F-4950-9148-B594259CA291}"/>
                </a:ext>
              </a:extLst>
            </p:cNvPr>
            <p:cNvSpPr/>
            <p:nvPr/>
          </p:nvSpPr>
          <p:spPr>
            <a:xfrm>
              <a:off x="5376945" y="3338014"/>
              <a:ext cx="353556" cy="543931"/>
            </a:xfrm>
            <a:custGeom>
              <a:avLst/>
              <a:gdLst>
                <a:gd name="connsiteX0" fmla="*/ 311107 w 353555"/>
                <a:gd name="connsiteY0" fmla="*/ 433663 h 543931"/>
                <a:gd name="connsiteX1" fmla="*/ 215919 w 353555"/>
                <a:gd name="connsiteY1" fmla="*/ 501654 h 543931"/>
                <a:gd name="connsiteX2" fmla="*/ 98973 w 353555"/>
                <a:gd name="connsiteY2" fmla="*/ 392868 h 543931"/>
                <a:gd name="connsiteX3" fmla="*/ 98973 w 353555"/>
                <a:gd name="connsiteY3" fmla="*/ 221530 h 543931"/>
                <a:gd name="connsiteX4" fmla="*/ 82655 w 353555"/>
                <a:gd name="connsiteY4" fmla="*/ 221530 h 543931"/>
                <a:gd name="connsiteX5" fmla="*/ 58178 w 353555"/>
                <a:gd name="connsiteY5" fmla="*/ 191614 h 543931"/>
                <a:gd name="connsiteX6" fmla="*/ 85375 w 353555"/>
                <a:gd name="connsiteY6" fmla="*/ 164417 h 543931"/>
                <a:gd name="connsiteX7" fmla="*/ 101693 w 353555"/>
                <a:gd name="connsiteY7" fmla="*/ 164417 h 543931"/>
                <a:gd name="connsiteX8" fmla="*/ 101693 w 353555"/>
                <a:gd name="connsiteY8" fmla="*/ 118183 h 543931"/>
                <a:gd name="connsiteX9" fmla="*/ 166965 w 353555"/>
                <a:gd name="connsiteY9" fmla="*/ 58350 h 543931"/>
                <a:gd name="connsiteX10" fmla="*/ 229517 w 353555"/>
                <a:gd name="connsiteY10" fmla="*/ 118183 h 543931"/>
                <a:gd name="connsiteX11" fmla="*/ 229517 w 353555"/>
                <a:gd name="connsiteY11" fmla="*/ 118183 h 543931"/>
                <a:gd name="connsiteX12" fmla="*/ 229517 w 353555"/>
                <a:gd name="connsiteY12" fmla="*/ 164417 h 543931"/>
                <a:gd name="connsiteX13" fmla="*/ 283910 w 353555"/>
                <a:gd name="connsiteY13" fmla="*/ 164417 h 543931"/>
                <a:gd name="connsiteX14" fmla="*/ 308387 w 353555"/>
                <a:gd name="connsiteY14" fmla="*/ 194333 h 543931"/>
                <a:gd name="connsiteX15" fmla="*/ 281190 w 353555"/>
                <a:gd name="connsiteY15" fmla="*/ 221530 h 543931"/>
                <a:gd name="connsiteX16" fmla="*/ 229517 w 353555"/>
                <a:gd name="connsiteY16" fmla="*/ 221530 h 543931"/>
                <a:gd name="connsiteX17" fmla="*/ 229517 w 353555"/>
                <a:gd name="connsiteY17" fmla="*/ 365671 h 543931"/>
                <a:gd name="connsiteX18" fmla="*/ 311107 w 353555"/>
                <a:gd name="connsiteY18" fmla="*/ 433663 h 5439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353555" h="543931">
                  <a:moveTo>
                    <a:pt x="311107" y="433663"/>
                  </a:moveTo>
                  <a:cubicBezTo>
                    <a:pt x="311107" y="433663"/>
                    <a:pt x="278471" y="501654"/>
                    <a:pt x="215919" y="501654"/>
                  </a:cubicBezTo>
                  <a:cubicBezTo>
                    <a:pt x="164245" y="501654"/>
                    <a:pt x="101693" y="458140"/>
                    <a:pt x="98973" y="392868"/>
                  </a:cubicBezTo>
                  <a:cubicBezTo>
                    <a:pt x="98973" y="392868"/>
                    <a:pt x="98973" y="297680"/>
                    <a:pt x="98973" y="221530"/>
                  </a:cubicBezTo>
                  <a:lnTo>
                    <a:pt x="82655" y="221530"/>
                  </a:lnTo>
                  <a:cubicBezTo>
                    <a:pt x="74496" y="221530"/>
                    <a:pt x="58178" y="216090"/>
                    <a:pt x="58178" y="191614"/>
                  </a:cubicBezTo>
                  <a:cubicBezTo>
                    <a:pt x="58178" y="167137"/>
                    <a:pt x="77216" y="164417"/>
                    <a:pt x="85375" y="164417"/>
                  </a:cubicBezTo>
                  <a:lnTo>
                    <a:pt x="101693" y="164417"/>
                  </a:lnTo>
                  <a:cubicBezTo>
                    <a:pt x="101693" y="137220"/>
                    <a:pt x="101693" y="118183"/>
                    <a:pt x="101693" y="118183"/>
                  </a:cubicBezTo>
                  <a:cubicBezTo>
                    <a:pt x="104413" y="85547"/>
                    <a:pt x="134329" y="55631"/>
                    <a:pt x="166965" y="58350"/>
                  </a:cubicBezTo>
                  <a:cubicBezTo>
                    <a:pt x="196881" y="61070"/>
                    <a:pt x="229517" y="85547"/>
                    <a:pt x="229517" y="118183"/>
                  </a:cubicBezTo>
                  <a:lnTo>
                    <a:pt x="229517" y="118183"/>
                  </a:lnTo>
                  <a:lnTo>
                    <a:pt x="229517" y="164417"/>
                  </a:lnTo>
                  <a:lnTo>
                    <a:pt x="283910" y="164417"/>
                  </a:lnTo>
                  <a:cubicBezTo>
                    <a:pt x="292069" y="164417"/>
                    <a:pt x="308387" y="169856"/>
                    <a:pt x="308387" y="194333"/>
                  </a:cubicBezTo>
                  <a:cubicBezTo>
                    <a:pt x="308387" y="218810"/>
                    <a:pt x="292069" y="221530"/>
                    <a:pt x="281190" y="221530"/>
                  </a:cubicBezTo>
                  <a:lnTo>
                    <a:pt x="229517" y="221530"/>
                  </a:lnTo>
                  <a:lnTo>
                    <a:pt x="229517" y="365671"/>
                  </a:lnTo>
                  <a:cubicBezTo>
                    <a:pt x="226797" y="409186"/>
                    <a:pt x="267592" y="433663"/>
                    <a:pt x="311107" y="433663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780C20D3-903A-4021-AA27-6ABEDC98B36B}"/>
                </a:ext>
              </a:extLst>
            </p:cNvPr>
            <p:cNvSpPr/>
            <p:nvPr/>
          </p:nvSpPr>
          <p:spPr>
            <a:xfrm>
              <a:off x="7090329" y="3338014"/>
              <a:ext cx="353556" cy="543931"/>
            </a:xfrm>
            <a:custGeom>
              <a:avLst/>
              <a:gdLst>
                <a:gd name="connsiteX0" fmla="*/ 311107 w 353555"/>
                <a:gd name="connsiteY0" fmla="*/ 433663 h 543931"/>
                <a:gd name="connsiteX1" fmla="*/ 215919 w 353555"/>
                <a:gd name="connsiteY1" fmla="*/ 501654 h 543931"/>
                <a:gd name="connsiteX2" fmla="*/ 98973 w 353555"/>
                <a:gd name="connsiteY2" fmla="*/ 392868 h 543931"/>
                <a:gd name="connsiteX3" fmla="*/ 98973 w 353555"/>
                <a:gd name="connsiteY3" fmla="*/ 221530 h 543931"/>
                <a:gd name="connsiteX4" fmla="*/ 82655 w 353555"/>
                <a:gd name="connsiteY4" fmla="*/ 221530 h 543931"/>
                <a:gd name="connsiteX5" fmla="*/ 58178 w 353555"/>
                <a:gd name="connsiteY5" fmla="*/ 191614 h 543931"/>
                <a:gd name="connsiteX6" fmla="*/ 85375 w 353555"/>
                <a:gd name="connsiteY6" fmla="*/ 164417 h 543931"/>
                <a:gd name="connsiteX7" fmla="*/ 101693 w 353555"/>
                <a:gd name="connsiteY7" fmla="*/ 164417 h 543931"/>
                <a:gd name="connsiteX8" fmla="*/ 101693 w 353555"/>
                <a:gd name="connsiteY8" fmla="*/ 118183 h 543931"/>
                <a:gd name="connsiteX9" fmla="*/ 166965 w 353555"/>
                <a:gd name="connsiteY9" fmla="*/ 58350 h 543931"/>
                <a:gd name="connsiteX10" fmla="*/ 229517 w 353555"/>
                <a:gd name="connsiteY10" fmla="*/ 118183 h 543931"/>
                <a:gd name="connsiteX11" fmla="*/ 229517 w 353555"/>
                <a:gd name="connsiteY11" fmla="*/ 118183 h 543931"/>
                <a:gd name="connsiteX12" fmla="*/ 229517 w 353555"/>
                <a:gd name="connsiteY12" fmla="*/ 164417 h 543931"/>
                <a:gd name="connsiteX13" fmla="*/ 283910 w 353555"/>
                <a:gd name="connsiteY13" fmla="*/ 164417 h 543931"/>
                <a:gd name="connsiteX14" fmla="*/ 308387 w 353555"/>
                <a:gd name="connsiteY14" fmla="*/ 194333 h 543931"/>
                <a:gd name="connsiteX15" fmla="*/ 281190 w 353555"/>
                <a:gd name="connsiteY15" fmla="*/ 221530 h 543931"/>
                <a:gd name="connsiteX16" fmla="*/ 229517 w 353555"/>
                <a:gd name="connsiteY16" fmla="*/ 221530 h 543931"/>
                <a:gd name="connsiteX17" fmla="*/ 229517 w 353555"/>
                <a:gd name="connsiteY17" fmla="*/ 365671 h 543931"/>
                <a:gd name="connsiteX18" fmla="*/ 311107 w 353555"/>
                <a:gd name="connsiteY18" fmla="*/ 433663 h 5439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353555" h="543931">
                  <a:moveTo>
                    <a:pt x="311107" y="433663"/>
                  </a:moveTo>
                  <a:cubicBezTo>
                    <a:pt x="311107" y="433663"/>
                    <a:pt x="278471" y="501654"/>
                    <a:pt x="215919" y="501654"/>
                  </a:cubicBezTo>
                  <a:cubicBezTo>
                    <a:pt x="164245" y="501654"/>
                    <a:pt x="101693" y="458140"/>
                    <a:pt x="98973" y="392868"/>
                  </a:cubicBezTo>
                  <a:cubicBezTo>
                    <a:pt x="98973" y="392868"/>
                    <a:pt x="98973" y="297680"/>
                    <a:pt x="98973" y="221530"/>
                  </a:cubicBezTo>
                  <a:lnTo>
                    <a:pt x="82655" y="221530"/>
                  </a:lnTo>
                  <a:cubicBezTo>
                    <a:pt x="74496" y="221530"/>
                    <a:pt x="58178" y="216090"/>
                    <a:pt x="58178" y="191614"/>
                  </a:cubicBezTo>
                  <a:cubicBezTo>
                    <a:pt x="58178" y="167137"/>
                    <a:pt x="77216" y="164417"/>
                    <a:pt x="85375" y="164417"/>
                  </a:cubicBezTo>
                  <a:lnTo>
                    <a:pt x="101693" y="164417"/>
                  </a:lnTo>
                  <a:cubicBezTo>
                    <a:pt x="101693" y="137220"/>
                    <a:pt x="101693" y="118183"/>
                    <a:pt x="101693" y="118183"/>
                  </a:cubicBezTo>
                  <a:cubicBezTo>
                    <a:pt x="104412" y="85547"/>
                    <a:pt x="134329" y="55631"/>
                    <a:pt x="166965" y="58350"/>
                  </a:cubicBezTo>
                  <a:cubicBezTo>
                    <a:pt x="196881" y="61070"/>
                    <a:pt x="229517" y="85547"/>
                    <a:pt x="229517" y="118183"/>
                  </a:cubicBezTo>
                  <a:lnTo>
                    <a:pt x="229517" y="118183"/>
                  </a:lnTo>
                  <a:lnTo>
                    <a:pt x="229517" y="164417"/>
                  </a:lnTo>
                  <a:lnTo>
                    <a:pt x="283910" y="164417"/>
                  </a:lnTo>
                  <a:cubicBezTo>
                    <a:pt x="292069" y="164417"/>
                    <a:pt x="308387" y="169856"/>
                    <a:pt x="308387" y="194333"/>
                  </a:cubicBezTo>
                  <a:cubicBezTo>
                    <a:pt x="308387" y="218810"/>
                    <a:pt x="292069" y="221530"/>
                    <a:pt x="281190" y="221530"/>
                  </a:cubicBezTo>
                  <a:lnTo>
                    <a:pt x="229517" y="221530"/>
                  </a:lnTo>
                  <a:lnTo>
                    <a:pt x="229517" y="365671"/>
                  </a:lnTo>
                  <a:cubicBezTo>
                    <a:pt x="229517" y="409186"/>
                    <a:pt x="270312" y="433663"/>
                    <a:pt x="311107" y="433663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D2B49219-FA68-4BFE-A6FB-19D2B0D4C1FF}"/>
                </a:ext>
              </a:extLst>
            </p:cNvPr>
            <p:cNvSpPr/>
            <p:nvPr/>
          </p:nvSpPr>
          <p:spPr>
            <a:xfrm>
              <a:off x="2080719" y="4178559"/>
              <a:ext cx="462342" cy="788700"/>
            </a:xfrm>
            <a:custGeom>
              <a:avLst/>
              <a:gdLst>
                <a:gd name="connsiteX0" fmla="*/ 403575 w 462341"/>
                <a:gd name="connsiteY0" fmla="*/ 583072 h 788699"/>
                <a:gd name="connsiteX1" fmla="*/ 406295 w 462341"/>
                <a:gd name="connsiteY1" fmla="*/ 596670 h 788699"/>
                <a:gd name="connsiteX2" fmla="*/ 400855 w 462341"/>
                <a:gd name="connsiteY2" fmla="*/ 610268 h 788699"/>
                <a:gd name="connsiteX3" fmla="*/ 389977 w 462341"/>
                <a:gd name="connsiteY3" fmla="*/ 626586 h 788699"/>
                <a:gd name="connsiteX4" fmla="*/ 354621 w 462341"/>
                <a:gd name="connsiteY4" fmla="*/ 675540 h 788699"/>
                <a:gd name="connsiteX5" fmla="*/ 327424 w 462341"/>
                <a:gd name="connsiteY5" fmla="*/ 691858 h 788699"/>
                <a:gd name="connsiteX6" fmla="*/ 292069 w 462341"/>
                <a:gd name="connsiteY6" fmla="*/ 713615 h 788699"/>
                <a:gd name="connsiteX7" fmla="*/ 251274 w 462341"/>
                <a:gd name="connsiteY7" fmla="*/ 724494 h 788699"/>
                <a:gd name="connsiteX8" fmla="*/ 221358 w 462341"/>
                <a:gd name="connsiteY8" fmla="*/ 721774 h 788699"/>
                <a:gd name="connsiteX9" fmla="*/ 191442 w 462341"/>
                <a:gd name="connsiteY9" fmla="*/ 721774 h 788699"/>
                <a:gd name="connsiteX10" fmla="*/ 153366 w 462341"/>
                <a:gd name="connsiteY10" fmla="*/ 713615 h 788699"/>
                <a:gd name="connsiteX11" fmla="*/ 104412 w 462341"/>
                <a:gd name="connsiteY11" fmla="*/ 675540 h 788699"/>
                <a:gd name="connsiteX12" fmla="*/ 104412 w 462341"/>
                <a:gd name="connsiteY12" fmla="*/ 689138 h 788699"/>
                <a:gd name="connsiteX13" fmla="*/ 101693 w 462341"/>
                <a:gd name="connsiteY13" fmla="*/ 710895 h 788699"/>
                <a:gd name="connsiteX14" fmla="*/ 85375 w 462341"/>
                <a:gd name="connsiteY14" fmla="*/ 732653 h 788699"/>
                <a:gd name="connsiteX15" fmla="*/ 69057 w 462341"/>
                <a:gd name="connsiteY15" fmla="*/ 727214 h 788699"/>
                <a:gd name="connsiteX16" fmla="*/ 60898 w 462341"/>
                <a:gd name="connsiteY16" fmla="*/ 710895 h 788699"/>
                <a:gd name="connsiteX17" fmla="*/ 58178 w 462341"/>
                <a:gd name="connsiteY17" fmla="*/ 691858 h 788699"/>
                <a:gd name="connsiteX18" fmla="*/ 60898 w 462341"/>
                <a:gd name="connsiteY18" fmla="*/ 664661 h 788699"/>
                <a:gd name="connsiteX19" fmla="*/ 60898 w 462341"/>
                <a:gd name="connsiteY19" fmla="*/ 607549 h 788699"/>
                <a:gd name="connsiteX20" fmla="*/ 63618 w 462341"/>
                <a:gd name="connsiteY20" fmla="*/ 528679 h 788699"/>
                <a:gd name="connsiteX21" fmla="*/ 69057 w 462341"/>
                <a:gd name="connsiteY21" fmla="*/ 504202 h 788699"/>
                <a:gd name="connsiteX22" fmla="*/ 74496 w 462341"/>
                <a:gd name="connsiteY22" fmla="*/ 493323 h 788699"/>
                <a:gd name="connsiteX23" fmla="*/ 82655 w 462341"/>
                <a:gd name="connsiteY23" fmla="*/ 487884 h 788699"/>
                <a:gd name="connsiteX24" fmla="*/ 90814 w 462341"/>
                <a:gd name="connsiteY24" fmla="*/ 493323 h 788699"/>
                <a:gd name="connsiteX25" fmla="*/ 98973 w 462341"/>
                <a:gd name="connsiteY25" fmla="*/ 512361 h 788699"/>
                <a:gd name="connsiteX26" fmla="*/ 101693 w 462341"/>
                <a:gd name="connsiteY26" fmla="*/ 555875 h 788699"/>
                <a:gd name="connsiteX27" fmla="*/ 101693 w 462341"/>
                <a:gd name="connsiteY27" fmla="*/ 596670 h 788699"/>
                <a:gd name="connsiteX28" fmla="*/ 109852 w 462341"/>
                <a:gd name="connsiteY28" fmla="*/ 626586 h 788699"/>
                <a:gd name="connsiteX29" fmla="*/ 128889 w 462341"/>
                <a:gd name="connsiteY29" fmla="*/ 651063 h 788699"/>
                <a:gd name="connsiteX30" fmla="*/ 153366 w 462341"/>
                <a:gd name="connsiteY30" fmla="*/ 670101 h 788699"/>
                <a:gd name="connsiteX31" fmla="*/ 196881 w 462341"/>
                <a:gd name="connsiteY31" fmla="*/ 678260 h 788699"/>
                <a:gd name="connsiteX32" fmla="*/ 221358 w 462341"/>
                <a:gd name="connsiteY32" fmla="*/ 667381 h 788699"/>
                <a:gd name="connsiteX33" fmla="*/ 253994 w 462341"/>
                <a:gd name="connsiteY33" fmla="*/ 659222 h 788699"/>
                <a:gd name="connsiteX34" fmla="*/ 275751 w 462341"/>
                <a:gd name="connsiteY34" fmla="*/ 637465 h 788699"/>
                <a:gd name="connsiteX35" fmla="*/ 281190 w 462341"/>
                <a:gd name="connsiteY35" fmla="*/ 615708 h 788699"/>
                <a:gd name="connsiteX36" fmla="*/ 278471 w 462341"/>
                <a:gd name="connsiteY36" fmla="*/ 602109 h 788699"/>
                <a:gd name="connsiteX37" fmla="*/ 262153 w 462341"/>
                <a:gd name="connsiteY37" fmla="*/ 572193 h 788699"/>
                <a:gd name="connsiteX38" fmla="*/ 245835 w 462341"/>
                <a:gd name="connsiteY38" fmla="*/ 536838 h 788699"/>
                <a:gd name="connsiteX39" fmla="*/ 196881 w 462341"/>
                <a:gd name="connsiteY39" fmla="*/ 477005 h 788699"/>
                <a:gd name="connsiteX40" fmla="*/ 145207 w 462341"/>
                <a:gd name="connsiteY40" fmla="*/ 419892 h 788699"/>
                <a:gd name="connsiteX41" fmla="*/ 93534 w 462341"/>
                <a:gd name="connsiteY41" fmla="*/ 357340 h 788699"/>
                <a:gd name="connsiteX42" fmla="*/ 66337 w 462341"/>
                <a:gd name="connsiteY42" fmla="*/ 283910 h 788699"/>
                <a:gd name="connsiteX43" fmla="*/ 58178 w 462341"/>
                <a:gd name="connsiteY43" fmla="*/ 224077 h 788699"/>
                <a:gd name="connsiteX44" fmla="*/ 82655 w 462341"/>
                <a:gd name="connsiteY44" fmla="*/ 150647 h 788699"/>
                <a:gd name="connsiteX45" fmla="*/ 137048 w 462341"/>
                <a:gd name="connsiteY45" fmla="*/ 96253 h 788699"/>
                <a:gd name="connsiteX46" fmla="*/ 196881 w 462341"/>
                <a:gd name="connsiteY46" fmla="*/ 77216 h 788699"/>
                <a:gd name="connsiteX47" fmla="*/ 232236 w 462341"/>
                <a:gd name="connsiteY47" fmla="*/ 69057 h 788699"/>
                <a:gd name="connsiteX48" fmla="*/ 262153 w 462341"/>
                <a:gd name="connsiteY48" fmla="*/ 74496 h 788699"/>
                <a:gd name="connsiteX49" fmla="*/ 294789 w 462341"/>
                <a:gd name="connsiteY49" fmla="*/ 85375 h 788699"/>
                <a:gd name="connsiteX50" fmla="*/ 327424 w 462341"/>
                <a:gd name="connsiteY50" fmla="*/ 104412 h 788699"/>
                <a:gd name="connsiteX51" fmla="*/ 332864 w 462341"/>
                <a:gd name="connsiteY51" fmla="*/ 74496 h 788699"/>
                <a:gd name="connsiteX52" fmla="*/ 338303 w 462341"/>
                <a:gd name="connsiteY52" fmla="*/ 63618 h 788699"/>
                <a:gd name="connsiteX53" fmla="*/ 349182 w 462341"/>
                <a:gd name="connsiteY53" fmla="*/ 58178 h 788699"/>
                <a:gd name="connsiteX54" fmla="*/ 357341 w 462341"/>
                <a:gd name="connsiteY54" fmla="*/ 63618 h 788699"/>
                <a:gd name="connsiteX55" fmla="*/ 365500 w 462341"/>
                <a:gd name="connsiteY55" fmla="*/ 82655 h 788699"/>
                <a:gd name="connsiteX56" fmla="*/ 368219 w 462341"/>
                <a:gd name="connsiteY56" fmla="*/ 142488 h 788699"/>
                <a:gd name="connsiteX57" fmla="*/ 368219 w 462341"/>
                <a:gd name="connsiteY57" fmla="*/ 188722 h 788699"/>
                <a:gd name="connsiteX58" fmla="*/ 370939 w 462341"/>
                <a:gd name="connsiteY58" fmla="*/ 245834 h 788699"/>
                <a:gd name="connsiteX59" fmla="*/ 354621 w 462341"/>
                <a:gd name="connsiteY59" fmla="*/ 286629 h 788699"/>
                <a:gd name="connsiteX60" fmla="*/ 338303 w 462341"/>
                <a:gd name="connsiteY60" fmla="*/ 281190 h 788699"/>
                <a:gd name="connsiteX61" fmla="*/ 330144 w 462341"/>
                <a:gd name="connsiteY61" fmla="*/ 264872 h 788699"/>
                <a:gd name="connsiteX62" fmla="*/ 327424 w 462341"/>
                <a:gd name="connsiteY62" fmla="*/ 248554 h 788699"/>
                <a:gd name="connsiteX63" fmla="*/ 330144 w 462341"/>
                <a:gd name="connsiteY63" fmla="*/ 221357 h 788699"/>
                <a:gd name="connsiteX64" fmla="*/ 330144 w 462341"/>
                <a:gd name="connsiteY64" fmla="*/ 188722 h 788699"/>
                <a:gd name="connsiteX65" fmla="*/ 327424 w 462341"/>
                <a:gd name="connsiteY65" fmla="*/ 164245 h 788699"/>
                <a:gd name="connsiteX66" fmla="*/ 311107 w 462341"/>
                <a:gd name="connsiteY66" fmla="*/ 134329 h 788699"/>
                <a:gd name="connsiteX67" fmla="*/ 283910 w 462341"/>
                <a:gd name="connsiteY67" fmla="*/ 118011 h 788699"/>
                <a:gd name="connsiteX68" fmla="*/ 251274 w 462341"/>
                <a:gd name="connsiteY68" fmla="*/ 112571 h 788699"/>
                <a:gd name="connsiteX69" fmla="*/ 215918 w 462341"/>
                <a:gd name="connsiteY69" fmla="*/ 123450 h 788699"/>
                <a:gd name="connsiteX70" fmla="*/ 202320 w 462341"/>
                <a:gd name="connsiteY70" fmla="*/ 147927 h 788699"/>
                <a:gd name="connsiteX71" fmla="*/ 188722 w 462341"/>
                <a:gd name="connsiteY71" fmla="*/ 180563 h 788699"/>
                <a:gd name="connsiteX72" fmla="*/ 183283 w 462341"/>
                <a:gd name="connsiteY72" fmla="*/ 210479 h 788699"/>
                <a:gd name="connsiteX73" fmla="*/ 188722 w 462341"/>
                <a:gd name="connsiteY73" fmla="*/ 226797 h 788699"/>
                <a:gd name="connsiteX74" fmla="*/ 188722 w 462341"/>
                <a:gd name="connsiteY74" fmla="*/ 248554 h 788699"/>
                <a:gd name="connsiteX75" fmla="*/ 210479 w 462341"/>
                <a:gd name="connsiteY75" fmla="*/ 273031 h 788699"/>
                <a:gd name="connsiteX76" fmla="*/ 226797 w 462341"/>
                <a:gd name="connsiteY76" fmla="*/ 300228 h 788699"/>
                <a:gd name="connsiteX77" fmla="*/ 256713 w 462341"/>
                <a:gd name="connsiteY77" fmla="*/ 332864 h 788699"/>
                <a:gd name="connsiteX78" fmla="*/ 275751 w 462341"/>
                <a:gd name="connsiteY78" fmla="*/ 351901 h 788699"/>
                <a:gd name="connsiteX79" fmla="*/ 324705 w 462341"/>
                <a:gd name="connsiteY79" fmla="*/ 400855 h 788699"/>
                <a:gd name="connsiteX80" fmla="*/ 343742 w 462341"/>
                <a:gd name="connsiteY80" fmla="*/ 428051 h 788699"/>
                <a:gd name="connsiteX81" fmla="*/ 351901 w 462341"/>
                <a:gd name="connsiteY81" fmla="*/ 433491 h 788699"/>
                <a:gd name="connsiteX82" fmla="*/ 360060 w 462341"/>
                <a:gd name="connsiteY82" fmla="*/ 447089 h 788699"/>
                <a:gd name="connsiteX83" fmla="*/ 384537 w 462341"/>
                <a:gd name="connsiteY83" fmla="*/ 474286 h 788699"/>
                <a:gd name="connsiteX84" fmla="*/ 395416 w 462341"/>
                <a:gd name="connsiteY84" fmla="*/ 506921 h 788699"/>
                <a:gd name="connsiteX85" fmla="*/ 406295 w 462341"/>
                <a:gd name="connsiteY85" fmla="*/ 536838 h 788699"/>
                <a:gd name="connsiteX86" fmla="*/ 409014 w 462341"/>
                <a:gd name="connsiteY86" fmla="*/ 547716 h 788699"/>
                <a:gd name="connsiteX87" fmla="*/ 406295 w 462341"/>
                <a:gd name="connsiteY87" fmla="*/ 569473 h 788699"/>
                <a:gd name="connsiteX88" fmla="*/ 403575 w 462341"/>
                <a:gd name="connsiteY88" fmla="*/ 583072 h 788699"/>
                <a:gd name="connsiteX89" fmla="*/ 403575 w 462341"/>
                <a:gd name="connsiteY89" fmla="*/ 583072 h 7886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</a:cxnLst>
              <a:rect l="l" t="t" r="r" b="b"/>
              <a:pathLst>
                <a:path w="462341" h="788699">
                  <a:moveTo>
                    <a:pt x="403575" y="583072"/>
                  </a:moveTo>
                  <a:cubicBezTo>
                    <a:pt x="403575" y="588511"/>
                    <a:pt x="406295" y="591231"/>
                    <a:pt x="406295" y="596670"/>
                  </a:cubicBezTo>
                  <a:cubicBezTo>
                    <a:pt x="406295" y="602109"/>
                    <a:pt x="403575" y="604829"/>
                    <a:pt x="400855" y="610268"/>
                  </a:cubicBezTo>
                  <a:cubicBezTo>
                    <a:pt x="398136" y="615708"/>
                    <a:pt x="392696" y="621147"/>
                    <a:pt x="389977" y="626586"/>
                  </a:cubicBezTo>
                  <a:cubicBezTo>
                    <a:pt x="381818" y="645624"/>
                    <a:pt x="368219" y="661942"/>
                    <a:pt x="354621" y="675540"/>
                  </a:cubicBezTo>
                  <a:cubicBezTo>
                    <a:pt x="346462" y="683699"/>
                    <a:pt x="338303" y="686419"/>
                    <a:pt x="327424" y="691858"/>
                  </a:cubicBezTo>
                  <a:cubicBezTo>
                    <a:pt x="316546" y="700017"/>
                    <a:pt x="302948" y="708176"/>
                    <a:pt x="292069" y="713615"/>
                  </a:cubicBezTo>
                  <a:cubicBezTo>
                    <a:pt x="281190" y="719054"/>
                    <a:pt x="264872" y="724494"/>
                    <a:pt x="251274" y="724494"/>
                  </a:cubicBezTo>
                  <a:cubicBezTo>
                    <a:pt x="240395" y="724494"/>
                    <a:pt x="229517" y="721774"/>
                    <a:pt x="221358" y="721774"/>
                  </a:cubicBezTo>
                  <a:cubicBezTo>
                    <a:pt x="213199" y="721774"/>
                    <a:pt x="202320" y="721774"/>
                    <a:pt x="191442" y="721774"/>
                  </a:cubicBezTo>
                  <a:cubicBezTo>
                    <a:pt x="172404" y="721774"/>
                    <a:pt x="172404" y="721774"/>
                    <a:pt x="153366" y="713615"/>
                  </a:cubicBezTo>
                  <a:cubicBezTo>
                    <a:pt x="134329" y="708176"/>
                    <a:pt x="118011" y="691858"/>
                    <a:pt x="104412" y="675540"/>
                  </a:cubicBezTo>
                  <a:cubicBezTo>
                    <a:pt x="104412" y="678260"/>
                    <a:pt x="104412" y="680979"/>
                    <a:pt x="104412" y="689138"/>
                  </a:cubicBezTo>
                  <a:cubicBezTo>
                    <a:pt x="104412" y="694578"/>
                    <a:pt x="104412" y="702737"/>
                    <a:pt x="101693" y="710895"/>
                  </a:cubicBezTo>
                  <a:cubicBezTo>
                    <a:pt x="101693" y="721774"/>
                    <a:pt x="96253" y="732653"/>
                    <a:pt x="85375" y="732653"/>
                  </a:cubicBezTo>
                  <a:cubicBezTo>
                    <a:pt x="77216" y="732653"/>
                    <a:pt x="74496" y="729933"/>
                    <a:pt x="69057" y="727214"/>
                  </a:cubicBezTo>
                  <a:cubicBezTo>
                    <a:pt x="63618" y="724494"/>
                    <a:pt x="60898" y="716335"/>
                    <a:pt x="60898" y="710895"/>
                  </a:cubicBezTo>
                  <a:cubicBezTo>
                    <a:pt x="58178" y="702737"/>
                    <a:pt x="58178" y="697297"/>
                    <a:pt x="58178" y="691858"/>
                  </a:cubicBezTo>
                  <a:cubicBezTo>
                    <a:pt x="58178" y="683699"/>
                    <a:pt x="60898" y="678260"/>
                    <a:pt x="60898" y="664661"/>
                  </a:cubicBezTo>
                  <a:cubicBezTo>
                    <a:pt x="60898" y="656502"/>
                    <a:pt x="60898" y="632026"/>
                    <a:pt x="60898" y="607549"/>
                  </a:cubicBezTo>
                  <a:cubicBezTo>
                    <a:pt x="60898" y="574913"/>
                    <a:pt x="60898" y="542277"/>
                    <a:pt x="63618" y="528679"/>
                  </a:cubicBezTo>
                  <a:cubicBezTo>
                    <a:pt x="63618" y="520520"/>
                    <a:pt x="63618" y="509641"/>
                    <a:pt x="69057" y="504202"/>
                  </a:cubicBezTo>
                  <a:cubicBezTo>
                    <a:pt x="71777" y="501482"/>
                    <a:pt x="71777" y="498762"/>
                    <a:pt x="74496" y="493323"/>
                  </a:cubicBezTo>
                  <a:cubicBezTo>
                    <a:pt x="77216" y="490603"/>
                    <a:pt x="79936" y="487884"/>
                    <a:pt x="82655" y="487884"/>
                  </a:cubicBezTo>
                  <a:cubicBezTo>
                    <a:pt x="85375" y="487884"/>
                    <a:pt x="90814" y="490603"/>
                    <a:pt x="90814" y="493323"/>
                  </a:cubicBezTo>
                  <a:cubicBezTo>
                    <a:pt x="93534" y="498762"/>
                    <a:pt x="98973" y="506921"/>
                    <a:pt x="98973" y="512361"/>
                  </a:cubicBezTo>
                  <a:cubicBezTo>
                    <a:pt x="98973" y="520520"/>
                    <a:pt x="101693" y="536838"/>
                    <a:pt x="101693" y="555875"/>
                  </a:cubicBezTo>
                  <a:cubicBezTo>
                    <a:pt x="101693" y="569473"/>
                    <a:pt x="101693" y="583072"/>
                    <a:pt x="101693" y="596670"/>
                  </a:cubicBezTo>
                  <a:cubicBezTo>
                    <a:pt x="101693" y="607549"/>
                    <a:pt x="104412" y="618427"/>
                    <a:pt x="109852" y="626586"/>
                  </a:cubicBezTo>
                  <a:cubicBezTo>
                    <a:pt x="115291" y="637465"/>
                    <a:pt x="123450" y="642904"/>
                    <a:pt x="128889" y="651063"/>
                  </a:cubicBezTo>
                  <a:cubicBezTo>
                    <a:pt x="137048" y="661942"/>
                    <a:pt x="139768" y="667381"/>
                    <a:pt x="153366" y="670101"/>
                  </a:cubicBezTo>
                  <a:cubicBezTo>
                    <a:pt x="161525" y="670101"/>
                    <a:pt x="183283" y="678260"/>
                    <a:pt x="196881" y="678260"/>
                  </a:cubicBezTo>
                  <a:cubicBezTo>
                    <a:pt x="207759" y="678260"/>
                    <a:pt x="210479" y="672820"/>
                    <a:pt x="221358" y="667381"/>
                  </a:cubicBezTo>
                  <a:cubicBezTo>
                    <a:pt x="232236" y="661942"/>
                    <a:pt x="245835" y="664661"/>
                    <a:pt x="253994" y="659222"/>
                  </a:cubicBezTo>
                  <a:cubicBezTo>
                    <a:pt x="262153" y="653783"/>
                    <a:pt x="273031" y="645624"/>
                    <a:pt x="275751" y="637465"/>
                  </a:cubicBezTo>
                  <a:cubicBezTo>
                    <a:pt x="281190" y="629306"/>
                    <a:pt x="281190" y="621147"/>
                    <a:pt x="281190" y="615708"/>
                  </a:cubicBezTo>
                  <a:cubicBezTo>
                    <a:pt x="281190" y="610268"/>
                    <a:pt x="281190" y="607549"/>
                    <a:pt x="278471" y="602109"/>
                  </a:cubicBezTo>
                  <a:cubicBezTo>
                    <a:pt x="275751" y="591231"/>
                    <a:pt x="267592" y="583072"/>
                    <a:pt x="262153" y="572193"/>
                  </a:cubicBezTo>
                  <a:cubicBezTo>
                    <a:pt x="256713" y="561314"/>
                    <a:pt x="253994" y="547716"/>
                    <a:pt x="245835" y="536838"/>
                  </a:cubicBezTo>
                  <a:cubicBezTo>
                    <a:pt x="232236" y="515080"/>
                    <a:pt x="213199" y="498762"/>
                    <a:pt x="196881" y="477005"/>
                  </a:cubicBezTo>
                  <a:cubicBezTo>
                    <a:pt x="180563" y="457968"/>
                    <a:pt x="164245" y="438930"/>
                    <a:pt x="145207" y="419892"/>
                  </a:cubicBezTo>
                  <a:cubicBezTo>
                    <a:pt x="126170" y="400855"/>
                    <a:pt x="109852" y="379098"/>
                    <a:pt x="93534" y="357340"/>
                  </a:cubicBezTo>
                  <a:cubicBezTo>
                    <a:pt x="77216" y="335583"/>
                    <a:pt x="71777" y="308387"/>
                    <a:pt x="66337" y="283910"/>
                  </a:cubicBezTo>
                  <a:cubicBezTo>
                    <a:pt x="63618" y="267592"/>
                    <a:pt x="58178" y="245834"/>
                    <a:pt x="58178" y="224077"/>
                  </a:cubicBezTo>
                  <a:cubicBezTo>
                    <a:pt x="58178" y="194161"/>
                    <a:pt x="69057" y="175123"/>
                    <a:pt x="82655" y="150647"/>
                  </a:cubicBezTo>
                  <a:cubicBezTo>
                    <a:pt x="96253" y="128889"/>
                    <a:pt x="115291" y="109852"/>
                    <a:pt x="137048" y="96253"/>
                  </a:cubicBezTo>
                  <a:cubicBezTo>
                    <a:pt x="158806" y="82655"/>
                    <a:pt x="172404" y="79936"/>
                    <a:pt x="196881" y="77216"/>
                  </a:cubicBezTo>
                  <a:cubicBezTo>
                    <a:pt x="210479" y="77216"/>
                    <a:pt x="215918" y="69057"/>
                    <a:pt x="232236" y="69057"/>
                  </a:cubicBezTo>
                  <a:cubicBezTo>
                    <a:pt x="243115" y="69057"/>
                    <a:pt x="251274" y="71776"/>
                    <a:pt x="262153" y="74496"/>
                  </a:cubicBezTo>
                  <a:cubicBezTo>
                    <a:pt x="273031" y="77216"/>
                    <a:pt x="283910" y="82655"/>
                    <a:pt x="294789" y="85375"/>
                  </a:cubicBezTo>
                  <a:cubicBezTo>
                    <a:pt x="308387" y="90814"/>
                    <a:pt x="319265" y="96253"/>
                    <a:pt x="327424" y="104412"/>
                  </a:cubicBezTo>
                  <a:cubicBezTo>
                    <a:pt x="327424" y="90814"/>
                    <a:pt x="327424" y="79936"/>
                    <a:pt x="332864" y="74496"/>
                  </a:cubicBezTo>
                  <a:cubicBezTo>
                    <a:pt x="335583" y="71776"/>
                    <a:pt x="335583" y="69057"/>
                    <a:pt x="338303" y="63618"/>
                  </a:cubicBezTo>
                  <a:cubicBezTo>
                    <a:pt x="341023" y="60898"/>
                    <a:pt x="346462" y="58178"/>
                    <a:pt x="349182" y="58178"/>
                  </a:cubicBezTo>
                  <a:cubicBezTo>
                    <a:pt x="351901" y="58178"/>
                    <a:pt x="357341" y="60898"/>
                    <a:pt x="357341" y="63618"/>
                  </a:cubicBezTo>
                  <a:cubicBezTo>
                    <a:pt x="360060" y="69057"/>
                    <a:pt x="365500" y="77216"/>
                    <a:pt x="365500" y="82655"/>
                  </a:cubicBezTo>
                  <a:cubicBezTo>
                    <a:pt x="365500" y="90814"/>
                    <a:pt x="368219" y="123450"/>
                    <a:pt x="368219" y="142488"/>
                  </a:cubicBezTo>
                  <a:cubicBezTo>
                    <a:pt x="368219" y="158806"/>
                    <a:pt x="368219" y="177843"/>
                    <a:pt x="368219" y="188722"/>
                  </a:cubicBezTo>
                  <a:cubicBezTo>
                    <a:pt x="368219" y="213199"/>
                    <a:pt x="370939" y="224077"/>
                    <a:pt x="370939" y="245834"/>
                  </a:cubicBezTo>
                  <a:cubicBezTo>
                    <a:pt x="370939" y="256713"/>
                    <a:pt x="370939" y="286629"/>
                    <a:pt x="354621" y="286629"/>
                  </a:cubicBezTo>
                  <a:cubicBezTo>
                    <a:pt x="346462" y="286629"/>
                    <a:pt x="343742" y="283910"/>
                    <a:pt x="338303" y="281190"/>
                  </a:cubicBezTo>
                  <a:cubicBezTo>
                    <a:pt x="332864" y="278470"/>
                    <a:pt x="330144" y="270311"/>
                    <a:pt x="330144" y="264872"/>
                  </a:cubicBezTo>
                  <a:cubicBezTo>
                    <a:pt x="327424" y="256713"/>
                    <a:pt x="327424" y="251274"/>
                    <a:pt x="327424" y="248554"/>
                  </a:cubicBezTo>
                  <a:cubicBezTo>
                    <a:pt x="327424" y="240395"/>
                    <a:pt x="330144" y="234956"/>
                    <a:pt x="330144" y="221357"/>
                  </a:cubicBezTo>
                  <a:cubicBezTo>
                    <a:pt x="330144" y="213199"/>
                    <a:pt x="330144" y="202320"/>
                    <a:pt x="330144" y="188722"/>
                  </a:cubicBezTo>
                  <a:cubicBezTo>
                    <a:pt x="330144" y="180563"/>
                    <a:pt x="327424" y="172404"/>
                    <a:pt x="327424" y="164245"/>
                  </a:cubicBezTo>
                  <a:cubicBezTo>
                    <a:pt x="324705" y="153366"/>
                    <a:pt x="319265" y="142488"/>
                    <a:pt x="311107" y="134329"/>
                  </a:cubicBezTo>
                  <a:cubicBezTo>
                    <a:pt x="302948" y="126170"/>
                    <a:pt x="294789" y="120730"/>
                    <a:pt x="283910" y="118011"/>
                  </a:cubicBezTo>
                  <a:cubicBezTo>
                    <a:pt x="275751" y="115291"/>
                    <a:pt x="262153" y="112571"/>
                    <a:pt x="251274" y="112571"/>
                  </a:cubicBezTo>
                  <a:cubicBezTo>
                    <a:pt x="237676" y="112571"/>
                    <a:pt x="224077" y="115291"/>
                    <a:pt x="215918" y="123450"/>
                  </a:cubicBezTo>
                  <a:cubicBezTo>
                    <a:pt x="207759" y="128889"/>
                    <a:pt x="205040" y="139768"/>
                    <a:pt x="202320" y="147927"/>
                  </a:cubicBezTo>
                  <a:cubicBezTo>
                    <a:pt x="196881" y="158806"/>
                    <a:pt x="191442" y="166964"/>
                    <a:pt x="188722" y="180563"/>
                  </a:cubicBezTo>
                  <a:cubicBezTo>
                    <a:pt x="186002" y="191441"/>
                    <a:pt x="183283" y="199600"/>
                    <a:pt x="183283" y="210479"/>
                  </a:cubicBezTo>
                  <a:cubicBezTo>
                    <a:pt x="183283" y="215918"/>
                    <a:pt x="186002" y="221357"/>
                    <a:pt x="188722" y="226797"/>
                  </a:cubicBezTo>
                  <a:cubicBezTo>
                    <a:pt x="191442" y="234956"/>
                    <a:pt x="188722" y="243115"/>
                    <a:pt x="188722" y="248554"/>
                  </a:cubicBezTo>
                  <a:cubicBezTo>
                    <a:pt x="191442" y="259433"/>
                    <a:pt x="202320" y="264872"/>
                    <a:pt x="210479" y="273031"/>
                  </a:cubicBezTo>
                  <a:cubicBezTo>
                    <a:pt x="218638" y="281190"/>
                    <a:pt x="221358" y="292069"/>
                    <a:pt x="226797" y="300228"/>
                  </a:cubicBezTo>
                  <a:cubicBezTo>
                    <a:pt x="234956" y="311106"/>
                    <a:pt x="245835" y="321985"/>
                    <a:pt x="256713" y="332864"/>
                  </a:cubicBezTo>
                  <a:cubicBezTo>
                    <a:pt x="259433" y="338303"/>
                    <a:pt x="267592" y="343742"/>
                    <a:pt x="275751" y="351901"/>
                  </a:cubicBezTo>
                  <a:cubicBezTo>
                    <a:pt x="292069" y="368219"/>
                    <a:pt x="311107" y="384537"/>
                    <a:pt x="324705" y="400855"/>
                  </a:cubicBezTo>
                  <a:cubicBezTo>
                    <a:pt x="332864" y="409014"/>
                    <a:pt x="335583" y="419892"/>
                    <a:pt x="343742" y="428051"/>
                  </a:cubicBezTo>
                  <a:cubicBezTo>
                    <a:pt x="346462" y="430771"/>
                    <a:pt x="349182" y="430771"/>
                    <a:pt x="351901" y="433491"/>
                  </a:cubicBezTo>
                  <a:cubicBezTo>
                    <a:pt x="354621" y="436210"/>
                    <a:pt x="357341" y="441650"/>
                    <a:pt x="360060" y="447089"/>
                  </a:cubicBezTo>
                  <a:cubicBezTo>
                    <a:pt x="368219" y="455248"/>
                    <a:pt x="376378" y="463407"/>
                    <a:pt x="384537" y="474286"/>
                  </a:cubicBezTo>
                  <a:cubicBezTo>
                    <a:pt x="389977" y="482445"/>
                    <a:pt x="392696" y="496043"/>
                    <a:pt x="395416" y="506921"/>
                  </a:cubicBezTo>
                  <a:cubicBezTo>
                    <a:pt x="400855" y="517800"/>
                    <a:pt x="400855" y="528679"/>
                    <a:pt x="406295" y="536838"/>
                  </a:cubicBezTo>
                  <a:cubicBezTo>
                    <a:pt x="409014" y="539557"/>
                    <a:pt x="409014" y="544997"/>
                    <a:pt x="409014" y="547716"/>
                  </a:cubicBezTo>
                  <a:cubicBezTo>
                    <a:pt x="409014" y="555875"/>
                    <a:pt x="406295" y="561314"/>
                    <a:pt x="406295" y="569473"/>
                  </a:cubicBezTo>
                  <a:cubicBezTo>
                    <a:pt x="406295" y="574913"/>
                    <a:pt x="403575" y="577632"/>
                    <a:pt x="403575" y="583072"/>
                  </a:cubicBezTo>
                  <a:lnTo>
                    <a:pt x="403575" y="583072"/>
                  </a:ln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id="{3B3E68FC-F99A-473C-A1B9-AA803E7F6CFB}"/>
                </a:ext>
              </a:extLst>
            </p:cNvPr>
            <p:cNvSpPr/>
            <p:nvPr/>
          </p:nvSpPr>
          <p:spPr>
            <a:xfrm>
              <a:off x="2456032" y="4192158"/>
              <a:ext cx="571128" cy="761503"/>
            </a:xfrm>
            <a:custGeom>
              <a:avLst/>
              <a:gdLst>
                <a:gd name="connsiteX0" fmla="*/ 512361 w 571128"/>
                <a:gd name="connsiteY0" fmla="*/ 79936 h 761503"/>
                <a:gd name="connsiteX1" fmla="*/ 539558 w 571128"/>
                <a:gd name="connsiteY1" fmla="*/ 96253 h 761503"/>
                <a:gd name="connsiteX2" fmla="*/ 534118 w 571128"/>
                <a:gd name="connsiteY2" fmla="*/ 112571 h 761503"/>
                <a:gd name="connsiteX3" fmla="*/ 523240 w 571128"/>
                <a:gd name="connsiteY3" fmla="*/ 120730 h 761503"/>
                <a:gd name="connsiteX4" fmla="*/ 506922 w 571128"/>
                <a:gd name="connsiteY4" fmla="*/ 123450 h 761503"/>
                <a:gd name="connsiteX5" fmla="*/ 477006 w 571128"/>
                <a:gd name="connsiteY5" fmla="*/ 123450 h 761503"/>
                <a:gd name="connsiteX6" fmla="*/ 479725 w 571128"/>
                <a:gd name="connsiteY6" fmla="*/ 145207 h 761503"/>
                <a:gd name="connsiteX7" fmla="*/ 477006 w 571128"/>
                <a:gd name="connsiteY7" fmla="*/ 180563 h 761503"/>
                <a:gd name="connsiteX8" fmla="*/ 482445 w 571128"/>
                <a:gd name="connsiteY8" fmla="*/ 232236 h 761503"/>
                <a:gd name="connsiteX9" fmla="*/ 485165 w 571128"/>
                <a:gd name="connsiteY9" fmla="*/ 283910 h 761503"/>
                <a:gd name="connsiteX10" fmla="*/ 485165 w 571128"/>
                <a:gd name="connsiteY10" fmla="*/ 327424 h 761503"/>
                <a:gd name="connsiteX11" fmla="*/ 487884 w 571128"/>
                <a:gd name="connsiteY11" fmla="*/ 373658 h 761503"/>
                <a:gd name="connsiteX12" fmla="*/ 485165 w 571128"/>
                <a:gd name="connsiteY12" fmla="*/ 419892 h 761503"/>
                <a:gd name="connsiteX13" fmla="*/ 485165 w 571128"/>
                <a:gd name="connsiteY13" fmla="*/ 463407 h 761503"/>
                <a:gd name="connsiteX14" fmla="*/ 482445 w 571128"/>
                <a:gd name="connsiteY14" fmla="*/ 515080 h 761503"/>
                <a:gd name="connsiteX15" fmla="*/ 482445 w 571128"/>
                <a:gd name="connsiteY15" fmla="*/ 558595 h 761503"/>
                <a:gd name="connsiteX16" fmla="*/ 479725 w 571128"/>
                <a:gd name="connsiteY16" fmla="*/ 602109 h 761503"/>
                <a:gd name="connsiteX17" fmla="*/ 485165 w 571128"/>
                <a:gd name="connsiteY17" fmla="*/ 648343 h 761503"/>
                <a:gd name="connsiteX18" fmla="*/ 474286 w 571128"/>
                <a:gd name="connsiteY18" fmla="*/ 675540 h 761503"/>
                <a:gd name="connsiteX19" fmla="*/ 428052 w 571128"/>
                <a:gd name="connsiteY19" fmla="*/ 691858 h 761503"/>
                <a:gd name="connsiteX20" fmla="*/ 387257 w 571128"/>
                <a:gd name="connsiteY20" fmla="*/ 683699 h 761503"/>
                <a:gd name="connsiteX21" fmla="*/ 351901 w 571128"/>
                <a:gd name="connsiteY21" fmla="*/ 664661 h 761503"/>
                <a:gd name="connsiteX22" fmla="*/ 305667 w 571128"/>
                <a:gd name="connsiteY22" fmla="*/ 596670 h 761503"/>
                <a:gd name="connsiteX23" fmla="*/ 270312 w 571128"/>
                <a:gd name="connsiteY23" fmla="*/ 509641 h 761503"/>
                <a:gd name="connsiteX24" fmla="*/ 251274 w 571128"/>
                <a:gd name="connsiteY24" fmla="*/ 460687 h 761503"/>
                <a:gd name="connsiteX25" fmla="*/ 224077 w 571128"/>
                <a:gd name="connsiteY25" fmla="*/ 381817 h 761503"/>
                <a:gd name="connsiteX26" fmla="*/ 207759 w 571128"/>
                <a:gd name="connsiteY26" fmla="*/ 330144 h 761503"/>
                <a:gd name="connsiteX27" fmla="*/ 191442 w 571128"/>
                <a:gd name="connsiteY27" fmla="*/ 286629 h 761503"/>
                <a:gd name="connsiteX28" fmla="*/ 183283 w 571128"/>
                <a:gd name="connsiteY28" fmla="*/ 278470 h 761503"/>
                <a:gd name="connsiteX29" fmla="*/ 180563 w 571128"/>
                <a:gd name="connsiteY29" fmla="*/ 292069 h 761503"/>
                <a:gd name="connsiteX30" fmla="*/ 180563 w 571128"/>
                <a:gd name="connsiteY30" fmla="*/ 305667 h 761503"/>
                <a:gd name="connsiteX31" fmla="*/ 183283 w 571128"/>
                <a:gd name="connsiteY31" fmla="*/ 354621 h 761503"/>
                <a:gd name="connsiteX32" fmla="*/ 188722 w 571128"/>
                <a:gd name="connsiteY32" fmla="*/ 449809 h 761503"/>
                <a:gd name="connsiteX33" fmla="*/ 188722 w 571128"/>
                <a:gd name="connsiteY33" fmla="*/ 479725 h 761503"/>
                <a:gd name="connsiteX34" fmla="*/ 188722 w 571128"/>
                <a:gd name="connsiteY34" fmla="*/ 542277 h 761503"/>
                <a:gd name="connsiteX35" fmla="*/ 186002 w 571128"/>
                <a:gd name="connsiteY35" fmla="*/ 615708 h 761503"/>
                <a:gd name="connsiteX36" fmla="*/ 186002 w 571128"/>
                <a:gd name="connsiteY36" fmla="*/ 637465 h 761503"/>
                <a:gd name="connsiteX37" fmla="*/ 183283 w 571128"/>
                <a:gd name="connsiteY37" fmla="*/ 664661 h 761503"/>
                <a:gd name="connsiteX38" fmla="*/ 226797 w 571128"/>
                <a:gd name="connsiteY38" fmla="*/ 664661 h 761503"/>
                <a:gd name="connsiteX39" fmla="*/ 253994 w 571128"/>
                <a:gd name="connsiteY39" fmla="*/ 680979 h 761503"/>
                <a:gd name="connsiteX40" fmla="*/ 248554 w 571128"/>
                <a:gd name="connsiteY40" fmla="*/ 697297 h 761503"/>
                <a:gd name="connsiteX41" fmla="*/ 234956 w 571128"/>
                <a:gd name="connsiteY41" fmla="*/ 705456 h 761503"/>
                <a:gd name="connsiteX42" fmla="*/ 218638 w 571128"/>
                <a:gd name="connsiteY42" fmla="*/ 708176 h 761503"/>
                <a:gd name="connsiteX43" fmla="*/ 183283 w 571128"/>
                <a:gd name="connsiteY43" fmla="*/ 708176 h 761503"/>
                <a:gd name="connsiteX44" fmla="*/ 150647 w 571128"/>
                <a:gd name="connsiteY44" fmla="*/ 708176 h 761503"/>
                <a:gd name="connsiteX45" fmla="*/ 107132 w 571128"/>
                <a:gd name="connsiteY45" fmla="*/ 708176 h 761503"/>
                <a:gd name="connsiteX46" fmla="*/ 88094 w 571128"/>
                <a:gd name="connsiteY46" fmla="*/ 708176 h 761503"/>
                <a:gd name="connsiteX47" fmla="*/ 69057 w 571128"/>
                <a:gd name="connsiteY47" fmla="*/ 702737 h 761503"/>
                <a:gd name="connsiteX48" fmla="*/ 58178 w 571128"/>
                <a:gd name="connsiteY48" fmla="*/ 686419 h 761503"/>
                <a:gd name="connsiteX49" fmla="*/ 60898 w 571128"/>
                <a:gd name="connsiteY49" fmla="*/ 678260 h 761503"/>
                <a:gd name="connsiteX50" fmla="*/ 77216 w 571128"/>
                <a:gd name="connsiteY50" fmla="*/ 670101 h 761503"/>
                <a:gd name="connsiteX51" fmla="*/ 120730 w 571128"/>
                <a:gd name="connsiteY51" fmla="*/ 664661 h 761503"/>
                <a:gd name="connsiteX52" fmla="*/ 131609 w 571128"/>
                <a:gd name="connsiteY52" fmla="*/ 664661 h 761503"/>
                <a:gd name="connsiteX53" fmla="*/ 134329 w 571128"/>
                <a:gd name="connsiteY53" fmla="*/ 539557 h 761503"/>
                <a:gd name="connsiteX54" fmla="*/ 134329 w 571128"/>
                <a:gd name="connsiteY54" fmla="*/ 504202 h 761503"/>
                <a:gd name="connsiteX55" fmla="*/ 131609 w 571128"/>
                <a:gd name="connsiteY55" fmla="*/ 376378 h 761503"/>
                <a:gd name="connsiteX56" fmla="*/ 131609 w 571128"/>
                <a:gd name="connsiteY56" fmla="*/ 302947 h 761503"/>
                <a:gd name="connsiteX57" fmla="*/ 134329 w 571128"/>
                <a:gd name="connsiteY57" fmla="*/ 221357 h 761503"/>
                <a:gd name="connsiteX58" fmla="*/ 137048 w 571128"/>
                <a:gd name="connsiteY58" fmla="*/ 123450 h 761503"/>
                <a:gd name="connsiteX59" fmla="*/ 107132 w 571128"/>
                <a:gd name="connsiteY59" fmla="*/ 123450 h 761503"/>
                <a:gd name="connsiteX60" fmla="*/ 88094 w 571128"/>
                <a:gd name="connsiteY60" fmla="*/ 123450 h 761503"/>
                <a:gd name="connsiteX61" fmla="*/ 69057 w 571128"/>
                <a:gd name="connsiteY61" fmla="*/ 118011 h 761503"/>
                <a:gd name="connsiteX62" fmla="*/ 58178 w 571128"/>
                <a:gd name="connsiteY62" fmla="*/ 101693 h 761503"/>
                <a:gd name="connsiteX63" fmla="*/ 60898 w 571128"/>
                <a:gd name="connsiteY63" fmla="*/ 93534 h 761503"/>
                <a:gd name="connsiteX64" fmla="*/ 77216 w 571128"/>
                <a:gd name="connsiteY64" fmla="*/ 85375 h 761503"/>
                <a:gd name="connsiteX65" fmla="*/ 131609 w 571128"/>
                <a:gd name="connsiteY65" fmla="*/ 79936 h 761503"/>
                <a:gd name="connsiteX66" fmla="*/ 161525 w 571128"/>
                <a:gd name="connsiteY66" fmla="*/ 79936 h 761503"/>
                <a:gd name="connsiteX67" fmla="*/ 177843 w 571128"/>
                <a:gd name="connsiteY67" fmla="*/ 66337 h 761503"/>
                <a:gd name="connsiteX68" fmla="*/ 202320 w 571128"/>
                <a:gd name="connsiteY68" fmla="*/ 58178 h 761503"/>
                <a:gd name="connsiteX69" fmla="*/ 234956 w 571128"/>
                <a:gd name="connsiteY69" fmla="*/ 77216 h 761503"/>
                <a:gd name="connsiteX70" fmla="*/ 251274 w 571128"/>
                <a:gd name="connsiteY70" fmla="*/ 107132 h 761503"/>
                <a:gd name="connsiteX71" fmla="*/ 267592 w 571128"/>
                <a:gd name="connsiteY71" fmla="*/ 147927 h 761503"/>
                <a:gd name="connsiteX72" fmla="*/ 281190 w 571128"/>
                <a:gd name="connsiteY72" fmla="*/ 183282 h 761503"/>
                <a:gd name="connsiteX73" fmla="*/ 297508 w 571128"/>
                <a:gd name="connsiteY73" fmla="*/ 224077 h 761503"/>
                <a:gd name="connsiteX74" fmla="*/ 308387 w 571128"/>
                <a:gd name="connsiteY74" fmla="*/ 264872 h 761503"/>
                <a:gd name="connsiteX75" fmla="*/ 319265 w 571128"/>
                <a:gd name="connsiteY75" fmla="*/ 300228 h 761503"/>
                <a:gd name="connsiteX76" fmla="*/ 351901 w 571128"/>
                <a:gd name="connsiteY76" fmla="*/ 379098 h 761503"/>
                <a:gd name="connsiteX77" fmla="*/ 365500 w 571128"/>
                <a:gd name="connsiteY77" fmla="*/ 417173 h 761503"/>
                <a:gd name="connsiteX78" fmla="*/ 379098 w 571128"/>
                <a:gd name="connsiteY78" fmla="*/ 457968 h 761503"/>
                <a:gd name="connsiteX79" fmla="*/ 395416 w 571128"/>
                <a:gd name="connsiteY79" fmla="*/ 496043 h 761503"/>
                <a:gd name="connsiteX80" fmla="*/ 406295 w 571128"/>
                <a:gd name="connsiteY80" fmla="*/ 512361 h 761503"/>
                <a:gd name="connsiteX81" fmla="*/ 411734 w 571128"/>
                <a:gd name="connsiteY81" fmla="*/ 531398 h 761503"/>
                <a:gd name="connsiteX82" fmla="*/ 419893 w 571128"/>
                <a:gd name="connsiteY82" fmla="*/ 558595 h 761503"/>
                <a:gd name="connsiteX83" fmla="*/ 425332 w 571128"/>
                <a:gd name="connsiteY83" fmla="*/ 564034 h 761503"/>
                <a:gd name="connsiteX84" fmla="*/ 430771 w 571128"/>
                <a:gd name="connsiteY84" fmla="*/ 558595 h 761503"/>
                <a:gd name="connsiteX85" fmla="*/ 430771 w 571128"/>
                <a:gd name="connsiteY85" fmla="*/ 550436 h 761503"/>
                <a:gd name="connsiteX86" fmla="*/ 430771 w 571128"/>
                <a:gd name="connsiteY86" fmla="*/ 501482 h 761503"/>
                <a:gd name="connsiteX87" fmla="*/ 430771 w 571128"/>
                <a:gd name="connsiteY87" fmla="*/ 403575 h 761503"/>
                <a:gd name="connsiteX88" fmla="*/ 425332 w 571128"/>
                <a:gd name="connsiteY88" fmla="*/ 313826 h 761503"/>
                <a:gd name="connsiteX89" fmla="*/ 425332 w 571128"/>
                <a:gd name="connsiteY89" fmla="*/ 248554 h 761503"/>
                <a:gd name="connsiteX90" fmla="*/ 425332 w 571128"/>
                <a:gd name="connsiteY90" fmla="*/ 210479 h 761503"/>
                <a:gd name="connsiteX91" fmla="*/ 422613 w 571128"/>
                <a:gd name="connsiteY91" fmla="*/ 153366 h 761503"/>
                <a:gd name="connsiteX92" fmla="*/ 425332 w 571128"/>
                <a:gd name="connsiteY92" fmla="*/ 123450 h 761503"/>
                <a:gd name="connsiteX93" fmla="*/ 398136 w 571128"/>
                <a:gd name="connsiteY93" fmla="*/ 123450 h 761503"/>
                <a:gd name="connsiteX94" fmla="*/ 379098 w 571128"/>
                <a:gd name="connsiteY94" fmla="*/ 123450 h 761503"/>
                <a:gd name="connsiteX95" fmla="*/ 360060 w 571128"/>
                <a:gd name="connsiteY95" fmla="*/ 118011 h 761503"/>
                <a:gd name="connsiteX96" fmla="*/ 349182 w 571128"/>
                <a:gd name="connsiteY96" fmla="*/ 101693 h 761503"/>
                <a:gd name="connsiteX97" fmla="*/ 351901 w 571128"/>
                <a:gd name="connsiteY97" fmla="*/ 93534 h 761503"/>
                <a:gd name="connsiteX98" fmla="*/ 368219 w 571128"/>
                <a:gd name="connsiteY98" fmla="*/ 85375 h 761503"/>
                <a:gd name="connsiteX99" fmla="*/ 422613 w 571128"/>
                <a:gd name="connsiteY99" fmla="*/ 79936 h 761503"/>
                <a:gd name="connsiteX100" fmla="*/ 444370 w 571128"/>
                <a:gd name="connsiteY100" fmla="*/ 79936 h 761503"/>
                <a:gd name="connsiteX101" fmla="*/ 463407 w 571128"/>
                <a:gd name="connsiteY101" fmla="*/ 71776 h 761503"/>
                <a:gd name="connsiteX102" fmla="*/ 477006 w 571128"/>
                <a:gd name="connsiteY102" fmla="*/ 79936 h 761503"/>
                <a:gd name="connsiteX103" fmla="*/ 512361 w 571128"/>
                <a:gd name="connsiteY103" fmla="*/ 79936 h 761503"/>
                <a:gd name="connsiteX104" fmla="*/ 512361 w 571128"/>
                <a:gd name="connsiteY104" fmla="*/ 79936 h 761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</a:cxnLst>
              <a:rect l="l" t="t" r="r" b="b"/>
              <a:pathLst>
                <a:path w="571128" h="761503">
                  <a:moveTo>
                    <a:pt x="512361" y="79936"/>
                  </a:moveTo>
                  <a:cubicBezTo>
                    <a:pt x="520520" y="79936"/>
                    <a:pt x="539558" y="79936"/>
                    <a:pt x="539558" y="96253"/>
                  </a:cubicBezTo>
                  <a:cubicBezTo>
                    <a:pt x="539558" y="104412"/>
                    <a:pt x="539558" y="107132"/>
                    <a:pt x="534118" y="112571"/>
                  </a:cubicBezTo>
                  <a:cubicBezTo>
                    <a:pt x="531399" y="118011"/>
                    <a:pt x="525960" y="120730"/>
                    <a:pt x="523240" y="120730"/>
                  </a:cubicBezTo>
                  <a:cubicBezTo>
                    <a:pt x="515081" y="123450"/>
                    <a:pt x="512361" y="123450"/>
                    <a:pt x="506922" y="123450"/>
                  </a:cubicBezTo>
                  <a:cubicBezTo>
                    <a:pt x="504202" y="123450"/>
                    <a:pt x="490604" y="123450"/>
                    <a:pt x="477006" y="123450"/>
                  </a:cubicBezTo>
                  <a:cubicBezTo>
                    <a:pt x="477006" y="131609"/>
                    <a:pt x="479725" y="137048"/>
                    <a:pt x="479725" y="145207"/>
                  </a:cubicBezTo>
                  <a:cubicBezTo>
                    <a:pt x="479725" y="156086"/>
                    <a:pt x="477006" y="166964"/>
                    <a:pt x="477006" y="180563"/>
                  </a:cubicBezTo>
                  <a:cubicBezTo>
                    <a:pt x="477006" y="196881"/>
                    <a:pt x="479725" y="215918"/>
                    <a:pt x="482445" y="232236"/>
                  </a:cubicBezTo>
                  <a:cubicBezTo>
                    <a:pt x="485165" y="248554"/>
                    <a:pt x="485165" y="267592"/>
                    <a:pt x="485165" y="283910"/>
                  </a:cubicBezTo>
                  <a:cubicBezTo>
                    <a:pt x="485165" y="297508"/>
                    <a:pt x="485165" y="313826"/>
                    <a:pt x="485165" y="327424"/>
                  </a:cubicBezTo>
                  <a:cubicBezTo>
                    <a:pt x="485165" y="343742"/>
                    <a:pt x="487884" y="357340"/>
                    <a:pt x="487884" y="373658"/>
                  </a:cubicBezTo>
                  <a:cubicBezTo>
                    <a:pt x="487884" y="389976"/>
                    <a:pt x="485165" y="403575"/>
                    <a:pt x="485165" y="419892"/>
                  </a:cubicBezTo>
                  <a:cubicBezTo>
                    <a:pt x="485165" y="436210"/>
                    <a:pt x="485165" y="449809"/>
                    <a:pt x="485165" y="463407"/>
                  </a:cubicBezTo>
                  <a:cubicBezTo>
                    <a:pt x="485165" y="479725"/>
                    <a:pt x="485165" y="498762"/>
                    <a:pt x="482445" y="515080"/>
                  </a:cubicBezTo>
                  <a:cubicBezTo>
                    <a:pt x="482445" y="528679"/>
                    <a:pt x="482445" y="542277"/>
                    <a:pt x="482445" y="558595"/>
                  </a:cubicBezTo>
                  <a:cubicBezTo>
                    <a:pt x="482445" y="572193"/>
                    <a:pt x="479725" y="588511"/>
                    <a:pt x="479725" y="602109"/>
                  </a:cubicBezTo>
                  <a:cubicBezTo>
                    <a:pt x="479725" y="615708"/>
                    <a:pt x="485165" y="632026"/>
                    <a:pt x="485165" y="648343"/>
                  </a:cubicBezTo>
                  <a:cubicBezTo>
                    <a:pt x="485165" y="659222"/>
                    <a:pt x="482445" y="670101"/>
                    <a:pt x="474286" y="675540"/>
                  </a:cubicBezTo>
                  <a:cubicBezTo>
                    <a:pt x="460688" y="686419"/>
                    <a:pt x="444370" y="691858"/>
                    <a:pt x="428052" y="691858"/>
                  </a:cubicBezTo>
                  <a:cubicBezTo>
                    <a:pt x="414454" y="691858"/>
                    <a:pt x="400855" y="689138"/>
                    <a:pt x="387257" y="683699"/>
                  </a:cubicBezTo>
                  <a:cubicBezTo>
                    <a:pt x="373659" y="678260"/>
                    <a:pt x="360060" y="672820"/>
                    <a:pt x="351901" y="664661"/>
                  </a:cubicBezTo>
                  <a:cubicBezTo>
                    <a:pt x="330144" y="645624"/>
                    <a:pt x="316546" y="621147"/>
                    <a:pt x="305667" y="596670"/>
                  </a:cubicBezTo>
                  <a:cubicBezTo>
                    <a:pt x="292069" y="569473"/>
                    <a:pt x="281190" y="539557"/>
                    <a:pt x="270312" y="509641"/>
                  </a:cubicBezTo>
                  <a:cubicBezTo>
                    <a:pt x="264872" y="493323"/>
                    <a:pt x="256713" y="477005"/>
                    <a:pt x="251274" y="460687"/>
                  </a:cubicBezTo>
                  <a:cubicBezTo>
                    <a:pt x="240395" y="433491"/>
                    <a:pt x="232236" y="409014"/>
                    <a:pt x="224077" y="381817"/>
                  </a:cubicBezTo>
                  <a:cubicBezTo>
                    <a:pt x="218638" y="365499"/>
                    <a:pt x="213199" y="346462"/>
                    <a:pt x="207759" y="330144"/>
                  </a:cubicBezTo>
                  <a:cubicBezTo>
                    <a:pt x="202320" y="316545"/>
                    <a:pt x="196881" y="300228"/>
                    <a:pt x="191442" y="286629"/>
                  </a:cubicBezTo>
                  <a:cubicBezTo>
                    <a:pt x="188722" y="281190"/>
                    <a:pt x="186002" y="278470"/>
                    <a:pt x="183283" y="278470"/>
                  </a:cubicBezTo>
                  <a:cubicBezTo>
                    <a:pt x="180563" y="278470"/>
                    <a:pt x="180563" y="286629"/>
                    <a:pt x="180563" y="292069"/>
                  </a:cubicBezTo>
                  <a:cubicBezTo>
                    <a:pt x="180563" y="297508"/>
                    <a:pt x="180563" y="302947"/>
                    <a:pt x="180563" y="305667"/>
                  </a:cubicBezTo>
                  <a:cubicBezTo>
                    <a:pt x="180563" y="321985"/>
                    <a:pt x="183283" y="338303"/>
                    <a:pt x="183283" y="354621"/>
                  </a:cubicBezTo>
                  <a:cubicBezTo>
                    <a:pt x="183283" y="387257"/>
                    <a:pt x="186002" y="417173"/>
                    <a:pt x="188722" y="449809"/>
                  </a:cubicBezTo>
                  <a:cubicBezTo>
                    <a:pt x="188722" y="460687"/>
                    <a:pt x="188722" y="468846"/>
                    <a:pt x="188722" y="479725"/>
                  </a:cubicBezTo>
                  <a:cubicBezTo>
                    <a:pt x="188722" y="501482"/>
                    <a:pt x="188722" y="523239"/>
                    <a:pt x="188722" y="542277"/>
                  </a:cubicBezTo>
                  <a:cubicBezTo>
                    <a:pt x="188722" y="566754"/>
                    <a:pt x="186002" y="591231"/>
                    <a:pt x="186002" y="615708"/>
                  </a:cubicBezTo>
                  <a:cubicBezTo>
                    <a:pt x="186002" y="623867"/>
                    <a:pt x="186002" y="632026"/>
                    <a:pt x="186002" y="637465"/>
                  </a:cubicBezTo>
                  <a:cubicBezTo>
                    <a:pt x="186002" y="645624"/>
                    <a:pt x="183283" y="656502"/>
                    <a:pt x="183283" y="664661"/>
                  </a:cubicBezTo>
                  <a:cubicBezTo>
                    <a:pt x="202320" y="664661"/>
                    <a:pt x="218638" y="664661"/>
                    <a:pt x="226797" y="664661"/>
                  </a:cubicBezTo>
                  <a:cubicBezTo>
                    <a:pt x="234956" y="664661"/>
                    <a:pt x="253994" y="664661"/>
                    <a:pt x="253994" y="680979"/>
                  </a:cubicBezTo>
                  <a:cubicBezTo>
                    <a:pt x="253994" y="689138"/>
                    <a:pt x="253994" y="691858"/>
                    <a:pt x="248554" y="697297"/>
                  </a:cubicBezTo>
                  <a:cubicBezTo>
                    <a:pt x="245835" y="702737"/>
                    <a:pt x="240395" y="705456"/>
                    <a:pt x="234956" y="705456"/>
                  </a:cubicBezTo>
                  <a:cubicBezTo>
                    <a:pt x="226797" y="708176"/>
                    <a:pt x="224077" y="708176"/>
                    <a:pt x="218638" y="708176"/>
                  </a:cubicBezTo>
                  <a:cubicBezTo>
                    <a:pt x="215918" y="708176"/>
                    <a:pt x="199600" y="708176"/>
                    <a:pt x="183283" y="708176"/>
                  </a:cubicBezTo>
                  <a:cubicBezTo>
                    <a:pt x="166965" y="708176"/>
                    <a:pt x="153366" y="708176"/>
                    <a:pt x="150647" y="708176"/>
                  </a:cubicBezTo>
                  <a:cubicBezTo>
                    <a:pt x="139768" y="708176"/>
                    <a:pt x="120730" y="708176"/>
                    <a:pt x="107132" y="708176"/>
                  </a:cubicBezTo>
                  <a:cubicBezTo>
                    <a:pt x="101693" y="708176"/>
                    <a:pt x="96253" y="708176"/>
                    <a:pt x="88094" y="708176"/>
                  </a:cubicBezTo>
                  <a:cubicBezTo>
                    <a:pt x="82655" y="708176"/>
                    <a:pt x="74496" y="708176"/>
                    <a:pt x="69057" y="702737"/>
                  </a:cubicBezTo>
                  <a:cubicBezTo>
                    <a:pt x="63618" y="700017"/>
                    <a:pt x="58178" y="691858"/>
                    <a:pt x="58178" y="686419"/>
                  </a:cubicBezTo>
                  <a:cubicBezTo>
                    <a:pt x="58178" y="683699"/>
                    <a:pt x="58178" y="680979"/>
                    <a:pt x="60898" y="678260"/>
                  </a:cubicBezTo>
                  <a:cubicBezTo>
                    <a:pt x="63618" y="675540"/>
                    <a:pt x="71777" y="672820"/>
                    <a:pt x="77216" y="670101"/>
                  </a:cubicBezTo>
                  <a:cubicBezTo>
                    <a:pt x="90814" y="667381"/>
                    <a:pt x="115291" y="664661"/>
                    <a:pt x="120730" y="664661"/>
                  </a:cubicBezTo>
                  <a:cubicBezTo>
                    <a:pt x="123450" y="664661"/>
                    <a:pt x="126170" y="664661"/>
                    <a:pt x="131609" y="664661"/>
                  </a:cubicBezTo>
                  <a:cubicBezTo>
                    <a:pt x="131609" y="623867"/>
                    <a:pt x="134329" y="583072"/>
                    <a:pt x="134329" y="539557"/>
                  </a:cubicBezTo>
                  <a:cubicBezTo>
                    <a:pt x="134329" y="528679"/>
                    <a:pt x="134329" y="515080"/>
                    <a:pt x="134329" y="504202"/>
                  </a:cubicBezTo>
                  <a:cubicBezTo>
                    <a:pt x="131609" y="460687"/>
                    <a:pt x="131609" y="417173"/>
                    <a:pt x="131609" y="376378"/>
                  </a:cubicBezTo>
                  <a:cubicBezTo>
                    <a:pt x="131609" y="351901"/>
                    <a:pt x="131609" y="327424"/>
                    <a:pt x="131609" y="302947"/>
                  </a:cubicBezTo>
                  <a:cubicBezTo>
                    <a:pt x="131609" y="275751"/>
                    <a:pt x="131609" y="248554"/>
                    <a:pt x="134329" y="221357"/>
                  </a:cubicBezTo>
                  <a:cubicBezTo>
                    <a:pt x="134329" y="188722"/>
                    <a:pt x="137048" y="156086"/>
                    <a:pt x="137048" y="123450"/>
                  </a:cubicBezTo>
                  <a:cubicBezTo>
                    <a:pt x="126170" y="123450"/>
                    <a:pt x="115291" y="123450"/>
                    <a:pt x="107132" y="123450"/>
                  </a:cubicBezTo>
                  <a:cubicBezTo>
                    <a:pt x="101693" y="123450"/>
                    <a:pt x="96253" y="123450"/>
                    <a:pt x="88094" y="123450"/>
                  </a:cubicBezTo>
                  <a:cubicBezTo>
                    <a:pt x="82655" y="123450"/>
                    <a:pt x="74496" y="120730"/>
                    <a:pt x="69057" y="118011"/>
                  </a:cubicBezTo>
                  <a:cubicBezTo>
                    <a:pt x="63618" y="115291"/>
                    <a:pt x="58178" y="107132"/>
                    <a:pt x="58178" y="101693"/>
                  </a:cubicBezTo>
                  <a:cubicBezTo>
                    <a:pt x="58178" y="98973"/>
                    <a:pt x="58178" y="96253"/>
                    <a:pt x="60898" y="93534"/>
                  </a:cubicBezTo>
                  <a:cubicBezTo>
                    <a:pt x="63618" y="90814"/>
                    <a:pt x="71777" y="88095"/>
                    <a:pt x="77216" y="85375"/>
                  </a:cubicBezTo>
                  <a:cubicBezTo>
                    <a:pt x="90814" y="82655"/>
                    <a:pt x="126170" y="79936"/>
                    <a:pt x="131609" y="79936"/>
                  </a:cubicBezTo>
                  <a:cubicBezTo>
                    <a:pt x="137048" y="79936"/>
                    <a:pt x="147927" y="79936"/>
                    <a:pt x="161525" y="79936"/>
                  </a:cubicBezTo>
                  <a:cubicBezTo>
                    <a:pt x="166965" y="74496"/>
                    <a:pt x="172404" y="71776"/>
                    <a:pt x="177843" y="66337"/>
                  </a:cubicBezTo>
                  <a:cubicBezTo>
                    <a:pt x="186002" y="60898"/>
                    <a:pt x="194161" y="58178"/>
                    <a:pt x="202320" y="58178"/>
                  </a:cubicBezTo>
                  <a:cubicBezTo>
                    <a:pt x="215918" y="58178"/>
                    <a:pt x="226797" y="63618"/>
                    <a:pt x="234956" y="77216"/>
                  </a:cubicBezTo>
                  <a:cubicBezTo>
                    <a:pt x="240395" y="88095"/>
                    <a:pt x="248554" y="96253"/>
                    <a:pt x="251274" y="107132"/>
                  </a:cubicBezTo>
                  <a:cubicBezTo>
                    <a:pt x="256713" y="120730"/>
                    <a:pt x="259433" y="134329"/>
                    <a:pt x="267592" y="147927"/>
                  </a:cubicBezTo>
                  <a:cubicBezTo>
                    <a:pt x="273031" y="158806"/>
                    <a:pt x="275751" y="172404"/>
                    <a:pt x="281190" y="183282"/>
                  </a:cubicBezTo>
                  <a:cubicBezTo>
                    <a:pt x="286630" y="196881"/>
                    <a:pt x="292069" y="210479"/>
                    <a:pt x="297508" y="224077"/>
                  </a:cubicBezTo>
                  <a:cubicBezTo>
                    <a:pt x="300228" y="237676"/>
                    <a:pt x="305667" y="251274"/>
                    <a:pt x="308387" y="264872"/>
                  </a:cubicBezTo>
                  <a:cubicBezTo>
                    <a:pt x="311107" y="278470"/>
                    <a:pt x="311107" y="289349"/>
                    <a:pt x="319265" y="300228"/>
                  </a:cubicBezTo>
                  <a:cubicBezTo>
                    <a:pt x="332864" y="324704"/>
                    <a:pt x="346462" y="351901"/>
                    <a:pt x="351901" y="379098"/>
                  </a:cubicBezTo>
                  <a:cubicBezTo>
                    <a:pt x="354621" y="392696"/>
                    <a:pt x="360060" y="403575"/>
                    <a:pt x="365500" y="417173"/>
                  </a:cubicBezTo>
                  <a:cubicBezTo>
                    <a:pt x="373659" y="430771"/>
                    <a:pt x="373659" y="444369"/>
                    <a:pt x="379098" y="457968"/>
                  </a:cubicBezTo>
                  <a:cubicBezTo>
                    <a:pt x="381818" y="471566"/>
                    <a:pt x="387257" y="482445"/>
                    <a:pt x="395416" y="496043"/>
                  </a:cubicBezTo>
                  <a:cubicBezTo>
                    <a:pt x="398136" y="501482"/>
                    <a:pt x="403575" y="506921"/>
                    <a:pt x="406295" y="512361"/>
                  </a:cubicBezTo>
                  <a:cubicBezTo>
                    <a:pt x="409014" y="517800"/>
                    <a:pt x="409014" y="525959"/>
                    <a:pt x="411734" y="531398"/>
                  </a:cubicBezTo>
                  <a:cubicBezTo>
                    <a:pt x="414454" y="539557"/>
                    <a:pt x="417173" y="550436"/>
                    <a:pt x="419893" y="558595"/>
                  </a:cubicBezTo>
                  <a:cubicBezTo>
                    <a:pt x="422613" y="561314"/>
                    <a:pt x="422613" y="564034"/>
                    <a:pt x="425332" y="564034"/>
                  </a:cubicBezTo>
                  <a:cubicBezTo>
                    <a:pt x="428052" y="564034"/>
                    <a:pt x="428052" y="561314"/>
                    <a:pt x="430771" y="558595"/>
                  </a:cubicBezTo>
                  <a:cubicBezTo>
                    <a:pt x="430771" y="555875"/>
                    <a:pt x="430771" y="553156"/>
                    <a:pt x="430771" y="550436"/>
                  </a:cubicBezTo>
                  <a:cubicBezTo>
                    <a:pt x="430771" y="534118"/>
                    <a:pt x="430771" y="517800"/>
                    <a:pt x="430771" y="501482"/>
                  </a:cubicBezTo>
                  <a:cubicBezTo>
                    <a:pt x="430771" y="468846"/>
                    <a:pt x="433491" y="436210"/>
                    <a:pt x="430771" y="403575"/>
                  </a:cubicBezTo>
                  <a:cubicBezTo>
                    <a:pt x="430771" y="373658"/>
                    <a:pt x="425332" y="343742"/>
                    <a:pt x="425332" y="313826"/>
                  </a:cubicBezTo>
                  <a:cubicBezTo>
                    <a:pt x="425332" y="292069"/>
                    <a:pt x="425332" y="270311"/>
                    <a:pt x="425332" y="248554"/>
                  </a:cubicBezTo>
                  <a:cubicBezTo>
                    <a:pt x="425332" y="234956"/>
                    <a:pt x="425332" y="224077"/>
                    <a:pt x="425332" y="210479"/>
                  </a:cubicBezTo>
                  <a:cubicBezTo>
                    <a:pt x="425332" y="191441"/>
                    <a:pt x="422613" y="172404"/>
                    <a:pt x="422613" y="153366"/>
                  </a:cubicBezTo>
                  <a:cubicBezTo>
                    <a:pt x="422613" y="142488"/>
                    <a:pt x="422613" y="134329"/>
                    <a:pt x="425332" y="123450"/>
                  </a:cubicBezTo>
                  <a:cubicBezTo>
                    <a:pt x="417173" y="123450"/>
                    <a:pt x="406295" y="123450"/>
                    <a:pt x="398136" y="123450"/>
                  </a:cubicBezTo>
                  <a:cubicBezTo>
                    <a:pt x="392696" y="123450"/>
                    <a:pt x="387257" y="123450"/>
                    <a:pt x="379098" y="123450"/>
                  </a:cubicBezTo>
                  <a:cubicBezTo>
                    <a:pt x="373659" y="123450"/>
                    <a:pt x="365500" y="120730"/>
                    <a:pt x="360060" y="118011"/>
                  </a:cubicBezTo>
                  <a:cubicBezTo>
                    <a:pt x="354621" y="115291"/>
                    <a:pt x="349182" y="107132"/>
                    <a:pt x="349182" y="101693"/>
                  </a:cubicBezTo>
                  <a:cubicBezTo>
                    <a:pt x="349182" y="98973"/>
                    <a:pt x="349182" y="96253"/>
                    <a:pt x="351901" y="93534"/>
                  </a:cubicBezTo>
                  <a:cubicBezTo>
                    <a:pt x="354621" y="90814"/>
                    <a:pt x="362780" y="88095"/>
                    <a:pt x="368219" y="85375"/>
                  </a:cubicBezTo>
                  <a:cubicBezTo>
                    <a:pt x="381818" y="82655"/>
                    <a:pt x="417173" y="79936"/>
                    <a:pt x="422613" y="79936"/>
                  </a:cubicBezTo>
                  <a:cubicBezTo>
                    <a:pt x="428052" y="79936"/>
                    <a:pt x="433491" y="79936"/>
                    <a:pt x="444370" y="79936"/>
                  </a:cubicBezTo>
                  <a:cubicBezTo>
                    <a:pt x="449809" y="74496"/>
                    <a:pt x="455248" y="71776"/>
                    <a:pt x="463407" y="71776"/>
                  </a:cubicBezTo>
                  <a:cubicBezTo>
                    <a:pt x="471566" y="71776"/>
                    <a:pt x="477006" y="74496"/>
                    <a:pt x="477006" y="79936"/>
                  </a:cubicBezTo>
                  <a:cubicBezTo>
                    <a:pt x="490604" y="82655"/>
                    <a:pt x="504202" y="79936"/>
                    <a:pt x="512361" y="79936"/>
                  </a:cubicBezTo>
                  <a:lnTo>
                    <a:pt x="512361" y="79936"/>
                  </a:ln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5" name="Freeform: Shape 34">
              <a:extLst>
                <a:ext uri="{FF2B5EF4-FFF2-40B4-BE49-F238E27FC236}">
                  <a16:creationId xmlns:a16="http://schemas.microsoft.com/office/drawing/2014/main" id="{974323F7-3F56-422F-B8F9-319B4269C514}"/>
                </a:ext>
              </a:extLst>
            </p:cNvPr>
            <p:cNvSpPr/>
            <p:nvPr/>
          </p:nvSpPr>
          <p:spPr>
            <a:xfrm>
              <a:off x="2987430" y="4242177"/>
              <a:ext cx="494979" cy="674476"/>
            </a:xfrm>
            <a:custGeom>
              <a:avLst/>
              <a:gdLst>
                <a:gd name="connsiteX0" fmla="*/ 228453 w 494979"/>
                <a:gd name="connsiteY0" fmla="*/ 97907 h 674476"/>
                <a:gd name="connsiteX1" fmla="*/ 212135 w 494979"/>
                <a:gd name="connsiteY1" fmla="*/ 119665 h 674476"/>
                <a:gd name="connsiteX2" fmla="*/ 203976 w 494979"/>
                <a:gd name="connsiteY2" fmla="*/ 152300 h 674476"/>
                <a:gd name="connsiteX3" fmla="*/ 201256 w 494979"/>
                <a:gd name="connsiteY3" fmla="*/ 168618 h 674476"/>
                <a:gd name="connsiteX4" fmla="*/ 198537 w 494979"/>
                <a:gd name="connsiteY4" fmla="*/ 184936 h 674476"/>
                <a:gd name="connsiteX5" fmla="*/ 190378 w 494979"/>
                <a:gd name="connsiteY5" fmla="*/ 220292 h 674476"/>
                <a:gd name="connsiteX6" fmla="*/ 171340 w 494979"/>
                <a:gd name="connsiteY6" fmla="*/ 291003 h 674476"/>
                <a:gd name="connsiteX7" fmla="*/ 163180 w 494979"/>
                <a:gd name="connsiteY7" fmla="*/ 323639 h 674476"/>
                <a:gd name="connsiteX8" fmla="*/ 152302 w 494979"/>
                <a:gd name="connsiteY8" fmla="*/ 361714 h 674476"/>
                <a:gd name="connsiteX9" fmla="*/ 146862 w 494979"/>
                <a:gd name="connsiteY9" fmla="*/ 388910 h 674476"/>
                <a:gd name="connsiteX10" fmla="*/ 152302 w 494979"/>
                <a:gd name="connsiteY10" fmla="*/ 391630 h 674476"/>
                <a:gd name="connsiteX11" fmla="*/ 174060 w 494979"/>
                <a:gd name="connsiteY11" fmla="*/ 391630 h 674476"/>
                <a:gd name="connsiteX12" fmla="*/ 195817 w 494979"/>
                <a:gd name="connsiteY12" fmla="*/ 388910 h 674476"/>
                <a:gd name="connsiteX13" fmla="*/ 214855 w 494979"/>
                <a:gd name="connsiteY13" fmla="*/ 388910 h 674476"/>
                <a:gd name="connsiteX14" fmla="*/ 239332 w 494979"/>
                <a:gd name="connsiteY14" fmla="*/ 388910 h 674476"/>
                <a:gd name="connsiteX15" fmla="*/ 252930 w 494979"/>
                <a:gd name="connsiteY15" fmla="*/ 386191 h 674476"/>
                <a:gd name="connsiteX16" fmla="*/ 261089 w 494979"/>
                <a:gd name="connsiteY16" fmla="*/ 386191 h 674476"/>
                <a:gd name="connsiteX17" fmla="*/ 258369 w 494979"/>
                <a:gd name="connsiteY17" fmla="*/ 367153 h 674476"/>
                <a:gd name="connsiteX18" fmla="*/ 252930 w 494979"/>
                <a:gd name="connsiteY18" fmla="*/ 331797 h 674476"/>
                <a:gd name="connsiteX19" fmla="*/ 250210 w 494979"/>
                <a:gd name="connsiteY19" fmla="*/ 244769 h 674476"/>
                <a:gd name="connsiteX20" fmla="*/ 244771 w 494979"/>
                <a:gd name="connsiteY20" fmla="*/ 203974 h 674476"/>
                <a:gd name="connsiteX21" fmla="*/ 239332 w 494979"/>
                <a:gd name="connsiteY21" fmla="*/ 157740 h 674476"/>
                <a:gd name="connsiteX22" fmla="*/ 236612 w 494979"/>
                <a:gd name="connsiteY22" fmla="*/ 119665 h 674476"/>
                <a:gd name="connsiteX23" fmla="*/ 228453 w 494979"/>
                <a:gd name="connsiteY23" fmla="*/ 97907 h 674476"/>
                <a:gd name="connsiteX24" fmla="*/ 274687 w 494979"/>
                <a:gd name="connsiteY24" fmla="*/ 0 h 674476"/>
                <a:gd name="connsiteX25" fmla="*/ 304603 w 494979"/>
                <a:gd name="connsiteY25" fmla="*/ 5439 h 674476"/>
                <a:gd name="connsiteX26" fmla="*/ 320921 w 494979"/>
                <a:gd name="connsiteY26" fmla="*/ 24477 h 674476"/>
                <a:gd name="connsiteX27" fmla="*/ 334519 w 494979"/>
                <a:gd name="connsiteY27" fmla="*/ 43515 h 674476"/>
                <a:gd name="connsiteX28" fmla="*/ 339959 w 494979"/>
                <a:gd name="connsiteY28" fmla="*/ 65272 h 674476"/>
                <a:gd name="connsiteX29" fmla="*/ 348118 w 494979"/>
                <a:gd name="connsiteY29" fmla="*/ 114226 h 674476"/>
                <a:gd name="connsiteX30" fmla="*/ 361716 w 494979"/>
                <a:gd name="connsiteY30" fmla="*/ 163180 h 674476"/>
                <a:gd name="connsiteX31" fmla="*/ 369875 w 494979"/>
                <a:gd name="connsiteY31" fmla="*/ 220293 h 674476"/>
                <a:gd name="connsiteX32" fmla="*/ 378034 w 494979"/>
                <a:gd name="connsiteY32" fmla="*/ 274686 h 674476"/>
                <a:gd name="connsiteX33" fmla="*/ 383473 w 494979"/>
                <a:gd name="connsiteY33" fmla="*/ 301883 h 674476"/>
                <a:gd name="connsiteX34" fmla="*/ 391632 w 494979"/>
                <a:gd name="connsiteY34" fmla="*/ 337238 h 674476"/>
                <a:gd name="connsiteX35" fmla="*/ 397071 w 494979"/>
                <a:gd name="connsiteY35" fmla="*/ 364435 h 674476"/>
                <a:gd name="connsiteX36" fmla="*/ 405230 w 494979"/>
                <a:gd name="connsiteY36" fmla="*/ 383473 h 674476"/>
                <a:gd name="connsiteX37" fmla="*/ 416109 w 494979"/>
                <a:gd name="connsiteY37" fmla="*/ 386192 h 674476"/>
                <a:gd name="connsiteX38" fmla="*/ 426988 w 494979"/>
                <a:gd name="connsiteY38" fmla="*/ 386192 h 674476"/>
                <a:gd name="connsiteX39" fmla="*/ 454184 w 494979"/>
                <a:gd name="connsiteY39" fmla="*/ 397071 h 674476"/>
                <a:gd name="connsiteX40" fmla="*/ 456904 w 494979"/>
                <a:gd name="connsiteY40" fmla="*/ 405230 h 674476"/>
                <a:gd name="connsiteX41" fmla="*/ 451465 w 494979"/>
                <a:gd name="connsiteY41" fmla="*/ 416108 h 674476"/>
                <a:gd name="connsiteX42" fmla="*/ 432427 w 494979"/>
                <a:gd name="connsiteY42" fmla="*/ 429707 h 674476"/>
                <a:gd name="connsiteX43" fmla="*/ 421548 w 494979"/>
                <a:gd name="connsiteY43" fmla="*/ 432426 h 674476"/>
                <a:gd name="connsiteX44" fmla="*/ 413389 w 494979"/>
                <a:gd name="connsiteY44" fmla="*/ 435146 h 674476"/>
                <a:gd name="connsiteX45" fmla="*/ 413389 w 494979"/>
                <a:gd name="connsiteY45" fmla="*/ 440585 h 674476"/>
                <a:gd name="connsiteX46" fmla="*/ 416109 w 494979"/>
                <a:gd name="connsiteY46" fmla="*/ 451464 h 674476"/>
                <a:gd name="connsiteX47" fmla="*/ 418829 w 494979"/>
                <a:gd name="connsiteY47" fmla="*/ 465062 h 674476"/>
                <a:gd name="connsiteX48" fmla="*/ 418829 w 494979"/>
                <a:gd name="connsiteY48" fmla="*/ 475941 h 674476"/>
                <a:gd name="connsiteX49" fmla="*/ 418829 w 494979"/>
                <a:gd name="connsiteY49" fmla="*/ 486820 h 674476"/>
                <a:gd name="connsiteX50" fmla="*/ 426988 w 494979"/>
                <a:gd name="connsiteY50" fmla="*/ 516736 h 674476"/>
                <a:gd name="connsiteX51" fmla="*/ 432427 w 494979"/>
                <a:gd name="connsiteY51" fmla="*/ 543932 h 674476"/>
                <a:gd name="connsiteX52" fmla="*/ 437866 w 494979"/>
                <a:gd name="connsiteY52" fmla="*/ 573848 h 674476"/>
                <a:gd name="connsiteX53" fmla="*/ 443306 w 494979"/>
                <a:gd name="connsiteY53" fmla="*/ 606484 h 674476"/>
                <a:gd name="connsiteX54" fmla="*/ 446025 w 494979"/>
                <a:gd name="connsiteY54" fmla="*/ 617363 h 674476"/>
                <a:gd name="connsiteX55" fmla="*/ 470502 w 494979"/>
                <a:gd name="connsiteY55" fmla="*/ 617363 h 674476"/>
                <a:gd name="connsiteX56" fmla="*/ 494979 w 494979"/>
                <a:gd name="connsiteY56" fmla="*/ 641840 h 674476"/>
                <a:gd name="connsiteX57" fmla="*/ 486820 w 494979"/>
                <a:gd name="connsiteY57" fmla="*/ 655438 h 674476"/>
                <a:gd name="connsiteX58" fmla="*/ 470502 w 494979"/>
                <a:gd name="connsiteY58" fmla="*/ 663597 h 674476"/>
                <a:gd name="connsiteX59" fmla="*/ 446025 w 494979"/>
                <a:gd name="connsiteY59" fmla="*/ 666317 h 674476"/>
                <a:gd name="connsiteX60" fmla="*/ 424268 w 494979"/>
                <a:gd name="connsiteY60" fmla="*/ 666317 h 674476"/>
                <a:gd name="connsiteX61" fmla="*/ 416109 w 494979"/>
                <a:gd name="connsiteY61" fmla="*/ 666317 h 674476"/>
                <a:gd name="connsiteX62" fmla="*/ 402511 w 494979"/>
                <a:gd name="connsiteY62" fmla="*/ 671756 h 674476"/>
                <a:gd name="connsiteX63" fmla="*/ 386193 w 494979"/>
                <a:gd name="connsiteY63" fmla="*/ 674476 h 674476"/>
                <a:gd name="connsiteX64" fmla="*/ 350837 w 494979"/>
                <a:gd name="connsiteY64" fmla="*/ 669036 h 674476"/>
                <a:gd name="connsiteX65" fmla="*/ 329080 w 494979"/>
                <a:gd name="connsiteY65" fmla="*/ 669036 h 674476"/>
                <a:gd name="connsiteX66" fmla="*/ 280126 w 494979"/>
                <a:gd name="connsiteY66" fmla="*/ 669036 h 674476"/>
                <a:gd name="connsiteX67" fmla="*/ 255649 w 494979"/>
                <a:gd name="connsiteY67" fmla="*/ 663597 h 674476"/>
                <a:gd name="connsiteX68" fmla="*/ 239331 w 494979"/>
                <a:gd name="connsiteY68" fmla="*/ 647279 h 674476"/>
                <a:gd name="connsiteX69" fmla="*/ 263808 w 494979"/>
                <a:gd name="connsiteY69" fmla="*/ 630961 h 674476"/>
                <a:gd name="connsiteX70" fmla="*/ 291005 w 494979"/>
                <a:gd name="connsiteY70" fmla="*/ 628241 h 674476"/>
                <a:gd name="connsiteX71" fmla="*/ 288285 w 494979"/>
                <a:gd name="connsiteY71" fmla="*/ 609204 h 674476"/>
                <a:gd name="connsiteX72" fmla="*/ 285565 w 494979"/>
                <a:gd name="connsiteY72" fmla="*/ 582007 h 674476"/>
                <a:gd name="connsiteX73" fmla="*/ 282846 w 494979"/>
                <a:gd name="connsiteY73" fmla="*/ 568409 h 674476"/>
                <a:gd name="connsiteX74" fmla="*/ 285565 w 494979"/>
                <a:gd name="connsiteY74" fmla="*/ 554811 h 674476"/>
                <a:gd name="connsiteX75" fmla="*/ 280126 w 494979"/>
                <a:gd name="connsiteY75" fmla="*/ 538493 h 674476"/>
                <a:gd name="connsiteX76" fmla="*/ 274687 w 494979"/>
                <a:gd name="connsiteY76" fmla="*/ 505857 h 674476"/>
                <a:gd name="connsiteX77" fmla="*/ 271967 w 494979"/>
                <a:gd name="connsiteY77" fmla="*/ 478660 h 674476"/>
                <a:gd name="connsiteX78" fmla="*/ 269247 w 494979"/>
                <a:gd name="connsiteY78" fmla="*/ 446025 h 674476"/>
                <a:gd name="connsiteX79" fmla="*/ 263808 w 494979"/>
                <a:gd name="connsiteY79" fmla="*/ 437866 h 674476"/>
                <a:gd name="connsiteX80" fmla="*/ 252929 w 494979"/>
                <a:gd name="connsiteY80" fmla="*/ 437866 h 674476"/>
                <a:gd name="connsiteX81" fmla="*/ 223013 w 494979"/>
                <a:gd name="connsiteY81" fmla="*/ 440585 h 674476"/>
                <a:gd name="connsiteX82" fmla="*/ 193097 w 494979"/>
                <a:gd name="connsiteY82" fmla="*/ 443305 h 674476"/>
                <a:gd name="connsiteX83" fmla="*/ 168620 w 494979"/>
                <a:gd name="connsiteY83" fmla="*/ 443305 h 674476"/>
                <a:gd name="connsiteX84" fmla="*/ 146862 w 494979"/>
                <a:gd name="connsiteY84" fmla="*/ 440585 h 674476"/>
                <a:gd name="connsiteX85" fmla="*/ 138703 w 494979"/>
                <a:gd name="connsiteY85" fmla="*/ 454184 h 674476"/>
                <a:gd name="connsiteX86" fmla="*/ 133263 w 494979"/>
                <a:gd name="connsiteY86" fmla="*/ 486820 h 674476"/>
                <a:gd name="connsiteX87" fmla="*/ 122385 w 494979"/>
                <a:gd name="connsiteY87" fmla="*/ 541213 h 674476"/>
                <a:gd name="connsiteX88" fmla="*/ 106067 w 494979"/>
                <a:gd name="connsiteY88" fmla="*/ 614643 h 674476"/>
                <a:gd name="connsiteX89" fmla="*/ 135983 w 494979"/>
                <a:gd name="connsiteY89" fmla="*/ 614643 h 674476"/>
                <a:gd name="connsiteX90" fmla="*/ 171340 w 494979"/>
                <a:gd name="connsiteY90" fmla="*/ 630961 h 674476"/>
                <a:gd name="connsiteX91" fmla="*/ 165900 w 494979"/>
                <a:gd name="connsiteY91" fmla="*/ 647279 h 674476"/>
                <a:gd name="connsiteX92" fmla="*/ 149581 w 494979"/>
                <a:gd name="connsiteY92" fmla="*/ 655438 h 674476"/>
                <a:gd name="connsiteX93" fmla="*/ 127824 w 494979"/>
                <a:gd name="connsiteY93" fmla="*/ 658158 h 674476"/>
                <a:gd name="connsiteX94" fmla="*/ 106067 w 494979"/>
                <a:gd name="connsiteY94" fmla="*/ 658158 h 674476"/>
                <a:gd name="connsiteX95" fmla="*/ 62552 w 494979"/>
                <a:gd name="connsiteY95" fmla="*/ 658158 h 674476"/>
                <a:gd name="connsiteX96" fmla="*/ 40795 w 494979"/>
                <a:gd name="connsiteY96" fmla="*/ 658158 h 674476"/>
                <a:gd name="connsiteX97" fmla="*/ 16318 w 494979"/>
                <a:gd name="connsiteY97" fmla="*/ 652718 h 674476"/>
                <a:gd name="connsiteX98" fmla="*/ 0 w 494979"/>
                <a:gd name="connsiteY98" fmla="*/ 636401 h 674476"/>
                <a:gd name="connsiteX99" fmla="*/ 2720 w 494979"/>
                <a:gd name="connsiteY99" fmla="*/ 628241 h 674476"/>
                <a:gd name="connsiteX100" fmla="*/ 24477 w 494979"/>
                <a:gd name="connsiteY100" fmla="*/ 620082 h 674476"/>
                <a:gd name="connsiteX101" fmla="*/ 62552 w 494979"/>
                <a:gd name="connsiteY101" fmla="*/ 617363 h 674476"/>
                <a:gd name="connsiteX102" fmla="*/ 62552 w 494979"/>
                <a:gd name="connsiteY102" fmla="*/ 614643 h 674476"/>
                <a:gd name="connsiteX103" fmla="*/ 65272 w 494979"/>
                <a:gd name="connsiteY103" fmla="*/ 587447 h 674476"/>
                <a:gd name="connsiteX104" fmla="*/ 76151 w 494979"/>
                <a:gd name="connsiteY104" fmla="*/ 522175 h 674476"/>
                <a:gd name="connsiteX105" fmla="*/ 87029 w 494979"/>
                <a:gd name="connsiteY105" fmla="*/ 470501 h 674476"/>
                <a:gd name="connsiteX106" fmla="*/ 92469 w 494979"/>
                <a:gd name="connsiteY106" fmla="*/ 446025 h 674476"/>
                <a:gd name="connsiteX107" fmla="*/ 65272 w 494979"/>
                <a:gd name="connsiteY107" fmla="*/ 432426 h 674476"/>
                <a:gd name="connsiteX108" fmla="*/ 54393 w 494979"/>
                <a:gd name="connsiteY108" fmla="*/ 421548 h 674476"/>
                <a:gd name="connsiteX109" fmla="*/ 73431 w 494979"/>
                <a:gd name="connsiteY109" fmla="*/ 407949 h 674476"/>
                <a:gd name="connsiteX110" fmla="*/ 100628 w 494979"/>
                <a:gd name="connsiteY110" fmla="*/ 399790 h 674476"/>
                <a:gd name="connsiteX111" fmla="*/ 108787 w 494979"/>
                <a:gd name="connsiteY111" fmla="*/ 369874 h 674476"/>
                <a:gd name="connsiteX112" fmla="*/ 125105 w 494979"/>
                <a:gd name="connsiteY112" fmla="*/ 307322 h 674476"/>
                <a:gd name="connsiteX113" fmla="*/ 141423 w 494979"/>
                <a:gd name="connsiteY113" fmla="*/ 242051 h 674476"/>
                <a:gd name="connsiteX114" fmla="*/ 155021 w 494979"/>
                <a:gd name="connsiteY114" fmla="*/ 179498 h 674476"/>
                <a:gd name="connsiteX115" fmla="*/ 168620 w 494979"/>
                <a:gd name="connsiteY115" fmla="*/ 119665 h 674476"/>
                <a:gd name="connsiteX116" fmla="*/ 193097 w 494979"/>
                <a:gd name="connsiteY116" fmla="*/ 57113 h 674476"/>
                <a:gd name="connsiteX117" fmla="*/ 201256 w 494979"/>
                <a:gd name="connsiteY117" fmla="*/ 38075 h 674476"/>
                <a:gd name="connsiteX118" fmla="*/ 217574 w 494979"/>
                <a:gd name="connsiteY118" fmla="*/ 13598 h 674476"/>
                <a:gd name="connsiteX119" fmla="*/ 274687 w 494979"/>
                <a:gd name="connsiteY119" fmla="*/ 0 h 6744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</a:cxnLst>
              <a:rect l="l" t="t" r="r" b="b"/>
              <a:pathLst>
                <a:path w="494979" h="674476">
                  <a:moveTo>
                    <a:pt x="228453" y="97907"/>
                  </a:moveTo>
                  <a:cubicBezTo>
                    <a:pt x="220294" y="97907"/>
                    <a:pt x="212135" y="114225"/>
                    <a:pt x="212135" y="119665"/>
                  </a:cubicBezTo>
                  <a:cubicBezTo>
                    <a:pt x="209415" y="130543"/>
                    <a:pt x="206696" y="144141"/>
                    <a:pt x="203976" y="152300"/>
                  </a:cubicBezTo>
                  <a:cubicBezTo>
                    <a:pt x="201256" y="157740"/>
                    <a:pt x="201256" y="163179"/>
                    <a:pt x="201256" y="168618"/>
                  </a:cubicBezTo>
                  <a:cubicBezTo>
                    <a:pt x="201256" y="174058"/>
                    <a:pt x="198537" y="179497"/>
                    <a:pt x="198537" y="184936"/>
                  </a:cubicBezTo>
                  <a:cubicBezTo>
                    <a:pt x="195817" y="195815"/>
                    <a:pt x="193097" y="209413"/>
                    <a:pt x="190378" y="220292"/>
                  </a:cubicBezTo>
                  <a:cubicBezTo>
                    <a:pt x="187658" y="244769"/>
                    <a:pt x="179499" y="269246"/>
                    <a:pt x="171340" y="291003"/>
                  </a:cubicBezTo>
                  <a:cubicBezTo>
                    <a:pt x="168620" y="301881"/>
                    <a:pt x="165900" y="312760"/>
                    <a:pt x="163180" y="323639"/>
                  </a:cubicBezTo>
                  <a:cubicBezTo>
                    <a:pt x="160461" y="337237"/>
                    <a:pt x="157741" y="348115"/>
                    <a:pt x="152302" y="361714"/>
                  </a:cubicBezTo>
                  <a:cubicBezTo>
                    <a:pt x="149582" y="367153"/>
                    <a:pt x="146862" y="383471"/>
                    <a:pt x="146862" y="388910"/>
                  </a:cubicBezTo>
                  <a:cubicBezTo>
                    <a:pt x="146862" y="391630"/>
                    <a:pt x="149582" y="391630"/>
                    <a:pt x="152302" y="391630"/>
                  </a:cubicBezTo>
                  <a:cubicBezTo>
                    <a:pt x="157741" y="391630"/>
                    <a:pt x="171340" y="391630"/>
                    <a:pt x="174060" y="391630"/>
                  </a:cubicBezTo>
                  <a:cubicBezTo>
                    <a:pt x="182219" y="391630"/>
                    <a:pt x="190378" y="391630"/>
                    <a:pt x="195817" y="388910"/>
                  </a:cubicBezTo>
                  <a:cubicBezTo>
                    <a:pt x="201256" y="388910"/>
                    <a:pt x="206696" y="388910"/>
                    <a:pt x="214855" y="388910"/>
                  </a:cubicBezTo>
                  <a:cubicBezTo>
                    <a:pt x="220294" y="388910"/>
                    <a:pt x="228453" y="388910"/>
                    <a:pt x="239332" y="388910"/>
                  </a:cubicBezTo>
                  <a:cubicBezTo>
                    <a:pt x="244771" y="388910"/>
                    <a:pt x="250210" y="388910"/>
                    <a:pt x="252930" y="386191"/>
                  </a:cubicBezTo>
                  <a:cubicBezTo>
                    <a:pt x="258369" y="391630"/>
                    <a:pt x="261089" y="388910"/>
                    <a:pt x="261089" y="386191"/>
                  </a:cubicBezTo>
                  <a:cubicBezTo>
                    <a:pt x="261089" y="380751"/>
                    <a:pt x="258369" y="372592"/>
                    <a:pt x="258369" y="367153"/>
                  </a:cubicBezTo>
                  <a:cubicBezTo>
                    <a:pt x="255650" y="353555"/>
                    <a:pt x="252930" y="342676"/>
                    <a:pt x="252930" y="331797"/>
                  </a:cubicBezTo>
                  <a:cubicBezTo>
                    <a:pt x="252930" y="301881"/>
                    <a:pt x="252930" y="274685"/>
                    <a:pt x="250210" y="244769"/>
                  </a:cubicBezTo>
                  <a:cubicBezTo>
                    <a:pt x="250210" y="231170"/>
                    <a:pt x="247491" y="217572"/>
                    <a:pt x="244771" y="203974"/>
                  </a:cubicBezTo>
                  <a:cubicBezTo>
                    <a:pt x="242051" y="187656"/>
                    <a:pt x="239332" y="174058"/>
                    <a:pt x="239332" y="157740"/>
                  </a:cubicBezTo>
                  <a:cubicBezTo>
                    <a:pt x="239332" y="152300"/>
                    <a:pt x="239332" y="133263"/>
                    <a:pt x="236612" y="119665"/>
                  </a:cubicBezTo>
                  <a:cubicBezTo>
                    <a:pt x="236612" y="106066"/>
                    <a:pt x="233892" y="97907"/>
                    <a:pt x="228453" y="97907"/>
                  </a:cubicBezTo>
                  <a:close/>
                  <a:moveTo>
                    <a:pt x="274687" y="0"/>
                  </a:moveTo>
                  <a:cubicBezTo>
                    <a:pt x="288285" y="0"/>
                    <a:pt x="293724" y="2720"/>
                    <a:pt x="304603" y="5439"/>
                  </a:cubicBezTo>
                  <a:cubicBezTo>
                    <a:pt x="315482" y="10879"/>
                    <a:pt x="315482" y="16318"/>
                    <a:pt x="320921" y="24477"/>
                  </a:cubicBezTo>
                  <a:cubicBezTo>
                    <a:pt x="326360" y="29916"/>
                    <a:pt x="331800" y="35356"/>
                    <a:pt x="334519" y="43515"/>
                  </a:cubicBezTo>
                  <a:cubicBezTo>
                    <a:pt x="337239" y="51674"/>
                    <a:pt x="337239" y="57113"/>
                    <a:pt x="339959" y="65272"/>
                  </a:cubicBezTo>
                  <a:cubicBezTo>
                    <a:pt x="345398" y="78870"/>
                    <a:pt x="342678" y="97908"/>
                    <a:pt x="348118" y="114226"/>
                  </a:cubicBezTo>
                  <a:cubicBezTo>
                    <a:pt x="350837" y="130544"/>
                    <a:pt x="358996" y="146863"/>
                    <a:pt x="361716" y="163180"/>
                  </a:cubicBezTo>
                  <a:cubicBezTo>
                    <a:pt x="364435" y="182218"/>
                    <a:pt x="364435" y="201256"/>
                    <a:pt x="369875" y="220293"/>
                  </a:cubicBezTo>
                  <a:cubicBezTo>
                    <a:pt x="375314" y="239331"/>
                    <a:pt x="378034" y="255649"/>
                    <a:pt x="378034" y="274686"/>
                  </a:cubicBezTo>
                  <a:cubicBezTo>
                    <a:pt x="378034" y="282845"/>
                    <a:pt x="380753" y="293724"/>
                    <a:pt x="383473" y="301883"/>
                  </a:cubicBezTo>
                  <a:cubicBezTo>
                    <a:pt x="386193" y="312762"/>
                    <a:pt x="388912" y="326360"/>
                    <a:pt x="391632" y="337238"/>
                  </a:cubicBezTo>
                  <a:cubicBezTo>
                    <a:pt x="391632" y="342678"/>
                    <a:pt x="394352" y="353556"/>
                    <a:pt x="397071" y="364435"/>
                  </a:cubicBezTo>
                  <a:cubicBezTo>
                    <a:pt x="399791" y="372594"/>
                    <a:pt x="402511" y="380753"/>
                    <a:pt x="405230" y="383473"/>
                  </a:cubicBezTo>
                  <a:cubicBezTo>
                    <a:pt x="407950" y="386192"/>
                    <a:pt x="413389" y="386192"/>
                    <a:pt x="416109" y="386192"/>
                  </a:cubicBezTo>
                  <a:cubicBezTo>
                    <a:pt x="418829" y="386192"/>
                    <a:pt x="424268" y="386192"/>
                    <a:pt x="426988" y="386192"/>
                  </a:cubicBezTo>
                  <a:cubicBezTo>
                    <a:pt x="437866" y="386192"/>
                    <a:pt x="448745" y="388912"/>
                    <a:pt x="454184" y="397071"/>
                  </a:cubicBezTo>
                  <a:cubicBezTo>
                    <a:pt x="456904" y="399790"/>
                    <a:pt x="456904" y="402510"/>
                    <a:pt x="456904" y="405230"/>
                  </a:cubicBezTo>
                  <a:cubicBezTo>
                    <a:pt x="456904" y="407949"/>
                    <a:pt x="454184" y="410669"/>
                    <a:pt x="451465" y="416108"/>
                  </a:cubicBezTo>
                  <a:cubicBezTo>
                    <a:pt x="446025" y="421548"/>
                    <a:pt x="440586" y="426987"/>
                    <a:pt x="432427" y="429707"/>
                  </a:cubicBezTo>
                  <a:cubicBezTo>
                    <a:pt x="429707" y="429707"/>
                    <a:pt x="426988" y="432426"/>
                    <a:pt x="421548" y="432426"/>
                  </a:cubicBezTo>
                  <a:cubicBezTo>
                    <a:pt x="418829" y="432426"/>
                    <a:pt x="416109" y="432426"/>
                    <a:pt x="413389" y="435146"/>
                  </a:cubicBezTo>
                  <a:cubicBezTo>
                    <a:pt x="413389" y="435146"/>
                    <a:pt x="413389" y="437866"/>
                    <a:pt x="413389" y="440585"/>
                  </a:cubicBezTo>
                  <a:cubicBezTo>
                    <a:pt x="413389" y="443305"/>
                    <a:pt x="413389" y="448744"/>
                    <a:pt x="416109" y="451464"/>
                  </a:cubicBezTo>
                  <a:cubicBezTo>
                    <a:pt x="416109" y="456903"/>
                    <a:pt x="418829" y="462343"/>
                    <a:pt x="418829" y="465062"/>
                  </a:cubicBezTo>
                  <a:lnTo>
                    <a:pt x="418829" y="475941"/>
                  </a:lnTo>
                  <a:cubicBezTo>
                    <a:pt x="418829" y="481380"/>
                    <a:pt x="418829" y="484100"/>
                    <a:pt x="418829" y="486820"/>
                  </a:cubicBezTo>
                  <a:cubicBezTo>
                    <a:pt x="421548" y="497698"/>
                    <a:pt x="424268" y="505857"/>
                    <a:pt x="426988" y="516736"/>
                  </a:cubicBezTo>
                  <a:cubicBezTo>
                    <a:pt x="426988" y="524895"/>
                    <a:pt x="429707" y="535773"/>
                    <a:pt x="432427" y="543932"/>
                  </a:cubicBezTo>
                  <a:cubicBezTo>
                    <a:pt x="435147" y="554811"/>
                    <a:pt x="437866" y="562970"/>
                    <a:pt x="437866" y="573848"/>
                  </a:cubicBezTo>
                  <a:cubicBezTo>
                    <a:pt x="437866" y="587447"/>
                    <a:pt x="440586" y="595606"/>
                    <a:pt x="443306" y="606484"/>
                  </a:cubicBezTo>
                  <a:cubicBezTo>
                    <a:pt x="443306" y="609204"/>
                    <a:pt x="446025" y="614643"/>
                    <a:pt x="446025" y="617363"/>
                  </a:cubicBezTo>
                  <a:cubicBezTo>
                    <a:pt x="454184" y="617363"/>
                    <a:pt x="462343" y="617363"/>
                    <a:pt x="470502" y="617363"/>
                  </a:cubicBezTo>
                  <a:cubicBezTo>
                    <a:pt x="478661" y="625522"/>
                    <a:pt x="492259" y="630961"/>
                    <a:pt x="494979" y="641840"/>
                  </a:cubicBezTo>
                  <a:cubicBezTo>
                    <a:pt x="494979" y="647279"/>
                    <a:pt x="489540" y="649999"/>
                    <a:pt x="486820" y="655438"/>
                  </a:cubicBezTo>
                  <a:cubicBezTo>
                    <a:pt x="484100" y="660877"/>
                    <a:pt x="475942" y="663597"/>
                    <a:pt x="470502" y="663597"/>
                  </a:cubicBezTo>
                  <a:cubicBezTo>
                    <a:pt x="459623" y="666317"/>
                    <a:pt x="454184" y="666317"/>
                    <a:pt x="446025" y="666317"/>
                  </a:cubicBezTo>
                  <a:cubicBezTo>
                    <a:pt x="440586" y="666317"/>
                    <a:pt x="432427" y="666317"/>
                    <a:pt x="424268" y="666317"/>
                  </a:cubicBezTo>
                  <a:cubicBezTo>
                    <a:pt x="421548" y="666317"/>
                    <a:pt x="418829" y="666317"/>
                    <a:pt x="416109" y="666317"/>
                  </a:cubicBezTo>
                  <a:cubicBezTo>
                    <a:pt x="410670" y="669036"/>
                    <a:pt x="407950" y="669036"/>
                    <a:pt x="402511" y="671756"/>
                  </a:cubicBezTo>
                  <a:cubicBezTo>
                    <a:pt x="397071" y="671756"/>
                    <a:pt x="391632" y="674476"/>
                    <a:pt x="386193" y="674476"/>
                  </a:cubicBezTo>
                  <a:cubicBezTo>
                    <a:pt x="375314" y="674476"/>
                    <a:pt x="361716" y="671756"/>
                    <a:pt x="350837" y="669036"/>
                  </a:cubicBezTo>
                  <a:cubicBezTo>
                    <a:pt x="342678" y="669036"/>
                    <a:pt x="334519" y="669036"/>
                    <a:pt x="329080" y="669036"/>
                  </a:cubicBezTo>
                  <a:cubicBezTo>
                    <a:pt x="307323" y="669036"/>
                    <a:pt x="288285" y="669036"/>
                    <a:pt x="280126" y="669036"/>
                  </a:cubicBezTo>
                  <a:cubicBezTo>
                    <a:pt x="271967" y="669036"/>
                    <a:pt x="261088" y="669036"/>
                    <a:pt x="255649" y="663597"/>
                  </a:cubicBezTo>
                  <a:cubicBezTo>
                    <a:pt x="250210" y="660877"/>
                    <a:pt x="239331" y="655438"/>
                    <a:pt x="239331" y="647279"/>
                  </a:cubicBezTo>
                  <a:cubicBezTo>
                    <a:pt x="239331" y="636401"/>
                    <a:pt x="255649" y="633681"/>
                    <a:pt x="263808" y="630961"/>
                  </a:cubicBezTo>
                  <a:cubicBezTo>
                    <a:pt x="269247" y="630961"/>
                    <a:pt x="277406" y="630961"/>
                    <a:pt x="291005" y="628241"/>
                  </a:cubicBezTo>
                  <a:cubicBezTo>
                    <a:pt x="291005" y="620082"/>
                    <a:pt x="291005" y="614643"/>
                    <a:pt x="288285" y="609204"/>
                  </a:cubicBezTo>
                  <a:cubicBezTo>
                    <a:pt x="288285" y="601045"/>
                    <a:pt x="285565" y="590166"/>
                    <a:pt x="285565" y="582007"/>
                  </a:cubicBezTo>
                  <a:cubicBezTo>
                    <a:pt x="285565" y="576568"/>
                    <a:pt x="282846" y="573848"/>
                    <a:pt x="282846" y="568409"/>
                  </a:cubicBezTo>
                  <a:cubicBezTo>
                    <a:pt x="282846" y="562970"/>
                    <a:pt x="285565" y="557531"/>
                    <a:pt x="285565" y="554811"/>
                  </a:cubicBezTo>
                  <a:cubicBezTo>
                    <a:pt x="285565" y="549371"/>
                    <a:pt x="282846" y="546652"/>
                    <a:pt x="280126" y="538493"/>
                  </a:cubicBezTo>
                  <a:cubicBezTo>
                    <a:pt x="280126" y="527614"/>
                    <a:pt x="274687" y="516736"/>
                    <a:pt x="274687" y="505857"/>
                  </a:cubicBezTo>
                  <a:cubicBezTo>
                    <a:pt x="274687" y="494978"/>
                    <a:pt x="274687" y="486820"/>
                    <a:pt x="271967" y="478660"/>
                  </a:cubicBezTo>
                  <a:cubicBezTo>
                    <a:pt x="269247" y="467782"/>
                    <a:pt x="269247" y="456903"/>
                    <a:pt x="269247" y="446025"/>
                  </a:cubicBezTo>
                  <a:cubicBezTo>
                    <a:pt x="269247" y="440585"/>
                    <a:pt x="266528" y="437866"/>
                    <a:pt x="263808" y="437866"/>
                  </a:cubicBezTo>
                  <a:cubicBezTo>
                    <a:pt x="261088" y="437866"/>
                    <a:pt x="258369" y="437866"/>
                    <a:pt x="252929" y="437866"/>
                  </a:cubicBezTo>
                  <a:cubicBezTo>
                    <a:pt x="242051" y="437866"/>
                    <a:pt x="231172" y="437866"/>
                    <a:pt x="223013" y="440585"/>
                  </a:cubicBezTo>
                  <a:cubicBezTo>
                    <a:pt x="212135" y="440585"/>
                    <a:pt x="203976" y="443305"/>
                    <a:pt x="193097" y="443305"/>
                  </a:cubicBezTo>
                  <a:cubicBezTo>
                    <a:pt x="184938" y="443305"/>
                    <a:pt x="176779" y="443305"/>
                    <a:pt x="168620" y="443305"/>
                  </a:cubicBezTo>
                  <a:cubicBezTo>
                    <a:pt x="165900" y="443305"/>
                    <a:pt x="155021" y="440585"/>
                    <a:pt x="146862" y="440585"/>
                  </a:cubicBezTo>
                  <a:cubicBezTo>
                    <a:pt x="138703" y="440585"/>
                    <a:pt x="138703" y="448744"/>
                    <a:pt x="138703" y="454184"/>
                  </a:cubicBezTo>
                  <a:cubicBezTo>
                    <a:pt x="138703" y="465062"/>
                    <a:pt x="135983" y="475941"/>
                    <a:pt x="133263" y="486820"/>
                  </a:cubicBezTo>
                  <a:cubicBezTo>
                    <a:pt x="130544" y="505857"/>
                    <a:pt x="125105" y="522175"/>
                    <a:pt x="122385" y="541213"/>
                  </a:cubicBezTo>
                  <a:cubicBezTo>
                    <a:pt x="119665" y="560250"/>
                    <a:pt x="111506" y="595606"/>
                    <a:pt x="106067" y="614643"/>
                  </a:cubicBezTo>
                  <a:cubicBezTo>
                    <a:pt x="114226" y="614643"/>
                    <a:pt x="125105" y="614643"/>
                    <a:pt x="135983" y="614643"/>
                  </a:cubicBezTo>
                  <a:cubicBezTo>
                    <a:pt x="149581" y="614643"/>
                    <a:pt x="171340" y="614643"/>
                    <a:pt x="171340" y="630961"/>
                  </a:cubicBezTo>
                  <a:cubicBezTo>
                    <a:pt x="171340" y="639120"/>
                    <a:pt x="168620" y="639120"/>
                    <a:pt x="165900" y="647279"/>
                  </a:cubicBezTo>
                  <a:cubicBezTo>
                    <a:pt x="163181" y="652718"/>
                    <a:pt x="155021" y="655438"/>
                    <a:pt x="149581" y="655438"/>
                  </a:cubicBezTo>
                  <a:cubicBezTo>
                    <a:pt x="141423" y="658158"/>
                    <a:pt x="135983" y="658158"/>
                    <a:pt x="127824" y="658158"/>
                  </a:cubicBezTo>
                  <a:cubicBezTo>
                    <a:pt x="122385" y="658158"/>
                    <a:pt x="116946" y="658158"/>
                    <a:pt x="106067" y="658158"/>
                  </a:cubicBezTo>
                  <a:cubicBezTo>
                    <a:pt x="92469" y="658158"/>
                    <a:pt x="78870" y="658158"/>
                    <a:pt x="62552" y="658158"/>
                  </a:cubicBezTo>
                  <a:cubicBezTo>
                    <a:pt x="54393" y="658158"/>
                    <a:pt x="46234" y="658158"/>
                    <a:pt x="40795" y="658158"/>
                  </a:cubicBezTo>
                  <a:cubicBezTo>
                    <a:pt x="32636" y="658158"/>
                    <a:pt x="21758" y="658158"/>
                    <a:pt x="16318" y="652718"/>
                  </a:cubicBezTo>
                  <a:cubicBezTo>
                    <a:pt x="8159" y="649999"/>
                    <a:pt x="0" y="641840"/>
                    <a:pt x="0" y="636401"/>
                  </a:cubicBezTo>
                  <a:cubicBezTo>
                    <a:pt x="0" y="633681"/>
                    <a:pt x="0" y="630961"/>
                    <a:pt x="2720" y="628241"/>
                  </a:cubicBezTo>
                  <a:cubicBezTo>
                    <a:pt x="8159" y="625522"/>
                    <a:pt x="16318" y="622802"/>
                    <a:pt x="24477" y="620082"/>
                  </a:cubicBezTo>
                  <a:cubicBezTo>
                    <a:pt x="38075" y="617363"/>
                    <a:pt x="48954" y="617363"/>
                    <a:pt x="62552" y="617363"/>
                  </a:cubicBezTo>
                  <a:cubicBezTo>
                    <a:pt x="62552" y="617363"/>
                    <a:pt x="62552" y="614643"/>
                    <a:pt x="62552" y="614643"/>
                  </a:cubicBezTo>
                  <a:cubicBezTo>
                    <a:pt x="62552" y="603765"/>
                    <a:pt x="65272" y="590166"/>
                    <a:pt x="65272" y="587447"/>
                  </a:cubicBezTo>
                  <a:cubicBezTo>
                    <a:pt x="67992" y="565689"/>
                    <a:pt x="73431" y="543932"/>
                    <a:pt x="76151" y="522175"/>
                  </a:cubicBezTo>
                  <a:cubicBezTo>
                    <a:pt x="78870" y="505857"/>
                    <a:pt x="81590" y="486820"/>
                    <a:pt x="87029" y="470501"/>
                  </a:cubicBezTo>
                  <a:cubicBezTo>
                    <a:pt x="87029" y="465062"/>
                    <a:pt x="92469" y="451464"/>
                    <a:pt x="92469" y="446025"/>
                  </a:cubicBezTo>
                  <a:cubicBezTo>
                    <a:pt x="92469" y="437866"/>
                    <a:pt x="73431" y="437866"/>
                    <a:pt x="65272" y="432426"/>
                  </a:cubicBezTo>
                  <a:cubicBezTo>
                    <a:pt x="59833" y="429707"/>
                    <a:pt x="54393" y="426987"/>
                    <a:pt x="54393" y="421548"/>
                  </a:cubicBezTo>
                  <a:cubicBezTo>
                    <a:pt x="54393" y="413389"/>
                    <a:pt x="62552" y="410669"/>
                    <a:pt x="73431" y="407949"/>
                  </a:cubicBezTo>
                  <a:cubicBezTo>
                    <a:pt x="78870" y="407949"/>
                    <a:pt x="92469" y="405230"/>
                    <a:pt x="100628" y="399790"/>
                  </a:cubicBezTo>
                  <a:cubicBezTo>
                    <a:pt x="106067" y="394351"/>
                    <a:pt x="106067" y="378033"/>
                    <a:pt x="108787" y="369874"/>
                  </a:cubicBezTo>
                  <a:cubicBezTo>
                    <a:pt x="114226" y="348117"/>
                    <a:pt x="119665" y="326360"/>
                    <a:pt x="125105" y="307322"/>
                  </a:cubicBezTo>
                  <a:cubicBezTo>
                    <a:pt x="130544" y="285565"/>
                    <a:pt x="135983" y="263808"/>
                    <a:pt x="141423" y="242051"/>
                  </a:cubicBezTo>
                  <a:cubicBezTo>
                    <a:pt x="146862" y="220293"/>
                    <a:pt x="152301" y="198536"/>
                    <a:pt x="155021" y="179498"/>
                  </a:cubicBezTo>
                  <a:cubicBezTo>
                    <a:pt x="157740" y="160461"/>
                    <a:pt x="163181" y="138703"/>
                    <a:pt x="168620" y="119665"/>
                  </a:cubicBezTo>
                  <a:cubicBezTo>
                    <a:pt x="176779" y="100627"/>
                    <a:pt x="182218" y="76150"/>
                    <a:pt x="193097" y="57113"/>
                  </a:cubicBezTo>
                  <a:lnTo>
                    <a:pt x="201256" y="38075"/>
                  </a:lnTo>
                  <a:cubicBezTo>
                    <a:pt x="206695" y="29916"/>
                    <a:pt x="209415" y="19038"/>
                    <a:pt x="217574" y="13598"/>
                  </a:cubicBezTo>
                  <a:cubicBezTo>
                    <a:pt x="231172" y="2720"/>
                    <a:pt x="255649" y="0"/>
                    <a:pt x="274687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6" name="Freeform: Shape 35">
              <a:extLst>
                <a:ext uri="{FF2B5EF4-FFF2-40B4-BE49-F238E27FC236}">
                  <a16:creationId xmlns:a16="http://schemas.microsoft.com/office/drawing/2014/main" id="{FD6AB36C-2BB9-458F-9B65-F616640B5697}"/>
                </a:ext>
              </a:extLst>
            </p:cNvPr>
            <p:cNvSpPr/>
            <p:nvPr/>
          </p:nvSpPr>
          <p:spPr>
            <a:xfrm>
              <a:off x="3443268" y="4186718"/>
              <a:ext cx="435145" cy="761503"/>
            </a:xfrm>
            <a:custGeom>
              <a:avLst/>
              <a:gdLst>
                <a:gd name="connsiteX0" fmla="*/ 400855 w 435145"/>
                <a:gd name="connsiteY0" fmla="*/ 678260 h 761503"/>
                <a:gd name="connsiteX1" fmla="*/ 384537 w 435145"/>
                <a:gd name="connsiteY1" fmla="*/ 719054 h 761503"/>
                <a:gd name="connsiteX2" fmla="*/ 368219 w 435145"/>
                <a:gd name="connsiteY2" fmla="*/ 713615 h 761503"/>
                <a:gd name="connsiteX3" fmla="*/ 360060 w 435145"/>
                <a:gd name="connsiteY3" fmla="*/ 697297 h 761503"/>
                <a:gd name="connsiteX4" fmla="*/ 360060 w 435145"/>
                <a:gd name="connsiteY4" fmla="*/ 651063 h 761503"/>
                <a:gd name="connsiteX5" fmla="*/ 332864 w 435145"/>
                <a:gd name="connsiteY5" fmla="*/ 686418 h 761503"/>
                <a:gd name="connsiteX6" fmla="*/ 251274 w 435145"/>
                <a:gd name="connsiteY6" fmla="*/ 721774 h 761503"/>
                <a:gd name="connsiteX7" fmla="*/ 229517 w 435145"/>
                <a:gd name="connsiteY7" fmla="*/ 719054 h 761503"/>
                <a:gd name="connsiteX8" fmla="*/ 158806 w 435145"/>
                <a:gd name="connsiteY8" fmla="*/ 694578 h 761503"/>
                <a:gd name="connsiteX9" fmla="*/ 112571 w 435145"/>
                <a:gd name="connsiteY9" fmla="*/ 659222 h 761503"/>
                <a:gd name="connsiteX10" fmla="*/ 79936 w 435145"/>
                <a:gd name="connsiteY10" fmla="*/ 607548 h 761503"/>
                <a:gd name="connsiteX11" fmla="*/ 63618 w 435145"/>
                <a:gd name="connsiteY11" fmla="*/ 542277 h 761503"/>
                <a:gd name="connsiteX12" fmla="*/ 58178 w 435145"/>
                <a:gd name="connsiteY12" fmla="*/ 471566 h 761503"/>
                <a:gd name="connsiteX13" fmla="*/ 60898 w 435145"/>
                <a:gd name="connsiteY13" fmla="*/ 400855 h 761503"/>
                <a:gd name="connsiteX14" fmla="*/ 66337 w 435145"/>
                <a:gd name="connsiteY14" fmla="*/ 335583 h 761503"/>
                <a:gd name="connsiteX15" fmla="*/ 85375 w 435145"/>
                <a:gd name="connsiteY15" fmla="*/ 267592 h 761503"/>
                <a:gd name="connsiteX16" fmla="*/ 109852 w 435145"/>
                <a:gd name="connsiteY16" fmla="*/ 199600 h 761503"/>
                <a:gd name="connsiteX17" fmla="*/ 145207 w 435145"/>
                <a:gd name="connsiteY17" fmla="*/ 145207 h 761503"/>
                <a:gd name="connsiteX18" fmla="*/ 188722 w 435145"/>
                <a:gd name="connsiteY18" fmla="*/ 96253 h 761503"/>
                <a:gd name="connsiteX19" fmla="*/ 243115 w 435145"/>
                <a:gd name="connsiteY19" fmla="*/ 71776 h 761503"/>
                <a:gd name="connsiteX20" fmla="*/ 286630 w 435145"/>
                <a:gd name="connsiteY20" fmla="*/ 63617 h 761503"/>
                <a:gd name="connsiteX21" fmla="*/ 305667 w 435145"/>
                <a:gd name="connsiteY21" fmla="*/ 66337 h 761503"/>
                <a:gd name="connsiteX22" fmla="*/ 324705 w 435145"/>
                <a:gd name="connsiteY22" fmla="*/ 79936 h 761503"/>
                <a:gd name="connsiteX23" fmla="*/ 341023 w 435145"/>
                <a:gd name="connsiteY23" fmla="*/ 101693 h 761503"/>
                <a:gd name="connsiteX24" fmla="*/ 354621 w 435145"/>
                <a:gd name="connsiteY24" fmla="*/ 123450 h 761503"/>
                <a:gd name="connsiteX25" fmla="*/ 354621 w 435145"/>
                <a:gd name="connsiteY25" fmla="*/ 98973 h 761503"/>
                <a:gd name="connsiteX26" fmla="*/ 360060 w 435145"/>
                <a:gd name="connsiteY26" fmla="*/ 74496 h 761503"/>
                <a:gd name="connsiteX27" fmla="*/ 365500 w 435145"/>
                <a:gd name="connsiteY27" fmla="*/ 63617 h 761503"/>
                <a:gd name="connsiteX28" fmla="*/ 373659 w 435145"/>
                <a:gd name="connsiteY28" fmla="*/ 58178 h 761503"/>
                <a:gd name="connsiteX29" fmla="*/ 381818 w 435145"/>
                <a:gd name="connsiteY29" fmla="*/ 63617 h 761503"/>
                <a:gd name="connsiteX30" fmla="*/ 389977 w 435145"/>
                <a:gd name="connsiteY30" fmla="*/ 82655 h 761503"/>
                <a:gd name="connsiteX31" fmla="*/ 392696 w 435145"/>
                <a:gd name="connsiteY31" fmla="*/ 126170 h 761503"/>
                <a:gd name="connsiteX32" fmla="*/ 395416 w 435145"/>
                <a:gd name="connsiteY32" fmla="*/ 186002 h 761503"/>
                <a:gd name="connsiteX33" fmla="*/ 398136 w 435145"/>
                <a:gd name="connsiteY33" fmla="*/ 237675 h 761503"/>
                <a:gd name="connsiteX34" fmla="*/ 398136 w 435145"/>
                <a:gd name="connsiteY34" fmla="*/ 243115 h 761503"/>
                <a:gd name="connsiteX35" fmla="*/ 395416 w 435145"/>
                <a:gd name="connsiteY35" fmla="*/ 256713 h 761503"/>
                <a:gd name="connsiteX36" fmla="*/ 379098 w 435145"/>
                <a:gd name="connsiteY36" fmla="*/ 278470 h 761503"/>
                <a:gd name="connsiteX37" fmla="*/ 362780 w 435145"/>
                <a:gd name="connsiteY37" fmla="*/ 273031 h 761503"/>
                <a:gd name="connsiteX38" fmla="*/ 354621 w 435145"/>
                <a:gd name="connsiteY38" fmla="*/ 256713 h 761503"/>
                <a:gd name="connsiteX39" fmla="*/ 354621 w 435145"/>
                <a:gd name="connsiteY39" fmla="*/ 213198 h 761503"/>
                <a:gd name="connsiteX40" fmla="*/ 354621 w 435145"/>
                <a:gd name="connsiteY40" fmla="*/ 205040 h 761503"/>
                <a:gd name="connsiteX41" fmla="*/ 338303 w 435145"/>
                <a:gd name="connsiteY41" fmla="*/ 147927 h 761503"/>
                <a:gd name="connsiteX42" fmla="*/ 292069 w 435145"/>
                <a:gd name="connsiteY42" fmla="*/ 107132 h 761503"/>
                <a:gd name="connsiteX43" fmla="*/ 262153 w 435145"/>
                <a:gd name="connsiteY43" fmla="*/ 120730 h 761503"/>
                <a:gd name="connsiteX44" fmla="*/ 251274 w 435145"/>
                <a:gd name="connsiteY44" fmla="*/ 131609 h 761503"/>
                <a:gd name="connsiteX45" fmla="*/ 240395 w 435145"/>
                <a:gd name="connsiteY45" fmla="*/ 139768 h 761503"/>
                <a:gd name="connsiteX46" fmla="*/ 237676 w 435145"/>
                <a:gd name="connsiteY46" fmla="*/ 164245 h 761503"/>
                <a:gd name="connsiteX47" fmla="*/ 226797 w 435145"/>
                <a:gd name="connsiteY47" fmla="*/ 196881 h 761503"/>
                <a:gd name="connsiteX48" fmla="*/ 213199 w 435145"/>
                <a:gd name="connsiteY48" fmla="*/ 259433 h 761503"/>
                <a:gd name="connsiteX49" fmla="*/ 207759 w 435145"/>
                <a:gd name="connsiteY49" fmla="*/ 324704 h 761503"/>
                <a:gd name="connsiteX50" fmla="*/ 207759 w 435145"/>
                <a:gd name="connsiteY50" fmla="*/ 335583 h 761503"/>
                <a:gd name="connsiteX51" fmla="*/ 205040 w 435145"/>
                <a:gd name="connsiteY51" fmla="*/ 349181 h 761503"/>
                <a:gd name="connsiteX52" fmla="*/ 207759 w 435145"/>
                <a:gd name="connsiteY52" fmla="*/ 368219 h 761503"/>
                <a:gd name="connsiteX53" fmla="*/ 207759 w 435145"/>
                <a:gd name="connsiteY53" fmla="*/ 376378 h 761503"/>
                <a:gd name="connsiteX54" fmla="*/ 205040 w 435145"/>
                <a:gd name="connsiteY54" fmla="*/ 387256 h 761503"/>
                <a:gd name="connsiteX55" fmla="*/ 205040 w 435145"/>
                <a:gd name="connsiteY55" fmla="*/ 395415 h 761503"/>
                <a:gd name="connsiteX56" fmla="*/ 205040 w 435145"/>
                <a:gd name="connsiteY56" fmla="*/ 406294 h 761503"/>
                <a:gd name="connsiteX57" fmla="*/ 205040 w 435145"/>
                <a:gd name="connsiteY57" fmla="*/ 425332 h 761503"/>
                <a:gd name="connsiteX58" fmla="*/ 213199 w 435145"/>
                <a:gd name="connsiteY58" fmla="*/ 493323 h 761503"/>
                <a:gd name="connsiteX59" fmla="*/ 221358 w 435145"/>
                <a:gd name="connsiteY59" fmla="*/ 561314 h 761503"/>
                <a:gd name="connsiteX60" fmla="*/ 226797 w 435145"/>
                <a:gd name="connsiteY60" fmla="*/ 591231 h 761503"/>
                <a:gd name="connsiteX61" fmla="*/ 240395 w 435145"/>
                <a:gd name="connsiteY61" fmla="*/ 618427 h 761503"/>
                <a:gd name="connsiteX62" fmla="*/ 283910 w 435145"/>
                <a:gd name="connsiteY62" fmla="*/ 651063 h 761503"/>
                <a:gd name="connsiteX63" fmla="*/ 338303 w 435145"/>
                <a:gd name="connsiteY63" fmla="*/ 612988 h 761503"/>
                <a:gd name="connsiteX64" fmla="*/ 354621 w 435145"/>
                <a:gd name="connsiteY64" fmla="*/ 577632 h 761503"/>
                <a:gd name="connsiteX65" fmla="*/ 357341 w 435145"/>
                <a:gd name="connsiteY65" fmla="*/ 509641 h 761503"/>
                <a:gd name="connsiteX66" fmla="*/ 362780 w 435145"/>
                <a:gd name="connsiteY66" fmla="*/ 485164 h 761503"/>
                <a:gd name="connsiteX67" fmla="*/ 368219 w 435145"/>
                <a:gd name="connsiteY67" fmla="*/ 474286 h 761503"/>
                <a:gd name="connsiteX68" fmla="*/ 376378 w 435145"/>
                <a:gd name="connsiteY68" fmla="*/ 468846 h 761503"/>
                <a:gd name="connsiteX69" fmla="*/ 384537 w 435145"/>
                <a:gd name="connsiteY69" fmla="*/ 474286 h 761503"/>
                <a:gd name="connsiteX70" fmla="*/ 392696 w 435145"/>
                <a:gd name="connsiteY70" fmla="*/ 493323 h 761503"/>
                <a:gd name="connsiteX71" fmla="*/ 395416 w 435145"/>
                <a:gd name="connsiteY71" fmla="*/ 558595 h 761503"/>
                <a:gd name="connsiteX72" fmla="*/ 398136 w 435145"/>
                <a:gd name="connsiteY72" fmla="*/ 618427 h 761503"/>
                <a:gd name="connsiteX73" fmla="*/ 400855 w 435145"/>
                <a:gd name="connsiteY73" fmla="*/ 678260 h 761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</a:cxnLst>
              <a:rect l="l" t="t" r="r" b="b"/>
              <a:pathLst>
                <a:path w="435145" h="761503">
                  <a:moveTo>
                    <a:pt x="400855" y="678260"/>
                  </a:moveTo>
                  <a:cubicBezTo>
                    <a:pt x="400855" y="689138"/>
                    <a:pt x="400855" y="719054"/>
                    <a:pt x="384537" y="719054"/>
                  </a:cubicBezTo>
                  <a:cubicBezTo>
                    <a:pt x="376378" y="719054"/>
                    <a:pt x="373659" y="716335"/>
                    <a:pt x="368219" y="713615"/>
                  </a:cubicBezTo>
                  <a:cubicBezTo>
                    <a:pt x="362780" y="710895"/>
                    <a:pt x="360060" y="702736"/>
                    <a:pt x="360060" y="697297"/>
                  </a:cubicBezTo>
                  <a:cubicBezTo>
                    <a:pt x="357341" y="680979"/>
                    <a:pt x="357341" y="664661"/>
                    <a:pt x="360060" y="651063"/>
                  </a:cubicBezTo>
                  <a:cubicBezTo>
                    <a:pt x="354621" y="659222"/>
                    <a:pt x="341023" y="678260"/>
                    <a:pt x="332864" y="686418"/>
                  </a:cubicBezTo>
                  <a:cubicBezTo>
                    <a:pt x="311107" y="708176"/>
                    <a:pt x="283910" y="721774"/>
                    <a:pt x="251274" y="721774"/>
                  </a:cubicBezTo>
                  <a:cubicBezTo>
                    <a:pt x="243115" y="721774"/>
                    <a:pt x="237676" y="721774"/>
                    <a:pt x="229517" y="719054"/>
                  </a:cubicBezTo>
                  <a:cubicBezTo>
                    <a:pt x="207759" y="716335"/>
                    <a:pt x="183283" y="708176"/>
                    <a:pt x="158806" y="694578"/>
                  </a:cubicBezTo>
                  <a:cubicBezTo>
                    <a:pt x="142488" y="686418"/>
                    <a:pt x="126170" y="672820"/>
                    <a:pt x="112571" y="659222"/>
                  </a:cubicBezTo>
                  <a:cubicBezTo>
                    <a:pt x="98973" y="642904"/>
                    <a:pt x="88095" y="626586"/>
                    <a:pt x="79936" y="607548"/>
                  </a:cubicBezTo>
                  <a:cubicBezTo>
                    <a:pt x="71777" y="585791"/>
                    <a:pt x="66337" y="566754"/>
                    <a:pt x="63618" y="542277"/>
                  </a:cubicBezTo>
                  <a:cubicBezTo>
                    <a:pt x="60898" y="517800"/>
                    <a:pt x="58178" y="493323"/>
                    <a:pt x="58178" y="471566"/>
                  </a:cubicBezTo>
                  <a:cubicBezTo>
                    <a:pt x="58178" y="447089"/>
                    <a:pt x="58178" y="425332"/>
                    <a:pt x="60898" y="400855"/>
                  </a:cubicBezTo>
                  <a:cubicBezTo>
                    <a:pt x="63618" y="379098"/>
                    <a:pt x="60898" y="357340"/>
                    <a:pt x="66337" y="335583"/>
                  </a:cubicBezTo>
                  <a:cubicBezTo>
                    <a:pt x="69057" y="313826"/>
                    <a:pt x="77216" y="289349"/>
                    <a:pt x="85375" y="267592"/>
                  </a:cubicBezTo>
                  <a:cubicBezTo>
                    <a:pt x="93534" y="243115"/>
                    <a:pt x="98973" y="221357"/>
                    <a:pt x="109852" y="199600"/>
                  </a:cubicBezTo>
                  <a:cubicBezTo>
                    <a:pt x="118011" y="177843"/>
                    <a:pt x="131609" y="161525"/>
                    <a:pt x="145207" y="145207"/>
                  </a:cubicBezTo>
                  <a:cubicBezTo>
                    <a:pt x="158806" y="128889"/>
                    <a:pt x="172404" y="109852"/>
                    <a:pt x="188722" y="96253"/>
                  </a:cubicBezTo>
                  <a:cubicBezTo>
                    <a:pt x="205040" y="82655"/>
                    <a:pt x="224077" y="77216"/>
                    <a:pt x="243115" y="71776"/>
                  </a:cubicBezTo>
                  <a:cubicBezTo>
                    <a:pt x="256713" y="69057"/>
                    <a:pt x="273031" y="63617"/>
                    <a:pt x="286630" y="63617"/>
                  </a:cubicBezTo>
                  <a:cubicBezTo>
                    <a:pt x="292069" y="63617"/>
                    <a:pt x="297508" y="63617"/>
                    <a:pt x="305667" y="66337"/>
                  </a:cubicBezTo>
                  <a:cubicBezTo>
                    <a:pt x="313826" y="69057"/>
                    <a:pt x="319266" y="74496"/>
                    <a:pt x="324705" y="79936"/>
                  </a:cubicBezTo>
                  <a:cubicBezTo>
                    <a:pt x="332864" y="85375"/>
                    <a:pt x="332864" y="93534"/>
                    <a:pt x="341023" y="101693"/>
                  </a:cubicBezTo>
                  <a:cubicBezTo>
                    <a:pt x="346462" y="107132"/>
                    <a:pt x="349182" y="118011"/>
                    <a:pt x="354621" y="123450"/>
                  </a:cubicBezTo>
                  <a:cubicBezTo>
                    <a:pt x="354621" y="115291"/>
                    <a:pt x="354621" y="101693"/>
                    <a:pt x="354621" y="98973"/>
                  </a:cubicBezTo>
                  <a:cubicBezTo>
                    <a:pt x="354621" y="90814"/>
                    <a:pt x="354621" y="79936"/>
                    <a:pt x="360060" y="74496"/>
                  </a:cubicBezTo>
                  <a:cubicBezTo>
                    <a:pt x="362780" y="71776"/>
                    <a:pt x="362780" y="69057"/>
                    <a:pt x="365500" y="63617"/>
                  </a:cubicBezTo>
                  <a:cubicBezTo>
                    <a:pt x="368219" y="60898"/>
                    <a:pt x="370939" y="58178"/>
                    <a:pt x="373659" y="58178"/>
                  </a:cubicBezTo>
                  <a:cubicBezTo>
                    <a:pt x="376378" y="58178"/>
                    <a:pt x="379098" y="60898"/>
                    <a:pt x="381818" y="63617"/>
                  </a:cubicBezTo>
                  <a:cubicBezTo>
                    <a:pt x="384537" y="69057"/>
                    <a:pt x="387257" y="77216"/>
                    <a:pt x="389977" y="82655"/>
                  </a:cubicBezTo>
                  <a:cubicBezTo>
                    <a:pt x="389977" y="90814"/>
                    <a:pt x="392696" y="107132"/>
                    <a:pt x="392696" y="126170"/>
                  </a:cubicBezTo>
                  <a:cubicBezTo>
                    <a:pt x="392696" y="150647"/>
                    <a:pt x="392696" y="177843"/>
                    <a:pt x="395416" y="186002"/>
                  </a:cubicBezTo>
                  <a:cubicBezTo>
                    <a:pt x="398136" y="205040"/>
                    <a:pt x="398136" y="215918"/>
                    <a:pt x="398136" y="237675"/>
                  </a:cubicBezTo>
                  <a:cubicBezTo>
                    <a:pt x="398136" y="240395"/>
                    <a:pt x="398136" y="243115"/>
                    <a:pt x="398136" y="243115"/>
                  </a:cubicBezTo>
                  <a:cubicBezTo>
                    <a:pt x="398136" y="248554"/>
                    <a:pt x="398136" y="251274"/>
                    <a:pt x="395416" y="256713"/>
                  </a:cubicBezTo>
                  <a:cubicBezTo>
                    <a:pt x="392696" y="267592"/>
                    <a:pt x="389977" y="278470"/>
                    <a:pt x="379098" y="278470"/>
                  </a:cubicBezTo>
                  <a:cubicBezTo>
                    <a:pt x="370939" y="278470"/>
                    <a:pt x="368219" y="275751"/>
                    <a:pt x="362780" y="273031"/>
                  </a:cubicBezTo>
                  <a:cubicBezTo>
                    <a:pt x="357341" y="270311"/>
                    <a:pt x="354621" y="262152"/>
                    <a:pt x="354621" y="256713"/>
                  </a:cubicBezTo>
                  <a:cubicBezTo>
                    <a:pt x="349182" y="237675"/>
                    <a:pt x="354621" y="232236"/>
                    <a:pt x="354621" y="213198"/>
                  </a:cubicBezTo>
                  <a:cubicBezTo>
                    <a:pt x="354621" y="210479"/>
                    <a:pt x="354621" y="207759"/>
                    <a:pt x="354621" y="205040"/>
                  </a:cubicBezTo>
                  <a:cubicBezTo>
                    <a:pt x="349182" y="186002"/>
                    <a:pt x="343742" y="169684"/>
                    <a:pt x="338303" y="147927"/>
                  </a:cubicBezTo>
                  <a:cubicBezTo>
                    <a:pt x="332864" y="131609"/>
                    <a:pt x="311107" y="107132"/>
                    <a:pt x="292069" y="107132"/>
                  </a:cubicBezTo>
                  <a:cubicBezTo>
                    <a:pt x="281190" y="107132"/>
                    <a:pt x="270312" y="115291"/>
                    <a:pt x="262153" y="120730"/>
                  </a:cubicBezTo>
                  <a:cubicBezTo>
                    <a:pt x="259433" y="123450"/>
                    <a:pt x="256713" y="126170"/>
                    <a:pt x="251274" y="131609"/>
                  </a:cubicBezTo>
                  <a:cubicBezTo>
                    <a:pt x="248554" y="134329"/>
                    <a:pt x="243115" y="137048"/>
                    <a:pt x="240395" y="139768"/>
                  </a:cubicBezTo>
                  <a:cubicBezTo>
                    <a:pt x="237676" y="145207"/>
                    <a:pt x="240395" y="156086"/>
                    <a:pt x="237676" y="164245"/>
                  </a:cubicBezTo>
                  <a:cubicBezTo>
                    <a:pt x="232236" y="175123"/>
                    <a:pt x="229517" y="186002"/>
                    <a:pt x="226797" y="196881"/>
                  </a:cubicBezTo>
                  <a:cubicBezTo>
                    <a:pt x="221358" y="218638"/>
                    <a:pt x="218638" y="237675"/>
                    <a:pt x="213199" y="259433"/>
                  </a:cubicBezTo>
                  <a:cubicBezTo>
                    <a:pt x="210479" y="281190"/>
                    <a:pt x="207759" y="302947"/>
                    <a:pt x="207759" y="324704"/>
                  </a:cubicBezTo>
                  <a:cubicBezTo>
                    <a:pt x="207759" y="327424"/>
                    <a:pt x="207759" y="332863"/>
                    <a:pt x="207759" y="335583"/>
                  </a:cubicBezTo>
                  <a:cubicBezTo>
                    <a:pt x="207759" y="341022"/>
                    <a:pt x="205040" y="343742"/>
                    <a:pt x="205040" y="349181"/>
                  </a:cubicBezTo>
                  <a:cubicBezTo>
                    <a:pt x="205040" y="354621"/>
                    <a:pt x="207759" y="362779"/>
                    <a:pt x="207759" y="368219"/>
                  </a:cubicBezTo>
                  <a:cubicBezTo>
                    <a:pt x="207759" y="370939"/>
                    <a:pt x="207759" y="373658"/>
                    <a:pt x="207759" y="376378"/>
                  </a:cubicBezTo>
                  <a:cubicBezTo>
                    <a:pt x="205040" y="381817"/>
                    <a:pt x="205040" y="384537"/>
                    <a:pt x="205040" y="387256"/>
                  </a:cubicBezTo>
                  <a:cubicBezTo>
                    <a:pt x="205040" y="389976"/>
                    <a:pt x="205040" y="392696"/>
                    <a:pt x="205040" y="395415"/>
                  </a:cubicBezTo>
                  <a:cubicBezTo>
                    <a:pt x="205040" y="398135"/>
                    <a:pt x="205040" y="403574"/>
                    <a:pt x="205040" y="406294"/>
                  </a:cubicBezTo>
                  <a:cubicBezTo>
                    <a:pt x="205040" y="411733"/>
                    <a:pt x="205040" y="417173"/>
                    <a:pt x="205040" y="425332"/>
                  </a:cubicBezTo>
                  <a:cubicBezTo>
                    <a:pt x="205040" y="449809"/>
                    <a:pt x="213199" y="471566"/>
                    <a:pt x="213199" y="493323"/>
                  </a:cubicBezTo>
                  <a:cubicBezTo>
                    <a:pt x="213199" y="517800"/>
                    <a:pt x="215919" y="539557"/>
                    <a:pt x="221358" y="561314"/>
                  </a:cubicBezTo>
                  <a:cubicBezTo>
                    <a:pt x="224077" y="572193"/>
                    <a:pt x="224077" y="580352"/>
                    <a:pt x="226797" y="591231"/>
                  </a:cubicBezTo>
                  <a:cubicBezTo>
                    <a:pt x="229517" y="599390"/>
                    <a:pt x="237676" y="607548"/>
                    <a:pt x="240395" y="618427"/>
                  </a:cubicBezTo>
                  <a:cubicBezTo>
                    <a:pt x="248554" y="637465"/>
                    <a:pt x="262153" y="651063"/>
                    <a:pt x="283910" y="651063"/>
                  </a:cubicBezTo>
                  <a:cubicBezTo>
                    <a:pt x="302948" y="651063"/>
                    <a:pt x="330144" y="629306"/>
                    <a:pt x="338303" y="612988"/>
                  </a:cubicBezTo>
                  <a:cubicBezTo>
                    <a:pt x="346462" y="599390"/>
                    <a:pt x="351901" y="591231"/>
                    <a:pt x="354621" y="577632"/>
                  </a:cubicBezTo>
                  <a:cubicBezTo>
                    <a:pt x="354621" y="550436"/>
                    <a:pt x="354621" y="517800"/>
                    <a:pt x="357341" y="509641"/>
                  </a:cubicBezTo>
                  <a:cubicBezTo>
                    <a:pt x="357341" y="501482"/>
                    <a:pt x="357341" y="490603"/>
                    <a:pt x="362780" y="485164"/>
                  </a:cubicBezTo>
                  <a:cubicBezTo>
                    <a:pt x="365500" y="482444"/>
                    <a:pt x="365500" y="479725"/>
                    <a:pt x="368219" y="474286"/>
                  </a:cubicBezTo>
                  <a:cubicBezTo>
                    <a:pt x="370939" y="471566"/>
                    <a:pt x="373659" y="468846"/>
                    <a:pt x="376378" y="468846"/>
                  </a:cubicBezTo>
                  <a:cubicBezTo>
                    <a:pt x="379098" y="468846"/>
                    <a:pt x="381818" y="471566"/>
                    <a:pt x="384537" y="474286"/>
                  </a:cubicBezTo>
                  <a:cubicBezTo>
                    <a:pt x="387257" y="479725"/>
                    <a:pt x="389977" y="487884"/>
                    <a:pt x="392696" y="493323"/>
                  </a:cubicBezTo>
                  <a:cubicBezTo>
                    <a:pt x="392696" y="501482"/>
                    <a:pt x="395416" y="539557"/>
                    <a:pt x="395416" y="558595"/>
                  </a:cubicBezTo>
                  <a:cubicBezTo>
                    <a:pt x="395416" y="583072"/>
                    <a:pt x="395416" y="610268"/>
                    <a:pt x="398136" y="618427"/>
                  </a:cubicBezTo>
                  <a:cubicBezTo>
                    <a:pt x="398136" y="648343"/>
                    <a:pt x="400855" y="659222"/>
                    <a:pt x="400855" y="678260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7" name="Freeform: Shape 36">
              <a:extLst>
                <a:ext uri="{FF2B5EF4-FFF2-40B4-BE49-F238E27FC236}">
                  <a16:creationId xmlns:a16="http://schemas.microsoft.com/office/drawing/2014/main" id="{77CD6E50-E0F0-4933-B850-6730D4173539}"/>
                </a:ext>
              </a:extLst>
            </p:cNvPr>
            <p:cNvSpPr/>
            <p:nvPr/>
          </p:nvSpPr>
          <p:spPr>
            <a:xfrm>
              <a:off x="3829459" y="4200317"/>
              <a:ext cx="598325" cy="761503"/>
            </a:xfrm>
            <a:custGeom>
              <a:avLst/>
              <a:gdLst>
                <a:gd name="connsiteX0" fmla="*/ 360060 w 598324"/>
                <a:gd name="connsiteY0" fmla="*/ 332863 h 761503"/>
                <a:gd name="connsiteX1" fmla="*/ 341023 w 598324"/>
                <a:gd name="connsiteY1" fmla="*/ 370939 h 761503"/>
                <a:gd name="connsiteX2" fmla="*/ 376378 w 598324"/>
                <a:gd name="connsiteY2" fmla="*/ 389976 h 761503"/>
                <a:gd name="connsiteX3" fmla="*/ 425332 w 598324"/>
                <a:gd name="connsiteY3" fmla="*/ 433491 h 761503"/>
                <a:gd name="connsiteX4" fmla="*/ 438930 w 598324"/>
                <a:gd name="connsiteY4" fmla="*/ 463407 h 761503"/>
                <a:gd name="connsiteX5" fmla="*/ 449809 w 598324"/>
                <a:gd name="connsiteY5" fmla="*/ 498762 h 761503"/>
                <a:gd name="connsiteX6" fmla="*/ 457968 w 598324"/>
                <a:gd name="connsiteY6" fmla="*/ 528679 h 761503"/>
                <a:gd name="connsiteX7" fmla="*/ 466127 w 598324"/>
                <a:gd name="connsiteY7" fmla="*/ 564034 h 761503"/>
                <a:gd name="connsiteX8" fmla="*/ 471566 w 598324"/>
                <a:gd name="connsiteY8" fmla="*/ 593950 h 761503"/>
                <a:gd name="connsiteX9" fmla="*/ 479725 w 598324"/>
                <a:gd name="connsiteY9" fmla="*/ 607548 h 761503"/>
                <a:gd name="connsiteX10" fmla="*/ 487884 w 598324"/>
                <a:gd name="connsiteY10" fmla="*/ 623867 h 761503"/>
                <a:gd name="connsiteX11" fmla="*/ 501482 w 598324"/>
                <a:gd name="connsiteY11" fmla="*/ 651063 h 761503"/>
                <a:gd name="connsiteX12" fmla="*/ 523240 w 598324"/>
                <a:gd name="connsiteY12" fmla="*/ 670101 h 761503"/>
                <a:gd name="connsiteX13" fmla="*/ 534119 w 598324"/>
                <a:gd name="connsiteY13" fmla="*/ 686418 h 761503"/>
                <a:gd name="connsiteX14" fmla="*/ 531399 w 598324"/>
                <a:gd name="connsiteY14" fmla="*/ 694578 h 761503"/>
                <a:gd name="connsiteX15" fmla="*/ 498763 w 598324"/>
                <a:gd name="connsiteY15" fmla="*/ 708176 h 761503"/>
                <a:gd name="connsiteX16" fmla="*/ 449809 w 598324"/>
                <a:gd name="connsiteY16" fmla="*/ 700017 h 761503"/>
                <a:gd name="connsiteX17" fmla="*/ 400855 w 598324"/>
                <a:gd name="connsiteY17" fmla="*/ 667381 h 761503"/>
                <a:gd name="connsiteX18" fmla="*/ 381817 w 598324"/>
                <a:gd name="connsiteY18" fmla="*/ 642904 h 761503"/>
                <a:gd name="connsiteX19" fmla="*/ 368219 w 598324"/>
                <a:gd name="connsiteY19" fmla="*/ 610268 h 761503"/>
                <a:gd name="connsiteX20" fmla="*/ 349182 w 598324"/>
                <a:gd name="connsiteY20" fmla="*/ 550436 h 761503"/>
                <a:gd name="connsiteX21" fmla="*/ 338303 w 598324"/>
                <a:gd name="connsiteY21" fmla="*/ 504202 h 761503"/>
                <a:gd name="connsiteX22" fmla="*/ 330144 w 598324"/>
                <a:gd name="connsiteY22" fmla="*/ 477005 h 761503"/>
                <a:gd name="connsiteX23" fmla="*/ 321985 w 598324"/>
                <a:gd name="connsiteY23" fmla="*/ 455248 h 761503"/>
                <a:gd name="connsiteX24" fmla="*/ 305667 w 598324"/>
                <a:gd name="connsiteY24" fmla="*/ 436210 h 761503"/>
                <a:gd name="connsiteX25" fmla="*/ 294788 w 598324"/>
                <a:gd name="connsiteY25" fmla="*/ 441650 h 761503"/>
                <a:gd name="connsiteX26" fmla="*/ 278471 w 598324"/>
                <a:gd name="connsiteY26" fmla="*/ 463407 h 761503"/>
                <a:gd name="connsiteX27" fmla="*/ 264872 w 598324"/>
                <a:gd name="connsiteY27" fmla="*/ 496043 h 761503"/>
                <a:gd name="connsiteX28" fmla="*/ 262153 w 598324"/>
                <a:gd name="connsiteY28" fmla="*/ 517800 h 761503"/>
                <a:gd name="connsiteX29" fmla="*/ 262153 w 598324"/>
                <a:gd name="connsiteY29" fmla="*/ 523239 h 761503"/>
                <a:gd name="connsiteX30" fmla="*/ 262153 w 598324"/>
                <a:gd name="connsiteY30" fmla="*/ 553155 h 761503"/>
                <a:gd name="connsiteX31" fmla="*/ 262153 w 598324"/>
                <a:gd name="connsiteY31" fmla="*/ 629306 h 761503"/>
                <a:gd name="connsiteX32" fmla="*/ 259433 w 598324"/>
                <a:gd name="connsiteY32" fmla="*/ 659222 h 761503"/>
                <a:gd name="connsiteX33" fmla="*/ 283910 w 598324"/>
                <a:gd name="connsiteY33" fmla="*/ 659222 h 761503"/>
                <a:gd name="connsiteX34" fmla="*/ 321985 w 598324"/>
                <a:gd name="connsiteY34" fmla="*/ 675540 h 761503"/>
                <a:gd name="connsiteX35" fmla="*/ 316546 w 598324"/>
                <a:gd name="connsiteY35" fmla="*/ 691858 h 761503"/>
                <a:gd name="connsiteX36" fmla="*/ 300228 w 598324"/>
                <a:gd name="connsiteY36" fmla="*/ 700017 h 761503"/>
                <a:gd name="connsiteX37" fmla="*/ 278471 w 598324"/>
                <a:gd name="connsiteY37" fmla="*/ 702736 h 761503"/>
                <a:gd name="connsiteX38" fmla="*/ 243115 w 598324"/>
                <a:gd name="connsiteY38" fmla="*/ 702736 h 761503"/>
                <a:gd name="connsiteX39" fmla="*/ 221358 w 598324"/>
                <a:gd name="connsiteY39" fmla="*/ 710895 h 761503"/>
                <a:gd name="connsiteX40" fmla="*/ 194161 w 598324"/>
                <a:gd name="connsiteY40" fmla="*/ 702736 h 761503"/>
                <a:gd name="connsiteX41" fmla="*/ 177843 w 598324"/>
                <a:gd name="connsiteY41" fmla="*/ 702736 h 761503"/>
                <a:gd name="connsiteX42" fmla="*/ 126170 w 598324"/>
                <a:gd name="connsiteY42" fmla="*/ 702736 h 761503"/>
                <a:gd name="connsiteX43" fmla="*/ 101693 w 598324"/>
                <a:gd name="connsiteY43" fmla="*/ 702736 h 761503"/>
                <a:gd name="connsiteX44" fmla="*/ 74496 w 598324"/>
                <a:gd name="connsiteY44" fmla="*/ 697297 h 761503"/>
                <a:gd name="connsiteX45" fmla="*/ 58178 w 598324"/>
                <a:gd name="connsiteY45" fmla="*/ 680979 h 761503"/>
                <a:gd name="connsiteX46" fmla="*/ 63617 w 598324"/>
                <a:gd name="connsiteY46" fmla="*/ 672820 h 761503"/>
                <a:gd name="connsiteX47" fmla="*/ 85375 w 598324"/>
                <a:gd name="connsiteY47" fmla="*/ 664661 h 761503"/>
                <a:gd name="connsiteX48" fmla="*/ 128889 w 598324"/>
                <a:gd name="connsiteY48" fmla="*/ 659222 h 761503"/>
                <a:gd name="connsiteX49" fmla="*/ 147927 w 598324"/>
                <a:gd name="connsiteY49" fmla="*/ 659222 h 761503"/>
                <a:gd name="connsiteX50" fmla="*/ 145207 w 598324"/>
                <a:gd name="connsiteY50" fmla="*/ 653783 h 761503"/>
                <a:gd name="connsiteX51" fmla="*/ 131609 w 598324"/>
                <a:gd name="connsiteY51" fmla="*/ 585791 h 761503"/>
                <a:gd name="connsiteX52" fmla="*/ 134329 w 598324"/>
                <a:gd name="connsiteY52" fmla="*/ 498762 h 761503"/>
                <a:gd name="connsiteX53" fmla="*/ 137048 w 598324"/>
                <a:gd name="connsiteY53" fmla="*/ 406294 h 761503"/>
                <a:gd name="connsiteX54" fmla="*/ 134329 w 598324"/>
                <a:gd name="connsiteY54" fmla="*/ 327424 h 761503"/>
                <a:gd name="connsiteX55" fmla="*/ 137048 w 598324"/>
                <a:gd name="connsiteY55" fmla="*/ 253993 h 761503"/>
                <a:gd name="connsiteX56" fmla="*/ 139768 w 598324"/>
                <a:gd name="connsiteY56" fmla="*/ 207759 h 761503"/>
                <a:gd name="connsiteX57" fmla="*/ 137048 w 598324"/>
                <a:gd name="connsiteY57" fmla="*/ 172404 h 761503"/>
                <a:gd name="connsiteX58" fmla="*/ 137048 w 598324"/>
                <a:gd name="connsiteY58" fmla="*/ 112571 h 761503"/>
                <a:gd name="connsiteX59" fmla="*/ 126170 w 598324"/>
                <a:gd name="connsiteY59" fmla="*/ 112571 h 761503"/>
                <a:gd name="connsiteX60" fmla="*/ 101693 w 598324"/>
                <a:gd name="connsiteY60" fmla="*/ 112571 h 761503"/>
                <a:gd name="connsiteX61" fmla="*/ 74496 w 598324"/>
                <a:gd name="connsiteY61" fmla="*/ 107132 h 761503"/>
                <a:gd name="connsiteX62" fmla="*/ 58178 w 598324"/>
                <a:gd name="connsiteY62" fmla="*/ 90814 h 761503"/>
                <a:gd name="connsiteX63" fmla="*/ 63617 w 598324"/>
                <a:gd name="connsiteY63" fmla="*/ 82655 h 761503"/>
                <a:gd name="connsiteX64" fmla="*/ 85375 w 598324"/>
                <a:gd name="connsiteY64" fmla="*/ 74496 h 761503"/>
                <a:gd name="connsiteX65" fmla="*/ 137048 w 598324"/>
                <a:gd name="connsiteY65" fmla="*/ 69057 h 761503"/>
                <a:gd name="connsiteX66" fmla="*/ 145207 w 598324"/>
                <a:gd name="connsiteY66" fmla="*/ 69057 h 761503"/>
                <a:gd name="connsiteX67" fmla="*/ 169684 w 598324"/>
                <a:gd name="connsiteY67" fmla="*/ 58178 h 761503"/>
                <a:gd name="connsiteX68" fmla="*/ 177843 w 598324"/>
                <a:gd name="connsiteY68" fmla="*/ 58178 h 761503"/>
                <a:gd name="connsiteX69" fmla="*/ 205040 w 598324"/>
                <a:gd name="connsiteY69" fmla="*/ 66337 h 761503"/>
                <a:gd name="connsiteX70" fmla="*/ 286629 w 598324"/>
                <a:gd name="connsiteY70" fmla="*/ 63617 h 761503"/>
                <a:gd name="connsiteX71" fmla="*/ 324705 w 598324"/>
                <a:gd name="connsiteY71" fmla="*/ 79936 h 761503"/>
                <a:gd name="connsiteX72" fmla="*/ 319265 w 598324"/>
                <a:gd name="connsiteY72" fmla="*/ 96253 h 761503"/>
                <a:gd name="connsiteX73" fmla="*/ 302948 w 598324"/>
                <a:gd name="connsiteY73" fmla="*/ 104412 h 761503"/>
                <a:gd name="connsiteX74" fmla="*/ 278471 w 598324"/>
                <a:gd name="connsiteY74" fmla="*/ 112571 h 761503"/>
                <a:gd name="connsiteX75" fmla="*/ 232236 w 598324"/>
                <a:gd name="connsiteY75" fmla="*/ 112571 h 761503"/>
                <a:gd name="connsiteX76" fmla="*/ 240395 w 598324"/>
                <a:gd name="connsiteY76" fmla="*/ 137048 h 761503"/>
                <a:gd name="connsiteX77" fmla="*/ 240395 w 598324"/>
                <a:gd name="connsiteY77" fmla="*/ 150647 h 761503"/>
                <a:gd name="connsiteX78" fmla="*/ 243115 w 598324"/>
                <a:gd name="connsiteY78" fmla="*/ 158805 h 761503"/>
                <a:gd name="connsiteX79" fmla="*/ 248554 w 598324"/>
                <a:gd name="connsiteY79" fmla="*/ 188722 h 761503"/>
                <a:gd name="connsiteX80" fmla="*/ 248554 w 598324"/>
                <a:gd name="connsiteY80" fmla="*/ 199600 h 761503"/>
                <a:gd name="connsiteX81" fmla="*/ 248554 w 598324"/>
                <a:gd name="connsiteY81" fmla="*/ 221357 h 761503"/>
                <a:gd name="connsiteX82" fmla="*/ 253994 w 598324"/>
                <a:gd name="connsiteY82" fmla="*/ 264872 h 761503"/>
                <a:gd name="connsiteX83" fmla="*/ 262153 w 598324"/>
                <a:gd name="connsiteY83" fmla="*/ 297508 h 761503"/>
                <a:gd name="connsiteX84" fmla="*/ 264872 w 598324"/>
                <a:gd name="connsiteY84" fmla="*/ 324704 h 761503"/>
                <a:gd name="connsiteX85" fmla="*/ 264872 w 598324"/>
                <a:gd name="connsiteY85" fmla="*/ 332863 h 761503"/>
                <a:gd name="connsiteX86" fmla="*/ 264872 w 598324"/>
                <a:gd name="connsiteY86" fmla="*/ 351901 h 761503"/>
                <a:gd name="connsiteX87" fmla="*/ 262153 w 598324"/>
                <a:gd name="connsiteY87" fmla="*/ 370939 h 761503"/>
                <a:gd name="connsiteX88" fmla="*/ 267592 w 598324"/>
                <a:gd name="connsiteY88" fmla="*/ 384537 h 761503"/>
                <a:gd name="connsiteX89" fmla="*/ 278471 w 598324"/>
                <a:gd name="connsiteY89" fmla="*/ 370939 h 761503"/>
                <a:gd name="connsiteX90" fmla="*/ 297508 w 598324"/>
                <a:gd name="connsiteY90" fmla="*/ 332863 h 761503"/>
                <a:gd name="connsiteX91" fmla="*/ 311106 w 598324"/>
                <a:gd name="connsiteY91" fmla="*/ 305667 h 761503"/>
                <a:gd name="connsiteX92" fmla="*/ 335583 w 598324"/>
                <a:gd name="connsiteY92" fmla="*/ 259433 h 761503"/>
                <a:gd name="connsiteX93" fmla="*/ 354621 w 598324"/>
                <a:gd name="connsiteY93" fmla="*/ 224077 h 761503"/>
                <a:gd name="connsiteX94" fmla="*/ 381817 w 598324"/>
                <a:gd name="connsiteY94" fmla="*/ 172404 h 761503"/>
                <a:gd name="connsiteX95" fmla="*/ 409014 w 598324"/>
                <a:gd name="connsiteY95" fmla="*/ 118011 h 761503"/>
                <a:gd name="connsiteX96" fmla="*/ 411734 w 598324"/>
                <a:gd name="connsiteY96" fmla="*/ 115291 h 761503"/>
                <a:gd name="connsiteX97" fmla="*/ 398136 w 598324"/>
                <a:gd name="connsiteY97" fmla="*/ 115291 h 761503"/>
                <a:gd name="connsiteX98" fmla="*/ 379098 w 598324"/>
                <a:gd name="connsiteY98" fmla="*/ 109852 h 761503"/>
                <a:gd name="connsiteX99" fmla="*/ 368219 w 598324"/>
                <a:gd name="connsiteY99" fmla="*/ 93534 h 761503"/>
                <a:gd name="connsiteX100" fmla="*/ 370939 w 598324"/>
                <a:gd name="connsiteY100" fmla="*/ 85375 h 761503"/>
                <a:gd name="connsiteX101" fmla="*/ 387257 w 598324"/>
                <a:gd name="connsiteY101" fmla="*/ 77216 h 761503"/>
                <a:gd name="connsiteX102" fmla="*/ 422612 w 598324"/>
                <a:gd name="connsiteY102" fmla="*/ 71776 h 761503"/>
                <a:gd name="connsiteX103" fmla="*/ 436211 w 598324"/>
                <a:gd name="connsiteY103" fmla="*/ 71776 h 761503"/>
                <a:gd name="connsiteX104" fmla="*/ 438930 w 598324"/>
                <a:gd name="connsiteY104" fmla="*/ 69057 h 761503"/>
                <a:gd name="connsiteX105" fmla="*/ 452529 w 598324"/>
                <a:gd name="connsiteY105" fmla="*/ 66337 h 761503"/>
                <a:gd name="connsiteX106" fmla="*/ 466127 w 598324"/>
                <a:gd name="connsiteY106" fmla="*/ 69057 h 761503"/>
                <a:gd name="connsiteX107" fmla="*/ 471566 w 598324"/>
                <a:gd name="connsiteY107" fmla="*/ 71776 h 761503"/>
                <a:gd name="connsiteX108" fmla="*/ 515081 w 598324"/>
                <a:gd name="connsiteY108" fmla="*/ 71776 h 761503"/>
                <a:gd name="connsiteX109" fmla="*/ 542277 w 598324"/>
                <a:gd name="connsiteY109" fmla="*/ 88094 h 761503"/>
                <a:gd name="connsiteX110" fmla="*/ 536838 w 598324"/>
                <a:gd name="connsiteY110" fmla="*/ 104412 h 761503"/>
                <a:gd name="connsiteX111" fmla="*/ 525959 w 598324"/>
                <a:gd name="connsiteY111" fmla="*/ 112571 h 761503"/>
                <a:gd name="connsiteX112" fmla="*/ 509642 w 598324"/>
                <a:gd name="connsiteY112" fmla="*/ 115291 h 761503"/>
                <a:gd name="connsiteX113" fmla="*/ 468847 w 598324"/>
                <a:gd name="connsiteY113" fmla="*/ 115291 h 761503"/>
                <a:gd name="connsiteX114" fmla="*/ 457968 w 598324"/>
                <a:gd name="connsiteY114" fmla="*/ 137048 h 761503"/>
                <a:gd name="connsiteX115" fmla="*/ 430771 w 598324"/>
                <a:gd name="connsiteY115" fmla="*/ 194161 h 761503"/>
                <a:gd name="connsiteX116" fmla="*/ 400855 w 598324"/>
                <a:gd name="connsiteY116" fmla="*/ 262152 h 761503"/>
                <a:gd name="connsiteX117" fmla="*/ 360060 w 598324"/>
                <a:gd name="connsiteY117" fmla="*/ 332863 h 761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</a:cxnLst>
              <a:rect l="l" t="t" r="r" b="b"/>
              <a:pathLst>
                <a:path w="598324" h="761503">
                  <a:moveTo>
                    <a:pt x="360060" y="332863"/>
                  </a:moveTo>
                  <a:cubicBezTo>
                    <a:pt x="351901" y="343742"/>
                    <a:pt x="341023" y="357340"/>
                    <a:pt x="341023" y="370939"/>
                  </a:cubicBezTo>
                  <a:cubicBezTo>
                    <a:pt x="341023" y="379098"/>
                    <a:pt x="357341" y="381817"/>
                    <a:pt x="376378" y="389976"/>
                  </a:cubicBezTo>
                  <a:cubicBezTo>
                    <a:pt x="395416" y="398135"/>
                    <a:pt x="417173" y="417173"/>
                    <a:pt x="425332" y="433491"/>
                  </a:cubicBezTo>
                  <a:cubicBezTo>
                    <a:pt x="430771" y="444369"/>
                    <a:pt x="436211" y="452528"/>
                    <a:pt x="438930" y="463407"/>
                  </a:cubicBezTo>
                  <a:cubicBezTo>
                    <a:pt x="444370" y="474286"/>
                    <a:pt x="447089" y="487884"/>
                    <a:pt x="449809" y="498762"/>
                  </a:cubicBezTo>
                  <a:cubicBezTo>
                    <a:pt x="452529" y="512361"/>
                    <a:pt x="452529" y="517800"/>
                    <a:pt x="457968" y="528679"/>
                  </a:cubicBezTo>
                  <a:cubicBezTo>
                    <a:pt x="463407" y="539557"/>
                    <a:pt x="463407" y="553155"/>
                    <a:pt x="466127" y="564034"/>
                  </a:cubicBezTo>
                  <a:cubicBezTo>
                    <a:pt x="468847" y="572193"/>
                    <a:pt x="468847" y="585791"/>
                    <a:pt x="471566" y="593950"/>
                  </a:cubicBezTo>
                  <a:cubicBezTo>
                    <a:pt x="474286" y="599390"/>
                    <a:pt x="477006" y="602109"/>
                    <a:pt x="479725" y="607548"/>
                  </a:cubicBezTo>
                  <a:cubicBezTo>
                    <a:pt x="482445" y="612988"/>
                    <a:pt x="487884" y="618427"/>
                    <a:pt x="487884" y="623867"/>
                  </a:cubicBezTo>
                  <a:cubicBezTo>
                    <a:pt x="490604" y="634745"/>
                    <a:pt x="496043" y="642904"/>
                    <a:pt x="501482" y="651063"/>
                  </a:cubicBezTo>
                  <a:cubicBezTo>
                    <a:pt x="506922" y="661942"/>
                    <a:pt x="512361" y="664661"/>
                    <a:pt x="523240" y="670101"/>
                  </a:cubicBezTo>
                  <a:cubicBezTo>
                    <a:pt x="528679" y="672820"/>
                    <a:pt x="534119" y="680979"/>
                    <a:pt x="534119" y="686418"/>
                  </a:cubicBezTo>
                  <a:cubicBezTo>
                    <a:pt x="534119" y="689138"/>
                    <a:pt x="534119" y="691858"/>
                    <a:pt x="531399" y="694578"/>
                  </a:cubicBezTo>
                  <a:cubicBezTo>
                    <a:pt x="525959" y="702736"/>
                    <a:pt x="512361" y="708176"/>
                    <a:pt x="498763" y="708176"/>
                  </a:cubicBezTo>
                  <a:cubicBezTo>
                    <a:pt x="485165" y="708176"/>
                    <a:pt x="466127" y="705456"/>
                    <a:pt x="449809" y="700017"/>
                  </a:cubicBezTo>
                  <a:cubicBezTo>
                    <a:pt x="430771" y="694578"/>
                    <a:pt x="409014" y="675540"/>
                    <a:pt x="400855" y="667381"/>
                  </a:cubicBezTo>
                  <a:cubicBezTo>
                    <a:pt x="392696" y="659222"/>
                    <a:pt x="387257" y="651063"/>
                    <a:pt x="381817" y="642904"/>
                  </a:cubicBezTo>
                  <a:cubicBezTo>
                    <a:pt x="376378" y="632025"/>
                    <a:pt x="370939" y="623867"/>
                    <a:pt x="368219" y="610268"/>
                  </a:cubicBezTo>
                  <a:cubicBezTo>
                    <a:pt x="360060" y="588511"/>
                    <a:pt x="357341" y="574913"/>
                    <a:pt x="349182" y="550436"/>
                  </a:cubicBezTo>
                  <a:cubicBezTo>
                    <a:pt x="343742" y="534118"/>
                    <a:pt x="341023" y="520520"/>
                    <a:pt x="338303" y="504202"/>
                  </a:cubicBezTo>
                  <a:cubicBezTo>
                    <a:pt x="335583" y="493323"/>
                    <a:pt x="332864" y="485164"/>
                    <a:pt x="330144" y="477005"/>
                  </a:cubicBezTo>
                  <a:cubicBezTo>
                    <a:pt x="327424" y="471566"/>
                    <a:pt x="324705" y="463407"/>
                    <a:pt x="321985" y="455248"/>
                  </a:cubicBezTo>
                  <a:cubicBezTo>
                    <a:pt x="316546" y="444369"/>
                    <a:pt x="311106" y="436210"/>
                    <a:pt x="305667" y="436210"/>
                  </a:cubicBezTo>
                  <a:cubicBezTo>
                    <a:pt x="302948" y="436210"/>
                    <a:pt x="300228" y="438930"/>
                    <a:pt x="294788" y="441650"/>
                  </a:cubicBezTo>
                  <a:cubicBezTo>
                    <a:pt x="289349" y="447089"/>
                    <a:pt x="283910" y="455248"/>
                    <a:pt x="278471" y="463407"/>
                  </a:cubicBezTo>
                  <a:cubicBezTo>
                    <a:pt x="270312" y="474286"/>
                    <a:pt x="267592" y="485164"/>
                    <a:pt x="264872" y="496043"/>
                  </a:cubicBezTo>
                  <a:cubicBezTo>
                    <a:pt x="264872" y="504202"/>
                    <a:pt x="262153" y="512361"/>
                    <a:pt x="262153" y="517800"/>
                  </a:cubicBezTo>
                  <a:cubicBezTo>
                    <a:pt x="262153" y="520520"/>
                    <a:pt x="262153" y="520520"/>
                    <a:pt x="262153" y="523239"/>
                  </a:cubicBezTo>
                  <a:cubicBezTo>
                    <a:pt x="262153" y="528679"/>
                    <a:pt x="262153" y="544997"/>
                    <a:pt x="262153" y="553155"/>
                  </a:cubicBezTo>
                  <a:cubicBezTo>
                    <a:pt x="262153" y="583072"/>
                    <a:pt x="264872" y="599390"/>
                    <a:pt x="262153" y="629306"/>
                  </a:cubicBezTo>
                  <a:cubicBezTo>
                    <a:pt x="262153" y="640184"/>
                    <a:pt x="262153" y="648343"/>
                    <a:pt x="259433" y="659222"/>
                  </a:cubicBezTo>
                  <a:cubicBezTo>
                    <a:pt x="270312" y="659222"/>
                    <a:pt x="278471" y="659222"/>
                    <a:pt x="283910" y="659222"/>
                  </a:cubicBezTo>
                  <a:cubicBezTo>
                    <a:pt x="297508" y="659222"/>
                    <a:pt x="321985" y="659222"/>
                    <a:pt x="321985" y="675540"/>
                  </a:cubicBezTo>
                  <a:cubicBezTo>
                    <a:pt x="321985" y="683699"/>
                    <a:pt x="319265" y="686418"/>
                    <a:pt x="316546" y="691858"/>
                  </a:cubicBezTo>
                  <a:cubicBezTo>
                    <a:pt x="311106" y="697297"/>
                    <a:pt x="305667" y="700017"/>
                    <a:pt x="300228" y="700017"/>
                  </a:cubicBezTo>
                  <a:cubicBezTo>
                    <a:pt x="292069" y="702736"/>
                    <a:pt x="283910" y="702736"/>
                    <a:pt x="278471" y="702736"/>
                  </a:cubicBezTo>
                  <a:cubicBezTo>
                    <a:pt x="275751" y="702736"/>
                    <a:pt x="259433" y="702736"/>
                    <a:pt x="243115" y="702736"/>
                  </a:cubicBezTo>
                  <a:cubicBezTo>
                    <a:pt x="237676" y="708176"/>
                    <a:pt x="229517" y="710895"/>
                    <a:pt x="221358" y="710895"/>
                  </a:cubicBezTo>
                  <a:cubicBezTo>
                    <a:pt x="213199" y="710895"/>
                    <a:pt x="202320" y="708176"/>
                    <a:pt x="194161" y="702736"/>
                  </a:cubicBezTo>
                  <a:cubicBezTo>
                    <a:pt x="186002" y="702736"/>
                    <a:pt x="180563" y="702736"/>
                    <a:pt x="177843" y="702736"/>
                  </a:cubicBezTo>
                  <a:cubicBezTo>
                    <a:pt x="164245" y="702736"/>
                    <a:pt x="139768" y="702736"/>
                    <a:pt x="126170" y="702736"/>
                  </a:cubicBezTo>
                  <a:cubicBezTo>
                    <a:pt x="118011" y="702736"/>
                    <a:pt x="109852" y="702736"/>
                    <a:pt x="101693" y="702736"/>
                  </a:cubicBezTo>
                  <a:cubicBezTo>
                    <a:pt x="93534" y="702736"/>
                    <a:pt x="82655" y="702736"/>
                    <a:pt x="74496" y="697297"/>
                  </a:cubicBezTo>
                  <a:cubicBezTo>
                    <a:pt x="66337" y="694578"/>
                    <a:pt x="58178" y="686418"/>
                    <a:pt x="58178" y="680979"/>
                  </a:cubicBezTo>
                  <a:cubicBezTo>
                    <a:pt x="58178" y="678260"/>
                    <a:pt x="58178" y="675540"/>
                    <a:pt x="63617" y="672820"/>
                  </a:cubicBezTo>
                  <a:cubicBezTo>
                    <a:pt x="69057" y="670101"/>
                    <a:pt x="79935" y="667381"/>
                    <a:pt x="85375" y="664661"/>
                  </a:cubicBezTo>
                  <a:cubicBezTo>
                    <a:pt x="104412" y="661942"/>
                    <a:pt x="123450" y="659222"/>
                    <a:pt x="128889" y="659222"/>
                  </a:cubicBezTo>
                  <a:cubicBezTo>
                    <a:pt x="134329" y="659222"/>
                    <a:pt x="139768" y="659222"/>
                    <a:pt x="147927" y="659222"/>
                  </a:cubicBezTo>
                  <a:cubicBezTo>
                    <a:pt x="147927" y="656502"/>
                    <a:pt x="145207" y="653783"/>
                    <a:pt x="145207" y="653783"/>
                  </a:cubicBezTo>
                  <a:cubicBezTo>
                    <a:pt x="131609" y="632025"/>
                    <a:pt x="131609" y="610268"/>
                    <a:pt x="131609" y="585791"/>
                  </a:cubicBezTo>
                  <a:cubicBezTo>
                    <a:pt x="131609" y="555875"/>
                    <a:pt x="131609" y="528679"/>
                    <a:pt x="134329" y="498762"/>
                  </a:cubicBezTo>
                  <a:cubicBezTo>
                    <a:pt x="134329" y="468846"/>
                    <a:pt x="137048" y="436210"/>
                    <a:pt x="137048" y="406294"/>
                  </a:cubicBezTo>
                  <a:cubicBezTo>
                    <a:pt x="137048" y="379098"/>
                    <a:pt x="134329" y="354621"/>
                    <a:pt x="134329" y="327424"/>
                  </a:cubicBezTo>
                  <a:cubicBezTo>
                    <a:pt x="134329" y="302947"/>
                    <a:pt x="137048" y="278470"/>
                    <a:pt x="137048" y="253993"/>
                  </a:cubicBezTo>
                  <a:cubicBezTo>
                    <a:pt x="137048" y="237675"/>
                    <a:pt x="139768" y="224077"/>
                    <a:pt x="139768" y="207759"/>
                  </a:cubicBezTo>
                  <a:cubicBezTo>
                    <a:pt x="139768" y="196881"/>
                    <a:pt x="137048" y="183282"/>
                    <a:pt x="137048" y="172404"/>
                  </a:cubicBezTo>
                  <a:cubicBezTo>
                    <a:pt x="137048" y="150647"/>
                    <a:pt x="137048" y="131609"/>
                    <a:pt x="137048" y="112571"/>
                  </a:cubicBezTo>
                  <a:cubicBezTo>
                    <a:pt x="134329" y="112571"/>
                    <a:pt x="137048" y="112571"/>
                    <a:pt x="126170" y="112571"/>
                  </a:cubicBezTo>
                  <a:cubicBezTo>
                    <a:pt x="118011" y="112571"/>
                    <a:pt x="109852" y="112571"/>
                    <a:pt x="101693" y="112571"/>
                  </a:cubicBezTo>
                  <a:cubicBezTo>
                    <a:pt x="93534" y="112571"/>
                    <a:pt x="82655" y="109852"/>
                    <a:pt x="74496" y="107132"/>
                  </a:cubicBezTo>
                  <a:cubicBezTo>
                    <a:pt x="66337" y="104412"/>
                    <a:pt x="58178" y="96253"/>
                    <a:pt x="58178" y="90814"/>
                  </a:cubicBezTo>
                  <a:cubicBezTo>
                    <a:pt x="58178" y="88094"/>
                    <a:pt x="58178" y="85375"/>
                    <a:pt x="63617" y="82655"/>
                  </a:cubicBezTo>
                  <a:cubicBezTo>
                    <a:pt x="69057" y="79936"/>
                    <a:pt x="79935" y="77216"/>
                    <a:pt x="85375" y="74496"/>
                  </a:cubicBezTo>
                  <a:cubicBezTo>
                    <a:pt x="104412" y="71776"/>
                    <a:pt x="128889" y="69057"/>
                    <a:pt x="137048" y="69057"/>
                  </a:cubicBezTo>
                  <a:cubicBezTo>
                    <a:pt x="137048" y="69057"/>
                    <a:pt x="139768" y="69057"/>
                    <a:pt x="145207" y="69057"/>
                  </a:cubicBezTo>
                  <a:cubicBezTo>
                    <a:pt x="150646" y="60898"/>
                    <a:pt x="158806" y="58178"/>
                    <a:pt x="169684" y="58178"/>
                  </a:cubicBezTo>
                  <a:cubicBezTo>
                    <a:pt x="172404" y="58178"/>
                    <a:pt x="175123" y="58178"/>
                    <a:pt x="177843" y="58178"/>
                  </a:cubicBezTo>
                  <a:cubicBezTo>
                    <a:pt x="186002" y="58178"/>
                    <a:pt x="196881" y="63617"/>
                    <a:pt x="205040" y="66337"/>
                  </a:cubicBezTo>
                  <a:cubicBezTo>
                    <a:pt x="237676" y="66337"/>
                    <a:pt x="273031" y="63617"/>
                    <a:pt x="286629" y="63617"/>
                  </a:cubicBezTo>
                  <a:cubicBezTo>
                    <a:pt x="300228" y="63617"/>
                    <a:pt x="324705" y="63617"/>
                    <a:pt x="324705" y="79936"/>
                  </a:cubicBezTo>
                  <a:cubicBezTo>
                    <a:pt x="324705" y="88094"/>
                    <a:pt x="321985" y="90814"/>
                    <a:pt x="319265" y="96253"/>
                  </a:cubicBezTo>
                  <a:cubicBezTo>
                    <a:pt x="313826" y="101693"/>
                    <a:pt x="308387" y="104412"/>
                    <a:pt x="302948" y="104412"/>
                  </a:cubicBezTo>
                  <a:cubicBezTo>
                    <a:pt x="289349" y="112571"/>
                    <a:pt x="283910" y="112571"/>
                    <a:pt x="278471" y="112571"/>
                  </a:cubicBezTo>
                  <a:cubicBezTo>
                    <a:pt x="273031" y="112571"/>
                    <a:pt x="253994" y="112571"/>
                    <a:pt x="232236" y="112571"/>
                  </a:cubicBezTo>
                  <a:cubicBezTo>
                    <a:pt x="237676" y="120730"/>
                    <a:pt x="240395" y="128889"/>
                    <a:pt x="240395" y="137048"/>
                  </a:cubicBezTo>
                  <a:cubicBezTo>
                    <a:pt x="240395" y="142487"/>
                    <a:pt x="240395" y="145207"/>
                    <a:pt x="240395" y="150647"/>
                  </a:cubicBezTo>
                  <a:cubicBezTo>
                    <a:pt x="240395" y="153366"/>
                    <a:pt x="240395" y="156086"/>
                    <a:pt x="243115" y="158805"/>
                  </a:cubicBezTo>
                  <a:cubicBezTo>
                    <a:pt x="245835" y="169684"/>
                    <a:pt x="245835" y="180563"/>
                    <a:pt x="248554" y="188722"/>
                  </a:cubicBezTo>
                  <a:cubicBezTo>
                    <a:pt x="248554" y="191441"/>
                    <a:pt x="248554" y="194161"/>
                    <a:pt x="248554" y="199600"/>
                  </a:cubicBezTo>
                  <a:cubicBezTo>
                    <a:pt x="248554" y="207759"/>
                    <a:pt x="248554" y="213198"/>
                    <a:pt x="248554" y="221357"/>
                  </a:cubicBezTo>
                  <a:cubicBezTo>
                    <a:pt x="248554" y="234956"/>
                    <a:pt x="251274" y="248554"/>
                    <a:pt x="253994" y="264872"/>
                  </a:cubicBezTo>
                  <a:cubicBezTo>
                    <a:pt x="256713" y="275751"/>
                    <a:pt x="259433" y="286629"/>
                    <a:pt x="262153" y="297508"/>
                  </a:cubicBezTo>
                  <a:cubicBezTo>
                    <a:pt x="264872" y="305667"/>
                    <a:pt x="264872" y="313826"/>
                    <a:pt x="264872" y="324704"/>
                  </a:cubicBezTo>
                  <a:cubicBezTo>
                    <a:pt x="264872" y="327424"/>
                    <a:pt x="264872" y="330144"/>
                    <a:pt x="264872" y="332863"/>
                  </a:cubicBezTo>
                  <a:cubicBezTo>
                    <a:pt x="264872" y="338303"/>
                    <a:pt x="264872" y="346462"/>
                    <a:pt x="264872" y="351901"/>
                  </a:cubicBezTo>
                  <a:cubicBezTo>
                    <a:pt x="264872" y="357340"/>
                    <a:pt x="262153" y="365499"/>
                    <a:pt x="262153" y="370939"/>
                  </a:cubicBezTo>
                  <a:cubicBezTo>
                    <a:pt x="262153" y="376378"/>
                    <a:pt x="264872" y="384537"/>
                    <a:pt x="267592" y="384537"/>
                  </a:cubicBezTo>
                  <a:cubicBezTo>
                    <a:pt x="273031" y="384537"/>
                    <a:pt x="275751" y="376378"/>
                    <a:pt x="278471" y="370939"/>
                  </a:cubicBezTo>
                  <a:cubicBezTo>
                    <a:pt x="283910" y="360060"/>
                    <a:pt x="289349" y="346462"/>
                    <a:pt x="297508" y="332863"/>
                  </a:cubicBezTo>
                  <a:cubicBezTo>
                    <a:pt x="302948" y="324704"/>
                    <a:pt x="305667" y="313826"/>
                    <a:pt x="311106" y="305667"/>
                  </a:cubicBezTo>
                  <a:cubicBezTo>
                    <a:pt x="319265" y="289349"/>
                    <a:pt x="327424" y="275751"/>
                    <a:pt x="335583" y="259433"/>
                  </a:cubicBezTo>
                  <a:cubicBezTo>
                    <a:pt x="341023" y="248554"/>
                    <a:pt x="349182" y="234956"/>
                    <a:pt x="354621" y="224077"/>
                  </a:cubicBezTo>
                  <a:cubicBezTo>
                    <a:pt x="362780" y="207759"/>
                    <a:pt x="370939" y="191441"/>
                    <a:pt x="381817" y="172404"/>
                  </a:cubicBezTo>
                  <a:cubicBezTo>
                    <a:pt x="389977" y="153366"/>
                    <a:pt x="400855" y="134329"/>
                    <a:pt x="409014" y="118011"/>
                  </a:cubicBezTo>
                  <a:cubicBezTo>
                    <a:pt x="409014" y="115291"/>
                    <a:pt x="409014" y="115291"/>
                    <a:pt x="411734" y="115291"/>
                  </a:cubicBezTo>
                  <a:cubicBezTo>
                    <a:pt x="406294" y="115291"/>
                    <a:pt x="400855" y="115291"/>
                    <a:pt x="398136" y="115291"/>
                  </a:cubicBezTo>
                  <a:cubicBezTo>
                    <a:pt x="392696" y="115291"/>
                    <a:pt x="384537" y="115291"/>
                    <a:pt x="379098" y="109852"/>
                  </a:cubicBezTo>
                  <a:cubicBezTo>
                    <a:pt x="373659" y="107132"/>
                    <a:pt x="368219" y="98973"/>
                    <a:pt x="368219" y="93534"/>
                  </a:cubicBezTo>
                  <a:cubicBezTo>
                    <a:pt x="368219" y="90814"/>
                    <a:pt x="368219" y="88094"/>
                    <a:pt x="370939" y="85375"/>
                  </a:cubicBezTo>
                  <a:cubicBezTo>
                    <a:pt x="373659" y="82655"/>
                    <a:pt x="381817" y="79936"/>
                    <a:pt x="387257" y="77216"/>
                  </a:cubicBezTo>
                  <a:cubicBezTo>
                    <a:pt x="400855" y="74496"/>
                    <a:pt x="414453" y="71776"/>
                    <a:pt x="422612" y="71776"/>
                  </a:cubicBezTo>
                  <a:cubicBezTo>
                    <a:pt x="425332" y="71776"/>
                    <a:pt x="430771" y="71776"/>
                    <a:pt x="436211" y="71776"/>
                  </a:cubicBezTo>
                  <a:cubicBezTo>
                    <a:pt x="436211" y="71776"/>
                    <a:pt x="438930" y="69057"/>
                    <a:pt x="438930" y="69057"/>
                  </a:cubicBezTo>
                  <a:cubicBezTo>
                    <a:pt x="444370" y="66337"/>
                    <a:pt x="447089" y="66337"/>
                    <a:pt x="452529" y="66337"/>
                  </a:cubicBezTo>
                  <a:cubicBezTo>
                    <a:pt x="457968" y="66337"/>
                    <a:pt x="460688" y="66337"/>
                    <a:pt x="466127" y="69057"/>
                  </a:cubicBezTo>
                  <a:cubicBezTo>
                    <a:pt x="468847" y="69057"/>
                    <a:pt x="471566" y="71776"/>
                    <a:pt x="471566" y="71776"/>
                  </a:cubicBezTo>
                  <a:cubicBezTo>
                    <a:pt x="490604" y="71776"/>
                    <a:pt x="506922" y="71776"/>
                    <a:pt x="515081" y="71776"/>
                  </a:cubicBezTo>
                  <a:cubicBezTo>
                    <a:pt x="523240" y="71776"/>
                    <a:pt x="542277" y="71776"/>
                    <a:pt x="542277" y="88094"/>
                  </a:cubicBezTo>
                  <a:cubicBezTo>
                    <a:pt x="542277" y="96253"/>
                    <a:pt x="542277" y="98973"/>
                    <a:pt x="536838" y="104412"/>
                  </a:cubicBezTo>
                  <a:cubicBezTo>
                    <a:pt x="534119" y="109852"/>
                    <a:pt x="528679" y="112571"/>
                    <a:pt x="525959" y="112571"/>
                  </a:cubicBezTo>
                  <a:cubicBezTo>
                    <a:pt x="520520" y="115291"/>
                    <a:pt x="515081" y="115291"/>
                    <a:pt x="509642" y="115291"/>
                  </a:cubicBezTo>
                  <a:cubicBezTo>
                    <a:pt x="506922" y="115291"/>
                    <a:pt x="487884" y="115291"/>
                    <a:pt x="468847" y="115291"/>
                  </a:cubicBezTo>
                  <a:cubicBezTo>
                    <a:pt x="466127" y="123450"/>
                    <a:pt x="460688" y="128889"/>
                    <a:pt x="457968" y="137048"/>
                  </a:cubicBezTo>
                  <a:cubicBezTo>
                    <a:pt x="447089" y="156086"/>
                    <a:pt x="438930" y="175123"/>
                    <a:pt x="430771" y="194161"/>
                  </a:cubicBezTo>
                  <a:cubicBezTo>
                    <a:pt x="419893" y="215918"/>
                    <a:pt x="411734" y="240395"/>
                    <a:pt x="400855" y="262152"/>
                  </a:cubicBezTo>
                  <a:cubicBezTo>
                    <a:pt x="387257" y="289349"/>
                    <a:pt x="373659" y="311106"/>
                    <a:pt x="360060" y="332863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8" name="Freeform: Shape 37">
              <a:extLst>
                <a:ext uri="{FF2B5EF4-FFF2-40B4-BE49-F238E27FC236}">
                  <a16:creationId xmlns:a16="http://schemas.microsoft.com/office/drawing/2014/main" id="{2771C143-A1F3-4138-9AAE-B59B0482EED3}"/>
                </a:ext>
              </a:extLst>
            </p:cNvPr>
            <p:cNvSpPr/>
            <p:nvPr/>
          </p:nvSpPr>
          <p:spPr>
            <a:xfrm>
              <a:off x="4335316" y="4186718"/>
              <a:ext cx="353556" cy="761503"/>
            </a:xfrm>
            <a:custGeom>
              <a:avLst/>
              <a:gdLst>
                <a:gd name="connsiteX0" fmla="*/ 283910 w 353555"/>
                <a:gd name="connsiteY0" fmla="*/ 672820 h 761503"/>
                <a:gd name="connsiteX1" fmla="*/ 321985 w 353555"/>
                <a:gd name="connsiteY1" fmla="*/ 689138 h 761503"/>
                <a:gd name="connsiteX2" fmla="*/ 316546 w 353555"/>
                <a:gd name="connsiteY2" fmla="*/ 705456 h 761503"/>
                <a:gd name="connsiteX3" fmla="*/ 300228 w 353555"/>
                <a:gd name="connsiteY3" fmla="*/ 713615 h 761503"/>
                <a:gd name="connsiteX4" fmla="*/ 278471 w 353555"/>
                <a:gd name="connsiteY4" fmla="*/ 716335 h 761503"/>
                <a:gd name="connsiteX5" fmla="*/ 237676 w 353555"/>
                <a:gd name="connsiteY5" fmla="*/ 716335 h 761503"/>
                <a:gd name="connsiteX6" fmla="*/ 180563 w 353555"/>
                <a:gd name="connsiteY6" fmla="*/ 719054 h 761503"/>
                <a:gd name="connsiteX7" fmla="*/ 126170 w 353555"/>
                <a:gd name="connsiteY7" fmla="*/ 719054 h 761503"/>
                <a:gd name="connsiteX8" fmla="*/ 101693 w 353555"/>
                <a:gd name="connsiteY8" fmla="*/ 719054 h 761503"/>
                <a:gd name="connsiteX9" fmla="*/ 74496 w 353555"/>
                <a:gd name="connsiteY9" fmla="*/ 713615 h 761503"/>
                <a:gd name="connsiteX10" fmla="*/ 58178 w 353555"/>
                <a:gd name="connsiteY10" fmla="*/ 697297 h 761503"/>
                <a:gd name="connsiteX11" fmla="*/ 63617 w 353555"/>
                <a:gd name="connsiteY11" fmla="*/ 689138 h 761503"/>
                <a:gd name="connsiteX12" fmla="*/ 85375 w 353555"/>
                <a:gd name="connsiteY12" fmla="*/ 680979 h 761503"/>
                <a:gd name="connsiteX13" fmla="*/ 131609 w 353555"/>
                <a:gd name="connsiteY13" fmla="*/ 675540 h 761503"/>
                <a:gd name="connsiteX14" fmla="*/ 142488 w 353555"/>
                <a:gd name="connsiteY14" fmla="*/ 675540 h 761503"/>
                <a:gd name="connsiteX15" fmla="*/ 131609 w 353555"/>
                <a:gd name="connsiteY15" fmla="*/ 653783 h 761503"/>
                <a:gd name="connsiteX16" fmla="*/ 128889 w 353555"/>
                <a:gd name="connsiteY16" fmla="*/ 640184 h 761503"/>
                <a:gd name="connsiteX17" fmla="*/ 128889 w 353555"/>
                <a:gd name="connsiteY17" fmla="*/ 629306 h 761503"/>
                <a:gd name="connsiteX18" fmla="*/ 128889 w 353555"/>
                <a:gd name="connsiteY18" fmla="*/ 621147 h 761503"/>
                <a:gd name="connsiteX19" fmla="*/ 128889 w 353555"/>
                <a:gd name="connsiteY19" fmla="*/ 593950 h 761503"/>
                <a:gd name="connsiteX20" fmla="*/ 128889 w 353555"/>
                <a:gd name="connsiteY20" fmla="*/ 583072 h 761503"/>
                <a:gd name="connsiteX21" fmla="*/ 128889 w 353555"/>
                <a:gd name="connsiteY21" fmla="*/ 436210 h 761503"/>
                <a:gd name="connsiteX22" fmla="*/ 128889 w 353555"/>
                <a:gd name="connsiteY22" fmla="*/ 357340 h 761503"/>
                <a:gd name="connsiteX23" fmla="*/ 131609 w 353555"/>
                <a:gd name="connsiteY23" fmla="*/ 289349 h 761503"/>
                <a:gd name="connsiteX24" fmla="*/ 131609 w 353555"/>
                <a:gd name="connsiteY24" fmla="*/ 251274 h 761503"/>
                <a:gd name="connsiteX25" fmla="*/ 131609 w 353555"/>
                <a:gd name="connsiteY25" fmla="*/ 205040 h 761503"/>
                <a:gd name="connsiteX26" fmla="*/ 131609 w 353555"/>
                <a:gd name="connsiteY26" fmla="*/ 139768 h 761503"/>
                <a:gd name="connsiteX27" fmla="*/ 131609 w 353555"/>
                <a:gd name="connsiteY27" fmla="*/ 128889 h 761503"/>
                <a:gd name="connsiteX28" fmla="*/ 126170 w 353555"/>
                <a:gd name="connsiteY28" fmla="*/ 128889 h 761503"/>
                <a:gd name="connsiteX29" fmla="*/ 101693 w 353555"/>
                <a:gd name="connsiteY29" fmla="*/ 128889 h 761503"/>
                <a:gd name="connsiteX30" fmla="*/ 74496 w 353555"/>
                <a:gd name="connsiteY30" fmla="*/ 123450 h 761503"/>
                <a:gd name="connsiteX31" fmla="*/ 58178 w 353555"/>
                <a:gd name="connsiteY31" fmla="*/ 107132 h 761503"/>
                <a:gd name="connsiteX32" fmla="*/ 60898 w 353555"/>
                <a:gd name="connsiteY32" fmla="*/ 98973 h 761503"/>
                <a:gd name="connsiteX33" fmla="*/ 82655 w 353555"/>
                <a:gd name="connsiteY33" fmla="*/ 93534 h 761503"/>
                <a:gd name="connsiteX34" fmla="*/ 131609 w 353555"/>
                <a:gd name="connsiteY34" fmla="*/ 88094 h 761503"/>
                <a:gd name="connsiteX35" fmla="*/ 131609 w 353555"/>
                <a:gd name="connsiteY35" fmla="*/ 82655 h 761503"/>
                <a:gd name="connsiteX36" fmla="*/ 134329 w 353555"/>
                <a:gd name="connsiteY36" fmla="*/ 71776 h 761503"/>
                <a:gd name="connsiteX37" fmla="*/ 147927 w 353555"/>
                <a:gd name="connsiteY37" fmla="*/ 63617 h 761503"/>
                <a:gd name="connsiteX38" fmla="*/ 164245 w 353555"/>
                <a:gd name="connsiteY38" fmla="*/ 58178 h 761503"/>
                <a:gd name="connsiteX39" fmla="*/ 177843 w 353555"/>
                <a:gd name="connsiteY39" fmla="*/ 58178 h 761503"/>
                <a:gd name="connsiteX40" fmla="*/ 196881 w 353555"/>
                <a:gd name="connsiteY40" fmla="*/ 60898 h 761503"/>
                <a:gd name="connsiteX41" fmla="*/ 232236 w 353555"/>
                <a:gd name="connsiteY41" fmla="*/ 88094 h 761503"/>
                <a:gd name="connsiteX42" fmla="*/ 278471 w 353555"/>
                <a:gd name="connsiteY42" fmla="*/ 88094 h 761503"/>
                <a:gd name="connsiteX43" fmla="*/ 316546 w 353555"/>
                <a:gd name="connsiteY43" fmla="*/ 104412 h 761503"/>
                <a:gd name="connsiteX44" fmla="*/ 311106 w 353555"/>
                <a:gd name="connsiteY44" fmla="*/ 120730 h 761503"/>
                <a:gd name="connsiteX45" fmla="*/ 294788 w 353555"/>
                <a:gd name="connsiteY45" fmla="*/ 128889 h 761503"/>
                <a:gd name="connsiteX46" fmla="*/ 273031 w 353555"/>
                <a:gd name="connsiteY46" fmla="*/ 131609 h 761503"/>
                <a:gd name="connsiteX47" fmla="*/ 243115 w 353555"/>
                <a:gd name="connsiteY47" fmla="*/ 131609 h 761503"/>
                <a:gd name="connsiteX48" fmla="*/ 243115 w 353555"/>
                <a:gd name="connsiteY48" fmla="*/ 134329 h 761503"/>
                <a:gd name="connsiteX49" fmla="*/ 248554 w 353555"/>
                <a:gd name="connsiteY49" fmla="*/ 169684 h 761503"/>
                <a:gd name="connsiteX50" fmla="*/ 251274 w 353555"/>
                <a:gd name="connsiteY50" fmla="*/ 205040 h 761503"/>
                <a:gd name="connsiteX51" fmla="*/ 251274 w 353555"/>
                <a:gd name="connsiteY51" fmla="*/ 240395 h 761503"/>
                <a:gd name="connsiteX52" fmla="*/ 251274 w 353555"/>
                <a:gd name="connsiteY52" fmla="*/ 256713 h 761503"/>
                <a:gd name="connsiteX53" fmla="*/ 253994 w 353555"/>
                <a:gd name="connsiteY53" fmla="*/ 270311 h 761503"/>
                <a:gd name="connsiteX54" fmla="*/ 259433 w 353555"/>
                <a:gd name="connsiteY54" fmla="*/ 343742 h 761503"/>
                <a:gd name="connsiteX55" fmla="*/ 262153 w 353555"/>
                <a:gd name="connsiteY55" fmla="*/ 425332 h 761503"/>
                <a:gd name="connsiteX56" fmla="*/ 264872 w 353555"/>
                <a:gd name="connsiteY56" fmla="*/ 490603 h 761503"/>
                <a:gd name="connsiteX57" fmla="*/ 270312 w 353555"/>
                <a:gd name="connsiteY57" fmla="*/ 564034 h 761503"/>
                <a:gd name="connsiteX58" fmla="*/ 270312 w 353555"/>
                <a:gd name="connsiteY58" fmla="*/ 599390 h 761503"/>
                <a:gd name="connsiteX59" fmla="*/ 270312 w 353555"/>
                <a:gd name="connsiteY59" fmla="*/ 637465 h 761503"/>
                <a:gd name="connsiteX60" fmla="*/ 264872 w 353555"/>
                <a:gd name="connsiteY60" fmla="*/ 670101 h 761503"/>
                <a:gd name="connsiteX61" fmla="*/ 283910 w 353555"/>
                <a:gd name="connsiteY61" fmla="*/ 672820 h 761503"/>
                <a:gd name="connsiteX62" fmla="*/ 283910 w 353555"/>
                <a:gd name="connsiteY62" fmla="*/ 672820 h 761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</a:cxnLst>
              <a:rect l="l" t="t" r="r" b="b"/>
              <a:pathLst>
                <a:path w="353555" h="761503">
                  <a:moveTo>
                    <a:pt x="283910" y="672820"/>
                  </a:moveTo>
                  <a:cubicBezTo>
                    <a:pt x="297508" y="672820"/>
                    <a:pt x="321985" y="672820"/>
                    <a:pt x="321985" y="689138"/>
                  </a:cubicBezTo>
                  <a:cubicBezTo>
                    <a:pt x="321985" y="697297"/>
                    <a:pt x="319265" y="697297"/>
                    <a:pt x="316546" y="705456"/>
                  </a:cubicBezTo>
                  <a:cubicBezTo>
                    <a:pt x="311106" y="710895"/>
                    <a:pt x="305667" y="713615"/>
                    <a:pt x="300228" y="713615"/>
                  </a:cubicBezTo>
                  <a:cubicBezTo>
                    <a:pt x="292069" y="716335"/>
                    <a:pt x="283910" y="716335"/>
                    <a:pt x="278471" y="716335"/>
                  </a:cubicBezTo>
                  <a:cubicBezTo>
                    <a:pt x="275751" y="716335"/>
                    <a:pt x="256713" y="716335"/>
                    <a:pt x="237676" y="716335"/>
                  </a:cubicBezTo>
                  <a:cubicBezTo>
                    <a:pt x="213199" y="716335"/>
                    <a:pt x="186002" y="719054"/>
                    <a:pt x="180563" y="719054"/>
                  </a:cubicBezTo>
                  <a:cubicBezTo>
                    <a:pt x="166965" y="719054"/>
                    <a:pt x="142488" y="719054"/>
                    <a:pt x="126170" y="719054"/>
                  </a:cubicBezTo>
                  <a:cubicBezTo>
                    <a:pt x="118011" y="719054"/>
                    <a:pt x="109852" y="719054"/>
                    <a:pt x="101693" y="719054"/>
                  </a:cubicBezTo>
                  <a:cubicBezTo>
                    <a:pt x="93534" y="719054"/>
                    <a:pt x="82655" y="719054"/>
                    <a:pt x="74496" y="713615"/>
                  </a:cubicBezTo>
                  <a:cubicBezTo>
                    <a:pt x="66337" y="710895"/>
                    <a:pt x="58178" y="702736"/>
                    <a:pt x="58178" y="697297"/>
                  </a:cubicBezTo>
                  <a:cubicBezTo>
                    <a:pt x="58178" y="694578"/>
                    <a:pt x="58178" y="691858"/>
                    <a:pt x="63617" y="689138"/>
                  </a:cubicBezTo>
                  <a:cubicBezTo>
                    <a:pt x="69057" y="686418"/>
                    <a:pt x="79935" y="683699"/>
                    <a:pt x="85375" y="680979"/>
                  </a:cubicBezTo>
                  <a:cubicBezTo>
                    <a:pt x="104412" y="678260"/>
                    <a:pt x="123450" y="675540"/>
                    <a:pt x="131609" y="675540"/>
                  </a:cubicBezTo>
                  <a:cubicBezTo>
                    <a:pt x="134329" y="675540"/>
                    <a:pt x="137048" y="675540"/>
                    <a:pt x="142488" y="675540"/>
                  </a:cubicBezTo>
                  <a:cubicBezTo>
                    <a:pt x="134329" y="670101"/>
                    <a:pt x="131609" y="661942"/>
                    <a:pt x="131609" y="653783"/>
                  </a:cubicBezTo>
                  <a:cubicBezTo>
                    <a:pt x="131609" y="648343"/>
                    <a:pt x="131609" y="642904"/>
                    <a:pt x="128889" y="640184"/>
                  </a:cubicBezTo>
                  <a:cubicBezTo>
                    <a:pt x="128889" y="637465"/>
                    <a:pt x="128889" y="634745"/>
                    <a:pt x="128889" y="629306"/>
                  </a:cubicBezTo>
                  <a:cubicBezTo>
                    <a:pt x="128889" y="626586"/>
                    <a:pt x="128889" y="623867"/>
                    <a:pt x="128889" y="621147"/>
                  </a:cubicBezTo>
                  <a:cubicBezTo>
                    <a:pt x="128889" y="612988"/>
                    <a:pt x="128889" y="604829"/>
                    <a:pt x="128889" y="593950"/>
                  </a:cubicBezTo>
                  <a:cubicBezTo>
                    <a:pt x="128889" y="591231"/>
                    <a:pt x="128889" y="585791"/>
                    <a:pt x="128889" y="583072"/>
                  </a:cubicBezTo>
                  <a:cubicBezTo>
                    <a:pt x="128889" y="534118"/>
                    <a:pt x="131609" y="485164"/>
                    <a:pt x="128889" y="436210"/>
                  </a:cubicBezTo>
                  <a:cubicBezTo>
                    <a:pt x="128889" y="409014"/>
                    <a:pt x="128889" y="384537"/>
                    <a:pt x="128889" y="357340"/>
                  </a:cubicBezTo>
                  <a:cubicBezTo>
                    <a:pt x="128889" y="335583"/>
                    <a:pt x="131609" y="313826"/>
                    <a:pt x="131609" y="289349"/>
                  </a:cubicBezTo>
                  <a:cubicBezTo>
                    <a:pt x="131609" y="275751"/>
                    <a:pt x="131609" y="264872"/>
                    <a:pt x="131609" y="251274"/>
                  </a:cubicBezTo>
                  <a:cubicBezTo>
                    <a:pt x="131609" y="234956"/>
                    <a:pt x="131609" y="221357"/>
                    <a:pt x="131609" y="205040"/>
                  </a:cubicBezTo>
                  <a:cubicBezTo>
                    <a:pt x="131609" y="183282"/>
                    <a:pt x="131609" y="161525"/>
                    <a:pt x="131609" y="139768"/>
                  </a:cubicBezTo>
                  <a:cubicBezTo>
                    <a:pt x="131609" y="137048"/>
                    <a:pt x="131609" y="134329"/>
                    <a:pt x="131609" y="128889"/>
                  </a:cubicBezTo>
                  <a:cubicBezTo>
                    <a:pt x="128889" y="128889"/>
                    <a:pt x="126170" y="128889"/>
                    <a:pt x="126170" y="128889"/>
                  </a:cubicBezTo>
                  <a:cubicBezTo>
                    <a:pt x="118011" y="128889"/>
                    <a:pt x="109852" y="128889"/>
                    <a:pt x="101693" y="128889"/>
                  </a:cubicBezTo>
                  <a:cubicBezTo>
                    <a:pt x="93534" y="128889"/>
                    <a:pt x="82655" y="128889"/>
                    <a:pt x="74496" y="123450"/>
                  </a:cubicBezTo>
                  <a:cubicBezTo>
                    <a:pt x="66337" y="120730"/>
                    <a:pt x="58178" y="112571"/>
                    <a:pt x="58178" y="107132"/>
                  </a:cubicBezTo>
                  <a:cubicBezTo>
                    <a:pt x="58178" y="104412"/>
                    <a:pt x="58178" y="101693"/>
                    <a:pt x="60898" y="98973"/>
                  </a:cubicBezTo>
                  <a:cubicBezTo>
                    <a:pt x="63617" y="96253"/>
                    <a:pt x="77216" y="93534"/>
                    <a:pt x="82655" y="93534"/>
                  </a:cubicBezTo>
                  <a:cubicBezTo>
                    <a:pt x="98973" y="90814"/>
                    <a:pt x="123450" y="88094"/>
                    <a:pt x="131609" y="88094"/>
                  </a:cubicBezTo>
                  <a:cubicBezTo>
                    <a:pt x="131609" y="85375"/>
                    <a:pt x="131609" y="85375"/>
                    <a:pt x="131609" y="82655"/>
                  </a:cubicBezTo>
                  <a:cubicBezTo>
                    <a:pt x="131609" y="77216"/>
                    <a:pt x="131609" y="74496"/>
                    <a:pt x="134329" y="71776"/>
                  </a:cubicBezTo>
                  <a:cubicBezTo>
                    <a:pt x="137048" y="69057"/>
                    <a:pt x="145207" y="66337"/>
                    <a:pt x="147927" y="63617"/>
                  </a:cubicBezTo>
                  <a:cubicBezTo>
                    <a:pt x="153366" y="60898"/>
                    <a:pt x="158806" y="58178"/>
                    <a:pt x="164245" y="58178"/>
                  </a:cubicBezTo>
                  <a:cubicBezTo>
                    <a:pt x="169684" y="58178"/>
                    <a:pt x="175123" y="58178"/>
                    <a:pt x="177843" y="58178"/>
                  </a:cubicBezTo>
                  <a:cubicBezTo>
                    <a:pt x="183283" y="58178"/>
                    <a:pt x="191442" y="58178"/>
                    <a:pt x="196881" y="60898"/>
                  </a:cubicBezTo>
                  <a:cubicBezTo>
                    <a:pt x="213199" y="63617"/>
                    <a:pt x="224077" y="74496"/>
                    <a:pt x="232236" y="88094"/>
                  </a:cubicBezTo>
                  <a:cubicBezTo>
                    <a:pt x="253994" y="88094"/>
                    <a:pt x="270312" y="88094"/>
                    <a:pt x="278471" y="88094"/>
                  </a:cubicBezTo>
                  <a:cubicBezTo>
                    <a:pt x="292069" y="88094"/>
                    <a:pt x="316546" y="88094"/>
                    <a:pt x="316546" y="104412"/>
                  </a:cubicBezTo>
                  <a:cubicBezTo>
                    <a:pt x="316546" y="112571"/>
                    <a:pt x="313826" y="112571"/>
                    <a:pt x="311106" y="120730"/>
                  </a:cubicBezTo>
                  <a:cubicBezTo>
                    <a:pt x="305667" y="126170"/>
                    <a:pt x="300228" y="128889"/>
                    <a:pt x="294788" y="128889"/>
                  </a:cubicBezTo>
                  <a:cubicBezTo>
                    <a:pt x="286630" y="131609"/>
                    <a:pt x="278471" y="131609"/>
                    <a:pt x="273031" y="131609"/>
                  </a:cubicBezTo>
                  <a:cubicBezTo>
                    <a:pt x="270312" y="131609"/>
                    <a:pt x="259433" y="131609"/>
                    <a:pt x="243115" y="131609"/>
                  </a:cubicBezTo>
                  <a:lnTo>
                    <a:pt x="243115" y="134329"/>
                  </a:lnTo>
                  <a:cubicBezTo>
                    <a:pt x="245835" y="145207"/>
                    <a:pt x="245835" y="158805"/>
                    <a:pt x="248554" y="169684"/>
                  </a:cubicBezTo>
                  <a:cubicBezTo>
                    <a:pt x="251274" y="180563"/>
                    <a:pt x="251274" y="194161"/>
                    <a:pt x="251274" y="205040"/>
                  </a:cubicBezTo>
                  <a:cubicBezTo>
                    <a:pt x="251274" y="215918"/>
                    <a:pt x="251274" y="226797"/>
                    <a:pt x="251274" y="240395"/>
                  </a:cubicBezTo>
                  <a:cubicBezTo>
                    <a:pt x="251274" y="245834"/>
                    <a:pt x="251274" y="251274"/>
                    <a:pt x="251274" y="256713"/>
                  </a:cubicBezTo>
                  <a:cubicBezTo>
                    <a:pt x="251274" y="262152"/>
                    <a:pt x="251274" y="267592"/>
                    <a:pt x="253994" y="270311"/>
                  </a:cubicBezTo>
                  <a:cubicBezTo>
                    <a:pt x="256713" y="294788"/>
                    <a:pt x="256713" y="319265"/>
                    <a:pt x="259433" y="343742"/>
                  </a:cubicBezTo>
                  <a:cubicBezTo>
                    <a:pt x="259433" y="370939"/>
                    <a:pt x="262153" y="398135"/>
                    <a:pt x="262153" y="425332"/>
                  </a:cubicBezTo>
                  <a:cubicBezTo>
                    <a:pt x="262153" y="447089"/>
                    <a:pt x="262153" y="468846"/>
                    <a:pt x="264872" y="490603"/>
                  </a:cubicBezTo>
                  <a:cubicBezTo>
                    <a:pt x="264872" y="515080"/>
                    <a:pt x="270312" y="539557"/>
                    <a:pt x="270312" y="564034"/>
                  </a:cubicBezTo>
                  <a:cubicBezTo>
                    <a:pt x="270312" y="574913"/>
                    <a:pt x="270312" y="588511"/>
                    <a:pt x="270312" y="599390"/>
                  </a:cubicBezTo>
                  <a:cubicBezTo>
                    <a:pt x="270312" y="612988"/>
                    <a:pt x="270312" y="623867"/>
                    <a:pt x="270312" y="637465"/>
                  </a:cubicBezTo>
                  <a:cubicBezTo>
                    <a:pt x="270312" y="648343"/>
                    <a:pt x="270312" y="661942"/>
                    <a:pt x="264872" y="670101"/>
                  </a:cubicBezTo>
                  <a:cubicBezTo>
                    <a:pt x="273031" y="672820"/>
                    <a:pt x="278471" y="672820"/>
                    <a:pt x="283910" y="672820"/>
                  </a:cubicBezTo>
                  <a:lnTo>
                    <a:pt x="283910" y="672820"/>
                  </a:ln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: Shape 38">
              <a:extLst>
                <a:ext uri="{FF2B5EF4-FFF2-40B4-BE49-F238E27FC236}">
                  <a16:creationId xmlns:a16="http://schemas.microsoft.com/office/drawing/2014/main" id="{87BD61EB-293E-42B3-9B29-34C68BECB4A0}"/>
                </a:ext>
              </a:extLst>
            </p:cNvPr>
            <p:cNvSpPr/>
            <p:nvPr/>
          </p:nvSpPr>
          <p:spPr>
            <a:xfrm>
              <a:off x="4620880" y="4194877"/>
              <a:ext cx="598325" cy="761503"/>
            </a:xfrm>
            <a:custGeom>
              <a:avLst/>
              <a:gdLst>
                <a:gd name="connsiteX0" fmla="*/ 515081 w 598324"/>
                <a:gd name="connsiteY0" fmla="*/ 79935 h 761503"/>
                <a:gd name="connsiteX1" fmla="*/ 542277 w 598324"/>
                <a:gd name="connsiteY1" fmla="*/ 96253 h 761503"/>
                <a:gd name="connsiteX2" fmla="*/ 536838 w 598324"/>
                <a:gd name="connsiteY2" fmla="*/ 112571 h 761503"/>
                <a:gd name="connsiteX3" fmla="*/ 523240 w 598324"/>
                <a:gd name="connsiteY3" fmla="*/ 120730 h 761503"/>
                <a:gd name="connsiteX4" fmla="*/ 506922 w 598324"/>
                <a:gd name="connsiteY4" fmla="*/ 123450 h 761503"/>
                <a:gd name="connsiteX5" fmla="*/ 477006 w 598324"/>
                <a:gd name="connsiteY5" fmla="*/ 123450 h 761503"/>
                <a:gd name="connsiteX6" fmla="*/ 479725 w 598324"/>
                <a:gd name="connsiteY6" fmla="*/ 145207 h 761503"/>
                <a:gd name="connsiteX7" fmla="*/ 477006 w 598324"/>
                <a:gd name="connsiteY7" fmla="*/ 180563 h 761503"/>
                <a:gd name="connsiteX8" fmla="*/ 482445 w 598324"/>
                <a:gd name="connsiteY8" fmla="*/ 232236 h 761503"/>
                <a:gd name="connsiteX9" fmla="*/ 485165 w 598324"/>
                <a:gd name="connsiteY9" fmla="*/ 283909 h 761503"/>
                <a:gd name="connsiteX10" fmla="*/ 485165 w 598324"/>
                <a:gd name="connsiteY10" fmla="*/ 327424 h 761503"/>
                <a:gd name="connsiteX11" fmla="*/ 487884 w 598324"/>
                <a:gd name="connsiteY11" fmla="*/ 373658 h 761503"/>
                <a:gd name="connsiteX12" fmla="*/ 485165 w 598324"/>
                <a:gd name="connsiteY12" fmla="*/ 419892 h 761503"/>
                <a:gd name="connsiteX13" fmla="*/ 485165 w 598324"/>
                <a:gd name="connsiteY13" fmla="*/ 463407 h 761503"/>
                <a:gd name="connsiteX14" fmla="*/ 482445 w 598324"/>
                <a:gd name="connsiteY14" fmla="*/ 515080 h 761503"/>
                <a:gd name="connsiteX15" fmla="*/ 482445 w 598324"/>
                <a:gd name="connsiteY15" fmla="*/ 558595 h 761503"/>
                <a:gd name="connsiteX16" fmla="*/ 479725 w 598324"/>
                <a:gd name="connsiteY16" fmla="*/ 602109 h 761503"/>
                <a:gd name="connsiteX17" fmla="*/ 485165 w 598324"/>
                <a:gd name="connsiteY17" fmla="*/ 648343 h 761503"/>
                <a:gd name="connsiteX18" fmla="*/ 474286 w 598324"/>
                <a:gd name="connsiteY18" fmla="*/ 675540 h 761503"/>
                <a:gd name="connsiteX19" fmla="*/ 428052 w 598324"/>
                <a:gd name="connsiteY19" fmla="*/ 691858 h 761503"/>
                <a:gd name="connsiteX20" fmla="*/ 387257 w 598324"/>
                <a:gd name="connsiteY20" fmla="*/ 683699 h 761503"/>
                <a:gd name="connsiteX21" fmla="*/ 351901 w 598324"/>
                <a:gd name="connsiteY21" fmla="*/ 664661 h 761503"/>
                <a:gd name="connsiteX22" fmla="*/ 305667 w 598324"/>
                <a:gd name="connsiteY22" fmla="*/ 596670 h 761503"/>
                <a:gd name="connsiteX23" fmla="*/ 270312 w 598324"/>
                <a:gd name="connsiteY23" fmla="*/ 509641 h 761503"/>
                <a:gd name="connsiteX24" fmla="*/ 251274 w 598324"/>
                <a:gd name="connsiteY24" fmla="*/ 460687 h 761503"/>
                <a:gd name="connsiteX25" fmla="*/ 224077 w 598324"/>
                <a:gd name="connsiteY25" fmla="*/ 381817 h 761503"/>
                <a:gd name="connsiteX26" fmla="*/ 207759 w 598324"/>
                <a:gd name="connsiteY26" fmla="*/ 330144 h 761503"/>
                <a:gd name="connsiteX27" fmla="*/ 191442 w 598324"/>
                <a:gd name="connsiteY27" fmla="*/ 286629 h 761503"/>
                <a:gd name="connsiteX28" fmla="*/ 183283 w 598324"/>
                <a:gd name="connsiteY28" fmla="*/ 278470 h 761503"/>
                <a:gd name="connsiteX29" fmla="*/ 180563 w 598324"/>
                <a:gd name="connsiteY29" fmla="*/ 292068 h 761503"/>
                <a:gd name="connsiteX30" fmla="*/ 180563 w 598324"/>
                <a:gd name="connsiteY30" fmla="*/ 305667 h 761503"/>
                <a:gd name="connsiteX31" fmla="*/ 183283 w 598324"/>
                <a:gd name="connsiteY31" fmla="*/ 354620 h 761503"/>
                <a:gd name="connsiteX32" fmla="*/ 188722 w 598324"/>
                <a:gd name="connsiteY32" fmla="*/ 449808 h 761503"/>
                <a:gd name="connsiteX33" fmla="*/ 188722 w 598324"/>
                <a:gd name="connsiteY33" fmla="*/ 479725 h 761503"/>
                <a:gd name="connsiteX34" fmla="*/ 188722 w 598324"/>
                <a:gd name="connsiteY34" fmla="*/ 542277 h 761503"/>
                <a:gd name="connsiteX35" fmla="*/ 186002 w 598324"/>
                <a:gd name="connsiteY35" fmla="*/ 615708 h 761503"/>
                <a:gd name="connsiteX36" fmla="*/ 186002 w 598324"/>
                <a:gd name="connsiteY36" fmla="*/ 637465 h 761503"/>
                <a:gd name="connsiteX37" fmla="*/ 183283 w 598324"/>
                <a:gd name="connsiteY37" fmla="*/ 664661 h 761503"/>
                <a:gd name="connsiteX38" fmla="*/ 226797 w 598324"/>
                <a:gd name="connsiteY38" fmla="*/ 664661 h 761503"/>
                <a:gd name="connsiteX39" fmla="*/ 253994 w 598324"/>
                <a:gd name="connsiteY39" fmla="*/ 680979 h 761503"/>
                <a:gd name="connsiteX40" fmla="*/ 248554 w 598324"/>
                <a:gd name="connsiteY40" fmla="*/ 697297 h 761503"/>
                <a:gd name="connsiteX41" fmla="*/ 234956 w 598324"/>
                <a:gd name="connsiteY41" fmla="*/ 705456 h 761503"/>
                <a:gd name="connsiteX42" fmla="*/ 218638 w 598324"/>
                <a:gd name="connsiteY42" fmla="*/ 708176 h 761503"/>
                <a:gd name="connsiteX43" fmla="*/ 183283 w 598324"/>
                <a:gd name="connsiteY43" fmla="*/ 708176 h 761503"/>
                <a:gd name="connsiteX44" fmla="*/ 150647 w 598324"/>
                <a:gd name="connsiteY44" fmla="*/ 708176 h 761503"/>
                <a:gd name="connsiteX45" fmla="*/ 107132 w 598324"/>
                <a:gd name="connsiteY45" fmla="*/ 708176 h 761503"/>
                <a:gd name="connsiteX46" fmla="*/ 88094 w 598324"/>
                <a:gd name="connsiteY46" fmla="*/ 708176 h 761503"/>
                <a:gd name="connsiteX47" fmla="*/ 69057 w 598324"/>
                <a:gd name="connsiteY47" fmla="*/ 702736 h 761503"/>
                <a:gd name="connsiteX48" fmla="*/ 58178 w 598324"/>
                <a:gd name="connsiteY48" fmla="*/ 686418 h 761503"/>
                <a:gd name="connsiteX49" fmla="*/ 60898 w 598324"/>
                <a:gd name="connsiteY49" fmla="*/ 678259 h 761503"/>
                <a:gd name="connsiteX50" fmla="*/ 77216 w 598324"/>
                <a:gd name="connsiteY50" fmla="*/ 670101 h 761503"/>
                <a:gd name="connsiteX51" fmla="*/ 120730 w 598324"/>
                <a:gd name="connsiteY51" fmla="*/ 664661 h 761503"/>
                <a:gd name="connsiteX52" fmla="*/ 131609 w 598324"/>
                <a:gd name="connsiteY52" fmla="*/ 664661 h 761503"/>
                <a:gd name="connsiteX53" fmla="*/ 134329 w 598324"/>
                <a:gd name="connsiteY53" fmla="*/ 539557 h 761503"/>
                <a:gd name="connsiteX54" fmla="*/ 134329 w 598324"/>
                <a:gd name="connsiteY54" fmla="*/ 504201 h 761503"/>
                <a:gd name="connsiteX55" fmla="*/ 131609 w 598324"/>
                <a:gd name="connsiteY55" fmla="*/ 376378 h 761503"/>
                <a:gd name="connsiteX56" fmla="*/ 131609 w 598324"/>
                <a:gd name="connsiteY56" fmla="*/ 302947 h 761503"/>
                <a:gd name="connsiteX57" fmla="*/ 134329 w 598324"/>
                <a:gd name="connsiteY57" fmla="*/ 221357 h 761503"/>
                <a:gd name="connsiteX58" fmla="*/ 137048 w 598324"/>
                <a:gd name="connsiteY58" fmla="*/ 123450 h 761503"/>
                <a:gd name="connsiteX59" fmla="*/ 107132 w 598324"/>
                <a:gd name="connsiteY59" fmla="*/ 123450 h 761503"/>
                <a:gd name="connsiteX60" fmla="*/ 88094 w 598324"/>
                <a:gd name="connsiteY60" fmla="*/ 123450 h 761503"/>
                <a:gd name="connsiteX61" fmla="*/ 69057 w 598324"/>
                <a:gd name="connsiteY61" fmla="*/ 118011 h 761503"/>
                <a:gd name="connsiteX62" fmla="*/ 58178 w 598324"/>
                <a:gd name="connsiteY62" fmla="*/ 101693 h 761503"/>
                <a:gd name="connsiteX63" fmla="*/ 60898 w 598324"/>
                <a:gd name="connsiteY63" fmla="*/ 93534 h 761503"/>
                <a:gd name="connsiteX64" fmla="*/ 77216 w 598324"/>
                <a:gd name="connsiteY64" fmla="*/ 85375 h 761503"/>
                <a:gd name="connsiteX65" fmla="*/ 131609 w 598324"/>
                <a:gd name="connsiteY65" fmla="*/ 79935 h 761503"/>
                <a:gd name="connsiteX66" fmla="*/ 161525 w 598324"/>
                <a:gd name="connsiteY66" fmla="*/ 79935 h 761503"/>
                <a:gd name="connsiteX67" fmla="*/ 177843 w 598324"/>
                <a:gd name="connsiteY67" fmla="*/ 66337 h 761503"/>
                <a:gd name="connsiteX68" fmla="*/ 202320 w 598324"/>
                <a:gd name="connsiteY68" fmla="*/ 58178 h 761503"/>
                <a:gd name="connsiteX69" fmla="*/ 234956 w 598324"/>
                <a:gd name="connsiteY69" fmla="*/ 77216 h 761503"/>
                <a:gd name="connsiteX70" fmla="*/ 251274 w 598324"/>
                <a:gd name="connsiteY70" fmla="*/ 107132 h 761503"/>
                <a:gd name="connsiteX71" fmla="*/ 267592 w 598324"/>
                <a:gd name="connsiteY71" fmla="*/ 147927 h 761503"/>
                <a:gd name="connsiteX72" fmla="*/ 281190 w 598324"/>
                <a:gd name="connsiteY72" fmla="*/ 183282 h 761503"/>
                <a:gd name="connsiteX73" fmla="*/ 297508 w 598324"/>
                <a:gd name="connsiteY73" fmla="*/ 224077 h 761503"/>
                <a:gd name="connsiteX74" fmla="*/ 308387 w 598324"/>
                <a:gd name="connsiteY74" fmla="*/ 264872 h 761503"/>
                <a:gd name="connsiteX75" fmla="*/ 319265 w 598324"/>
                <a:gd name="connsiteY75" fmla="*/ 300227 h 761503"/>
                <a:gd name="connsiteX76" fmla="*/ 351901 w 598324"/>
                <a:gd name="connsiteY76" fmla="*/ 379097 h 761503"/>
                <a:gd name="connsiteX77" fmla="*/ 365500 w 598324"/>
                <a:gd name="connsiteY77" fmla="*/ 417173 h 761503"/>
                <a:gd name="connsiteX78" fmla="*/ 379098 w 598324"/>
                <a:gd name="connsiteY78" fmla="*/ 457967 h 761503"/>
                <a:gd name="connsiteX79" fmla="*/ 395416 w 598324"/>
                <a:gd name="connsiteY79" fmla="*/ 496043 h 761503"/>
                <a:gd name="connsiteX80" fmla="*/ 406294 w 598324"/>
                <a:gd name="connsiteY80" fmla="*/ 512361 h 761503"/>
                <a:gd name="connsiteX81" fmla="*/ 411734 w 598324"/>
                <a:gd name="connsiteY81" fmla="*/ 531398 h 761503"/>
                <a:gd name="connsiteX82" fmla="*/ 419893 w 598324"/>
                <a:gd name="connsiteY82" fmla="*/ 558595 h 761503"/>
                <a:gd name="connsiteX83" fmla="*/ 425332 w 598324"/>
                <a:gd name="connsiteY83" fmla="*/ 564034 h 761503"/>
                <a:gd name="connsiteX84" fmla="*/ 430771 w 598324"/>
                <a:gd name="connsiteY84" fmla="*/ 558595 h 761503"/>
                <a:gd name="connsiteX85" fmla="*/ 430771 w 598324"/>
                <a:gd name="connsiteY85" fmla="*/ 550436 h 761503"/>
                <a:gd name="connsiteX86" fmla="*/ 430771 w 598324"/>
                <a:gd name="connsiteY86" fmla="*/ 501482 h 761503"/>
                <a:gd name="connsiteX87" fmla="*/ 430771 w 598324"/>
                <a:gd name="connsiteY87" fmla="*/ 403574 h 761503"/>
                <a:gd name="connsiteX88" fmla="*/ 425332 w 598324"/>
                <a:gd name="connsiteY88" fmla="*/ 313826 h 761503"/>
                <a:gd name="connsiteX89" fmla="*/ 425332 w 598324"/>
                <a:gd name="connsiteY89" fmla="*/ 248554 h 761503"/>
                <a:gd name="connsiteX90" fmla="*/ 425332 w 598324"/>
                <a:gd name="connsiteY90" fmla="*/ 210479 h 761503"/>
                <a:gd name="connsiteX91" fmla="*/ 422613 w 598324"/>
                <a:gd name="connsiteY91" fmla="*/ 153366 h 761503"/>
                <a:gd name="connsiteX92" fmla="*/ 425332 w 598324"/>
                <a:gd name="connsiteY92" fmla="*/ 123450 h 761503"/>
                <a:gd name="connsiteX93" fmla="*/ 398136 w 598324"/>
                <a:gd name="connsiteY93" fmla="*/ 123450 h 761503"/>
                <a:gd name="connsiteX94" fmla="*/ 379098 w 598324"/>
                <a:gd name="connsiteY94" fmla="*/ 123450 h 761503"/>
                <a:gd name="connsiteX95" fmla="*/ 360060 w 598324"/>
                <a:gd name="connsiteY95" fmla="*/ 118011 h 761503"/>
                <a:gd name="connsiteX96" fmla="*/ 349182 w 598324"/>
                <a:gd name="connsiteY96" fmla="*/ 101693 h 761503"/>
                <a:gd name="connsiteX97" fmla="*/ 351901 w 598324"/>
                <a:gd name="connsiteY97" fmla="*/ 93534 h 761503"/>
                <a:gd name="connsiteX98" fmla="*/ 368219 w 598324"/>
                <a:gd name="connsiteY98" fmla="*/ 85375 h 761503"/>
                <a:gd name="connsiteX99" fmla="*/ 422613 w 598324"/>
                <a:gd name="connsiteY99" fmla="*/ 79935 h 761503"/>
                <a:gd name="connsiteX100" fmla="*/ 444370 w 598324"/>
                <a:gd name="connsiteY100" fmla="*/ 79935 h 761503"/>
                <a:gd name="connsiteX101" fmla="*/ 463407 w 598324"/>
                <a:gd name="connsiteY101" fmla="*/ 71776 h 761503"/>
                <a:gd name="connsiteX102" fmla="*/ 477006 w 598324"/>
                <a:gd name="connsiteY102" fmla="*/ 79935 h 761503"/>
                <a:gd name="connsiteX103" fmla="*/ 515081 w 598324"/>
                <a:gd name="connsiteY103" fmla="*/ 79935 h 761503"/>
                <a:gd name="connsiteX104" fmla="*/ 515081 w 598324"/>
                <a:gd name="connsiteY104" fmla="*/ 79935 h 761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</a:cxnLst>
              <a:rect l="l" t="t" r="r" b="b"/>
              <a:pathLst>
                <a:path w="598324" h="761503">
                  <a:moveTo>
                    <a:pt x="515081" y="79935"/>
                  </a:moveTo>
                  <a:cubicBezTo>
                    <a:pt x="523240" y="79935"/>
                    <a:pt x="542277" y="79935"/>
                    <a:pt x="542277" y="96253"/>
                  </a:cubicBezTo>
                  <a:cubicBezTo>
                    <a:pt x="542277" y="104412"/>
                    <a:pt x="542277" y="107132"/>
                    <a:pt x="536838" y="112571"/>
                  </a:cubicBezTo>
                  <a:cubicBezTo>
                    <a:pt x="534119" y="118011"/>
                    <a:pt x="528679" y="120730"/>
                    <a:pt x="523240" y="120730"/>
                  </a:cubicBezTo>
                  <a:cubicBezTo>
                    <a:pt x="515081" y="123450"/>
                    <a:pt x="512361" y="123450"/>
                    <a:pt x="506922" y="123450"/>
                  </a:cubicBezTo>
                  <a:cubicBezTo>
                    <a:pt x="504202" y="123450"/>
                    <a:pt x="490604" y="123450"/>
                    <a:pt x="477006" y="123450"/>
                  </a:cubicBezTo>
                  <a:cubicBezTo>
                    <a:pt x="477006" y="131609"/>
                    <a:pt x="479725" y="137048"/>
                    <a:pt x="479725" y="145207"/>
                  </a:cubicBezTo>
                  <a:cubicBezTo>
                    <a:pt x="479725" y="156086"/>
                    <a:pt x="477006" y="166964"/>
                    <a:pt x="477006" y="180563"/>
                  </a:cubicBezTo>
                  <a:cubicBezTo>
                    <a:pt x="477006" y="196881"/>
                    <a:pt x="479725" y="215918"/>
                    <a:pt x="482445" y="232236"/>
                  </a:cubicBezTo>
                  <a:cubicBezTo>
                    <a:pt x="485165" y="248554"/>
                    <a:pt x="485165" y="267592"/>
                    <a:pt x="485165" y="283909"/>
                  </a:cubicBezTo>
                  <a:cubicBezTo>
                    <a:pt x="485165" y="297508"/>
                    <a:pt x="485165" y="313826"/>
                    <a:pt x="485165" y="327424"/>
                  </a:cubicBezTo>
                  <a:cubicBezTo>
                    <a:pt x="485165" y="343742"/>
                    <a:pt x="487884" y="357340"/>
                    <a:pt x="487884" y="373658"/>
                  </a:cubicBezTo>
                  <a:cubicBezTo>
                    <a:pt x="487884" y="389976"/>
                    <a:pt x="485165" y="403574"/>
                    <a:pt x="485165" y="419892"/>
                  </a:cubicBezTo>
                  <a:cubicBezTo>
                    <a:pt x="485165" y="436210"/>
                    <a:pt x="485165" y="449808"/>
                    <a:pt x="485165" y="463407"/>
                  </a:cubicBezTo>
                  <a:cubicBezTo>
                    <a:pt x="485165" y="479725"/>
                    <a:pt x="485165" y="498762"/>
                    <a:pt x="482445" y="515080"/>
                  </a:cubicBezTo>
                  <a:cubicBezTo>
                    <a:pt x="482445" y="528678"/>
                    <a:pt x="482445" y="542277"/>
                    <a:pt x="482445" y="558595"/>
                  </a:cubicBezTo>
                  <a:cubicBezTo>
                    <a:pt x="482445" y="572193"/>
                    <a:pt x="479725" y="588511"/>
                    <a:pt x="479725" y="602109"/>
                  </a:cubicBezTo>
                  <a:cubicBezTo>
                    <a:pt x="479725" y="615708"/>
                    <a:pt x="485165" y="632025"/>
                    <a:pt x="485165" y="648343"/>
                  </a:cubicBezTo>
                  <a:cubicBezTo>
                    <a:pt x="485165" y="659222"/>
                    <a:pt x="482445" y="670101"/>
                    <a:pt x="474286" y="675540"/>
                  </a:cubicBezTo>
                  <a:cubicBezTo>
                    <a:pt x="460688" y="686418"/>
                    <a:pt x="444370" y="691858"/>
                    <a:pt x="428052" y="691858"/>
                  </a:cubicBezTo>
                  <a:cubicBezTo>
                    <a:pt x="414453" y="691858"/>
                    <a:pt x="400855" y="689138"/>
                    <a:pt x="387257" y="683699"/>
                  </a:cubicBezTo>
                  <a:cubicBezTo>
                    <a:pt x="373659" y="678259"/>
                    <a:pt x="360060" y="672820"/>
                    <a:pt x="351901" y="664661"/>
                  </a:cubicBezTo>
                  <a:cubicBezTo>
                    <a:pt x="330144" y="645624"/>
                    <a:pt x="316546" y="621147"/>
                    <a:pt x="305667" y="596670"/>
                  </a:cubicBezTo>
                  <a:cubicBezTo>
                    <a:pt x="292069" y="569473"/>
                    <a:pt x="281190" y="539557"/>
                    <a:pt x="270312" y="509641"/>
                  </a:cubicBezTo>
                  <a:cubicBezTo>
                    <a:pt x="264872" y="493323"/>
                    <a:pt x="256713" y="477005"/>
                    <a:pt x="251274" y="460687"/>
                  </a:cubicBezTo>
                  <a:cubicBezTo>
                    <a:pt x="240395" y="433490"/>
                    <a:pt x="232236" y="409014"/>
                    <a:pt x="224077" y="381817"/>
                  </a:cubicBezTo>
                  <a:cubicBezTo>
                    <a:pt x="218638" y="365499"/>
                    <a:pt x="213199" y="346462"/>
                    <a:pt x="207759" y="330144"/>
                  </a:cubicBezTo>
                  <a:cubicBezTo>
                    <a:pt x="202320" y="316545"/>
                    <a:pt x="196881" y="300227"/>
                    <a:pt x="191442" y="286629"/>
                  </a:cubicBezTo>
                  <a:cubicBezTo>
                    <a:pt x="188722" y="281190"/>
                    <a:pt x="186002" y="278470"/>
                    <a:pt x="183283" y="278470"/>
                  </a:cubicBezTo>
                  <a:cubicBezTo>
                    <a:pt x="180563" y="278470"/>
                    <a:pt x="180563" y="286629"/>
                    <a:pt x="180563" y="292068"/>
                  </a:cubicBezTo>
                  <a:cubicBezTo>
                    <a:pt x="180563" y="297508"/>
                    <a:pt x="180563" y="302947"/>
                    <a:pt x="180563" y="305667"/>
                  </a:cubicBezTo>
                  <a:cubicBezTo>
                    <a:pt x="180563" y="321985"/>
                    <a:pt x="183283" y="338303"/>
                    <a:pt x="183283" y="354620"/>
                  </a:cubicBezTo>
                  <a:cubicBezTo>
                    <a:pt x="183283" y="387256"/>
                    <a:pt x="186002" y="417173"/>
                    <a:pt x="188722" y="449808"/>
                  </a:cubicBezTo>
                  <a:cubicBezTo>
                    <a:pt x="188722" y="460687"/>
                    <a:pt x="188722" y="468846"/>
                    <a:pt x="188722" y="479725"/>
                  </a:cubicBezTo>
                  <a:cubicBezTo>
                    <a:pt x="188722" y="501482"/>
                    <a:pt x="188722" y="523239"/>
                    <a:pt x="188722" y="542277"/>
                  </a:cubicBezTo>
                  <a:cubicBezTo>
                    <a:pt x="188722" y="566754"/>
                    <a:pt x="186002" y="591231"/>
                    <a:pt x="186002" y="615708"/>
                  </a:cubicBezTo>
                  <a:cubicBezTo>
                    <a:pt x="186002" y="623866"/>
                    <a:pt x="186002" y="632025"/>
                    <a:pt x="186002" y="637465"/>
                  </a:cubicBezTo>
                  <a:cubicBezTo>
                    <a:pt x="186002" y="645624"/>
                    <a:pt x="183283" y="656502"/>
                    <a:pt x="183283" y="664661"/>
                  </a:cubicBezTo>
                  <a:cubicBezTo>
                    <a:pt x="202320" y="664661"/>
                    <a:pt x="218638" y="664661"/>
                    <a:pt x="226797" y="664661"/>
                  </a:cubicBezTo>
                  <a:cubicBezTo>
                    <a:pt x="234956" y="664661"/>
                    <a:pt x="253994" y="664661"/>
                    <a:pt x="253994" y="680979"/>
                  </a:cubicBezTo>
                  <a:cubicBezTo>
                    <a:pt x="253994" y="689138"/>
                    <a:pt x="253994" y="691858"/>
                    <a:pt x="248554" y="697297"/>
                  </a:cubicBezTo>
                  <a:cubicBezTo>
                    <a:pt x="245835" y="702736"/>
                    <a:pt x="240395" y="705456"/>
                    <a:pt x="234956" y="705456"/>
                  </a:cubicBezTo>
                  <a:cubicBezTo>
                    <a:pt x="226797" y="708176"/>
                    <a:pt x="224077" y="708176"/>
                    <a:pt x="218638" y="708176"/>
                  </a:cubicBezTo>
                  <a:cubicBezTo>
                    <a:pt x="215918" y="708176"/>
                    <a:pt x="199600" y="708176"/>
                    <a:pt x="183283" y="708176"/>
                  </a:cubicBezTo>
                  <a:cubicBezTo>
                    <a:pt x="166965" y="708176"/>
                    <a:pt x="153366" y="708176"/>
                    <a:pt x="150647" y="708176"/>
                  </a:cubicBezTo>
                  <a:cubicBezTo>
                    <a:pt x="139768" y="708176"/>
                    <a:pt x="120730" y="708176"/>
                    <a:pt x="107132" y="708176"/>
                  </a:cubicBezTo>
                  <a:cubicBezTo>
                    <a:pt x="101693" y="708176"/>
                    <a:pt x="96254" y="708176"/>
                    <a:pt x="88094" y="708176"/>
                  </a:cubicBezTo>
                  <a:cubicBezTo>
                    <a:pt x="82655" y="708176"/>
                    <a:pt x="74496" y="708176"/>
                    <a:pt x="69057" y="702736"/>
                  </a:cubicBezTo>
                  <a:cubicBezTo>
                    <a:pt x="63617" y="700017"/>
                    <a:pt x="58178" y="691858"/>
                    <a:pt x="58178" y="686418"/>
                  </a:cubicBezTo>
                  <a:cubicBezTo>
                    <a:pt x="58178" y="683699"/>
                    <a:pt x="58178" y="680979"/>
                    <a:pt x="60898" y="678259"/>
                  </a:cubicBezTo>
                  <a:cubicBezTo>
                    <a:pt x="63617" y="675540"/>
                    <a:pt x="71777" y="672820"/>
                    <a:pt x="77216" y="670101"/>
                  </a:cubicBezTo>
                  <a:cubicBezTo>
                    <a:pt x="90814" y="667381"/>
                    <a:pt x="115291" y="664661"/>
                    <a:pt x="120730" y="664661"/>
                  </a:cubicBezTo>
                  <a:cubicBezTo>
                    <a:pt x="123450" y="664661"/>
                    <a:pt x="126170" y="664661"/>
                    <a:pt x="131609" y="664661"/>
                  </a:cubicBezTo>
                  <a:cubicBezTo>
                    <a:pt x="131609" y="623866"/>
                    <a:pt x="134329" y="583072"/>
                    <a:pt x="134329" y="539557"/>
                  </a:cubicBezTo>
                  <a:cubicBezTo>
                    <a:pt x="134329" y="528678"/>
                    <a:pt x="134329" y="515080"/>
                    <a:pt x="134329" y="504201"/>
                  </a:cubicBezTo>
                  <a:cubicBezTo>
                    <a:pt x="131609" y="460687"/>
                    <a:pt x="131609" y="417173"/>
                    <a:pt x="131609" y="376378"/>
                  </a:cubicBezTo>
                  <a:cubicBezTo>
                    <a:pt x="131609" y="351901"/>
                    <a:pt x="131609" y="327424"/>
                    <a:pt x="131609" y="302947"/>
                  </a:cubicBezTo>
                  <a:cubicBezTo>
                    <a:pt x="131609" y="275751"/>
                    <a:pt x="131609" y="248554"/>
                    <a:pt x="134329" y="221357"/>
                  </a:cubicBezTo>
                  <a:cubicBezTo>
                    <a:pt x="134329" y="188722"/>
                    <a:pt x="137048" y="156086"/>
                    <a:pt x="137048" y="123450"/>
                  </a:cubicBezTo>
                  <a:cubicBezTo>
                    <a:pt x="126170" y="123450"/>
                    <a:pt x="115291" y="123450"/>
                    <a:pt x="107132" y="123450"/>
                  </a:cubicBezTo>
                  <a:cubicBezTo>
                    <a:pt x="101693" y="123450"/>
                    <a:pt x="96254" y="123450"/>
                    <a:pt x="88094" y="123450"/>
                  </a:cubicBezTo>
                  <a:cubicBezTo>
                    <a:pt x="82655" y="123450"/>
                    <a:pt x="74496" y="120730"/>
                    <a:pt x="69057" y="118011"/>
                  </a:cubicBezTo>
                  <a:cubicBezTo>
                    <a:pt x="63617" y="115291"/>
                    <a:pt x="58178" y="107132"/>
                    <a:pt x="58178" y="101693"/>
                  </a:cubicBezTo>
                  <a:cubicBezTo>
                    <a:pt x="58178" y="98973"/>
                    <a:pt x="58178" y="96253"/>
                    <a:pt x="60898" y="93534"/>
                  </a:cubicBezTo>
                  <a:cubicBezTo>
                    <a:pt x="63617" y="90814"/>
                    <a:pt x="71777" y="88094"/>
                    <a:pt x="77216" y="85375"/>
                  </a:cubicBezTo>
                  <a:cubicBezTo>
                    <a:pt x="90814" y="82655"/>
                    <a:pt x="126170" y="79935"/>
                    <a:pt x="131609" y="79935"/>
                  </a:cubicBezTo>
                  <a:cubicBezTo>
                    <a:pt x="137048" y="79935"/>
                    <a:pt x="147927" y="79935"/>
                    <a:pt x="161525" y="79935"/>
                  </a:cubicBezTo>
                  <a:cubicBezTo>
                    <a:pt x="166965" y="74496"/>
                    <a:pt x="172404" y="71776"/>
                    <a:pt x="177843" y="66337"/>
                  </a:cubicBezTo>
                  <a:cubicBezTo>
                    <a:pt x="186002" y="60898"/>
                    <a:pt x="194161" y="58178"/>
                    <a:pt x="202320" y="58178"/>
                  </a:cubicBezTo>
                  <a:cubicBezTo>
                    <a:pt x="215918" y="58178"/>
                    <a:pt x="226797" y="63617"/>
                    <a:pt x="234956" y="77216"/>
                  </a:cubicBezTo>
                  <a:cubicBezTo>
                    <a:pt x="240395" y="88094"/>
                    <a:pt x="248554" y="96253"/>
                    <a:pt x="251274" y="107132"/>
                  </a:cubicBezTo>
                  <a:cubicBezTo>
                    <a:pt x="256713" y="120730"/>
                    <a:pt x="259433" y="134328"/>
                    <a:pt x="267592" y="147927"/>
                  </a:cubicBezTo>
                  <a:cubicBezTo>
                    <a:pt x="273031" y="158805"/>
                    <a:pt x="275751" y="172404"/>
                    <a:pt x="281190" y="183282"/>
                  </a:cubicBezTo>
                  <a:cubicBezTo>
                    <a:pt x="286630" y="196881"/>
                    <a:pt x="292069" y="210479"/>
                    <a:pt x="297508" y="224077"/>
                  </a:cubicBezTo>
                  <a:cubicBezTo>
                    <a:pt x="300228" y="237675"/>
                    <a:pt x="305667" y="251274"/>
                    <a:pt x="308387" y="264872"/>
                  </a:cubicBezTo>
                  <a:cubicBezTo>
                    <a:pt x="311106" y="278470"/>
                    <a:pt x="311106" y="289349"/>
                    <a:pt x="319265" y="300227"/>
                  </a:cubicBezTo>
                  <a:cubicBezTo>
                    <a:pt x="332864" y="324704"/>
                    <a:pt x="346462" y="351901"/>
                    <a:pt x="351901" y="379097"/>
                  </a:cubicBezTo>
                  <a:cubicBezTo>
                    <a:pt x="354621" y="392696"/>
                    <a:pt x="360060" y="403574"/>
                    <a:pt x="365500" y="417173"/>
                  </a:cubicBezTo>
                  <a:cubicBezTo>
                    <a:pt x="373659" y="430771"/>
                    <a:pt x="373659" y="444369"/>
                    <a:pt x="379098" y="457967"/>
                  </a:cubicBezTo>
                  <a:cubicBezTo>
                    <a:pt x="381818" y="471566"/>
                    <a:pt x="387257" y="482444"/>
                    <a:pt x="395416" y="496043"/>
                  </a:cubicBezTo>
                  <a:cubicBezTo>
                    <a:pt x="398136" y="501482"/>
                    <a:pt x="403575" y="506921"/>
                    <a:pt x="406294" y="512361"/>
                  </a:cubicBezTo>
                  <a:cubicBezTo>
                    <a:pt x="409014" y="517800"/>
                    <a:pt x="409014" y="525959"/>
                    <a:pt x="411734" y="531398"/>
                  </a:cubicBezTo>
                  <a:cubicBezTo>
                    <a:pt x="414453" y="539557"/>
                    <a:pt x="417173" y="550436"/>
                    <a:pt x="419893" y="558595"/>
                  </a:cubicBezTo>
                  <a:cubicBezTo>
                    <a:pt x="422613" y="561314"/>
                    <a:pt x="422613" y="564034"/>
                    <a:pt x="425332" y="564034"/>
                  </a:cubicBezTo>
                  <a:cubicBezTo>
                    <a:pt x="428052" y="564034"/>
                    <a:pt x="428052" y="561314"/>
                    <a:pt x="430771" y="558595"/>
                  </a:cubicBezTo>
                  <a:cubicBezTo>
                    <a:pt x="430771" y="555875"/>
                    <a:pt x="430771" y="553155"/>
                    <a:pt x="430771" y="550436"/>
                  </a:cubicBezTo>
                  <a:cubicBezTo>
                    <a:pt x="430771" y="534118"/>
                    <a:pt x="430771" y="517800"/>
                    <a:pt x="430771" y="501482"/>
                  </a:cubicBezTo>
                  <a:cubicBezTo>
                    <a:pt x="430771" y="468846"/>
                    <a:pt x="433491" y="436210"/>
                    <a:pt x="430771" y="403574"/>
                  </a:cubicBezTo>
                  <a:cubicBezTo>
                    <a:pt x="430771" y="373658"/>
                    <a:pt x="425332" y="343742"/>
                    <a:pt x="425332" y="313826"/>
                  </a:cubicBezTo>
                  <a:cubicBezTo>
                    <a:pt x="425332" y="292068"/>
                    <a:pt x="425332" y="270311"/>
                    <a:pt x="425332" y="248554"/>
                  </a:cubicBezTo>
                  <a:cubicBezTo>
                    <a:pt x="425332" y="234956"/>
                    <a:pt x="425332" y="224077"/>
                    <a:pt x="425332" y="210479"/>
                  </a:cubicBezTo>
                  <a:cubicBezTo>
                    <a:pt x="425332" y="191441"/>
                    <a:pt x="422613" y="172404"/>
                    <a:pt x="422613" y="153366"/>
                  </a:cubicBezTo>
                  <a:cubicBezTo>
                    <a:pt x="422613" y="142487"/>
                    <a:pt x="422613" y="134328"/>
                    <a:pt x="425332" y="123450"/>
                  </a:cubicBezTo>
                  <a:cubicBezTo>
                    <a:pt x="417173" y="123450"/>
                    <a:pt x="406294" y="123450"/>
                    <a:pt x="398136" y="123450"/>
                  </a:cubicBezTo>
                  <a:cubicBezTo>
                    <a:pt x="392696" y="123450"/>
                    <a:pt x="387257" y="123450"/>
                    <a:pt x="379098" y="123450"/>
                  </a:cubicBezTo>
                  <a:cubicBezTo>
                    <a:pt x="373659" y="123450"/>
                    <a:pt x="365500" y="120730"/>
                    <a:pt x="360060" y="118011"/>
                  </a:cubicBezTo>
                  <a:cubicBezTo>
                    <a:pt x="354621" y="115291"/>
                    <a:pt x="349182" y="107132"/>
                    <a:pt x="349182" y="101693"/>
                  </a:cubicBezTo>
                  <a:cubicBezTo>
                    <a:pt x="349182" y="98973"/>
                    <a:pt x="349182" y="96253"/>
                    <a:pt x="351901" y="93534"/>
                  </a:cubicBezTo>
                  <a:cubicBezTo>
                    <a:pt x="354621" y="90814"/>
                    <a:pt x="362780" y="88094"/>
                    <a:pt x="368219" y="85375"/>
                  </a:cubicBezTo>
                  <a:cubicBezTo>
                    <a:pt x="381818" y="82655"/>
                    <a:pt x="417173" y="79935"/>
                    <a:pt x="422613" y="79935"/>
                  </a:cubicBezTo>
                  <a:cubicBezTo>
                    <a:pt x="428052" y="79935"/>
                    <a:pt x="433491" y="79935"/>
                    <a:pt x="444370" y="79935"/>
                  </a:cubicBezTo>
                  <a:cubicBezTo>
                    <a:pt x="449809" y="74496"/>
                    <a:pt x="455248" y="71776"/>
                    <a:pt x="463407" y="71776"/>
                  </a:cubicBezTo>
                  <a:cubicBezTo>
                    <a:pt x="471566" y="71776"/>
                    <a:pt x="477006" y="74496"/>
                    <a:pt x="477006" y="79935"/>
                  </a:cubicBezTo>
                  <a:cubicBezTo>
                    <a:pt x="493324" y="79935"/>
                    <a:pt x="506922" y="79935"/>
                    <a:pt x="515081" y="79935"/>
                  </a:cubicBezTo>
                  <a:lnTo>
                    <a:pt x="515081" y="79935"/>
                  </a:ln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0" name="Freeform: Shape 39">
              <a:extLst>
                <a:ext uri="{FF2B5EF4-FFF2-40B4-BE49-F238E27FC236}">
                  <a16:creationId xmlns:a16="http://schemas.microsoft.com/office/drawing/2014/main" id="{85E6D875-3902-4C5B-BBC1-7ADBFCB34A9E}"/>
                </a:ext>
              </a:extLst>
            </p:cNvPr>
            <p:cNvSpPr/>
            <p:nvPr/>
          </p:nvSpPr>
          <p:spPr>
            <a:xfrm>
              <a:off x="5139126" y="4192158"/>
              <a:ext cx="516735" cy="788700"/>
            </a:xfrm>
            <a:custGeom>
              <a:avLst/>
              <a:gdLst>
                <a:gd name="connsiteX0" fmla="*/ 464616 w 516735"/>
                <a:gd name="connsiteY0" fmla="*/ 436210 h 788699"/>
                <a:gd name="connsiteX1" fmla="*/ 445578 w 516735"/>
                <a:gd name="connsiteY1" fmla="*/ 455248 h 788699"/>
                <a:gd name="connsiteX2" fmla="*/ 404784 w 516735"/>
                <a:gd name="connsiteY2" fmla="*/ 466126 h 788699"/>
                <a:gd name="connsiteX3" fmla="*/ 385746 w 516735"/>
                <a:gd name="connsiteY3" fmla="*/ 479725 h 788699"/>
                <a:gd name="connsiteX4" fmla="*/ 388466 w 516735"/>
                <a:gd name="connsiteY4" fmla="*/ 512361 h 788699"/>
                <a:gd name="connsiteX5" fmla="*/ 388466 w 516735"/>
                <a:gd name="connsiteY5" fmla="*/ 544997 h 788699"/>
                <a:gd name="connsiteX6" fmla="*/ 388466 w 516735"/>
                <a:gd name="connsiteY6" fmla="*/ 566754 h 788699"/>
                <a:gd name="connsiteX7" fmla="*/ 391185 w 516735"/>
                <a:gd name="connsiteY7" fmla="*/ 632026 h 788699"/>
                <a:gd name="connsiteX8" fmla="*/ 393905 w 516735"/>
                <a:gd name="connsiteY8" fmla="*/ 683699 h 788699"/>
                <a:gd name="connsiteX9" fmla="*/ 377587 w 516735"/>
                <a:gd name="connsiteY9" fmla="*/ 724494 h 788699"/>
                <a:gd name="connsiteX10" fmla="*/ 361269 w 516735"/>
                <a:gd name="connsiteY10" fmla="*/ 719054 h 788699"/>
                <a:gd name="connsiteX11" fmla="*/ 353110 w 516735"/>
                <a:gd name="connsiteY11" fmla="*/ 702737 h 788699"/>
                <a:gd name="connsiteX12" fmla="*/ 350390 w 516735"/>
                <a:gd name="connsiteY12" fmla="*/ 686419 h 788699"/>
                <a:gd name="connsiteX13" fmla="*/ 353110 w 516735"/>
                <a:gd name="connsiteY13" fmla="*/ 659222 h 788699"/>
                <a:gd name="connsiteX14" fmla="*/ 353110 w 516735"/>
                <a:gd name="connsiteY14" fmla="*/ 656502 h 788699"/>
                <a:gd name="connsiteX15" fmla="*/ 317755 w 516735"/>
                <a:gd name="connsiteY15" fmla="*/ 708176 h 788699"/>
                <a:gd name="connsiteX16" fmla="*/ 241604 w 516735"/>
                <a:gd name="connsiteY16" fmla="*/ 735372 h 788699"/>
                <a:gd name="connsiteX17" fmla="*/ 187211 w 516735"/>
                <a:gd name="connsiteY17" fmla="*/ 727214 h 788699"/>
                <a:gd name="connsiteX18" fmla="*/ 135538 w 516735"/>
                <a:gd name="connsiteY18" fmla="*/ 694578 h 788699"/>
                <a:gd name="connsiteX19" fmla="*/ 86584 w 516735"/>
                <a:gd name="connsiteY19" fmla="*/ 621147 h 788699"/>
                <a:gd name="connsiteX20" fmla="*/ 67546 w 516735"/>
                <a:gd name="connsiteY20" fmla="*/ 555875 h 788699"/>
                <a:gd name="connsiteX21" fmla="*/ 59387 w 516735"/>
                <a:gd name="connsiteY21" fmla="*/ 509641 h 788699"/>
                <a:gd name="connsiteX22" fmla="*/ 59387 w 516735"/>
                <a:gd name="connsiteY22" fmla="*/ 468846 h 788699"/>
                <a:gd name="connsiteX23" fmla="*/ 86584 w 516735"/>
                <a:gd name="connsiteY23" fmla="*/ 302947 h 788699"/>
                <a:gd name="connsiteX24" fmla="*/ 108341 w 516735"/>
                <a:gd name="connsiteY24" fmla="*/ 224077 h 788699"/>
                <a:gd name="connsiteX25" fmla="*/ 146416 w 516735"/>
                <a:gd name="connsiteY25" fmla="*/ 145207 h 788699"/>
                <a:gd name="connsiteX26" fmla="*/ 198090 w 516735"/>
                <a:gd name="connsiteY26" fmla="*/ 85375 h 788699"/>
                <a:gd name="connsiteX27" fmla="*/ 228006 w 516735"/>
                <a:gd name="connsiteY27" fmla="*/ 69057 h 788699"/>
                <a:gd name="connsiteX28" fmla="*/ 268801 w 516735"/>
                <a:gd name="connsiteY28" fmla="*/ 58178 h 788699"/>
                <a:gd name="connsiteX29" fmla="*/ 274240 w 516735"/>
                <a:gd name="connsiteY29" fmla="*/ 58178 h 788699"/>
                <a:gd name="connsiteX30" fmla="*/ 295997 w 516735"/>
                <a:gd name="connsiteY30" fmla="*/ 60898 h 788699"/>
                <a:gd name="connsiteX31" fmla="*/ 331353 w 516735"/>
                <a:gd name="connsiteY31" fmla="*/ 71776 h 788699"/>
                <a:gd name="connsiteX32" fmla="*/ 350390 w 516735"/>
                <a:gd name="connsiteY32" fmla="*/ 93534 h 788699"/>
                <a:gd name="connsiteX33" fmla="*/ 353110 w 516735"/>
                <a:gd name="connsiteY33" fmla="*/ 74496 h 788699"/>
                <a:gd name="connsiteX34" fmla="*/ 358549 w 516735"/>
                <a:gd name="connsiteY34" fmla="*/ 63618 h 788699"/>
                <a:gd name="connsiteX35" fmla="*/ 366708 w 516735"/>
                <a:gd name="connsiteY35" fmla="*/ 58178 h 788699"/>
                <a:gd name="connsiteX36" fmla="*/ 374867 w 516735"/>
                <a:gd name="connsiteY36" fmla="*/ 63618 h 788699"/>
                <a:gd name="connsiteX37" fmla="*/ 383026 w 516735"/>
                <a:gd name="connsiteY37" fmla="*/ 82655 h 788699"/>
                <a:gd name="connsiteX38" fmla="*/ 385746 w 516735"/>
                <a:gd name="connsiteY38" fmla="*/ 126170 h 788699"/>
                <a:gd name="connsiteX39" fmla="*/ 388466 w 516735"/>
                <a:gd name="connsiteY39" fmla="*/ 186002 h 788699"/>
                <a:gd name="connsiteX40" fmla="*/ 391185 w 516735"/>
                <a:gd name="connsiteY40" fmla="*/ 237676 h 788699"/>
                <a:gd name="connsiteX41" fmla="*/ 374867 w 516735"/>
                <a:gd name="connsiteY41" fmla="*/ 278470 h 788699"/>
                <a:gd name="connsiteX42" fmla="*/ 358549 w 516735"/>
                <a:gd name="connsiteY42" fmla="*/ 273031 h 788699"/>
                <a:gd name="connsiteX43" fmla="*/ 350390 w 516735"/>
                <a:gd name="connsiteY43" fmla="*/ 256713 h 788699"/>
                <a:gd name="connsiteX44" fmla="*/ 347671 w 516735"/>
                <a:gd name="connsiteY44" fmla="*/ 240395 h 788699"/>
                <a:gd name="connsiteX45" fmla="*/ 347671 w 516735"/>
                <a:gd name="connsiteY45" fmla="*/ 213199 h 788699"/>
                <a:gd name="connsiteX46" fmla="*/ 344951 w 516735"/>
                <a:gd name="connsiteY46" fmla="*/ 194161 h 788699"/>
                <a:gd name="connsiteX47" fmla="*/ 339512 w 516735"/>
                <a:gd name="connsiteY47" fmla="*/ 150647 h 788699"/>
                <a:gd name="connsiteX48" fmla="*/ 323194 w 516735"/>
                <a:gd name="connsiteY48" fmla="*/ 112571 h 788699"/>
                <a:gd name="connsiteX49" fmla="*/ 293278 w 516735"/>
                <a:gd name="connsiteY49" fmla="*/ 101693 h 788699"/>
                <a:gd name="connsiteX50" fmla="*/ 263361 w 516735"/>
                <a:gd name="connsiteY50" fmla="*/ 120730 h 788699"/>
                <a:gd name="connsiteX51" fmla="*/ 241604 w 516735"/>
                <a:gd name="connsiteY51" fmla="*/ 153366 h 788699"/>
                <a:gd name="connsiteX52" fmla="*/ 233445 w 516735"/>
                <a:gd name="connsiteY52" fmla="*/ 194161 h 788699"/>
                <a:gd name="connsiteX53" fmla="*/ 225286 w 516735"/>
                <a:gd name="connsiteY53" fmla="*/ 232236 h 788699"/>
                <a:gd name="connsiteX54" fmla="*/ 217127 w 516735"/>
                <a:gd name="connsiteY54" fmla="*/ 275751 h 788699"/>
                <a:gd name="connsiteX55" fmla="*/ 211688 w 516735"/>
                <a:gd name="connsiteY55" fmla="*/ 316545 h 788699"/>
                <a:gd name="connsiteX56" fmla="*/ 206249 w 516735"/>
                <a:gd name="connsiteY56" fmla="*/ 354621 h 788699"/>
                <a:gd name="connsiteX57" fmla="*/ 200809 w 516735"/>
                <a:gd name="connsiteY57" fmla="*/ 398135 h 788699"/>
                <a:gd name="connsiteX58" fmla="*/ 195370 w 516735"/>
                <a:gd name="connsiteY58" fmla="*/ 438930 h 788699"/>
                <a:gd name="connsiteX59" fmla="*/ 192650 w 516735"/>
                <a:gd name="connsiteY59" fmla="*/ 474286 h 788699"/>
                <a:gd name="connsiteX60" fmla="*/ 195370 w 516735"/>
                <a:gd name="connsiteY60" fmla="*/ 525959 h 788699"/>
                <a:gd name="connsiteX61" fmla="*/ 208968 w 516735"/>
                <a:gd name="connsiteY61" fmla="*/ 596670 h 788699"/>
                <a:gd name="connsiteX62" fmla="*/ 214407 w 516735"/>
                <a:gd name="connsiteY62" fmla="*/ 623867 h 788699"/>
                <a:gd name="connsiteX63" fmla="*/ 228006 w 516735"/>
                <a:gd name="connsiteY63" fmla="*/ 656502 h 788699"/>
                <a:gd name="connsiteX64" fmla="*/ 271520 w 516735"/>
                <a:gd name="connsiteY64" fmla="*/ 689138 h 788699"/>
                <a:gd name="connsiteX65" fmla="*/ 306876 w 516735"/>
                <a:gd name="connsiteY65" fmla="*/ 664661 h 788699"/>
                <a:gd name="connsiteX66" fmla="*/ 331353 w 516735"/>
                <a:gd name="connsiteY66" fmla="*/ 602109 h 788699"/>
                <a:gd name="connsiteX67" fmla="*/ 336792 w 516735"/>
                <a:gd name="connsiteY67" fmla="*/ 544997 h 788699"/>
                <a:gd name="connsiteX68" fmla="*/ 336792 w 516735"/>
                <a:gd name="connsiteY68" fmla="*/ 498762 h 788699"/>
                <a:gd name="connsiteX69" fmla="*/ 336792 w 516735"/>
                <a:gd name="connsiteY69" fmla="*/ 490603 h 788699"/>
                <a:gd name="connsiteX70" fmla="*/ 320474 w 516735"/>
                <a:gd name="connsiteY70" fmla="*/ 477005 h 788699"/>
                <a:gd name="connsiteX71" fmla="*/ 282399 w 516735"/>
                <a:gd name="connsiteY71" fmla="*/ 479725 h 788699"/>
                <a:gd name="connsiteX72" fmla="*/ 252483 w 516735"/>
                <a:gd name="connsiteY72" fmla="*/ 474286 h 788699"/>
                <a:gd name="connsiteX73" fmla="*/ 247043 w 516735"/>
                <a:gd name="connsiteY73" fmla="*/ 466126 h 788699"/>
                <a:gd name="connsiteX74" fmla="*/ 249763 w 516735"/>
                <a:gd name="connsiteY74" fmla="*/ 457968 h 788699"/>
                <a:gd name="connsiteX75" fmla="*/ 268801 w 516735"/>
                <a:gd name="connsiteY75" fmla="*/ 447089 h 788699"/>
                <a:gd name="connsiteX76" fmla="*/ 312315 w 516735"/>
                <a:gd name="connsiteY76" fmla="*/ 436210 h 788699"/>
                <a:gd name="connsiteX77" fmla="*/ 353110 w 516735"/>
                <a:gd name="connsiteY77" fmla="*/ 430771 h 788699"/>
                <a:gd name="connsiteX78" fmla="*/ 385746 w 516735"/>
                <a:gd name="connsiteY78" fmla="*/ 430771 h 788699"/>
                <a:gd name="connsiteX79" fmla="*/ 437420 w 516735"/>
                <a:gd name="connsiteY79" fmla="*/ 428051 h 788699"/>
                <a:gd name="connsiteX80" fmla="*/ 464616 w 516735"/>
                <a:gd name="connsiteY80" fmla="*/ 436210 h 7886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</a:cxnLst>
              <a:rect l="l" t="t" r="r" b="b"/>
              <a:pathLst>
                <a:path w="516735" h="788699">
                  <a:moveTo>
                    <a:pt x="464616" y="436210"/>
                  </a:moveTo>
                  <a:cubicBezTo>
                    <a:pt x="464616" y="447089"/>
                    <a:pt x="453737" y="452528"/>
                    <a:pt x="445578" y="455248"/>
                  </a:cubicBezTo>
                  <a:cubicBezTo>
                    <a:pt x="434700" y="460687"/>
                    <a:pt x="415662" y="463407"/>
                    <a:pt x="404784" y="466126"/>
                  </a:cubicBezTo>
                  <a:cubicBezTo>
                    <a:pt x="393905" y="466126"/>
                    <a:pt x="385746" y="468846"/>
                    <a:pt x="385746" y="479725"/>
                  </a:cubicBezTo>
                  <a:cubicBezTo>
                    <a:pt x="385746" y="487884"/>
                    <a:pt x="388466" y="506921"/>
                    <a:pt x="388466" y="512361"/>
                  </a:cubicBezTo>
                  <a:cubicBezTo>
                    <a:pt x="388466" y="515080"/>
                    <a:pt x="388466" y="539557"/>
                    <a:pt x="388466" y="544997"/>
                  </a:cubicBezTo>
                  <a:cubicBezTo>
                    <a:pt x="388466" y="550436"/>
                    <a:pt x="388466" y="558595"/>
                    <a:pt x="388466" y="566754"/>
                  </a:cubicBezTo>
                  <a:cubicBezTo>
                    <a:pt x="388466" y="591231"/>
                    <a:pt x="388466" y="621147"/>
                    <a:pt x="391185" y="632026"/>
                  </a:cubicBezTo>
                  <a:cubicBezTo>
                    <a:pt x="393905" y="653783"/>
                    <a:pt x="393905" y="661942"/>
                    <a:pt x="393905" y="683699"/>
                  </a:cubicBezTo>
                  <a:cubicBezTo>
                    <a:pt x="393905" y="694578"/>
                    <a:pt x="393905" y="724494"/>
                    <a:pt x="377587" y="724494"/>
                  </a:cubicBezTo>
                  <a:cubicBezTo>
                    <a:pt x="369428" y="724494"/>
                    <a:pt x="366708" y="721774"/>
                    <a:pt x="361269" y="719054"/>
                  </a:cubicBezTo>
                  <a:cubicBezTo>
                    <a:pt x="355830" y="716335"/>
                    <a:pt x="353110" y="708176"/>
                    <a:pt x="353110" y="702737"/>
                  </a:cubicBezTo>
                  <a:cubicBezTo>
                    <a:pt x="350390" y="694578"/>
                    <a:pt x="350390" y="689138"/>
                    <a:pt x="350390" y="686419"/>
                  </a:cubicBezTo>
                  <a:cubicBezTo>
                    <a:pt x="350390" y="678260"/>
                    <a:pt x="353110" y="672820"/>
                    <a:pt x="353110" y="659222"/>
                  </a:cubicBezTo>
                  <a:lnTo>
                    <a:pt x="353110" y="656502"/>
                  </a:lnTo>
                  <a:cubicBezTo>
                    <a:pt x="347671" y="675540"/>
                    <a:pt x="334072" y="694578"/>
                    <a:pt x="317755" y="708176"/>
                  </a:cubicBezTo>
                  <a:cubicBezTo>
                    <a:pt x="293278" y="727214"/>
                    <a:pt x="274240" y="735372"/>
                    <a:pt x="241604" y="735372"/>
                  </a:cubicBezTo>
                  <a:cubicBezTo>
                    <a:pt x="222566" y="735372"/>
                    <a:pt x="203529" y="732653"/>
                    <a:pt x="187211" y="727214"/>
                  </a:cubicBezTo>
                  <a:cubicBezTo>
                    <a:pt x="165454" y="719054"/>
                    <a:pt x="149136" y="708176"/>
                    <a:pt x="135538" y="694578"/>
                  </a:cubicBezTo>
                  <a:cubicBezTo>
                    <a:pt x="113780" y="672820"/>
                    <a:pt x="100182" y="648343"/>
                    <a:pt x="86584" y="621147"/>
                  </a:cubicBezTo>
                  <a:cubicBezTo>
                    <a:pt x="75705" y="599390"/>
                    <a:pt x="70266" y="580352"/>
                    <a:pt x="67546" y="555875"/>
                  </a:cubicBezTo>
                  <a:cubicBezTo>
                    <a:pt x="64826" y="539557"/>
                    <a:pt x="62107" y="525959"/>
                    <a:pt x="59387" y="509641"/>
                  </a:cubicBezTo>
                  <a:cubicBezTo>
                    <a:pt x="56667" y="493323"/>
                    <a:pt x="59387" y="485164"/>
                    <a:pt x="59387" y="468846"/>
                  </a:cubicBezTo>
                  <a:cubicBezTo>
                    <a:pt x="59387" y="414453"/>
                    <a:pt x="72985" y="362780"/>
                    <a:pt x="86584" y="302947"/>
                  </a:cubicBezTo>
                  <a:cubicBezTo>
                    <a:pt x="92023" y="275751"/>
                    <a:pt x="100182" y="248554"/>
                    <a:pt x="108341" y="224077"/>
                  </a:cubicBezTo>
                  <a:cubicBezTo>
                    <a:pt x="116500" y="196881"/>
                    <a:pt x="130098" y="169684"/>
                    <a:pt x="146416" y="145207"/>
                  </a:cubicBezTo>
                  <a:cubicBezTo>
                    <a:pt x="160014" y="123450"/>
                    <a:pt x="176332" y="101693"/>
                    <a:pt x="198090" y="85375"/>
                  </a:cubicBezTo>
                  <a:cubicBezTo>
                    <a:pt x="206249" y="77216"/>
                    <a:pt x="217127" y="71776"/>
                    <a:pt x="228006" y="69057"/>
                  </a:cubicBezTo>
                  <a:cubicBezTo>
                    <a:pt x="241604" y="63618"/>
                    <a:pt x="255202" y="58178"/>
                    <a:pt x="268801" y="58178"/>
                  </a:cubicBezTo>
                  <a:cubicBezTo>
                    <a:pt x="271520" y="58178"/>
                    <a:pt x="274240" y="58178"/>
                    <a:pt x="274240" y="58178"/>
                  </a:cubicBezTo>
                  <a:cubicBezTo>
                    <a:pt x="279679" y="58178"/>
                    <a:pt x="285119" y="58178"/>
                    <a:pt x="295997" y="60898"/>
                  </a:cubicBezTo>
                  <a:cubicBezTo>
                    <a:pt x="309595" y="63618"/>
                    <a:pt x="320474" y="66337"/>
                    <a:pt x="331353" y="71776"/>
                  </a:cubicBezTo>
                  <a:cubicBezTo>
                    <a:pt x="339512" y="77216"/>
                    <a:pt x="347671" y="85375"/>
                    <a:pt x="350390" y="93534"/>
                  </a:cubicBezTo>
                  <a:cubicBezTo>
                    <a:pt x="350390" y="88095"/>
                    <a:pt x="353110" y="79936"/>
                    <a:pt x="353110" y="74496"/>
                  </a:cubicBezTo>
                  <a:cubicBezTo>
                    <a:pt x="355830" y="71776"/>
                    <a:pt x="355830" y="69057"/>
                    <a:pt x="358549" y="63618"/>
                  </a:cubicBezTo>
                  <a:cubicBezTo>
                    <a:pt x="361269" y="60898"/>
                    <a:pt x="363989" y="58178"/>
                    <a:pt x="366708" y="58178"/>
                  </a:cubicBezTo>
                  <a:cubicBezTo>
                    <a:pt x="369428" y="58178"/>
                    <a:pt x="372148" y="60898"/>
                    <a:pt x="374867" y="63618"/>
                  </a:cubicBezTo>
                  <a:cubicBezTo>
                    <a:pt x="377587" y="69057"/>
                    <a:pt x="380307" y="77216"/>
                    <a:pt x="383026" y="82655"/>
                  </a:cubicBezTo>
                  <a:cubicBezTo>
                    <a:pt x="383026" y="90814"/>
                    <a:pt x="385746" y="107132"/>
                    <a:pt x="385746" y="126170"/>
                  </a:cubicBezTo>
                  <a:cubicBezTo>
                    <a:pt x="385746" y="150647"/>
                    <a:pt x="385746" y="177843"/>
                    <a:pt x="388466" y="186002"/>
                  </a:cubicBezTo>
                  <a:cubicBezTo>
                    <a:pt x="391185" y="207759"/>
                    <a:pt x="391185" y="215918"/>
                    <a:pt x="391185" y="237676"/>
                  </a:cubicBezTo>
                  <a:cubicBezTo>
                    <a:pt x="391185" y="248554"/>
                    <a:pt x="391185" y="278470"/>
                    <a:pt x="374867" y="278470"/>
                  </a:cubicBezTo>
                  <a:cubicBezTo>
                    <a:pt x="366708" y="278470"/>
                    <a:pt x="363989" y="275751"/>
                    <a:pt x="358549" y="273031"/>
                  </a:cubicBezTo>
                  <a:cubicBezTo>
                    <a:pt x="353110" y="270311"/>
                    <a:pt x="350390" y="262152"/>
                    <a:pt x="350390" y="256713"/>
                  </a:cubicBezTo>
                  <a:cubicBezTo>
                    <a:pt x="350390" y="251274"/>
                    <a:pt x="347671" y="245834"/>
                    <a:pt x="347671" y="240395"/>
                  </a:cubicBezTo>
                  <a:cubicBezTo>
                    <a:pt x="347671" y="232236"/>
                    <a:pt x="347671" y="224077"/>
                    <a:pt x="347671" y="213199"/>
                  </a:cubicBezTo>
                  <a:cubicBezTo>
                    <a:pt x="347671" y="207759"/>
                    <a:pt x="347671" y="199600"/>
                    <a:pt x="344951" y="194161"/>
                  </a:cubicBezTo>
                  <a:cubicBezTo>
                    <a:pt x="342232" y="180563"/>
                    <a:pt x="342232" y="164245"/>
                    <a:pt x="339512" y="150647"/>
                  </a:cubicBezTo>
                  <a:cubicBezTo>
                    <a:pt x="336792" y="137048"/>
                    <a:pt x="331353" y="123450"/>
                    <a:pt x="323194" y="112571"/>
                  </a:cubicBezTo>
                  <a:cubicBezTo>
                    <a:pt x="317755" y="104412"/>
                    <a:pt x="304156" y="101693"/>
                    <a:pt x="293278" y="101693"/>
                  </a:cubicBezTo>
                  <a:cubicBezTo>
                    <a:pt x="279679" y="101693"/>
                    <a:pt x="271520" y="109852"/>
                    <a:pt x="263361" y="120730"/>
                  </a:cubicBezTo>
                  <a:cubicBezTo>
                    <a:pt x="257922" y="131609"/>
                    <a:pt x="247043" y="139768"/>
                    <a:pt x="241604" y="153366"/>
                  </a:cubicBezTo>
                  <a:cubicBezTo>
                    <a:pt x="236165" y="166964"/>
                    <a:pt x="233445" y="180563"/>
                    <a:pt x="233445" y="194161"/>
                  </a:cubicBezTo>
                  <a:cubicBezTo>
                    <a:pt x="233445" y="207759"/>
                    <a:pt x="230726" y="218638"/>
                    <a:pt x="225286" y="232236"/>
                  </a:cubicBezTo>
                  <a:cubicBezTo>
                    <a:pt x="219847" y="245834"/>
                    <a:pt x="219847" y="262152"/>
                    <a:pt x="217127" y="275751"/>
                  </a:cubicBezTo>
                  <a:cubicBezTo>
                    <a:pt x="214407" y="289349"/>
                    <a:pt x="214407" y="302947"/>
                    <a:pt x="211688" y="316545"/>
                  </a:cubicBezTo>
                  <a:cubicBezTo>
                    <a:pt x="211688" y="330144"/>
                    <a:pt x="206249" y="341022"/>
                    <a:pt x="206249" y="354621"/>
                  </a:cubicBezTo>
                  <a:cubicBezTo>
                    <a:pt x="203529" y="368219"/>
                    <a:pt x="203529" y="381817"/>
                    <a:pt x="200809" y="398135"/>
                  </a:cubicBezTo>
                  <a:cubicBezTo>
                    <a:pt x="198090" y="411733"/>
                    <a:pt x="198090" y="425332"/>
                    <a:pt x="195370" y="438930"/>
                  </a:cubicBezTo>
                  <a:cubicBezTo>
                    <a:pt x="195370" y="449809"/>
                    <a:pt x="192650" y="463407"/>
                    <a:pt x="192650" y="474286"/>
                  </a:cubicBezTo>
                  <a:cubicBezTo>
                    <a:pt x="192650" y="490603"/>
                    <a:pt x="195370" y="509641"/>
                    <a:pt x="195370" y="525959"/>
                  </a:cubicBezTo>
                  <a:cubicBezTo>
                    <a:pt x="195370" y="550436"/>
                    <a:pt x="203529" y="572193"/>
                    <a:pt x="208968" y="596670"/>
                  </a:cubicBezTo>
                  <a:cubicBezTo>
                    <a:pt x="211688" y="604829"/>
                    <a:pt x="211688" y="615708"/>
                    <a:pt x="214407" y="623867"/>
                  </a:cubicBezTo>
                  <a:cubicBezTo>
                    <a:pt x="217127" y="634745"/>
                    <a:pt x="222566" y="645624"/>
                    <a:pt x="228006" y="656502"/>
                  </a:cubicBezTo>
                  <a:cubicBezTo>
                    <a:pt x="236165" y="670101"/>
                    <a:pt x="252483" y="689138"/>
                    <a:pt x="271520" y="689138"/>
                  </a:cubicBezTo>
                  <a:cubicBezTo>
                    <a:pt x="287838" y="689138"/>
                    <a:pt x="298717" y="675540"/>
                    <a:pt x="306876" y="664661"/>
                  </a:cubicBezTo>
                  <a:cubicBezTo>
                    <a:pt x="320474" y="645624"/>
                    <a:pt x="325914" y="623867"/>
                    <a:pt x="331353" y="602109"/>
                  </a:cubicBezTo>
                  <a:cubicBezTo>
                    <a:pt x="334072" y="583072"/>
                    <a:pt x="336792" y="564034"/>
                    <a:pt x="336792" y="544997"/>
                  </a:cubicBezTo>
                  <a:cubicBezTo>
                    <a:pt x="336792" y="531398"/>
                    <a:pt x="336792" y="512361"/>
                    <a:pt x="336792" y="498762"/>
                  </a:cubicBezTo>
                  <a:cubicBezTo>
                    <a:pt x="336792" y="496043"/>
                    <a:pt x="336792" y="493323"/>
                    <a:pt x="336792" y="490603"/>
                  </a:cubicBezTo>
                  <a:cubicBezTo>
                    <a:pt x="336792" y="479725"/>
                    <a:pt x="336792" y="477005"/>
                    <a:pt x="320474" y="477005"/>
                  </a:cubicBezTo>
                  <a:cubicBezTo>
                    <a:pt x="309595" y="477005"/>
                    <a:pt x="295997" y="479725"/>
                    <a:pt x="282399" y="479725"/>
                  </a:cubicBezTo>
                  <a:cubicBezTo>
                    <a:pt x="271520" y="479725"/>
                    <a:pt x="260642" y="479725"/>
                    <a:pt x="252483" y="474286"/>
                  </a:cubicBezTo>
                  <a:cubicBezTo>
                    <a:pt x="249763" y="471566"/>
                    <a:pt x="247043" y="468846"/>
                    <a:pt x="247043" y="466126"/>
                  </a:cubicBezTo>
                  <a:cubicBezTo>
                    <a:pt x="247043" y="463407"/>
                    <a:pt x="247043" y="460687"/>
                    <a:pt x="249763" y="457968"/>
                  </a:cubicBezTo>
                  <a:cubicBezTo>
                    <a:pt x="255202" y="452528"/>
                    <a:pt x="260642" y="449809"/>
                    <a:pt x="268801" y="447089"/>
                  </a:cubicBezTo>
                  <a:cubicBezTo>
                    <a:pt x="282399" y="441650"/>
                    <a:pt x="295997" y="438930"/>
                    <a:pt x="312315" y="436210"/>
                  </a:cubicBezTo>
                  <a:cubicBezTo>
                    <a:pt x="325914" y="433491"/>
                    <a:pt x="339512" y="433491"/>
                    <a:pt x="353110" y="430771"/>
                  </a:cubicBezTo>
                  <a:cubicBezTo>
                    <a:pt x="363989" y="430771"/>
                    <a:pt x="374867" y="430771"/>
                    <a:pt x="385746" y="430771"/>
                  </a:cubicBezTo>
                  <a:cubicBezTo>
                    <a:pt x="402064" y="430771"/>
                    <a:pt x="426541" y="428051"/>
                    <a:pt x="437420" y="428051"/>
                  </a:cubicBezTo>
                  <a:cubicBezTo>
                    <a:pt x="451018" y="419892"/>
                    <a:pt x="464616" y="425332"/>
                    <a:pt x="464616" y="436210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1" name="Freeform: Shape 40">
              <a:extLst>
                <a:ext uri="{FF2B5EF4-FFF2-40B4-BE49-F238E27FC236}">
                  <a16:creationId xmlns:a16="http://schemas.microsoft.com/office/drawing/2014/main" id="{28EECE7A-152F-483E-BC66-3DB3F1A6A039}"/>
                </a:ext>
              </a:extLst>
            </p:cNvPr>
            <p:cNvSpPr/>
            <p:nvPr/>
          </p:nvSpPr>
          <p:spPr>
            <a:xfrm>
              <a:off x="5651630" y="4181279"/>
              <a:ext cx="734308" cy="788700"/>
            </a:xfrm>
            <a:custGeom>
              <a:avLst/>
              <a:gdLst>
                <a:gd name="connsiteX0" fmla="*/ 653783 w 734307"/>
                <a:gd name="connsiteY0" fmla="*/ 678259 h 788699"/>
                <a:gd name="connsiteX1" fmla="*/ 691859 w 734307"/>
                <a:gd name="connsiteY1" fmla="*/ 694577 h 788699"/>
                <a:gd name="connsiteX2" fmla="*/ 686419 w 734307"/>
                <a:gd name="connsiteY2" fmla="*/ 710895 h 788699"/>
                <a:gd name="connsiteX3" fmla="*/ 670101 w 734307"/>
                <a:gd name="connsiteY3" fmla="*/ 719054 h 788699"/>
                <a:gd name="connsiteX4" fmla="*/ 648344 w 734307"/>
                <a:gd name="connsiteY4" fmla="*/ 721774 h 788699"/>
                <a:gd name="connsiteX5" fmla="*/ 618428 w 734307"/>
                <a:gd name="connsiteY5" fmla="*/ 721774 h 788699"/>
                <a:gd name="connsiteX6" fmla="*/ 572194 w 734307"/>
                <a:gd name="connsiteY6" fmla="*/ 735372 h 788699"/>
                <a:gd name="connsiteX7" fmla="*/ 544997 w 734307"/>
                <a:gd name="connsiteY7" fmla="*/ 729933 h 788699"/>
                <a:gd name="connsiteX8" fmla="*/ 534119 w 734307"/>
                <a:gd name="connsiteY8" fmla="*/ 721774 h 788699"/>
                <a:gd name="connsiteX9" fmla="*/ 496043 w 734307"/>
                <a:gd name="connsiteY9" fmla="*/ 721774 h 788699"/>
                <a:gd name="connsiteX10" fmla="*/ 471566 w 734307"/>
                <a:gd name="connsiteY10" fmla="*/ 721774 h 788699"/>
                <a:gd name="connsiteX11" fmla="*/ 444370 w 734307"/>
                <a:gd name="connsiteY11" fmla="*/ 716335 h 788699"/>
                <a:gd name="connsiteX12" fmla="*/ 428052 w 734307"/>
                <a:gd name="connsiteY12" fmla="*/ 700017 h 788699"/>
                <a:gd name="connsiteX13" fmla="*/ 433491 w 734307"/>
                <a:gd name="connsiteY13" fmla="*/ 691858 h 788699"/>
                <a:gd name="connsiteX14" fmla="*/ 455248 w 734307"/>
                <a:gd name="connsiteY14" fmla="*/ 683699 h 788699"/>
                <a:gd name="connsiteX15" fmla="*/ 506922 w 734307"/>
                <a:gd name="connsiteY15" fmla="*/ 678259 h 788699"/>
                <a:gd name="connsiteX16" fmla="*/ 509641 w 734307"/>
                <a:gd name="connsiteY16" fmla="*/ 678259 h 788699"/>
                <a:gd name="connsiteX17" fmla="*/ 506922 w 734307"/>
                <a:gd name="connsiteY17" fmla="*/ 664661 h 788699"/>
                <a:gd name="connsiteX18" fmla="*/ 498763 w 734307"/>
                <a:gd name="connsiteY18" fmla="*/ 580352 h 788699"/>
                <a:gd name="connsiteX19" fmla="*/ 496043 w 734307"/>
                <a:gd name="connsiteY19" fmla="*/ 479725 h 788699"/>
                <a:gd name="connsiteX20" fmla="*/ 493324 w 734307"/>
                <a:gd name="connsiteY20" fmla="*/ 389976 h 788699"/>
                <a:gd name="connsiteX21" fmla="*/ 490604 w 734307"/>
                <a:gd name="connsiteY21" fmla="*/ 302947 h 788699"/>
                <a:gd name="connsiteX22" fmla="*/ 487884 w 734307"/>
                <a:gd name="connsiteY22" fmla="*/ 229516 h 788699"/>
                <a:gd name="connsiteX23" fmla="*/ 485165 w 734307"/>
                <a:gd name="connsiteY23" fmla="*/ 221357 h 788699"/>
                <a:gd name="connsiteX24" fmla="*/ 482445 w 734307"/>
                <a:gd name="connsiteY24" fmla="*/ 226797 h 788699"/>
                <a:gd name="connsiteX25" fmla="*/ 477006 w 734307"/>
                <a:gd name="connsiteY25" fmla="*/ 262152 h 788699"/>
                <a:gd name="connsiteX26" fmla="*/ 460688 w 734307"/>
                <a:gd name="connsiteY26" fmla="*/ 341022 h 788699"/>
                <a:gd name="connsiteX27" fmla="*/ 444370 w 734307"/>
                <a:gd name="connsiteY27" fmla="*/ 417173 h 788699"/>
                <a:gd name="connsiteX28" fmla="*/ 436211 w 734307"/>
                <a:gd name="connsiteY28" fmla="*/ 455248 h 788699"/>
                <a:gd name="connsiteX29" fmla="*/ 425332 w 734307"/>
                <a:gd name="connsiteY29" fmla="*/ 493323 h 788699"/>
                <a:gd name="connsiteX30" fmla="*/ 411734 w 734307"/>
                <a:gd name="connsiteY30" fmla="*/ 531398 h 788699"/>
                <a:gd name="connsiteX31" fmla="*/ 376378 w 734307"/>
                <a:gd name="connsiteY31" fmla="*/ 547716 h 788699"/>
                <a:gd name="connsiteX32" fmla="*/ 319265 w 734307"/>
                <a:gd name="connsiteY32" fmla="*/ 525959 h 788699"/>
                <a:gd name="connsiteX33" fmla="*/ 289349 w 734307"/>
                <a:gd name="connsiteY33" fmla="*/ 455248 h 788699"/>
                <a:gd name="connsiteX34" fmla="*/ 273031 w 734307"/>
                <a:gd name="connsiteY34" fmla="*/ 373658 h 788699"/>
                <a:gd name="connsiteX35" fmla="*/ 262153 w 734307"/>
                <a:gd name="connsiteY35" fmla="*/ 316545 h 788699"/>
                <a:gd name="connsiteX36" fmla="*/ 245835 w 734307"/>
                <a:gd name="connsiteY36" fmla="*/ 237675 h 788699"/>
                <a:gd name="connsiteX37" fmla="*/ 234956 w 734307"/>
                <a:gd name="connsiteY37" fmla="*/ 196881 h 788699"/>
                <a:gd name="connsiteX38" fmla="*/ 232236 w 734307"/>
                <a:gd name="connsiteY38" fmla="*/ 191441 h 788699"/>
                <a:gd name="connsiteX39" fmla="*/ 226797 w 734307"/>
                <a:gd name="connsiteY39" fmla="*/ 207759 h 788699"/>
                <a:gd name="connsiteX40" fmla="*/ 226797 w 734307"/>
                <a:gd name="connsiteY40" fmla="*/ 232236 h 788699"/>
                <a:gd name="connsiteX41" fmla="*/ 224077 w 734307"/>
                <a:gd name="connsiteY41" fmla="*/ 267592 h 788699"/>
                <a:gd name="connsiteX42" fmla="*/ 221358 w 734307"/>
                <a:gd name="connsiteY42" fmla="*/ 311106 h 788699"/>
                <a:gd name="connsiteX43" fmla="*/ 218638 w 734307"/>
                <a:gd name="connsiteY43" fmla="*/ 360060 h 788699"/>
                <a:gd name="connsiteX44" fmla="*/ 215919 w 734307"/>
                <a:gd name="connsiteY44" fmla="*/ 398135 h 788699"/>
                <a:gd name="connsiteX45" fmla="*/ 213199 w 734307"/>
                <a:gd name="connsiteY45" fmla="*/ 430771 h 788699"/>
                <a:gd name="connsiteX46" fmla="*/ 213199 w 734307"/>
                <a:gd name="connsiteY46" fmla="*/ 455248 h 788699"/>
                <a:gd name="connsiteX47" fmla="*/ 213199 w 734307"/>
                <a:gd name="connsiteY47" fmla="*/ 477005 h 788699"/>
                <a:gd name="connsiteX48" fmla="*/ 207759 w 734307"/>
                <a:gd name="connsiteY48" fmla="*/ 520520 h 788699"/>
                <a:gd name="connsiteX49" fmla="*/ 196881 w 734307"/>
                <a:gd name="connsiteY49" fmla="*/ 610268 h 788699"/>
                <a:gd name="connsiteX50" fmla="*/ 194161 w 734307"/>
                <a:gd name="connsiteY50" fmla="*/ 653783 h 788699"/>
                <a:gd name="connsiteX51" fmla="*/ 191441 w 734307"/>
                <a:gd name="connsiteY51" fmla="*/ 667381 h 788699"/>
                <a:gd name="connsiteX52" fmla="*/ 243115 w 734307"/>
                <a:gd name="connsiteY52" fmla="*/ 667381 h 788699"/>
                <a:gd name="connsiteX53" fmla="*/ 273031 w 734307"/>
                <a:gd name="connsiteY53" fmla="*/ 683699 h 788699"/>
                <a:gd name="connsiteX54" fmla="*/ 262153 w 734307"/>
                <a:gd name="connsiteY54" fmla="*/ 697297 h 788699"/>
                <a:gd name="connsiteX55" fmla="*/ 248554 w 734307"/>
                <a:gd name="connsiteY55" fmla="*/ 705456 h 788699"/>
                <a:gd name="connsiteX56" fmla="*/ 232236 w 734307"/>
                <a:gd name="connsiteY56" fmla="*/ 708176 h 788699"/>
                <a:gd name="connsiteX57" fmla="*/ 166965 w 734307"/>
                <a:gd name="connsiteY57" fmla="*/ 708176 h 788699"/>
                <a:gd name="connsiteX58" fmla="*/ 109852 w 734307"/>
                <a:gd name="connsiteY58" fmla="*/ 708176 h 788699"/>
                <a:gd name="connsiteX59" fmla="*/ 90814 w 734307"/>
                <a:gd name="connsiteY59" fmla="*/ 708176 h 788699"/>
                <a:gd name="connsiteX60" fmla="*/ 69057 w 734307"/>
                <a:gd name="connsiteY60" fmla="*/ 702736 h 788699"/>
                <a:gd name="connsiteX61" fmla="*/ 58178 w 734307"/>
                <a:gd name="connsiteY61" fmla="*/ 686418 h 788699"/>
                <a:gd name="connsiteX62" fmla="*/ 60898 w 734307"/>
                <a:gd name="connsiteY62" fmla="*/ 678259 h 788699"/>
                <a:gd name="connsiteX63" fmla="*/ 77216 w 734307"/>
                <a:gd name="connsiteY63" fmla="*/ 670101 h 788699"/>
                <a:gd name="connsiteX64" fmla="*/ 126170 w 734307"/>
                <a:gd name="connsiteY64" fmla="*/ 664661 h 788699"/>
                <a:gd name="connsiteX65" fmla="*/ 142487 w 734307"/>
                <a:gd name="connsiteY65" fmla="*/ 664661 h 788699"/>
                <a:gd name="connsiteX66" fmla="*/ 147927 w 734307"/>
                <a:gd name="connsiteY66" fmla="*/ 588511 h 788699"/>
                <a:gd name="connsiteX67" fmla="*/ 153366 w 734307"/>
                <a:gd name="connsiteY67" fmla="*/ 493323 h 788699"/>
                <a:gd name="connsiteX68" fmla="*/ 156086 w 734307"/>
                <a:gd name="connsiteY68" fmla="*/ 411733 h 788699"/>
                <a:gd name="connsiteX69" fmla="*/ 161525 w 734307"/>
                <a:gd name="connsiteY69" fmla="*/ 297508 h 788699"/>
                <a:gd name="connsiteX70" fmla="*/ 166965 w 734307"/>
                <a:gd name="connsiteY70" fmla="*/ 240395 h 788699"/>
                <a:gd name="connsiteX71" fmla="*/ 177843 w 734307"/>
                <a:gd name="connsiteY71" fmla="*/ 161525 h 788699"/>
                <a:gd name="connsiteX72" fmla="*/ 183282 w 734307"/>
                <a:gd name="connsiteY72" fmla="*/ 118011 h 788699"/>
                <a:gd name="connsiteX73" fmla="*/ 183282 w 734307"/>
                <a:gd name="connsiteY73" fmla="*/ 115291 h 788699"/>
                <a:gd name="connsiteX74" fmla="*/ 161525 w 734307"/>
                <a:gd name="connsiteY74" fmla="*/ 115291 h 788699"/>
                <a:gd name="connsiteX75" fmla="*/ 137048 w 734307"/>
                <a:gd name="connsiteY75" fmla="*/ 115291 h 788699"/>
                <a:gd name="connsiteX76" fmla="*/ 109852 w 734307"/>
                <a:gd name="connsiteY76" fmla="*/ 109851 h 788699"/>
                <a:gd name="connsiteX77" fmla="*/ 93534 w 734307"/>
                <a:gd name="connsiteY77" fmla="*/ 93534 h 788699"/>
                <a:gd name="connsiteX78" fmla="*/ 98973 w 734307"/>
                <a:gd name="connsiteY78" fmla="*/ 85375 h 788699"/>
                <a:gd name="connsiteX79" fmla="*/ 120730 w 734307"/>
                <a:gd name="connsiteY79" fmla="*/ 77216 h 788699"/>
                <a:gd name="connsiteX80" fmla="*/ 172404 w 734307"/>
                <a:gd name="connsiteY80" fmla="*/ 71776 h 788699"/>
                <a:gd name="connsiteX81" fmla="*/ 234956 w 734307"/>
                <a:gd name="connsiteY81" fmla="*/ 69057 h 788699"/>
                <a:gd name="connsiteX82" fmla="*/ 243115 w 734307"/>
                <a:gd name="connsiteY82" fmla="*/ 69057 h 788699"/>
                <a:gd name="connsiteX83" fmla="*/ 270312 w 734307"/>
                <a:gd name="connsiteY83" fmla="*/ 74496 h 788699"/>
                <a:gd name="connsiteX84" fmla="*/ 308387 w 734307"/>
                <a:gd name="connsiteY84" fmla="*/ 123450 h 788699"/>
                <a:gd name="connsiteX85" fmla="*/ 332864 w 734307"/>
                <a:gd name="connsiteY85" fmla="*/ 202320 h 788699"/>
                <a:gd name="connsiteX86" fmla="*/ 338303 w 734307"/>
                <a:gd name="connsiteY86" fmla="*/ 237675 h 788699"/>
                <a:gd name="connsiteX87" fmla="*/ 349182 w 734307"/>
                <a:gd name="connsiteY87" fmla="*/ 281190 h 788699"/>
                <a:gd name="connsiteX88" fmla="*/ 357341 w 734307"/>
                <a:gd name="connsiteY88" fmla="*/ 316545 h 788699"/>
                <a:gd name="connsiteX89" fmla="*/ 365500 w 734307"/>
                <a:gd name="connsiteY89" fmla="*/ 351901 h 788699"/>
                <a:gd name="connsiteX90" fmla="*/ 376378 w 734307"/>
                <a:gd name="connsiteY90" fmla="*/ 389976 h 788699"/>
                <a:gd name="connsiteX91" fmla="*/ 387257 w 734307"/>
                <a:gd name="connsiteY91" fmla="*/ 414453 h 788699"/>
                <a:gd name="connsiteX92" fmla="*/ 398136 w 734307"/>
                <a:gd name="connsiteY92" fmla="*/ 376378 h 788699"/>
                <a:gd name="connsiteX93" fmla="*/ 406295 w 734307"/>
                <a:gd name="connsiteY93" fmla="*/ 332863 h 788699"/>
                <a:gd name="connsiteX94" fmla="*/ 425332 w 734307"/>
                <a:gd name="connsiteY94" fmla="*/ 243115 h 788699"/>
                <a:gd name="connsiteX95" fmla="*/ 444370 w 734307"/>
                <a:gd name="connsiteY95" fmla="*/ 150646 h 788699"/>
                <a:gd name="connsiteX96" fmla="*/ 477006 w 734307"/>
                <a:gd name="connsiteY96" fmla="*/ 79935 h 788699"/>
                <a:gd name="connsiteX97" fmla="*/ 523240 w 734307"/>
                <a:gd name="connsiteY97" fmla="*/ 58178 h 788699"/>
                <a:gd name="connsiteX98" fmla="*/ 544997 w 734307"/>
                <a:gd name="connsiteY98" fmla="*/ 63617 h 788699"/>
                <a:gd name="connsiteX99" fmla="*/ 612988 w 734307"/>
                <a:gd name="connsiteY99" fmla="*/ 63617 h 788699"/>
                <a:gd name="connsiteX100" fmla="*/ 651064 w 734307"/>
                <a:gd name="connsiteY100" fmla="*/ 79935 h 788699"/>
                <a:gd name="connsiteX101" fmla="*/ 645624 w 734307"/>
                <a:gd name="connsiteY101" fmla="*/ 96253 h 788699"/>
                <a:gd name="connsiteX102" fmla="*/ 629307 w 734307"/>
                <a:gd name="connsiteY102" fmla="*/ 104412 h 788699"/>
                <a:gd name="connsiteX103" fmla="*/ 607549 w 734307"/>
                <a:gd name="connsiteY103" fmla="*/ 107132 h 788699"/>
                <a:gd name="connsiteX104" fmla="*/ 580353 w 734307"/>
                <a:gd name="connsiteY104" fmla="*/ 107132 h 788699"/>
                <a:gd name="connsiteX105" fmla="*/ 583072 w 734307"/>
                <a:gd name="connsiteY105" fmla="*/ 115291 h 788699"/>
                <a:gd name="connsiteX106" fmla="*/ 588512 w 734307"/>
                <a:gd name="connsiteY106" fmla="*/ 156086 h 788699"/>
                <a:gd name="connsiteX107" fmla="*/ 593951 w 734307"/>
                <a:gd name="connsiteY107" fmla="*/ 196881 h 788699"/>
                <a:gd name="connsiteX108" fmla="*/ 599390 w 734307"/>
                <a:gd name="connsiteY108" fmla="*/ 226797 h 788699"/>
                <a:gd name="connsiteX109" fmla="*/ 599390 w 734307"/>
                <a:gd name="connsiteY109" fmla="*/ 232236 h 788699"/>
                <a:gd name="connsiteX110" fmla="*/ 599390 w 734307"/>
                <a:gd name="connsiteY110" fmla="*/ 240395 h 788699"/>
                <a:gd name="connsiteX111" fmla="*/ 602110 w 734307"/>
                <a:gd name="connsiteY111" fmla="*/ 270311 h 788699"/>
                <a:gd name="connsiteX112" fmla="*/ 607549 w 734307"/>
                <a:gd name="connsiteY112" fmla="*/ 308386 h 788699"/>
                <a:gd name="connsiteX113" fmla="*/ 607549 w 734307"/>
                <a:gd name="connsiteY113" fmla="*/ 319265 h 788699"/>
                <a:gd name="connsiteX114" fmla="*/ 612988 w 734307"/>
                <a:gd name="connsiteY114" fmla="*/ 335583 h 788699"/>
                <a:gd name="connsiteX115" fmla="*/ 612988 w 734307"/>
                <a:gd name="connsiteY115" fmla="*/ 346462 h 788699"/>
                <a:gd name="connsiteX116" fmla="*/ 612988 w 734307"/>
                <a:gd name="connsiteY116" fmla="*/ 370939 h 788699"/>
                <a:gd name="connsiteX117" fmla="*/ 612988 w 734307"/>
                <a:gd name="connsiteY117" fmla="*/ 395415 h 788699"/>
                <a:gd name="connsiteX118" fmla="*/ 615708 w 734307"/>
                <a:gd name="connsiteY118" fmla="*/ 422612 h 788699"/>
                <a:gd name="connsiteX119" fmla="*/ 618428 w 734307"/>
                <a:gd name="connsiteY119" fmla="*/ 441650 h 788699"/>
                <a:gd name="connsiteX120" fmla="*/ 618428 w 734307"/>
                <a:gd name="connsiteY120" fmla="*/ 455248 h 788699"/>
                <a:gd name="connsiteX121" fmla="*/ 621147 w 734307"/>
                <a:gd name="connsiteY121" fmla="*/ 463407 h 788699"/>
                <a:gd name="connsiteX122" fmla="*/ 626587 w 734307"/>
                <a:gd name="connsiteY122" fmla="*/ 482444 h 788699"/>
                <a:gd name="connsiteX123" fmla="*/ 629307 w 734307"/>
                <a:gd name="connsiteY123" fmla="*/ 517800 h 788699"/>
                <a:gd name="connsiteX124" fmla="*/ 634746 w 734307"/>
                <a:gd name="connsiteY124" fmla="*/ 561314 h 788699"/>
                <a:gd name="connsiteX125" fmla="*/ 634746 w 734307"/>
                <a:gd name="connsiteY125" fmla="*/ 566754 h 788699"/>
                <a:gd name="connsiteX126" fmla="*/ 634746 w 734307"/>
                <a:gd name="connsiteY126" fmla="*/ 583072 h 788699"/>
                <a:gd name="connsiteX127" fmla="*/ 637466 w 734307"/>
                <a:gd name="connsiteY127" fmla="*/ 607548 h 788699"/>
                <a:gd name="connsiteX128" fmla="*/ 640185 w 734307"/>
                <a:gd name="connsiteY128" fmla="*/ 618427 h 788699"/>
                <a:gd name="connsiteX129" fmla="*/ 640185 w 734307"/>
                <a:gd name="connsiteY129" fmla="*/ 632025 h 788699"/>
                <a:gd name="connsiteX130" fmla="*/ 640185 w 734307"/>
                <a:gd name="connsiteY130" fmla="*/ 640184 h 788699"/>
                <a:gd name="connsiteX131" fmla="*/ 642905 w 734307"/>
                <a:gd name="connsiteY131" fmla="*/ 659222 h 788699"/>
                <a:gd name="connsiteX132" fmla="*/ 642905 w 734307"/>
                <a:gd name="connsiteY132" fmla="*/ 664661 h 788699"/>
                <a:gd name="connsiteX133" fmla="*/ 653783 w 734307"/>
                <a:gd name="connsiteY133" fmla="*/ 678259 h 788699"/>
                <a:gd name="connsiteX134" fmla="*/ 653783 w 734307"/>
                <a:gd name="connsiteY134" fmla="*/ 678259 h 7886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</a:cxnLst>
              <a:rect l="l" t="t" r="r" b="b"/>
              <a:pathLst>
                <a:path w="734307" h="788699">
                  <a:moveTo>
                    <a:pt x="653783" y="678259"/>
                  </a:moveTo>
                  <a:cubicBezTo>
                    <a:pt x="667382" y="678259"/>
                    <a:pt x="691859" y="678259"/>
                    <a:pt x="691859" y="694577"/>
                  </a:cubicBezTo>
                  <a:cubicBezTo>
                    <a:pt x="691859" y="702736"/>
                    <a:pt x="689139" y="705456"/>
                    <a:pt x="686419" y="710895"/>
                  </a:cubicBezTo>
                  <a:cubicBezTo>
                    <a:pt x="683700" y="716335"/>
                    <a:pt x="675541" y="719054"/>
                    <a:pt x="670101" y="719054"/>
                  </a:cubicBezTo>
                  <a:cubicBezTo>
                    <a:pt x="661942" y="721774"/>
                    <a:pt x="653783" y="721774"/>
                    <a:pt x="648344" y="721774"/>
                  </a:cubicBezTo>
                  <a:cubicBezTo>
                    <a:pt x="645624" y="721774"/>
                    <a:pt x="634746" y="721774"/>
                    <a:pt x="618428" y="721774"/>
                  </a:cubicBezTo>
                  <a:cubicBezTo>
                    <a:pt x="604829" y="729933"/>
                    <a:pt x="588512" y="735372"/>
                    <a:pt x="572194" y="735372"/>
                  </a:cubicBezTo>
                  <a:cubicBezTo>
                    <a:pt x="564035" y="735372"/>
                    <a:pt x="553156" y="732653"/>
                    <a:pt x="544997" y="729933"/>
                  </a:cubicBezTo>
                  <a:cubicBezTo>
                    <a:pt x="539558" y="727213"/>
                    <a:pt x="536838" y="724494"/>
                    <a:pt x="534119" y="721774"/>
                  </a:cubicBezTo>
                  <a:cubicBezTo>
                    <a:pt x="520520" y="721774"/>
                    <a:pt x="509641" y="721774"/>
                    <a:pt x="496043" y="721774"/>
                  </a:cubicBezTo>
                  <a:cubicBezTo>
                    <a:pt x="487884" y="721774"/>
                    <a:pt x="479725" y="721774"/>
                    <a:pt x="471566" y="721774"/>
                  </a:cubicBezTo>
                  <a:cubicBezTo>
                    <a:pt x="463407" y="721774"/>
                    <a:pt x="452529" y="721774"/>
                    <a:pt x="444370" y="716335"/>
                  </a:cubicBezTo>
                  <a:cubicBezTo>
                    <a:pt x="436211" y="713615"/>
                    <a:pt x="428052" y="705456"/>
                    <a:pt x="428052" y="700017"/>
                  </a:cubicBezTo>
                  <a:cubicBezTo>
                    <a:pt x="428052" y="697297"/>
                    <a:pt x="428052" y="694577"/>
                    <a:pt x="433491" y="691858"/>
                  </a:cubicBezTo>
                  <a:cubicBezTo>
                    <a:pt x="438930" y="689138"/>
                    <a:pt x="449809" y="686418"/>
                    <a:pt x="455248" y="683699"/>
                  </a:cubicBezTo>
                  <a:cubicBezTo>
                    <a:pt x="474286" y="680979"/>
                    <a:pt x="498763" y="678259"/>
                    <a:pt x="506922" y="678259"/>
                  </a:cubicBezTo>
                  <a:cubicBezTo>
                    <a:pt x="506922" y="678259"/>
                    <a:pt x="509641" y="678259"/>
                    <a:pt x="509641" y="678259"/>
                  </a:cubicBezTo>
                  <a:cubicBezTo>
                    <a:pt x="509641" y="672820"/>
                    <a:pt x="506922" y="670101"/>
                    <a:pt x="506922" y="664661"/>
                  </a:cubicBezTo>
                  <a:cubicBezTo>
                    <a:pt x="501483" y="640184"/>
                    <a:pt x="501483" y="612988"/>
                    <a:pt x="498763" y="580352"/>
                  </a:cubicBezTo>
                  <a:cubicBezTo>
                    <a:pt x="496043" y="547716"/>
                    <a:pt x="498763" y="512361"/>
                    <a:pt x="496043" y="479725"/>
                  </a:cubicBezTo>
                  <a:cubicBezTo>
                    <a:pt x="493324" y="449808"/>
                    <a:pt x="493324" y="419892"/>
                    <a:pt x="493324" y="389976"/>
                  </a:cubicBezTo>
                  <a:cubicBezTo>
                    <a:pt x="493324" y="360060"/>
                    <a:pt x="490604" y="332863"/>
                    <a:pt x="490604" y="302947"/>
                  </a:cubicBezTo>
                  <a:cubicBezTo>
                    <a:pt x="487884" y="275751"/>
                    <a:pt x="487884" y="240395"/>
                    <a:pt x="487884" y="229516"/>
                  </a:cubicBezTo>
                  <a:cubicBezTo>
                    <a:pt x="487884" y="224077"/>
                    <a:pt x="487884" y="221357"/>
                    <a:pt x="485165" y="221357"/>
                  </a:cubicBezTo>
                  <a:cubicBezTo>
                    <a:pt x="485165" y="221357"/>
                    <a:pt x="482445" y="224077"/>
                    <a:pt x="482445" y="226797"/>
                  </a:cubicBezTo>
                  <a:cubicBezTo>
                    <a:pt x="479725" y="237675"/>
                    <a:pt x="479725" y="251274"/>
                    <a:pt x="477006" y="262152"/>
                  </a:cubicBezTo>
                  <a:cubicBezTo>
                    <a:pt x="471566" y="289349"/>
                    <a:pt x="466127" y="316545"/>
                    <a:pt x="460688" y="341022"/>
                  </a:cubicBezTo>
                  <a:cubicBezTo>
                    <a:pt x="455248" y="365499"/>
                    <a:pt x="447090" y="392696"/>
                    <a:pt x="444370" y="417173"/>
                  </a:cubicBezTo>
                  <a:cubicBezTo>
                    <a:pt x="441650" y="430771"/>
                    <a:pt x="438930" y="441650"/>
                    <a:pt x="436211" y="455248"/>
                  </a:cubicBezTo>
                  <a:cubicBezTo>
                    <a:pt x="433491" y="468846"/>
                    <a:pt x="428052" y="479725"/>
                    <a:pt x="425332" y="493323"/>
                  </a:cubicBezTo>
                  <a:cubicBezTo>
                    <a:pt x="422612" y="506921"/>
                    <a:pt x="419893" y="520520"/>
                    <a:pt x="411734" y="531398"/>
                  </a:cubicBezTo>
                  <a:cubicBezTo>
                    <a:pt x="406295" y="539557"/>
                    <a:pt x="395416" y="547716"/>
                    <a:pt x="376378" y="547716"/>
                  </a:cubicBezTo>
                  <a:cubicBezTo>
                    <a:pt x="357341" y="547716"/>
                    <a:pt x="335583" y="539557"/>
                    <a:pt x="319265" y="525959"/>
                  </a:cubicBezTo>
                  <a:cubicBezTo>
                    <a:pt x="300228" y="506921"/>
                    <a:pt x="294788" y="479725"/>
                    <a:pt x="289349" y="455248"/>
                  </a:cubicBezTo>
                  <a:cubicBezTo>
                    <a:pt x="283910" y="428051"/>
                    <a:pt x="278470" y="400855"/>
                    <a:pt x="273031" y="373658"/>
                  </a:cubicBezTo>
                  <a:cubicBezTo>
                    <a:pt x="273031" y="368219"/>
                    <a:pt x="267592" y="346462"/>
                    <a:pt x="262153" y="316545"/>
                  </a:cubicBezTo>
                  <a:cubicBezTo>
                    <a:pt x="256713" y="292068"/>
                    <a:pt x="251274" y="262152"/>
                    <a:pt x="245835" y="237675"/>
                  </a:cubicBezTo>
                  <a:cubicBezTo>
                    <a:pt x="240395" y="218638"/>
                    <a:pt x="237675" y="205039"/>
                    <a:pt x="234956" y="196881"/>
                  </a:cubicBezTo>
                  <a:cubicBezTo>
                    <a:pt x="232236" y="191441"/>
                    <a:pt x="232236" y="191441"/>
                    <a:pt x="232236" y="191441"/>
                  </a:cubicBezTo>
                  <a:cubicBezTo>
                    <a:pt x="229517" y="191441"/>
                    <a:pt x="229517" y="196881"/>
                    <a:pt x="226797" y="207759"/>
                  </a:cubicBezTo>
                  <a:cubicBezTo>
                    <a:pt x="226797" y="215918"/>
                    <a:pt x="226797" y="229516"/>
                    <a:pt x="226797" y="232236"/>
                  </a:cubicBezTo>
                  <a:cubicBezTo>
                    <a:pt x="226797" y="243115"/>
                    <a:pt x="224077" y="256713"/>
                    <a:pt x="224077" y="267592"/>
                  </a:cubicBezTo>
                  <a:cubicBezTo>
                    <a:pt x="224077" y="278470"/>
                    <a:pt x="224077" y="294788"/>
                    <a:pt x="221358" y="311106"/>
                  </a:cubicBezTo>
                  <a:cubicBezTo>
                    <a:pt x="221358" y="327424"/>
                    <a:pt x="218638" y="343742"/>
                    <a:pt x="218638" y="360060"/>
                  </a:cubicBezTo>
                  <a:cubicBezTo>
                    <a:pt x="218638" y="373658"/>
                    <a:pt x="215919" y="384537"/>
                    <a:pt x="215919" y="398135"/>
                  </a:cubicBezTo>
                  <a:cubicBezTo>
                    <a:pt x="215919" y="409014"/>
                    <a:pt x="213199" y="419892"/>
                    <a:pt x="213199" y="430771"/>
                  </a:cubicBezTo>
                  <a:cubicBezTo>
                    <a:pt x="213199" y="438930"/>
                    <a:pt x="213199" y="447089"/>
                    <a:pt x="213199" y="455248"/>
                  </a:cubicBezTo>
                  <a:cubicBezTo>
                    <a:pt x="213199" y="463407"/>
                    <a:pt x="213199" y="471566"/>
                    <a:pt x="213199" y="477005"/>
                  </a:cubicBezTo>
                  <a:cubicBezTo>
                    <a:pt x="210479" y="490603"/>
                    <a:pt x="207759" y="506921"/>
                    <a:pt x="207759" y="520520"/>
                  </a:cubicBezTo>
                  <a:cubicBezTo>
                    <a:pt x="202320" y="550436"/>
                    <a:pt x="199600" y="580352"/>
                    <a:pt x="196881" y="610268"/>
                  </a:cubicBezTo>
                  <a:cubicBezTo>
                    <a:pt x="196881" y="623866"/>
                    <a:pt x="196881" y="640184"/>
                    <a:pt x="194161" y="653783"/>
                  </a:cubicBezTo>
                  <a:cubicBezTo>
                    <a:pt x="194161" y="659222"/>
                    <a:pt x="194161" y="661942"/>
                    <a:pt x="191441" y="667381"/>
                  </a:cubicBezTo>
                  <a:cubicBezTo>
                    <a:pt x="213199" y="667381"/>
                    <a:pt x="232236" y="667381"/>
                    <a:pt x="243115" y="667381"/>
                  </a:cubicBezTo>
                  <a:cubicBezTo>
                    <a:pt x="253994" y="667381"/>
                    <a:pt x="273031" y="670101"/>
                    <a:pt x="273031" y="683699"/>
                  </a:cubicBezTo>
                  <a:cubicBezTo>
                    <a:pt x="273031" y="691858"/>
                    <a:pt x="267592" y="691858"/>
                    <a:pt x="262153" y="697297"/>
                  </a:cubicBezTo>
                  <a:cubicBezTo>
                    <a:pt x="259433" y="702736"/>
                    <a:pt x="253994" y="705456"/>
                    <a:pt x="248554" y="705456"/>
                  </a:cubicBezTo>
                  <a:cubicBezTo>
                    <a:pt x="240395" y="708176"/>
                    <a:pt x="234956" y="708176"/>
                    <a:pt x="232236" y="708176"/>
                  </a:cubicBezTo>
                  <a:cubicBezTo>
                    <a:pt x="226797" y="708176"/>
                    <a:pt x="175124" y="708176"/>
                    <a:pt x="166965" y="708176"/>
                  </a:cubicBezTo>
                  <a:cubicBezTo>
                    <a:pt x="156086" y="708176"/>
                    <a:pt x="120730" y="708176"/>
                    <a:pt x="109852" y="708176"/>
                  </a:cubicBezTo>
                  <a:cubicBezTo>
                    <a:pt x="104412" y="708176"/>
                    <a:pt x="96253" y="708176"/>
                    <a:pt x="90814" y="708176"/>
                  </a:cubicBezTo>
                  <a:cubicBezTo>
                    <a:pt x="85375" y="708176"/>
                    <a:pt x="77216" y="705456"/>
                    <a:pt x="69057" y="702736"/>
                  </a:cubicBezTo>
                  <a:cubicBezTo>
                    <a:pt x="63617" y="700017"/>
                    <a:pt x="58178" y="691858"/>
                    <a:pt x="58178" y="686418"/>
                  </a:cubicBezTo>
                  <a:cubicBezTo>
                    <a:pt x="58178" y="683699"/>
                    <a:pt x="58178" y="680979"/>
                    <a:pt x="60898" y="678259"/>
                  </a:cubicBezTo>
                  <a:cubicBezTo>
                    <a:pt x="63617" y="675540"/>
                    <a:pt x="71777" y="672820"/>
                    <a:pt x="77216" y="670101"/>
                  </a:cubicBezTo>
                  <a:cubicBezTo>
                    <a:pt x="90814" y="667381"/>
                    <a:pt x="120730" y="664661"/>
                    <a:pt x="126170" y="664661"/>
                  </a:cubicBezTo>
                  <a:cubicBezTo>
                    <a:pt x="128889" y="664661"/>
                    <a:pt x="134329" y="664661"/>
                    <a:pt x="142487" y="664661"/>
                  </a:cubicBezTo>
                  <a:cubicBezTo>
                    <a:pt x="142487" y="640184"/>
                    <a:pt x="147927" y="612988"/>
                    <a:pt x="147927" y="588511"/>
                  </a:cubicBezTo>
                  <a:cubicBezTo>
                    <a:pt x="150646" y="555875"/>
                    <a:pt x="153366" y="523239"/>
                    <a:pt x="153366" y="493323"/>
                  </a:cubicBezTo>
                  <a:cubicBezTo>
                    <a:pt x="153366" y="466126"/>
                    <a:pt x="156086" y="438930"/>
                    <a:pt x="156086" y="411733"/>
                  </a:cubicBezTo>
                  <a:cubicBezTo>
                    <a:pt x="158806" y="373658"/>
                    <a:pt x="158806" y="335583"/>
                    <a:pt x="161525" y="297508"/>
                  </a:cubicBezTo>
                  <a:cubicBezTo>
                    <a:pt x="161525" y="278470"/>
                    <a:pt x="164245" y="259433"/>
                    <a:pt x="166965" y="240395"/>
                  </a:cubicBezTo>
                  <a:cubicBezTo>
                    <a:pt x="169684" y="210479"/>
                    <a:pt x="172404" y="191441"/>
                    <a:pt x="177843" y="161525"/>
                  </a:cubicBezTo>
                  <a:cubicBezTo>
                    <a:pt x="180563" y="147927"/>
                    <a:pt x="180563" y="131609"/>
                    <a:pt x="183282" y="118011"/>
                  </a:cubicBezTo>
                  <a:cubicBezTo>
                    <a:pt x="183282" y="118011"/>
                    <a:pt x="183282" y="115291"/>
                    <a:pt x="183282" y="115291"/>
                  </a:cubicBezTo>
                  <a:cubicBezTo>
                    <a:pt x="177843" y="115291"/>
                    <a:pt x="172404" y="115291"/>
                    <a:pt x="161525" y="115291"/>
                  </a:cubicBezTo>
                  <a:cubicBezTo>
                    <a:pt x="153366" y="115291"/>
                    <a:pt x="145207" y="115291"/>
                    <a:pt x="137048" y="115291"/>
                  </a:cubicBezTo>
                  <a:cubicBezTo>
                    <a:pt x="128889" y="115291"/>
                    <a:pt x="118011" y="115291"/>
                    <a:pt x="109852" y="109851"/>
                  </a:cubicBezTo>
                  <a:cubicBezTo>
                    <a:pt x="101693" y="107132"/>
                    <a:pt x="93534" y="98973"/>
                    <a:pt x="93534" y="93534"/>
                  </a:cubicBezTo>
                  <a:cubicBezTo>
                    <a:pt x="93534" y="90814"/>
                    <a:pt x="93534" y="88094"/>
                    <a:pt x="98973" y="85375"/>
                  </a:cubicBezTo>
                  <a:cubicBezTo>
                    <a:pt x="104412" y="82655"/>
                    <a:pt x="115291" y="79935"/>
                    <a:pt x="120730" y="77216"/>
                  </a:cubicBezTo>
                  <a:cubicBezTo>
                    <a:pt x="139768" y="74496"/>
                    <a:pt x="164245" y="71776"/>
                    <a:pt x="172404" y="71776"/>
                  </a:cubicBezTo>
                  <a:cubicBezTo>
                    <a:pt x="194161" y="71776"/>
                    <a:pt x="210479" y="69057"/>
                    <a:pt x="234956" y="69057"/>
                  </a:cubicBezTo>
                  <a:cubicBezTo>
                    <a:pt x="237675" y="69057"/>
                    <a:pt x="240395" y="69057"/>
                    <a:pt x="243115" y="69057"/>
                  </a:cubicBezTo>
                  <a:cubicBezTo>
                    <a:pt x="251274" y="69057"/>
                    <a:pt x="262153" y="69057"/>
                    <a:pt x="270312" y="74496"/>
                  </a:cubicBezTo>
                  <a:cubicBezTo>
                    <a:pt x="283910" y="82655"/>
                    <a:pt x="300228" y="96253"/>
                    <a:pt x="308387" y="123450"/>
                  </a:cubicBezTo>
                  <a:cubicBezTo>
                    <a:pt x="316546" y="147927"/>
                    <a:pt x="327424" y="175123"/>
                    <a:pt x="332864" y="202320"/>
                  </a:cubicBezTo>
                  <a:cubicBezTo>
                    <a:pt x="335583" y="213198"/>
                    <a:pt x="335583" y="226797"/>
                    <a:pt x="338303" y="237675"/>
                  </a:cubicBezTo>
                  <a:cubicBezTo>
                    <a:pt x="343742" y="251274"/>
                    <a:pt x="346462" y="264872"/>
                    <a:pt x="349182" y="281190"/>
                  </a:cubicBezTo>
                  <a:cubicBezTo>
                    <a:pt x="351901" y="292068"/>
                    <a:pt x="351901" y="305667"/>
                    <a:pt x="357341" y="316545"/>
                  </a:cubicBezTo>
                  <a:cubicBezTo>
                    <a:pt x="362780" y="327424"/>
                    <a:pt x="362780" y="338303"/>
                    <a:pt x="365500" y="351901"/>
                  </a:cubicBezTo>
                  <a:cubicBezTo>
                    <a:pt x="365500" y="357340"/>
                    <a:pt x="373658" y="373658"/>
                    <a:pt x="376378" y="389976"/>
                  </a:cubicBezTo>
                  <a:cubicBezTo>
                    <a:pt x="381817" y="403574"/>
                    <a:pt x="384537" y="414453"/>
                    <a:pt x="387257" y="414453"/>
                  </a:cubicBezTo>
                  <a:cubicBezTo>
                    <a:pt x="392696" y="414453"/>
                    <a:pt x="395416" y="381817"/>
                    <a:pt x="398136" y="376378"/>
                  </a:cubicBezTo>
                  <a:cubicBezTo>
                    <a:pt x="400855" y="362779"/>
                    <a:pt x="403575" y="346462"/>
                    <a:pt x="406295" y="332863"/>
                  </a:cubicBezTo>
                  <a:cubicBezTo>
                    <a:pt x="411734" y="302947"/>
                    <a:pt x="417173" y="273031"/>
                    <a:pt x="425332" y="243115"/>
                  </a:cubicBezTo>
                  <a:cubicBezTo>
                    <a:pt x="430771" y="213198"/>
                    <a:pt x="436211" y="180563"/>
                    <a:pt x="444370" y="150646"/>
                  </a:cubicBezTo>
                  <a:cubicBezTo>
                    <a:pt x="449809" y="126170"/>
                    <a:pt x="460688" y="98973"/>
                    <a:pt x="477006" y="79935"/>
                  </a:cubicBezTo>
                  <a:cubicBezTo>
                    <a:pt x="487884" y="66337"/>
                    <a:pt x="506922" y="58178"/>
                    <a:pt x="523240" y="58178"/>
                  </a:cubicBezTo>
                  <a:cubicBezTo>
                    <a:pt x="528679" y="58178"/>
                    <a:pt x="539558" y="58178"/>
                    <a:pt x="544997" y="63617"/>
                  </a:cubicBezTo>
                  <a:lnTo>
                    <a:pt x="612988" y="63617"/>
                  </a:lnTo>
                  <a:cubicBezTo>
                    <a:pt x="626587" y="63617"/>
                    <a:pt x="651064" y="63617"/>
                    <a:pt x="651064" y="79935"/>
                  </a:cubicBezTo>
                  <a:cubicBezTo>
                    <a:pt x="651064" y="88094"/>
                    <a:pt x="648344" y="88094"/>
                    <a:pt x="645624" y="96253"/>
                  </a:cubicBezTo>
                  <a:cubicBezTo>
                    <a:pt x="640185" y="101693"/>
                    <a:pt x="634746" y="104412"/>
                    <a:pt x="629307" y="104412"/>
                  </a:cubicBezTo>
                  <a:cubicBezTo>
                    <a:pt x="621147" y="107132"/>
                    <a:pt x="612988" y="107132"/>
                    <a:pt x="607549" y="107132"/>
                  </a:cubicBezTo>
                  <a:cubicBezTo>
                    <a:pt x="604829" y="107132"/>
                    <a:pt x="591231" y="107132"/>
                    <a:pt x="580353" y="107132"/>
                  </a:cubicBezTo>
                  <a:cubicBezTo>
                    <a:pt x="580353" y="109851"/>
                    <a:pt x="583072" y="112571"/>
                    <a:pt x="583072" y="115291"/>
                  </a:cubicBezTo>
                  <a:cubicBezTo>
                    <a:pt x="585792" y="128889"/>
                    <a:pt x="585792" y="142487"/>
                    <a:pt x="588512" y="156086"/>
                  </a:cubicBezTo>
                  <a:cubicBezTo>
                    <a:pt x="591231" y="169684"/>
                    <a:pt x="591231" y="183282"/>
                    <a:pt x="593951" y="196881"/>
                  </a:cubicBezTo>
                  <a:cubicBezTo>
                    <a:pt x="593951" y="207759"/>
                    <a:pt x="599390" y="215918"/>
                    <a:pt x="599390" y="226797"/>
                  </a:cubicBezTo>
                  <a:cubicBezTo>
                    <a:pt x="599390" y="229516"/>
                    <a:pt x="599390" y="229516"/>
                    <a:pt x="599390" y="232236"/>
                  </a:cubicBezTo>
                  <a:cubicBezTo>
                    <a:pt x="599390" y="234956"/>
                    <a:pt x="599390" y="237675"/>
                    <a:pt x="599390" y="240395"/>
                  </a:cubicBezTo>
                  <a:cubicBezTo>
                    <a:pt x="599390" y="251274"/>
                    <a:pt x="599390" y="259433"/>
                    <a:pt x="602110" y="270311"/>
                  </a:cubicBezTo>
                  <a:cubicBezTo>
                    <a:pt x="604829" y="283909"/>
                    <a:pt x="607549" y="294788"/>
                    <a:pt x="607549" y="308386"/>
                  </a:cubicBezTo>
                  <a:cubicBezTo>
                    <a:pt x="607549" y="311106"/>
                    <a:pt x="607549" y="316545"/>
                    <a:pt x="607549" y="319265"/>
                  </a:cubicBezTo>
                  <a:cubicBezTo>
                    <a:pt x="607549" y="324704"/>
                    <a:pt x="610269" y="330144"/>
                    <a:pt x="612988" y="335583"/>
                  </a:cubicBezTo>
                  <a:cubicBezTo>
                    <a:pt x="612988" y="338303"/>
                    <a:pt x="612988" y="343742"/>
                    <a:pt x="612988" y="346462"/>
                  </a:cubicBezTo>
                  <a:cubicBezTo>
                    <a:pt x="612988" y="354620"/>
                    <a:pt x="612988" y="362779"/>
                    <a:pt x="612988" y="370939"/>
                  </a:cubicBezTo>
                  <a:cubicBezTo>
                    <a:pt x="612988" y="379097"/>
                    <a:pt x="612988" y="387256"/>
                    <a:pt x="612988" y="395415"/>
                  </a:cubicBezTo>
                  <a:cubicBezTo>
                    <a:pt x="612988" y="403574"/>
                    <a:pt x="615708" y="414453"/>
                    <a:pt x="615708" y="422612"/>
                  </a:cubicBezTo>
                  <a:cubicBezTo>
                    <a:pt x="618428" y="430771"/>
                    <a:pt x="618428" y="436210"/>
                    <a:pt x="618428" y="441650"/>
                  </a:cubicBezTo>
                  <a:cubicBezTo>
                    <a:pt x="618428" y="444369"/>
                    <a:pt x="618428" y="449808"/>
                    <a:pt x="618428" y="455248"/>
                  </a:cubicBezTo>
                  <a:cubicBezTo>
                    <a:pt x="618428" y="460687"/>
                    <a:pt x="618428" y="460687"/>
                    <a:pt x="621147" y="463407"/>
                  </a:cubicBezTo>
                  <a:cubicBezTo>
                    <a:pt x="623867" y="471566"/>
                    <a:pt x="623867" y="477005"/>
                    <a:pt x="626587" y="482444"/>
                  </a:cubicBezTo>
                  <a:cubicBezTo>
                    <a:pt x="629307" y="493323"/>
                    <a:pt x="629307" y="506921"/>
                    <a:pt x="629307" y="517800"/>
                  </a:cubicBezTo>
                  <a:cubicBezTo>
                    <a:pt x="632026" y="534118"/>
                    <a:pt x="632026" y="547716"/>
                    <a:pt x="634746" y="561314"/>
                  </a:cubicBezTo>
                  <a:cubicBezTo>
                    <a:pt x="634746" y="564034"/>
                    <a:pt x="634746" y="564034"/>
                    <a:pt x="634746" y="566754"/>
                  </a:cubicBezTo>
                  <a:cubicBezTo>
                    <a:pt x="634746" y="572193"/>
                    <a:pt x="634746" y="577632"/>
                    <a:pt x="634746" y="583072"/>
                  </a:cubicBezTo>
                  <a:cubicBezTo>
                    <a:pt x="634746" y="596670"/>
                    <a:pt x="637466" y="602109"/>
                    <a:pt x="637466" y="607548"/>
                  </a:cubicBezTo>
                  <a:cubicBezTo>
                    <a:pt x="637466" y="610268"/>
                    <a:pt x="640185" y="615708"/>
                    <a:pt x="640185" y="618427"/>
                  </a:cubicBezTo>
                  <a:cubicBezTo>
                    <a:pt x="640185" y="623866"/>
                    <a:pt x="640185" y="629306"/>
                    <a:pt x="640185" y="632025"/>
                  </a:cubicBezTo>
                  <a:cubicBezTo>
                    <a:pt x="640185" y="634745"/>
                    <a:pt x="640185" y="637465"/>
                    <a:pt x="640185" y="640184"/>
                  </a:cubicBezTo>
                  <a:cubicBezTo>
                    <a:pt x="640185" y="645624"/>
                    <a:pt x="642905" y="653783"/>
                    <a:pt x="642905" y="659222"/>
                  </a:cubicBezTo>
                  <a:cubicBezTo>
                    <a:pt x="642905" y="661942"/>
                    <a:pt x="642905" y="661942"/>
                    <a:pt x="642905" y="664661"/>
                  </a:cubicBezTo>
                  <a:cubicBezTo>
                    <a:pt x="645624" y="678259"/>
                    <a:pt x="651064" y="678259"/>
                    <a:pt x="653783" y="678259"/>
                  </a:cubicBezTo>
                  <a:lnTo>
                    <a:pt x="653783" y="678259"/>
                  </a:ln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2" name="Freeform: Shape 41">
              <a:extLst>
                <a:ext uri="{FF2B5EF4-FFF2-40B4-BE49-F238E27FC236}">
                  <a16:creationId xmlns:a16="http://schemas.microsoft.com/office/drawing/2014/main" id="{559998B0-FBE4-4736-A71B-DC348C340448}"/>
                </a:ext>
              </a:extLst>
            </p:cNvPr>
            <p:cNvSpPr/>
            <p:nvPr/>
          </p:nvSpPr>
          <p:spPr>
            <a:xfrm>
              <a:off x="6362526" y="4242177"/>
              <a:ext cx="492259" cy="674476"/>
            </a:xfrm>
            <a:custGeom>
              <a:avLst/>
              <a:gdLst>
                <a:gd name="connsiteX0" fmla="*/ 225733 w 492259"/>
                <a:gd name="connsiteY0" fmla="*/ 97907 h 674476"/>
                <a:gd name="connsiteX1" fmla="*/ 209415 w 492259"/>
                <a:gd name="connsiteY1" fmla="*/ 119665 h 674476"/>
                <a:gd name="connsiteX2" fmla="*/ 201256 w 492259"/>
                <a:gd name="connsiteY2" fmla="*/ 152300 h 674476"/>
                <a:gd name="connsiteX3" fmla="*/ 198536 w 492259"/>
                <a:gd name="connsiteY3" fmla="*/ 168618 h 674476"/>
                <a:gd name="connsiteX4" fmla="*/ 195817 w 492259"/>
                <a:gd name="connsiteY4" fmla="*/ 184936 h 674476"/>
                <a:gd name="connsiteX5" fmla="*/ 187658 w 492259"/>
                <a:gd name="connsiteY5" fmla="*/ 220292 h 674476"/>
                <a:gd name="connsiteX6" fmla="*/ 168620 w 492259"/>
                <a:gd name="connsiteY6" fmla="*/ 291003 h 674476"/>
                <a:gd name="connsiteX7" fmla="*/ 160461 w 492259"/>
                <a:gd name="connsiteY7" fmla="*/ 323639 h 674476"/>
                <a:gd name="connsiteX8" fmla="*/ 149582 w 492259"/>
                <a:gd name="connsiteY8" fmla="*/ 361714 h 674476"/>
                <a:gd name="connsiteX9" fmla="*/ 144143 w 492259"/>
                <a:gd name="connsiteY9" fmla="*/ 388910 h 674476"/>
                <a:gd name="connsiteX10" fmla="*/ 149582 w 492259"/>
                <a:gd name="connsiteY10" fmla="*/ 391630 h 674476"/>
                <a:gd name="connsiteX11" fmla="*/ 171340 w 492259"/>
                <a:gd name="connsiteY11" fmla="*/ 391630 h 674476"/>
                <a:gd name="connsiteX12" fmla="*/ 193097 w 492259"/>
                <a:gd name="connsiteY12" fmla="*/ 388910 h 674476"/>
                <a:gd name="connsiteX13" fmla="*/ 212135 w 492259"/>
                <a:gd name="connsiteY13" fmla="*/ 388910 h 674476"/>
                <a:gd name="connsiteX14" fmla="*/ 236611 w 492259"/>
                <a:gd name="connsiteY14" fmla="*/ 388910 h 674476"/>
                <a:gd name="connsiteX15" fmla="*/ 250210 w 492259"/>
                <a:gd name="connsiteY15" fmla="*/ 386191 h 674476"/>
                <a:gd name="connsiteX16" fmla="*/ 258369 w 492259"/>
                <a:gd name="connsiteY16" fmla="*/ 386191 h 674476"/>
                <a:gd name="connsiteX17" fmla="*/ 255649 w 492259"/>
                <a:gd name="connsiteY17" fmla="*/ 367153 h 674476"/>
                <a:gd name="connsiteX18" fmla="*/ 250210 w 492259"/>
                <a:gd name="connsiteY18" fmla="*/ 331797 h 674476"/>
                <a:gd name="connsiteX19" fmla="*/ 247490 w 492259"/>
                <a:gd name="connsiteY19" fmla="*/ 244769 h 674476"/>
                <a:gd name="connsiteX20" fmla="*/ 242051 w 492259"/>
                <a:gd name="connsiteY20" fmla="*/ 203974 h 674476"/>
                <a:gd name="connsiteX21" fmla="*/ 236611 w 492259"/>
                <a:gd name="connsiteY21" fmla="*/ 157740 h 674476"/>
                <a:gd name="connsiteX22" fmla="*/ 233892 w 492259"/>
                <a:gd name="connsiteY22" fmla="*/ 119665 h 674476"/>
                <a:gd name="connsiteX23" fmla="*/ 225733 w 492259"/>
                <a:gd name="connsiteY23" fmla="*/ 97907 h 674476"/>
                <a:gd name="connsiteX24" fmla="*/ 274687 w 492259"/>
                <a:gd name="connsiteY24" fmla="*/ 0 h 674476"/>
                <a:gd name="connsiteX25" fmla="*/ 304603 w 492259"/>
                <a:gd name="connsiteY25" fmla="*/ 5439 h 674476"/>
                <a:gd name="connsiteX26" fmla="*/ 320921 w 492259"/>
                <a:gd name="connsiteY26" fmla="*/ 24477 h 674476"/>
                <a:gd name="connsiteX27" fmla="*/ 334519 w 492259"/>
                <a:gd name="connsiteY27" fmla="*/ 43515 h 674476"/>
                <a:gd name="connsiteX28" fmla="*/ 339959 w 492259"/>
                <a:gd name="connsiteY28" fmla="*/ 65272 h 674476"/>
                <a:gd name="connsiteX29" fmla="*/ 348118 w 492259"/>
                <a:gd name="connsiteY29" fmla="*/ 114226 h 674476"/>
                <a:gd name="connsiteX30" fmla="*/ 361716 w 492259"/>
                <a:gd name="connsiteY30" fmla="*/ 163180 h 674476"/>
                <a:gd name="connsiteX31" fmla="*/ 369875 w 492259"/>
                <a:gd name="connsiteY31" fmla="*/ 220293 h 674476"/>
                <a:gd name="connsiteX32" fmla="*/ 378034 w 492259"/>
                <a:gd name="connsiteY32" fmla="*/ 274686 h 674476"/>
                <a:gd name="connsiteX33" fmla="*/ 383473 w 492259"/>
                <a:gd name="connsiteY33" fmla="*/ 301883 h 674476"/>
                <a:gd name="connsiteX34" fmla="*/ 391632 w 492259"/>
                <a:gd name="connsiteY34" fmla="*/ 337238 h 674476"/>
                <a:gd name="connsiteX35" fmla="*/ 397071 w 492259"/>
                <a:gd name="connsiteY35" fmla="*/ 364435 h 674476"/>
                <a:gd name="connsiteX36" fmla="*/ 405230 w 492259"/>
                <a:gd name="connsiteY36" fmla="*/ 383473 h 674476"/>
                <a:gd name="connsiteX37" fmla="*/ 416109 w 492259"/>
                <a:gd name="connsiteY37" fmla="*/ 386192 h 674476"/>
                <a:gd name="connsiteX38" fmla="*/ 426988 w 492259"/>
                <a:gd name="connsiteY38" fmla="*/ 386192 h 674476"/>
                <a:gd name="connsiteX39" fmla="*/ 454184 w 492259"/>
                <a:gd name="connsiteY39" fmla="*/ 397071 h 674476"/>
                <a:gd name="connsiteX40" fmla="*/ 456904 w 492259"/>
                <a:gd name="connsiteY40" fmla="*/ 405230 h 674476"/>
                <a:gd name="connsiteX41" fmla="*/ 451464 w 492259"/>
                <a:gd name="connsiteY41" fmla="*/ 416108 h 674476"/>
                <a:gd name="connsiteX42" fmla="*/ 432427 w 492259"/>
                <a:gd name="connsiteY42" fmla="*/ 429707 h 674476"/>
                <a:gd name="connsiteX43" fmla="*/ 421548 w 492259"/>
                <a:gd name="connsiteY43" fmla="*/ 432426 h 674476"/>
                <a:gd name="connsiteX44" fmla="*/ 413389 w 492259"/>
                <a:gd name="connsiteY44" fmla="*/ 435146 h 674476"/>
                <a:gd name="connsiteX45" fmla="*/ 413389 w 492259"/>
                <a:gd name="connsiteY45" fmla="*/ 440585 h 674476"/>
                <a:gd name="connsiteX46" fmla="*/ 416109 w 492259"/>
                <a:gd name="connsiteY46" fmla="*/ 451464 h 674476"/>
                <a:gd name="connsiteX47" fmla="*/ 418829 w 492259"/>
                <a:gd name="connsiteY47" fmla="*/ 465062 h 674476"/>
                <a:gd name="connsiteX48" fmla="*/ 418829 w 492259"/>
                <a:gd name="connsiteY48" fmla="*/ 475941 h 674476"/>
                <a:gd name="connsiteX49" fmla="*/ 418829 w 492259"/>
                <a:gd name="connsiteY49" fmla="*/ 486820 h 674476"/>
                <a:gd name="connsiteX50" fmla="*/ 426988 w 492259"/>
                <a:gd name="connsiteY50" fmla="*/ 516736 h 674476"/>
                <a:gd name="connsiteX51" fmla="*/ 432427 w 492259"/>
                <a:gd name="connsiteY51" fmla="*/ 543932 h 674476"/>
                <a:gd name="connsiteX52" fmla="*/ 437866 w 492259"/>
                <a:gd name="connsiteY52" fmla="*/ 573848 h 674476"/>
                <a:gd name="connsiteX53" fmla="*/ 443306 w 492259"/>
                <a:gd name="connsiteY53" fmla="*/ 606484 h 674476"/>
                <a:gd name="connsiteX54" fmla="*/ 446025 w 492259"/>
                <a:gd name="connsiteY54" fmla="*/ 617363 h 674476"/>
                <a:gd name="connsiteX55" fmla="*/ 470502 w 492259"/>
                <a:gd name="connsiteY55" fmla="*/ 617363 h 674476"/>
                <a:gd name="connsiteX56" fmla="*/ 492259 w 492259"/>
                <a:gd name="connsiteY56" fmla="*/ 641840 h 674476"/>
                <a:gd name="connsiteX57" fmla="*/ 484101 w 492259"/>
                <a:gd name="connsiteY57" fmla="*/ 655438 h 674476"/>
                <a:gd name="connsiteX58" fmla="*/ 467782 w 492259"/>
                <a:gd name="connsiteY58" fmla="*/ 663597 h 674476"/>
                <a:gd name="connsiteX59" fmla="*/ 443306 w 492259"/>
                <a:gd name="connsiteY59" fmla="*/ 666317 h 674476"/>
                <a:gd name="connsiteX60" fmla="*/ 421548 w 492259"/>
                <a:gd name="connsiteY60" fmla="*/ 666317 h 674476"/>
                <a:gd name="connsiteX61" fmla="*/ 413389 w 492259"/>
                <a:gd name="connsiteY61" fmla="*/ 666317 h 674476"/>
                <a:gd name="connsiteX62" fmla="*/ 399791 w 492259"/>
                <a:gd name="connsiteY62" fmla="*/ 671756 h 674476"/>
                <a:gd name="connsiteX63" fmla="*/ 383473 w 492259"/>
                <a:gd name="connsiteY63" fmla="*/ 674476 h 674476"/>
                <a:gd name="connsiteX64" fmla="*/ 348118 w 492259"/>
                <a:gd name="connsiteY64" fmla="*/ 669036 h 674476"/>
                <a:gd name="connsiteX65" fmla="*/ 326360 w 492259"/>
                <a:gd name="connsiteY65" fmla="*/ 669036 h 674476"/>
                <a:gd name="connsiteX66" fmla="*/ 277406 w 492259"/>
                <a:gd name="connsiteY66" fmla="*/ 669036 h 674476"/>
                <a:gd name="connsiteX67" fmla="*/ 252930 w 492259"/>
                <a:gd name="connsiteY67" fmla="*/ 663597 h 674476"/>
                <a:gd name="connsiteX68" fmla="*/ 236611 w 492259"/>
                <a:gd name="connsiteY68" fmla="*/ 647279 h 674476"/>
                <a:gd name="connsiteX69" fmla="*/ 261088 w 492259"/>
                <a:gd name="connsiteY69" fmla="*/ 630961 h 674476"/>
                <a:gd name="connsiteX70" fmla="*/ 288285 w 492259"/>
                <a:gd name="connsiteY70" fmla="*/ 628241 h 674476"/>
                <a:gd name="connsiteX71" fmla="*/ 285565 w 492259"/>
                <a:gd name="connsiteY71" fmla="*/ 609204 h 674476"/>
                <a:gd name="connsiteX72" fmla="*/ 282846 w 492259"/>
                <a:gd name="connsiteY72" fmla="*/ 582007 h 674476"/>
                <a:gd name="connsiteX73" fmla="*/ 280126 w 492259"/>
                <a:gd name="connsiteY73" fmla="*/ 568409 h 674476"/>
                <a:gd name="connsiteX74" fmla="*/ 282846 w 492259"/>
                <a:gd name="connsiteY74" fmla="*/ 554811 h 674476"/>
                <a:gd name="connsiteX75" fmla="*/ 277406 w 492259"/>
                <a:gd name="connsiteY75" fmla="*/ 538493 h 674476"/>
                <a:gd name="connsiteX76" fmla="*/ 271967 w 492259"/>
                <a:gd name="connsiteY76" fmla="*/ 505857 h 674476"/>
                <a:gd name="connsiteX77" fmla="*/ 269247 w 492259"/>
                <a:gd name="connsiteY77" fmla="*/ 478660 h 674476"/>
                <a:gd name="connsiteX78" fmla="*/ 266528 w 492259"/>
                <a:gd name="connsiteY78" fmla="*/ 446025 h 674476"/>
                <a:gd name="connsiteX79" fmla="*/ 261088 w 492259"/>
                <a:gd name="connsiteY79" fmla="*/ 437866 h 674476"/>
                <a:gd name="connsiteX80" fmla="*/ 250210 w 492259"/>
                <a:gd name="connsiteY80" fmla="*/ 437866 h 674476"/>
                <a:gd name="connsiteX81" fmla="*/ 220293 w 492259"/>
                <a:gd name="connsiteY81" fmla="*/ 440585 h 674476"/>
                <a:gd name="connsiteX82" fmla="*/ 190377 w 492259"/>
                <a:gd name="connsiteY82" fmla="*/ 443305 h 674476"/>
                <a:gd name="connsiteX83" fmla="*/ 165900 w 492259"/>
                <a:gd name="connsiteY83" fmla="*/ 443305 h 674476"/>
                <a:gd name="connsiteX84" fmla="*/ 144143 w 492259"/>
                <a:gd name="connsiteY84" fmla="*/ 440585 h 674476"/>
                <a:gd name="connsiteX85" fmla="*/ 135984 w 492259"/>
                <a:gd name="connsiteY85" fmla="*/ 454184 h 674476"/>
                <a:gd name="connsiteX86" fmla="*/ 130545 w 492259"/>
                <a:gd name="connsiteY86" fmla="*/ 486820 h 674476"/>
                <a:gd name="connsiteX87" fmla="*/ 119666 w 492259"/>
                <a:gd name="connsiteY87" fmla="*/ 541213 h 674476"/>
                <a:gd name="connsiteX88" fmla="*/ 103348 w 492259"/>
                <a:gd name="connsiteY88" fmla="*/ 614643 h 674476"/>
                <a:gd name="connsiteX89" fmla="*/ 133264 w 492259"/>
                <a:gd name="connsiteY89" fmla="*/ 614643 h 674476"/>
                <a:gd name="connsiteX90" fmla="*/ 168620 w 492259"/>
                <a:gd name="connsiteY90" fmla="*/ 630961 h 674476"/>
                <a:gd name="connsiteX91" fmla="*/ 163181 w 492259"/>
                <a:gd name="connsiteY91" fmla="*/ 647279 h 674476"/>
                <a:gd name="connsiteX92" fmla="*/ 146863 w 492259"/>
                <a:gd name="connsiteY92" fmla="*/ 655438 h 674476"/>
                <a:gd name="connsiteX93" fmla="*/ 127825 w 492259"/>
                <a:gd name="connsiteY93" fmla="*/ 658158 h 674476"/>
                <a:gd name="connsiteX94" fmla="*/ 106068 w 492259"/>
                <a:gd name="connsiteY94" fmla="*/ 658158 h 674476"/>
                <a:gd name="connsiteX95" fmla="*/ 62552 w 492259"/>
                <a:gd name="connsiteY95" fmla="*/ 658158 h 674476"/>
                <a:gd name="connsiteX96" fmla="*/ 40795 w 492259"/>
                <a:gd name="connsiteY96" fmla="*/ 658158 h 674476"/>
                <a:gd name="connsiteX97" fmla="*/ 16318 w 492259"/>
                <a:gd name="connsiteY97" fmla="*/ 652718 h 674476"/>
                <a:gd name="connsiteX98" fmla="*/ 0 w 492259"/>
                <a:gd name="connsiteY98" fmla="*/ 636401 h 674476"/>
                <a:gd name="connsiteX99" fmla="*/ 2720 w 492259"/>
                <a:gd name="connsiteY99" fmla="*/ 628241 h 674476"/>
                <a:gd name="connsiteX100" fmla="*/ 24477 w 492259"/>
                <a:gd name="connsiteY100" fmla="*/ 620082 h 674476"/>
                <a:gd name="connsiteX101" fmla="*/ 62552 w 492259"/>
                <a:gd name="connsiteY101" fmla="*/ 617363 h 674476"/>
                <a:gd name="connsiteX102" fmla="*/ 62552 w 492259"/>
                <a:gd name="connsiteY102" fmla="*/ 614643 h 674476"/>
                <a:gd name="connsiteX103" fmla="*/ 65272 w 492259"/>
                <a:gd name="connsiteY103" fmla="*/ 587447 h 674476"/>
                <a:gd name="connsiteX104" fmla="*/ 76151 w 492259"/>
                <a:gd name="connsiteY104" fmla="*/ 522175 h 674476"/>
                <a:gd name="connsiteX105" fmla="*/ 87029 w 492259"/>
                <a:gd name="connsiteY105" fmla="*/ 470501 h 674476"/>
                <a:gd name="connsiteX106" fmla="*/ 92468 w 492259"/>
                <a:gd name="connsiteY106" fmla="*/ 446025 h 674476"/>
                <a:gd name="connsiteX107" fmla="*/ 65272 w 492259"/>
                <a:gd name="connsiteY107" fmla="*/ 432426 h 674476"/>
                <a:gd name="connsiteX108" fmla="*/ 54393 w 492259"/>
                <a:gd name="connsiteY108" fmla="*/ 421548 h 674476"/>
                <a:gd name="connsiteX109" fmla="*/ 73431 w 492259"/>
                <a:gd name="connsiteY109" fmla="*/ 407949 h 674476"/>
                <a:gd name="connsiteX110" fmla="*/ 100629 w 492259"/>
                <a:gd name="connsiteY110" fmla="*/ 399790 h 674476"/>
                <a:gd name="connsiteX111" fmla="*/ 108788 w 492259"/>
                <a:gd name="connsiteY111" fmla="*/ 369874 h 674476"/>
                <a:gd name="connsiteX112" fmla="*/ 125105 w 492259"/>
                <a:gd name="connsiteY112" fmla="*/ 307322 h 674476"/>
                <a:gd name="connsiteX113" fmla="*/ 141423 w 492259"/>
                <a:gd name="connsiteY113" fmla="*/ 242051 h 674476"/>
                <a:gd name="connsiteX114" fmla="*/ 155022 w 492259"/>
                <a:gd name="connsiteY114" fmla="*/ 179498 h 674476"/>
                <a:gd name="connsiteX115" fmla="*/ 168620 w 492259"/>
                <a:gd name="connsiteY115" fmla="*/ 119665 h 674476"/>
                <a:gd name="connsiteX116" fmla="*/ 193097 w 492259"/>
                <a:gd name="connsiteY116" fmla="*/ 57113 h 674476"/>
                <a:gd name="connsiteX117" fmla="*/ 201256 w 492259"/>
                <a:gd name="connsiteY117" fmla="*/ 38075 h 674476"/>
                <a:gd name="connsiteX118" fmla="*/ 217574 w 492259"/>
                <a:gd name="connsiteY118" fmla="*/ 13598 h 674476"/>
                <a:gd name="connsiteX119" fmla="*/ 274687 w 492259"/>
                <a:gd name="connsiteY119" fmla="*/ 0 h 6744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</a:cxnLst>
              <a:rect l="l" t="t" r="r" b="b"/>
              <a:pathLst>
                <a:path w="492259" h="674476">
                  <a:moveTo>
                    <a:pt x="225733" y="97907"/>
                  </a:moveTo>
                  <a:cubicBezTo>
                    <a:pt x="217574" y="97907"/>
                    <a:pt x="209415" y="114225"/>
                    <a:pt x="209415" y="119665"/>
                  </a:cubicBezTo>
                  <a:cubicBezTo>
                    <a:pt x="206695" y="130543"/>
                    <a:pt x="203976" y="144141"/>
                    <a:pt x="201256" y="152300"/>
                  </a:cubicBezTo>
                  <a:cubicBezTo>
                    <a:pt x="198536" y="157740"/>
                    <a:pt x="198536" y="163179"/>
                    <a:pt x="198536" y="168618"/>
                  </a:cubicBezTo>
                  <a:cubicBezTo>
                    <a:pt x="198536" y="174058"/>
                    <a:pt x="195817" y="179497"/>
                    <a:pt x="195817" y="184936"/>
                  </a:cubicBezTo>
                  <a:cubicBezTo>
                    <a:pt x="193097" y="195815"/>
                    <a:pt x="190377" y="209413"/>
                    <a:pt x="187658" y="220292"/>
                  </a:cubicBezTo>
                  <a:cubicBezTo>
                    <a:pt x="184938" y="244769"/>
                    <a:pt x="176779" y="269246"/>
                    <a:pt x="168620" y="291003"/>
                  </a:cubicBezTo>
                  <a:cubicBezTo>
                    <a:pt x="165900" y="301881"/>
                    <a:pt x="163181" y="312760"/>
                    <a:pt x="160461" y="323639"/>
                  </a:cubicBezTo>
                  <a:cubicBezTo>
                    <a:pt x="157742" y="337237"/>
                    <a:pt x="155022" y="348115"/>
                    <a:pt x="149582" y="361714"/>
                  </a:cubicBezTo>
                  <a:cubicBezTo>
                    <a:pt x="146863" y="367153"/>
                    <a:pt x="144143" y="383471"/>
                    <a:pt x="144143" y="388910"/>
                  </a:cubicBezTo>
                  <a:cubicBezTo>
                    <a:pt x="144143" y="391630"/>
                    <a:pt x="146863" y="391630"/>
                    <a:pt x="149582" y="391630"/>
                  </a:cubicBezTo>
                  <a:cubicBezTo>
                    <a:pt x="155022" y="391630"/>
                    <a:pt x="168620" y="391630"/>
                    <a:pt x="171340" y="391630"/>
                  </a:cubicBezTo>
                  <a:cubicBezTo>
                    <a:pt x="179498" y="391630"/>
                    <a:pt x="187658" y="391630"/>
                    <a:pt x="193097" y="388910"/>
                  </a:cubicBezTo>
                  <a:cubicBezTo>
                    <a:pt x="198536" y="388910"/>
                    <a:pt x="203976" y="388910"/>
                    <a:pt x="212135" y="388910"/>
                  </a:cubicBezTo>
                  <a:cubicBezTo>
                    <a:pt x="217574" y="388910"/>
                    <a:pt x="225733" y="388910"/>
                    <a:pt x="236611" y="388910"/>
                  </a:cubicBezTo>
                  <a:cubicBezTo>
                    <a:pt x="242051" y="388910"/>
                    <a:pt x="247490" y="388910"/>
                    <a:pt x="250210" y="386191"/>
                  </a:cubicBezTo>
                  <a:cubicBezTo>
                    <a:pt x="255649" y="391630"/>
                    <a:pt x="258369" y="388910"/>
                    <a:pt x="258369" y="386191"/>
                  </a:cubicBezTo>
                  <a:cubicBezTo>
                    <a:pt x="258369" y="380751"/>
                    <a:pt x="255649" y="372592"/>
                    <a:pt x="255649" y="367153"/>
                  </a:cubicBezTo>
                  <a:cubicBezTo>
                    <a:pt x="252930" y="353555"/>
                    <a:pt x="250210" y="342676"/>
                    <a:pt x="250210" y="331797"/>
                  </a:cubicBezTo>
                  <a:cubicBezTo>
                    <a:pt x="250210" y="301881"/>
                    <a:pt x="250210" y="274685"/>
                    <a:pt x="247490" y="244769"/>
                  </a:cubicBezTo>
                  <a:cubicBezTo>
                    <a:pt x="247490" y="231170"/>
                    <a:pt x="244771" y="217572"/>
                    <a:pt x="242051" y="203974"/>
                  </a:cubicBezTo>
                  <a:cubicBezTo>
                    <a:pt x="239331" y="187656"/>
                    <a:pt x="236611" y="174058"/>
                    <a:pt x="236611" y="157740"/>
                  </a:cubicBezTo>
                  <a:cubicBezTo>
                    <a:pt x="236611" y="152300"/>
                    <a:pt x="236611" y="133263"/>
                    <a:pt x="233892" y="119665"/>
                  </a:cubicBezTo>
                  <a:cubicBezTo>
                    <a:pt x="233892" y="106066"/>
                    <a:pt x="231172" y="97907"/>
                    <a:pt x="225733" y="97907"/>
                  </a:cubicBezTo>
                  <a:close/>
                  <a:moveTo>
                    <a:pt x="274687" y="0"/>
                  </a:moveTo>
                  <a:cubicBezTo>
                    <a:pt x="288285" y="0"/>
                    <a:pt x="293724" y="2720"/>
                    <a:pt x="304603" y="5439"/>
                  </a:cubicBezTo>
                  <a:cubicBezTo>
                    <a:pt x="315481" y="10879"/>
                    <a:pt x="315481" y="16318"/>
                    <a:pt x="320921" y="24477"/>
                  </a:cubicBezTo>
                  <a:cubicBezTo>
                    <a:pt x="326360" y="29916"/>
                    <a:pt x="331800" y="35356"/>
                    <a:pt x="334519" y="43515"/>
                  </a:cubicBezTo>
                  <a:cubicBezTo>
                    <a:pt x="337239" y="51674"/>
                    <a:pt x="337239" y="57113"/>
                    <a:pt x="339959" y="65272"/>
                  </a:cubicBezTo>
                  <a:cubicBezTo>
                    <a:pt x="345398" y="78870"/>
                    <a:pt x="342678" y="97908"/>
                    <a:pt x="348118" y="114226"/>
                  </a:cubicBezTo>
                  <a:cubicBezTo>
                    <a:pt x="350837" y="130544"/>
                    <a:pt x="358996" y="146863"/>
                    <a:pt x="361716" y="163180"/>
                  </a:cubicBezTo>
                  <a:cubicBezTo>
                    <a:pt x="364435" y="182218"/>
                    <a:pt x="364435" y="201256"/>
                    <a:pt x="369875" y="220293"/>
                  </a:cubicBezTo>
                  <a:cubicBezTo>
                    <a:pt x="375314" y="239331"/>
                    <a:pt x="378034" y="255649"/>
                    <a:pt x="378034" y="274686"/>
                  </a:cubicBezTo>
                  <a:cubicBezTo>
                    <a:pt x="378034" y="282845"/>
                    <a:pt x="380753" y="293724"/>
                    <a:pt x="383473" y="301883"/>
                  </a:cubicBezTo>
                  <a:cubicBezTo>
                    <a:pt x="386193" y="312762"/>
                    <a:pt x="388913" y="326360"/>
                    <a:pt x="391632" y="337238"/>
                  </a:cubicBezTo>
                  <a:cubicBezTo>
                    <a:pt x="391632" y="342678"/>
                    <a:pt x="394352" y="353556"/>
                    <a:pt x="397071" y="364435"/>
                  </a:cubicBezTo>
                  <a:cubicBezTo>
                    <a:pt x="399791" y="372594"/>
                    <a:pt x="402511" y="380753"/>
                    <a:pt x="405230" y="383473"/>
                  </a:cubicBezTo>
                  <a:cubicBezTo>
                    <a:pt x="407950" y="386192"/>
                    <a:pt x="413389" y="386192"/>
                    <a:pt x="416109" y="386192"/>
                  </a:cubicBezTo>
                  <a:cubicBezTo>
                    <a:pt x="418829" y="386192"/>
                    <a:pt x="424268" y="386192"/>
                    <a:pt x="426988" y="386192"/>
                  </a:cubicBezTo>
                  <a:cubicBezTo>
                    <a:pt x="437866" y="386192"/>
                    <a:pt x="448745" y="388912"/>
                    <a:pt x="454184" y="397071"/>
                  </a:cubicBezTo>
                  <a:cubicBezTo>
                    <a:pt x="456904" y="399790"/>
                    <a:pt x="456904" y="402510"/>
                    <a:pt x="456904" y="405230"/>
                  </a:cubicBezTo>
                  <a:cubicBezTo>
                    <a:pt x="456904" y="407949"/>
                    <a:pt x="454184" y="410669"/>
                    <a:pt x="451464" y="416108"/>
                  </a:cubicBezTo>
                  <a:cubicBezTo>
                    <a:pt x="446025" y="421548"/>
                    <a:pt x="440586" y="426987"/>
                    <a:pt x="432427" y="429707"/>
                  </a:cubicBezTo>
                  <a:cubicBezTo>
                    <a:pt x="429707" y="429707"/>
                    <a:pt x="426988" y="432426"/>
                    <a:pt x="421548" y="432426"/>
                  </a:cubicBezTo>
                  <a:cubicBezTo>
                    <a:pt x="418829" y="432426"/>
                    <a:pt x="416109" y="432426"/>
                    <a:pt x="413389" y="435146"/>
                  </a:cubicBezTo>
                  <a:cubicBezTo>
                    <a:pt x="413389" y="435146"/>
                    <a:pt x="413389" y="437866"/>
                    <a:pt x="413389" y="440585"/>
                  </a:cubicBezTo>
                  <a:cubicBezTo>
                    <a:pt x="413389" y="443305"/>
                    <a:pt x="413389" y="448744"/>
                    <a:pt x="416109" y="451464"/>
                  </a:cubicBezTo>
                  <a:cubicBezTo>
                    <a:pt x="416109" y="456903"/>
                    <a:pt x="418829" y="462343"/>
                    <a:pt x="418829" y="465062"/>
                  </a:cubicBezTo>
                  <a:lnTo>
                    <a:pt x="418829" y="475941"/>
                  </a:lnTo>
                  <a:cubicBezTo>
                    <a:pt x="418829" y="481380"/>
                    <a:pt x="418829" y="484100"/>
                    <a:pt x="418829" y="486820"/>
                  </a:cubicBezTo>
                  <a:cubicBezTo>
                    <a:pt x="421548" y="497698"/>
                    <a:pt x="424268" y="505857"/>
                    <a:pt x="426988" y="516736"/>
                  </a:cubicBezTo>
                  <a:cubicBezTo>
                    <a:pt x="426988" y="524895"/>
                    <a:pt x="429707" y="535773"/>
                    <a:pt x="432427" y="543932"/>
                  </a:cubicBezTo>
                  <a:cubicBezTo>
                    <a:pt x="435147" y="554811"/>
                    <a:pt x="437866" y="562970"/>
                    <a:pt x="437866" y="573848"/>
                  </a:cubicBezTo>
                  <a:cubicBezTo>
                    <a:pt x="437866" y="587447"/>
                    <a:pt x="440586" y="595606"/>
                    <a:pt x="443306" y="606484"/>
                  </a:cubicBezTo>
                  <a:cubicBezTo>
                    <a:pt x="443306" y="609204"/>
                    <a:pt x="446025" y="614643"/>
                    <a:pt x="446025" y="617363"/>
                  </a:cubicBezTo>
                  <a:cubicBezTo>
                    <a:pt x="454184" y="617363"/>
                    <a:pt x="462343" y="617363"/>
                    <a:pt x="470502" y="617363"/>
                  </a:cubicBezTo>
                  <a:cubicBezTo>
                    <a:pt x="475942" y="625522"/>
                    <a:pt x="492259" y="630961"/>
                    <a:pt x="492259" y="641840"/>
                  </a:cubicBezTo>
                  <a:cubicBezTo>
                    <a:pt x="492259" y="647279"/>
                    <a:pt x="486820" y="649999"/>
                    <a:pt x="484101" y="655438"/>
                  </a:cubicBezTo>
                  <a:cubicBezTo>
                    <a:pt x="481381" y="660877"/>
                    <a:pt x="473222" y="663597"/>
                    <a:pt x="467782" y="663597"/>
                  </a:cubicBezTo>
                  <a:cubicBezTo>
                    <a:pt x="456904" y="666317"/>
                    <a:pt x="451464" y="666317"/>
                    <a:pt x="443306" y="666317"/>
                  </a:cubicBezTo>
                  <a:cubicBezTo>
                    <a:pt x="437866" y="666317"/>
                    <a:pt x="429707" y="666317"/>
                    <a:pt x="421548" y="666317"/>
                  </a:cubicBezTo>
                  <a:cubicBezTo>
                    <a:pt x="418829" y="666317"/>
                    <a:pt x="416109" y="666317"/>
                    <a:pt x="413389" y="666317"/>
                  </a:cubicBezTo>
                  <a:cubicBezTo>
                    <a:pt x="407950" y="669036"/>
                    <a:pt x="405230" y="669036"/>
                    <a:pt x="399791" y="671756"/>
                  </a:cubicBezTo>
                  <a:cubicBezTo>
                    <a:pt x="394352" y="671756"/>
                    <a:pt x="388913" y="674476"/>
                    <a:pt x="383473" y="674476"/>
                  </a:cubicBezTo>
                  <a:cubicBezTo>
                    <a:pt x="372594" y="674476"/>
                    <a:pt x="358996" y="671756"/>
                    <a:pt x="348118" y="669036"/>
                  </a:cubicBezTo>
                  <a:cubicBezTo>
                    <a:pt x="339959" y="669036"/>
                    <a:pt x="331800" y="669036"/>
                    <a:pt x="326360" y="669036"/>
                  </a:cubicBezTo>
                  <a:cubicBezTo>
                    <a:pt x="304603" y="669036"/>
                    <a:pt x="285565" y="669036"/>
                    <a:pt x="277406" y="669036"/>
                  </a:cubicBezTo>
                  <a:cubicBezTo>
                    <a:pt x="269247" y="669036"/>
                    <a:pt x="258369" y="669036"/>
                    <a:pt x="252930" y="663597"/>
                  </a:cubicBezTo>
                  <a:cubicBezTo>
                    <a:pt x="247490" y="660877"/>
                    <a:pt x="236611" y="655438"/>
                    <a:pt x="236611" y="647279"/>
                  </a:cubicBezTo>
                  <a:cubicBezTo>
                    <a:pt x="236611" y="636401"/>
                    <a:pt x="252930" y="633681"/>
                    <a:pt x="261088" y="630961"/>
                  </a:cubicBezTo>
                  <a:cubicBezTo>
                    <a:pt x="266528" y="630961"/>
                    <a:pt x="274687" y="630961"/>
                    <a:pt x="288285" y="628241"/>
                  </a:cubicBezTo>
                  <a:cubicBezTo>
                    <a:pt x="288285" y="620082"/>
                    <a:pt x="288285" y="614643"/>
                    <a:pt x="285565" y="609204"/>
                  </a:cubicBezTo>
                  <a:cubicBezTo>
                    <a:pt x="285565" y="601045"/>
                    <a:pt x="282846" y="590166"/>
                    <a:pt x="282846" y="582007"/>
                  </a:cubicBezTo>
                  <a:cubicBezTo>
                    <a:pt x="282846" y="576568"/>
                    <a:pt x="280126" y="573848"/>
                    <a:pt x="280126" y="568409"/>
                  </a:cubicBezTo>
                  <a:cubicBezTo>
                    <a:pt x="280126" y="562970"/>
                    <a:pt x="282846" y="557531"/>
                    <a:pt x="282846" y="554811"/>
                  </a:cubicBezTo>
                  <a:cubicBezTo>
                    <a:pt x="282846" y="549371"/>
                    <a:pt x="280126" y="546652"/>
                    <a:pt x="277406" y="538493"/>
                  </a:cubicBezTo>
                  <a:cubicBezTo>
                    <a:pt x="277406" y="527614"/>
                    <a:pt x="271967" y="516736"/>
                    <a:pt x="271967" y="505857"/>
                  </a:cubicBezTo>
                  <a:cubicBezTo>
                    <a:pt x="271967" y="494978"/>
                    <a:pt x="271967" y="486820"/>
                    <a:pt x="269247" y="478660"/>
                  </a:cubicBezTo>
                  <a:cubicBezTo>
                    <a:pt x="266528" y="467782"/>
                    <a:pt x="266528" y="456903"/>
                    <a:pt x="266528" y="446025"/>
                  </a:cubicBezTo>
                  <a:cubicBezTo>
                    <a:pt x="266528" y="440585"/>
                    <a:pt x="263808" y="437866"/>
                    <a:pt x="261088" y="437866"/>
                  </a:cubicBezTo>
                  <a:cubicBezTo>
                    <a:pt x="258369" y="437866"/>
                    <a:pt x="255649" y="437866"/>
                    <a:pt x="250210" y="437866"/>
                  </a:cubicBezTo>
                  <a:cubicBezTo>
                    <a:pt x="239331" y="437866"/>
                    <a:pt x="228452" y="437866"/>
                    <a:pt x="220293" y="440585"/>
                  </a:cubicBezTo>
                  <a:cubicBezTo>
                    <a:pt x="209415" y="440585"/>
                    <a:pt x="201256" y="443305"/>
                    <a:pt x="190377" y="443305"/>
                  </a:cubicBezTo>
                  <a:cubicBezTo>
                    <a:pt x="182218" y="443305"/>
                    <a:pt x="174059" y="443305"/>
                    <a:pt x="165900" y="443305"/>
                  </a:cubicBezTo>
                  <a:cubicBezTo>
                    <a:pt x="163181" y="443305"/>
                    <a:pt x="152302" y="440585"/>
                    <a:pt x="144143" y="440585"/>
                  </a:cubicBezTo>
                  <a:cubicBezTo>
                    <a:pt x="135984" y="440585"/>
                    <a:pt x="135984" y="448744"/>
                    <a:pt x="135984" y="454184"/>
                  </a:cubicBezTo>
                  <a:cubicBezTo>
                    <a:pt x="135984" y="465062"/>
                    <a:pt x="133264" y="475941"/>
                    <a:pt x="130545" y="486820"/>
                  </a:cubicBezTo>
                  <a:cubicBezTo>
                    <a:pt x="127825" y="505857"/>
                    <a:pt x="122386" y="522175"/>
                    <a:pt x="119666" y="541213"/>
                  </a:cubicBezTo>
                  <a:cubicBezTo>
                    <a:pt x="116947" y="560250"/>
                    <a:pt x="108788" y="595606"/>
                    <a:pt x="103348" y="614643"/>
                  </a:cubicBezTo>
                  <a:cubicBezTo>
                    <a:pt x="111507" y="614643"/>
                    <a:pt x="122386" y="614643"/>
                    <a:pt x="133264" y="614643"/>
                  </a:cubicBezTo>
                  <a:cubicBezTo>
                    <a:pt x="146863" y="614643"/>
                    <a:pt x="168620" y="614643"/>
                    <a:pt x="168620" y="630961"/>
                  </a:cubicBezTo>
                  <a:cubicBezTo>
                    <a:pt x="168620" y="639120"/>
                    <a:pt x="165900" y="639120"/>
                    <a:pt x="163181" y="647279"/>
                  </a:cubicBezTo>
                  <a:cubicBezTo>
                    <a:pt x="160461" y="652718"/>
                    <a:pt x="152302" y="655438"/>
                    <a:pt x="146863" y="655438"/>
                  </a:cubicBezTo>
                  <a:cubicBezTo>
                    <a:pt x="138704" y="658158"/>
                    <a:pt x="133264" y="658158"/>
                    <a:pt x="127825" y="658158"/>
                  </a:cubicBezTo>
                  <a:cubicBezTo>
                    <a:pt x="122386" y="658158"/>
                    <a:pt x="116947" y="658158"/>
                    <a:pt x="106068" y="658158"/>
                  </a:cubicBezTo>
                  <a:cubicBezTo>
                    <a:pt x="92468" y="658158"/>
                    <a:pt x="78870" y="658158"/>
                    <a:pt x="62552" y="658158"/>
                  </a:cubicBezTo>
                  <a:cubicBezTo>
                    <a:pt x="54393" y="658158"/>
                    <a:pt x="46234" y="658158"/>
                    <a:pt x="40795" y="658158"/>
                  </a:cubicBezTo>
                  <a:cubicBezTo>
                    <a:pt x="32636" y="658158"/>
                    <a:pt x="21758" y="658158"/>
                    <a:pt x="16318" y="652718"/>
                  </a:cubicBezTo>
                  <a:cubicBezTo>
                    <a:pt x="8159" y="649999"/>
                    <a:pt x="0" y="641840"/>
                    <a:pt x="0" y="636401"/>
                  </a:cubicBezTo>
                  <a:cubicBezTo>
                    <a:pt x="0" y="633681"/>
                    <a:pt x="0" y="630961"/>
                    <a:pt x="2720" y="628241"/>
                  </a:cubicBezTo>
                  <a:cubicBezTo>
                    <a:pt x="8159" y="625522"/>
                    <a:pt x="16318" y="622802"/>
                    <a:pt x="24477" y="620082"/>
                  </a:cubicBezTo>
                  <a:cubicBezTo>
                    <a:pt x="38075" y="617363"/>
                    <a:pt x="48954" y="617363"/>
                    <a:pt x="62552" y="617363"/>
                  </a:cubicBezTo>
                  <a:cubicBezTo>
                    <a:pt x="62552" y="617363"/>
                    <a:pt x="62552" y="614643"/>
                    <a:pt x="62552" y="614643"/>
                  </a:cubicBezTo>
                  <a:cubicBezTo>
                    <a:pt x="62552" y="603765"/>
                    <a:pt x="65272" y="590166"/>
                    <a:pt x="65272" y="587447"/>
                  </a:cubicBezTo>
                  <a:cubicBezTo>
                    <a:pt x="67992" y="565689"/>
                    <a:pt x="73431" y="543932"/>
                    <a:pt x="76151" y="522175"/>
                  </a:cubicBezTo>
                  <a:cubicBezTo>
                    <a:pt x="78870" y="505857"/>
                    <a:pt x="81590" y="486820"/>
                    <a:pt x="87029" y="470501"/>
                  </a:cubicBezTo>
                  <a:cubicBezTo>
                    <a:pt x="87029" y="465062"/>
                    <a:pt x="92468" y="451464"/>
                    <a:pt x="92468" y="446025"/>
                  </a:cubicBezTo>
                  <a:cubicBezTo>
                    <a:pt x="92468" y="437866"/>
                    <a:pt x="73431" y="437866"/>
                    <a:pt x="65272" y="432426"/>
                  </a:cubicBezTo>
                  <a:cubicBezTo>
                    <a:pt x="59833" y="429707"/>
                    <a:pt x="54393" y="426987"/>
                    <a:pt x="54393" y="421548"/>
                  </a:cubicBezTo>
                  <a:cubicBezTo>
                    <a:pt x="54393" y="413389"/>
                    <a:pt x="62552" y="410669"/>
                    <a:pt x="73431" y="407949"/>
                  </a:cubicBezTo>
                  <a:cubicBezTo>
                    <a:pt x="78870" y="407949"/>
                    <a:pt x="92468" y="405230"/>
                    <a:pt x="100629" y="399790"/>
                  </a:cubicBezTo>
                  <a:cubicBezTo>
                    <a:pt x="106068" y="394351"/>
                    <a:pt x="106068" y="378033"/>
                    <a:pt x="108788" y="369874"/>
                  </a:cubicBezTo>
                  <a:cubicBezTo>
                    <a:pt x="114227" y="348117"/>
                    <a:pt x="119666" y="326360"/>
                    <a:pt x="125105" y="307322"/>
                  </a:cubicBezTo>
                  <a:cubicBezTo>
                    <a:pt x="130545" y="285565"/>
                    <a:pt x="135984" y="263808"/>
                    <a:pt x="141423" y="242051"/>
                  </a:cubicBezTo>
                  <a:cubicBezTo>
                    <a:pt x="146863" y="220293"/>
                    <a:pt x="152302" y="198536"/>
                    <a:pt x="155022" y="179498"/>
                  </a:cubicBezTo>
                  <a:cubicBezTo>
                    <a:pt x="157742" y="160461"/>
                    <a:pt x="163181" y="138703"/>
                    <a:pt x="168620" y="119665"/>
                  </a:cubicBezTo>
                  <a:cubicBezTo>
                    <a:pt x="176779" y="100627"/>
                    <a:pt x="182218" y="76150"/>
                    <a:pt x="193097" y="57113"/>
                  </a:cubicBezTo>
                  <a:lnTo>
                    <a:pt x="201256" y="38075"/>
                  </a:lnTo>
                  <a:cubicBezTo>
                    <a:pt x="206695" y="29916"/>
                    <a:pt x="209415" y="19038"/>
                    <a:pt x="217574" y="13598"/>
                  </a:cubicBezTo>
                  <a:cubicBezTo>
                    <a:pt x="231172" y="2720"/>
                    <a:pt x="255649" y="0"/>
                    <a:pt x="274687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3" name="Freeform: Shape 42">
              <a:extLst>
                <a:ext uri="{FF2B5EF4-FFF2-40B4-BE49-F238E27FC236}">
                  <a16:creationId xmlns:a16="http://schemas.microsoft.com/office/drawing/2014/main" id="{D6B1EBFD-5AF9-4242-8571-9084369DA914}"/>
                </a:ext>
              </a:extLst>
            </p:cNvPr>
            <p:cNvSpPr/>
            <p:nvPr/>
          </p:nvSpPr>
          <p:spPr>
            <a:xfrm>
              <a:off x="6876542" y="4244897"/>
              <a:ext cx="462342" cy="677195"/>
            </a:xfrm>
            <a:custGeom>
              <a:avLst/>
              <a:gdLst>
                <a:gd name="connsiteX0" fmla="*/ 214853 w 462342"/>
                <a:gd name="connsiteY0" fmla="*/ 65272 h 677195"/>
                <a:gd name="connsiteX1" fmla="*/ 195815 w 462342"/>
                <a:gd name="connsiteY1" fmla="*/ 73431 h 677195"/>
                <a:gd name="connsiteX2" fmla="*/ 193096 w 462342"/>
                <a:gd name="connsiteY2" fmla="*/ 125105 h 677195"/>
                <a:gd name="connsiteX3" fmla="*/ 190376 w 462342"/>
                <a:gd name="connsiteY3" fmla="*/ 280125 h 677195"/>
                <a:gd name="connsiteX4" fmla="*/ 190376 w 462342"/>
                <a:gd name="connsiteY4" fmla="*/ 301882 h 677195"/>
                <a:gd name="connsiteX5" fmla="*/ 193096 w 462342"/>
                <a:gd name="connsiteY5" fmla="*/ 342677 h 677195"/>
                <a:gd name="connsiteX6" fmla="*/ 195815 w 462342"/>
                <a:gd name="connsiteY6" fmla="*/ 397070 h 677195"/>
                <a:gd name="connsiteX7" fmla="*/ 195815 w 462342"/>
                <a:gd name="connsiteY7" fmla="*/ 443304 h 677195"/>
                <a:gd name="connsiteX8" fmla="*/ 195815 w 462342"/>
                <a:gd name="connsiteY8" fmla="*/ 530333 h 677195"/>
                <a:gd name="connsiteX9" fmla="*/ 193096 w 462342"/>
                <a:gd name="connsiteY9" fmla="*/ 554810 h 677195"/>
                <a:gd name="connsiteX10" fmla="*/ 190376 w 462342"/>
                <a:gd name="connsiteY10" fmla="*/ 603764 h 677195"/>
                <a:gd name="connsiteX11" fmla="*/ 198535 w 462342"/>
                <a:gd name="connsiteY11" fmla="*/ 611923 h 677195"/>
                <a:gd name="connsiteX12" fmla="*/ 214853 w 462342"/>
                <a:gd name="connsiteY12" fmla="*/ 611923 h 677195"/>
                <a:gd name="connsiteX13" fmla="*/ 236610 w 462342"/>
                <a:gd name="connsiteY13" fmla="*/ 611923 h 677195"/>
                <a:gd name="connsiteX14" fmla="*/ 263807 w 462342"/>
                <a:gd name="connsiteY14" fmla="*/ 598325 h 677195"/>
                <a:gd name="connsiteX15" fmla="*/ 277405 w 462342"/>
                <a:gd name="connsiteY15" fmla="*/ 592885 h 677195"/>
                <a:gd name="connsiteX16" fmla="*/ 291004 w 462342"/>
                <a:gd name="connsiteY16" fmla="*/ 573848 h 677195"/>
                <a:gd name="connsiteX17" fmla="*/ 307322 w 462342"/>
                <a:gd name="connsiteY17" fmla="*/ 543931 h 677195"/>
                <a:gd name="connsiteX18" fmla="*/ 326359 w 462342"/>
                <a:gd name="connsiteY18" fmla="*/ 481379 h 677195"/>
                <a:gd name="connsiteX19" fmla="*/ 337238 w 462342"/>
                <a:gd name="connsiteY19" fmla="*/ 413388 h 677195"/>
                <a:gd name="connsiteX20" fmla="*/ 337238 w 462342"/>
                <a:gd name="connsiteY20" fmla="*/ 350836 h 677195"/>
                <a:gd name="connsiteX21" fmla="*/ 334518 w 462342"/>
                <a:gd name="connsiteY21" fmla="*/ 296443 h 677195"/>
                <a:gd name="connsiteX22" fmla="*/ 329079 w 462342"/>
                <a:gd name="connsiteY22" fmla="*/ 244769 h 677195"/>
                <a:gd name="connsiteX23" fmla="*/ 307322 w 462342"/>
                <a:gd name="connsiteY23" fmla="*/ 135983 h 677195"/>
                <a:gd name="connsiteX24" fmla="*/ 271966 w 462342"/>
                <a:gd name="connsiteY24" fmla="*/ 78870 h 677195"/>
                <a:gd name="connsiteX25" fmla="*/ 214853 w 462342"/>
                <a:gd name="connsiteY25" fmla="*/ 65272 h 677195"/>
                <a:gd name="connsiteX26" fmla="*/ 114226 w 462342"/>
                <a:gd name="connsiteY26" fmla="*/ 0 h 677195"/>
                <a:gd name="connsiteX27" fmla="*/ 127824 w 462342"/>
                <a:gd name="connsiteY27" fmla="*/ 0 h 677195"/>
                <a:gd name="connsiteX28" fmla="*/ 146862 w 462342"/>
                <a:gd name="connsiteY28" fmla="*/ 2720 h 677195"/>
                <a:gd name="connsiteX29" fmla="*/ 174059 w 462342"/>
                <a:gd name="connsiteY29" fmla="*/ 21758 h 677195"/>
                <a:gd name="connsiteX30" fmla="*/ 193096 w 462342"/>
                <a:gd name="connsiteY30" fmla="*/ 21758 h 677195"/>
                <a:gd name="connsiteX31" fmla="*/ 261088 w 462342"/>
                <a:gd name="connsiteY31" fmla="*/ 27197 h 677195"/>
                <a:gd name="connsiteX32" fmla="*/ 310042 w 462342"/>
                <a:gd name="connsiteY32" fmla="*/ 35356 h 677195"/>
                <a:gd name="connsiteX33" fmla="*/ 334518 w 462342"/>
                <a:gd name="connsiteY33" fmla="*/ 40795 h 677195"/>
                <a:gd name="connsiteX34" fmla="*/ 356276 w 462342"/>
                <a:gd name="connsiteY34" fmla="*/ 59833 h 677195"/>
                <a:gd name="connsiteX35" fmla="*/ 372593 w 462342"/>
                <a:gd name="connsiteY35" fmla="*/ 76151 h 677195"/>
                <a:gd name="connsiteX36" fmla="*/ 380752 w 462342"/>
                <a:gd name="connsiteY36" fmla="*/ 95188 h 677195"/>
                <a:gd name="connsiteX37" fmla="*/ 405230 w 462342"/>
                <a:gd name="connsiteY37" fmla="*/ 114226 h 677195"/>
                <a:gd name="connsiteX38" fmla="*/ 416108 w 462342"/>
                <a:gd name="connsiteY38" fmla="*/ 141422 h 677195"/>
                <a:gd name="connsiteX39" fmla="*/ 451464 w 462342"/>
                <a:gd name="connsiteY39" fmla="*/ 201256 h 677195"/>
                <a:gd name="connsiteX40" fmla="*/ 456903 w 462342"/>
                <a:gd name="connsiteY40" fmla="*/ 252929 h 677195"/>
                <a:gd name="connsiteX41" fmla="*/ 456903 w 462342"/>
                <a:gd name="connsiteY41" fmla="*/ 291004 h 677195"/>
                <a:gd name="connsiteX42" fmla="*/ 459623 w 462342"/>
                <a:gd name="connsiteY42" fmla="*/ 318201 h 677195"/>
                <a:gd name="connsiteX43" fmla="*/ 459623 w 462342"/>
                <a:gd name="connsiteY43" fmla="*/ 326360 h 677195"/>
                <a:gd name="connsiteX44" fmla="*/ 459623 w 462342"/>
                <a:gd name="connsiteY44" fmla="*/ 348117 h 677195"/>
                <a:gd name="connsiteX45" fmla="*/ 462342 w 462342"/>
                <a:gd name="connsiteY45" fmla="*/ 367155 h 677195"/>
                <a:gd name="connsiteX46" fmla="*/ 456903 w 462342"/>
                <a:gd name="connsiteY46" fmla="*/ 391632 h 677195"/>
                <a:gd name="connsiteX47" fmla="*/ 456903 w 462342"/>
                <a:gd name="connsiteY47" fmla="*/ 418828 h 677195"/>
                <a:gd name="connsiteX48" fmla="*/ 451464 w 462342"/>
                <a:gd name="connsiteY48" fmla="*/ 437866 h 677195"/>
                <a:gd name="connsiteX49" fmla="*/ 446025 w 462342"/>
                <a:gd name="connsiteY49" fmla="*/ 454184 h 677195"/>
                <a:gd name="connsiteX50" fmla="*/ 440585 w 462342"/>
                <a:gd name="connsiteY50" fmla="*/ 481380 h 677195"/>
                <a:gd name="connsiteX51" fmla="*/ 432426 w 462342"/>
                <a:gd name="connsiteY51" fmla="*/ 508577 h 677195"/>
                <a:gd name="connsiteX52" fmla="*/ 418828 w 462342"/>
                <a:gd name="connsiteY52" fmla="*/ 530334 h 677195"/>
                <a:gd name="connsiteX53" fmla="*/ 410669 w 462342"/>
                <a:gd name="connsiteY53" fmla="*/ 549371 h 677195"/>
                <a:gd name="connsiteX54" fmla="*/ 391631 w 462342"/>
                <a:gd name="connsiteY54" fmla="*/ 579288 h 677195"/>
                <a:gd name="connsiteX55" fmla="*/ 337238 w 462342"/>
                <a:gd name="connsiteY55" fmla="*/ 630961 h 677195"/>
                <a:gd name="connsiteX56" fmla="*/ 301883 w 462342"/>
                <a:gd name="connsiteY56" fmla="*/ 647279 h 677195"/>
                <a:gd name="connsiteX57" fmla="*/ 263807 w 462342"/>
                <a:gd name="connsiteY57" fmla="*/ 652718 h 677195"/>
                <a:gd name="connsiteX58" fmla="*/ 233891 w 462342"/>
                <a:gd name="connsiteY58" fmla="*/ 649999 h 677195"/>
                <a:gd name="connsiteX59" fmla="*/ 187657 w 462342"/>
                <a:gd name="connsiteY59" fmla="*/ 652718 h 677195"/>
                <a:gd name="connsiteX60" fmla="*/ 171339 w 462342"/>
                <a:gd name="connsiteY60" fmla="*/ 669036 h 677195"/>
                <a:gd name="connsiteX61" fmla="*/ 155021 w 462342"/>
                <a:gd name="connsiteY61" fmla="*/ 671756 h 677195"/>
                <a:gd name="connsiteX62" fmla="*/ 138703 w 462342"/>
                <a:gd name="connsiteY62" fmla="*/ 674476 h 677195"/>
                <a:gd name="connsiteX63" fmla="*/ 125105 w 462342"/>
                <a:gd name="connsiteY63" fmla="*/ 677195 h 677195"/>
                <a:gd name="connsiteX64" fmla="*/ 106067 w 462342"/>
                <a:gd name="connsiteY64" fmla="*/ 671756 h 677195"/>
                <a:gd name="connsiteX65" fmla="*/ 87029 w 462342"/>
                <a:gd name="connsiteY65" fmla="*/ 658158 h 677195"/>
                <a:gd name="connsiteX66" fmla="*/ 81590 w 462342"/>
                <a:gd name="connsiteY66" fmla="*/ 652718 h 677195"/>
                <a:gd name="connsiteX67" fmla="*/ 67992 w 462342"/>
                <a:gd name="connsiteY67" fmla="*/ 652718 h 677195"/>
                <a:gd name="connsiteX68" fmla="*/ 43515 w 462342"/>
                <a:gd name="connsiteY68" fmla="*/ 652718 h 677195"/>
                <a:gd name="connsiteX69" fmla="*/ 16318 w 462342"/>
                <a:gd name="connsiteY69" fmla="*/ 647279 h 677195"/>
                <a:gd name="connsiteX70" fmla="*/ 0 w 462342"/>
                <a:gd name="connsiteY70" fmla="*/ 630961 h 677195"/>
                <a:gd name="connsiteX71" fmla="*/ 5439 w 462342"/>
                <a:gd name="connsiteY71" fmla="*/ 620083 h 677195"/>
                <a:gd name="connsiteX72" fmla="*/ 27197 w 462342"/>
                <a:gd name="connsiteY72" fmla="*/ 611924 h 677195"/>
                <a:gd name="connsiteX73" fmla="*/ 65272 w 462342"/>
                <a:gd name="connsiteY73" fmla="*/ 609204 h 677195"/>
                <a:gd name="connsiteX74" fmla="*/ 65272 w 462342"/>
                <a:gd name="connsiteY74" fmla="*/ 584727 h 677195"/>
                <a:gd name="connsiteX75" fmla="*/ 62552 w 462342"/>
                <a:gd name="connsiteY75" fmla="*/ 456903 h 677195"/>
                <a:gd name="connsiteX76" fmla="*/ 65272 w 462342"/>
                <a:gd name="connsiteY76" fmla="*/ 337238 h 677195"/>
                <a:gd name="connsiteX77" fmla="*/ 67992 w 462342"/>
                <a:gd name="connsiteY77" fmla="*/ 203975 h 677195"/>
                <a:gd name="connsiteX78" fmla="*/ 70712 w 462342"/>
                <a:gd name="connsiteY78" fmla="*/ 119665 h 677195"/>
                <a:gd name="connsiteX79" fmla="*/ 73431 w 462342"/>
                <a:gd name="connsiteY79" fmla="*/ 67992 h 677195"/>
                <a:gd name="connsiteX80" fmla="*/ 67992 w 462342"/>
                <a:gd name="connsiteY80" fmla="*/ 67992 h 677195"/>
                <a:gd name="connsiteX81" fmla="*/ 43515 w 462342"/>
                <a:gd name="connsiteY81" fmla="*/ 67992 h 677195"/>
                <a:gd name="connsiteX82" fmla="*/ 16318 w 462342"/>
                <a:gd name="connsiteY82" fmla="*/ 62552 h 677195"/>
                <a:gd name="connsiteX83" fmla="*/ 0 w 462342"/>
                <a:gd name="connsiteY83" fmla="*/ 46234 h 677195"/>
                <a:gd name="connsiteX84" fmla="*/ 5439 w 462342"/>
                <a:gd name="connsiteY84" fmla="*/ 35356 h 677195"/>
                <a:gd name="connsiteX85" fmla="*/ 27197 w 462342"/>
                <a:gd name="connsiteY85" fmla="*/ 27197 h 677195"/>
                <a:gd name="connsiteX86" fmla="*/ 76151 w 462342"/>
                <a:gd name="connsiteY86" fmla="*/ 21758 h 677195"/>
                <a:gd name="connsiteX87" fmla="*/ 81590 w 462342"/>
                <a:gd name="connsiteY87" fmla="*/ 13598 h 677195"/>
                <a:gd name="connsiteX88" fmla="*/ 97908 w 462342"/>
                <a:gd name="connsiteY88" fmla="*/ 5439 h 677195"/>
                <a:gd name="connsiteX89" fmla="*/ 114226 w 462342"/>
                <a:gd name="connsiteY89" fmla="*/ 0 h 6771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</a:cxnLst>
              <a:rect l="l" t="t" r="r" b="b"/>
              <a:pathLst>
                <a:path w="462342" h="677195">
                  <a:moveTo>
                    <a:pt x="214853" y="65272"/>
                  </a:moveTo>
                  <a:cubicBezTo>
                    <a:pt x="203975" y="65272"/>
                    <a:pt x="195815" y="67992"/>
                    <a:pt x="195815" y="73431"/>
                  </a:cubicBezTo>
                  <a:cubicBezTo>
                    <a:pt x="193096" y="78870"/>
                    <a:pt x="193096" y="100628"/>
                    <a:pt x="193096" y="125105"/>
                  </a:cubicBezTo>
                  <a:cubicBezTo>
                    <a:pt x="193096" y="182217"/>
                    <a:pt x="193096" y="266527"/>
                    <a:pt x="190376" y="280125"/>
                  </a:cubicBezTo>
                  <a:cubicBezTo>
                    <a:pt x="190376" y="288284"/>
                    <a:pt x="190376" y="293723"/>
                    <a:pt x="190376" y="301882"/>
                  </a:cubicBezTo>
                  <a:cubicBezTo>
                    <a:pt x="190376" y="315480"/>
                    <a:pt x="190376" y="329079"/>
                    <a:pt x="193096" y="342677"/>
                  </a:cubicBezTo>
                  <a:cubicBezTo>
                    <a:pt x="193096" y="361715"/>
                    <a:pt x="193096" y="378033"/>
                    <a:pt x="195815" y="397070"/>
                  </a:cubicBezTo>
                  <a:cubicBezTo>
                    <a:pt x="195815" y="413388"/>
                    <a:pt x="195815" y="426986"/>
                    <a:pt x="195815" y="443304"/>
                  </a:cubicBezTo>
                  <a:cubicBezTo>
                    <a:pt x="195815" y="465061"/>
                    <a:pt x="198535" y="508576"/>
                    <a:pt x="195815" y="530333"/>
                  </a:cubicBezTo>
                  <a:cubicBezTo>
                    <a:pt x="195815" y="538492"/>
                    <a:pt x="193096" y="546651"/>
                    <a:pt x="193096" y="554810"/>
                  </a:cubicBezTo>
                  <a:cubicBezTo>
                    <a:pt x="193096" y="560249"/>
                    <a:pt x="190376" y="590166"/>
                    <a:pt x="190376" y="603764"/>
                  </a:cubicBezTo>
                  <a:cubicBezTo>
                    <a:pt x="190376" y="609203"/>
                    <a:pt x="190376" y="611923"/>
                    <a:pt x="198535" y="611923"/>
                  </a:cubicBezTo>
                  <a:cubicBezTo>
                    <a:pt x="206694" y="611923"/>
                    <a:pt x="209414" y="611923"/>
                    <a:pt x="214853" y="611923"/>
                  </a:cubicBezTo>
                  <a:cubicBezTo>
                    <a:pt x="223012" y="611923"/>
                    <a:pt x="220293" y="611923"/>
                    <a:pt x="236610" y="611923"/>
                  </a:cubicBezTo>
                  <a:cubicBezTo>
                    <a:pt x="242050" y="611923"/>
                    <a:pt x="258368" y="601044"/>
                    <a:pt x="263807" y="598325"/>
                  </a:cubicBezTo>
                  <a:cubicBezTo>
                    <a:pt x="266527" y="598325"/>
                    <a:pt x="274686" y="592885"/>
                    <a:pt x="277405" y="592885"/>
                  </a:cubicBezTo>
                  <a:cubicBezTo>
                    <a:pt x="285564" y="587446"/>
                    <a:pt x="288284" y="579287"/>
                    <a:pt x="291004" y="573848"/>
                  </a:cubicBezTo>
                  <a:cubicBezTo>
                    <a:pt x="296443" y="562969"/>
                    <a:pt x="301882" y="554810"/>
                    <a:pt x="307322" y="543931"/>
                  </a:cubicBezTo>
                  <a:cubicBezTo>
                    <a:pt x="315481" y="524894"/>
                    <a:pt x="320920" y="524894"/>
                    <a:pt x="326359" y="481379"/>
                  </a:cubicBezTo>
                  <a:cubicBezTo>
                    <a:pt x="329079" y="456903"/>
                    <a:pt x="334518" y="435145"/>
                    <a:pt x="337238" y="413388"/>
                  </a:cubicBezTo>
                  <a:cubicBezTo>
                    <a:pt x="337238" y="391631"/>
                    <a:pt x="337238" y="369873"/>
                    <a:pt x="337238" y="350836"/>
                  </a:cubicBezTo>
                  <a:cubicBezTo>
                    <a:pt x="337238" y="339957"/>
                    <a:pt x="337238" y="320920"/>
                    <a:pt x="334518" y="296443"/>
                  </a:cubicBezTo>
                  <a:cubicBezTo>
                    <a:pt x="331798" y="269246"/>
                    <a:pt x="329079" y="250209"/>
                    <a:pt x="329079" y="244769"/>
                  </a:cubicBezTo>
                  <a:cubicBezTo>
                    <a:pt x="323640" y="206694"/>
                    <a:pt x="318200" y="174058"/>
                    <a:pt x="307322" y="135983"/>
                  </a:cubicBezTo>
                  <a:cubicBezTo>
                    <a:pt x="304602" y="125105"/>
                    <a:pt x="304602" y="108787"/>
                    <a:pt x="271966" y="78870"/>
                  </a:cubicBezTo>
                  <a:cubicBezTo>
                    <a:pt x="263807" y="73431"/>
                    <a:pt x="233891" y="65272"/>
                    <a:pt x="214853" y="65272"/>
                  </a:cubicBezTo>
                  <a:close/>
                  <a:moveTo>
                    <a:pt x="114226" y="0"/>
                  </a:moveTo>
                  <a:cubicBezTo>
                    <a:pt x="119665" y="0"/>
                    <a:pt x="125105" y="0"/>
                    <a:pt x="127824" y="0"/>
                  </a:cubicBezTo>
                  <a:cubicBezTo>
                    <a:pt x="133264" y="0"/>
                    <a:pt x="141422" y="0"/>
                    <a:pt x="146862" y="2720"/>
                  </a:cubicBezTo>
                  <a:cubicBezTo>
                    <a:pt x="157741" y="5439"/>
                    <a:pt x="165900" y="13598"/>
                    <a:pt x="174059" y="21758"/>
                  </a:cubicBezTo>
                  <a:cubicBezTo>
                    <a:pt x="179498" y="21758"/>
                    <a:pt x="187657" y="21758"/>
                    <a:pt x="193096" y="21758"/>
                  </a:cubicBezTo>
                  <a:cubicBezTo>
                    <a:pt x="212134" y="21758"/>
                    <a:pt x="228452" y="27197"/>
                    <a:pt x="261088" y="27197"/>
                  </a:cubicBezTo>
                  <a:cubicBezTo>
                    <a:pt x="277405" y="27197"/>
                    <a:pt x="293723" y="35356"/>
                    <a:pt x="310042" y="35356"/>
                  </a:cubicBezTo>
                  <a:cubicBezTo>
                    <a:pt x="318200" y="35356"/>
                    <a:pt x="329079" y="35356"/>
                    <a:pt x="334518" y="40795"/>
                  </a:cubicBezTo>
                  <a:cubicBezTo>
                    <a:pt x="342677" y="46234"/>
                    <a:pt x="348117" y="54393"/>
                    <a:pt x="356276" y="59833"/>
                  </a:cubicBezTo>
                  <a:cubicBezTo>
                    <a:pt x="361715" y="65272"/>
                    <a:pt x="369874" y="67992"/>
                    <a:pt x="372593" y="76151"/>
                  </a:cubicBezTo>
                  <a:cubicBezTo>
                    <a:pt x="375313" y="81590"/>
                    <a:pt x="378033" y="89749"/>
                    <a:pt x="380752" y="95188"/>
                  </a:cubicBezTo>
                  <a:cubicBezTo>
                    <a:pt x="386192" y="103347"/>
                    <a:pt x="391631" y="106067"/>
                    <a:pt x="405230" y="114226"/>
                  </a:cubicBezTo>
                  <a:cubicBezTo>
                    <a:pt x="413388" y="119665"/>
                    <a:pt x="410669" y="133263"/>
                    <a:pt x="416108" y="141422"/>
                  </a:cubicBezTo>
                  <a:cubicBezTo>
                    <a:pt x="426987" y="160461"/>
                    <a:pt x="446025" y="182218"/>
                    <a:pt x="451464" y="201256"/>
                  </a:cubicBezTo>
                  <a:cubicBezTo>
                    <a:pt x="456903" y="220293"/>
                    <a:pt x="456903" y="236611"/>
                    <a:pt x="456903" y="252929"/>
                  </a:cubicBezTo>
                  <a:cubicBezTo>
                    <a:pt x="456903" y="266527"/>
                    <a:pt x="456903" y="277406"/>
                    <a:pt x="456903" y="291004"/>
                  </a:cubicBezTo>
                  <a:cubicBezTo>
                    <a:pt x="456903" y="299163"/>
                    <a:pt x="456903" y="307322"/>
                    <a:pt x="459623" y="318201"/>
                  </a:cubicBezTo>
                  <a:cubicBezTo>
                    <a:pt x="459623" y="320921"/>
                    <a:pt x="459623" y="323640"/>
                    <a:pt x="459623" y="326360"/>
                  </a:cubicBezTo>
                  <a:cubicBezTo>
                    <a:pt x="462342" y="331799"/>
                    <a:pt x="459623" y="337238"/>
                    <a:pt x="459623" y="348117"/>
                  </a:cubicBezTo>
                  <a:cubicBezTo>
                    <a:pt x="459623" y="350837"/>
                    <a:pt x="462342" y="361715"/>
                    <a:pt x="462342" y="367155"/>
                  </a:cubicBezTo>
                  <a:cubicBezTo>
                    <a:pt x="462342" y="375314"/>
                    <a:pt x="456903" y="383473"/>
                    <a:pt x="456903" y="391632"/>
                  </a:cubicBezTo>
                  <a:cubicBezTo>
                    <a:pt x="456903" y="399790"/>
                    <a:pt x="456903" y="410669"/>
                    <a:pt x="456903" y="418828"/>
                  </a:cubicBezTo>
                  <a:cubicBezTo>
                    <a:pt x="456903" y="421548"/>
                    <a:pt x="454183" y="429707"/>
                    <a:pt x="451464" y="437866"/>
                  </a:cubicBezTo>
                  <a:cubicBezTo>
                    <a:pt x="448744" y="443305"/>
                    <a:pt x="448744" y="451464"/>
                    <a:pt x="446025" y="454184"/>
                  </a:cubicBezTo>
                  <a:cubicBezTo>
                    <a:pt x="443305" y="462343"/>
                    <a:pt x="440585" y="473221"/>
                    <a:pt x="440585" y="481380"/>
                  </a:cubicBezTo>
                  <a:cubicBezTo>
                    <a:pt x="437865" y="489539"/>
                    <a:pt x="437865" y="500418"/>
                    <a:pt x="432426" y="508577"/>
                  </a:cubicBezTo>
                  <a:cubicBezTo>
                    <a:pt x="429706" y="516736"/>
                    <a:pt x="424267" y="522175"/>
                    <a:pt x="418828" y="530334"/>
                  </a:cubicBezTo>
                  <a:cubicBezTo>
                    <a:pt x="416108" y="535773"/>
                    <a:pt x="413388" y="543932"/>
                    <a:pt x="410669" y="549371"/>
                  </a:cubicBezTo>
                  <a:cubicBezTo>
                    <a:pt x="405230" y="557531"/>
                    <a:pt x="397071" y="573848"/>
                    <a:pt x="391631" y="579288"/>
                  </a:cubicBezTo>
                  <a:cubicBezTo>
                    <a:pt x="369874" y="609204"/>
                    <a:pt x="350836" y="620083"/>
                    <a:pt x="337238" y="630961"/>
                  </a:cubicBezTo>
                  <a:cubicBezTo>
                    <a:pt x="326359" y="639120"/>
                    <a:pt x="315481" y="641840"/>
                    <a:pt x="301883" y="647279"/>
                  </a:cubicBezTo>
                  <a:cubicBezTo>
                    <a:pt x="291004" y="649999"/>
                    <a:pt x="277405" y="652718"/>
                    <a:pt x="263807" y="652718"/>
                  </a:cubicBezTo>
                  <a:cubicBezTo>
                    <a:pt x="252929" y="652718"/>
                    <a:pt x="244770" y="649999"/>
                    <a:pt x="233891" y="649999"/>
                  </a:cubicBezTo>
                  <a:cubicBezTo>
                    <a:pt x="206694" y="649999"/>
                    <a:pt x="217573" y="652718"/>
                    <a:pt x="187657" y="652718"/>
                  </a:cubicBezTo>
                  <a:cubicBezTo>
                    <a:pt x="184937" y="660877"/>
                    <a:pt x="179498" y="666317"/>
                    <a:pt x="171339" y="669036"/>
                  </a:cubicBezTo>
                  <a:cubicBezTo>
                    <a:pt x="165900" y="671756"/>
                    <a:pt x="160460" y="671756"/>
                    <a:pt x="155021" y="671756"/>
                  </a:cubicBezTo>
                  <a:cubicBezTo>
                    <a:pt x="149581" y="671756"/>
                    <a:pt x="144142" y="674476"/>
                    <a:pt x="138703" y="674476"/>
                  </a:cubicBezTo>
                  <a:cubicBezTo>
                    <a:pt x="135983" y="674476"/>
                    <a:pt x="127824" y="677195"/>
                    <a:pt x="125105" y="677195"/>
                  </a:cubicBezTo>
                  <a:cubicBezTo>
                    <a:pt x="116946" y="677195"/>
                    <a:pt x="108787" y="671756"/>
                    <a:pt x="106067" y="671756"/>
                  </a:cubicBezTo>
                  <a:cubicBezTo>
                    <a:pt x="100628" y="669036"/>
                    <a:pt x="95188" y="663597"/>
                    <a:pt x="87029" y="658158"/>
                  </a:cubicBezTo>
                  <a:cubicBezTo>
                    <a:pt x="84310" y="655438"/>
                    <a:pt x="81590" y="655438"/>
                    <a:pt x="81590" y="652718"/>
                  </a:cubicBezTo>
                  <a:cubicBezTo>
                    <a:pt x="73431" y="652718"/>
                    <a:pt x="81590" y="652718"/>
                    <a:pt x="67992" y="652718"/>
                  </a:cubicBezTo>
                  <a:cubicBezTo>
                    <a:pt x="59833" y="652718"/>
                    <a:pt x="51674" y="652718"/>
                    <a:pt x="43515" y="652718"/>
                  </a:cubicBezTo>
                  <a:cubicBezTo>
                    <a:pt x="35356" y="652718"/>
                    <a:pt x="24477" y="652718"/>
                    <a:pt x="16318" y="647279"/>
                  </a:cubicBezTo>
                  <a:cubicBezTo>
                    <a:pt x="8159" y="644559"/>
                    <a:pt x="0" y="636401"/>
                    <a:pt x="0" y="630961"/>
                  </a:cubicBezTo>
                  <a:cubicBezTo>
                    <a:pt x="0" y="625522"/>
                    <a:pt x="0" y="622802"/>
                    <a:pt x="5439" y="620083"/>
                  </a:cubicBezTo>
                  <a:cubicBezTo>
                    <a:pt x="10879" y="617363"/>
                    <a:pt x="21758" y="614643"/>
                    <a:pt x="27197" y="611924"/>
                  </a:cubicBezTo>
                  <a:cubicBezTo>
                    <a:pt x="38076" y="609204"/>
                    <a:pt x="54393" y="609204"/>
                    <a:pt x="65272" y="609204"/>
                  </a:cubicBezTo>
                  <a:cubicBezTo>
                    <a:pt x="65272" y="601045"/>
                    <a:pt x="65272" y="592886"/>
                    <a:pt x="65272" y="584727"/>
                  </a:cubicBezTo>
                  <a:cubicBezTo>
                    <a:pt x="65272" y="541213"/>
                    <a:pt x="62552" y="500418"/>
                    <a:pt x="62552" y="456903"/>
                  </a:cubicBezTo>
                  <a:cubicBezTo>
                    <a:pt x="62552" y="440585"/>
                    <a:pt x="65272" y="397071"/>
                    <a:pt x="65272" y="337238"/>
                  </a:cubicBezTo>
                  <a:cubicBezTo>
                    <a:pt x="65272" y="293724"/>
                    <a:pt x="67992" y="247490"/>
                    <a:pt x="67992" y="203975"/>
                  </a:cubicBezTo>
                  <a:cubicBezTo>
                    <a:pt x="67992" y="179498"/>
                    <a:pt x="67992" y="149582"/>
                    <a:pt x="70712" y="119665"/>
                  </a:cubicBezTo>
                  <a:cubicBezTo>
                    <a:pt x="70712" y="103347"/>
                    <a:pt x="73431" y="84309"/>
                    <a:pt x="73431" y="67992"/>
                  </a:cubicBezTo>
                  <a:cubicBezTo>
                    <a:pt x="73431" y="67992"/>
                    <a:pt x="70712" y="67992"/>
                    <a:pt x="67992" y="67992"/>
                  </a:cubicBezTo>
                  <a:cubicBezTo>
                    <a:pt x="59833" y="67992"/>
                    <a:pt x="51674" y="67992"/>
                    <a:pt x="43515" y="67992"/>
                  </a:cubicBezTo>
                  <a:cubicBezTo>
                    <a:pt x="35356" y="67992"/>
                    <a:pt x="24477" y="67992"/>
                    <a:pt x="16318" y="62552"/>
                  </a:cubicBezTo>
                  <a:cubicBezTo>
                    <a:pt x="8159" y="59833"/>
                    <a:pt x="0" y="51674"/>
                    <a:pt x="0" y="46234"/>
                  </a:cubicBezTo>
                  <a:cubicBezTo>
                    <a:pt x="0" y="43515"/>
                    <a:pt x="0" y="38075"/>
                    <a:pt x="5439" y="35356"/>
                  </a:cubicBezTo>
                  <a:cubicBezTo>
                    <a:pt x="10879" y="32636"/>
                    <a:pt x="21758" y="29916"/>
                    <a:pt x="27197" y="27197"/>
                  </a:cubicBezTo>
                  <a:cubicBezTo>
                    <a:pt x="46234" y="24477"/>
                    <a:pt x="65272" y="21758"/>
                    <a:pt x="76151" y="21758"/>
                  </a:cubicBezTo>
                  <a:cubicBezTo>
                    <a:pt x="76151" y="19038"/>
                    <a:pt x="78871" y="16318"/>
                    <a:pt x="81590" y="13598"/>
                  </a:cubicBezTo>
                  <a:cubicBezTo>
                    <a:pt x="84310" y="10879"/>
                    <a:pt x="92469" y="5439"/>
                    <a:pt x="97908" y="5439"/>
                  </a:cubicBezTo>
                  <a:cubicBezTo>
                    <a:pt x="103347" y="2720"/>
                    <a:pt x="108787" y="0"/>
                    <a:pt x="114226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4" name="Freeform: Shape 43">
              <a:extLst>
                <a:ext uri="{FF2B5EF4-FFF2-40B4-BE49-F238E27FC236}">
                  <a16:creationId xmlns:a16="http://schemas.microsoft.com/office/drawing/2014/main" id="{DACE59F3-2EE9-4012-9B0E-5DB4FD2A2FEB}"/>
                </a:ext>
              </a:extLst>
            </p:cNvPr>
            <p:cNvSpPr/>
            <p:nvPr/>
          </p:nvSpPr>
          <p:spPr>
            <a:xfrm>
              <a:off x="7310622" y="4197597"/>
              <a:ext cx="489539" cy="761503"/>
            </a:xfrm>
            <a:custGeom>
              <a:avLst/>
              <a:gdLst>
                <a:gd name="connsiteX0" fmla="*/ 433491 w 489538"/>
                <a:gd name="connsiteY0" fmla="*/ 651063 h 761503"/>
                <a:gd name="connsiteX1" fmla="*/ 438930 w 489538"/>
                <a:gd name="connsiteY1" fmla="*/ 661942 h 761503"/>
                <a:gd name="connsiteX2" fmla="*/ 425332 w 489538"/>
                <a:gd name="connsiteY2" fmla="*/ 683699 h 761503"/>
                <a:gd name="connsiteX3" fmla="*/ 400855 w 489538"/>
                <a:gd name="connsiteY3" fmla="*/ 691858 h 761503"/>
                <a:gd name="connsiteX4" fmla="*/ 343742 w 489538"/>
                <a:gd name="connsiteY4" fmla="*/ 700017 h 761503"/>
                <a:gd name="connsiteX5" fmla="*/ 316546 w 489538"/>
                <a:gd name="connsiteY5" fmla="*/ 705456 h 761503"/>
                <a:gd name="connsiteX6" fmla="*/ 275751 w 489538"/>
                <a:gd name="connsiteY6" fmla="*/ 705456 h 761503"/>
                <a:gd name="connsiteX7" fmla="*/ 264872 w 489538"/>
                <a:gd name="connsiteY7" fmla="*/ 708176 h 761503"/>
                <a:gd name="connsiteX8" fmla="*/ 253994 w 489538"/>
                <a:gd name="connsiteY8" fmla="*/ 708176 h 761503"/>
                <a:gd name="connsiteX9" fmla="*/ 240395 w 489538"/>
                <a:gd name="connsiteY9" fmla="*/ 719054 h 761503"/>
                <a:gd name="connsiteX10" fmla="*/ 224077 w 489538"/>
                <a:gd name="connsiteY10" fmla="*/ 721774 h 761503"/>
                <a:gd name="connsiteX11" fmla="*/ 205040 w 489538"/>
                <a:gd name="connsiteY11" fmla="*/ 724494 h 761503"/>
                <a:gd name="connsiteX12" fmla="*/ 191441 w 489538"/>
                <a:gd name="connsiteY12" fmla="*/ 727213 h 761503"/>
                <a:gd name="connsiteX13" fmla="*/ 169684 w 489538"/>
                <a:gd name="connsiteY13" fmla="*/ 721774 h 761503"/>
                <a:gd name="connsiteX14" fmla="*/ 150646 w 489538"/>
                <a:gd name="connsiteY14" fmla="*/ 708176 h 761503"/>
                <a:gd name="connsiteX15" fmla="*/ 139768 w 489538"/>
                <a:gd name="connsiteY15" fmla="*/ 708176 h 761503"/>
                <a:gd name="connsiteX16" fmla="*/ 120730 w 489538"/>
                <a:gd name="connsiteY16" fmla="*/ 708176 h 761503"/>
                <a:gd name="connsiteX17" fmla="*/ 98973 w 489538"/>
                <a:gd name="connsiteY17" fmla="*/ 708176 h 761503"/>
                <a:gd name="connsiteX18" fmla="*/ 74496 w 489538"/>
                <a:gd name="connsiteY18" fmla="*/ 702736 h 761503"/>
                <a:gd name="connsiteX19" fmla="*/ 58178 w 489538"/>
                <a:gd name="connsiteY19" fmla="*/ 683699 h 761503"/>
                <a:gd name="connsiteX20" fmla="*/ 63617 w 489538"/>
                <a:gd name="connsiteY20" fmla="*/ 675540 h 761503"/>
                <a:gd name="connsiteX21" fmla="*/ 85375 w 489538"/>
                <a:gd name="connsiteY21" fmla="*/ 667381 h 761503"/>
                <a:gd name="connsiteX22" fmla="*/ 128889 w 489538"/>
                <a:gd name="connsiteY22" fmla="*/ 661942 h 761503"/>
                <a:gd name="connsiteX23" fmla="*/ 128889 w 489538"/>
                <a:gd name="connsiteY23" fmla="*/ 602109 h 761503"/>
                <a:gd name="connsiteX24" fmla="*/ 126170 w 489538"/>
                <a:gd name="connsiteY24" fmla="*/ 523239 h 761503"/>
                <a:gd name="connsiteX25" fmla="*/ 126170 w 489538"/>
                <a:gd name="connsiteY25" fmla="*/ 468846 h 761503"/>
                <a:gd name="connsiteX26" fmla="*/ 123450 w 489538"/>
                <a:gd name="connsiteY26" fmla="*/ 409014 h 761503"/>
                <a:gd name="connsiteX27" fmla="*/ 123450 w 489538"/>
                <a:gd name="connsiteY27" fmla="*/ 384537 h 761503"/>
                <a:gd name="connsiteX28" fmla="*/ 126170 w 489538"/>
                <a:gd name="connsiteY28" fmla="*/ 349181 h 761503"/>
                <a:gd name="connsiteX29" fmla="*/ 126170 w 489538"/>
                <a:gd name="connsiteY29" fmla="*/ 324704 h 761503"/>
                <a:gd name="connsiteX30" fmla="*/ 128889 w 489538"/>
                <a:gd name="connsiteY30" fmla="*/ 292068 h 761503"/>
                <a:gd name="connsiteX31" fmla="*/ 134329 w 489538"/>
                <a:gd name="connsiteY31" fmla="*/ 234956 h 761503"/>
                <a:gd name="connsiteX32" fmla="*/ 134329 w 489538"/>
                <a:gd name="connsiteY32" fmla="*/ 172404 h 761503"/>
                <a:gd name="connsiteX33" fmla="*/ 137048 w 489538"/>
                <a:gd name="connsiteY33" fmla="*/ 123450 h 761503"/>
                <a:gd name="connsiteX34" fmla="*/ 123450 w 489538"/>
                <a:gd name="connsiteY34" fmla="*/ 123450 h 761503"/>
                <a:gd name="connsiteX35" fmla="*/ 101693 w 489538"/>
                <a:gd name="connsiteY35" fmla="*/ 123450 h 761503"/>
                <a:gd name="connsiteX36" fmla="*/ 77216 w 489538"/>
                <a:gd name="connsiteY36" fmla="*/ 118011 h 761503"/>
                <a:gd name="connsiteX37" fmla="*/ 60898 w 489538"/>
                <a:gd name="connsiteY37" fmla="*/ 98973 h 761503"/>
                <a:gd name="connsiteX38" fmla="*/ 66337 w 489538"/>
                <a:gd name="connsiteY38" fmla="*/ 90814 h 761503"/>
                <a:gd name="connsiteX39" fmla="*/ 88094 w 489538"/>
                <a:gd name="connsiteY39" fmla="*/ 82655 h 761503"/>
                <a:gd name="connsiteX40" fmla="*/ 145207 w 489538"/>
                <a:gd name="connsiteY40" fmla="*/ 77216 h 761503"/>
                <a:gd name="connsiteX41" fmla="*/ 145207 w 489538"/>
                <a:gd name="connsiteY41" fmla="*/ 77216 h 761503"/>
                <a:gd name="connsiteX42" fmla="*/ 153366 w 489538"/>
                <a:gd name="connsiteY42" fmla="*/ 69057 h 761503"/>
                <a:gd name="connsiteX43" fmla="*/ 177843 w 489538"/>
                <a:gd name="connsiteY43" fmla="*/ 60898 h 761503"/>
                <a:gd name="connsiteX44" fmla="*/ 196881 w 489538"/>
                <a:gd name="connsiteY44" fmla="*/ 58178 h 761503"/>
                <a:gd name="connsiteX45" fmla="*/ 205040 w 489538"/>
                <a:gd name="connsiteY45" fmla="*/ 58178 h 761503"/>
                <a:gd name="connsiteX46" fmla="*/ 215919 w 489538"/>
                <a:gd name="connsiteY46" fmla="*/ 63617 h 761503"/>
                <a:gd name="connsiteX47" fmla="*/ 229517 w 489538"/>
                <a:gd name="connsiteY47" fmla="*/ 69057 h 761503"/>
                <a:gd name="connsiteX48" fmla="*/ 256713 w 489538"/>
                <a:gd name="connsiteY48" fmla="*/ 77216 h 761503"/>
                <a:gd name="connsiteX49" fmla="*/ 264872 w 489538"/>
                <a:gd name="connsiteY49" fmla="*/ 77216 h 761503"/>
                <a:gd name="connsiteX50" fmla="*/ 281190 w 489538"/>
                <a:gd name="connsiteY50" fmla="*/ 77216 h 761503"/>
                <a:gd name="connsiteX51" fmla="*/ 330144 w 489538"/>
                <a:gd name="connsiteY51" fmla="*/ 77216 h 761503"/>
                <a:gd name="connsiteX52" fmla="*/ 357341 w 489538"/>
                <a:gd name="connsiteY52" fmla="*/ 79935 h 761503"/>
                <a:gd name="connsiteX53" fmla="*/ 387257 w 489538"/>
                <a:gd name="connsiteY53" fmla="*/ 82655 h 761503"/>
                <a:gd name="connsiteX54" fmla="*/ 406295 w 489538"/>
                <a:gd name="connsiteY54" fmla="*/ 85375 h 761503"/>
                <a:gd name="connsiteX55" fmla="*/ 417173 w 489538"/>
                <a:gd name="connsiteY55" fmla="*/ 79935 h 761503"/>
                <a:gd name="connsiteX56" fmla="*/ 425332 w 489538"/>
                <a:gd name="connsiteY56" fmla="*/ 85375 h 761503"/>
                <a:gd name="connsiteX57" fmla="*/ 433491 w 489538"/>
                <a:gd name="connsiteY57" fmla="*/ 104412 h 761503"/>
                <a:gd name="connsiteX58" fmla="*/ 436211 w 489538"/>
                <a:gd name="connsiteY58" fmla="*/ 137048 h 761503"/>
                <a:gd name="connsiteX59" fmla="*/ 438930 w 489538"/>
                <a:gd name="connsiteY59" fmla="*/ 183282 h 761503"/>
                <a:gd name="connsiteX60" fmla="*/ 422612 w 489538"/>
                <a:gd name="connsiteY60" fmla="*/ 218638 h 761503"/>
                <a:gd name="connsiteX61" fmla="*/ 406295 w 489538"/>
                <a:gd name="connsiteY61" fmla="*/ 213198 h 761503"/>
                <a:gd name="connsiteX62" fmla="*/ 398136 w 489538"/>
                <a:gd name="connsiteY62" fmla="*/ 196881 h 761503"/>
                <a:gd name="connsiteX63" fmla="*/ 395416 w 489538"/>
                <a:gd name="connsiteY63" fmla="*/ 175123 h 761503"/>
                <a:gd name="connsiteX64" fmla="*/ 395416 w 489538"/>
                <a:gd name="connsiteY64" fmla="*/ 153366 h 761503"/>
                <a:gd name="connsiteX65" fmla="*/ 395416 w 489538"/>
                <a:gd name="connsiteY65" fmla="*/ 126170 h 761503"/>
                <a:gd name="connsiteX66" fmla="*/ 370939 w 489538"/>
                <a:gd name="connsiteY66" fmla="*/ 128889 h 761503"/>
                <a:gd name="connsiteX67" fmla="*/ 338303 w 489538"/>
                <a:gd name="connsiteY67" fmla="*/ 131609 h 761503"/>
                <a:gd name="connsiteX68" fmla="*/ 286629 w 489538"/>
                <a:gd name="connsiteY68" fmla="*/ 134328 h 761503"/>
                <a:gd name="connsiteX69" fmla="*/ 273031 w 489538"/>
                <a:gd name="connsiteY69" fmla="*/ 137048 h 761503"/>
                <a:gd name="connsiteX70" fmla="*/ 262153 w 489538"/>
                <a:gd name="connsiteY70" fmla="*/ 142487 h 761503"/>
                <a:gd name="connsiteX71" fmla="*/ 259433 w 489538"/>
                <a:gd name="connsiteY71" fmla="*/ 153366 h 761503"/>
                <a:gd name="connsiteX72" fmla="*/ 262153 w 489538"/>
                <a:gd name="connsiteY72" fmla="*/ 166964 h 761503"/>
                <a:gd name="connsiteX73" fmla="*/ 262153 w 489538"/>
                <a:gd name="connsiteY73" fmla="*/ 196881 h 761503"/>
                <a:gd name="connsiteX74" fmla="*/ 262153 w 489538"/>
                <a:gd name="connsiteY74" fmla="*/ 215918 h 761503"/>
                <a:gd name="connsiteX75" fmla="*/ 262153 w 489538"/>
                <a:gd name="connsiteY75" fmla="*/ 251274 h 761503"/>
                <a:gd name="connsiteX76" fmla="*/ 259433 w 489538"/>
                <a:gd name="connsiteY76" fmla="*/ 278470 h 761503"/>
                <a:gd name="connsiteX77" fmla="*/ 259433 w 489538"/>
                <a:gd name="connsiteY77" fmla="*/ 308386 h 761503"/>
                <a:gd name="connsiteX78" fmla="*/ 259433 w 489538"/>
                <a:gd name="connsiteY78" fmla="*/ 321985 h 761503"/>
                <a:gd name="connsiteX79" fmla="*/ 259433 w 489538"/>
                <a:gd name="connsiteY79" fmla="*/ 332863 h 761503"/>
                <a:gd name="connsiteX80" fmla="*/ 267592 w 489538"/>
                <a:gd name="connsiteY80" fmla="*/ 335583 h 761503"/>
                <a:gd name="connsiteX81" fmla="*/ 281190 w 489538"/>
                <a:gd name="connsiteY81" fmla="*/ 335583 h 761503"/>
                <a:gd name="connsiteX82" fmla="*/ 327424 w 489538"/>
                <a:gd name="connsiteY82" fmla="*/ 338303 h 761503"/>
                <a:gd name="connsiteX83" fmla="*/ 351901 w 489538"/>
                <a:gd name="connsiteY83" fmla="*/ 341022 h 761503"/>
                <a:gd name="connsiteX84" fmla="*/ 351901 w 489538"/>
                <a:gd name="connsiteY84" fmla="*/ 335583 h 761503"/>
                <a:gd name="connsiteX85" fmla="*/ 351901 w 489538"/>
                <a:gd name="connsiteY85" fmla="*/ 313826 h 761503"/>
                <a:gd name="connsiteX86" fmla="*/ 357341 w 489538"/>
                <a:gd name="connsiteY86" fmla="*/ 289349 h 761503"/>
                <a:gd name="connsiteX87" fmla="*/ 373658 w 489538"/>
                <a:gd name="connsiteY87" fmla="*/ 273031 h 761503"/>
                <a:gd name="connsiteX88" fmla="*/ 381817 w 489538"/>
                <a:gd name="connsiteY88" fmla="*/ 278470 h 761503"/>
                <a:gd name="connsiteX89" fmla="*/ 389977 w 489538"/>
                <a:gd name="connsiteY89" fmla="*/ 300228 h 761503"/>
                <a:gd name="connsiteX90" fmla="*/ 395416 w 489538"/>
                <a:gd name="connsiteY90" fmla="*/ 351901 h 761503"/>
                <a:gd name="connsiteX91" fmla="*/ 398136 w 489538"/>
                <a:gd name="connsiteY91" fmla="*/ 409014 h 761503"/>
                <a:gd name="connsiteX92" fmla="*/ 381817 w 489538"/>
                <a:gd name="connsiteY92" fmla="*/ 444369 h 761503"/>
                <a:gd name="connsiteX93" fmla="*/ 365500 w 489538"/>
                <a:gd name="connsiteY93" fmla="*/ 438930 h 761503"/>
                <a:gd name="connsiteX94" fmla="*/ 357341 w 489538"/>
                <a:gd name="connsiteY94" fmla="*/ 422612 h 761503"/>
                <a:gd name="connsiteX95" fmla="*/ 354621 w 489538"/>
                <a:gd name="connsiteY95" fmla="*/ 400855 h 761503"/>
                <a:gd name="connsiteX96" fmla="*/ 354621 w 489538"/>
                <a:gd name="connsiteY96" fmla="*/ 381817 h 761503"/>
                <a:gd name="connsiteX97" fmla="*/ 270312 w 489538"/>
                <a:gd name="connsiteY97" fmla="*/ 381817 h 761503"/>
                <a:gd name="connsiteX98" fmla="*/ 256713 w 489538"/>
                <a:gd name="connsiteY98" fmla="*/ 395415 h 761503"/>
                <a:gd name="connsiteX99" fmla="*/ 253994 w 489538"/>
                <a:gd name="connsiteY99" fmla="*/ 422612 h 761503"/>
                <a:gd name="connsiteX100" fmla="*/ 253994 w 489538"/>
                <a:gd name="connsiteY100" fmla="*/ 433490 h 761503"/>
                <a:gd name="connsiteX101" fmla="*/ 253994 w 489538"/>
                <a:gd name="connsiteY101" fmla="*/ 449809 h 761503"/>
                <a:gd name="connsiteX102" fmla="*/ 256713 w 489538"/>
                <a:gd name="connsiteY102" fmla="*/ 474285 h 761503"/>
                <a:gd name="connsiteX103" fmla="*/ 256713 w 489538"/>
                <a:gd name="connsiteY103" fmla="*/ 496043 h 761503"/>
                <a:gd name="connsiteX104" fmla="*/ 259433 w 489538"/>
                <a:gd name="connsiteY104" fmla="*/ 534118 h 761503"/>
                <a:gd name="connsiteX105" fmla="*/ 259433 w 489538"/>
                <a:gd name="connsiteY105" fmla="*/ 591231 h 761503"/>
                <a:gd name="connsiteX106" fmla="*/ 262153 w 489538"/>
                <a:gd name="connsiteY106" fmla="*/ 618427 h 761503"/>
                <a:gd name="connsiteX107" fmla="*/ 267592 w 489538"/>
                <a:gd name="connsiteY107" fmla="*/ 648343 h 761503"/>
                <a:gd name="connsiteX108" fmla="*/ 292069 w 489538"/>
                <a:gd name="connsiteY108" fmla="*/ 651063 h 761503"/>
                <a:gd name="connsiteX109" fmla="*/ 327424 w 489538"/>
                <a:gd name="connsiteY109" fmla="*/ 651063 h 761503"/>
                <a:gd name="connsiteX110" fmla="*/ 362780 w 489538"/>
                <a:gd name="connsiteY110" fmla="*/ 653783 h 761503"/>
                <a:gd name="connsiteX111" fmla="*/ 395416 w 489538"/>
                <a:gd name="connsiteY111" fmla="*/ 648343 h 761503"/>
                <a:gd name="connsiteX112" fmla="*/ 395416 w 489538"/>
                <a:gd name="connsiteY112" fmla="*/ 618427 h 761503"/>
                <a:gd name="connsiteX113" fmla="*/ 395416 w 489538"/>
                <a:gd name="connsiteY113" fmla="*/ 596670 h 761503"/>
                <a:gd name="connsiteX114" fmla="*/ 398136 w 489538"/>
                <a:gd name="connsiteY114" fmla="*/ 574913 h 761503"/>
                <a:gd name="connsiteX115" fmla="*/ 406295 w 489538"/>
                <a:gd name="connsiteY115" fmla="*/ 558595 h 761503"/>
                <a:gd name="connsiteX116" fmla="*/ 422612 w 489538"/>
                <a:gd name="connsiteY116" fmla="*/ 553155 h 761503"/>
                <a:gd name="connsiteX117" fmla="*/ 438930 w 489538"/>
                <a:gd name="connsiteY117" fmla="*/ 588511 h 761503"/>
                <a:gd name="connsiteX118" fmla="*/ 436211 w 489538"/>
                <a:gd name="connsiteY118" fmla="*/ 645624 h 761503"/>
                <a:gd name="connsiteX119" fmla="*/ 433491 w 489538"/>
                <a:gd name="connsiteY119" fmla="*/ 651063 h 761503"/>
                <a:gd name="connsiteX120" fmla="*/ 433491 w 489538"/>
                <a:gd name="connsiteY120" fmla="*/ 651063 h 761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</a:cxnLst>
              <a:rect l="l" t="t" r="r" b="b"/>
              <a:pathLst>
                <a:path w="489538" h="761503">
                  <a:moveTo>
                    <a:pt x="433491" y="651063"/>
                  </a:moveTo>
                  <a:cubicBezTo>
                    <a:pt x="436211" y="653783"/>
                    <a:pt x="438930" y="656502"/>
                    <a:pt x="438930" y="661942"/>
                  </a:cubicBezTo>
                  <a:cubicBezTo>
                    <a:pt x="438930" y="670101"/>
                    <a:pt x="433491" y="678259"/>
                    <a:pt x="425332" y="683699"/>
                  </a:cubicBezTo>
                  <a:cubicBezTo>
                    <a:pt x="417173" y="689138"/>
                    <a:pt x="409014" y="689138"/>
                    <a:pt x="400855" y="691858"/>
                  </a:cubicBezTo>
                  <a:cubicBezTo>
                    <a:pt x="381817" y="694578"/>
                    <a:pt x="362780" y="694578"/>
                    <a:pt x="343742" y="700017"/>
                  </a:cubicBezTo>
                  <a:cubicBezTo>
                    <a:pt x="335583" y="702736"/>
                    <a:pt x="324705" y="702736"/>
                    <a:pt x="316546" y="705456"/>
                  </a:cubicBezTo>
                  <a:cubicBezTo>
                    <a:pt x="308387" y="705456"/>
                    <a:pt x="289349" y="705456"/>
                    <a:pt x="275751" y="705456"/>
                  </a:cubicBezTo>
                  <a:cubicBezTo>
                    <a:pt x="270312" y="705456"/>
                    <a:pt x="267592" y="708176"/>
                    <a:pt x="264872" y="708176"/>
                  </a:cubicBezTo>
                  <a:cubicBezTo>
                    <a:pt x="264872" y="708176"/>
                    <a:pt x="259433" y="708176"/>
                    <a:pt x="253994" y="708176"/>
                  </a:cubicBezTo>
                  <a:cubicBezTo>
                    <a:pt x="251274" y="713615"/>
                    <a:pt x="245835" y="716335"/>
                    <a:pt x="240395" y="719054"/>
                  </a:cubicBezTo>
                  <a:cubicBezTo>
                    <a:pt x="234956" y="721774"/>
                    <a:pt x="229517" y="721774"/>
                    <a:pt x="224077" y="721774"/>
                  </a:cubicBezTo>
                  <a:cubicBezTo>
                    <a:pt x="218638" y="721774"/>
                    <a:pt x="213199" y="724494"/>
                    <a:pt x="205040" y="724494"/>
                  </a:cubicBezTo>
                  <a:cubicBezTo>
                    <a:pt x="202320" y="724494"/>
                    <a:pt x="194161" y="727213"/>
                    <a:pt x="191441" y="727213"/>
                  </a:cubicBezTo>
                  <a:cubicBezTo>
                    <a:pt x="183282" y="727213"/>
                    <a:pt x="172404" y="721774"/>
                    <a:pt x="169684" y="721774"/>
                  </a:cubicBezTo>
                  <a:cubicBezTo>
                    <a:pt x="164245" y="719054"/>
                    <a:pt x="156086" y="713615"/>
                    <a:pt x="150646" y="708176"/>
                  </a:cubicBezTo>
                  <a:cubicBezTo>
                    <a:pt x="145207" y="708176"/>
                    <a:pt x="139768" y="708176"/>
                    <a:pt x="139768" y="708176"/>
                  </a:cubicBezTo>
                  <a:cubicBezTo>
                    <a:pt x="126170" y="708176"/>
                    <a:pt x="137048" y="708176"/>
                    <a:pt x="120730" y="708176"/>
                  </a:cubicBezTo>
                  <a:cubicBezTo>
                    <a:pt x="112571" y="708176"/>
                    <a:pt x="104412" y="708176"/>
                    <a:pt x="98973" y="708176"/>
                  </a:cubicBezTo>
                  <a:cubicBezTo>
                    <a:pt x="90814" y="708176"/>
                    <a:pt x="79936" y="708176"/>
                    <a:pt x="74496" y="702736"/>
                  </a:cubicBezTo>
                  <a:cubicBezTo>
                    <a:pt x="66337" y="700017"/>
                    <a:pt x="58178" y="689138"/>
                    <a:pt x="58178" y="683699"/>
                  </a:cubicBezTo>
                  <a:cubicBezTo>
                    <a:pt x="58178" y="680979"/>
                    <a:pt x="58178" y="678259"/>
                    <a:pt x="63617" y="675540"/>
                  </a:cubicBezTo>
                  <a:cubicBezTo>
                    <a:pt x="69057" y="672820"/>
                    <a:pt x="77216" y="670101"/>
                    <a:pt x="85375" y="667381"/>
                  </a:cubicBezTo>
                  <a:cubicBezTo>
                    <a:pt x="98973" y="664661"/>
                    <a:pt x="115291" y="664661"/>
                    <a:pt x="128889" y="661942"/>
                  </a:cubicBezTo>
                  <a:cubicBezTo>
                    <a:pt x="128889" y="645624"/>
                    <a:pt x="128889" y="623866"/>
                    <a:pt x="128889" y="602109"/>
                  </a:cubicBezTo>
                  <a:cubicBezTo>
                    <a:pt x="128889" y="566754"/>
                    <a:pt x="128889" y="531398"/>
                    <a:pt x="126170" y="523239"/>
                  </a:cubicBezTo>
                  <a:cubicBezTo>
                    <a:pt x="126170" y="517800"/>
                    <a:pt x="126170" y="487884"/>
                    <a:pt x="126170" y="468846"/>
                  </a:cubicBezTo>
                  <a:cubicBezTo>
                    <a:pt x="126170" y="449809"/>
                    <a:pt x="123450" y="430771"/>
                    <a:pt x="123450" y="409014"/>
                  </a:cubicBezTo>
                  <a:cubicBezTo>
                    <a:pt x="123450" y="400855"/>
                    <a:pt x="123450" y="392696"/>
                    <a:pt x="123450" y="384537"/>
                  </a:cubicBezTo>
                  <a:cubicBezTo>
                    <a:pt x="123450" y="373658"/>
                    <a:pt x="126170" y="360060"/>
                    <a:pt x="126170" y="349181"/>
                  </a:cubicBezTo>
                  <a:cubicBezTo>
                    <a:pt x="126170" y="341022"/>
                    <a:pt x="126170" y="332863"/>
                    <a:pt x="126170" y="324704"/>
                  </a:cubicBezTo>
                  <a:cubicBezTo>
                    <a:pt x="126170" y="313826"/>
                    <a:pt x="126170" y="302947"/>
                    <a:pt x="128889" y="292068"/>
                  </a:cubicBezTo>
                  <a:cubicBezTo>
                    <a:pt x="131609" y="273031"/>
                    <a:pt x="134329" y="253993"/>
                    <a:pt x="134329" y="234956"/>
                  </a:cubicBezTo>
                  <a:cubicBezTo>
                    <a:pt x="134329" y="213198"/>
                    <a:pt x="134329" y="191441"/>
                    <a:pt x="134329" y="172404"/>
                  </a:cubicBezTo>
                  <a:cubicBezTo>
                    <a:pt x="134329" y="156086"/>
                    <a:pt x="134329" y="139768"/>
                    <a:pt x="137048" y="123450"/>
                  </a:cubicBezTo>
                  <a:cubicBezTo>
                    <a:pt x="131609" y="123450"/>
                    <a:pt x="134329" y="123450"/>
                    <a:pt x="123450" y="123450"/>
                  </a:cubicBezTo>
                  <a:cubicBezTo>
                    <a:pt x="115291" y="123450"/>
                    <a:pt x="107132" y="123450"/>
                    <a:pt x="101693" y="123450"/>
                  </a:cubicBezTo>
                  <a:cubicBezTo>
                    <a:pt x="93534" y="123450"/>
                    <a:pt x="82655" y="123450"/>
                    <a:pt x="77216" y="118011"/>
                  </a:cubicBezTo>
                  <a:cubicBezTo>
                    <a:pt x="69057" y="115291"/>
                    <a:pt x="60898" y="101693"/>
                    <a:pt x="60898" y="98973"/>
                  </a:cubicBezTo>
                  <a:cubicBezTo>
                    <a:pt x="60898" y="96253"/>
                    <a:pt x="60898" y="93534"/>
                    <a:pt x="66337" y="90814"/>
                  </a:cubicBezTo>
                  <a:cubicBezTo>
                    <a:pt x="71777" y="88094"/>
                    <a:pt x="79936" y="85375"/>
                    <a:pt x="88094" y="82655"/>
                  </a:cubicBezTo>
                  <a:cubicBezTo>
                    <a:pt x="104412" y="79935"/>
                    <a:pt x="131609" y="77216"/>
                    <a:pt x="145207" y="77216"/>
                  </a:cubicBezTo>
                  <a:cubicBezTo>
                    <a:pt x="145207" y="77216"/>
                    <a:pt x="145207" y="77216"/>
                    <a:pt x="145207" y="77216"/>
                  </a:cubicBezTo>
                  <a:cubicBezTo>
                    <a:pt x="145207" y="74496"/>
                    <a:pt x="150646" y="71776"/>
                    <a:pt x="153366" y="69057"/>
                  </a:cubicBezTo>
                  <a:cubicBezTo>
                    <a:pt x="161525" y="63617"/>
                    <a:pt x="169684" y="63617"/>
                    <a:pt x="177843" y="60898"/>
                  </a:cubicBezTo>
                  <a:cubicBezTo>
                    <a:pt x="183282" y="58178"/>
                    <a:pt x="191441" y="58178"/>
                    <a:pt x="196881" y="58178"/>
                  </a:cubicBezTo>
                  <a:cubicBezTo>
                    <a:pt x="199600" y="58178"/>
                    <a:pt x="202320" y="58178"/>
                    <a:pt x="205040" y="58178"/>
                  </a:cubicBezTo>
                  <a:cubicBezTo>
                    <a:pt x="207759" y="58178"/>
                    <a:pt x="213199" y="60898"/>
                    <a:pt x="215919" y="63617"/>
                  </a:cubicBezTo>
                  <a:cubicBezTo>
                    <a:pt x="221358" y="66337"/>
                    <a:pt x="224077" y="66337"/>
                    <a:pt x="229517" y="69057"/>
                  </a:cubicBezTo>
                  <a:cubicBezTo>
                    <a:pt x="237675" y="71776"/>
                    <a:pt x="245835" y="77216"/>
                    <a:pt x="256713" y="77216"/>
                  </a:cubicBezTo>
                  <a:cubicBezTo>
                    <a:pt x="259433" y="77216"/>
                    <a:pt x="262153" y="77216"/>
                    <a:pt x="264872" y="77216"/>
                  </a:cubicBezTo>
                  <a:cubicBezTo>
                    <a:pt x="270312" y="77216"/>
                    <a:pt x="275751" y="77216"/>
                    <a:pt x="281190" y="77216"/>
                  </a:cubicBezTo>
                  <a:cubicBezTo>
                    <a:pt x="292069" y="77216"/>
                    <a:pt x="321985" y="77216"/>
                    <a:pt x="330144" y="77216"/>
                  </a:cubicBezTo>
                  <a:cubicBezTo>
                    <a:pt x="338303" y="77216"/>
                    <a:pt x="349182" y="77216"/>
                    <a:pt x="357341" y="79935"/>
                  </a:cubicBezTo>
                  <a:cubicBezTo>
                    <a:pt x="368219" y="79935"/>
                    <a:pt x="379098" y="82655"/>
                    <a:pt x="387257" y="82655"/>
                  </a:cubicBezTo>
                  <a:cubicBezTo>
                    <a:pt x="392696" y="82655"/>
                    <a:pt x="400855" y="85375"/>
                    <a:pt x="406295" y="85375"/>
                  </a:cubicBezTo>
                  <a:cubicBezTo>
                    <a:pt x="409014" y="82655"/>
                    <a:pt x="414453" y="79935"/>
                    <a:pt x="417173" y="79935"/>
                  </a:cubicBezTo>
                  <a:cubicBezTo>
                    <a:pt x="419893" y="79935"/>
                    <a:pt x="422612" y="79935"/>
                    <a:pt x="425332" y="85375"/>
                  </a:cubicBezTo>
                  <a:cubicBezTo>
                    <a:pt x="428052" y="90814"/>
                    <a:pt x="433491" y="98973"/>
                    <a:pt x="433491" y="104412"/>
                  </a:cubicBezTo>
                  <a:cubicBezTo>
                    <a:pt x="436211" y="131609"/>
                    <a:pt x="436211" y="120730"/>
                    <a:pt x="436211" y="137048"/>
                  </a:cubicBezTo>
                  <a:cubicBezTo>
                    <a:pt x="438930" y="158805"/>
                    <a:pt x="438930" y="158805"/>
                    <a:pt x="438930" y="183282"/>
                  </a:cubicBezTo>
                  <a:cubicBezTo>
                    <a:pt x="438930" y="194161"/>
                    <a:pt x="438930" y="218638"/>
                    <a:pt x="422612" y="218638"/>
                  </a:cubicBezTo>
                  <a:cubicBezTo>
                    <a:pt x="414453" y="218638"/>
                    <a:pt x="411734" y="215918"/>
                    <a:pt x="406295" y="213198"/>
                  </a:cubicBezTo>
                  <a:cubicBezTo>
                    <a:pt x="400855" y="210479"/>
                    <a:pt x="398136" y="202320"/>
                    <a:pt x="398136" y="196881"/>
                  </a:cubicBezTo>
                  <a:cubicBezTo>
                    <a:pt x="395416" y="188722"/>
                    <a:pt x="395416" y="183282"/>
                    <a:pt x="395416" y="175123"/>
                  </a:cubicBezTo>
                  <a:cubicBezTo>
                    <a:pt x="395416" y="169684"/>
                    <a:pt x="395416" y="164245"/>
                    <a:pt x="395416" y="153366"/>
                  </a:cubicBezTo>
                  <a:cubicBezTo>
                    <a:pt x="395416" y="145207"/>
                    <a:pt x="395416" y="134328"/>
                    <a:pt x="395416" y="126170"/>
                  </a:cubicBezTo>
                  <a:cubicBezTo>
                    <a:pt x="387257" y="128889"/>
                    <a:pt x="379098" y="128889"/>
                    <a:pt x="370939" y="128889"/>
                  </a:cubicBezTo>
                  <a:cubicBezTo>
                    <a:pt x="360060" y="128889"/>
                    <a:pt x="349182" y="128889"/>
                    <a:pt x="338303" y="131609"/>
                  </a:cubicBezTo>
                  <a:cubicBezTo>
                    <a:pt x="327424" y="131609"/>
                    <a:pt x="319265" y="134328"/>
                    <a:pt x="286629" y="134328"/>
                  </a:cubicBezTo>
                  <a:cubicBezTo>
                    <a:pt x="281190" y="134328"/>
                    <a:pt x="278470" y="134328"/>
                    <a:pt x="273031" y="137048"/>
                  </a:cubicBezTo>
                  <a:cubicBezTo>
                    <a:pt x="270312" y="137048"/>
                    <a:pt x="264872" y="137048"/>
                    <a:pt x="262153" y="142487"/>
                  </a:cubicBezTo>
                  <a:cubicBezTo>
                    <a:pt x="259433" y="145207"/>
                    <a:pt x="259433" y="150647"/>
                    <a:pt x="259433" y="153366"/>
                  </a:cubicBezTo>
                  <a:cubicBezTo>
                    <a:pt x="259433" y="158805"/>
                    <a:pt x="259433" y="164245"/>
                    <a:pt x="262153" y="166964"/>
                  </a:cubicBezTo>
                  <a:cubicBezTo>
                    <a:pt x="262153" y="177843"/>
                    <a:pt x="262153" y="186002"/>
                    <a:pt x="262153" y="196881"/>
                  </a:cubicBezTo>
                  <a:cubicBezTo>
                    <a:pt x="262153" y="202320"/>
                    <a:pt x="262153" y="210479"/>
                    <a:pt x="262153" y="215918"/>
                  </a:cubicBezTo>
                  <a:cubicBezTo>
                    <a:pt x="262153" y="229516"/>
                    <a:pt x="262153" y="240395"/>
                    <a:pt x="262153" y="251274"/>
                  </a:cubicBezTo>
                  <a:cubicBezTo>
                    <a:pt x="262153" y="259433"/>
                    <a:pt x="259433" y="270311"/>
                    <a:pt x="259433" y="278470"/>
                  </a:cubicBezTo>
                  <a:cubicBezTo>
                    <a:pt x="259433" y="289349"/>
                    <a:pt x="259433" y="297508"/>
                    <a:pt x="259433" y="308386"/>
                  </a:cubicBezTo>
                  <a:cubicBezTo>
                    <a:pt x="259433" y="313826"/>
                    <a:pt x="259433" y="319265"/>
                    <a:pt x="259433" y="321985"/>
                  </a:cubicBezTo>
                  <a:cubicBezTo>
                    <a:pt x="259433" y="324704"/>
                    <a:pt x="259433" y="330144"/>
                    <a:pt x="259433" y="332863"/>
                  </a:cubicBezTo>
                  <a:cubicBezTo>
                    <a:pt x="262153" y="335583"/>
                    <a:pt x="264872" y="335583"/>
                    <a:pt x="267592" y="335583"/>
                  </a:cubicBezTo>
                  <a:cubicBezTo>
                    <a:pt x="273031" y="335583"/>
                    <a:pt x="275751" y="335583"/>
                    <a:pt x="281190" y="335583"/>
                  </a:cubicBezTo>
                  <a:cubicBezTo>
                    <a:pt x="311107" y="335583"/>
                    <a:pt x="319265" y="335583"/>
                    <a:pt x="327424" y="338303"/>
                  </a:cubicBezTo>
                  <a:cubicBezTo>
                    <a:pt x="335583" y="341022"/>
                    <a:pt x="343742" y="341022"/>
                    <a:pt x="351901" y="341022"/>
                  </a:cubicBezTo>
                  <a:cubicBezTo>
                    <a:pt x="351901" y="338303"/>
                    <a:pt x="351901" y="338303"/>
                    <a:pt x="351901" y="335583"/>
                  </a:cubicBezTo>
                  <a:cubicBezTo>
                    <a:pt x="351901" y="327424"/>
                    <a:pt x="351901" y="319265"/>
                    <a:pt x="351901" y="313826"/>
                  </a:cubicBezTo>
                  <a:cubicBezTo>
                    <a:pt x="351901" y="305667"/>
                    <a:pt x="351901" y="294788"/>
                    <a:pt x="357341" y="289349"/>
                  </a:cubicBezTo>
                  <a:cubicBezTo>
                    <a:pt x="360060" y="281190"/>
                    <a:pt x="368219" y="273031"/>
                    <a:pt x="373658" y="273031"/>
                  </a:cubicBezTo>
                  <a:cubicBezTo>
                    <a:pt x="376378" y="273031"/>
                    <a:pt x="379098" y="273031"/>
                    <a:pt x="381817" y="278470"/>
                  </a:cubicBezTo>
                  <a:cubicBezTo>
                    <a:pt x="384537" y="283909"/>
                    <a:pt x="387257" y="292068"/>
                    <a:pt x="389977" y="300228"/>
                  </a:cubicBezTo>
                  <a:cubicBezTo>
                    <a:pt x="392696" y="316545"/>
                    <a:pt x="392696" y="335583"/>
                    <a:pt x="395416" y="351901"/>
                  </a:cubicBezTo>
                  <a:cubicBezTo>
                    <a:pt x="398136" y="373658"/>
                    <a:pt x="398136" y="384537"/>
                    <a:pt x="398136" y="409014"/>
                  </a:cubicBezTo>
                  <a:cubicBezTo>
                    <a:pt x="398136" y="422612"/>
                    <a:pt x="398136" y="444369"/>
                    <a:pt x="381817" y="444369"/>
                  </a:cubicBezTo>
                  <a:cubicBezTo>
                    <a:pt x="373658" y="444369"/>
                    <a:pt x="370939" y="441650"/>
                    <a:pt x="365500" y="438930"/>
                  </a:cubicBezTo>
                  <a:cubicBezTo>
                    <a:pt x="360060" y="436210"/>
                    <a:pt x="357341" y="428051"/>
                    <a:pt x="357341" y="422612"/>
                  </a:cubicBezTo>
                  <a:cubicBezTo>
                    <a:pt x="354621" y="414453"/>
                    <a:pt x="354621" y="409014"/>
                    <a:pt x="354621" y="400855"/>
                  </a:cubicBezTo>
                  <a:cubicBezTo>
                    <a:pt x="354621" y="395415"/>
                    <a:pt x="354621" y="389976"/>
                    <a:pt x="354621" y="381817"/>
                  </a:cubicBezTo>
                  <a:cubicBezTo>
                    <a:pt x="335583" y="381817"/>
                    <a:pt x="308387" y="384537"/>
                    <a:pt x="270312" y="381817"/>
                  </a:cubicBezTo>
                  <a:cubicBezTo>
                    <a:pt x="262153" y="381817"/>
                    <a:pt x="256713" y="387256"/>
                    <a:pt x="256713" y="395415"/>
                  </a:cubicBezTo>
                  <a:cubicBezTo>
                    <a:pt x="256713" y="403574"/>
                    <a:pt x="256713" y="414453"/>
                    <a:pt x="253994" y="422612"/>
                  </a:cubicBezTo>
                  <a:cubicBezTo>
                    <a:pt x="253994" y="425332"/>
                    <a:pt x="253994" y="430771"/>
                    <a:pt x="253994" y="433490"/>
                  </a:cubicBezTo>
                  <a:cubicBezTo>
                    <a:pt x="253994" y="438930"/>
                    <a:pt x="253994" y="444369"/>
                    <a:pt x="253994" y="449809"/>
                  </a:cubicBezTo>
                  <a:cubicBezTo>
                    <a:pt x="253994" y="457967"/>
                    <a:pt x="256713" y="466126"/>
                    <a:pt x="256713" y="474285"/>
                  </a:cubicBezTo>
                  <a:cubicBezTo>
                    <a:pt x="256713" y="482444"/>
                    <a:pt x="256713" y="490603"/>
                    <a:pt x="256713" y="496043"/>
                  </a:cubicBezTo>
                  <a:cubicBezTo>
                    <a:pt x="256713" y="509641"/>
                    <a:pt x="259433" y="520520"/>
                    <a:pt x="259433" y="534118"/>
                  </a:cubicBezTo>
                  <a:cubicBezTo>
                    <a:pt x="259433" y="553155"/>
                    <a:pt x="259433" y="572193"/>
                    <a:pt x="259433" y="591231"/>
                  </a:cubicBezTo>
                  <a:cubicBezTo>
                    <a:pt x="259433" y="602109"/>
                    <a:pt x="262153" y="610268"/>
                    <a:pt x="262153" y="618427"/>
                  </a:cubicBezTo>
                  <a:cubicBezTo>
                    <a:pt x="264872" y="626586"/>
                    <a:pt x="262153" y="642904"/>
                    <a:pt x="267592" y="648343"/>
                  </a:cubicBezTo>
                  <a:cubicBezTo>
                    <a:pt x="270312" y="651063"/>
                    <a:pt x="275751" y="651063"/>
                    <a:pt x="292069" y="651063"/>
                  </a:cubicBezTo>
                  <a:cubicBezTo>
                    <a:pt x="305667" y="651063"/>
                    <a:pt x="319265" y="651063"/>
                    <a:pt x="327424" y="651063"/>
                  </a:cubicBezTo>
                  <a:cubicBezTo>
                    <a:pt x="338303" y="651063"/>
                    <a:pt x="351901" y="653783"/>
                    <a:pt x="362780" y="653783"/>
                  </a:cubicBezTo>
                  <a:cubicBezTo>
                    <a:pt x="376378" y="653783"/>
                    <a:pt x="384537" y="651063"/>
                    <a:pt x="395416" y="648343"/>
                  </a:cubicBezTo>
                  <a:cubicBezTo>
                    <a:pt x="395416" y="637465"/>
                    <a:pt x="395416" y="629306"/>
                    <a:pt x="395416" y="618427"/>
                  </a:cubicBezTo>
                  <a:cubicBezTo>
                    <a:pt x="395416" y="610268"/>
                    <a:pt x="395416" y="602109"/>
                    <a:pt x="395416" y="596670"/>
                  </a:cubicBezTo>
                  <a:cubicBezTo>
                    <a:pt x="395416" y="591231"/>
                    <a:pt x="395416" y="585791"/>
                    <a:pt x="398136" y="574913"/>
                  </a:cubicBezTo>
                  <a:cubicBezTo>
                    <a:pt x="400855" y="569473"/>
                    <a:pt x="400855" y="564034"/>
                    <a:pt x="406295" y="558595"/>
                  </a:cubicBezTo>
                  <a:cubicBezTo>
                    <a:pt x="411734" y="553155"/>
                    <a:pt x="414453" y="553155"/>
                    <a:pt x="422612" y="553155"/>
                  </a:cubicBezTo>
                  <a:cubicBezTo>
                    <a:pt x="436211" y="553155"/>
                    <a:pt x="438930" y="577632"/>
                    <a:pt x="438930" y="588511"/>
                  </a:cubicBezTo>
                  <a:cubicBezTo>
                    <a:pt x="438930" y="612988"/>
                    <a:pt x="438930" y="623866"/>
                    <a:pt x="436211" y="645624"/>
                  </a:cubicBezTo>
                  <a:cubicBezTo>
                    <a:pt x="433491" y="648343"/>
                    <a:pt x="433491" y="648343"/>
                    <a:pt x="433491" y="651063"/>
                  </a:cubicBezTo>
                  <a:lnTo>
                    <a:pt x="433491" y="651063"/>
                  </a:ln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5" name="Freeform: Shape 44">
              <a:extLst>
                <a:ext uri="{FF2B5EF4-FFF2-40B4-BE49-F238E27FC236}">
                  <a16:creationId xmlns:a16="http://schemas.microsoft.com/office/drawing/2014/main" id="{D787845E-4C98-468A-9220-DFECC42D7793}"/>
                </a:ext>
              </a:extLst>
            </p:cNvPr>
            <p:cNvSpPr/>
            <p:nvPr/>
          </p:nvSpPr>
          <p:spPr>
            <a:xfrm>
              <a:off x="7912732" y="4250336"/>
              <a:ext cx="465062" cy="658157"/>
            </a:xfrm>
            <a:custGeom>
              <a:avLst/>
              <a:gdLst>
                <a:gd name="connsiteX0" fmla="*/ 193096 w 465062"/>
                <a:gd name="connsiteY0" fmla="*/ 59832 h 658157"/>
                <a:gd name="connsiteX1" fmla="*/ 193096 w 465062"/>
                <a:gd name="connsiteY1" fmla="*/ 114226 h 658157"/>
                <a:gd name="connsiteX2" fmla="*/ 198536 w 465062"/>
                <a:gd name="connsiteY2" fmla="*/ 209414 h 658157"/>
                <a:gd name="connsiteX3" fmla="*/ 201255 w 465062"/>
                <a:gd name="connsiteY3" fmla="*/ 282845 h 658157"/>
                <a:gd name="connsiteX4" fmla="*/ 203975 w 465062"/>
                <a:gd name="connsiteY4" fmla="*/ 315481 h 658157"/>
                <a:gd name="connsiteX5" fmla="*/ 203975 w 465062"/>
                <a:gd name="connsiteY5" fmla="*/ 320920 h 658157"/>
                <a:gd name="connsiteX6" fmla="*/ 212134 w 465062"/>
                <a:gd name="connsiteY6" fmla="*/ 329079 h 658157"/>
                <a:gd name="connsiteX7" fmla="*/ 223013 w 465062"/>
                <a:gd name="connsiteY7" fmla="*/ 329079 h 658157"/>
                <a:gd name="connsiteX8" fmla="*/ 239331 w 465062"/>
                <a:gd name="connsiteY8" fmla="*/ 329079 h 658157"/>
                <a:gd name="connsiteX9" fmla="*/ 280126 w 465062"/>
                <a:gd name="connsiteY9" fmla="*/ 312761 h 658157"/>
                <a:gd name="connsiteX10" fmla="*/ 296443 w 465062"/>
                <a:gd name="connsiteY10" fmla="*/ 288284 h 658157"/>
                <a:gd name="connsiteX11" fmla="*/ 304602 w 465062"/>
                <a:gd name="connsiteY11" fmla="*/ 258368 h 658157"/>
                <a:gd name="connsiteX12" fmla="*/ 312761 w 465062"/>
                <a:gd name="connsiteY12" fmla="*/ 225732 h 658157"/>
                <a:gd name="connsiteX13" fmla="*/ 315481 w 465062"/>
                <a:gd name="connsiteY13" fmla="*/ 195816 h 658157"/>
                <a:gd name="connsiteX14" fmla="*/ 318201 w 465062"/>
                <a:gd name="connsiteY14" fmla="*/ 168619 h 658157"/>
                <a:gd name="connsiteX15" fmla="*/ 312761 w 465062"/>
                <a:gd name="connsiteY15" fmla="*/ 135983 h 658157"/>
                <a:gd name="connsiteX16" fmla="*/ 312761 w 465062"/>
                <a:gd name="connsiteY16" fmla="*/ 122385 h 658157"/>
                <a:gd name="connsiteX17" fmla="*/ 293724 w 465062"/>
                <a:gd name="connsiteY17" fmla="*/ 84309 h 658157"/>
                <a:gd name="connsiteX18" fmla="*/ 280126 w 465062"/>
                <a:gd name="connsiteY18" fmla="*/ 73430 h 658157"/>
                <a:gd name="connsiteX19" fmla="*/ 258368 w 465062"/>
                <a:gd name="connsiteY19" fmla="*/ 62552 h 658157"/>
                <a:gd name="connsiteX20" fmla="*/ 217573 w 465062"/>
                <a:gd name="connsiteY20" fmla="*/ 59832 h 658157"/>
                <a:gd name="connsiteX21" fmla="*/ 111506 w 465062"/>
                <a:gd name="connsiteY21" fmla="*/ 0 h 658157"/>
                <a:gd name="connsiteX22" fmla="*/ 127824 w 465062"/>
                <a:gd name="connsiteY22" fmla="*/ 0 h 658157"/>
                <a:gd name="connsiteX23" fmla="*/ 157741 w 465062"/>
                <a:gd name="connsiteY23" fmla="*/ 5440 h 658157"/>
                <a:gd name="connsiteX24" fmla="*/ 179497 w 465062"/>
                <a:gd name="connsiteY24" fmla="*/ 16318 h 658157"/>
                <a:gd name="connsiteX25" fmla="*/ 209414 w 465062"/>
                <a:gd name="connsiteY25" fmla="*/ 16318 h 658157"/>
                <a:gd name="connsiteX26" fmla="*/ 247489 w 465062"/>
                <a:gd name="connsiteY26" fmla="*/ 16318 h 658157"/>
                <a:gd name="connsiteX27" fmla="*/ 266527 w 465062"/>
                <a:gd name="connsiteY27" fmla="*/ 16318 h 658157"/>
                <a:gd name="connsiteX28" fmla="*/ 312761 w 465062"/>
                <a:gd name="connsiteY28" fmla="*/ 27197 h 658157"/>
                <a:gd name="connsiteX29" fmla="*/ 337238 w 465062"/>
                <a:gd name="connsiteY29" fmla="*/ 38075 h 658157"/>
                <a:gd name="connsiteX30" fmla="*/ 364434 w 465062"/>
                <a:gd name="connsiteY30" fmla="*/ 54393 h 658157"/>
                <a:gd name="connsiteX31" fmla="*/ 386192 w 465062"/>
                <a:gd name="connsiteY31" fmla="*/ 73431 h 658157"/>
                <a:gd name="connsiteX32" fmla="*/ 407949 w 465062"/>
                <a:gd name="connsiteY32" fmla="*/ 103347 h 658157"/>
                <a:gd name="connsiteX33" fmla="*/ 416108 w 465062"/>
                <a:gd name="connsiteY33" fmla="*/ 141422 h 658157"/>
                <a:gd name="connsiteX34" fmla="*/ 418828 w 465062"/>
                <a:gd name="connsiteY34" fmla="*/ 163179 h 658157"/>
                <a:gd name="connsiteX35" fmla="*/ 418828 w 465062"/>
                <a:gd name="connsiteY35" fmla="*/ 171339 h 658157"/>
                <a:gd name="connsiteX36" fmla="*/ 421547 w 465062"/>
                <a:gd name="connsiteY36" fmla="*/ 187656 h 658157"/>
                <a:gd name="connsiteX37" fmla="*/ 418828 w 465062"/>
                <a:gd name="connsiteY37" fmla="*/ 206694 h 658157"/>
                <a:gd name="connsiteX38" fmla="*/ 416108 w 465062"/>
                <a:gd name="connsiteY38" fmla="*/ 233891 h 658157"/>
                <a:gd name="connsiteX39" fmla="*/ 405229 w 465062"/>
                <a:gd name="connsiteY39" fmla="*/ 263807 h 658157"/>
                <a:gd name="connsiteX40" fmla="*/ 394351 w 465062"/>
                <a:gd name="connsiteY40" fmla="*/ 274686 h 658157"/>
                <a:gd name="connsiteX41" fmla="*/ 388912 w 465062"/>
                <a:gd name="connsiteY41" fmla="*/ 285564 h 658157"/>
                <a:gd name="connsiteX42" fmla="*/ 369874 w 465062"/>
                <a:gd name="connsiteY42" fmla="*/ 304602 h 658157"/>
                <a:gd name="connsiteX43" fmla="*/ 358995 w 465062"/>
                <a:gd name="connsiteY43" fmla="*/ 310041 h 658157"/>
                <a:gd name="connsiteX44" fmla="*/ 348117 w 465062"/>
                <a:gd name="connsiteY44" fmla="*/ 320920 h 658157"/>
                <a:gd name="connsiteX45" fmla="*/ 326359 w 465062"/>
                <a:gd name="connsiteY45" fmla="*/ 339957 h 658157"/>
                <a:gd name="connsiteX46" fmla="*/ 312761 w 465062"/>
                <a:gd name="connsiteY46" fmla="*/ 353555 h 658157"/>
                <a:gd name="connsiteX47" fmla="*/ 337238 w 465062"/>
                <a:gd name="connsiteY47" fmla="*/ 380752 h 658157"/>
                <a:gd name="connsiteX48" fmla="*/ 358995 w 465062"/>
                <a:gd name="connsiteY48" fmla="*/ 421547 h 658157"/>
                <a:gd name="connsiteX49" fmla="*/ 372593 w 465062"/>
                <a:gd name="connsiteY49" fmla="*/ 459622 h 658157"/>
                <a:gd name="connsiteX50" fmla="*/ 386192 w 465062"/>
                <a:gd name="connsiteY50" fmla="*/ 514015 h 658157"/>
                <a:gd name="connsiteX51" fmla="*/ 407949 w 465062"/>
                <a:gd name="connsiteY51" fmla="*/ 568408 h 658157"/>
                <a:gd name="connsiteX52" fmla="*/ 421547 w 465062"/>
                <a:gd name="connsiteY52" fmla="*/ 598324 h 658157"/>
                <a:gd name="connsiteX53" fmla="*/ 451463 w 465062"/>
                <a:gd name="connsiteY53" fmla="*/ 628241 h 658157"/>
                <a:gd name="connsiteX54" fmla="*/ 465062 w 465062"/>
                <a:gd name="connsiteY54" fmla="*/ 644559 h 658157"/>
                <a:gd name="connsiteX55" fmla="*/ 462342 w 465062"/>
                <a:gd name="connsiteY55" fmla="*/ 649998 h 658157"/>
                <a:gd name="connsiteX56" fmla="*/ 437865 w 465062"/>
                <a:gd name="connsiteY56" fmla="*/ 658157 h 658157"/>
                <a:gd name="connsiteX57" fmla="*/ 361715 w 465062"/>
                <a:gd name="connsiteY57" fmla="*/ 622801 h 658157"/>
                <a:gd name="connsiteX58" fmla="*/ 320920 w 465062"/>
                <a:gd name="connsiteY58" fmla="*/ 565689 h 658157"/>
                <a:gd name="connsiteX59" fmla="*/ 304602 w 465062"/>
                <a:gd name="connsiteY59" fmla="*/ 530333 h 658157"/>
                <a:gd name="connsiteX60" fmla="*/ 293723 w 465062"/>
                <a:gd name="connsiteY60" fmla="*/ 497697 h 658157"/>
                <a:gd name="connsiteX61" fmla="*/ 282845 w 465062"/>
                <a:gd name="connsiteY61" fmla="*/ 462342 h 658157"/>
                <a:gd name="connsiteX62" fmla="*/ 269246 w 465062"/>
                <a:gd name="connsiteY62" fmla="*/ 424267 h 658157"/>
                <a:gd name="connsiteX63" fmla="*/ 255648 w 465062"/>
                <a:gd name="connsiteY63" fmla="*/ 391631 h 658157"/>
                <a:gd name="connsiteX64" fmla="*/ 236610 w 465062"/>
                <a:gd name="connsiteY64" fmla="*/ 367154 h 658157"/>
                <a:gd name="connsiteX65" fmla="*/ 217573 w 465062"/>
                <a:gd name="connsiteY65" fmla="*/ 361714 h 658157"/>
                <a:gd name="connsiteX66" fmla="*/ 201255 w 465062"/>
                <a:gd name="connsiteY66" fmla="*/ 361714 h 658157"/>
                <a:gd name="connsiteX67" fmla="*/ 198535 w 465062"/>
                <a:gd name="connsiteY67" fmla="*/ 367154 h 658157"/>
                <a:gd name="connsiteX68" fmla="*/ 201255 w 465062"/>
                <a:gd name="connsiteY68" fmla="*/ 388911 h 658157"/>
                <a:gd name="connsiteX69" fmla="*/ 198535 w 465062"/>
                <a:gd name="connsiteY69" fmla="*/ 426986 h 658157"/>
                <a:gd name="connsiteX70" fmla="*/ 203975 w 465062"/>
                <a:gd name="connsiteY70" fmla="*/ 478660 h 658157"/>
                <a:gd name="connsiteX71" fmla="*/ 198535 w 465062"/>
                <a:gd name="connsiteY71" fmla="*/ 552090 h 658157"/>
                <a:gd name="connsiteX72" fmla="*/ 195816 w 465062"/>
                <a:gd name="connsiteY72" fmla="*/ 576567 h 658157"/>
                <a:gd name="connsiteX73" fmla="*/ 198535 w 465062"/>
                <a:gd name="connsiteY73" fmla="*/ 592885 h 658157"/>
                <a:gd name="connsiteX74" fmla="*/ 233891 w 465062"/>
                <a:gd name="connsiteY74" fmla="*/ 592885 h 658157"/>
                <a:gd name="connsiteX75" fmla="*/ 271966 w 465062"/>
                <a:gd name="connsiteY75" fmla="*/ 611923 h 658157"/>
                <a:gd name="connsiteX76" fmla="*/ 266527 w 465062"/>
                <a:gd name="connsiteY76" fmla="*/ 628241 h 658157"/>
                <a:gd name="connsiteX77" fmla="*/ 250209 w 465062"/>
                <a:gd name="connsiteY77" fmla="*/ 636400 h 658157"/>
                <a:gd name="connsiteX78" fmla="*/ 228451 w 465062"/>
                <a:gd name="connsiteY78" fmla="*/ 639119 h 658157"/>
                <a:gd name="connsiteX79" fmla="*/ 187657 w 465062"/>
                <a:gd name="connsiteY79" fmla="*/ 639119 h 658157"/>
                <a:gd name="connsiteX80" fmla="*/ 152301 w 465062"/>
                <a:gd name="connsiteY80" fmla="*/ 652717 h 658157"/>
                <a:gd name="connsiteX81" fmla="*/ 133263 w 465062"/>
                <a:gd name="connsiteY81" fmla="*/ 655437 h 658157"/>
                <a:gd name="connsiteX82" fmla="*/ 122385 w 465062"/>
                <a:gd name="connsiteY82" fmla="*/ 652717 h 658157"/>
                <a:gd name="connsiteX83" fmla="*/ 97908 w 465062"/>
                <a:gd name="connsiteY83" fmla="*/ 639119 h 658157"/>
                <a:gd name="connsiteX84" fmla="*/ 70711 w 465062"/>
                <a:gd name="connsiteY84" fmla="*/ 639119 h 658157"/>
                <a:gd name="connsiteX85" fmla="*/ 46234 w 465062"/>
                <a:gd name="connsiteY85" fmla="*/ 639119 h 658157"/>
                <a:gd name="connsiteX86" fmla="*/ 19038 w 465062"/>
                <a:gd name="connsiteY86" fmla="*/ 630960 h 658157"/>
                <a:gd name="connsiteX87" fmla="*/ 2720 w 465062"/>
                <a:gd name="connsiteY87" fmla="*/ 614642 h 658157"/>
                <a:gd name="connsiteX88" fmla="*/ 8159 w 465062"/>
                <a:gd name="connsiteY88" fmla="*/ 606483 h 658157"/>
                <a:gd name="connsiteX89" fmla="*/ 29916 w 465062"/>
                <a:gd name="connsiteY89" fmla="*/ 598324 h 658157"/>
                <a:gd name="connsiteX90" fmla="*/ 76151 w 465062"/>
                <a:gd name="connsiteY90" fmla="*/ 592885 h 658157"/>
                <a:gd name="connsiteX91" fmla="*/ 73431 w 465062"/>
                <a:gd name="connsiteY91" fmla="*/ 573848 h 658157"/>
                <a:gd name="connsiteX92" fmla="*/ 70711 w 465062"/>
                <a:gd name="connsiteY92" fmla="*/ 500417 h 658157"/>
                <a:gd name="connsiteX93" fmla="*/ 73431 w 465062"/>
                <a:gd name="connsiteY93" fmla="*/ 437865 h 658157"/>
                <a:gd name="connsiteX94" fmla="*/ 70711 w 465062"/>
                <a:gd name="connsiteY94" fmla="*/ 369873 h 658157"/>
                <a:gd name="connsiteX95" fmla="*/ 70711 w 465062"/>
                <a:gd name="connsiteY95" fmla="*/ 293723 h 658157"/>
                <a:gd name="connsiteX96" fmla="*/ 73431 w 465062"/>
                <a:gd name="connsiteY96" fmla="*/ 212133 h 658157"/>
                <a:gd name="connsiteX97" fmla="*/ 76151 w 465062"/>
                <a:gd name="connsiteY97" fmla="*/ 155021 h 658157"/>
                <a:gd name="connsiteX98" fmla="*/ 76151 w 465062"/>
                <a:gd name="connsiteY98" fmla="*/ 119665 h 658157"/>
                <a:gd name="connsiteX99" fmla="*/ 78870 w 465062"/>
                <a:gd name="connsiteY99" fmla="*/ 84310 h 658157"/>
                <a:gd name="connsiteX100" fmla="*/ 76151 w 465062"/>
                <a:gd name="connsiteY100" fmla="*/ 62552 h 658157"/>
                <a:gd name="connsiteX101" fmla="*/ 67992 w 465062"/>
                <a:gd name="connsiteY101" fmla="*/ 62552 h 658157"/>
                <a:gd name="connsiteX102" fmla="*/ 43515 w 465062"/>
                <a:gd name="connsiteY102" fmla="*/ 62552 h 658157"/>
                <a:gd name="connsiteX103" fmla="*/ 16318 w 465062"/>
                <a:gd name="connsiteY103" fmla="*/ 57113 h 658157"/>
                <a:gd name="connsiteX104" fmla="*/ 0 w 465062"/>
                <a:gd name="connsiteY104" fmla="*/ 40795 h 658157"/>
                <a:gd name="connsiteX105" fmla="*/ 5439 w 465062"/>
                <a:gd name="connsiteY105" fmla="*/ 32636 h 658157"/>
                <a:gd name="connsiteX106" fmla="*/ 27197 w 465062"/>
                <a:gd name="connsiteY106" fmla="*/ 24477 h 658157"/>
                <a:gd name="connsiteX107" fmla="*/ 76151 w 465062"/>
                <a:gd name="connsiteY107" fmla="*/ 19038 h 658157"/>
                <a:gd name="connsiteX108" fmla="*/ 78870 w 465062"/>
                <a:gd name="connsiteY108" fmla="*/ 13598 h 658157"/>
                <a:gd name="connsiteX109" fmla="*/ 95188 w 465062"/>
                <a:gd name="connsiteY109" fmla="*/ 5440 h 658157"/>
                <a:gd name="connsiteX110" fmla="*/ 111506 w 465062"/>
                <a:gd name="connsiteY110" fmla="*/ 0 h 6581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</a:cxnLst>
              <a:rect l="l" t="t" r="r" b="b"/>
              <a:pathLst>
                <a:path w="465062" h="658157">
                  <a:moveTo>
                    <a:pt x="193096" y="59832"/>
                  </a:moveTo>
                  <a:cubicBezTo>
                    <a:pt x="193096" y="73430"/>
                    <a:pt x="193096" y="89748"/>
                    <a:pt x="193096" y="114226"/>
                  </a:cubicBezTo>
                  <a:cubicBezTo>
                    <a:pt x="193096" y="144142"/>
                    <a:pt x="195816" y="176778"/>
                    <a:pt x="198536" y="209414"/>
                  </a:cubicBezTo>
                  <a:cubicBezTo>
                    <a:pt x="198536" y="247489"/>
                    <a:pt x="201255" y="277406"/>
                    <a:pt x="201255" y="282845"/>
                  </a:cubicBezTo>
                  <a:cubicBezTo>
                    <a:pt x="201255" y="293723"/>
                    <a:pt x="203975" y="304602"/>
                    <a:pt x="203975" y="315481"/>
                  </a:cubicBezTo>
                  <a:cubicBezTo>
                    <a:pt x="203975" y="318200"/>
                    <a:pt x="203975" y="318200"/>
                    <a:pt x="203975" y="320920"/>
                  </a:cubicBezTo>
                  <a:cubicBezTo>
                    <a:pt x="203975" y="326359"/>
                    <a:pt x="206695" y="329079"/>
                    <a:pt x="212134" y="329079"/>
                  </a:cubicBezTo>
                  <a:cubicBezTo>
                    <a:pt x="214854" y="329079"/>
                    <a:pt x="220293" y="329079"/>
                    <a:pt x="223013" y="329079"/>
                  </a:cubicBezTo>
                  <a:cubicBezTo>
                    <a:pt x="228452" y="329079"/>
                    <a:pt x="233891" y="329079"/>
                    <a:pt x="239331" y="329079"/>
                  </a:cubicBezTo>
                  <a:cubicBezTo>
                    <a:pt x="252929" y="329079"/>
                    <a:pt x="271967" y="323640"/>
                    <a:pt x="280126" y="312761"/>
                  </a:cubicBezTo>
                  <a:cubicBezTo>
                    <a:pt x="288284" y="304602"/>
                    <a:pt x="291004" y="299163"/>
                    <a:pt x="296443" y="288284"/>
                  </a:cubicBezTo>
                  <a:cubicBezTo>
                    <a:pt x="299163" y="277406"/>
                    <a:pt x="301883" y="269247"/>
                    <a:pt x="304602" y="258368"/>
                  </a:cubicBezTo>
                  <a:cubicBezTo>
                    <a:pt x="307322" y="244770"/>
                    <a:pt x="310042" y="239330"/>
                    <a:pt x="312761" y="225732"/>
                  </a:cubicBezTo>
                  <a:cubicBezTo>
                    <a:pt x="315481" y="212134"/>
                    <a:pt x="315481" y="209414"/>
                    <a:pt x="315481" y="195816"/>
                  </a:cubicBezTo>
                  <a:cubicBezTo>
                    <a:pt x="315481" y="179498"/>
                    <a:pt x="315481" y="184937"/>
                    <a:pt x="318201" y="168619"/>
                  </a:cubicBezTo>
                  <a:cubicBezTo>
                    <a:pt x="312761" y="152302"/>
                    <a:pt x="312761" y="149582"/>
                    <a:pt x="312761" y="135983"/>
                  </a:cubicBezTo>
                  <a:cubicBezTo>
                    <a:pt x="312761" y="133264"/>
                    <a:pt x="312761" y="127825"/>
                    <a:pt x="312761" y="122385"/>
                  </a:cubicBezTo>
                  <a:cubicBezTo>
                    <a:pt x="312761" y="111507"/>
                    <a:pt x="301883" y="95188"/>
                    <a:pt x="293724" y="84309"/>
                  </a:cubicBezTo>
                  <a:cubicBezTo>
                    <a:pt x="288284" y="78870"/>
                    <a:pt x="285565" y="76150"/>
                    <a:pt x="280126" y="73430"/>
                  </a:cubicBezTo>
                  <a:cubicBezTo>
                    <a:pt x="271967" y="67991"/>
                    <a:pt x="266527" y="65271"/>
                    <a:pt x="258368" y="62552"/>
                  </a:cubicBezTo>
                  <a:cubicBezTo>
                    <a:pt x="244770" y="59832"/>
                    <a:pt x="228452" y="59832"/>
                    <a:pt x="217573" y="59832"/>
                  </a:cubicBezTo>
                  <a:close/>
                  <a:moveTo>
                    <a:pt x="111506" y="0"/>
                  </a:moveTo>
                  <a:cubicBezTo>
                    <a:pt x="114226" y="0"/>
                    <a:pt x="122385" y="0"/>
                    <a:pt x="127824" y="0"/>
                  </a:cubicBezTo>
                  <a:cubicBezTo>
                    <a:pt x="135983" y="0"/>
                    <a:pt x="146862" y="2720"/>
                    <a:pt x="157741" y="5440"/>
                  </a:cubicBezTo>
                  <a:cubicBezTo>
                    <a:pt x="168619" y="8159"/>
                    <a:pt x="176778" y="10879"/>
                    <a:pt x="179497" y="16318"/>
                  </a:cubicBezTo>
                  <a:cubicBezTo>
                    <a:pt x="193096" y="16318"/>
                    <a:pt x="201255" y="16318"/>
                    <a:pt x="209414" y="16318"/>
                  </a:cubicBezTo>
                  <a:cubicBezTo>
                    <a:pt x="220292" y="16318"/>
                    <a:pt x="231171" y="16318"/>
                    <a:pt x="247489" y="16318"/>
                  </a:cubicBezTo>
                  <a:cubicBezTo>
                    <a:pt x="250209" y="16318"/>
                    <a:pt x="258368" y="16318"/>
                    <a:pt x="266527" y="16318"/>
                  </a:cubicBezTo>
                  <a:cubicBezTo>
                    <a:pt x="277405" y="16318"/>
                    <a:pt x="291004" y="21758"/>
                    <a:pt x="312761" y="27197"/>
                  </a:cubicBezTo>
                  <a:cubicBezTo>
                    <a:pt x="320920" y="29917"/>
                    <a:pt x="329079" y="35356"/>
                    <a:pt x="337238" y="38075"/>
                  </a:cubicBezTo>
                  <a:cubicBezTo>
                    <a:pt x="342677" y="40795"/>
                    <a:pt x="353556" y="48954"/>
                    <a:pt x="364434" y="54393"/>
                  </a:cubicBezTo>
                  <a:cubicBezTo>
                    <a:pt x="375313" y="62552"/>
                    <a:pt x="386192" y="67992"/>
                    <a:pt x="386192" y="73431"/>
                  </a:cubicBezTo>
                  <a:cubicBezTo>
                    <a:pt x="391631" y="84310"/>
                    <a:pt x="402510" y="92469"/>
                    <a:pt x="407949" y="103347"/>
                  </a:cubicBezTo>
                  <a:cubicBezTo>
                    <a:pt x="413388" y="116945"/>
                    <a:pt x="416108" y="130544"/>
                    <a:pt x="416108" y="141422"/>
                  </a:cubicBezTo>
                  <a:cubicBezTo>
                    <a:pt x="416108" y="152301"/>
                    <a:pt x="418828" y="157740"/>
                    <a:pt x="418828" y="163179"/>
                  </a:cubicBezTo>
                  <a:cubicBezTo>
                    <a:pt x="418828" y="165899"/>
                    <a:pt x="418828" y="168619"/>
                    <a:pt x="418828" y="171339"/>
                  </a:cubicBezTo>
                  <a:cubicBezTo>
                    <a:pt x="418828" y="174058"/>
                    <a:pt x="421547" y="182217"/>
                    <a:pt x="421547" y="187656"/>
                  </a:cubicBezTo>
                  <a:cubicBezTo>
                    <a:pt x="421547" y="193096"/>
                    <a:pt x="418828" y="201255"/>
                    <a:pt x="418828" y="206694"/>
                  </a:cubicBezTo>
                  <a:cubicBezTo>
                    <a:pt x="418828" y="217573"/>
                    <a:pt x="418828" y="223012"/>
                    <a:pt x="416108" y="233891"/>
                  </a:cubicBezTo>
                  <a:cubicBezTo>
                    <a:pt x="413388" y="244769"/>
                    <a:pt x="410668" y="255648"/>
                    <a:pt x="405229" y="263807"/>
                  </a:cubicBezTo>
                  <a:cubicBezTo>
                    <a:pt x="402510" y="269246"/>
                    <a:pt x="397070" y="269246"/>
                    <a:pt x="394351" y="274686"/>
                  </a:cubicBezTo>
                  <a:cubicBezTo>
                    <a:pt x="391631" y="277405"/>
                    <a:pt x="391631" y="282844"/>
                    <a:pt x="388912" y="285564"/>
                  </a:cubicBezTo>
                  <a:cubicBezTo>
                    <a:pt x="383472" y="291003"/>
                    <a:pt x="375313" y="301882"/>
                    <a:pt x="369874" y="304602"/>
                  </a:cubicBezTo>
                  <a:cubicBezTo>
                    <a:pt x="367154" y="307321"/>
                    <a:pt x="361715" y="307321"/>
                    <a:pt x="358995" y="310041"/>
                  </a:cubicBezTo>
                  <a:cubicBezTo>
                    <a:pt x="356275" y="312761"/>
                    <a:pt x="350836" y="318200"/>
                    <a:pt x="348117" y="320920"/>
                  </a:cubicBezTo>
                  <a:cubicBezTo>
                    <a:pt x="339958" y="326359"/>
                    <a:pt x="334518" y="334518"/>
                    <a:pt x="326359" y="339957"/>
                  </a:cubicBezTo>
                  <a:cubicBezTo>
                    <a:pt x="320920" y="342677"/>
                    <a:pt x="312761" y="342677"/>
                    <a:pt x="312761" y="353555"/>
                  </a:cubicBezTo>
                  <a:cubicBezTo>
                    <a:pt x="312761" y="361714"/>
                    <a:pt x="334518" y="372593"/>
                    <a:pt x="337238" y="380752"/>
                  </a:cubicBezTo>
                  <a:cubicBezTo>
                    <a:pt x="345397" y="394350"/>
                    <a:pt x="353556" y="407948"/>
                    <a:pt x="358995" y="421547"/>
                  </a:cubicBezTo>
                  <a:cubicBezTo>
                    <a:pt x="364434" y="435145"/>
                    <a:pt x="367154" y="446024"/>
                    <a:pt x="372593" y="459622"/>
                  </a:cubicBezTo>
                  <a:cubicBezTo>
                    <a:pt x="378033" y="478660"/>
                    <a:pt x="383472" y="494978"/>
                    <a:pt x="386192" y="514015"/>
                  </a:cubicBezTo>
                  <a:cubicBezTo>
                    <a:pt x="391631" y="533053"/>
                    <a:pt x="402510" y="549371"/>
                    <a:pt x="407949" y="568408"/>
                  </a:cubicBezTo>
                  <a:cubicBezTo>
                    <a:pt x="410668" y="579287"/>
                    <a:pt x="416108" y="590165"/>
                    <a:pt x="421547" y="598324"/>
                  </a:cubicBezTo>
                  <a:cubicBezTo>
                    <a:pt x="435146" y="614642"/>
                    <a:pt x="443305" y="622801"/>
                    <a:pt x="451463" y="628241"/>
                  </a:cubicBezTo>
                  <a:cubicBezTo>
                    <a:pt x="456903" y="630960"/>
                    <a:pt x="465062" y="636400"/>
                    <a:pt x="465062" y="644559"/>
                  </a:cubicBezTo>
                  <a:cubicBezTo>
                    <a:pt x="465062" y="647278"/>
                    <a:pt x="465062" y="647278"/>
                    <a:pt x="462342" y="649998"/>
                  </a:cubicBezTo>
                  <a:cubicBezTo>
                    <a:pt x="456903" y="655437"/>
                    <a:pt x="446024" y="658157"/>
                    <a:pt x="437865" y="658157"/>
                  </a:cubicBezTo>
                  <a:cubicBezTo>
                    <a:pt x="413388" y="658157"/>
                    <a:pt x="378033" y="641839"/>
                    <a:pt x="361715" y="622801"/>
                  </a:cubicBezTo>
                  <a:cubicBezTo>
                    <a:pt x="345397" y="606483"/>
                    <a:pt x="334518" y="584726"/>
                    <a:pt x="320920" y="565689"/>
                  </a:cubicBezTo>
                  <a:cubicBezTo>
                    <a:pt x="315480" y="554810"/>
                    <a:pt x="310041" y="543931"/>
                    <a:pt x="304602" y="530333"/>
                  </a:cubicBezTo>
                  <a:cubicBezTo>
                    <a:pt x="299163" y="519454"/>
                    <a:pt x="296443" y="508576"/>
                    <a:pt x="293723" y="497697"/>
                  </a:cubicBezTo>
                  <a:cubicBezTo>
                    <a:pt x="291004" y="486819"/>
                    <a:pt x="288284" y="473220"/>
                    <a:pt x="282845" y="462342"/>
                  </a:cubicBezTo>
                  <a:cubicBezTo>
                    <a:pt x="280125" y="448743"/>
                    <a:pt x="274686" y="437865"/>
                    <a:pt x="269246" y="424267"/>
                  </a:cubicBezTo>
                  <a:cubicBezTo>
                    <a:pt x="266527" y="416108"/>
                    <a:pt x="261087" y="402509"/>
                    <a:pt x="255648" y="391631"/>
                  </a:cubicBezTo>
                  <a:cubicBezTo>
                    <a:pt x="250209" y="380752"/>
                    <a:pt x="244770" y="375313"/>
                    <a:pt x="236610" y="367154"/>
                  </a:cubicBezTo>
                  <a:cubicBezTo>
                    <a:pt x="231171" y="361714"/>
                    <a:pt x="223012" y="361714"/>
                    <a:pt x="217573" y="361714"/>
                  </a:cubicBezTo>
                  <a:cubicBezTo>
                    <a:pt x="212134" y="361714"/>
                    <a:pt x="206694" y="361714"/>
                    <a:pt x="201255" y="361714"/>
                  </a:cubicBezTo>
                  <a:cubicBezTo>
                    <a:pt x="198535" y="361714"/>
                    <a:pt x="198535" y="364434"/>
                    <a:pt x="198535" y="367154"/>
                  </a:cubicBezTo>
                  <a:cubicBezTo>
                    <a:pt x="198535" y="375313"/>
                    <a:pt x="201255" y="386191"/>
                    <a:pt x="201255" y="388911"/>
                  </a:cubicBezTo>
                  <a:cubicBezTo>
                    <a:pt x="201255" y="402509"/>
                    <a:pt x="198535" y="413388"/>
                    <a:pt x="198535" y="426986"/>
                  </a:cubicBezTo>
                  <a:cubicBezTo>
                    <a:pt x="198535" y="446024"/>
                    <a:pt x="203975" y="456902"/>
                    <a:pt x="203975" y="478660"/>
                  </a:cubicBezTo>
                  <a:cubicBezTo>
                    <a:pt x="203975" y="503136"/>
                    <a:pt x="201255" y="527613"/>
                    <a:pt x="198535" y="552090"/>
                  </a:cubicBezTo>
                  <a:cubicBezTo>
                    <a:pt x="198535" y="560249"/>
                    <a:pt x="195816" y="568408"/>
                    <a:pt x="195816" y="576567"/>
                  </a:cubicBezTo>
                  <a:cubicBezTo>
                    <a:pt x="195816" y="582006"/>
                    <a:pt x="195816" y="587446"/>
                    <a:pt x="198535" y="592885"/>
                  </a:cubicBezTo>
                  <a:cubicBezTo>
                    <a:pt x="212134" y="592885"/>
                    <a:pt x="225732" y="592885"/>
                    <a:pt x="233891" y="592885"/>
                  </a:cubicBezTo>
                  <a:cubicBezTo>
                    <a:pt x="247489" y="592885"/>
                    <a:pt x="271966" y="592885"/>
                    <a:pt x="271966" y="611923"/>
                  </a:cubicBezTo>
                  <a:cubicBezTo>
                    <a:pt x="271966" y="620082"/>
                    <a:pt x="269246" y="622801"/>
                    <a:pt x="266527" y="628241"/>
                  </a:cubicBezTo>
                  <a:cubicBezTo>
                    <a:pt x="261087" y="633680"/>
                    <a:pt x="255648" y="636400"/>
                    <a:pt x="250209" y="636400"/>
                  </a:cubicBezTo>
                  <a:cubicBezTo>
                    <a:pt x="239330" y="639119"/>
                    <a:pt x="233891" y="639119"/>
                    <a:pt x="228451" y="639119"/>
                  </a:cubicBezTo>
                  <a:cubicBezTo>
                    <a:pt x="223012" y="639119"/>
                    <a:pt x="206694" y="639119"/>
                    <a:pt x="187657" y="639119"/>
                  </a:cubicBezTo>
                  <a:cubicBezTo>
                    <a:pt x="176778" y="647278"/>
                    <a:pt x="163180" y="649998"/>
                    <a:pt x="152301" y="652717"/>
                  </a:cubicBezTo>
                  <a:cubicBezTo>
                    <a:pt x="146862" y="652717"/>
                    <a:pt x="138703" y="655437"/>
                    <a:pt x="133263" y="655437"/>
                  </a:cubicBezTo>
                  <a:cubicBezTo>
                    <a:pt x="130544" y="655437"/>
                    <a:pt x="125104" y="655437"/>
                    <a:pt x="122385" y="652717"/>
                  </a:cubicBezTo>
                  <a:cubicBezTo>
                    <a:pt x="114226" y="649998"/>
                    <a:pt x="103347" y="644559"/>
                    <a:pt x="97908" y="639119"/>
                  </a:cubicBezTo>
                  <a:cubicBezTo>
                    <a:pt x="87029" y="639119"/>
                    <a:pt x="78870" y="639119"/>
                    <a:pt x="70711" y="639119"/>
                  </a:cubicBezTo>
                  <a:cubicBezTo>
                    <a:pt x="62552" y="639119"/>
                    <a:pt x="54393" y="639119"/>
                    <a:pt x="46234" y="639119"/>
                  </a:cubicBezTo>
                  <a:cubicBezTo>
                    <a:pt x="38075" y="639119"/>
                    <a:pt x="27197" y="633680"/>
                    <a:pt x="19038" y="630960"/>
                  </a:cubicBezTo>
                  <a:cubicBezTo>
                    <a:pt x="10879" y="628241"/>
                    <a:pt x="2720" y="620082"/>
                    <a:pt x="2720" y="614642"/>
                  </a:cubicBezTo>
                  <a:cubicBezTo>
                    <a:pt x="2720" y="611923"/>
                    <a:pt x="2720" y="609203"/>
                    <a:pt x="8159" y="606483"/>
                  </a:cubicBezTo>
                  <a:cubicBezTo>
                    <a:pt x="13599" y="603764"/>
                    <a:pt x="24477" y="601044"/>
                    <a:pt x="29916" y="598324"/>
                  </a:cubicBezTo>
                  <a:cubicBezTo>
                    <a:pt x="43515" y="595605"/>
                    <a:pt x="62552" y="595605"/>
                    <a:pt x="76151" y="592885"/>
                  </a:cubicBezTo>
                  <a:cubicBezTo>
                    <a:pt x="76151" y="587446"/>
                    <a:pt x="73431" y="582006"/>
                    <a:pt x="73431" y="573848"/>
                  </a:cubicBezTo>
                  <a:cubicBezTo>
                    <a:pt x="73431" y="565689"/>
                    <a:pt x="70711" y="516735"/>
                    <a:pt x="70711" y="500417"/>
                  </a:cubicBezTo>
                  <a:cubicBezTo>
                    <a:pt x="70711" y="481379"/>
                    <a:pt x="73431" y="456902"/>
                    <a:pt x="73431" y="437865"/>
                  </a:cubicBezTo>
                  <a:cubicBezTo>
                    <a:pt x="73431" y="416108"/>
                    <a:pt x="70711" y="391631"/>
                    <a:pt x="70711" y="369873"/>
                  </a:cubicBezTo>
                  <a:cubicBezTo>
                    <a:pt x="70711" y="345397"/>
                    <a:pt x="70711" y="318200"/>
                    <a:pt x="70711" y="293723"/>
                  </a:cubicBezTo>
                  <a:cubicBezTo>
                    <a:pt x="70711" y="266526"/>
                    <a:pt x="73431" y="239330"/>
                    <a:pt x="73431" y="212133"/>
                  </a:cubicBezTo>
                  <a:cubicBezTo>
                    <a:pt x="73431" y="187656"/>
                    <a:pt x="76151" y="179498"/>
                    <a:pt x="76151" y="155021"/>
                  </a:cubicBezTo>
                  <a:cubicBezTo>
                    <a:pt x="76151" y="144142"/>
                    <a:pt x="76151" y="130544"/>
                    <a:pt x="76151" y="119665"/>
                  </a:cubicBezTo>
                  <a:cubicBezTo>
                    <a:pt x="76151" y="106067"/>
                    <a:pt x="78870" y="95188"/>
                    <a:pt x="78870" y="84310"/>
                  </a:cubicBezTo>
                  <a:cubicBezTo>
                    <a:pt x="78870" y="78870"/>
                    <a:pt x="78870" y="70711"/>
                    <a:pt x="76151" y="62552"/>
                  </a:cubicBezTo>
                  <a:cubicBezTo>
                    <a:pt x="76151" y="62552"/>
                    <a:pt x="73431" y="62552"/>
                    <a:pt x="67992" y="62552"/>
                  </a:cubicBezTo>
                  <a:cubicBezTo>
                    <a:pt x="59833" y="62552"/>
                    <a:pt x="51674" y="62552"/>
                    <a:pt x="43515" y="62552"/>
                  </a:cubicBezTo>
                  <a:cubicBezTo>
                    <a:pt x="35356" y="62552"/>
                    <a:pt x="24477" y="59833"/>
                    <a:pt x="16318" y="57113"/>
                  </a:cubicBezTo>
                  <a:cubicBezTo>
                    <a:pt x="8159" y="54393"/>
                    <a:pt x="0" y="43515"/>
                    <a:pt x="0" y="40795"/>
                  </a:cubicBezTo>
                  <a:cubicBezTo>
                    <a:pt x="0" y="38075"/>
                    <a:pt x="0" y="35356"/>
                    <a:pt x="5439" y="32636"/>
                  </a:cubicBezTo>
                  <a:cubicBezTo>
                    <a:pt x="10879" y="29917"/>
                    <a:pt x="21758" y="27197"/>
                    <a:pt x="27197" y="24477"/>
                  </a:cubicBezTo>
                  <a:cubicBezTo>
                    <a:pt x="46234" y="21758"/>
                    <a:pt x="62552" y="19038"/>
                    <a:pt x="76151" y="19038"/>
                  </a:cubicBezTo>
                  <a:cubicBezTo>
                    <a:pt x="76151" y="16318"/>
                    <a:pt x="78870" y="16318"/>
                    <a:pt x="78870" y="13598"/>
                  </a:cubicBezTo>
                  <a:cubicBezTo>
                    <a:pt x="84309" y="10879"/>
                    <a:pt x="89749" y="8159"/>
                    <a:pt x="95188" y="5440"/>
                  </a:cubicBezTo>
                  <a:cubicBezTo>
                    <a:pt x="100628" y="2720"/>
                    <a:pt x="106067" y="0"/>
                    <a:pt x="111506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6" name="Freeform: Shape 45">
              <a:extLst>
                <a:ext uri="{FF2B5EF4-FFF2-40B4-BE49-F238E27FC236}">
                  <a16:creationId xmlns:a16="http://schemas.microsoft.com/office/drawing/2014/main" id="{F01B5A5D-AC20-4D4A-B5F5-61EADCE4E37B}"/>
                </a:ext>
              </a:extLst>
            </p:cNvPr>
            <p:cNvSpPr/>
            <p:nvPr/>
          </p:nvSpPr>
          <p:spPr>
            <a:xfrm>
              <a:off x="8346812" y="4186718"/>
              <a:ext cx="353556" cy="761503"/>
            </a:xfrm>
            <a:custGeom>
              <a:avLst/>
              <a:gdLst>
                <a:gd name="connsiteX0" fmla="*/ 283910 w 353555"/>
                <a:gd name="connsiteY0" fmla="*/ 672820 h 761503"/>
                <a:gd name="connsiteX1" fmla="*/ 321985 w 353555"/>
                <a:gd name="connsiteY1" fmla="*/ 689138 h 761503"/>
                <a:gd name="connsiteX2" fmla="*/ 316546 w 353555"/>
                <a:gd name="connsiteY2" fmla="*/ 705456 h 761503"/>
                <a:gd name="connsiteX3" fmla="*/ 300228 w 353555"/>
                <a:gd name="connsiteY3" fmla="*/ 713615 h 761503"/>
                <a:gd name="connsiteX4" fmla="*/ 278471 w 353555"/>
                <a:gd name="connsiteY4" fmla="*/ 716335 h 761503"/>
                <a:gd name="connsiteX5" fmla="*/ 237676 w 353555"/>
                <a:gd name="connsiteY5" fmla="*/ 716335 h 761503"/>
                <a:gd name="connsiteX6" fmla="*/ 180563 w 353555"/>
                <a:gd name="connsiteY6" fmla="*/ 719054 h 761503"/>
                <a:gd name="connsiteX7" fmla="*/ 126170 w 353555"/>
                <a:gd name="connsiteY7" fmla="*/ 719054 h 761503"/>
                <a:gd name="connsiteX8" fmla="*/ 101693 w 353555"/>
                <a:gd name="connsiteY8" fmla="*/ 719054 h 761503"/>
                <a:gd name="connsiteX9" fmla="*/ 74496 w 353555"/>
                <a:gd name="connsiteY9" fmla="*/ 713615 h 761503"/>
                <a:gd name="connsiteX10" fmla="*/ 58178 w 353555"/>
                <a:gd name="connsiteY10" fmla="*/ 697297 h 761503"/>
                <a:gd name="connsiteX11" fmla="*/ 63618 w 353555"/>
                <a:gd name="connsiteY11" fmla="*/ 689138 h 761503"/>
                <a:gd name="connsiteX12" fmla="*/ 85375 w 353555"/>
                <a:gd name="connsiteY12" fmla="*/ 680979 h 761503"/>
                <a:gd name="connsiteX13" fmla="*/ 131609 w 353555"/>
                <a:gd name="connsiteY13" fmla="*/ 675540 h 761503"/>
                <a:gd name="connsiteX14" fmla="*/ 142488 w 353555"/>
                <a:gd name="connsiteY14" fmla="*/ 675540 h 761503"/>
                <a:gd name="connsiteX15" fmla="*/ 131609 w 353555"/>
                <a:gd name="connsiteY15" fmla="*/ 653783 h 761503"/>
                <a:gd name="connsiteX16" fmla="*/ 128890 w 353555"/>
                <a:gd name="connsiteY16" fmla="*/ 640184 h 761503"/>
                <a:gd name="connsiteX17" fmla="*/ 128890 w 353555"/>
                <a:gd name="connsiteY17" fmla="*/ 629306 h 761503"/>
                <a:gd name="connsiteX18" fmla="*/ 128890 w 353555"/>
                <a:gd name="connsiteY18" fmla="*/ 621147 h 761503"/>
                <a:gd name="connsiteX19" fmla="*/ 128890 w 353555"/>
                <a:gd name="connsiteY19" fmla="*/ 593950 h 761503"/>
                <a:gd name="connsiteX20" fmla="*/ 128890 w 353555"/>
                <a:gd name="connsiteY20" fmla="*/ 583072 h 761503"/>
                <a:gd name="connsiteX21" fmla="*/ 128890 w 353555"/>
                <a:gd name="connsiteY21" fmla="*/ 436210 h 761503"/>
                <a:gd name="connsiteX22" fmla="*/ 128890 w 353555"/>
                <a:gd name="connsiteY22" fmla="*/ 357340 h 761503"/>
                <a:gd name="connsiteX23" fmla="*/ 131609 w 353555"/>
                <a:gd name="connsiteY23" fmla="*/ 289349 h 761503"/>
                <a:gd name="connsiteX24" fmla="*/ 131609 w 353555"/>
                <a:gd name="connsiteY24" fmla="*/ 251274 h 761503"/>
                <a:gd name="connsiteX25" fmla="*/ 131609 w 353555"/>
                <a:gd name="connsiteY25" fmla="*/ 205040 h 761503"/>
                <a:gd name="connsiteX26" fmla="*/ 131609 w 353555"/>
                <a:gd name="connsiteY26" fmla="*/ 139768 h 761503"/>
                <a:gd name="connsiteX27" fmla="*/ 131609 w 353555"/>
                <a:gd name="connsiteY27" fmla="*/ 128889 h 761503"/>
                <a:gd name="connsiteX28" fmla="*/ 126170 w 353555"/>
                <a:gd name="connsiteY28" fmla="*/ 128889 h 761503"/>
                <a:gd name="connsiteX29" fmla="*/ 101693 w 353555"/>
                <a:gd name="connsiteY29" fmla="*/ 128889 h 761503"/>
                <a:gd name="connsiteX30" fmla="*/ 74496 w 353555"/>
                <a:gd name="connsiteY30" fmla="*/ 123450 h 761503"/>
                <a:gd name="connsiteX31" fmla="*/ 58178 w 353555"/>
                <a:gd name="connsiteY31" fmla="*/ 107132 h 761503"/>
                <a:gd name="connsiteX32" fmla="*/ 60898 w 353555"/>
                <a:gd name="connsiteY32" fmla="*/ 98973 h 761503"/>
                <a:gd name="connsiteX33" fmla="*/ 82655 w 353555"/>
                <a:gd name="connsiteY33" fmla="*/ 93534 h 761503"/>
                <a:gd name="connsiteX34" fmla="*/ 131609 w 353555"/>
                <a:gd name="connsiteY34" fmla="*/ 88094 h 761503"/>
                <a:gd name="connsiteX35" fmla="*/ 131609 w 353555"/>
                <a:gd name="connsiteY35" fmla="*/ 82655 h 761503"/>
                <a:gd name="connsiteX36" fmla="*/ 134329 w 353555"/>
                <a:gd name="connsiteY36" fmla="*/ 71776 h 761503"/>
                <a:gd name="connsiteX37" fmla="*/ 147927 w 353555"/>
                <a:gd name="connsiteY37" fmla="*/ 63617 h 761503"/>
                <a:gd name="connsiteX38" fmla="*/ 164245 w 353555"/>
                <a:gd name="connsiteY38" fmla="*/ 58178 h 761503"/>
                <a:gd name="connsiteX39" fmla="*/ 177843 w 353555"/>
                <a:gd name="connsiteY39" fmla="*/ 58178 h 761503"/>
                <a:gd name="connsiteX40" fmla="*/ 196881 w 353555"/>
                <a:gd name="connsiteY40" fmla="*/ 60898 h 761503"/>
                <a:gd name="connsiteX41" fmla="*/ 232237 w 353555"/>
                <a:gd name="connsiteY41" fmla="*/ 88094 h 761503"/>
                <a:gd name="connsiteX42" fmla="*/ 278471 w 353555"/>
                <a:gd name="connsiteY42" fmla="*/ 88094 h 761503"/>
                <a:gd name="connsiteX43" fmla="*/ 316546 w 353555"/>
                <a:gd name="connsiteY43" fmla="*/ 104412 h 761503"/>
                <a:gd name="connsiteX44" fmla="*/ 311107 w 353555"/>
                <a:gd name="connsiteY44" fmla="*/ 120730 h 761503"/>
                <a:gd name="connsiteX45" fmla="*/ 294789 w 353555"/>
                <a:gd name="connsiteY45" fmla="*/ 128889 h 761503"/>
                <a:gd name="connsiteX46" fmla="*/ 273032 w 353555"/>
                <a:gd name="connsiteY46" fmla="*/ 131609 h 761503"/>
                <a:gd name="connsiteX47" fmla="*/ 243115 w 353555"/>
                <a:gd name="connsiteY47" fmla="*/ 131609 h 761503"/>
                <a:gd name="connsiteX48" fmla="*/ 243115 w 353555"/>
                <a:gd name="connsiteY48" fmla="*/ 134329 h 761503"/>
                <a:gd name="connsiteX49" fmla="*/ 248554 w 353555"/>
                <a:gd name="connsiteY49" fmla="*/ 169684 h 761503"/>
                <a:gd name="connsiteX50" fmla="*/ 251274 w 353555"/>
                <a:gd name="connsiteY50" fmla="*/ 205040 h 761503"/>
                <a:gd name="connsiteX51" fmla="*/ 251274 w 353555"/>
                <a:gd name="connsiteY51" fmla="*/ 240395 h 761503"/>
                <a:gd name="connsiteX52" fmla="*/ 251274 w 353555"/>
                <a:gd name="connsiteY52" fmla="*/ 256713 h 761503"/>
                <a:gd name="connsiteX53" fmla="*/ 253994 w 353555"/>
                <a:gd name="connsiteY53" fmla="*/ 270311 h 761503"/>
                <a:gd name="connsiteX54" fmla="*/ 259433 w 353555"/>
                <a:gd name="connsiteY54" fmla="*/ 343742 h 761503"/>
                <a:gd name="connsiteX55" fmla="*/ 262153 w 353555"/>
                <a:gd name="connsiteY55" fmla="*/ 425332 h 761503"/>
                <a:gd name="connsiteX56" fmla="*/ 264872 w 353555"/>
                <a:gd name="connsiteY56" fmla="*/ 490603 h 761503"/>
                <a:gd name="connsiteX57" fmla="*/ 270312 w 353555"/>
                <a:gd name="connsiteY57" fmla="*/ 564034 h 761503"/>
                <a:gd name="connsiteX58" fmla="*/ 270312 w 353555"/>
                <a:gd name="connsiteY58" fmla="*/ 599390 h 761503"/>
                <a:gd name="connsiteX59" fmla="*/ 270312 w 353555"/>
                <a:gd name="connsiteY59" fmla="*/ 637465 h 761503"/>
                <a:gd name="connsiteX60" fmla="*/ 264872 w 353555"/>
                <a:gd name="connsiteY60" fmla="*/ 670101 h 761503"/>
                <a:gd name="connsiteX61" fmla="*/ 283910 w 353555"/>
                <a:gd name="connsiteY61" fmla="*/ 672820 h 761503"/>
                <a:gd name="connsiteX62" fmla="*/ 283910 w 353555"/>
                <a:gd name="connsiteY62" fmla="*/ 672820 h 761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</a:cxnLst>
              <a:rect l="l" t="t" r="r" b="b"/>
              <a:pathLst>
                <a:path w="353555" h="761503">
                  <a:moveTo>
                    <a:pt x="283910" y="672820"/>
                  </a:moveTo>
                  <a:cubicBezTo>
                    <a:pt x="297508" y="672820"/>
                    <a:pt x="321985" y="672820"/>
                    <a:pt x="321985" y="689138"/>
                  </a:cubicBezTo>
                  <a:cubicBezTo>
                    <a:pt x="321985" y="697297"/>
                    <a:pt x="319266" y="697297"/>
                    <a:pt x="316546" y="705456"/>
                  </a:cubicBezTo>
                  <a:cubicBezTo>
                    <a:pt x="311107" y="710895"/>
                    <a:pt x="305667" y="713615"/>
                    <a:pt x="300228" y="713615"/>
                  </a:cubicBezTo>
                  <a:cubicBezTo>
                    <a:pt x="292069" y="716335"/>
                    <a:pt x="283910" y="716335"/>
                    <a:pt x="278471" y="716335"/>
                  </a:cubicBezTo>
                  <a:cubicBezTo>
                    <a:pt x="275751" y="716335"/>
                    <a:pt x="256713" y="716335"/>
                    <a:pt x="237676" y="716335"/>
                  </a:cubicBezTo>
                  <a:cubicBezTo>
                    <a:pt x="213199" y="716335"/>
                    <a:pt x="186003" y="719054"/>
                    <a:pt x="180563" y="719054"/>
                  </a:cubicBezTo>
                  <a:cubicBezTo>
                    <a:pt x="166965" y="719054"/>
                    <a:pt x="142488" y="719054"/>
                    <a:pt x="126170" y="719054"/>
                  </a:cubicBezTo>
                  <a:cubicBezTo>
                    <a:pt x="118011" y="719054"/>
                    <a:pt x="109852" y="719054"/>
                    <a:pt x="101693" y="719054"/>
                  </a:cubicBezTo>
                  <a:cubicBezTo>
                    <a:pt x="93534" y="719054"/>
                    <a:pt x="82655" y="719054"/>
                    <a:pt x="74496" y="713615"/>
                  </a:cubicBezTo>
                  <a:cubicBezTo>
                    <a:pt x="66337" y="710895"/>
                    <a:pt x="58178" y="702736"/>
                    <a:pt x="58178" y="697297"/>
                  </a:cubicBezTo>
                  <a:cubicBezTo>
                    <a:pt x="58178" y="694578"/>
                    <a:pt x="58178" y="691858"/>
                    <a:pt x="63618" y="689138"/>
                  </a:cubicBezTo>
                  <a:cubicBezTo>
                    <a:pt x="69057" y="686418"/>
                    <a:pt x="79936" y="683699"/>
                    <a:pt x="85375" y="680979"/>
                  </a:cubicBezTo>
                  <a:cubicBezTo>
                    <a:pt x="104413" y="678260"/>
                    <a:pt x="123450" y="675540"/>
                    <a:pt x="131609" y="675540"/>
                  </a:cubicBezTo>
                  <a:cubicBezTo>
                    <a:pt x="134329" y="675540"/>
                    <a:pt x="137049" y="675540"/>
                    <a:pt x="142488" y="675540"/>
                  </a:cubicBezTo>
                  <a:cubicBezTo>
                    <a:pt x="134329" y="670101"/>
                    <a:pt x="131609" y="661942"/>
                    <a:pt x="131609" y="653783"/>
                  </a:cubicBezTo>
                  <a:cubicBezTo>
                    <a:pt x="131609" y="648343"/>
                    <a:pt x="131609" y="642904"/>
                    <a:pt x="128890" y="640184"/>
                  </a:cubicBezTo>
                  <a:cubicBezTo>
                    <a:pt x="128890" y="637465"/>
                    <a:pt x="128890" y="634745"/>
                    <a:pt x="128890" y="629306"/>
                  </a:cubicBezTo>
                  <a:cubicBezTo>
                    <a:pt x="128890" y="626586"/>
                    <a:pt x="128890" y="623867"/>
                    <a:pt x="128890" y="621147"/>
                  </a:cubicBezTo>
                  <a:cubicBezTo>
                    <a:pt x="128890" y="612988"/>
                    <a:pt x="128890" y="604829"/>
                    <a:pt x="128890" y="593950"/>
                  </a:cubicBezTo>
                  <a:cubicBezTo>
                    <a:pt x="128890" y="591231"/>
                    <a:pt x="128890" y="585791"/>
                    <a:pt x="128890" y="583072"/>
                  </a:cubicBezTo>
                  <a:cubicBezTo>
                    <a:pt x="128890" y="534118"/>
                    <a:pt x="131609" y="485164"/>
                    <a:pt x="128890" y="436210"/>
                  </a:cubicBezTo>
                  <a:cubicBezTo>
                    <a:pt x="128890" y="409014"/>
                    <a:pt x="128890" y="384537"/>
                    <a:pt x="128890" y="357340"/>
                  </a:cubicBezTo>
                  <a:cubicBezTo>
                    <a:pt x="128890" y="335583"/>
                    <a:pt x="131609" y="313826"/>
                    <a:pt x="131609" y="289349"/>
                  </a:cubicBezTo>
                  <a:cubicBezTo>
                    <a:pt x="131609" y="275751"/>
                    <a:pt x="131609" y="264872"/>
                    <a:pt x="131609" y="251274"/>
                  </a:cubicBezTo>
                  <a:cubicBezTo>
                    <a:pt x="131609" y="234956"/>
                    <a:pt x="131609" y="221357"/>
                    <a:pt x="131609" y="205040"/>
                  </a:cubicBezTo>
                  <a:cubicBezTo>
                    <a:pt x="131609" y="183282"/>
                    <a:pt x="131609" y="161525"/>
                    <a:pt x="131609" y="139768"/>
                  </a:cubicBezTo>
                  <a:cubicBezTo>
                    <a:pt x="131609" y="137048"/>
                    <a:pt x="131609" y="134329"/>
                    <a:pt x="131609" y="128889"/>
                  </a:cubicBezTo>
                  <a:cubicBezTo>
                    <a:pt x="128890" y="128889"/>
                    <a:pt x="126170" y="128889"/>
                    <a:pt x="126170" y="128889"/>
                  </a:cubicBezTo>
                  <a:cubicBezTo>
                    <a:pt x="118011" y="128889"/>
                    <a:pt x="109852" y="128889"/>
                    <a:pt x="101693" y="128889"/>
                  </a:cubicBezTo>
                  <a:cubicBezTo>
                    <a:pt x="93534" y="128889"/>
                    <a:pt x="82655" y="128889"/>
                    <a:pt x="74496" y="123450"/>
                  </a:cubicBezTo>
                  <a:cubicBezTo>
                    <a:pt x="66337" y="120730"/>
                    <a:pt x="58178" y="112571"/>
                    <a:pt x="58178" y="107132"/>
                  </a:cubicBezTo>
                  <a:cubicBezTo>
                    <a:pt x="58178" y="104412"/>
                    <a:pt x="58178" y="101693"/>
                    <a:pt x="60898" y="98973"/>
                  </a:cubicBezTo>
                  <a:cubicBezTo>
                    <a:pt x="63618" y="96253"/>
                    <a:pt x="77216" y="93534"/>
                    <a:pt x="82655" y="93534"/>
                  </a:cubicBezTo>
                  <a:cubicBezTo>
                    <a:pt x="98973" y="90814"/>
                    <a:pt x="123450" y="88094"/>
                    <a:pt x="131609" y="88094"/>
                  </a:cubicBezTo>
                  <a:cubicBezTo>
                    <a:pt x="131609" y="85375"/>
                    <a:pt x="131609" y="85375"/>
                    <a:pt x="131609" y="82655"/>
                  </a:cubicBezTo>
                  <a:cubicBezTo>
                    <a:pt x="131609" y="77216"/>
                    <a:pt x="131609" y="74496"/>
                    <a:pt x="134329" y="71776"/>
                  </a:cubicBezTo>
                  <a:cubicBezTo>
                    <a:pt x="137049" y="69057"/>
                    <a:pt x="145208" y="66337"/>
                    <a:pt x="147927" y="63617"/>
                  </a:cubicBezTo>
                  <a:cubicBezTo>
                    <a:pt x="153366" y="60898"/>
                    <a:pt x="158806" y="58178"/>
                    <a:pt x="164245" y="58178"/>
                  </a:cubicBezTo>
                  <a:cubicBezTo>
                    <a:pt x="169684" y="58178"/>
                    <a:pt x="175124" y="58178"/>
                    <a:pt x="177843" y="58178"/>
                  </a:cubicBezTo>
                  <a:cubicBezTo>
                    <a:pt x="183283" y="58178"/>
                    <a:pt x="191442" y="58178"/>
                    <a:pt x="196881" y="60898"/>
                  </a:cubicBezTo>
                  <a:cubicBezTo>
                    <a:pt x="213199" y="63617"/>
                    <a:pt x="224078" y="74496"/>
                    <a:pt x="232237" y="88094"/>
                  </a:cubicBezTo>
                  <a:cubicBezTo>
                    <a:pt x="253994" y="88094"/>
                    <a:pt x="270312" y="88094"/>
                    <a:pt x="278471" y="88094"/>
                  </a:cubicBezTo>
                  <a:cubicBezTo>
                    <a:pt x="292069" y="88094"/>
                    <a:pt x="316546" y="88094"/>
                    <a:pt x="316546" y="104412"/>
                  </a:cubicBezTo>
                  <a:cubicBezTo>
                    <a:pt x="316546" y="112571"/>
                    <a:pt x="313826" y="112571"/>
                    <a:pt x="311107" y="120730"/>
                  </a:cubicBezTo>
                  <a:cubicBezTo>
                    <a:pt x="305667" y="126170"/>
                    <a:pt x="300228" y="128889"/>
                    <a:pt x="294789" y="128889"/>
                  </a:cubicBezTo>
                  <a:cubicBezTo>
                    <a:pt x="286630" y="131609"/>
                    <a:pt x="278471" y="131609"/>
                    <a:pt x="273032" y="131609"/>
                  </a:cubicBezTo>
                  <a:cubicBezTo>
                    <a:pt x="270312" y="131609"/>
                    <a:pt x="259433" y="131609"/>
                    <a:pt x="243115" y="131609"/>
                  </a:cubicBezTo>
                  <a:lnTo>
                    <a:pt x="243115" y="134329"/>
                  </a:lnTo>
                  <a:cubicBezTo>
                    <a:pt x="245835" y="145207"/>
                    <a:pt x="245835" y="158805"/>
                    <a:pt x="248554" y="169684"/>
                  </a:cubicBezTo>
                  <a:cubicBezTo>
                    <a:pt x="251274" y="180563"/>
                    <a:pt x="251274" y="194161"/>
                    <a:pt x="251274" y="205040"/>
                  </a:cubicBezTo>
                  <a:cubicBezTo>
                    <a:pt x="251274" y="215918"/>
                    <a:pt x="251274" y="226797"/>
                    <a:pt x="251274" y="240395"/>
                  </a:cubicBezTo>
                  <a:cubicBezTo>
                    <a:pt x="251274" y="245834"/>
                    <a:pt x="251274" y="251274"/>
                    <a:pt x="251274" y="256713"/>
                  </a:cubicBezTo>
                  <a:cubicBezTo>
                    <a:pt x="251274" y="262152"/>
                    <a:pt x="251274" y="267592"/>
                    <a:pt x="253994" y="270311"/>
                  </a:cubicBezTo>
                  <a:cubicBezTo>
                    <a:pt x="256713" y="294788"/>
                    <a:pt x="256713" y="319265"/>
                    <a:pt x="259433" y="343742"/>
                  </a:cubicBezTo>
                  <a:cubicBezTo>
                    <a:pt x="259433" y="370939"/>
                    <a:pt x="262153" y="398135"/>
                    <a:pt x="262153" y="425332"/>
                  </a:cubicBezTo>
                  <a:cubicBezTo>
                    <a:pt x="262153" y="447089"/>
                    <a:pt x="262153" y="468846"/>
                    <a:pt x="264872" y="490603"/>
                  </a:cubicBezTo>
                  <a:cubicBezTo>
                    <a:pt x="264872" y="515080"/>
                    <a:pt x="270312" y="539557"/>
                    <a:pt x="270312" y="564034"/>
                  </a:cubicBezTo>
                  <a:cubicBezTo>
                    <a:pt x="270312" y="574913"/>
                    <a:pt x="270312" y="588511"/>
                    <a:pt x="270312" y="599390"/>
                  </a:cubicBezTo>
                  <a:cubicBezTo>
                    <a:pt x="270312" y="612988"/>
                    <a:pt x="270312" y="623867"/>
                    <a:pt x="270312" y="637465"/>
                  </a:cubicBezTo>
                  <a:cubicBezTo>
                    <a:pt x="270312" y="648343"/>
                    <a:pt x="270312" y="661942"/>
                    <a:pt x="264872" y="670101"/>
                  </a:cubicBezTo>
                  <a:cubicBezTo>
                    <a:pt x="273032" y="672820"/>
                    <a:pt x="278471" y="672820"/>
                    <a:pt x="283910" y="672820"/>
                  </a:cubicBezTo>
                  <a:lnTo>
                    <a:pt x="283910" y="672820"/>
                  </a:ln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7" name="Freeform: Shape 46">
              <a:extLst>
                <a:ext uri="{FF2B5EF4-FFF2-40B4-BE49-F238E27FC236}">
                  <a16:creationId xmlns:a16="http://schemas.microsoft.com/office/drawing/2014/main" id="{EBB7AA59-7E0F-4BB4-B767-0A6C688AD926}"/>
                </a:ext>
              </a:extLst>
            </p:cNvPr>
            <p:cNvSpPr/>
            <p:nvPr/>
          </p:nvSpPr>
          <p:spPr>
            <a:xfrm>
              <a:off x="8652924" y="4192158"/>
              <a:ext cx="516735" cy="788700"/>
            </a:xfrm>
            <a:custGeom>
              <a:avLst/>
              <a:gdLst>
                <a:gd name="connsiteX0" fmla="*/ 464616 w 516735"/>
                <a:gd name="connsiteY0" fmla="*/ 436210 h 788699"/>
                <a:gd name="connsiteX1" fmla="*/ 445578 w 516735"/>
                <a:gd name="connsiteY1" fmla="*/ 455248 h 788699"/>
                <a:gd name="connsiteX2" fmla="*/ 404783 w 516735"/>
                <a:gd name="connsiteY2" fmla="*/ 466126 h 788699"/>
                <a:gd name="connsiteX3" fmla="*/ 385746 w 516735"/>
                <a:gd name="connsiteY3" fmla="*/ 479725 h 788699"/>
                <a:gd name="connsiteX4" fmla="*/ 388466 w 516735"/>
                <a:gd name="connsiteY4" fmla="*/ 512361 h 788699"/>
                <a:gd name="connsiteX5" fmla="*/ 388466 w 516735"/>
                <a:gd name="connsiteY5" fmla="*/ 544997 h 788699"/>
                <a:gd name="connsiteX6" fmla="*/ 388466 w 516735"/>
                <a:gd name="connsiteY6" fmla="*/ 566754 h 788699"/>
                <a:gd name="connsiteX7" fmla="*/ 391185 w 516735"/>
                <a:gd name="connsiteY7" fmla="*/ 632026 h 788699"/>
                <a:gd name="connsiteX8" fmla="*/ 393905 w 516735"/>
                <a:gd name="connsiteY8" fmla="*/ 683699 h 788699"/>
                <a:gd name="connsiteX9" fmla="*/ 377587 w 516735"/>
                <a:gd name="connsiteY9" fmla="*/ 724494 h 788699"/>
                <a:gd name="connsiteX10" fmla="*/ 361269 w 516735"/>
                <a:gd name="connsiteY10" fmla="*/ 719054 h 788699"/>
                <a:gd name="connsiteX11" fmla="*/ 353110 w 516735"/>
                <a:gd name="connsiteY11" fmla="*/ 702737 h 788699"/>
                <a:gd name="connsiteX12" fmla="*/ 350390 w 516735"/>
                <a:gd name="connsiteY12" fmla="*/ 686419 h 788699"/>
                <a:gd name="connsiteX13" fmla="*/ 353110 w 516735"/>
                <a:gd name="connsiteY13" fmla="*/ 659222 h 788699"/>
                <a:gd name="connsiteX14" fmla="*/ 353110 w 516735"/>
                <a:gd name="connsiteY14" fmla="*/ 656502 h 788699"/>
                <a:gd name="connsiteX15" fmla="*/ 317754 w 516735"/>
                <a:gd name="connsiteY15" fmla="*/ 708176 h 788699"/>
                <a:gd name="connsiteX16" fmla="*/ 241604 w 516735"/>
                <a:gd name="connsiteY16" fmla="*/ 735372 h 788699"/>
                <a:gd name="connsiteX17" fmla="*/ 187211 w 516735"/>
                <a:gd name="connsiteY17" fmla="*/ 727214 h 788699"/>
                <a:gd name="connsiteX18" fmla="*/ 135537 w 516735"/>
                <a:gd name="connsiteY18" fmla="*/ 694578 h 788699"/>
                <a:gd name="connsiteX19" fmla="*/ 86583 w 516735"/>
                <a:gd name="connsiteY19" fmla="*/ 621147 h 788699"/>
                <a:gd name="connsiteX20" fmla="*/ 67546 w 516735"/>
                <a:gd name="connsiteY20" fmla="*/ 555875 h 788699"/>
                <a:gd name="connsiteX21" fmla="*/ 59387 w 516735"/>
                <a:gd name="connsiteY21" fmla="*/ 509641 h 788699"/>
                <a:gd name="connsiteX22" fmla="*/ 59387 w 516735"/>
                <a:gd name="connsiteY22" fmla="*/ 468846 h 788699"/>
                <a:gd name="connsiteX23" fmla="*/ 86583 w 516735"/>
                <a:gd name="connsiteY23" fmla="*/ 302947 h 788699"/>
                <a:gd name="connsiteX24" fmla="*/ 108341 w 516735"/>
                <a:gd name="connsiteY24" fmla="*/ 224077 h 788699"/>
                <a:gd name="connsiteX25" fmla="*/ 146416 w 516735"/>
                <a:gd name="connsiteY25" fmla="*/ 145207 h 788699"/>
                <a:gd name="connsiteX26" fmla="*/ 198090 w 516735"/>
                <a:gd name="connsiteY26" fmla="*/ 85375 h 788699"/>
                <a:gd name="connsiteX27" fmla="*/ 228006 w 516735"/>
                <a:gd name="connsiteY27" fmla="*/ 69057 h 788699"/>
                <a:gd name="connsiteX28" fmla="*/ 268801 w 516735"/>
                <a:gd name="connsiteY28" fmla="*/ 58178 h 788699"/>
                <a:gd name="connsiteX29" fmla="*/ 274240 w 516735"/>
                <a:gd name="connsiteY29" fmla="*/ 58178 h 788699"/>
                <a:gd name="connsiteX30" fmla="*/ 295997 w 516735"/>
                <a:gd name="connsiteY30" fmla="*/ 60898 h 788699"/>
                <a:gd name="connsiteX31" fmla="*/ 331353 w 516735"/>
                <a:gd name="connsiteY31" fmla="*/ 71776 h 788699"/>
                <a:gd name="connsiteX32" fmla="*/ 350390 w 516735"/>
                <a:gd name="connsiteY32" fmla="*/ 93534 h 788699"/>
                <a:gd name="connsiteX33" fmla="*/ 353110 w 516735"/>
                <a:gd name="connsiteY33" fmla="*/ 74496 h 788699"/>
                <a:gd name="connsiteX34" fmla="*/ 358549 w 516735"/>
                <a:gd name="connsiteY34" fmla="*/ 63618 h 788699"/>
                <a:gd name="connsiteX35" fmla="*/ 366708 w 516735"/>
                <a:gd name="connsiteY35" fmla="*/ 58178 h 788699"/>
                <a:gd name="connsiteX36" fmla="*/ 374867 w 516735"/>
                <a:gd name="connsiteY36" fmla="*/ 63618 h 788699"/>
                <a:gd name="connsiteX37" fmla="*/ 383027 w 516735"/>
                <a:gd name="connsiteY37" fmla="*/ 82655 h 788699"/>
                <a:gd name="connsiteX38" fmla="*/ 385746 w 516735"/>
                <a:gd name="connsiteY38" fmla="*/ 126170 h 788699"/>
                <a:gd name="connsiteX39" fmla="*/ 388466 w 516735"/>
                <a:gd name="connsiteY39" fmla="*/ 186002 h 788699"/>
                <a:gd name="connsiteX40" fmla="*/ 391185 w 516735"/>
                <a:gd name="connsiteY40" fmla="*/ 237676 h 788699"/>
                <a:gd name="connsiteX41" fmla="*/ 374867 w 516735"/>
                <a:gd name="connsiteY41" fmla="*/ 278470 h 788699"/>
                <a:gd name="connsiteX42" fmla="*/ 358549 w 516735"/>
                <a:gd name="connsiteY42" fmla="*/ 273031 h 788699"/>
                <a:gd name="connsiteX43" fmla="*/ 350390 w 516735"/>
                <a:gd name="connsiteY43" fmla="*/ 256713 h 788699"/>
                <a:gd name="connsiteX44" fmla="*/ 347671 w 516735"/>
                <a:gd name="connsiteY44" fmla="*/ 240395 h 788699"/>
                <a:gd name="connsiteX45" fmla="*/ 347671 w 516735"/>
                <a:gd name="connsiteY45" fmla="*/ 213199 h 788699"/>
                <a:gd name="connsiteX46" fmla="*/ 344951 w 516735"/>
                <a:gd name="connsiteY46" fmla="*/ 194161 h 788699"/>
                <a:gd name="connsiteX47" fmla="*/ 339512 w 516735"/>
                <a:gd name="connsiteY47" fmla="*/ 150647 h 788699"/>
                <a:gd name="connsiteX48" fmla="*/ 323194 w 516735"/>
                <a:gd name="connsiteY48" fmla="*/ 112571 h 788699"/>
                <a:gd name="connsiteX49" fmla="*/ 293278 w 516735"/>
                <a:gd name="connsiteY49" fmla="*/ 101693 h 788699"/>
                <a:gd name="connsiteX50" fmla="*/ 263361 w 516735"/>
                <a:gd name="connsiteY50" fmla="*/ 120730 h 788699"/>
                <a:gd name="connsiteX51" fmla="*/ 241604 w 516735"/>
                <a:gd name="connsiteY51" fmla="*/ 153366 h 788699"/>
                <a:gd name="connsiteX52" fmla="*/ 233445 w 516735"/>
                <a:gd name="connsiteY52" fmla="*/ 194161 h 788699"/>
                <a:gd name="connsiteX53" fmla="*/ 225286 w 516735"/>
                <a:gd name="connsiteY53" fmla="*/ 232236 h 788699"/>
                <a:gd name="connsiteX54" fmla="*/ 217127 w 516735"/>
                <a:gd name="connsiteY54" fmla="*/ 275751 h 788699"/>
                <a:gd name="connsiteX55" fmla="*/ 211688 w 516735"/>
                <a:gd name="connsiteY55" fmla="*/ 316545 h 788699"/>
                <a:gd name="connsiteX56" fmla="*/ 206249 w 516735"/>
                <a:gd name="connsiteY56" fmla="*/ 354621 h 788699"/>
                <a:gd name="connsiteX57" fmla="*/ 200809 w 516735"/>
                <a:gd name="connsiteY57" fmla="*/ 398135 h 788699"/>
                <a:gd name="connsiteX58" fmla="*/ 195370 w 516735"/>
                <a:gd name="connsiteY58" fmla="*/ 438930 h 788699"/>
                <a:gd name="connsiteX59" fmla="*/ 192650 w 516735"/>
                <a:gd name="connsiteY59" fmla="*/ 474286 h 788699"/>
                <a:gd name="connsiteX60" fmla="*/ 195370 w 516735"/>
                <a:gd name="connsiteY60" fmla="*/ 525959 h 788699"/>
                <a:gd name="connsiteX61" fmla="*/ 208968 w 516735"/>
                <a:gd name="connsiteY61" fmla="*/ 596670 h 788699"/>
                <a:gd name="connsiteX62" fmla="*/ 214407 w 516735"/>
                <a:gd name="connsiteY62" fmla="*/ 623867 h 788699"/>
                <a:gd name="connsiteX63" fmla="*/ 228006 w 516735"/>
                <a:gd name="connsiteY63" fmla="*/ 656502 h 788699"/>
                <a:gd name="connsiteX64" fmla="*/ 271520 w 516735"/>
                <a:gd name="connsiteY64" fmla="*/ 689138 h 788699"/>
                <a:gd name="connsiteX65" fmla="*/ 306876 w 516735"/>
                <a:gd name="connsiteY65" fmla="*/ 664661 h 788699"/>
                <a:gd name="connsiteX66" fmla="*/ 331353 w 516735"/>
                <a:gd name="connsiteY66" fmla="*/ 602109 h 788699"/>
                <a:gd name="connsiteX67" fmla="*/ 336792 w 516735"/>
                <a:gd name="connsiteY67" fmla="*/ 544997 h 788699"/>
                <a:gd name="connsiteX68" fmla="*/ 336792 w 516735"/>
                <a:gd name="connsiteY68" fmla="*/ 498762 h 788699"/>
                <a:gd name="connsiteX69" fmla="*/ 336792 w 516735"/>
                <a:gd name="connsiteY69" fmla="*/ 490603 h 788699"/>
                <a:gd name="connsiteX70" fmla="*/ 320474 w 516735"/>
                <a:gd name="connsiteY70" fmla="*/ 477005 h 788699"/>
                <a:gd name="connsiteX71" fmla="*/ 282399 w 516735"/>
                <a:gd name="connsiteY71" fmla="*/ 479725 h 788699"/>
                <a:gd name="connsiteX72" fmla="*/ 252483 w 516735"/>
                <a:gd name="connsiteY72" fmla="*/ 474286 h 788699"/>
                <a:gd name="connsiteX73" fmla="*/ 247044 w 516735"/>
                <a:gd name="connsiteY73" fmla="*/ 466126 h 788699"/>
                <a:gd name="connsiteX74" fmla="*/ 249763 w 516735"/>
                <a:gd name="connsiteY74" fmla="*/ 457968 h 788699"/>
                <a:gd name="connsiteX75" fmla="*/ 268801 w 516735"/>
                <a:gd name="connsiteY75" fmla="*/ 447089 h 788699"/>
                <a:gd name="connsiteX76" fmla="*/ 312315 w 516735"/>
                <a:gd name="connsiteY76" fmla="*/ 436210 h 788699"/>
                <a:gd name="connsiteX77" fmla="*/ 353110 w 516735"/>
                <a:gd name="connsiteY77" fmla="*/ 430771 h 788699"/>
                <a:gd name="connsiteX78" fmla="*/ 385746 w 516735"/>
                <a:gd name="connsiteY78" fmla="*/ 430771 h 788699"/>
                <a:gd name="connsiteX79" fmla="*/ 437420 w 516735"/>
                <a:gd name="connsiteY79" fmla="*/ 428051 h 788699"/>
                <a:gd name="connsiteX80" fmla="*/ 464616 w 516735"/>
                <a:gd name="connsiteY80" fmla="*/ 436210 h 7886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</a:cxnLst>
              <a:rect l="l" t="t" r="r" b="b"/>
              <a:pathLst>
                <a:path w="516735" h="788699">
                  <a:moveTo>
                    <a:pt x="464616" y="436210"/>
                  </a:moveTo>
                  <a:cubicBezTo>
                    <a:pt x="464616" y="447089"/>
                    <a:pt x="453738" y="452528"/>
                    <a:pt x="445578" y="455248"/>
                  </a:cubicBezTo>
                  <a:cubicBezTo>
                    <a:pt x="434700" y="460687"/>
                    <a:pt x="415662" y="463407"/>
                    <a:pt x="404783" y="466126"/>
                  </a:cubicBezTo>
                  <a:cubicBezTo>
                    <a:pt x="393905" y="466126"/>
                    <a:pt x="385746" y="468846"/>
                    <a:pt x="385746" y="479725"/>
                  </a:cubicBezTo>
                  <a:cubicBezTo>
                    <a:pt x="385746" y="487884"/>
                    <a:pt x="388466" y="506921"/>
                    <a:pt x="388466" y="512361"/>
                  </a:cubicBezTo>
                  <a:cubicBezTo>
                    <a:pt x="388466" y="515080"/>
                    <a:pt x="388466" y="539557"/>
                    <a:pt x="388466" y="544997"/>
                  </a:cubicBezTo>
                  <a:cubicBezTo>
                    <a:pt x="388466" y="550436"/>
                    <a:pt x="388466" y="558595"/>
                    <a:pt x="388466" y="566754"/>
                  </a:cubicBezTo>
                  <a:cubicBezTo>
                    <a:pt x="388466" y="591231"/>
                    <a:pt x="388466" y="621147"/>
                    <a:pt x="391185" y="632026"/>
                  </a:cubicBezTo>
                  <a:cubicBezTo>
                    <a:pt x="393905" y="653783"/>
                    <a:pt x="393905" y="661942"/>
                    <a:pt x="393905" y="683699"/>
                  </a:cubicBezTo>
                  <a:cubicBezTo>
                    <a:pt x="393905" y="694578"/>
                    <a:pt x="393905" y="724494"/>
                    <a:pt x="377587" y="724494"/>
                  </a:cubicBezTo>
                  <a:cubicBezTo>
                    <a:pt x="369428" y="724494"/>
                    <a:pt x="366708" y="721774"/>
                    <a:pt x="361269" y="719054"/>
                  </a:cubicBezTo>
                  <a:cubicBezTo>
                    <a:pt x="355830" y="716335"/>
                    <a:pt x="353110" y="708176"/>
                    <a:pt x="353110" y="702737"/>
                  </a:cubicBezTo>
                  <a:cubicBezTo>
                    <a:pt x="350390" y="694578"/>
                    <a:pt x="350390" y="689138"/>
                    <a:pt x="350390" y="686419"/>
                  </a:cubicBezTo>
                  <a:cubicBezTo>
                    <a:pt x="350390" y="678260"/>
                    <a:pt x="353110" y="672820"/>
                    <a:pt x="353110" y="659222"/>
                  </a:cubicBezTo>
                  <a:lnTo>
                    <a:pt x="353110" y="656502"/>
                  </a:lnTo>
                  <a:cubicBezTo>
                    <a:pt x="347671" y="675540"/>
                    <a:pt x="334073" y="694578"/>
                    <a:pt x="317754" y="708176"/>
                  </a:cubicBezTo>
                  <a:cubicBezTo>
                    <a:pt x="293278" y="727214"/>
                    <a:pt x="274240" y="735372"/>
                    <a:pt x="241604" y="735372"/>
                  </a:cubicBezTo>
                  <a:cubicBezTo>
                    <a:pt x="222566" y="735372"/>
                    <a:pt x="203529" y="732653"/>
                    <a:pt x="187211" y="727214"/>
                  </a:cubicBezTo>
                  <a:cubicBezTo>
                    <a:pt x="165454" y="719054"/>
                    <a:pt x="149136" y="708176"/>
                    <a:pt x="135537" y="694578"/>
                  </a:cubicBezTo>
                  <a:cubicBezTo>
                    <a:pt x="113780" y="672820"/>
                    <a:pt x="100182" y="648343"/>
                    <a:pt x="86583" y="621147"/>
                  </a:cubicBezTo>
                  <a:cubicBezTo>
                    <a:pt x="75705" y="599390"/>
                    <a:pt x="70266" y="580352"/>
                    <a:pt x="67546" y="555875"/>
                  </a:cubicBezTo>
                  <a:cubicBezTo>
                    <a:pt x="64826" y="539557"/>
                    <a:pt x="62107" y="525959"/>
                    <a:pt x="59387" y="509641"/>
                  </a:cubicBezTo>
                  <a:cubicBezTo>
                    <a:pt x="56667" y="493323"/>
                    <a:pt x="59387" y="485164"/>
                    <a:pt x="59387" y="468846"/>
                  </a:cubicBezTo>
                  <a:cubicBezTo>
                    <a:pt x="59387" y="414453"/>
                    <a:pt x="72985" y="362780"/>
                    <a:pt x="86583" y="302947"/>
                  </a:cubicBezTo>
                  <a:cubicBezTo>
                    <a:pt x="92023" y="275751"/>
                    <a:pt x="100182" y="248554"/>
                    <a:pt x="108341" y="224077"/>
                  </a:cubicBezTo>
                  <a:cubicBezTo>
                    <a:pt x="116500" y="196881"/>
                    <a:pt x="130098" y="169684"/>
                    <a:pt x="146416" y="145207"/>
                  </a:cubicBezTo>
                  <a:cubicBezTo>
                    <a:pt x="160014" y="123450"/>
                    <a:pt x="176332" y="101693"/>
                    <a:pt x="198090" y="85375"/>
                  </a:cubicBezTo>
                  <a:cubicBezTo>
                    <a:pt x="206249" y="77216"/>
                    <a:pt x="217127" y="71776"/>
                    <a:pt x="228006" y="69057"/>
                  </a:cubicBezTo>
                  <a:cubicBezTo>
                    <a:pt x="241604" y="63618"/>
                    <a:pt x="255202" y="58178"/>
                    <a:pt x="268801" y="58178"/>
                  </a:cubicBezTo>
                  <a:cubicBezTo>
                    <a:pt x="271520" y="58178"/>
                    <a:pt x="274240" y="58178"/>
                    <a:pt x="274240" y="58178"/>
                  </a:cubicBezTo>
                  <a:cubicBezTo>
                    <a:pt x="279679" y="58178"/>
                    <a:pt x="285119" y="58178"/>
                    <a:pt x="295997" y="60898"/>
                  </a:cubicBezTo>
                  <a:cubicBezTo>
                    <a:pt x="309595" y="63618"/>
                    <a:pt x="320474" y="66337"/>
                    <a:pt x="331353" y="71776"/>
                  </a:cubicBezTo>
                  <a:cubicBezTo>
                    <a:pt x="339512" y="77216"/>
                    <a:pt x="347671" y="85375"/>
                    <a:pt x="350390" y="93534"/>
                  </a:cubicBezTo>
                  <a:cubicBezTo>
                    <a:pt x="350390" y="88095"/>
                    <a:pt x="353110" y="79936"/>
                    <a:pt x="353110" y="74496"/>
                  </a:cubicBezTo>
                  <a:cubicBezTo>
                    <a:pt x="355830" y="71776"/>
                    <a:pt x="355830" y="69057"/>
                    <a:pt x="358549" y="63618"/>
                  </a:cubicBezTo>
                  <a:cubicBezTo>
                    <a:pt x="361269" y="60898"/>
                    <a:pt x="363989" y="58178"/>
                    <a:pt x="366708" y="58178"/>
                  </a:cubicBezTo>
                  <a:cubicBezTo>
                    <a:pt x="369428" y="58178"/>
                    <a:pt x="372148" y="60898"/>
                    <a:pt x="374867" y="63618"/>
                  </a:cubicBezTo>
                  <a:cubicBezTo>
                    <a:pt x="377587" y="69057"/>
                    <a:pt x="380307" y="77216"/>
                    <a:pt x="383027" y="82655"/>
                  </a:cubicBezTo>
                  <a:cubicBezTo>
                    <a:pt x="383027" y="90814"/>
                    <a:pt x="385746" y="107132"/>
                    <a:pt x="385746" y="126170"/>
                  </a:cubicBezTo>
                  <a:cubicBezTo>
                    <a:pt x="385746" y="150647"/>
                    <a:pt x="385746" y="177843"/>
                    <a:pt x="388466" y="186002"/>
                  </a:cubicBezTo>
                  <a:cubicBezTo>
                    <a:pt x="391185" y="207759"/>
                    <a:pt x="391185" y="215918"/>
                    <a:pt x="391185" y="237676"/>
                  </a:cubicBezTo>
                  <a:cubicBezTo>
                    <a:pt x="391185" y="248554"/>
                    <a:pt x="391185" y="278470"/>
                    <a:pt x="374867" y="278470"/>
                  </a:cubicBezTo>
                  <a:cubicBezTo>
                    <a:pt x="366708" y="278470"/>
                    <a:pt x="363989" y="275751"/>
                    <a:pt x="358549" y="273031"/>
                  </a:cubicBezTo>
                  <a:cubicBezTo>
                    <a:pt x="353110" y="270311"/>
                    <a:pt x="350390" y="262152"/>
                    <a:pt x="350390" y="256713"/>
                  </a:cubicBezTo>
                  <a:cubicBezTo>
                    <a:pt x="350390" y="251274"/>
                    <a:pt x="347671" y="245834"/>
                    <a:pt x="347671" y="240395"/>
                  </a:cubicBezTo>
                  <a:cubicBezTo>
                    <a:pt x="347671" y="232236"/>
                    <a:pt x="347671" y="224077"/>
                    <a:pt x="347671" y="213199"/>
                  </a:cubicBezTo>
                  <a:cubicBezTo>
                    <a:pt x="347671" y="207759"/>
                    <a:pt x="347671" y="199600"/>
                    <a:pt x="344951" y="194161"/>
                  </a:cubicBezTo>
                  <a:cubicBezTo>
                    <a:pt x="342232" y="180563"/>
                    <a:pt x="342232" y="164245"/>
                    <a:pt x="339512" y="150647"/>
                  </a:cubicBezTo>
                  <a:cubicBezTo>
                    <a:pt x="336792" y="137048"/>
                    <a:pt x="331353" y="123450"/>
                    <a:pt x="323194" y="112571"/>
                  </a:cubicBezTo>
                  <a:cubicBezTo>
                    <a:pt x="317754" y="104412"/>
                    <a:pt x="304156" y="101693"/>
                    <a:pt x="293278" y="101693"/>
                  </a:cubicBezTo>
                  <a:cubicBezTo>
                    <a:pt x="279679" y="101693"/>
                    <a:pt x="271520" y="109852"/>
                    <a:pt x="263361" y="120730"/>
                  </a:cubicBezTo>
                  <a:cubicBezTo>
                    <a:pt x="257922" y="131609"/>
                    <a:pt x="247044" y="139768"/>
                    <a:pt x="241604" y="153366"/>
                  </a:cubicBezTo>
                  <a:cubicBezTo>
                    <a:pt x="236165" y="166964"/>
                    <a:pt x="233445" y="180563"/>
                    <a:pt x="233445" y="194161"/>
                  </a:cubicBezTo>
                  <a:cubicBezTo>
                    <a:pt x="233445" y="207759"/>
                    <a:pt x="230725" y="218638"/>
                    <a:pt x="225286" y="232236"/>
                  </a:cubicBezTo>
                  <a:cubicBezTo>
                    <a:pt x="219847" y="245834"/>
                    <a:pt x="219847" y="262152"/>
                    <a:pt x="217127" y="275751"/>
                  </a:cubicBezTo>
                  <a:cubicBezTo>
                    <a:pt x="214407" y="289349"/>
                    <a:pt x="214407" y="302947"/>
                    <a:pt x="211688" y="316545"/>
                  </a:cubicBezTo>
                  <a:cubicBezTo>
                    <a:pt x="211688" y="330144"/>
                    <a:pt x="206249" y="341022"/>
                    <a:pt x="206249" y="354621"/>
                  </a:cubicBezTo>
                  <a:cubicBezTo>
                    <a:pt x="203529" y="368219"/>
                    <a:pt x="203529" y="381817"/>
                    <a:pt x="200809" y="398135"/>
                  </a:cubicBezTo>
                  <a:cubicBezTo>
                    <a:pt x="198090" y="411733"/>
                    <a:pt x="198090" y="425332"/>
                    <a:pt x="195370" y="438930"/>
                  </a:cubicBezTo>
                  <a:cubicBezTo>
                    <a:pt x="195370" y="449809"/>
                    <a:pt x="192650" y="463407"/>
                    <a:pt x="192650" y="474286"/>
                  </a:cubicBezTo>
                  <a:cubicBezTo>
                    <a:pt x="192650" y="490603"/>
                    <a:pt x="195370" y="509641"/>
                    <a:pt x="195370" y="525959"/>
                  </a:cubicBezTo>
                  <a:cubicBezTo>
                    <a:pt x="195370" y="550436"/>
                    <a:pt x="203529" y="572193"/>
                    <a:pt x="208968" y="596670"/>
                  </a:cubicBezTo>
                  <a:cubicBezTo>
                    <a:pt x="211688" y="604829"/>
                    <a:pt x="211688" y="615708"/>
                    <a:pt x="214407" y="623867"/>
                  </a:cubicBezTo>
                  <a:cubicBezTo>
                    <a:pt x="217127" y="634745"/>
                    <a:pt x="222566" y="645624"/>
                    <a:pt x="228006" y="656502"/>
                  </a:cubicBezTo>
                  <a:cubicBezTo>
                    <a:pt x="236165" y="670101"/>
                    <a:pt x="252483" y="689138"/>
                    <a:pt x="271520" y="689138"/>
                  </a:cubicBezTo>
                  <a:cubicBezTo>
                    <a:pt x="287838" y="689138"/>
                    <a:pt x="298717" y="675540"/>
                    <a:pt x="306876" y="664661"/>
                  </a:cubicBezTo>
                  <a:cubicBezTo>
                    <a:pt x="320474" y="645624"/>
                    <a:pt x="325914" y="623867"/>
                    <a:pt x="331353" y="602109"/>
                  </a:cubicBezTo>
                  <a:cubicBezTo>
                    <a:pt x="334073" y="583072"/>
                    <a:pt x="336792" y="564034"/>
                    <a:pt x="336792" y="544997"/>
                  </a:cubicBezTo>
                  <a:cubicBezTo>
                    <a:pt x="336792" y="531398"/>
                    <a:pt x="336792" y="512361"/>
                    <a:pt x="336792" y="498762"/>
                  </a:cubicBezTo>
                  <a:cubicBezTo>
                    <a:pt x="336792" y="496043"/>
                    <a:pt x="336792" y="493323"/>
                    <a:pt x="336792" y="490603"/>
                  </a:cubicBezTo>
                  <a:cubicBezTo>
                    <a:pt x="336792" y="479725"/>
                    <a:pt x="336792" y="477005"/>
                    <a:pt x="320474" y="477005"/>
                  </a:cubicBezTo>
                  <a:cubicBezTo>
                    <a:pt x="309595" y="477005"/>
                    <a:pt x="295997" y="479725"/>
                    <a:pt x="282399" y="479725"/>
                  </a:cubicBezTo>
                  <a:cubicBezTo>
                    <a:pt x="271520" y="479725"/>
                    <a:pt x="260642" y="479725"/>
                    <a:pt x="252483" y="474286"/>
                  </a:cubicBezTo>
                  <a:cubicBezTo>
                    <a:pt x="249763" y="471566"/>
                    <a:pt x="247044" y="468846"/>
                    <a:pt x="247044" y="466126"/>
                  </a:cubicBezTo>
                  <a:cubicBezTo>
                    <a:pt x="247044" y="463407"/>
                    <a:pt x="247044" y="460687"/>
                    <a:pt x="249763" y="457968"/>
                  </a:cubicBezTo>
                  <a:cubicBezTo>
                    <a:pt x="255202" y="452528"/>
                    <a:pt x="260642" y="449809"/>
                    <a:pt x="268801" y="447089"/>
                  </a:cubicBezTo>
                  <a:cubicBezTo>
                    <a:pt x="282399" y="441650"/>
                    <a:pt x="295997" y="438930"/>
                    <a:pt x="312315" y="436210"/>
                  </a:cubicBezTo>
                  <a:cubicBezTo>
                    <a:pt x="325914" y="433491"/>
                    <a:pt x="339512" y="433491"/>
                    <a:pt x="353110" y="430771"/>
                  </a:cubicBezTo>
                  <a:cubicBezTo>
                    <a:pt x="363989" y="430771"/>
                    <a:pt x="374867" y="430771"/>
                    <a:pt x="385746" y="430771"/>
                  </a:cubicBezTo>
                  <a:cubicBezTo>
                    <a:pt x="402064" y="430771"/>
                    <a:pt x="426541" y="428051"/>
                    <a:pt x="437420" y="428051"/>
                  </a:cubicBezTo>
                  <a:cubicBezTo>
                    <a:pt x="451018" y="422612"/>
                    <a:pt x="464616" y="425332"/>
                    <a:pt x="464616" y="436210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8" name="Freeform: Shape 47">
              <a:extLst>
                <a:ext uri="{FF2B5EF4-FFF2-40B4-BE49-F238E27FC236}">
                  <a16:creationId xmlns:a16="http://schemas.microsoft.com/office/drawing/2014/main" id="{F208AE6F-C8BE-4B86-B1BE-7988067A1FC0}"/>
                </a:ext>
              </a:extLst>
            </p:cNvPr>
            <p:cNvSpPr/>
            <p:nvPr/>
          </p:nvSpPr>
          <p:spPr>
            <a:xfrm>
              <a:off x="9053923" y="4178559"/>
              <a:ext cx="625521" cy="788700"/>
            </a:xfrm>
            <a:custGeom>
              <a:avLst/>
              <a:gdLst>
                <a:gd name="connsiteX0" fmla="*/ 536838 w 625521"/>
                <a:gd name="connsiteY0" fmla="*/ 680979 h 788699"/>
                <a:gd name="connsiteX1" fmla="*/ 574913 w 625521"/>
                <a:gd name="connsiteY1" fmla="*/ 697297 h 788699"/>
                <a:gd name="connsiteX2" fmla="*/ 566755 w 625521"/>
                <a:gd name="connsiteY2" fmla="*/ 713615 h 788699"/>
                <a:gd name="connsiteX3" fmla="*/ 550437 w 625521"/>
                <a:gd name="connsiteY3" fmla="*/ 721774 h 788699"/>
                <a:gd name="connsiteX4" fmla="*/ 528680 w 625521"/>
                <a:gd name="connsiteY4" fmla="*/ 724494 h 788699"/>
                <a:gd name="connsiteX5" fmla="*/ 417174 w 625521"/>
                <a:gd name="connsiteY5" fmla="*/ 724494 h 788699"/>
                <a:gd name="connsiteX6" fmla="*/ 398136 w 625521"/>
                <a:gd name="connsiteY6" fmla="*/ 724494 h 788699"/>
                <a:gd name="connsiteX7" fmla="*/ 373659 w 625521"/>
                <a:gd name="connsiteY7" fmla="*/ 724494 h 788699"/>
                <a:gd name="connsiteX8" fmla="*/ 346462 w 625521"/>
                <a:gd name="connsiteY8" fmla="*/ 719054 h 788699"/>
                <a:gd name="connsiteX9" fmla="*/ 330144 w 625521"/>
                <a:gd name="connsiteY9" fmla="*/ 702737 h 788699"/>
                <a:gd name="connsiteX10" fmla="*/ 335584 w 625521"/>
                <a:gd name="connsiteY10" fmla="*/ 694578 h 788699"/>
                <a:gd name="connsiteX11" fmla="*/ 357341 w 625521"/>
                <a:gd name="connsiteY11" fmla="*/ 686419 h 788699"/>
                <a:gd name="connsiteX12" fmla="*/ 395416 w 625521"/>
                <a:gd name="connsiteY12" fmla="*/ 680979 h 788699"/>
                <a:gd name="connsiteX13" fmla="*/ 381817 w 625521"/>
                <a:gd name="connsiteY13" fmla="*/ 656502 h 788699"/>
                <a:gd name="connsiteX14" fmla="*/ 379098 w 625521"/>
                <a:gd name="connsiteY14" fmla="*/ 585791 h 788699"/>
                <a:gd name="connsiteX15" fmla="*/ 379098 w 625521"/>
                <a:gd name="connsiteY15" fmla="*/ 517800 h 788699"/>
                <a:gd name="connsiteX16" fmla="*/ 379098 w 625521"/>
                <a:gd name="connsiteY16" fmla="*/ 474286 h 788699"/>
                <a:gd name="connsiteX17" fmla="*/ 379098 w 625521"/>
                <a:gd name="connsiteY17" fmla="*/ 430771 h 788699"/>
                <a:gd name="connsiteX18" fmla="*/ 381817 w 625521"/>
                <a:gd name="connsiteY18" fmla="*/ 411733 h 788699"/>
                <a:gd name="connsiteX19" fmla="*/ 379098 w 625521"/>
                <a:gd name="connsiteY19" fmla="*/ 400855 h 788699"/>
                <a:gd name="connsiteX20" fmla="*/ 370939 w 625521"/>
                <a:gd name="connsiteY20" fmla="*/ 398135 h 788699"/>
                <a:gd name="connsiteX21" fmla="*/ 338304 w 625521"/>
                <a:gd name="connsiteY21" fmla="*/ 400855 h 788699"/>
                <a:gd name="connsiteX22" fmla="*/ 289349 w 625521"/>
                <a:gd name="connsiteY22" fmla="*/ 403575 h 788699"/>
                <a:gd name="connsiteX23" fmla="*/ 264872 w 625521"/>
                <a:gd name="connsiteY23" fmla="*/ 400855 h 788699"/>
                <a:gd name="connsiteX24" fmla="*/ 259433 w 625521"/>
                <a:gd name="connsiteY24" fmla="*/ 406294 h 788699"/>
                <a:gd name="connsiteX25" fmla="*/ 259433 w 625521"/>
                <a:gd name="connsiteY25" fmla="*/ 425332 h 788699"/>
                <a:gd name="connsiteX26" fmla="*/ 259433 w 625521"/>
                <a:gd name="connsiteY26" fmla="*/ 449809 h 788699"/>
                <a:gd name="connsiteX27" fmla="*/ 259433 w 625521"/>
                <a:gd name="connsiteY27" fmla="*/ 471566 h 788699"/>
                <a:gd name="connsiteX28" fmla="*/ 259433 w 625521"/>
                <a:gd name="connsiteY28" fmla="*/ 504202 h 788699"/>
                <a:gd name="connsiteX29" fmla="*/ 259433 w 625521"/>
                <a:gd name="connsiteY29" fmla="*/ 509641 h 788699"/>
                <a:gd name="connsiteX30" fmla="*/ 256714 w 625521"/>
                <a:gd name="connsiteY30" fmla="*/ 542277 h 788699"/>
                <a:gd name="connsiteX31" fmla="*/ 256714 w 625521"/>
                <a:gd name="connsiteY31" fmla="*/ 577632 h 788699"/>
                <a:gd name="connsiteX32" fmla="*/ 256714 w 625521"/>
                <a:gd name="connsiteY32" fmla="*/ 612988 h 788699"/>
                <a:gd name="connsiteX33" fmla="*/ 253994 w 625521"/>
                <a:gd name="connsiteY33" fmla="*/ 656502 h 788699"/>
                <a:gd name="connsiteX34" fmla="*/ 256714 w 625521"/>
                <a:gd name="connsiteY34" fmla="*/ 678260 h 788699"/>
                <a:gd name="connsiteX35" fmla="*/ 286629 w 625521"/>
                <a:gd name="connsiteY35" fmla="*/ 694578 h 788699"/>
                <a:gd name="connsiteX36" fmla="*/ 281191 w 625521"/>
                <a:gd name="connsiteY36" fmla="*/ 710895 h 788699"/>
                <a:gd name="connsiteX37" fmla="*/ 264872 w 625521"/>
                <a:gd name="connsiteY37" fmla="*/ 719054 h 788699"/>
                <a:gd name="connsiteX38" fmla="*/ 243116 w 625521"/>
                <a:gd name="connsiteY38" fmla="*/ 721774 h 788699"/>
                <a:gd name="connsiteX39" fmla="*/ 243116 w 625521"/>
                <a:gd name="connsiteY39" fmla="*/ 721774 h 788699"/>
                <a:gd name="connsiteX40" fmla="*/ 232236 w 625521"/>
                <a:gd name="connsiteY40" fmla="*/ 727214 h 788699"/>
                <a:gd name="connsiteX41" fmla="*/ 224078 w 625521"/>
                <a:gd name="connsiteY41" fmla="*/ 735372 h 788699"/>
                <a:gd name="connsiteX42" fmla="*/ 213199 w 625521"/>
                <a:gd name="connsiteY42" fmla="*/ 738092 h 788699"/>
                <a:gd name="connsiteX43" fmla="*/ 183283 w 625521"/>
                <a:gd name="connsiteY43" fmla="*/ 727214 h 788699"/>
                <a:gd name="connsiteX44" fmla="*/ 175124 w 625521"/>
                <a:gd name="connsiteY44" fmla="*/ 719054 h 788699"/>
                <a:gd name="connsiteX45" fmla="*/ 145208 w 625521"/>
                <a:gd name="connsiteY45" fmla="*/ 719054 h 788699"/>
                <a:gd name="connsiteX46" fmla="*/ 126170 w 625521"/>
                <a:gd name="connsiteY46" fmla="*/ 719054 h 788699"/>
                <a:gd name="connsiteX47" fmla="*/ 101693 w 625521"/>
                <a:gd name="connsiteY47" fmla="*/ 719054 h 788699"/>
                <a:gd name="connsiteX48" fmla="*/ 74496 w 625521"/>
                <a:gd name="connsiteY48" fmla="*/ 713615 h 788699"/>
                <a:gd name="connsiteX49" fmla="*/ 58178 w 625521"/>
                <a:gd name="connsiteY49" fmla="*/ 697297 h 788699"/>
                <a:gd name="connsiteX50" fmla="*/ 63618 w 625521"/>
                <a:gd name="connsiteY50" fmla="*/ 689138 h 788699"/>
                <a:gd name="connsiteX51" fmla="*/ 85375 w 625521"/>
                <a:gd name="connsiteY51" fmla="*/ 680979 h 788699"/>
                <a:gd name="connsiteX52" fmla="*/ 131609 w 625521"/>
                <a:gd name="connsiteY52" fmla="*/ 675540 h 788699"/>
                <a:gd name="connsiteX53" fmla="*/ 131609 w 625521"/>
                <a:gd name="connsiteY53" fmla="*/ 667381 h 788699"/>
                <a:gd name="connsiteX54" fmla="*/ 131609 w 625521"/>
                <a:gd name="connsiteY54" fmla="*/ 651063 h 788699"/>
                <a:gd name="connsiteX55" fmla="*/ 131609 w 625521"/>
                <a:gd name="connsiteY55" fmla="*/ 618427 h 788699"/>
                <a:gd name="connsiteX56" fmla="*/ 131609 w 625521"/>
                <a:gd name="connsiteY56" fmla="*/ 580352 h 788699"/>
                <a:gd name="connsiteX57" fmla="*/ 131609 w 625521"/>
                <a:gd name="connsiteY57" fmla="*/ 531398 h 788699"/>
                <a:gd name="connsiteX58" fmla="*/ 131609 w 625521"/>
                <a:gd name="connsiteY58" fmla="*/ 466126 h 788699"/>
                <a:gd name="connsiteX59" fmla="*/ 131609 w 625521"/>
                <a:gd name="connsiteY59" fmla="*/ 422612 h 788699"/>
                <a:gd name="connsiteX60" fmla="*/ 131609 w 625521"/>
                <a:gd name="connsiteY60" fmla="*/ 411733 h 788699"/>
                <a:gd name="connsiteX61" fmla="*/ 131609 w 625521"/>
                <a:gd name="connsiteY61" fmla="*/ 398135 h 788699"/>
                <a:gd name="connsiteX62" fmla="*/ 126170 w 625521"/>
                <a:gd name="connsiteY62" fmla="*/ 389976 h 788699"/>
                <a:gd name="connsiteX63" fmla="*/ 101693 w 625521"/>
                <a:gd name="connsiteY63" fmla="*/ 387257 h 788699"/>
                <a:gd name="connsiteX64" fmla="*/ 77216 w 625521"/>
                <a:gd name="connsiteY64" fmla="*/ 376378 h 788699"/>
                <a:gd name="connsiteX65" fmla="*/ 82655 w 625521"/>
                <a:gd name="connsiteY65" fmla="*/ 368219 h 788699"/>
                <a:gd name="connsiteX66" fmla="*/ 98973 w 625521"/>
                <a:gd name="connsiteY66" fmla="*/ 360060 h 788699"/>
                <a:gd name="connsiteX67" fmla="*/ 118011 w 625521"/>
                <a:gd name="connsiteY67" fmla="*/ 357340 h 788699"/>
                <a:gd name="connsiteX68" fmla="*/ 131609 w 625521"/>
                <a:gd name="connsiteY68" fmla="*/ 351901 h 788699"/>
                <a:gd name="connsiteX69" fmla="*/ 131609 w 625521"/>
                <a:gd name="connsiteY69" fmla="*/ 343742 h 788699"/>
                <a:gd name="connsiteX70" fmla="*/ 131609 w 625521"/>
                <a:gd name="connsiteY70" fmla="*/ 270311 h 788699"/>
                <a:gd name="connsiteX71" fmla="*/ 137048 w 625521"/>
                <a:gd name="connsiteY71" fmla="*/ 145207 h 788699"/>
                <a:gd name="connsiteX72" fmla="*/ 139768 w 625521"/>
                <a:gd name="connsiteY72" fmla="*/ 123450 h 788699"/>
                <a:gd name="connsiteX73" fmla="*/ 123450 w 625521"/>
                <a:gd name="connsiteY73" fmla="*/ 123450 h 788699"/>
                <a:gd name="connsiteX74" fmla="*/ 118011 w 625521"/>
                <a:gd name="connsiteY74" fmla="*/ 123450 h 788699"/>
                <a:gd name="connsiteX75" fmla="*/ 101693 w 625521"/>
                <a:gd name="connsiteY75" fmla="*/ 123450 h 788699"/>
                <a:gd name="connsiteX76" fmla="*/ 74496 w 625521"/>
                <a:gd name="connsiteY76" fmla="*/ 118011 h 788699"/>
                <a:gd name="connsiteX77" fmla="*/ 58178 w 625521"/>
                <a:gd name="connsiteY77" fmla="*/ 101693 h 788699"/>
                <a:gd name="connsiteX78" fmla="*/ 63618 w 625521"/>
                <a:gd name="connsiteY78" fmla="*/ 93534 h 788699"/>
                <a:gd name="connsiteX79" fmla="*/ 85375 w 625521"/>
                <a:gd name="connsiteY79" fmla="*/ 85375 h 788699"/>
                <a:gd name="connsiteX80" fmla="*/ 137048 w 625521"/>
                <a:gd name="connsiteY80" fmla="*/ 82655 h 788699"/>
                <a:gd name="connsiteX81" fmla="*/ 147927 w 625521"/>
                <a:gd name="connsiteY81" fmla="*/ 82655 h 788699"/>
                <a:gd name="connsiteX82" fmla="*/ 186003 w 625521"/>
                <a:gd name="connsiteY82" fmla="*/ 58178 h 788699"/>
                <a:gd name="connsiteX83" fmla="*/ 226797 w 625521"/>
                <a:gd name="connsiteY83" fmla="*/ 79936 h 788699"/>
                <a:gd name="connsiteX84" fmla="*/ 253994 w 625521"/>
                <a:gd name="connsiteY84" fmla="*/ 79936 h 788699"/>
                <a:gd name="connsiteX85" fmla="*/ 294789 w 625521"/>
                <a:gd name="connsiteY85" fmla="*/ 96253 h 788699"/>
                <a:gd name="connsiteX86" fmla="*/ 283910 w 625521"/>
                <a:gd name="connsiteY86" fmla="*/ 112571 h 788699"/>
                <a:gd name="connsiteX87" fmla="*/ 267592 w 625521"/>
                <a:gd name="connsiteY87" fmla="*/ 120730 h 788699"/>
                <a:gd name="connsiteX88" fmla="*/ 245835 w 625521"/>
                <a:gd name="connsiteY88" fmla="*/ 123450 h 788699"/>
                <a:gd name="connsiteX89" fmla="*/ 237676 w 625521"/>
                <a:gd name="connsiteY89" fmla="*/ 123450 h 788699"/>
                <a:gd name="connsiteX90" fmla="*/ 240396 w 625521"/>
                <a:gd name="connsiteY90" fmla="*/ 128889 h 788699"/>
                <a:gd name="connsiteX91" fmla="*/ 251274 w 625521"/>
                <a:gd name="connsiteY91" fmla="*/ 177843 h 788699"/>
                <a:gd name="connsiteX92" fmla="*/ 256714 w 625521"/>
                <a:gd name="connsiteY92" fmla="*/ 226797 h 788699"/>
                <a:gd name="connsiteX93" fmla="*/ 262153 w 625521"/>
                <a:gd name="connsiteY93" fmla="*/ 273031 h 788699"/>
                <a:gd name="connsiteX94" fmla="*/ 262153 w 625521"/>
                <a:gd name="connsiteY94" fmla="*/ 289349 h 788699"/>
                <a:gd name="connsiteX95" fmla="*/ 262153 w 625521"/>
                <a:gd name="connsiteY95" fmla="*/ 297508 h 788699"/>
                <a:gd name="connsiteX96" fmla="*/ 264872 w 625521"/>
                <a:gd name="connsiteY96" fmla="*/ 321985 h 788699"/>
                <a:gd name="connsiteX97" fmla="*/ 270312 w 625521"/>
                <a:gd name="connsiteY97" fmla="*/ 335583 h 788699"/>
                <a:gd name="connsiteX98" fmla="*/ 270312 w 625521"/>
                <a:gd name="connsiteY98" fmla="*/ 338303 h 788699"/>
                <a:gd name="connsiteX99" fmla="*/ 270312 w 625521"/>
                <a:gd name="connsiteY99" fmla="*/ 346462 h 788699"/>
                <a:gd name="connsiteX100" fmla="*/ 278471 w 625521"/>
                <a:gd name="connsiteY100" fmla="*/ 354621 h 788699"/>
                <a:gd name="connsiteX101" fmla="*/ 338304 w 625521"/>
                <a:gd name="connsiteY101" fmla="*/ 349181 h 788699"/>
                <a:gd name="connsiteX102" fmla="*/ 365500 w 625521"/>
                <a:gd name="connsiteY102" fmla="*/ 349181 h 788699"/>
                <a:gd name="connsiteX103" fmla="*/ 381817 w 625521"/>
                <a:gd name="connsiteY103" fmla="*/ 349181 h 788699"/>
                <a:gd name="connsiteX104" fmla="*/ 392697 w 625521"/>
                <a:gd name="connsiteY104" fmla="*/ 338303 h 788699"/>
                <a:gd name="connsiteX105" fmla="*/ 389977 w 625521"/>
                <a:gd name="connsiteY105" fmla="*/ 313826 h 788699"/>
                <a:gd name="connsiteX106" fmla="*/ 392697 w 625521"/>
                <a:gd name="connsiteY106" fmla="*/ 262152 h 788699"/>
                <a:gd name="connsiteX107" fmla="*/ 395416 w 625521"/>
                <a:gd name="connsiteY107" fmla="*/ 224077 h 788699"/>
                <a:gd name="connsiteX108" fmla="*/ 398136 w 625521"/>
                <a:gd name="connsiteY108" fmla="*/ 177843 h 788699"/>
                <a:gd name="connsiteX109" fmla="*/ 395416 w 625521"/>
                <a:gd name="connsiteY109" fmla="*/ 153366 h 788699"/>
                <a:gd name="connsiteX110" fmla="*/ 395416 w 625521"/>
                <a:gd name="connsiteY110" fmla="*/ 137048 h 788699"/>
                <a:gd name="connsiteX111" fmla="*/ 379098 w 625521"/>
                <a:gd name="connsiteY111" fmla="*/ 137048 h 788699"/>
                <a:gd name="connsiteX112" fmla="*/ 351902 w 625521"/>
                <a:gd name="connsiteY112" fmla="*/ 131609 h 788699"/>
                <a:gd name="connsiteX113" fmla="*/ 338304 w 625521"/>
                <a:gd name="connsiteY113" fmla="*/ 115291 h 788699"/>
                <a:gd name="connsiteX114" fmla="*/ 343742 w 625521"/>
                <a:gd name="connsiteY114" fmla="*/ 107132 h 788699"/>
                <a:gd name="connsiteX115" fmla="*/ 362780 w 625521"/>
                <a:gd name="connsiteY115" fmla="*/ 98973 h 788699"/>
                <a:gd name="connsiteX116" fmla="*/ 395416 w 625521"/>
                <a:gd name="connsiteY116" fmla="*/ 96253 h 788699"/>
                <a:gd name="connsiteX117" fmla="*/ 403575 w 625521"/>
                <a:gd name="connsiteY117" fmla="*/ 90814 h 788699"/>
                <a:gd name="connsiteX118" fmla="*/ 422612 w 625521"/>
                <a:gd name="connsiteY118" fmla="*/ 88095 h 788699"/>
                <a:gd name="connsiteX119" fmla="*/ 428052 w 625521"/>
                <a:gd name="connsiteY119" fmla="*/ 88095 h 788699"/>
                <a:gd name="connsiteX120" fmla="*/ 447090 w 625521"/>
                <a:gd name="connsiteY120" fmla="*/ 90814 h 788699"/>
                <a:gd name="connsiteX121" fmla="*/ 455249 w 625521"/>
                <a:gd name="connsiteY121" fmla="*/ 96253 h 788699"/>
                <a:gd name="connsiteX122" fmla="*/ 525960 w 625521"/>
                <a:gd name="connsiteY122" fmla="*/ 93534 h 788699"/>
                <a:gd name="connsiteX123" fmla="*/ 561315 w 625521"/>
                <a:gd name="connsiteY123" fmla="*/ 109852 h 788699"/>
                <a:gd name="connsiteX124" fmla="*/ 555876 w 625521"/>
                <a:gd name="connsiteY124" fmla="*/ 126170 h 788699"/>
                <a:gd name="connsiteX125" fmla="*/ 539558 w 625521"/>
                <a:gd name="connsiteY125" fmla="*/ 134329 h 788699"/>
                <a:gd name="connsiteX126" fmla="*/ 517800 w 625521"/>
                <a:gd name="connsiteY126" fmla="*/ 137048 h 788699"/>
                <a:gd name="connsiteX127" fmla="*/ 477006 w 625521"/>
                <a:gd name="connsiteY127" fmla="*/ 137048 h 788699"/>
                <a:gd name="connsiteX128" fmla="*/ 485165 w 625521"/>
                <a:gd name="connsiteY128" fmla="*/ 161525 h 788699"/>
                <a:gd name="connsiteX129" fmla="*/ 496043 w 625521"/>
                <a:gd name="connsiteY129" fmla="*/ 210479 h 788699"/>
                <a:gd name="connsiteX130" fmla="*/ 501483 w 625521"/>
                <a:gd name="connsiteY130" fmla="*/ 251274 h 788699"/>
                <a:gd name="connsiteX131" fmla="*/ 506922 w 625521"/>
                <a:gd name="connsiteY131" fmla="*/ 292069 h 788699"/>
                <a:gd name="connsiteX132" fmla="*/ 506922 w 625521"/>
                <a:gd name="connsiteY132" fmla="*/ 321985 h 788699"/>
                <a:gd name="connsiteX133" fmla="*/ 509642 w 625521"/>
                <a:gd name="connsiteY133" fmla="*/ 341022 h 788699"/>
                <a:gd name="connsiteX134" fmla="*/ 509642 w 625521"/>
                <a:gd name="connsiteY134" fmla="*/ 343742 h 788699"/>
                <a:gd name="connsiteX135" fmla="*/ 517800 w 625521"/>
                <a:gd name="connsiteY135" fmla="*/ 349181 h 788699"/>
                <a:gd name="connsiteX136" fmla="*/ 528680 w 625521"/>
                <a:gd name="connsiteY136" fmla="*/ 349181 h 788699"/>
                <a:gd name="connsiteX137" fmla="*/ 550437 w 625521"/>
                <a:gd name="connsiteY137" fmla="*/ 357340 h 788699"/>
                <a:gd name="connsiteX138" fmla="*/ 550437 w 625521"/>
                <a:gd name="connsiteY138" fmla="*/ 362780 h 788699"/>
                <a:gd name="connsiteX139" fmla="*/ 534119 w 625521"/>
                <a:gd name="connsiteY139" fmla="*/ 384537 h 788699"/>
                <a:gd name="connsiteX140" fmla="*/ 520520 w 625521"/>
                <a:gd name="connsiteY140" fmla="*/ 389976 h 788699"/>
                <a:gd name="connsiteX141" fmla="*/ 512362 w 625521"/>
                <a:gd name="connsiteY141" fmla="*/ 395415 h 788699"/>
                <a:gd name="connsiteX142" fmla="*/ 512362 w 625521"/>
                <a:gd name="connsiteY142" fmla="*/ 398135 h 788699"/>
                <a:gd name="connsiteX143" fmla="*/ 512362 w 625521"/>
                <a:gd name="connsiteY143" fmla="*/ 409014 h 788699"/>
                <a:gd name="connsiteX144" fmla="*/ 512362 w 625521"/>
                <a:gd name="connsiteY144" fmla="*/ 414453 h 788699"/>
                <a:gd name="connsiteX145" fmla="*/ 512362 w 625521"/>
                <a:gd name="connsiteY145" fmla="*/ 438930 h 788699"/>
                <a:gd name="connsiteX146" fmla="*/ 515081 w 625521"/>
                <a:gd name="connsiteY146" fmla="*/ 504202 h 788699"/>
                <a:gd name="connsiteX147" fmla="*/ 520520 w 625521"/>
                <a:gd name="connsiteY147" fmla="*/ 572193 h 788699"/>
                <a:gd name="connsiteX148" fmla="*/ 517800 w 625521"/>
                <a:gd name="connsiteY148" fmla="*/ 604829 h 788699"/>
                <a:gd name="connsiteX149" fmla="*/ 512362 w 625521"/>
                <a:gd name="connsiteY149" fmla="*/ 661942 h 788699"/>
                <a:gd name="connsiteX150" fmla="*/ 509642 w 625521"/>
                <a:gd name="connsiteY150" fmla="*/ 670101 h 788699"/>
                <a:gd name="connsiteX151" fmla="*/ 512362 w 625521"/>
                <a:gd name="connsiteY151" fmla="*/ 680979 h 788699"/>
                <a:gd name="connsiteX152" fmla="*/ 512362 w 625521"/>
                <a:gd name="connsiteY152" fmla="*/ 686419 h 788699"/>
                <a:gd name="connsiteX153" fmla="*/ 536838 w 625521"/>
                <a:gd name="connsiteY153" fmla="*/ 680979 h 788699"/>
                <a:gd name="connsiteX154" fmla="*/ 536838 w 625521"/>
                <a:gd name="connsiteY154" fmla="*/ 680979 h 7886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</a:cxnLst>
              <a:rect l="l" t="t" r="r" b="b"/>
              <a:pathLst>
                <a:path w="625521" h="788699">
                  <a:moveTo>
                    <a:pt x="536838" y="680979"/>
                  </a:moveTo>
                  <a:cubicBezTo>
                    <a:pt x="550437" y="680979"/>
                    <a:pt x="574913" y="680979"/>
                    <a:pt x="574913" y="697297"/>
                  </a:cubicBezTo>
                  <a:cubicBezTo>
                    <a:pt x="574913" y="705456"/>
                    <a:pt x="572194" y="708176"/>
                    <a:pt x="566755" y="713615"/>
                  </a:cubicBezTo>
                  <a:cubicBezTo>
                    <a:pt x="561315" y="719054"/>
                    <a:pt x="555876" y="721774"/>
                    <a:pt x="550437" y="721774"/>
                  </a:cubicBezTo>
                  <a:cubicBezTo>
                    <a:pt x="539558" y="724494"/>
                    <a:pt x="534119" y="724494"/>
                    <a:pt x="528680" y="724494"/>
                  </a:cubicBezTo>
                  <a:cubicBezTo>
                    <a:pt x="517800" y="724494"/>
                    <a:pt x="428052" y="724494"/>
                    <a:pt x="417174" y="724494"/>
                  </a:cubicBezTo>
                  <a:cubicBezTo>
                    <a:pt x="403575" y="724494"/>
                    <a:pt x="414454" y="724494"/>
                    <a:pt x="398136" y="724494"/>
                  </a:cubicBezTo>
                  <a:cubicBezTo>
                    <a:pt x="389977" y="724494"/>
                    <a:pt x="381817" y="724494"/>
                    <a:pt x="373659" y="724494"/>
                  </a:cubicBezTo>
                  <a:cubicBezTo>
                    <a:pt x="365500" y="724494"/>
                    <a:pt x="354621" y="721774"/>
                    <a:pt x="346462" y="719054"/>
                  </a:cubicBezTo>
                  <a:cubicBezTo>
                    <a:pt x="338304" y="716335"/>
                    <a:pt x="330144" y="708176"/>
                    <a:pt x="330144" y="702737"/>
                  </a:cubicBezTo>
                  <a:cubicBezTo>
                    <a:pt x="330144" y="700017"/>
                    <a:pt x="330144" y="697297"/>
                    <a:pt x="335584" y="694578"/>
                  </a:cubicBezTo>
                  <a:cubicBezTo>
                    <a:pt x="341023" y="691858"/>
                    <a:pt x="351902" y="689138"/>
                    <a:pt x="357341" y="686419"/>
                  </a:cubicBezTo>
                  <a:cubicBezTo>
                    <a:pt x="373659" y="683699"/>
                    <a:pt x="387257" y="680979"/>
                    <a:pt x="395416" y="680979"/>
                  </a:cubicBezTo>
                  <a:cubicBezTo>
                    <a:pt x="387257" y="675540"/>
                    <a:pt x="384537" y="670101"/>
                    <a:pt x="381817" y="656502"/>
                  </a:cubicBezTo>
                  <a:cubicBezTo>
                    <a:pt x="379098" y="632026"/>
                    <a:pt x="379098" y="610268"/>
                    <a:pt x="379098" y="585791"/>
                  </a:cubicBezTo>
                  <a:cubicBezTo>
                    <a:pt x="379098" y="564034"/>
                    <a:pt x="379098" y="542277"/>
                    <a:pt x="379098" y="517800"/>
                  </a:cubicBezTo>
                  <a:cubicBezTo>
                    <a:pt x="379098" y="504202"/>
                    <a:pt x="379098" y="487884"/>
                    <a:pt x="379098" y="474286"/>
                  </a:cubicBezTo>
                  <a:cubicBezTo>
                    <a:pt x="379098" y="457968"/>
                    <a:pt x="376379" y="444369"/>
                    <a:pt x="379098" y="430771"/>
                  </a:cubicBezTo>
                  <a:cubicBezTo>
                    <a:pt x="379098" y="425332"/>
                    <a:pt x="381817" y="417173"/>
                    <a:pt x="381817" y="411733"/>
                  </a:cubicBezTo>
                  <a:cubicBezTo>
                    <a:pt x="381817" y="406294"/>
                    <a:pt x="381817" y="403575"/>
                    <a:pt x="379098" y="400855"/>
                  </a:cubicBezTo>
                  <a:cubicBezTo>
                    <a:pt x="376379" y="400855"/>
                    <a:pt x="373659" y="398135"/>
                    <a:pt x="370939" y="398135"/>
                  </a:cubicBezTo>
                  <a:cubicBezTo>
                    <a:pt x="360061" y="398135"/>
                    <a:pt x="343742" y="400855"/>
                    <a:pt x="338304" y="400855"/>
                  </a:cubicBezTo>
                  <a:cubicBezTo>
                    <a:pt x="330144" y="400855"/>
                    <a:pt x="319266" y="403575"/>
                    <a:pt x="289349" y="403575"/>
                  </a:cubicBezTo>
                  <a:cubicBezTo>
                    <a:pt x="275751" y="403575"/>
                    <a:pt x="267592" y="400855"/>
                    <a:pt x="264872" y="400855"/>
                  </a:cubicBezTo>
                  <a:cubicBezTo>
                    <a:pt x="262153" y="400855"/>
                    <a:pt x="259433" y="400855"/>
                    <a:pt x="259433" y="406294"/>
                  </a:cubicBezTo>
                  <a:cubicBezTo>
                    <a:pt x="259433" y="414453"/>
                    <a:pt x="259433" y="419892"/>
                    <a:pt x="259433" y="425332"/>
                  </a:cubicBezTo>
                  <a:cubicBezTo>
                    <a:pt x="259433" y="433491"/>
                    <a:pt x="259433" y="441650"/>
                    <a:pt x="259433" y="449809"/>
                  </a:cubicBezTo>
                  <a:cubicBezTo>
                    <a:pt x="259433" y="457968"/>
                    <a:pt x="259433" y="463407"/>
                    <a:pt x="259433" y="471566"/>
                  </a:cubicBezTo>
                  <a:cubicBezTo>
                    <a:pt x="259433" y="482445"/>
                    <a:pt x="259433" y="493323"/>
                    <a:pt x="259433" y="504202"/>
                  </a:cubicBezTo>
                  <a:cubicBezTo>
                    <a:pt x="259433" y="506921"/>
                    <a:pt x="259433" y="506921"/>
                    <a:pt x="259433" y="509641"/>
                  </a:cubicBezTo>
                  <a:cubicBezTo>
                    <a:pt x="259433" y="520520"/>
                    <a:pt x="256714" y="531398"/>
                    <a:pt x="256714" y="542277"/>
                  </a:cubicBezTo>
                  <a:cubicBezTo>
                    <a:pt x="256714" y="553156"/>
                    <a:pt x="256714" y="566754"/>
                    <a:pt x="256714" y="577632"/>
                  </a:cubicBezTo>
                  <a:cubicBezTo>
                    <a:pt x="256714" y="588511"/>
                    <a:pt x="256714" y="599390"/>
                    <a:pt x="256714" y="612988"/>
                  </a:cubicBezTo>
                  <a:cubicBezTo>
                    <a:pt x="256714" y="629306"/>
                    <a:pt x="253994" y="642904"/>
                    <a:pt x="253994" y="656502"/>
                  </a:cubicBezTo>
                  <a:cubicBezTo>
                    <a:pt x="253994" y="664661"/>
                    <a:pt x="256714" y="672820"/>
                    <a:pt x="256714" y="678260"/>
                  </a:cubicBezTo>
                  <a:cubicBezTo>
                    <a:pt x="270312" y="678260"/>
                    <a:pt x="286629" y="680979"/>
                    <a:pt x="286629" y="694578"/>
                  </a:cubicBezTo>
                  <a:cubicBezTo>
                    <a:pt x="286629" y="702737"/>
                    <a:pt x="283910" y="705456"/>
                    <a:pt x="281191" y="710895"/>
                  </a:cubicBezTo>
                  <a:cubicBezTo>
                    <a:pt x="275751" y="716335"/>
                    <a:pt x="270312" y="719054"/>
                    <a:pt x="264872" y="719054"/>
                  </a:cubicBezTo>
                  <a:cubicBezTo>
                    <a:pt x="256714" y="721774"/>
                    <a:pt x="248554" y="721774"/>
                    <a:pt x="243116" y="721774"/>
                  </a:cubicBezTo>
                  <a:cubicBezTo>
                    <a:pt x="243116" y="721774"/>
                    <a:pt x="243116" y="721774"/>
                    <a:pt x="243116" y="721774"/>
                  </a:cubicBezTo>
                  <a:cubicBezTo>
                    <a:pt x="237676" y="724494"/>
                    <a:pt x="237676" y="724494"/>
                    <a:pt x="232236" y="727214"/>
                  </a:cubicBezTo>
                  <a:cubicBezTo>
                    <a:pt x="229517" y="729933"/>
                    <a:pt x="229517" y="732653"/>
                    <a:pt x="224078" y="735372"/>
                  </a:cubicBezTo>
                  <a:cubicBezTo>
                    <a:pt x="221358" y="738092"/>
                    <a:pt x="215919" y="738092"/>
                    <a:pt x="213199" y="738092"/>
                  </a:cubicBezTo>
                  <a:cubicBezTo>
                    <a:pt x="199601" y="738092"/>
                    <a:pt x="188722" y="735372"/>
                    <a:pt x="183283" y="727214"/>
                  </a:cubicBezTo>
                  <a:cubicBezTo>
                    <a:pt x="180563" y="724494"/>
                    <a:pt x="177843" y="721774"/>
                    <a:pt x="175124" y="719054"/>
                  </a:cubicBezTo>
                  <a:cubicBezTo>
                    <a:pt x="161526" y="719054"/>
                    <a:pt x="150646" y="719054"/>
                    <a:pt x="145208" y="719054"/>
                  </a:cubicBezTo>
                  <a:cubicBezTo>
                    <a:pt x="131609" y="719054"/>
                    <a:pt x="142488" y="719054"/>
                    <a:pt x="126170" y="719054"/>
                  </a:cubicBezTo>
                  <a:cubicBezTo>
                    <a:pt x="118011" y="719054"/>
                    <a:pt x="109852" y="719054"/>
                    <a:pt x="101693" y="719054"/>
                  </a:cubicBezTo>
                  <a:cubicBezTo>
                    <a:pt x="93534" y="719054"/>
                    <a:pt x="82655" y="719054"/>
                    <a:pt x="74496" y="713615"/>
                  </a:cubicBezTo>
                  <a:cubicBezTo>
                    <a:pt x="66338" y="710895"/>
                    <a:pt x="58178" y="702737"/>
                    <a:pt x="58178" y="697297"/>
                  </a:cubicBezTo>
                  <a:cubicBezTo>
                    <a:pt x="58178" y="694578"/>
                    <a:pt x="58178" y="691858"/>
                    <a:pt x="63618" y="689138"/>
                  </a:cubicBezTo>
                  <a:cubicBezTo>
                    <a:pt x="69057" y="686419"/>
                    <a:pt x="79936" y="683699"/>
                    <a:pt x="85375" y="680979"/>
                  </a:cubicBezTo>
                  <a:cubicBezTo>
                    <a:pt x="98973" y="678260"/>
                    <a:pt x="118011" y="678260"/>
                    <a:pt x="131609" y="675540"/>
                  </a:cubicBezTo>
                  <a:cubicBezTo>
                    <a:pt x="131609" y="672820"/>
                    <a:pt x="131609" y="670101"/>
                    <a:pt x="131609" y="667381"/>
                  </a:cubicBezTo>
                  <a:cubicBezTo>
                    <a:pt x="131609" y="661942"/>
                    <a:pt x="131609" y="656502"/>
                    <a:pt x="131609" y="651063"/>
                  </a:cubicBezTo>
                  <a:cubicBezTo>
                    <a:pt x="131609" y="640184"/>
                    <a:pt x="131609" y="629306"/>
                    <a:pt x="131609" y="618427"/>
                  </a:cubicBezTo>
                  <a:cubicBezTo>
                    <a:pt x="131609" y="604829"/>
                    <a:pt x="131609" y="593950"/>
                    <a:pt x="131609" y="580352"/>
                  </a:cubicBezTo>
                  <a:cubicBezTo>
                    <a:pt x="131609" y="564034"/>
                    <a:pt x="131609" y="547716"/>
                    <a:pt x="131609" y="531398"/>
                  </a:cubicBezTo>
                  <a:cubicBezTo>
                    <a:pt x="131609" y="509641"/>
                    <a:pt x="131609" y="487884"/>
                    <a:pt x="131609" y="466126"/>
                  </a:cubicBezTo>
                  <a:cubicBezTo>
                    <a:pt x="131609" y="452528"/>
                    <a:pt x="131609" y="436210"/>
                    <a:pt x="131609" y="422612"/>
                  </a:cubicBezTo>
                  <a:cubicBezTo>
                    <a:pt x="131609" y="419892"/>
                    <a:pt x="131609" y="414453"/>
                    <a:pt x="131609" y="411733"/>
                  </a:cubicBezTo>
                  <a:cubicBezTo>
                    <a:pt x="131609" y="409014"/>
                    <a:pt x="131609" y="400855"/>
                    <a:pt x="131609" y="398135"/>
                  </a:cubicBezTo>
                  <a:cubicBezTo>
                    <a:pt x="131609" y="392696"/>
                    <a:pt x="131609" y="392696"/>
                    <a:pt x="126170" y="389976"/>
                  </a:cubicBezTo>
                  <a:cubicBezTo>
                    <a:pt x="123450" y="389976"/>
                    <a:pt x="109852" y="387257"/>
                    <a:pt x="101693" y="387257"/>
                  </a:cubicBezTo>
                  <a:cubicBezTo>
                    <a:pt x="90814" y="384537"/>
                    <a:pt x="77216" y="381817"/>
                    <a:pt x="77216" y="376378"/>
                  </a:cubicBezTo>
                  <a:cubicBezTo>
                    <a:pt x="77216" y="373658"/>
                    <a:pt x="79936" y="370939"/>
                    <a:pt x="82655" y="368219"/>
                  </a:cubicBezTo>
                  <a:cubicBezTo>
                    <a:pt x="88095" y="365499"/>
                    <a:pt x="93534" y="362780"/>
                    <a:pt x="98973" y="360060"/>
                  </a:cubicBezTo>
                  <a:cubicBezTo>
                    <a:pt x="104413" y="360060"/>
                    <a:pt x="112571" y="357340"/>
                    <a:pt x="118011" y="357340"/>
                  </a:cubicBezTo>
                  <a:cubicBezTo>
                    <a:pt x="126170" y="354621"/>
                    <a:pt x="128890" y="357340"/>
                    <a:pt x="131609" y="351901"/>
                  </a:cubicBezTo>
                  <a:cubicBezTo>
                    <a:pt x="131609" y="349181"/>
                    <a:pt x="131609" y="346462"/>
                    <a:pt x="131609" y="343742"/>
                  </a:cubicBezTo>
                  <a:cubicBezTo>
                    <a:pt x="131609" y="319265"/>
                    <a:pt x="131609" y="294788"/>
                    <a:pt x="131609" y="270311"/>
                  </a:cubicBezTo>
                  <a:cubicBezTo>
                    <a:pt x="131609" y="226797"/>
                    <a:pt x="131609" y="186002"/>
                    <a:pt x="137048" y="145207"/>
                  </a:cubicBezTo>
                  <a:cubicBezTo>
                    <a:pt x="137048" y="139768"/>
                    <a:pt x="137048" y="131609"/>
                    <a:pt x="139768" y="123450"/>
                  </a:cubicBezTo>
                  <a:cubicBezTo>
                    <a:pt x="134329" y="123450"/>
                    <a:pt x="137048" y="123450"/>
                    <a:pt x="123450" y="123450"/>
                  </a:cubicBezTo>
                  <a:cubicBezTo>
                    <a:pt x="120731" y="123450"/>
                    <a:pt x="120731" y="123450"/>
                    <a:pt x="118011" y="123450"/>
                  </a:cubicBezTo>
                  <a:cubicBezTo>
                    <a:pt x="112571" y="123450"/>
                    <a:pt x="107133" y="123450"/>
                    <a:pt x="101693" y="123450"/>
                  </a:cubicBezTo>
                  <a:cubicBezTo>
                    <a:pt x="93534" y="123450"/>
                    <a:pt x="82655" y="120730"/>
                    <a:pt x="74496" y="118011"/>
                  </a:cubicBezTo>
                  <a:cubicBezTo>
                    <a:pt x="66338" y="115291"/>
                    <a:pt x="58178" y="107132"/>
                    <a:pt x="58178" y="101693"/>
                  </a:cubicBezTo>
                  <a:cubicBezTo>
                    <a:pt x="58178" y="98973"/>
                    <a:pt x="58178" y="96253"/>
                    <a:pt x="63618" y="93534"/>
                  </a:cubicBezTo>
                  <a:cubicBezTo>
                    <a:pt x="66338" y="90814"/>
                    <a:pt x="77216" y="88095"/>
                    <a:pt x="85375" y="85375"/>
                  </a:cubicBezTo>
                  <a:cubicBezTo>
                    <a:pt x="104413" y="82655"/>
                    <a:pt x="128890" y="82655"/>
                    <a:pt x="137048" y="82655"/>
                  </a:cubicBezTo>
                  <a:cubicBezTo>
                    <a:pt x="139768" y="82655"/>
                    <a:pt x="142488" y="82655"/>
                    <a:pt x="147927" y="82655"/>
                  </a:cubicBezTo>
                  <a:cubicBezTo>
                    <a:pt x="153366" y="69057"/>
                    <a:pt x="164245" y="58178"/>
                    <a:pt x="186003" y="58178"/>
                  </a:cubicBezTo>
                  <a:cubicBezTo>
                    <a:pt x="202321" y="58178"/>
                    <a:pt x="215919" y="66337"/>
                    <a:pt x="226797" y="79936"/>
                  </a:cubicBezTo>
                  <a:cubicBezTo>
                    <a:pt x="237676" y="79936"/>
                    <a:pt x="248554" y="79936"/>
                    <a:pt x="253994" y="79936"/>
                  </a:cubicBezTo>
                  <a:cubicBezTo>
                    <a:pt x="267592" y="79936"/>
                    <a:pt x="294789" y="79936"/>
                    <a:pt x="294789" y="96253"/>
                  </a:cubicBezTo>
                  <a:cubicBezTo>
                    <a:pt x="294789" y="104412"/>
                    <a:pt x="289349" y="107132"/>
                    <a:pt x="283910" y="112571"/>
                  </a:cubicBezTo>
                  <a:cubicBezTo>
                    <a:pt x="278471" y="118011"/>
                    <a:pt x="273031" y="120730"/>
                    <a:pt x="267592" y="120730"/>
                  </a:cubicBezTo>
                  <a:cubicBezTo>
                    <a:pt x="259433" y="123450"/>
                    <a:pt x="251274" y="123450"/>
                    <a:pt x="245835" y="123450"/>
                  </a:cubicBezTo>
                  <a:cubicBezTo>
                    <a:pt x="245835" y="123450"/>
                    <a:pt x="243116" y="123450"/>
                    <a:pt x="237676" y="123450"/>
                  </a:cubicBezTo>
                  <a:cubicBezTo>
                    <a:pt x="237676" y="126170"/>
                    <a:pt x="237676" y="126170"/>
                    <a:pt x="240396" y="128889"/>
                  </a:cubicBezTo>
                  <a:cubicBezTo>
                    <a:pt x="245835" y="145207"/>
                    <a:pt x="248554" y="161525"/>
                    <a:pt x="251274" y="177843"/>
                  </a:cubicBezTo>
                  <a:cubicBezTo>
                    <a:pt x="253994" y="194161"/>
                    <a:pt x="253994" y="210479"/>
                    <a:pt x="256714" y="226797"/>
                  </a:cubicBezTo>
                  <a:cubicBezTo>
                    <a:pt x="259433" y="243115"/>
                    <a:pt x="262153" y="256713"/>
                    <a:pt x="262153" y="273031"/>
                  </a:cubicBezTo>
                  <a:cubicBezTo>
                    <a:pt x="262153" y="278470"/>
                    <a:pt x="262153" y="283910"/>
                    <a:pt x="262153" y="289349"/>
                  </a:cubicBezTo>
                  <a:lnTo>
                    <a:pt x="262153" y="297508"/>
                  </a:lnTo>
                  <a:cubicBezTo>
                    <a:pt x="262153" y="305667"/>
                    <a:pt x="262153" y="313826"/>
                    <a:pt x="264872" y="321985"/>
                  </a:cubicBezTo>
                  <a:cubicBezTo>
                    <a:pt x="264872" y="327424"/>
                    <a:pt x="270312" y="330144"/>
                    <a:pt x="270312" y="335583"/>
                  </a:cubicBezTo>
                  <a:cubicBezTo>
                    <a:pt x="270312" y="335583"/>
                    <a:pt x="270312" y="338303"/>
                    <a:pt x="270312" y="338303"/>
                  </a:cubicBezTo>
                  <a:cubicBezTo>
                    <a:pt x="270312" y="341022"/>
                    <a:pt x="270312" y="343742"/>
                    <a:pt x="270312" y="346462"/>
                  </a:cubicBezTo>
                  <a:cubicBezTo>
                    <a:pt x="270312" y="351901"/>
                    <a:pt x="273031" y="354621"/>
                    <a:pt x="278471" y="354621"/>
                  </a:cubicBezTo>
                  <a:cubicBezTo>
                    <a:pt x="289349" y="354621"/>
                    <a:pt x="335584" y="351901"/>
                    <a:pt x="338304" y="349181"/>
                  </a:cubicBezTo>
                  <a:cubicBezTo>
                    <a:pt x="346462" y="349181"/>
                    <a:pt x="357341" y="349181"/>
                    <a:pt x="365500" y="349181"/>
                  </a:cubicBezTo>
                  <a:cubicBezTo>
                    <a:pt x="370939" y="349181"/>
                    <a:pt x="376379" y="349181"/>
                    <a:pt x="381817" y="349181"/>
                  </a:cubicBezTo>
                  <a:cubicBezTo>
                    <a:pt x="387257" y="349181"/>
                    <a:pt x="392697" y="346462"/>
                    <a:pt x="392697" y="338303"/>
                  </a:cubicBezTo>
                  <a:cubicBezTo>
                    <a:pt x="392697" y="330144"/>
                    <a:pt x="389977" y="316545"/>
                    <a:pt x="389977" y="313826"/>
                  </a:cubicBezTo>
                  <a:cubicBezTo>
                    <a:pt x="389977" y="294788"/>
                    <a:pt x="389977" y="278470"/>
                    <a:pt x="392697" y="262152"/>
                  </a:cubicBezTo>
                  <a:cubicBezTo>
                    <a:pt x="392697" y="259433"/>
                    <a:pt x="395416" y="243115"/>
                    <a:pt x="395416" y="224077"/>
                  </a:cubicBezTo>
                  <a:cubicBezTo>
                    <a:pt x="395416" y="207759"/>
                    <a:pt x="398136" y="188722"/>
                    <a:pt x="398136" y="177843"/>
                  </a:cubicBezTo>
                  <a:cubicBezTo>
                    <a:pt x="398136" y="169684"/>
                    <a:pt x="395416" y="158806"/>
                    <a:pt x="395416" y="153366"/>
                  </a:cubicBezTo>
                  <a:cubicBezTo>
                    <a:pt x="395416" y="145207"/>
                    <a:pt x="395416" y="142488"/>
                    <a:pt x="395416" y="137048"/>
                  </a:cubicBezTo>
                  <a:cubicBezTo>
                    <a:pt x="389977" y="137048"/>
                    <a:pt x="384537" y="137048"/>
                    <a:pt x="379098" y="137048"/>
                  </a:cubicBezTo>
                  <a:cubicBezTo>
                    <a:pt x="370939" y="137048"/>
                    <a:pt x="360061" y="134329"/>
                    <a:pt x="351902" y="131609"/>
                  </a:cubicBezTo>
                  <a:cubicBezTo>
                    <a:pt x="343742" y="128889"/>
                    <a:pt x="338304" y="120730"/>
                    <a:pt x="338304" y="115291"/>
                  </a:cubicBezTo>
                  <a:cubicBezTo>
                    <a:pt x="338304" y="112571"/>
                    <a:pt x="338304" y="109852"/>
                    <a:pt x="343742" y="107132"/>
                  </a:cubicBezTo>
                  <a:cubicBezTo>
                    <a:pt x="349182" y="104412"/>
                    <a:pt x="357341" y="101693"/>
                    <a:pt x="362780" y="98973"/>
                  </a:cubicBezTo>
                  <a:cubicBezTo>
                    <a:pt x="373659" y="96253"/>
                    <a:pt x="387257" y="96253"/>
                    <a:pt x="395416" y="96253"/>
                  </a:cubicBezTo>
                  <a:cubicBezTo>
                    <a:pt x="398136" y="93534"/>
                    <a:pt x="400855" y="90814"/>
                    <a:pt x="403575" y="90814"/>
                  </a:cubicBezTo>
                  <a:cubicBezTo>
                    <a:pt x="411734" y="90814"/>
                    <a:pt x="419893" y="88095"/>
                    <a:pt x="422612" y="88095"/>
                  </a:cubicBezTo>
                  <a:cubicBezTo>
                    <a:pt x="425332" y="88095"/>
                    <a:pt x="425332" y="88095"/>
                    <a:pt x="428052" y="88095"/>
                  </a:cubicBezTo>
                  <a:cubicBezTo>
                    <a:pt x="433492" y="88095"/>
                    <a:pt x="441650" y="88095"/>
                    <a:pt x="447090" y="90814"/>
                  </a:cubicBezTo>
                  <a:cubicBezTo>
                    <a:pt x="449809" y="90814"/>
                    <a:pt x="452529" y="93534"/>
                    <a:pt x="455249" y="96253"/>
                  </a:cubicBezTo>
                  <a:cubicBezTo>
                    <a:pt x="482445" y="96253"/>
                    <a:pt x="509642" y="93534"/>
                    <a:pt x="525960" y="93534"/>
                  </a:cubicBezTo>
                  <a:cubicBezTo>
                    <a:pt x="539558" y="93534"/>
                    <a:pt x="561315" y="93534"/>
                    <a:pt x="561315" y="109852"/>
                  </a:cubicBezTo>
                  <a:cubicBezTo>
                    <a:pt x="561315" y="118011"/>
                    <a:pt x="561315" y="120730"/>
                    <a:pt x="555876" y="126170"/>
                  </a:cubicBezTo>
                  <a:cubicBezTo>
                    <a:pt x="550437" y="131609"/>
                    <a:pt x="544997" y="134329"/>
                    <a:pt x="539558" y="134329"/>
                  </a:cubicBezTo>
                  <a:cubicBezTo>
                    <a:pt x="531399" y="137048"/>
                    <a:pt x="523240" y="137048"/>
                    <a:pt x="517800" y="137048"/>
                  </a:cubicBezTo>
                  <a:cubicBezTo>
                    <a:pt x="515081" y="137048"/>
                    <a:pt x="498763" y="137048"/>
                    <a:pt x="477006" y="137048"/>
                  </a:cubicBezTo>
                  <a:cubicBezTo>
                    <a:pt x="479725" y="145207"/>
                    <a:pt x="485165" y="153366"/>
                    <a:pt x="485165" y="161525"/>
                  </a:cubicBezTo>
                  <a:cubicBezTo>
                    <a:pt x="487885" y="177843"/>
                    <a:pt x="493324" y="194161"/>
                    <a:pt x="496043" y="210479"/>
                  </a:cubicBezTo>
                  <a:cubicBezTo>
                    <a:pt x="498763" y="224077"/>
                    <a:pt x="498763" y="237676"/>
                    <a:pt x="501483" y="251274"/>
                  </a:cubicBezTo>
                  <a:cubicBezTo>
                    <a:pt x="504202" y="264872"/>
                    <a:pt x="506922" y="275751"/>
                    <a:pt x="506922" y="292069"/>
                  </a:cubicBezTo>
                  <a:cubicBezTo>
                    <a:pt x="506922" y="302947"/>
                    <a:pt x="506922" y="311106"/>
                    <a:pt x="506922" y="321985"/>
                  </a:cubicBezTo>
                  <a:cubicBezTo>
                    <a:pt x="506922" y="327424"/>
                    <a:pt x="509642" y="335583"/>
                    <a:pt x="509642" y="341022"/>
                  </a:cubicBezTo>
                  <a:cubicBezTo>
                    <a:pt x="509642" y="343742"/>
                    <a:pt x="509642" y="343742"/>
                    <a:pt x="509642" y="343742"/>
                  </a:cubicBezTo>
                  <a:cubicBezTo>
                    <a:pt x="509642" y="349181"/>
                    <a:pt x="515081" y="349181"/>
                    <a:pt x="517800" y="349181"/>
                  </a:cubicBezTo>
                  <a:cubicBezTo>
                    <a:pt x="520520" y="349181"/>
                    <a:pt x="523240" y="349181"/>
                    <a:pt x="528680" y="349181"/>
                  </a:cubicBezTo>
                  <a:cubicBezTo>
                    <a:pt x="536838" y="349181"/>
                    <a:pt x="547717" y="349181"/>
                    <a:pt x="550437" y="357340"/>
                  </a:cubicBezTo>
                  <a:cubicBezTo>
                    <a:pt x="550437" y="360060"/>
                    <a:pt x="550437" y="360060"/>
                    <a:pt x="550437" y="362780"/>
                  </a:cubicBezTo>
                  <a:cubicBezTo>
                    <a:pt x="550437" y="370939"/>
                    <a:pt x="539558" y="381817"/>
                    <a:pt x="534119" y="384537"/>
                  </a:cubicBezTo>
                  <a:cubicBezTo>
                    <a:pt x="531399" y="387257"/>
                    <a:pt x="523240" y="387257"/>
                    <a:pt x="520520" y="389976"/>
                  </a:cubicBezTo>
                  <a:cubicBezTo>
                    <a:pt x="515081" y="389976"/>
                    <a:pt x="512362" y="392696"/>
                    <a:pt x="512362" y="395415"/>
                  </a:cubicBezTo>
                  <a:cubicBezTo>
                    <a:pt x="512362" y="395415"/>
                    <a:pt x="512362" y="398135"/>
                    <a:pt x="512362" y="398135"/>
                  </a:cubicBezTo>
                  <a:cubicBezTo>
                    <a:pt x="512362" y="400855"/>
                    <a:pt x="512362" y="406294"/>
                    <a:pt x="512362" y="409014"/>
                  </a:cubicBezTo>
                  <a:cubicBezTo>
                    <a:pt x="512362" y="411733"/>
                    <a:pt x="512362" y="411733"/>
                    <a:pt x="512362" y="414453"/>
                  </a:cubicBezTo>
                  <a:cubicBezTo>
                    <a:pt x="512362" y="422612"/>
                    <a:pt x="512362" y="430771"/>
                    <a:pt x="512362" y="438930"/>
                  </a:cubicBezTo>
                  <a:cubicBezTo>
                    <a:pt x="512362" y="460687"/>
                    <a:pt x="512362" y="482445"/>
                    <a:pt x="515081" y="504202"/>
                  </a:cubicBezTo>
                  <a:cubicBezTo>
                    <a:pt x="517800" y="525959"/>
                    <a:pt x="520520" y="550436"/>
                    <a:pt x="520520" y="572193"/>
                  </a:cubicBezTo>
                  <a:cubicBezTo>
                    <a:pt x="520520" y="583072"/>
                    <a:pt x="520520" y="593950"/>
                    <a:pt x="517800" y="604829"/>
                  </a:cubicBezTo>
                  <a:cubicBezTo>
                    <a:pt x="515081" y="623867"/>
                    <a:pt x="515081" y="642904"/>
                    <a:pt x="512362" y="661942"/>
                  </a:cubicBezTo>
                  <a:cubicBezTo>
                    <a:pt x="512362" y="664661"/>
                    <a:pt x="509642" y="667381"/>
                    <a:pt x="509642" y="670101"/>
                  </a:cubicBezTo>
                  <a:cubicBezTo>
                    <a:pt x="509642" y="672820"/>
                    <a:pt x="512362" y="678260"/>
                    <a:pt x="512362" y="680979"/>
                  </a:cubicBezTo>
                  <a:cubicBezTo>
                    <a:pt x="512362" y="683699"/>
                    <a:pt x="512362" y="686419"/>
                    <a:pt x="512362" y="686419"/>
                  </a:cubicBezTo>
                  <a:cubicBezTo>
                    <a:pt x="517800" y="680979"/>
                    <a:pt x="528680" y="680979"/>
                    <a:pt x="536838" y="680979"/>
                  </a:cubicBezTo>
                  <a:lnTo>
                    <a:pt x="536838" y="680979"/>
                  </a:ln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9" name="Freeform: Shape 48">
              <a:extLst>
                <a:ext uri="{FF2B5EF4-FFF2-40B4-BE49-F238E27FC236}">
                  <a16:creationId xmlns:a16="http://schemas.microsoft.com/office/drawing/2014/main" id="{9BE78E02-CB57-4CB4-BB07-0110782AEE7D}"/>
                </a:ext>
              </a:extLst>
            </p:cNvPr>
            <p:cNvSpPr/>
            <p:nvPr/>
          </p:nvSpPr>
          <p:spPr>
            <a:xfrm>
              <a:off x="9592416" y="4192158"/>
              <a:ext cx="516735" cy="761503"/>
            </a:xfrm>
            <a:custGeom>
              <a:avLst/>
              <a:gdLst>
                <a:gd name="connsiteX0" fmla="*/ 463407 w 516735"/>
                <a:gd name="connsiteY0" fmla="*/ 194161 h 761503"/>
                <a:gd name="connsiteX1" fmla="*/ 447089 w 516735"/>
                <a:gd name="connsiteY1" fmla="*/ 226797 h 761503"/>
                <a:gd name="connsiteX2" fmla="*/ 430771 w 516735"/>
                <a:gd name="connsiteY2" fmla="*/ 221357 h 761503"/>
                <a:gd name="connsiteX3" fmla="*/ 422612 w 516735"/>
                <a:gd name="connsiteY3" fmla="*/ 207759 h 761503"/>
                <a:gd name="connsiteX4" fmla="*/ 419893 w 516735"/>
                <a:gd name="connsiteY4" fmla="*/ 188722 h 761503"/>
                <a:gd name="connsiteX5" fmla="*/ 419893 w 516735"/>
                <a:gd name="connsiteY5" fmla="*/ 139768 h 761503"/>
                <a:gd name="connsiteX6" fmla="*/ 419893 w 516735"/>
                <a:gd name="connsiteY6" fmla="*/ 120730 h 761503"/>
                <a:gd name="connsiteX7" fmla="*/ 395416 w 516735"/>
                <a:gd name="connsiteY7" fmla="*/ 120730 h 761503"/>
                <a:gd name="connsiteX8" fmla="*/ 370939 w 516735"/>
                <a:gd name="connsiteY8" fmla="*/ 120730 h 761503"/>
                <a:gd name="connsiteX9" fmla="*/ 346461 w 516735"/>
                <a:gd name="connsiteY9" fmla="*/ 123450 h 761503"/>
                <a:gd name="connsiteX10" fmla="*/ 335583 w 516735"/>
                <a:gd name="connsiteY10" fmla="*/ 123450 h 761503"/>
                <a:gd name="connsiteX11" fmla="*/ 335583 w 516735"/>
                <a:gd name="connsiteY11" fmla="*/ 123450 h 761503"/>
                <a:gd name="connsiteX12" fmla="*/ 324704 w 516735"/>
                <a:gd name="connsiteY12" fmla="*/ 128889 h 761503"/>
                <a:gd name="connsiteX13" fmla="*/ 327424 w 516735"/>
                <a:gd name="connsiteY13" fmla="*/ 139768 h 761503"/>
                <a:gd name="connsiteX14" fmla="*/ 330144 w 516735"/>
                <a:gd name="connsiteY14" fmla="*/ 175123 h 761503"/>
                <a:gd name="connsiteX15" fmla="*/ 330144 w 516735"/>
                <a:gd name="connsiteY15" fmla="*/ 199600 h 761503"/>
                <a:gd name="connsiteX16" fmla="*/ 327424 w 516735"/>
                <a:gd name="connsiteY16" fmla="*/ 224077 h 761503"/>
                <a:gd name="connsiteX17" fmla="*/ 330144 w 516735"/>
                <a:gd name="connsiteY17" fmla="*/ 251274 h 761503"/>
                <a:gd name="connsiteX18" fmla="*/ 327424 w 516735"/>
                <a:gd name="connsiteY18" fmla="*/ 278470 h 761503"/>
                <a:gd name="connsiteX19" fmla="*/ 327424 w 516735"/>
                <a:gd name="connsiteY19" fmla="*/ 332864 h 761503"/>
                <a:gd name="connsiteX20" fmla="*/ 330144 w 516735"/>
                <a:gd name="connsiteY20" fmla="*/ 357340 h 761503"/>
                <a:gd name="connsiteX21" fmla="*/ 330144 w 516735"/>
                <a:gd name="connsiteY21" fmla="*/ 368219 h 761503"/>
                <a:gd name="connsiteX22" fmla="*/ 332863 w 516735"/>
                <a:gd name="connsiteY22" fmla="*/ 387257 h 761503"/>
                <a:gd name="connsiteX23" fmla="*/ 332863 w 516735"/>
                <a:gd name="connsiteY23" fmla="*/ 433491 h 761503"/>
                <a:gd name="connsiteX24" fmla="*/ 332863 w 516735"/>
                <a:gd name="connsiteY24" fmla="*/ 487884 h 761503"/>
                <a:gd name="connsiteX25" fmla="*/ 330144 w 516735"/>
                <a:gd name="connsiteY25" fmla="*/ 512361 h 761503"/>
                <a:gd name="connsiteX26" fmla="*/ 330144 w 516735"/>
                <a:gd name="connsiteY26" fmla="*/ 539557 h 761503"/>
                <a:gd name="connsiteX27" fmla="*/ 332863 w 516735"/>
                <a:gd name="connsiteY27" fmla="*/ 593950 h 761503"/>
                <a:gd name="connsiteX28" fmla="*/ 332863 w 516735"/>
                <a:gd name="connsiteY28" fmla="*/ 648343 h 761503"/>
                <a:gd name="connsiteX29" fmla="*/ 332863 w 516735"/>
                <a:gd name="connsiteY29" fmla="*/ 656502 h 761503"/>
                <a:gd name="connsiteX30" fmla="*/ 357341 w 516735"/>
                <a:gd name="connsiteY30" fmla="*/ 656502 h 761503"/>
                <a:gd name="connsiteX31" fmla="*/ 395416 w 516735"/>
                <a:gd name="connsiteY31" fmla="*/ 675540 h 761503"/>
                <a:gd name="connsiteX32" fmla="*/ 389976 w 516735"/>
                <a:gd name="connsiteY32" fmla="*/ 691858 h 761503"/>
                <a:gd name="connsiteX33" fmla="*/ 373658 w 516735"/>
                <a:gd name="connsiteY33" fmla="*/ 700017 h 761503"/>
                <a:gd name="connsiteX34" fmla="*/ 351901 w 516735"/>
                <a:gd name="connsiteY34" fmla="*/ 702737 h 761503"/>
                <a:gd name="connsiteX35" fmla="*/ 319265 w 516735"/>
                <a:gd name="connsiteY35" fmla="*/ 702737 h 761503"/>
                <a:gd name="connsiteX36" fmla="*/ 311106 w 516735"/>
                <a:gd name="connsiteY36" fmla="*/ 708176 h 761503"/>
                <a:gd name="connsiteX37" fmla="*/ 289349 w 516735"/>
                <a:gd name="connsiteY37" fmla="*/ 713615 h 761503"/>
                <a:gd name="connsiteX38" fmla="*/ 270311 w 516735"/>
                <a:gd name="connsiteY38" fmla="*/ 713615 h 761503"/>
                <a:gd name="connsiteX39" fmla="*/ 243115 w 516735"/>
                <a:gd name="connsiteY39" fmla="*/ 705456 h 761503"/>
                <a:gd name="connsiteX40" fmla="*/ 237675 w 516735"/>
                <a:gd name="connsiteY40" fmla="*/ 702737 h 761503"/>
                <a:gd name="connsiteX41" fmla="*/ 199600 w 516735"/>
                <a:gd name="connsiteY41" fmla="*/ 702737 h 761503"/>
                <a:gd name="connsiteX42" fmla="*/ 175123 w 516735"/>
                <a:gd name="connsiteY42" fmla="*/ 702737 h 761503"/>
                <a:gd name="connsiteX43" fmla="*/ 147927 w 516735"/>
                <a:gd name="connsiteY43" fmla="*/ 697297 h 761503"/>
                <a:gd name="connsiteX44" fmla="*/ 131609 w 516735"/>
                <a:gd name="connsiteY44" fmla="*/ 678260 h 761503"/>
                <a:gd name="connsiteX45" fmla="*/ 137048 w 516735"/>
                <a:gd name="connsiteY45" fmla="*/ 670101 h 761503"/>
                <a:gd name="connsiteX46" fmla="*/ 158805 w 516735"/>
                <a:gd name="connsiteY46" fmla="*/ 661942 h 761503"/>
                <a:gd name="connsiteX47" fmla="*/ 199600 w 516735"/>
                <a:gd name="connsiteY47" fmla="*/ 659222 h 761503"/>
                <a:gd name="connsiteX48" fmla="*/ 199600 w 516735"/>
                <a:gd name="connsiteY48" fmla="*/ 659222 h 761503"/>
                <a:gd name="connsiteX49" fmla="*/ 196880 w 516735"/>
                <a:gd name="connsiteY49" fmla="*/ 629306 h 761503"/>
                <a:gd name="connsiteX50" fmla="*/ 199600 w 516735"/>
                <a:gd name="connsiteY50" fmla="*/ 574913 h 761503"/>
                <a:gd name="connsiteX51" fmla="*/ 202320 w 516735"/>
                <a:gd name="connsiteY51" fmla="*/ 523239 h 761503"/>
                <a:gd name="connsiteX52" fmla="*/ 205040 w 516735"/>
                <a:gd name="connsiteY52" fmla="*/ 460687 h 761503"/>
                <a:gd name="connsiteX53" fmla="*/ 205040 w 516735"/>
                <a:gd name="connsiteY53" fmla="*/ 417173 h 761503"/>
                <a:gd name="connsiteX54" fmla="*/ 207759 w 516735"/>
                <a:gd name="connsiteY54" fmla="*/ 392696 h 761503"/>
                <a:gd name="connsiteX55" fmla="*/ 210478 w 516735"/>
                <a:gd name="connsiteY55" fmla="*/ 368219 h 761503"/>
                <a:gd name="connsiteX56" fmla="*/ 210478 w 516735"/>
                <a:gd name="connsiteY56" fmla="*/ 313826 h 761503"/>
                <a:gd name="connsiteX57" fmla="*/ 210478 w 516735"/>
                <a:gd name="connsiteY57" fmla="*/ 259433 h 761503"/>
                <a:gd name="connsiteX58" fmla="*/ 210478 w 516735"/>
                <a:gd name="connsiteY58" fmla="*/ 213199 h 761503"/>
                <a:gd name="connsiteX59" fmla="*/ 210478 w 516735"/>
                <a:gd name="connsiteY59" fmla="*/ 145207 h 761503"/>
                <a:gd name="connsiteX60" fmla="*/ 213198 w 516735"/>
                <a:gd name="connsiteY60" fmla="*/ 131609 h 761503"/>
                <a:gd name="connsiteX61" fmla="*/ 205040 w 516735"/>
                <a:gd name="connsiteY61" fmla="*/ 123450 h 761503"/>
                <a:gd name="connsiteX62" fmla="*/ 161525 w 516735"/>
                <a:gd name="connsiteY62" fmla="*/ 123450 h 761503"/>
                <a:gd name="connsiteX63" fmla="*/ 112571 w 516735"/>
                <a:gd name="connsiteY63" fmla="*/ 120730 h 761503"/>
                <a:gd name="connsiteX64" fmla="*/ 104412 w 516735"/>
                <a:gd name="connsiteY64" fmla="*/ 118011 h 761503"/>
                <a:gd name="connsiteX65" fmla="*/ 107132 w 516735"/>
                <a:gd name="connsiteY65" fmla="*/ 191441 h 761503"/>
                <a:gd name="connsiteX66" fmla="*/ 90814 w 516735"/>
                <a:gd name="connsiteY66" fmla="*/ 224077 h 761503"/>
                <a:gd name="connsiteX67" fmla="*/ 74496 w 516735"/>
                <a:gd name="connsiteY67" fmla="*/ 218638 h 761503"/>
                <a:gd name="connsiteX68" fmla="*/ 66337 w 516735"/>
                <a:gd name="connsiteY68" fmla="*/ 205040 h 761503"/>
                <a:gd name="connsiteX69" fmla="*/ 63617 w 516735"/>
                <a:gd name="connsiteY69" fmla="*/ 186002 h 761503"/>
                <a:gd name="connsiteX70" fmla="*/ 63617 w 516735"/>
                <a:gd name="connsiteY70" fmla="*/ 145207 h 761503"/>
                <a:gd name="connsiteX71" fmla="*/ 63617 w 516735"/>
                <a:gd name="connsiteY71" fmla="*/ 109852 h 761503"/>
                <a:gd name="connsiteX72" fmla="*/ 58178 w 516735"/>
                <a:gd name="connsiteY72" fmla="*/ 96253 h 761503"/>
                <a:gd name="connsiteX73" fmla="*/ 66337 w 516735"/>
                <a:gd name="connsiteY73" fmla="*/ 85375 h 761503"/>
                <a:gd name="connsiteX74" fmla="*/ 93533 w 516735"/>
                <a:gd name="connsiteY74" fmla="*/ 77216 h 761503"/>
                <a:gd name="connsiteX75" fmla="*/ 115290 w 516735"/>
                <a:gd name="connsiteY75" fmla="*/ 77216 h 761503"/>
                <a:gd name="connsiteX76" fmla="*/ 169684 w 516735"/>
                <a:gd name="connsiteY76" fmla="*/ 74496 h 761503"/>
                <a:gd name="connsiteX77" fmla="*/ 194161 w 516735"/>
                <a:gd name="connsiteY77" fmla="*/ 71776 h 761503"/>
                <a:gd name="connsiteX78" fmla="*/ 196880 w 516735"/>
                <a:gd name="connsiteY78" fmla="*/ 71776 h 761503"/>
                <a:gd name="connsiteX79" fmla="*/ 210478 w 516735"/>
                <a:gd name="connsiteY79" fmla="*/ 71776 h 761503"/>
                <a:gd name="connsiteX80" fmla="*/ 218638 w 516735"/>
                <a:gd name="connsiteY80" fmla="*/ 71776 h 761503"/>
                <a:gd name="connsiteX81" fmla="*/ 237675 w 516735"/>
                <a:gd name="connsiteY81" fmla="*/ 60898 h 761503"/>
                <a:gd name="connsiteX82" fmla="*/ 253993 w 516735"/>
                <a:gd name="connsiteY82" fmla="*/ 58178 h 761503"/>
                <a:gd name="connsiteX83" fmla="*/ 283910 w 516735"/>
                <a:gd name="connsiteY83" fmla="*/ 60898 h 761503"/>
                <a:gd name="connsiteX84" fmla="*/ 294788 w 516735"/>
                <a:gd name="connsiteY84" fmla="*/ 66337 h 761503"/>
                <a:gd name="connsiteX85" fmla="*/ 305667 w 516735"/>
                <a:gd name="connsiteY85" fmla="*/ 74496 h 761503"/>
                <a:gd name="connsiteX86" fmla="*/ 313826 w 516735"/>
                <a:gd name="connsiteY86" fmla="*/ 74496 h 761503"/>
                <a:gd name="connsiteX87" fmla="*/ 327424 w 516735"/>
                <a:gd name="connsiteY87" fmla="*/ 74496 h 761503"/>
                <a:gd name="connsiteX88" fmla="*/ 354621 w 516735"/>
                <a:gd name="connsiteY88" fmla="*/ 74496 h 761503"/>
                <a:gd name="connsiteX89" fmla="*/ 422612 w 516735"/>
                <a:gd name="connsiteY89" fmla="*/ 74496 h 761503"/>
                <a:gd name="connsiteX90" fmla="*/ 455248 w 516735"/>
                <a:gd name="connsiteY90" fmla="*/ 79936 h 761503"/>
                <a:gd name="connsiteX91" fmla="*/ 466127 w 516735"/>
                <a:gd name="connsiteY91" fmla="*/ 98973 h 761503"/>
                <a:gd name="connsiteX92" fmla="*/ 463407 w 516735"/>
                <a:gd name="connsiteY92" fmla="*/ 109852 h 761503"/>
                <a:gd name="connsiteX93" fmla="*/ 463407 w 516735"/>
                <a:gd name="connsiteY93" fmla="*/ 120730 h 761503"/>
                <a:gd name="connsiteX94" fmla="*/ 463407 w 516735"/>
                <a:gd name="connsiteY94" fmla="*/ 194161 h 761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</a:cxnLst>
              <a:rect l="l" t="t" r="r" b="b"/>
              <a:pathLst>
                <a:path w="516735" h="761503">
                  <a:moveTo>
                    <a:pt x="463407" y="194161"/>
                  </a:moveTo>
                  <a:cubicBezTo>
                    <a:pt x="463407" y="205040"/>
                    <a:pt x="463407" y="226797"/>
                    <a:pt x="447089" y="226797"/>
                  </a:cubicBezTo>
                  <a:cubicBezTo>
                    <a:pt x="438930" y="226797"/>
                    <a:pt x="436211" y="226797"/>
                    <a:pt x="430771" y="221357"/>
                  </a:cubicBezTo>
                  <a:cubicBezTo>
                    <a:pt x="425332" y="218638"/>
                    <a:pt x="422612" y="210479"/>
                    <a:pt x="422612" y="207759"/>
                  </a:cubicBezTo>
                  <a:cubicBezTo>
                    <a:pt x="419893" y="199600"/>
                    <a:pt x="419893" y="194161"/>
                    <a:pt x="419893" y="188722"/>
                  </a:cubicBezTo>
                  <a:cubicBezTo>
                    <a:pt x="419893" y="183282"/>
                    <a:pt x="419893" y="147927"/>
                    <a:pt x="419893" y="139768"/>
                  </a:cubicBezTo>
                  <a:cubicBezTo>
                    <a:pt x="419893" y="134329"/>
                    <a:pt x="419893" y="128889"/>
                    <a:pt x="419893" y="120730"/>
                  </a:cubicBezTo>
                  <a:cubicBezTo>
                    <a:pt x="411734" y="120730"/>
                    <a:pt x="403574" y="120730"/>
                    <a:pt x="395416" y="120730"/>
                  </a:cubicBezTo>
                  <a:cubicBezTo>
                    <a:pt x="387256" y="120730"/>
                    <a:pt x="379098" y="120730"/>
                    <a:pt x="370939" y="120730"/>
                  </a:cubicBezTo>
                  <a:cubicBezTo>
                    <a:pt x="362780" y="120730"/>
                    <a:pt x="354621" y="123450"/>
                    <a:pt x="346461" y="123450"/>
                  </a:cubicBezTo>
                  <a:cubicBezTo>
                    <a:pt x="343742" y="123450"/>
                    <a:pt x="341023" y="123450"/>
                    <a:pt x="335583" y="123450"/>
                  </a:cubicBezTo>
                  <a:cubicBezTo>
                    <a:pt x="335583" y="123450"/>
                    <a:pt x="335583" y="123450"/>
                    <a:pt x="335583" y="123450"/>
                  </a:cubicBezTo>
                  <a:cubicBezTo>
                    <a:pt x="327424" y="123450"/>
                    <a:pt x="324704" y="126170"/>
                    <a:pt x="324704" y="128889"/>
                  </a:cubicBezTo>
                  <a:cubicBezTo>
                    <a:pt x="324704" y="131609"/>
                    <a:pt x="324704" y="137048"/>
                    <a:pt x="327424" y="139768"/>
                  </a:cubicBezTo>
                  <a:cubicBezTo>
                    <a:pt x="330144" y="147927"/>
                    <a:pt x="330144" y="166964"/>
                    <a:pt x="330144" y="175123"/>
                  </a:cubicBezTo>
                  <a:cubicBezTo>
                    <a:pt x="330144" y="183282"/>
                    <a:pt x="330144" y="191441"/>
                    <a:pt x="330144" y="199600"/>
                  </a:cubicBezTo>
                  <a:cubicBezTo>
                    <a:pt x="330144" y="207759"/>
                    <a:pt x="327424" y="215918"/>
                    <a:pt x="327424" y="224077"/>
                  </a:cubicBezTo>
                  <a:cubicBezTo>
                    <a:pt x="327424" y="232236"/>
                    <a:pt x="330144" y="243115"/>
                    <a:pt x="330144" y="251274"/>
                  </a:cubicBezTo>
                  <a:cubicBezTo>
                    <a:pt x="330144" y="259433"/>
                    <a:pt x="330144" y="267592"/>
                    <a:pt x="327424" y="278470"/>
                  </a:cubicBezTo>
                  <a:cubicBezTo>
                    <a:pt x="327424" y="294788"/>
                    <a:pt x="327424" y="313826"/>
                    <a:pt x="327424" y="332864"/>
                  </a:cubicBezTo>
                  <a:cubicBezTo>
                    <a:pt x="327424" y="341022"/>
                    <a:pt x="327424" y="349181"/>
                    <a:pt x="330144" y="357340"/>
                  </a:cubicBezTo>
                  <a:cubicBezTo>
                    <a:pt x="330144" y="360060"/>
                    <a:pt x="330144" y="365499"/>
                    <a:pt x="330144" y="368219"/>
                  </a:cubicBezTo>
                  <a:cubicBezTo>
                    <a:pt x="330144" y="373658"/>
                    <a:pt x="332863" y="384537"/>
                    <a:pt x="332863" y="387257"/>
                  </a:cubicBezTo>
                  <a:cubicBezTo>
                    <a:pt x="332863" y="406294"/>
                    <a:pt x="332863" y="414453"/>
                    <a:pt x="332863" y="433491"/>
                  </a:cubicBezTo>
                  <a:cubicBezTo>
                    <a:pt x="332863" y="452528"/>
                    <a:pt x="335583" y="468846"/>
                    <a:pt x="332863" y="487884"/>
                  </a:cubicBezTo>
                  <a:cubicBezTo>
                    <a:pt x="332863" y="496043"/>
                    <a:pt x="330144" y="504202"/>
                    <a:pt x="330144" y="512361"/>
                  </a:cubicBezTo>
                  <a:cubicBezTo>
                    <a:pt x="330144" y="520520"/>
                    <a:pt x="330144" y="531398"/>
                    <a:pt x="330144" y="539557"/>
                  </a:cubicBezTo>
                  <a:cubicBezTo>
                    <a:pt x="330144" y="558595"/>
                    <a:pt x="330144" y="574913"/>
                    <a:pt x="332863" y="593950"/>
                  </a:cubicBezTo>
                  <a:cubicBezTo>
                    <a:pt x="332863" y="610268"/>
                    <a:pt x="332863" y="632026"/>
                    <a:pt x="332863" y="648343"/>
                  </a:cubicBezTo>
                  <a:cubicBezTo>
                    <a:pt x="332863" y="651063"/>
                    <a:pt x="332863" y="653783"/>
                    <a:pt x="332863" y="656502"/>
                  </a:cubicBezTo>
                  <a:cubicBezTo>
                    <a:pt x="343742" y="656502"/>
                    <a:pt x="351901" y="656502"/>
                    <a:pt x="357341" y="656502"/>
                  </a:cubicBezTo>
                  <a:cubicBezTo>
                    <a:pt x="370939" y="656502"/>
                    <a:pt x="395416" y="659222"/>
                    <a:pt x="395416" y="675540"/>
                  </a:cubicBezTo>
                  <a:cubicBezTo>
                    <a:pt x="395416" y="683699"/>
                    <a:pt x="392696" y="686419"/>
                    <a:pt x="389976" y="691858"/>
                  </a:cubicBezTo>
                  <a:cubicBezTo>
                    <a:pt x="384537" y="697297"/>
                    <a:pt x="379098" y="700017"/>
                    <a:pt x="373658" y="700017"/>
                  </a:cubicBezTo>
                  <a:cubicBezTo>
                    <a:pt x="365499" y="702737"/>
                    <a:pt x="357341" y="702737"/>
                    <a:pt x="351901" y="702737"/>
                  </a:cubicBezTo>
                  <a:cubicBezTo>
                    <a:pt x="349181" y="702737"/>
                    <a:pt x="335583" y="702737"/>
                    <a:pt x="319265" y="702737"/>
                  </a:cubicBezTo>
                  <a:cubicBezTo>
                    <a:pt x="316546" y="705456"/>
                    <a:pt x="313826" y="705456"/>
                    <a:pt x="311106" y="708176"/>
                  </a:cubicBezTo>
                  <a:cubicBezTo>
                    <a:pt x="302948" y="713615"/>
                    <a:pt x="297508" y="713615"/>
                    <a:pt x="289349" y="713615"/>
                  </a:cubicBezTo>
                  <a:cubicBezTo>
                    <a:pt x="283910" y="713615"/>
                    <a:pt x="278470" y="713615"/>
                    <a:pt x="270311" y="713615"/>
                  </a:cubicBezTo>
                  <a:cubicBezTo>
                    <a:pt x="259433" y="713615"/>
                    <a:pt x="251273" y="710895"/>
                    <a:pt x="243115" y="705456"/>
                  </a:cubicBezTo>
                  <a:cubicBezTo>
                    <a:pt x="240395" y="705456"/>
                    <a:pt x="237675" y="702737"/>
                    <a:pt x="237675" y="702737"/>
                  </a:cubicBezTo>
                  <a:cubicBezTo>
                    <a:pt x="224077" y="702737"/>
                    <a:pt x="213198" y="702737"/>
                    <a:pt x="199600" y="702737"/>
                  </a:cubicBezTo>
                  <a:cubicBezTo>
                    <a:pt x="191441" y="702737"/>
                    <a:pt x="183282" y="702737"/>
                    <a:pt x="175123" y="702737"/>
                  </a:cubicBezTo>
                  <a:cubicBezTo>
                    <a:pt x="166965" y="702737"/>
                    <a:pt x="156085" y="702737"/>
                    <a:pt x="147927" y="697297"/>
                  </a:cubicBezTo>
                  <a:cubicBezTo>
                    <a:pt x="139768" y="694578"/>
                    <a:pt x="131609" y="680979"/>
                    <a:pt x="131609" y="678260"/>
                  </a:cubicBezTo>
                  <a:cubicBezTo>
                    <a:pt x="131609" y="675540"/>
                    <a:pt x="131609" y="672820"/>
                    <a:pt x="137048" y="670101"/>
                  </a:cubicBezTo>
                  <a:cubicBezTo>
                    <a:pt x="142487" y="667381"/>
                    <a:pt x="153366" y="664661"/>
                    <a:pt x="158805" y="661942"/>
                  </a:cubicBezTo>
                  <a:cubicBezTo>
                    <a:pt x="175123" y="659222"/>
                    <a:pt x="191441" y="659222"/>
                    <a:pt x="199600" y="659222"/>
                  </a:cubicBezTo>
                  <a:lnTo>
                    <a:pt x="199600" y="659222"/>
                  </a:lnTo>
                  <a:cubicBezTo>
                    <a:pt x="199600" y="648343"/>
                    <a:pt x="196880" y="640184"/>
                    <a:pt x="196880" y="629306"/>
                  </a:cubicBezTo>
                  <a:cubicBezTo>
                    <a:pt x="196880" y="612988"/>
                    <a:pt x="196880" y="591231"/>
                    <a:pt x="199600" y="574913"/>
                  </a:cubicBezTo>
                  <a:cubicBezTo>
                    <a:pt x="199600" y="558595"/>
                    <a:pt x="199600" y="539557"/>
                    <a:pt x="202320" y="523239"/>
                  </a:cubicBezTo>
                  <a:cubicBezTo>
                    <a:pt x="202320" y="501482"/>
                    <a:pt x="205040" y="482445"/>
                    <a:pt x="205040" y="460687"/>
                  </a:cubicBezTo>
                  <a:cubicBezTo>
                    <a:pt x="205040" y="447089"/>
                    <a:pt x="205040" y="430771"/>
                    <a:pt x="205040" y="417173"/>
                  </a:cubicBezTo>
                  <a:cubicBezTo>
                    <a:pt x="205040" y="409014"/>
                    <a:pt x="207759" y="400855"/>
                    <a:pt x="207759" y="392696"/>
                  </a:cubicBezTo>
                  <a:cubicBezTo>
                    <a:pt x="207759" y="384537"/>
                    <a:pt x="210478" y="376378"/>
                    <a:pt x="210478" y="368219"/>
                  </a:cubicBezTo>
                  <a:cubicBezTo>
                    <a:pt x="210478" y="351901"/>
                    <a:pt x="210478" y="332864"/>
                    <a:pt x="210478" y="313826"/>
                  </a:cubicBezTo>
                  <a:cubicBezTo>
                    <a:pt x="210478" y="294788"/>
                    <a:pt x="210478" y="275751"/>
                    <a:pt x="210478" y="259433"/>
                  </a:cubicBezTo>
                  <a:cubicBezTo>
                    <a:pt x="210478" y="243115"/>
                    <a:pt x="210478" y="226797"/>
                    <a:pt x="210478" y="213199"/>
                  </a:cubicBezTo>
                  <a:cubicBezTo>
                    <a:pt x="210478" y="194161"/>
                    <a:pt x="210478" y="164245"/>
                    <a:pt x="210478" y="145207"/>
                  </a:cubicBezTo>
                  <a:cubicBezTo>
                    <a:pt x="210478" y="139768"/>
                    <a:pt x="213198" y="134329"/>
                    <a:pt x="213198" y="131609"/>
                  </a:cubicBezTo>
                  <a:cubicBezTo>
                    <a:pt x="213198" y="126170"/>
                    <a:pt x="207759" y="123450"/>
                    <a:pt x="205040" y="123450"/>
                  </a:cubicBezTo>
                  <a:cubicBezTo>
                    <a:pt x="199600" y="123450"/>
                    <a:pt x="166965" y="123450"/>
                    <a:pt x="161525" y="123450"/>
                  </a:cubicBezTo>
                  <a:cubicBezTo>
                    <a:pt x="145207" y="123450"/>
                    <a:pt x="128889" y="123450"/>
                    <a:pt x="112571" y="120730"/>
                  </a:cubicBezTo>
                  <a:cubicBezTo>
                    <a:pt x="109852" y="120730"/>
                    <a:pt x="107132" y="120730"/>
                    <a:pt x="104412" y="118011"/>
                  </a:cubicBezTo>
                  <a:cubicBezTo>
                    <a:pt x="107132" y="137048"/>
                    <a:pt x="107132" y="172404"/>
                    <a:pt x="107132" y="191441"/>
                  </a:cubicBezTo>
                  <a:cubicBezTo>
                    <a:pt x="107132" y="202320"/>
                    <a:pt x="107132" y="224077"/>
                    <a:pt x="90814" y="224077"/>
                  </a:cubicBezTo>
                  <a:cubicBezTo>
                    <a:pt x="82655" y="224077"/>
                    <a:pt x="79935" y="221357"/>
                    <a:pt x="74496" y="218638"/>
                  </a:cubicBezTo>
                  <a:cubicBezTo>
                    <a:pt x="69057" y="215918"/>
                    <a:pt x="66337" y="210479"/>
                    <a:pt x="66337" y="205040"/>
                  </a:cubicBezTo>
                  <a:cubicBezTo>
                    <a:pt x="63617" y="196881"/>
                    <a:pt x="63617" y="191441"/>
                    <a:pt x="63617" y="186002"/>
                  </a:cubicBezTo>
                  <a:cubicBezTo>
                    <a:pt x="63617" y="180563"/>
                    <a:pt x="63617" y="153366"/>
                    <a:pt x="63617" y="145207"/>
                  </a:cubicBezTo>
                  <a:cubicBezTo>
                    <a:pt x="63617" y="134329"/>
                    <a:pt x="63617" y="120730"/>
                    <a:pt x="63617" y="109852"/>
                  </a:cubicBezTo>
                  <a:cubicBezTo>
                    <a:pt x="60897" y="104412"/>
                    <a:pt x="58178" y="101693"/>
                    <a:pt x="58178" y="96253"/>
                  </a:cubicBezTo>
                  <a:cubicBezTo>
                    <a:pt x="58178" y="93534"/>
                    <a:pt x="60897" y="88095"/>
                    <a:pt x="66337" y="85375"/>
                  </a:cubicBezTo>
                  <a:cubicBezTo>
                    <a:pt x="74496" y="79936"/>
                    <a:pt x="77215" y="77216"/>
                    <a:pt x="93533" y="77216"/>
                  </a:cubicBezTo>
                  <a:cubicBezTo>
                    <a:pt x="101692" y="77216"/>
                    <a:pt x="109852" y="77216"/>
                    <a:pt x="115290" y="77216"/>
                  </a:cubicBezTo>
                  <a:cubicBezTo>
                    <a:pt x="134328" y="77216"/>
                    <a:pt x="150646" y="77216"/>
                    <a:pt x="169684" y="74496"/>
                  </a:cubicBezTo>
                  <a:cubicBezTo>
                    <a:pt x="177843" y="74496"/>
                    <a:pt x="186002" y="71776"/>
                    <a:pt x="194161" y="71776"/>
                  </a:cubicBezTo>
                  <a:cubicBezTo>
                    <a:pt x="194161" y="71776"/>
                    <a:pt x="196880" y="71776"/>
                    <a:pt x="196880" y="71776"/>
                  </a:cubicBezTo>
                  <a:cubicBezTo>
                    <a:pt x="199600" y="71776"/>
                    <a:pt x="205040" y="71776"/>
                    <a:pt x="210478" y="71776"/>
                  </a:cubicBezTo>
                  <a:cubicBezTo>
                    <a:pt x="213198" y="71776"/>
                    <a:pt x="215918" y="71776"/>
                    <a:pt x="218638" y="71776"/>
                  </a:cubicBezTo>
                  <a:cubicBezTo>
                    <a:pt x="224077" y="69057"/>
                    <a:pt x="229516" y="63618"/>
                    <a:pt x="237675" y="60898"/>
                  </a:cubicBezTo>
                  <a:cubicBezTo>
                    <a:pt x="243115" y="58178"/>
                    <a:pt x="248554" y="58178"/>
                    <a:pt x="253993" y="58178"/>
                  </a:cubicBezTo>
                  <a:cubicBezTo>
                    <a:pt x="264872" y="58178"/>
                    <a:pt x="273031" y="58178"/>
                    <a:pt x="283910" y="60898"/>
                  </a:cubicBezTo>
                  <a:cubicBezTo>
                    <a:pt x="286629" y="60898"/>
                    <a:pt x="292068" y="63618"/>
                    <a:pt x="294788" y="66337"/>
                  </a:cubicBezTo>
                  <a:cubicBezTo>
                    <a:pt x="297508" y="69057"/>
                    <a:pt x="302948" y="71776"/>
                    <a:pt x="305667" y="74496"/>
                  </a:cubicBezTo>
                  <a:cubicBezTo>
                    <a:pt x="308386" y="74496"/>
                    <a:pt x="311106" y="74496"/>
                    <a:pt x="313826" y="74496"/>
                  </a:cubicBezTo>
                  <a:cubicBezTo>
                    <a:pt x="319265" y="74496"/>
                    <a:pt x="321985" y="74496"/>
                    <a:pt x="327424" y="74496"/>
                  </a:cubicBezTo>
                  <a:cubicBezTo>
                    <a:pt x="335583" y="74496"/>
                    <a:pt x="346461" y="74496"/>
                    <a:pt x="354621" y="74496"/>
                  </a:cubicBezTo>
                  <a:cubicBezTo>
                    <a:pt x="376378" y="74496"/>
                    <a:pt x="400855" y="74496"/>
                    <a:pt x="422612" y="74496"/>
                  </a:cubicBezTo>
                  <a:cubicBezTo>
                    <a:pt x="433491" y="74496"/>
                    <a:pt x="447089" y="74496"/>
                    <a:pt x="455248" y="79936"/>
                  </a:cubicBezTo>
                  <a:cubicBezTo>
                    <a:pt x="460687" y="82655"/>
                    <a:pt x="466127" y="90814"/>
                    <a:pt x="466127" y="98973"/>
                  </a:cubicBezTo>
                  <a:cubicBezTo>
                    <a:pt x="466127" y="101693"/>
                    <a:pt x="466127" y="107132"/>
                    <a:pt x="463407" y="109852"/>
                  </a:cubicBezTo>
                  <a:cubicBezTo>
                    <a:pt x="463407" y="112571"/>
                    <a:pt x="463407" y="112571"/>
                    <a:pt x="463407" y="120730"/>
                  </a:cubicBezTo>
                  <a:cubicBezTo>
                    <a:pt x="463407" y="142488"/>
                    <a:pt x="463407" y="172404"/>
                    <a:pt x="463407" y="194161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52" name="Title 51">
            <a:extLst>
              <a:ext uri="{FF2B5EF4-FFF2-40B4-BE49-F238E27FC236}">
                <a16:creationId xmlns:a16="http://schemas.microsoft.com/office/drawing/2014/main" id="{A2A18BD8-58F2-477C-8542-F5233F2756F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599" y="457200"/>
            <a:ext cx="5950857" cy="1904999"/>
          </a:xfrm>
          <a:prstGeom prst="rect">
            <a:avLst/>
          </a:prstGeom>
        </p:spPr>
        <p:txBody>
          <a:bodyPr/>
          <a:lstStyle>
            <a:lvl1pPr>
              <a:lnSpc>
                <a:spcPct val="82000"/>
              </a:lnSpc>
              <a:defRPr sz="6000"/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7277260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lose Statement Purpl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01AE889-7B80-4DAF-BFF1-2CAC896A364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38400" y="914400"/>
            <a:ext cx="7315200" cy="2174793"/>
          </a:xfrm>
          <a:prstGeom prst="rect">
            <a:avLst/>
          </a:prstGeom>
        </p:spPr>
        <p:txBody>
          <a:bodyPr/>
          <a:lstStyle>
            <a:lvl1pPr algn="ctr">
              <a:defRPr sz="8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F71F4C7A-D51B-409D-B308-C00E68C12219}"/>
              </a:ext>
            </a:extLst>
          </p:cNvPr>
          <p:cNvGrpSpPr>
            <a:grpSpLocks noChangeAspect="1"/>
          </p:cNvGrpSpPr>
          <p:nvPr/>
        </p:nvGrpSpPr>
        <p:grpSpPr bwMode="black">
          <a:xfrm>
            <a:off x="4953000" y="5133162"/>
            <a:ext cx="2286000" cy="880288"/>
            <a:chOff x="2078951" y="1888610"/>
            <a:chExt cx="8030200" cy="3092248"/>
          </a:xfrm>
          <a:solidFill>
            <a:srgbClr val="FFFFFF"/>
          </a:solidFill>
        </p:grpSpPr>
        <p:sp>
          <p:nvSpPr>
            <p:cNvPr id="7" name="Freeform: Shape 6">
              <a:extLst>
                <a:ext uri="{FF2B5EF4-FFF2-40B4-BE49-F238E27FC236}">
                  <a16:creationId xmlns:a16="http://schemas.microsoft.com/office/drawing/2014/main" id="{E62DCCC1-7C34-4D1F-92D6-D0FF7F1B2A08}"/>
                </a:ext>
              </a:extLst>
            </p:cNvPr>
            <p:cNvSpPr/>
            <p:nvPr/>
          </p:nvSpPr>
          <p:spPr bwMode="black">
            <a:xfrm>
              <a:off x="2078951" y="2872694"/>
              <a:ext cx="951880" cy="652717"/>
            </a:xfrm>
            <a:custGeom>
              <a:avLst/>
              <a:gdLst>
                <a:gd name="connsiteX0" fmla="*/ 903041 w 951880"/>
                <a:gd name="connsiteY0" fmla="*/ 330574 h 652717"/>
                <a:gd name="connsiteX1" fmla="*/ 780656 w 951880"/>
                <a:gd name="connsiteY1" fmla="*/ 379528 h 652717"/>
                <a:gd name="connsiteX2" fmla="*/ 598439 w 951880"/>
                <a:gd name="connsiteY2" fmla="*/ 311537 h 652717"/>
                <a:gd name="connsiteX3" fmla="*/ 505970 w 951880"/>
                <a:gd name="connsiteY3" fmla="*/ 164675 h 652717"/>
                <a:gd name="connsiteX4" fmla="*/ 266640 w 951880"/>
                <a:gd name="connsiteY4" fmla="*/ 61329 h 652717"/>
                <a:gd name="connsiteX5" fmla="*/ 103461 w 951880"/>
                <a:gd name="connsiteY5" fmla="*/ 458398 h 652717"/>
                <a:gd name="connsiteX6" fmla="*/ 756179 w 951880"/>
                <a:gd name="connsiteY6" fmla="*/ 485595 h 652717"/>
                <a:gd name="connsiteX7" fmla="*/ 903041 w 951880"/>
                <a:gd name="connsiteY7" fmla="*/ 330574 h 6527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51880" h="652717">
                  <a:moveTo>
                    <a:pt x="903041" y="330574"/>
                  </a:moveTo>
                  <a:cubicBezTo>
                    <a:pt x="867685" y="363210"/>
                    <a:pt x="813292" y="374089"/>
                    <a:pt x="780656" y="379528"/>
                  </a:cubicBezTo>
                  <a:cubicBezTo>
                    <a:pt x="712664" y="387687"/>
                    <a:pt x="641953" y="365930"/>
                    <a:pt x="598439" y="311537"/>
                  </a:cubicBezTo>
                  <a:cubicBezTo>
                    <a:pt x="563083" y="268022"/>
                    <a:pt x="544046" y="210910"/>
                    <a:pt x="505970" y="164675"/>
                  </a:cubicBezTo>
                  <a:cubicBezTo>
                    <a:pt x="448858" y="93964"/>
                    <a:pt x="359109" y="45011"/>
                    <a:pt x="266640" y="61329"/>
                  </a:cubicBezTo>
                  <a:cubicBezTo>
                    <a:pt x="81704" y="93964"/>
                    <a:pt x="114" y="308817"/>
                    <a:pt x="103461" y="458398"/>
                  </a:cubicBezTo>
                  <a:cubicBezTo>
                    <a:pt x="253042" y="670531"/>
                    <a:pt x="584840" y="635176"/>
                    <a:pt x="756179" y="485595"/>
                  </a:cubicBezTo>
                  <a:cubicBezTo>
                    <a:pt x="813292" y="442080"/>
                    <a:pt x="862246" y="390407"/>
                    <a:pt x="903041" y="330574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" name="Freeform: Shape 7">
              <a:extLst>
                <a:ext uri="{FF2B5EF4-FFF2-40B4-BE49-F238E27FC236}">
                  <a16:creationId xmlns:a16="http://schemas.microsoft.com/office/drawing/2014/main" id="{4B13D148-83B4-497C-BE6D-DB88AFAE198E}"/>
                </a:ext>
              </a:extLst>
            </p:cNvPr>
            <p:cNvSpPr/>
            <p:nvPr/>
          </p:nvSpPr>
          <p:spPr bwMode="black">
            <a:xfrm>
              <a:off x="9151831" y="2872694"/>
              <a:ext cx="951880" cy="652717"/>
            </a:xfrm>
            <a:custGeom>
              <a:avLst/>
              <a:gdLst>
                <a:gd name="connsiteX0" fmla="*/ 58178 w 951880"/>
                <a:gd name="connsiteY0" fmla="*/ 330574 h 652717"/>
                <a:gd name="connsiteX1" fmla="*/ 180563 w 951880"/>
                <a:gd name="connsiteY1" fmla="*/ 379528 h 652717"/>
                <a:gd name="connsiteX2" fmla="*/ 362780 w 951880"/>
                <a:gd name="connsiteY2" fmla="*/ 311537 h 652717"/>
                <a:gd name="connsiteX3" fmla="*/ 455249 w 951880"/>
                <a:gd name="connsiteY3" fmla="*/ 164675 h 652717"/>
                <a:gd name="connsiteX4" fmla="*/ 694578 w 951880"/>
                <a:gd name="connsiteY4" fmla="*/ 61329 h 652717"/>
                <a:gd name="connsiteX5" fmla="*/ 857758 w 951880"/>
                <a:gd name="connsiteY5" fmla="*/ 458398 h 652717"/>
                <a:gd name="connsiteX6" fmla="*/ 205040 w 951880"/>
                <a:gd name="connsiteY6" fmla="*/ 485595 h 652717"/>
                <a:gd name="connsiteX7" fmla="*/ 58178 w 951880"/>
                <a:gd name="connsiteY7" fmla="*/ 330574 h 6527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51880" h="652717">
                  <a:moveTo>
                    <a:pt x="58178" y="330574"/>
                  </a:moveTo>
                  <a:cubicBezTo>
                    <a:pt x="96253" y="363210"/>
                    <a:pt x="147927" y="374089"/>
                    <a:pt x="180563" y="379528"/>
                  </a:cubicBezTo>
                  <a:cubicBezTo>
                    <a:pt x="248554" y="387687"/>
                    <a:pt x="319266" y="365930"/>
                    <a:pt x="362780" y="311537"/>
                  </a:cubicBezTo>
                  <a:cubicBezTo>
                    <a:pt x="398136" y="268022"/>
                    <a:pt x="417174" y="210910"/>
                    <a:pt x="455249" y="164675"/>
                  </a:cubicBezTo>
                  <a:cubicBezTo>
                    <a:pt x="512362" y="93964"/>
                    <a:pt x="602110" y="45011"/>
                    <a:pt x="694578" y="61329"/>
                  </a:cubicBezTo>
                  <a:cubicBezTo>
                    <a:pt x="879515" y="93964"/>
                    <a:pt x="961105" y="308817"/>
                    <a:pt x="857758" y="458398"/>
                  </a:cubicBezTo>
                  <a:cubicBezTo>
                    <a:pt x="708176" y="670531"/>
                    <a:pt x="376379" y="635176"/>
                    <a:pt x="205040" y="485595"/>
                  </a:cubicBezTo>
                  <a:cubicBezTo>
                    <a:pt x="150646" y="442080"/>
                    <a:pt x="101693" y="390407"/>
                    <a:pt x="58178" y="330574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" name="Freeform: Shape 8">
              <a:extLst>
                <a:ext uri="{FF2B5EF4-FFF2-40B4-BE49-F238E27FC236}">
                  <a16:creationId xmlns:a16="http://schemas.microsoft.com/office/drawing/2014/main" id="{99906698-4C68-4028-AC80-CD35DAA2E8F3}"/>
                </a:ext>
              </a:extLst>
            </p:cNvPr>
            <p:cNvSpPr/>
            <p:nvPr/>
          </p:nvSpPr>
          <p:spPr bwMode="black">
            <a:xfrm>
              <a:off x="8001294" y="2010994"/>
              <a:ext cx="734308" cy="299162"/>
            </a:xfrm>
            <a:custGeom>
              <a:avLst/>
              <a:gdLst>
                <a:gd name="connsiteX0" fmla="*/ 596792 w 734307"/>
                <a:gd name="connsiteY0" fmla="*/ 58178 h 299162"/>
                <a:gd name="connsiteX1" fmla="*/ 148048 w 734307"/>
                <a:gd name="connsiteY1" fmla="*/ 58178 h 299162"/>
                <a:gd name="connsiteX2" fmla="*/ 58299 w 734307"/>
                <a:gd name="connsiteY2" fmla="*/ 150646 h 299162"/>
                <a:gd name="connsiteX3" fmla="*/ 148048 w 734307"/>
                <a:gd name="connsiteY3" fmla="*/ 251274 h 299162"/>
                <a:gd name="connsiteX4" fmla="*/ 596792 w 734307"/>
                <a:gd name="connsiteY4" fmla="*/ 251274 h 299162"/>
                <a:gd name="connsiteX5" fmla="*/ 686541 w 734307"/>
                <a:gd name="connsiteY5" fmla="*/ 158805 h 299162"/>
                <a:gd name="connsiteX6" fmla="*/ 596792 w 734307"/>
                <a:gd name="connsiteY6" fmla="*/ 58178 h 2991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34307" h="299162">
                  <a:moveTo>
                    <a:pt x="596792" y="58178"/>
                  </a:moveTo>
                  <a:cubicBezTo>
                    <a:pt x="591353" y="58178"/>
                    <a:pt x="153487" y="58178"/>
                    <a:pt x="148048" y="58178"/>
                  </a:cubicBezTo>
                  <a:cubicBezTo>
                    <a:pt x="99094" y="60898"/>
                    <a:pt x="61019" y="104412"/>
                    <a:pt x="58299" y="150646"/>
                  </a:cubicBezTo>
                  <a:cubicBezTo>
                    <a:pt x="55580" y="199600"/>
                    <a:pt x="99094" y="248554"/>
                    <a:pt x="148048" y="251274"/>
                  </a:cubicBezTo>
                  <a:cubicBezTo>
                    <a:pt x="153487" y="251274"/>
                    <a:pt x="591353" y="251274"/>
                    <a:pt x="596792" y="251274"/>
                  </a:cubicBezTo>
                  <a:cubicBezTo>
                    <a:pt x="645746" y="248554"/>
                    <a:pt x="683821" y="205040"/>
                    <a:pt x="686541" y="158805"/>
                  </a:cubicBezTo>
                  <a:cubicBezTo>
                    <a:pt x="689260" y="109852"/>
                    <a:pt x="648465" y="60898"/>
                    <a:pt x="596792" y="58178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" name="Freeform: Shape 9">
              <a:extLst>
                <a:ext uri="{FF2B5EF4-FFF2-40B4-BE49-F238E27FC236}">
                  <a16:creationId xmlns:a16="http://schemas.microsoft.com/office/drawing/2014/main" id="{3AA08F4D-A063-49F1-9F3A-664ECBD5F559}"/>
                </a:ext>
              </a:extLst>
            </p:cNvPr>
            <p:cNvSpPr/>
            <p:nvPr/>
          </p:nvSpPr>
          <p:spPr bwMode="black">
            <a:xfrm>
              <a:off x="4920042" y="2277520"/>
              <a:ext cx="1006274" cy="951879"/>
            </a:xfrm>
            <a:custGeom>
              <a:avLst/>
              <a:gdLst>
                <a:gd name="connsiteX0" fmla="*/ 884954 w 1006273"/>
                <a:gd name="connsiteY0" fmla="*/ 746251 h 951879"/>
                <a:gd name="connsiteX1" fmla="*/ 874076 w 1006273"/>
                <a:gd name="connsiteY1" fmla="*/ 670101 h 951879"/>
                <a:gd name="connsiteX2" fmla="*/ 874076 w 1006273"/>
                <a:gd name="connsiteY2" fmla="*/ 536837 h 951879"/>
                <a:gd name="connsiteX3" fmla="*/ 689139 w 1006273"/>
                <a:gd name="connsiteY3" fmla="*/ 88094 h 951879"/>
                <a:gd name="connsiteX4" fmla="*/ 428052 w 1006273"/>
                <a:gd name="connsiteY4" fmla="*/ 253993 h 951879"/>
                <a:gd name="connsiteX5" fmla="*/ 196881 w 1006273"/>
                <a:gd name="connsiteY5" fmla="*/ 58178 h 951879"/>
                <a:gd name="connsiteX6" fmla="*/ 58178 w 1006273"/>
                <a:gd name="connsiteY6" fmla="*/ 128889 h 951879"/>
                <a:gd name="connsiteX7" fmla="*/ 142488 w 1006273"/>
                <a:gd name="connsiteY7" fmla="*/ 273031 h 951879"/>
                <a:gd name="connsiteX8" fmla="*/ 142488 w 1006273"/>
                <a:gd name="connsiteY8" fmla="*/ 757130 h 951879"/>
                <a:gd name="connsiteX9" fmla="*/ 283910 w 1006273"/>
                <a:gd name="connsiteY9" fmla="*/ 895832 h 951879"/>
                <a:gd name="connsiteX10" fmla="*/ 428052 w 1006273"/>
                <a:gd name="connsiteY10" fmla="*/ 757130 h 951879"/>
                <a:gd name="connsiteX11" fmla="*/ 428052 w 1006273"/>
                <a:gd name="connsiteY11" fmla="*/ 400855 h 951879"/>
                <a:gd name="connsiteX12" fmla="*/ 523240 w 1006273"/>
                <a:gd name="connsiteY12" fmla="*/ 283910 h 951879"/>
                <a:gd name="connsiteX13" fmla="*/ 591231 w 1006273"/>
                <a:gd name="connsiteY13" fmla="*/ 354621 h 951879"/>
                <a:gd name="connsiteX14" fmla="*/ 591231 w 1006273"/>
                <a:gd name="connsiteY14" fmla="*/ 697297 h 951879"/>
                <a:gd name="connsiteX15" fmla="*/ 593951 w 1006273"/>
                <a:gd name="connsiteY15" fmla="*/ 729933 h 951879"/>
                <a:gd name="connsiteX16" fmla="*/ 610269 w 1006273"/>
                <a:gd name="connsiteY16" fmla="*/ 778887 h 951879"/>
                <a:gd name="connsiteX17" fmla="*/ 822402 w 1006273"/>
                <a:gd name="connsiteY17" fmla="*/ 893112 h 951879"/>
                <a:gd name="connsiteX18" fmla="*/ 961105 w 1006273"/>
                <a:gd name="connsiteY18" fmla="*/ 822401 h 951879"/>
                <a:gd name="connsiteX19" fmla="*/ 884954 w 1006273"/>
                <a:gd name="connsiteY19" fmla="*/ 746251 h 9518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006273" h="951879">
                  <a:moveTo>
                    <a:pt x="884954" y="746251"/>
                  </a:moveTo>
                  <a:cubicBezTo>
                    <a:pt x="879515" y="721774"/>
                    <a:pt x="876795" y="694578"/>
                    <a:pt x="874076" y="670101"/>
                  </a:cubicBezTo>
                  <a:cubicBezTo>
                    <a:pt x="874076" y="634745"/>
                    <a:pt x="874076" y="583072"/>
                    <a:pt x="874076" y="536837"/>
                  </a:cubicBezTo>
                  <a:cubicBezTo>
                    <a:pt x="879515" y="373658"/>
                    <a:pt x="909431" y="88094"/>
                    <a:pt x="689139" y="88094"/>
                  </a:cubicBezTo>
                  <a:cubicBezTo>
                    <a:pt x="539558" y="88094"/>
                    <a:pt x="452529" y="213199"/>
                    <a:pt x="428052" y="253993"/>
                  </a:cubicBezTo>
                  <a:cubicBezTo>
                    <a:pt x="425332" y="139768"/>
                    <a:pt x="335583" y="58178"/>
                    <a:pt x="196881" y="58178"/>
                  </a:cubicBezTo>
                  <a:cubicBezTo>
                    <a:pt x="109852" y="58178"/>
                    <a:pt x="58178" y="128889"/>
                    <a:pt x="58178" y="128889"/>
                  </a:cubicBezTo>
                  <a:cubicBezTo>
                    <a:pt x="58178" y="128889"/>
                    <a:pt x="142488" y="158805"/>
                    <a:pt x="142488" y="273031"/>
                  </a:cubicBezTo>
                  <a:cubicBezTo>
                    <a:pt x="142488" y="354621"/>
                    <a:pt x="142488" y="757130"/>
                    <a:pt x="142488" y="757130"/>
                  </a:cubicBezTo>
                  <a:cubicBezTo>
                    <a:pt x="145207" y="827841"/>
                    <a:pt x="194161" y="895832"/>
                    <a:pt x="283910" y="895832"/>
                  </a:cubicBezTo>
                  <a:cubicBezTo>
                    <a:pt x="373659" y="895832"/>
                    <a:pt x="428052" y="827841"/>
                    <a:pt x="428052" y="757130"/>
                  </a:cubicBezTo>
                  <a:lnTo>
                    <a:pt x="428052" y="400855"/>
                  </a:lnTo>
                  <a:cubicBezTo>
                    <a:pt x="441650" y="343742"/>
                    <a:pt x="474286" y="283910"/>
                    <a:pt x="523240" y="283910"/>
                  </a:cubicBezTo>
                  <a:cubicBezTo>
                    <a:pt x="585792" y="283910"/>
                    <a:pt x="591231" y="354621"/>
                    <a:pt x="591231" y="354621"/>
                  </a:cubicBezTo>
                  <a:lnTo>
                    <a:pt x="591231" y="697297"/>
                  </a:lnTo>
                  <a:cubicBezTo>
                    <a:pt x="591231" y="708176"/>
                    <a:pt x="593951" y="719054"/>
                    <a:pt x="593951" y="729933"/>
                  </a:cubicBezTo>
                  <a:cubicBezTo>
                    <a:pt x="596671" y="748971"/>
                    <a:pt x="602110" y="765289"/>
                    <a:pt x="610269" y="778887"/>
                  </a:cubicBezTo>
                  <a:cubicBezTo>
                    <a:pt x="645624" y="846878"/>
                    <a:pt x="719055" y="893112"/>
                    <a:pt x="822402" y="893112"/>
                  </a:cubicBezTo>
                  <a:cubicBezTo>
                    <a:pt x="909431" y="893112"/>
                    <a:pt x="961105" y="822401"/>
                    <a:pt x="961105" y="822401"/>
                  </a:cubicBezTo>
                  <a:cubicBezTo>
                    <a:pt x="961105" y="822401"/>
                    <a:pt x="909431" y="808803"/>
                    <a:pt x="884954" y="746251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0E708B89-C029-4E8F-90DC-F57AF9480A68}"/>
                </a:ext>
              </a:extLst>
            </p:cNvPr>
            <p:cNvSpPr/>
            <p:nvPr/>
          </p:nvSpPr>
          <p:spPr bwMode="black">
            <a:xfrm>
              <a:off x="7552331" y="1888610"/>
              <a:ext cx="489539" cy="1332631"/>
            </a:xfrm>
            <a:custGeom>
              <a:avLst/>
              <a:gdLst>
                <a:gd name="connsiteX0" fmla="*/ 368560 w 489538"/>
                <a:gd name="connsiteY0" fmla="*/ 1135162 h 1332630"/>
                <a:gd name="connsiteX1" fmla="*/ 357681 w 489538"/>
                <a:gd name="connsiteY1" fmla="*/ 1059011 h 1332630"/>
                <a:gd name="connsiteX2" fmla="*/ 357681 w 489538"/>
                <a:gd name="connsiteY2" fmla="*/ 207759 h 1332630"/>
                <a:gd name="connsiteX3" fmla="*/ 208099 w 489538"/>
                <a:gd name="connsiteY3" fmla="*/ 58178 h 1332630"/>
                <a:gd name="connsiteX4" fmla="*/ 58518 w 489538"/>
                <a:gd name="connsiteY4" fmla="*/ 207759 h 1332630"/>
                <a:gd name="connsiteX5" fmla="*/ 58518 w 489538"/>
                <a:gd name="connsiteY5" fmla="*/ 961104 h 1332630"/>
                <a:gd name="connsiteX6" fmla="*/ 85715 w 489538"/>
                <a:gd name="connsiteY6" fmla="*/ 1159639 h 1332630"/>
                <a:gd name="connsiteX7" fmla="*/ 306007 w 489538"/>
                <a:gd name="connsiteY7" fmla="*/ 1282023 h 1332630"/>
                <a:gd name="connsiteX8" fmla="*/ 444710 w 489538"/>
                <a:gd name="connsiteY8" fmla="*/ 1211312 h 1332630"/>
                <a:gd name="connsiteX9" fmla="*/ 368560 w 489538"/>
                <a:gd name="connsiteY9" fmla="*/ 1135162 h 13326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89538" h="1332630">
                  <a:moveTo>
                    <a:pt x="368560" y="1135162"/>
                  </a:moveTo>
                  <a:cubicBezTo>
                    <a:pt x="363120" y="1110685"/>
                    <a:pt x="357681" y="1083488"/>
                    <a:pt x="357681" y="1059011"/>
                  </a:cubicBezTo>
                  <a:lnTo>
                    <a:pt x="357681" y="207759"/>
                  </a:lnTo>
                  <a:cubicBezTo>
                    <a:pt x="357681" y="126170"/>
                    <a:pt x="289689" y="58178"/>
                    <a:pt x="208099" y="58178"/>
                  </a:cubicBezTo>
                  <a:cubicBezTo>
                    <a:pt x="126510" y="58178"/>
                    <a:pt x="58518" y="126170"/>
                    <a:pt x="58518" y="207759"/>
                  </a:cubicBezTo>
                  <a:lnTo>
                    <a:pt x="58518" y="961104"/>
                  </a:lnTo>
                  <a:cubicBezTo>
                    <a:pt x="58518" y="1029095"/>
                    <a:pt x="53079" y="1097086"/>
                    <a:pt x="85715" y="1159639"/>
                  </a:cubicBezTo>
                  <a:cubicBezTo>
                    <a:pt x="118351" y="1227630"/>
                    <a:pt x="202660" y="1282023"/>
                    <a:pt x="306007" y="1282023"/>
                  </a:cubicBezTo>
                  <a:cubicBezTo>
                    <a:pt x="393036" y="1282023"/>
                    <a:pt x="444710" y="1211312"/>
                    <a:pt x="444710" y="1211312"/>
                  </a:cubicBezTo>
                  <a:cubicBezTo>
                    <a:pt x="444710" y="1211312"/>
                    <a:pt x="393036" y="1197714"/>
                    <a:pt x="368560" y="1135162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2DDD9D23-0A6F-4E21-A479-DEAE1945838C}"/>
                </a:ext>
              </a:extLst>
            </p:cNvPr>
            <p:cNvSpPr/>
            <p:nvPr/>
          </p:nvSpPr>
          <p:spPr bwMode="black">
            <a:xfrm>
              <a:off x="4162324" y="2357456"/>
              <a:ext cx="815899" cy="815898"/>
            </a:xfrm>
            <a:custGeom>
              <a:avLst/>
              <a:gdLst>
                <a:gd name="connsiteX0" fmla="*/ 407949 w 815899"/>
                <a:gd name="connsiteY0" fmla="*/ 174058 h 815898"/>
                <a:gd name="connsiteX1" fmla="*/ 293723 w 815899"/>
                <a:gd name="connsiteY1" fmla="*/ 407950 h 815898"/>
                <a:gd name="connsiteX2" fmla="*/ 410669 w 815899"/>
                <a:gd name="connsiteY2" fmla="*/ 641840 h 815898"/>
                <a:gd name="connsiteX3" fmla="*/ 522175 w 815899"/>
                <a:gd name="connsiteY3" fmla="*/ 407950 h 815898"/>
                <a:gd name="connsiteX4" fmla="*/ 407949 w 815899"/>
                <a:gd name="connsiteY4" fmla="*/ 174058 h 815898"/>
                <a:gd name="connsiteX5" fmla="*/ 407950 w 815899"/>
                <a:gd name="connsiteY5" fmla="*/ 0 h 815898"/>
                <a:gd name="connsiteX6" fmla="*/ 815899 w 815899"/>
                <a:gd name="connsiteY6" fmla="*/ 407949 h 815898"/>
                <a:gd name="connsiteX7" fmla="*/ 407950 w 815899"/>
                <a:gd name="connsiteY7" fmla="*/ 815898 h 815898"/>
                <a:gd name="connsiteX8" fmla="*/ 0 w 815899"/>
                <a:gd name="connsiteY8" fmla="*/ 407949 h 815898"/>
                <a:gd name="connsiteX9" fmla="*/ 407950 w 815899"/>
                <a:gd name="connsiteY9" fmla="*/ 0 h 815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15899" h="815898">
                  <a:moveTo>
                    <a:pt x="407949" y="174058"/>
                  </a:moveTo>
                  <a:cubicBezTo>
                    <a:pt x="342677" y="174058"/>
                    <a:pt x="293723" y="263807"/>
                    <a:pt x="293723" y="407950"/>
                  </a:cubicBezTo>
                  <a:cubicBezTo>
                    <a:pt x="293723" y="552091"/>
                    <a:pt x="331799" y="639120"/>
                    <a:pt x="410669" y="641840"/>
                  </a:cubicBezTo>
                  <a:cubicBezTo>
                    <a:pt x="489539" y="641840"/>
                    <a:pt x="527614" y="552091"/>
                    <a:pt x="522175" y="407950"/>
                  </a:cubicBezTo>
                  <a:cubicBezTo>
                    <a:pt x="522175" y="263807"/>
                    <a:pt x="473221" y="176778"/>
                    <a:pt x="407949" y="174058"/>
                  </a:cubicBezTo>
                  <a:close/>
                  <a:moveTo>
                    <a:pt x="407950" y="0"/>
                  </a:moveTo>
                  <a:cubicBezTo>
                    <a:pt x="633682" y="0"/>
                    <a:pt x="815899" y="182217"/>
                    <a:pt x="815899" y="407949"/>
                  </a:cubicBezTo>
                  <a:cubicBezTo>
                    <a:pt x="815899" y="633681"/>
                    <a:pt x="633682" y="815898"/>
                    <a:pt x="407950" y="815898"/>
                  </a:cubicBezTo>
                  <a:cubicBezTo>
                    <a:pt x="182218" y="815898"/>
                    <a:pt x="0" y="633681"/>
                    <a:pt x="0" y="407949"/>
                  </a:cubicBezTo>
                  <a:cubicBezTo>
                    <a:pt x="0" y="182217"/>
                    <a:pt x="182218" y="0"/>
                    <a:pt x="407950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01724715-0A45-4BE3-A597-2830FDE28465}"/>
                </a:ext>
              </a:extLst>
            </p:cNvPr>
            <p:cNvSpPr/>
            <p:nvPr/>
          </p:nvSpPr>
          <p:spPr bwMode="black">
            <a:xfrm>
              <a:off x="5884871" y="1946788"/>
              <a:ext cx="912802" cy="1223846"/>
            </a:xfrm>
            <a:custGeom>
              <a:avLst/>
              <a:gdLst>
                <a:gd name="connsiteX0" fmla="*/ 387907 w 912802"/>
                <a:gd name="connsiteY0" fmla="*/ 620081 h 1223846"/>
                <a:gd name="connsiteX1" fmla="*/ 273681 w 912802"/>
                <a:gd name="connsiteY1" fmla="*/ 824055 h 1223846"/>
                <a:gd name="connsiteX2" fmla="*/ 390627 w 912802"/>
                <a:gd name="connsiteY2" fmla="*/ 1028029 h 1223846"/>
                <a:gd name="connsiteX3" fmla="*/ 502132 w 912802"/>
                <a:gd name="connsiteY3" fmla="*/ 824055 h 1223846"/>
                <a:gd name="connsiteX4" fmla="*/ 387907 w 912802"/>
                <a:gd name="connsiteY4" fmla="*/ 620081 h 1223846"/>
                <a:gd name="connsiteX5" fmla="*/ 676192 w 912802"/>
                <a:gd name="connsiteY5" fmla="*/ 0 h 1223846"/>
                <a:gd name="connsiteX6" fmla="*/ 825773 w 912802"/>
                <a:gd name="connsiteY6" fmla="*/ 149581 h 1223846"/>
                <a:gd name="connsiteX7" fmla="*/ 825773 w 912802"/>
                <a:gd name="connsiteY7" fmla="*/ 1000834 h 1223846"/>
                <a:gd name="connsiteX8" fmla="*/ 836651 w 912802"/>
                <a:gd name="connsiteY8" fmla="*/ 1076985 h 1223846"/>
                <a:gd name="connsiteX9" fmla="*/ 912802 w 912802"/>
                <a:gd name="connsiteY9" fmla="*/ 1150415 h 1223846"/>
                <a:gd name="connsiteX10" fmla="*/ 774099 w 912802"/>
                <a:gd name="connsiteY10" fmla="*/ 1221126 h 1223846"/>
                <a:gd name="connsiteX11" fmla="*/ 553807 w 912802"/>
                <a:gd name="connsiteY11" fmla="*/ 1098742 h 1223846"/>
                <a:gd name="connsiteX12" fmla="*/ 548367 w 912802"/>
                <a:gd name="connsiteY12" fmla="*/ 1085144 h 1223846"/>
                <a:gd name="connsiteX13" fmla="*/ 398786 w 912802"/>
                <a:gd name="connsiteY13" fmla="*/ 1212967 h 1223846"/>
                <a:gd name="connsiteX14" fmla="*/ 156736 w 912802"/>
                <a:gd name="connsiteY14" fmla="*/ 1180332 h 1223846"/>
                <a:gd name="connsiteX15" fmla="*/ 287280 w 912802"/>
                <a:gd name="connsiteY15" fmla="*/ 416107 h 1223846"/>
                <a:gd name="connsiteX16" fmla="*/ 526611 w 912802"/>
                <a:gd name="connsiteY16" fmla="*/ 552091 h 1223846"/>
                <a:gd name="connsiteX17" fmla="*/ 526611 w 912802"/>
                <a:gd name="connsiteY17" fmla="*/ 149581 h 1223846"/>
                <a:gd name="connsiteX18" fmla="*/ 676192 w 912802"/>
                <a:gd name="connsiteY18" fmla="*/ 0 h 1223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912802" h="1223846">
                  <a:moveTo>
                    <a:pt x="387907" y="620081"/>
                  </a:moveTo>
                  <a:cubicBezTo>
                    <a:pt x="322635" y="620081"/>
                    <a:pt x="273681" y="698951"/>
                    <a:pt x="273681" y="824055"/>
                  </a:cubicBezTo>
                  <a:cubicBezTo>
                    <a:pt x="273681" y="949160"/>
                    <a:pt x="311756" y="1028029"/>
                    <a:pt x="390627" y="1028029"/>
                  </a:cubicBezTo>
                  <a:cubicBezTo>
                    <a:pt x="466777" y="1025310"/>
                    <a:pt x="504852" y="949160"/>
                    <a:pt x="502132" y="824055"/>
                  </a:cubicBezTo>
                  <a:cubicBezTo>
                    <a:pt x="502132" y="698951"/>
                    <a:pt x="455898" y="622801"/>
                    <a:pt x="387907" y="620081"/>
                  </a:cubicBezTo>
                  <a:close/>
                  <a:moveTo>
                    <a:pt x="676192" y="0"/>
                  </a:moveTo>
                  <a:cubicBezTo>
                    <a:pt x="757781" y="0"/>
                    <a:pt x="825773" y="67992"/>
                    <a:pt x="825773" y="149581"/>
                  </a:cubicBezTo>
                  <a:lnTo>
                    <a:pt x="825773" y="1000834"/>
                  </a:lnTo>
                  <a:cubicBezTo>
                    <a:pt x="828492" y="1025311"/>
                    <a:pt x="831212" y="1052508"/>
                    <a:pt x="836651" y="1076985"/>
                  </a:cubicBezTo>
                  <a:cubicBezTo>
                    <a:pt x="861128" y="1139537"/>
                    <a:pt x="912802" y="1150415"/>
                    <a:pt x="912802" y="1150415"/>
                  </a:cubicBezTo>
                  <a:cubicBezTo>
                    <a:pt x="912802" y="1150415"/>
                    <a:pt x="861128" y="1221126"/>
                    <a:pt x="774099" y="1221126"/>
                  </a:cubicBezTo>
                  <a:cubicBezTo>
                    <a:pt x="670752" y="1221126"/>
                    <a:pt x="589162" y="1166733"/>
                    <a:pt x="553807" y="1098742"/>
                  </a:cubicBezTo>
                  <a:cubicBezTo>
                    <a:pt x="551087" y="1093303"/>
                    <a:pt x="551087" y="1090583"/>
                    <a:pt x="548367" y="1085144"/>
                  </a:cubicBezTo>
                  <a:cubicBezTo>
                    <a:pt x="534769" y="1147696"/>
                    <a:pt x="450460" y="1199369"/>
                    <a:pt x="398786" y="1212967"/>
                  </a:cubicBezTo>
                  <a:cubicBezTo>
                    <a:pt x="322636" y="1234725"/>
                    <a:pt x="222008" y="1223846"/>
                    <a:pt x="156736" y="1180332"/>
                  </a:cubicBezTo>
                  <a:cubicBezTo>
                    <a:pt x="-79874" y="1028031"/>
                    <a:pt x="-58117" y="416107"/>
                    <a:pt x="287280" y="416107"/>
                  </a:cubicBezTo>
                  <a:cubicBezTo>
                    <a:pt x="412385" y="416107"/>
                    <a:pt x="491255" y="503137"/>
                    <a:pt x="526611" y="552091"/>
                  </a:cubicBezTo>
                  <a:lnTo>
                    <a:pt x="526611" y="149581"/>
                  </a:lnTo>
                  <a:cubicBezTo>
                    <a:pt x="526611" y="67992"/>
                    <a:pt x="594602" y="0"/>
                    <a:pt x="676192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593EB291-8728-49FA-9E36-DE65910405B8}"/>
                </a:ext>
              </a:extLst>
            </p:cNvPr>
            <p:cNvSpPr/>
            <p:nvPr/>
          </p:nvSpPr>
          <p:spPr bwMode="black">
            <a:xfrm>
              <a:off x="6789513" y="2362895"/>
              <a:ext cx="747906" cy="810458"/>
            </a:xfrm>
            <a:custGeom>
              <a:avLst/>
              <a:gdLst>
                <a:gd name="connsiteX0" fmla="*/ 394818 w 747906"/>
                <a:gd name="connsiteY0" fmla="*/ 163222 h 810458"/>
                <a:gd name="connsiteX1" fmla="*/ 356275 w 747906"/>
                <a:gd name="connsiteY1" fmla="*/ 174058 h 810458"/>
                <a:gd name="connsiteX2" fmla="*/ 274685 w 747906"/>
                <a:gd name="connsiteY2" fmla="*/ 356275 h 810458"/>
                <a:gd name="connsiteX3" fmla="*/ 375313 w 747906"/>
                <a:gd name="connsiteY3" fmla="*/ 358994 h 810458"/>
                <a:gd name="connsiteX4" fmla="*/ 473220 w 747906"/>
                <a:gd name="connsiteY4" fmla="*/ 239329 h 810458"/>
                <a:gd name="connsiteX5" fmla="*/ 394818 w 747906"/>
                <a:gd name="connsiteY5" fmla="*/ 163222 h 810458"/>
                <a:gd name="connsiteX6" fmla="*/ 386192 w 747906"/>
                <a:gd name="connsiteY6" fmla="*/ 0 h 810458"/>
                <a:gd name="connsiteX7" fmla="*/ 747906 w 747906"/>
                <a:gd name="connsiteY7" fmla="*/ 266526 h 810458"/>
                <a:gd name="connsiteX8" fmla="*/ 291004 w 747906"/>
                <a:gd name="connsiteY8" fmla="*/ 484100 h 810458"/>
                <a:gd name="connsiteX9" fmla="*/ 497698 w 747906"/>
                <a:gd name="connsiteY9" fmla="*/ 617363 h 810458"/>
                <a:gd name="connsiteX10" fmla="*/ 712551 w 747906"/>
                <a:gd name="connsiteY10" fmla="*/ 557530 h 810458"/>
                <a:gd name="connsiteX11" fmla="*/ 388912 w 747906"/>
                <a:gd name="connsiteY11" fmla="*/ 810458 h 810458"/>
                <a:gd name="connsiteX12" fmla="*/ 0 w 747906"/>
                <a:gd name="connsiteY12" fmla="*/ 413389 h 810458"/>
                <a:gd name="connsiteX13" fmla="*/ 386192 w 747906"/>
                <a:gd name="connsiteY13" fmla="*/ 0 h 8104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747906" h="810458">
                  <a:moveTo>
                    <a:pt x="394818" y="163222"/>
                  </a:moveTo>
                  <a:cubicBezTo>
                    <a:pt x="381772" y="163179"/>
                    <a:pt x="368514" y="166579"/>
                    <a:pt x="356275" y="174058"/>
                  </a:cubicBezTo>
                  <a:cubicBezTo>
                    <a:pt x="299162" y="212133"/>
                    <a:pt x="282844" y="291003"/>
                    <a:pt x="274685" y="356275"/>
                  </a:cubicBezTo>
                  <a:cubicBezTo>
                    <a:pt x="274685" y="364434"/>
                    <a:pt x="369873" y="358994"/>
                    <a:pt x="375313" y="358994"/>
                  </a:cubicBezTo>
                  <a:cubicBezTo>
                    <a:pt x="432425" y="345396"/>
                    <a:pt x="473220" y="301881"/>
                    <a:pt x="473220" y="239329"/>
                  </a:cubicBezTo>
                  <a:cubicBezTo>
                    <a:pt x="471181" y="194455"/>
                    <a:pt x="433956" y="163349"/>
                    <a:pt x="394818" y="163222"/>
                  </a:cubicBezTo>
                  <a:close/>
                  <a:moveTo>
                    <a:pt x="386192" y="0"/>
                  </a:moveTo>
                  <a:cubicBezTo>
                    <a:pt x="519455" y="0"/>
                    <a:pt x="747906" y="65272"/>
                    <a:pt x="747906" y="266526"/>
                  </a:cubicBezTo>
                  <a:cubicBezTo>
                    <a:pt x="747906" y="467782"/>
                    <a:pt x="538493" y="484100"/>
                    <a:pt x="291004" y="484100"/>
                  </a:cubicBezTo>
                  <a:cubicBezTo>
                    <a:pt x="291004" y="484100"/>
                    <a:pt x="326359" y="617363"/>
                    <a:pt x="497698" y="617363"/>
                  </a:cubicBezTo>
                  <a:cubicBezTo>
                    <a:pt x="669036" y="617363"/>
                    <a:pt x="712551" y="557530"/>
                    <a:pt x="712551" y="557530"/>
                  </a:cubicBezTo>
                  <a:cubicBezTo>
                    <a:pt x="712551" y="557530"/>
                    <a:pt x="696233" y="810458"/>
                    <a:pt x="388912" y="810458"/>
                  </a:cubicBezTo>
                  <a:cubicBezTo>
                    <a:pt x="212134" y="810458"/>
                    <a:pt x="0" y="677195"/>
                    <a:pt x="0" y="413389"/>
                  </a:cubicBezTo>
                  <a:cubicBezTo>
                    <a:pt x="0" y="176778"/>
                    <a:pt x="163180" y="0"/>
                    <a:pt x="386192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763A2B5F-9AD4-4AAF-AD5C-3745453610BF}"/>
                </a:ext>
              </a:extLst>
            </p:cNvPr>
            <p:cNvSpPr/>
            <p:nvPr/>
          </p:nvSpPr>
          <p:spPr bwMode="black">
            <a:xfrm>
              <a:off x="7988882" y="2362895"/>
              <a:ext cx="747906" cy="810458"/>
            </a:xfrm>
            <a:custGeom>
              <a:avLst/>
              <a:gdLst>
                <a:gd name="connsiteX0" fmla="*/ 394818 w 747906"/>
                <a:gd name="connsiteY0" fmla="*/ 163222 h 810458"/>
                <a:gd name="connsiteX1" fmla="*/ 356275 w 747906"/>
                <a:gd name="connsiteY1" fmla="*/ 174058 h 810458"/>
                <a:gd name="connsiteX2" fmla="*/ 274685 w 747906"/>
                <a:gd name="connsiteY2" fmla="*/ 356275 h 810458"/>
                <a:gd name="connsiteX3" fmla="*/ 375313 w 747906"/>
                <a:gd name="connsiteY3" fmla="*/ 358994 h 810458"/>
                <a:gd name="connsiteX4" fmla="*/ 473220 w 747906"/>
                <a:gd name="connsiteY4" fmla="*/ 239329 h 810458"/>
                <a:gd name="connsiteX5" fmla="*/ 394818 w 747906"/>
                <a:gd name="connsiteY5" fmla="*/ 163222 h 810458"/>
                <a:gd name="connsiteX6" fmla="*/ 386192 w 747906"/>
                <a:gd name="connsiteY6" fmla="*/ 0 h 810458"/>
                <a:gd name="connsiteX7" fmla="*/ 747906 w 747906"/>
                <a:gd name="connsiteY7" fmla="*/ 266526 h 810458"/>
                <a:gd name="connsiteX8" fmla="*/ 291004 w 747906"/>
                <a:gd name="connsiteY8" fmla="*/ 484100 h 810458"/>
                <a:gd name="connsiteX9" fmla="*/ 497697 w 747906"/>
                <a:gd name="connsiteY9" fmla="*/ 617363 h 810458"/>
                <a:gd name="connsiteX10" fmla="*/ 712551 w 747906"/>
                <a:gd name="connsiteY10" fmla="*/ 557530 h 810458"/>
                <a:gd name="connsiteX11" fmla="*/ 388911 w 747906"/>
                <a:gd name="connsiteY11" fmla="*/ 810458 h 810458"/>
                <a:gd name="connsiteX12" fmla="*/ 0 w 747906"/>
                <a:gd name="connsiteY12" fmla="*/ 413389 h 810458"/>
                <a:gd name="connsiteX13" fmla="*/ 386192 w 747906"/>
                <a:gd name="connsiteY13" fmla="*/ 0 h 8104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747906" h="810458">
                  <a:moveTo>
                    <a:pt x="394818" y="163222"/>
                  </a:moveTo>
                  <a:cubicBezTo>
                    <a:pt x="381772" y="163179"/>
                    <a:pt x="368514" y="166579"/>
                    <a:pt x="356275" y="174058"/>
                  </a:cubicBezTo>
                  <a:cubicBezTo>
                    <a:pt x="299162" y="212133"/>
                    <a:pt x="282844" y="291003"/>
                    <a:pt x="274685" y="356275"/>
                  </a:cubicBezTo>
                  <a:cubicBezTo>
                    <a:pt x="274685" y="364434"/>
                    <a:pt x="369873" y="358994"/>
                    <a:pt x="375313" y="358994"/>
                  </a:cubicBezTo>
                  <a:cubicBezTo>
                    <a:pt x="432426" y="345396"/>
                    <a:pt x="473220" y="301881"/>
                    <a:pt x="473220" y="239329"/>
                  </a:cubicBezTo>
                  <a:cubicBezTo>
                    <a:pt x="471181" y="194455"/>
                    <a:pt x="433955" y="163349"/>
                    <a:pt x="394818" y="163222"/>
                  </a:cubicBezTo>
                  <a:close/>
                  <a:moveTo>
                    <a:pt x="386192" y="0"/>
                  </a:moveTo>
                  <a:cubicBezTo>
                    <a:pt x="519455" y="0"/>
                    <a:pt x="747906" y="65272"/>
                    <a:pt x="747906" y="266526"/>
                  </a:cubicBezTo>
                  <a:cubicBezTo>
                    <a:pt x="747906" y="467782"/>
                    <a:pt x="538492" y="484100"/>
                    <a:pt x="291004" y="484100"/>
                  </a:cubicBezTo>
                  <a:cubicBezTo>
                    <a:pt x="291004" y="484100"/>
                    <a:pt x="326359" y="617363"/>
                    <a:pt x="497697" y="617363"/>
                  </a:cubicBezTo>
                  <a:cubicBezTo>
                    <a:pt x="669036" y="617363"/>
                    <a:pt x="712551" y="557530"/>
                    <a:pt x="712551" y="557530"/>
                  </a:cubicBezTo>
                  <a:cubicBezTo>
                    <a:pt x="712551" y="557530"/>
                    <a:pt x="696233" y="810458"/>
                    <a:pt x="388911" y="810458"/>
                  </a:cubicBezTo>
                  <a:cubicBezTo>
                    <a:pt x="212133" y="810458"/>
                    <a:pt x="0" y="677195"/>
                    <a:pt x="0" y="413389"/>
                  </a:cubicBezTo>
                  <a:cubicBezTo>
                    <a:pt x="0" y="176778"/>
                    <a:pt x="163180" y="0"/>
                    <a:pt x="386192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F29DE044-2228-4555-82E1-80DD994AA315}"/>
                </a:ext>
              </a:extLst>
            </p:cNvPr>
            <p:cNvSpPr/>
            <p:nvPr/>
          </p:nvSpPr>
          <p:spPr bwMode="black">
            <a:xfrm>
              <a:off x="8683414" y="2274801"/>
              <a:ext cx="897487" cy="951879"/>
            </a:xfrm>
            <a:custGeom>
              <a:avLst/>
              <a:gdLst>
                <a:gd name="connsiteX0" fmla="*/ 580988 w 897487"/>
                <a:gd name="connsiteY0" fmla="*/ 667381 h 951879"/>
                <a:gd name="connsiteX1" fmla="*/ 409649 w 897487"/>
                <a:gd name="connsiteY1" fmla="*/ 667381 h 951879"/>
                <a:gd name="connsiteX2" fmla="*/ 591866 w 897487"/>
                <a:gd name="connsiteY2" fmla="*/ 525959 h 951879"/>
                <a:gd name="connsiteX3" fmla="*/ 842075 w 897487"/>
                <a:gd name="connsiteY3" fmla="*/ 123450 h 951879"/>
                <a:gd name="connsiteX4" fmla="*/ 842075 w 897487"/>
                <a:gd name="connsiteY4" fmla="*/ 123450 h 951879"/>
                <a:gd name="connsiteX5" fmla="*/ 798560 w 897487"/>
                <a:gd name="connsiteY5" fmla="*/ 58178 h 951879"/>
                <a:gd name="connsiteX6" fmla="*/ 746887 w 897487"/>
                <a:gd name="connsiteY6" fmla="*/ 107132 h 951879"/>
                <a:gd name="connsiteX7" fmla="*/ 697933 w 897487"/>
                <a:gd name="connsiteY7" fmla="*/ 115291 h 951879"/>
                <a:gd name="connsiteX8" fmla="*/ 219273 w 897487"/>
                <a:gd name="connsiteY8" fmla="*/ 115291 h 951879"/>
                <a:gd name="connsiteX9" fmla="*/ 102328 w 897487"/>
                <a:gd name="connsiteY9" fmla="*/ 224077 h 951879"/>
                <a:gd name="connsiteX10" fmla="*/ 213834 w 897487"/>
                <a:gd name="connsiteY10" fmla="*/ 332863 h 951879"/>
                <a:gd name="connsiteX11" fmla="*/ 485800 w 897487"/>
                <a:gd name="connsiteY11" fmla="*/ 335583 h 951879"/>
                <a:gd name="connsiteX12" fmla="*/ 134964 w 897487"/>
                <a:gd name="connsiteY12" fmla="*/ 615708 h 951879"/>
                <a:gd name="connsiteX13" fmla="*/ 61533 w 897487"/>
                <a:gd name="connsiteY13" fmla="*/ 884953 h 951879"/>
                <a:gd name="connsiteX14" fmla="*/ 398771 w 897487"/>
                <a:gd name="connsiteY14" fmla="*/ 806083 h 951879"/>
                <a:gd name="connsiteX15" fmla="*/ 529314 w 897487"/>
                <a:gd name="connsiteY15" fmla="*/ 863196 h 951879"/>
                <a:gd name="connsiteX16" fmla="*/ 782242 w 897487"/>
                <a:gd name="connsiteY16" fmla="*/ 607549 h 951879"/>
                <a:gd name="connsiteX17" fmla="*/ 580988 w 897487"/>
                <a:gd name="connsiteY17" fmla="*/ 667381 h 9518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897487" h="951879">
                  <a:moveTo>
                    <a:pt x="580988" y="667381"/>
                  </a:moveTo>
                  <a:lnTo>
                    <a:pt x="409649" y="667381"/>
                  </a:lnTo>
                  <a:cubicBezTo>
                    <a:pt x="423248" y="667381"/>
                    <a:pt x="548352" y="561314"/>
                    <a:pt x="591866" y="525959"/>
                  </a:cubicBezTo>
                  <a:cubicBezTo>
                    <a:pt x="700653" y="433491"/>
                    <a:pt x="899188" y="297508"/>
                    <a:pt x="842075" y="123450"/>
                  </a:cubicBezTo>
                  <a:lnTo>
                    <a:pt x="842075" y="123450"/>
                  </a:lnTo>
                  <a:cubicBezTo>
                    <a:pt x="831197" y="82655"/>
                    <a:pt x="798560" y="58178"/>
                    <a:pt x="798560" y="58178"/>
                  </a:cubicBezTo>
                  <a:cubicBezTo>
                    <a:pt x="798560" y="58178"/>
                    <a:pt x="787682" y="90814"/>
                    <a:pt x="746887" y="107132"/>
                  </a:cubicBezTo>
                  <a:cubicBezTo>
                    <a:pt x="730569" y="109852"/>
                    <a:pt x="714251" y="115291"/>
                    <a:pt x="697933" y="115291"/>
                  </a:cubicBezTo>
                  <a:cubicBezTo>
                    <a:pt x="684334" y="115291"/>
                    <a:pt x="219273" y="115291"/>
                    <a:pt x="219273" y="115291"/>
                  </a:cubicBezTo>
                  <a:cubicBezTo>
                    <a:pt x="156721" y="115291"/>
                    <a:pt x="105048" y="166964"/>
                    <a:pt x="102328" y="224077"/>
                  </a:cubicBezTo>
                  <a:cubicBezTo>
                    <a:pt x="102328" y="283910"/>
                    <a:pt x="151282" y="332863"/>
                    <a:pt x="213834" y="332863"/>
                  </a:cubicBezTo>
                  <a:lnTo>
                    <a:pt x="485800" y="335583"/>
                  </a:lnTo>
                  <a:cubicBezTo>
                    <a:pt x="360695" y="406294"/>
                    <a:pt x="211114" y="487884"/>
                    <a:pt x="134964" y="615708"/>
                  </a:cubicBezTo>
                  <a:cubicBezTo>
                    <a:pt x="91449" y="689138"/>
                    <a:pt x="45215" y="800644"/>
                    <a:pt x="61533" y="884953"/>
                  </a:cubicBezTo>
                  <a:cubicBezTo>
                    <a:pt x="121366" y="830560"/>
                    <a:pt x="279106" y="778887"/>
                    <a:pt x="398771" y="806083"/>
                  </a:cubicBezTo>
                  <a:cubicBezTo>
                    <a:pt x="445005" y="814242"/>
                    <a:pt x="491239" y="838719"/>
                    <a:pt x="529314" y="863196"/>
                  </a:cubicBezTo>
                  <a:cubicBezTo>
                    <a:pt x="755046" y="1004618"/>
                    <a:pt x="891029" y="727213"/>
                    <a:pt x="782242" y="607549"/>
                  </a:cubicBezTo>
                  <a:cubicBezTo>
                    <a:pt x="784962" y="607549"/>
                    <a:pt x="722410" y="667381"/>
                    <a:pt x="580988" y="667381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F7F92585-5CB0-465E-966D-B7CD61BB094D}"/>
                </a:ext>
              </a:extLst>
            </p:cNvPr>
            <p:cNvSpPr/>
            <p:nvPr/>
          </p:nvSpPr>
          <p:spPr bwMode="black">
            <a:xfrm>
              <a:off x="2624650" y="1948442"/>
              <a:ext cx="1903761" cy="1577400"/>
            </a:xfrm>
            <a:custGeom>
              <a:avLst/>
              <a:gdLst>
                <a:gd name="connsiteX0" fmla="*/ 1559430 w 1903760"/>
                <a:gd name="connsiteY0" fmla="*/ 1165078 h 1577399"/>
                <a:gd name="connsiteX1" fmla="*/ 1369054 w 1903760"/>
                <a:gd name="connsiteY1" fmla="*/ 593950 h 1577399"/>
                <a:gd name="connsiteX2" fmla="*/ 1483279 w 1903760"/>
                <a:gd name="connsiteY2" fmla="*/ 126170 h 1577399"/>
                <a:gd name="connsiteX3" fmla="*/ 1311941 w 1903760"/>
                <a:gd name="connsiteY3" fmla="*/ 58178 h 1577399"/>
                <a:gd name="connsiteX4" fmla="*/ 1078050 w 1903760"/>
                <a:gd name="connsiteY4" fmla="*/ 205040 h 1577399"/>
                <a:gd name="connsiteX5" fmla="*/ 846879 w 1903760"/>
                <a:gd name="connsiteY5" fmla="*/ 523239 h 1577399"/>
                <a:gd name="connsiteX6" fmla="*/ 645624 w 1903760"/>
                <a:gd name="connsiteY6" fmla="*/ 210479 h 1577399"/>
                <a:gd name="connsiteX7" fmla="*/ 455248 w 1903760"/>
                <a:gd name="connsiteY7" fmla="*/ 63617 h 1577399"/>
                <a:gd name="connsiteX8" fmla="*/ 234956 w 1903760"/>
                <a:gd name="connsiteY8" fmla="*/ 137048 h 1577399"/>
                <a:gd name="connsiteX9" fmla="*/ 316546 w 1903760"/>
                <a:gd name="connsiteY9" fmla="*/ 588511 h 1577399"/>
                <a:gd name="connsiteX10" fmla="*/ 58178 w 1903760"/>
                <a:gd name="connsiteY10" fmla="*/ 1072610 h 1577399"/>
                <a:gd name="connsiteX11" fmla="*/ 474286 w 1903760"/>
                <a:gd name="connsiteY11" fmla="*/ 1020936 h 1577399"/>
                <a:gd name="connsiteX12" fmla="*/ 555876 w 1903760"/>
                <a:gd name="connsiteY12" fmla="*/ 572193 h 1577399"/>
                <a:gd name="connsiteX13" fmla="*/ 830561 w 1903760"/>
                <a:gd name="connsiteY13" fmla="*/ 993740 h 1577399"/>
                <a:gd name="connsiteX14" fmla="*/ 1140602 w 1903760"/>
                <a:gd name="connsiteY14" fmla="*/ 574913 h 1577399"/>
                <a:gd name="connsiteX15" fmla="*/ 1567589 w 1903760"/>
                <a:gd name="connsiteY15" fmla="*/ 1526792 h 1577399"/>
                <a:gd name="connsiteX16" fmla="*/ 1866751 w 1903760"/>
                <a:gd name="connsiteY16" fmla="*/ 1322818 h 1577399"/>
                <a:gd name="connsiteX17" fmla="*/ 1559430 w 1903760"/>
                <a:gd name="connsiteY17" fmla="*/ 1165078 h 15773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903760" h="1577399">
                  <a:moveTo>
                    <a:pt x="1559430" y="1165078"/>
                  </a:moveTo>
                  <a:cubicBezTo>
                    <a:pt x="1420727" y="1012777"/>
                    <a:pt x="1377213" y="762569"/>
                    <a:pt x="1369054" y="593950"/>
                  </a:cubicBezTo>
                  <a:cubicBezTo>
                    <a:pt x="1360895" y="449809"/>
                    <a:pt x="1369054" y="199600"/>
                    <a:pt x="1483279" y="126170"/>
                  </a:cubicBezTo>
                  <a:cubicBezTo>
                    <a:pt x="1445204" y="77216"/>
                    <a:pt x="1369054" y="58178"/>
                    <a:pt x="1311941" y="58178"/>
                  </a:cubicBezTo>
                  <a:cubicBezTo>
                    <a:pt x="1184117" y="58178"/>
                    <a:pt x="1121565" y="142488"/>
                    <a:pt x="1078050" y="205040"/>
                  </a:cubicBezTo>
                  <a:cubicBezTo>
                    <a:pt x="1064452" y="224077"/>
                    <a:pt x="846879" y="523239"/>
                    <a:pt x="846879" y="523239"/>
                  </a:cubicBezTo>
                  <a:cubicBezTo>
                    <a:pt x="846879" y="523239"/>
                    <a:pt x="667382" y="243115"/>
                    <a:pt x="645624" y="210479"/>
                  </a:cubicBezTo>
                  <a:cubicBezTo>
                    <a:pt x="615708" y="164245"/>
                    <a:pt x="555876" y="77216"/>
                    <a:pt x="455248" y="63617"/>
                  </a:cubicBezTo>
                  <a:cubicBezTo>
                    <a:pt x="411734" y="58178"/>
                    <a:pt x="297508" y="52739"/>
                    <a:pt x="234956" y="137048"/>
                  </a:cubicBezTo>
                  <a:cubicBezTo>
                    <a:pt x="341023" y="221357"/>
                    <a:pt x="338303" y="438930"/>
                    <a:pt x="316546" y="588511"/>
                  </a:cubicBezTo>
                  <a:cubicBezTo>
                    <a:pt x="248554" y="1031815"/>
                    <a:pt x="58178" y="1072610"/>
                    <a:pt x="58178" y="1072610"/>
                  </a:cubicBezTo>
                  <a:cubicBezTo>
                    <a:pt x="156086" y="1333696"/>
                    <a:pt x="403575" y="1230350"/>
                    <a:pt x="474286" y="1020936"/>
                  </a:cubicBezTo>
                  <a:cubicBezTo>
                    <a:pt x="520520" y="884953"/>
                    <a:pt x="550436" y="713615"/>
                    <a:pt x="555876" y="572193"/>
                  </a:cubicBezTo>
                  <a:lnTo>
                    <a:pt x="830561" y="993740"/>
                  </a:lnTo>
                  <a:cubicBezTo>
                    <a:pt x="830561" y="993740"/>
                    <a:pt x="1140602" y="574913"/>
                    <a:pt x="1140602" y="574913"/>
                  </a:cubicBezTo>
                  <a:cubicBezTo>
                    <a:pt x="1088929" y="1314659"/>
                    <a:pt x="1344577" y="1526792"/>
                    <a:pt x="1567589" y="1526792"/>
                  </a:cubicBezTo>
                  <a:cubicBezTo>
                    <a:pt x="1790601" y="1526792"/>
                    <a:pt x="1866751" y="1322818"/>
                    <a:pt x="1866751" y="1322818"/>
                  </a:cubicBezTo>
                  <a:cubicBezTo>
                    <a:pt x="1744367" y="1314659"/>
                    <a:pt x="1641019" y="1252107"/>
                    <a:pt x="1559430" y="1165078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C2EF953C-F1A9-48A1-8B50-74DC119D4014}"/>
                </a:ext>
              </a:extLst>
            </p:cNvPr>
            <p:cNvSpPr/>
            <p:nvPr/>
          </p:nvSpPr>
          <p:spPr bwMode="black">
            <a:xfrm>
              <a:off x="4792218" y="3234839"/>
              <a:ext cx="271966" cy="652717"/>
            </a:xfrm>
            <a:custGeom>
              <a:avLst/>
              <a:gdLst>
                <a:gd name="connsiteX0" fmla="*/ 88095 w 271965"/>
                <a:gd name="connsiteY0" fmla="*/ 120730 h 652717"/>
                <a:gd name="connsiteX1" fmla="*/ 93534 w 271965"/>
                <a:gd name="connsiteY1" fmla="*/ 153366 h 652717"/>
                <a:gd name="connsiteX2" fmla="*/ 93534 w 271965"/>
                <a:gd name="connsiteY2" fmla="*/ 544997 h 652717"/>
                <a:gd name="connsiteX3" fmla="*/ 156086 w 271965"/>
                <a:gd name="connsiteY3" fmla="*/ 604829 h 652717"/>
                <a:gd name="connsiteX4" fmla="*/ 221358 w 271965"/>
                <a:gd name="connsiteY4" fmla="*/ 544997 h 652717"/>
                <a:gd name="connsiteX5" fmla="*/ 221358 w 271965"/>
                <a:gd name="connsiteY5" fmla="*/ 194161 h 652717"/>
                <a:gd name="connsiteX6" fmla="*/ 210479 w 271965"/>
                <a:gd name="connsiteY6" fmla="*/ 109852 h 652717"/>
                <a:gd name="connsiteX7" fmla="*/ 118011 w 271965"/>
                <a:gd name="connsiteY7" fmla="*/ 58178 h 652717"/>
                <a:gd name="connsiteX8" fmla="*/ 58178 w 271965"/>
                <a:gd name="connsiteY8" fmla="*/ 88094 h 652717"/>
                <a:gd name="connsiteX9" fmla="*/ 88095 w 271965"/>
                <a:gd name="connsiteY9" fmla="*/ 120730 h 6527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71965" h="652717">
                  <a:moveTo>
                    <a:pt x="88095" y="120730"/>
                  </a:moveTo>
                  <a:cubicBezTo>
                    <a:pt x="90814" y="131609"/>
                    <a:pt x="90814" y="142487"/>
                    <a:pt x="93534" y="153366"/>
                  </a:cubicBezTo>
                  <a:cubicBezTo>
                    <a:pt x="93534" y="156086"/>
                    <a:pt x="93534" y="542277"/>
                    <a:pt x="93534" y="544997"/>
                  </a:cubicBezTo>
                  <a:cubicBezTo>
                    <a:pt x="93534" y="577632"/>
                    <a:pt x="123450" y="604829"/>
                    <a:pt x="156086" y="604829"/>
                  </a:cubicBezTo>
                  <a:cubicBezTo>
                    <a:pt x="188722" y="607548"/>
                    <a:pt x="221358" y="577632"/>
                    <a:pt x="221358" y="544997"/>
                  </a:cubicBezTo>
                  <a:cubicBezTo>
                    <a:pt x="221358" y="539557"/>
                    <a:pt x="221358" y="194161"/>
                    <a:pt x="221358" y="194161"/>
                  </a:cubicBezTo>
                  <a:cubicBezTo>
                    <a:pt x="221358" y="164245"/>
                    <a:pt x="224078" y="134329"/>
                    <a:pt x="210479" y="109852"/>
                  </a:cubicBezTo>
                  <a:cubicBezTo>
                    <a:pt x="196881" y="79935"/>
                    <a:pt x="158806" y="58178"/>
                    <a:pt x="118011" y="58178"/>
                  </a:cubicBezTo>
                  <a:cubicBezTo>
                    <a:pt x="79936" y="58178"/>
                    <a:pt x="58178" y="88094"/>
                    <a:pt x="58178" y="88094"/>
                  </a:cubicBezTo>
                  <a:cubicBezTo>
                    <a:pt x="58178" y="88094"/>
                    <a:pt x="77216" y="93534"/>
                    <a:pt x="88095" y="120730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78FBF042-8DD5-4B32-9D19-E3D2DA0CDCC4}"/>
                </a:ext>
              </a:extLst>
            </p:cNvPr>
            <p:cNvSpPr/>
            <p:nvPr/>
          </p:nvSpPr>
          <p:spPr bwMode="black">
            <a:xfrm>
              <a:off x="8751819" y="3234667"/>
              <a:ext cx="271966" cy="652717"/>
            </a:xfrm>
            <a:custGeom>
              <a:avLst/>
              <a:gdLst>
                <a:gd name="connsiteX0" fmla="*/ 191663 w 271965"/>
                <a:gd name="connsiteY0" fmla="*/ 542449 h 652717"/>
                <a:gd name="connsiteX1" fmla="*/ 186224 w 271965"/>
                <a:gd name="connsiteY1" fmla="*/ 509813 h 652717"/>
                <a:gd name="connsiteX2" fmla="*/ 186224 w 271965"/>
                <a:gd name="connsiteY2" fmla="*/ 118183 h 652717"/>
                <a:gd name="connsiteX3" fmla="*/ 123672 w 271965"/>
                <a:gd name="connsiteY3" fmla="*/ 58350 h 652717"/>
                <a:gd name="connsiteX4" fmla="*/ 58400 w 271965"/>
                <a:gd name="connsiteY4" fmla="*/ 118183 h 652717"/>
                <a:gd name="connsiteX5" fmla="*/ 58400 w 271965"/>
                <a:gd name="connsiteY5" fmla="*/ 469018 h 652717"/>
                <a:gd name="connsiteX6" fmla="*/ 69279 w 271965"/>
                <a:gd name="connsiteY6" fmla="*/ 553328 h 652717"/>
                <a:gd name="connsiteX7" fmla="*/ 161747 w 271965"/>
                <a:gd name="connsiteY7" fmla="*/ 605001 h 652717"/>
                <a:gd name="connsiteX8" fmla="*/ 221580 w 271965"/>
                <a:gd name="connsiteY8" fmla="*/ 575085 h 652717"/>
                <a:gd name="connsiteX9" fmla="*/ 191663 w 271965"/>
                <a:gd name="connsiteY9" fmla="*/ 542449 h 6527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71965" h="652717">
                  <a:moveTo>
                    <a:pt x="191663" y="542449"/>
                  </a:moveTo>
                  <a:cubicBezTo>
                    <a:pt x="188944" y="531570"/>
                    <a:pt x="186224" y="520692"/>
                    <a:pt x="186224" y="509813"/>
                  </a:cubicBezTo>
                  <a:cubicBezTo>
                    <a:pt x="186224" y="507093"/>
                    <a:pt x="186224" y="120902"/>
                    <a:pt x="186224" y="118183"/>
                  </a:cubicBezTo>
                  <a:cubicBezTo>
                    <a:pt x="186224" y="85547"/>
                    <a:pt x="156308" y="58350"/>
                    <a:pt x="123672" y="58350"/>
                  </a:cubicBezTo>
                  <a:cubicBezTo>
                    <a:pt x="91036" y="55631"/>
                    <a:pt x="58400" y="85547"/>
                    <a:pt x="58400" y="118183"/>
                  </a:cubicBezTo>
                  <a:cubicBezTo>
                    <a:pt x="58400" y="123622"/>
                    <a:pt x="58400" y="469018"/>
                    <a:pt x="58400" y="469018"/>
                  </a:cubicBezTo>
                  <a:cubicBezTo>
                    <a:pt x="58400" y="498934"/>
                    <a:pt x="55680" y="528851"/>
                    <a:pt x="69279" y="553328"/>
                  </a:cubicBezTo>
                  <a:cubicBezTo>
                    <a:pt x="82877" y="583244"/>
                    <a:pt x="120953" y="605001"/>
                    <a:pt x="161747" y="605001"/>
                  </a:cubicBezTo>
                  <a:cubicBezTo>
                    <a:pt x="199822" y="605001"/>
                    <a:pt x="221580" y="575085"/>
                    <a:pt x="221580" y="575085"/>
                  </a:cubicBezTo>
                  <a:cubicBezTo>
                    <a:pt x="221580" y="575085"/>
                    <a:pt x="202542" y="566926"/>
                    <a:pt x="191663" y="542449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495AAF35-711C-45B3-8B74-63476C9F4CA3}"/>
                </a:ext>
              </a:extLst>
            </p:cNvPr>
            <p:cNvSpPr/>
            <p:nvPr/>
          </p:nvSpPr>
          <p:spPr bwMode="black">
            <a:xfrm>
              <a:off x="6320666" y="3416868"/>
              <a:ext cx="435145" cy="462341"/>
            </a:xfrm>
            <a:custGeom>
              <a:avLst/>
              <a:gdLst>
                <a:gd name="connsiteX0" fmla="*/ 302948 w 435145"/>
                <a:gd name="connsiteY0" fmla="*/ 74684 h 462341"/>
                <a:gd name="connsiteX1" fmla="*/ 186003 w 435145"/>
                <a:gd name="connsiteY1" fmla="*/ 148115 h 462341"/>
                <a:gd name="connsiteX2" fmla="*/ 186003 w 435145"/>
                <a:gd name="connsiteY2" fmla="*/ 148115 h 462341"/>
                <a:gd name="connsiteX3" fmla="*/ 186003 w 435145"/>
                <a:gd name="connsiteY3" fmla="*/ 115479 h 462341"/>
                <a:gd name="connsiteX4" fmla="*/ 123450 w 435145"/>
                <a:gd name="connsiteY4" fmla="*/ 58366 h 462341"/>
                <a:gd name="connsiteX5" fmla="*/ 58178 w 435145"/>
                <a:gd name="connsiteY5" fmla="*/ 115479 h 462341"/>
                <a:gd name="connsiteX6" fmla="*/ 58178 w 435145"/>
                <a:gd name="connsiteY6" fmla="*/ 362967 h 462341"/>
                <a:gd name="connsiteX7" fmla="*/ 120730 w 435145"/>
                <a:gd name="connsiteY7" fmla="*/ 422800 h 462341"/>
                <a:gd name="connsiteX8" fmla="*/ 186003 w 435145"/>
                <a:gd name="connsiteY8" fmla="*/ 362967 h 462341"/>
                <a:gd name="connsiteX9" fmla="*/ 186003 w 435145"/>
                <a:gd name="connsiteY9" fmla="*/ 213386 h 462341"/>
                <a:gd name="connsiteX10" fmla="*/ 186003 w 435145"/>
                <a:gd name="connsiteY10" fmla="*/ 213386 h 462341"/>
                <a:gd name="connsiteX11" fmla="*/ 229517 w 435145"/>
                <a:gd name="connsiteY11" fmla="*/ 161713 h 462341"/>
                <a:gd name="connsiteX12" fmla="*/ 259433 w 435145"/>
                <a:gd name="connsiteY12" fmla="*/ 194349 h 462341"/>
                <a:gd name="connsiteX13" fmla="*/ 259433 w 435145"/>
                <a:gd name="connsiteY13" fmla="*/ 362967 h 462341"/>
                <a:gd name="connsiteX14" fmla="*/ 321985 w 435145"/>
                <a:gd name="connsiteY14" fmla="*/ 422800 h 462341"/>
                <a:gd name="connsiteX15" fmla="*/ 387257 w 435145"/>
                <a:gd name="connsiteY15" fmla="*/ 362967 h 462341"/>
                <a:gd name="connsiteX16" fmla="*/ 387257 w 435145"/>
                <a:gd name="connsiteY16" fmla="*/ 273219 h 462341"/>
                <a:gd name="connsiteX17" fmla="*/ 302948 w 435145"/>
                <a:gd name="connsiteY17" fmla="*/ 74684 h 4623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435145" h="462341">
                  <a:moveTo>
                    <a:pt x="302948" y="74684"/>
                  </a:moveTo>
                  <a:cubicBezTo>
                    <a:pt x="234956" y="74684"/>
                    <a:pt x="196881" y="131797"/>
                    <a:pt x="186003" y="148115"/>
                  </a:cubicBezTo>
                  <a:lnTo>
                    <a:pt x="186003" y="148115"/>
                  </a:lnTo>
                  <a:cubicBezTo>
                    <a:pt x="186003" y="129077"/>
                    <a:pt x="186003" y="115479"/>
                    <a:pt x="186003" y="115479"/>
                  </a:cubicBezTo>
                  <a:cubicBezTo>
                    <a:pt x="186003" y="82843"/>
                    <a:pt x="156086" y="58366"/>
                    <a:pt x="123450" y="58366"/>
                  </a:cubicBezTo>
                  <a:cubicBezTo>
                    <a:pt x="90814" y="55646"/>
                    <a:pt x="58178" y="82843"/>
                    <a:pt x="58178" y="115479"/>
                  </a:cubicBezTo>
                  <a:cubicBezTo>
                    <a:pt x="58178" y="120918"/>
                    <a:pt x="58178" y="360248"/>
                    <a:pt x="58178" y="362967"/>
                  </a:cubicBezTo>
                  <a:cubicBezTo>
                    <a:pt x="58178" y="395603"/>
                    <a:pt x="88095" y="422800"/>
                    <a:pt x="120730" y="422800"/>
                  </a:cubicBezTo>
                  <a:cubicBezTo>
                    <a:pt x="153366" y="425519"/>
                    <a:pt x="186003" y="395603"/>
                    <a:pt x="186003" y="362967"/>
                  </a:cubicBezTo>
                  <a:cubicBezTo>
                    <a:pt x="186003" y="360248"/>
                    <a:pt x="186003" y="281378"/>
                    <a:pt x="186003" y="213386"/>
                  </a:cubicBezTo>
                  <a:lnTo>
                    <a:pt x="186003" y="213386"/>
                  </a:lnTo>
                  <a:cubicBezTo>
                    <a:pt x="191442" y="186190"/>
                    <a:pt x="205040" y="161713"/>
                    <a:pt x="229517" y="161713"/>
                  </a:cubicBezTo>
                  <a:cubicBezTo>
                    <a:pt x="259433" y="161713"/>
                    <a:pt x="259433" y="194349"/>
                    <a:pt x="259433" y="194349"/>
                  </a:cubicBezTo>
                  <a:lnTo>
                    <a:pt x="259433" y="362967"/>
                  </a:lnTo>
                  <a:cubicBezTo>
                    <a:pt x="259433" y="395603"/>
                    <a:pt x="289349" y="422800"/>
                    <a:pt x="321985" y="422800"/>
                  </a:cubicBezTo>
                  <a:cubicBezTo>
                    <a:pt x="354621" y="425519"/>
                    <a:pt x="387257" y="395603"/>
                    <a:pt x="387257" y="362967"/>
                  </a:cubicBezTo>
                  <a:lnTo>
                    <a:pt x="387257" y="273219"/>
                  </a:lnTo>
                  <a:cubicBezTo>
                    <a:pt x="387257" y="183470"/>
                    <a:pt x="395416" y="71964"/>
                    <a:pt x="302948" y="74684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E13AA7EB-514D-4A09-BD66-80053F00347D}"/>
                </a:ext>
              </a:extLst>
            </p:cNvPr>
            <p:cNvSpPr/>
            <p:nvPr/>
          </p:nvSpPr>
          <p:spPr bwMode="black">
            <a:xfrm>
              <a:off x="7960620" y="3416868"/>
              <a:ext cx="435145" cy="462341"/>
            </a:xfrm>
            <a:custGeom>
              <a:avLst/>
              <a:gdLst>
                <a:gd name="connsiteX0" fmla="*/ 302948 w 435145"/>
                <a:gd name="connsiteY0" fmla="*/ 74684 h 462341"/>
                <a:gd name="connsiteX1" fmla="*/ 186002 w 435145"/>
                <a:gd name="connsiteY1" fmla="*/ 148115 h 462341"/>
                <a:gd name="connsiteX2" fmla="*/ 186002 w 435145"/>
                <a:gd name="connsiteY2" fmla="*/ 148115 h 462341"/>
                <a:gd name="connsiteX3" fmla="*/ 186002 w 435145"/>
                <a:gd name="connsiteY3" fmla="*/ 115479 h 462341"/>
                <a:gd name="connsiteX4" fmla="*/ 123450 w 435145"/>
                <a:gd name="connsiteY4" fmla="*/ 58366 h 462341"/>
                <a:gd name="connsiteX5" fmla="*/ 58178 w 435145"/>
                <a:gd name="connsiteY5" fmla="*/ 115479 h 462341"/>
                <a:gd name="connsiteX6" fmla="*/ 58178 w 435145"/>
                <a:gd name="connsiteY6" fmla="*/ 362967 h 462341"/>
                <a:gd name="connsiteX7" fmla="*/ 120730 w 435145"/>
                <a:gd name="connsiteY7" fmla="*/ 422800 h 462341"/>
                <a:gd name="connsiteX8" fmla="*/ 186002 w 435145"/>
                <a:gd name="connsiteY8" fmla="*/ 362967 h 462341"/>
                <a:gd name="connsiteX9" fmla="*/ 186002 w 435145"/>
                <a:gd name="connsiteY9" fmla="*/ 213386 h 462341"/>
                <a:gd name="connsiteX10" fmla="*/ 186002 w 435145"/>
                <a:gd name="connsiteY10" fmla="*/ 213386 h 462341"/>
                <a:gd name="connsiteX11" fmla="*/ 229517 w 435145"/>
                <a:gd name="connsiteY11" fmla="*/ 161713 h 462341"/>
                <a:gd name="connsiteX12" fmla="*/ 259433 w 435145"/>
                <a:gd name="connsiteY12" fmla="*/ 194349 h 462341"/>
                <a:gd name="connsiteX13" fmla="*/ 259433 w 435145"/>
                <a:gd name="connsiteY13" fmla="*/ 362967 h 462341"/>
                <a:gd name="connsiteX14" fmla="*/ 321985 w 435145"/>
                <a:gd name="connsiteY14" fmla="*/ 422800 h 462341"/>
                <a:gd name="connsiteX15" fmla="*/ 387257 w 435145"/>
                <a:gd name="connsiteY15" fmla="*/ 362967 h 462341"/>
                <a:gd name="connsiteX16" fmla="*/ 387257 w 435145"/>
                <a:gd name="connsiteY16" fmla="*/ 273219 h 462341"/>
                <a:gd name="connsiteX17" fmla="*/ 302948 w 435145"/>
                <a:gd name="connsiteY17" fmla="*/ 74684 h 4623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435145" h="462341">
                  <a:moveTo>
                    <a:pt x="302948" y="74684"/>
                  </a:moveTo>
                  <a:cubicBezTo>
                    <a:pt x="234956" y="74684"/>
                    <a:pt x="196881" y="131797"/>
                    <a:pt x="186002" y="148115"/>
                  </a:cubicBezTo>
                  <a:lnTo>
                    <a:pt x="186002" y="148115"/>
                  </a:lnTo>
                  <a:cubicBezTo>
                    <a:pt x="186002" y="129077"/>
                    <a:pt x="186002" y="115479"/>
                    <a:pt x="186002" y="115479"/>
                  </a:cubicBezTo>
                  <a:cubicBezTo>
                    <a:pt x="186002" y="82843"/>
                    <a:pt x="156086" y="58366"/>
                    <a:pt x="123450" y="58366"/>
                  </a:cubicBezTo>
                  <a:cubicBezTo>
                    <a:pt x="90814" y="55646"/>
                    <a:pt x="58178" y="82843"/>
                    <a:pt x="58178" y="115479"/>
                  </a:cubicBezTo>
                  <a:cubicBezTo>
                    <a:pt x="58178" y="120918"/>
                    <a:pt x="58178" y="360248"/>
                    <a:pt x="58178" y="362967"/>
                  </a:cubicBezTo>
                  <a:cubicBezTo>
                    <a:pt x="58178" y="395603"/>
                    <a:pt x="88095" y="422800"/>
                    <a:pt x="120730" y="422800"/>
                  </a:cubicBezTo>
                  <a:cubicBezTo>
                    <a:pt x="153366" y="425519"/>
                    <a:pt x="186002" y="395603"/>
                    <a:pt x="186002" y="362967"/>
                  </a:cubicBezTo>
                  <a:cubicBezTo>
                    <a:pt x="186002" y="360248"/>
                    <a:pt x="186002" y="281378"/>
                    <a:pt x="186002" y="213386"/>
                  </a:cubicBezTo>
                  <a:lnTo>
                    <a:pt x="186002" y="213386"/>
                  </a:lnTo>
                  <a:cubicBezTo>
                    <a:pt x="191442" y="186190"/>
                    <a:pt x="205040" y="161713"/>
                    <a:pt x="229517" y="161713"/>
                  </a:cubicBezTo>
                  <a:cubicBezTo>
                    <a:pt x="259433" y="161713"/>
                    <a:pt x="259433" y="194349"/>
                    <a:pt x="259433" y="194349"/>
                  </a:cubicBezTo>
                  <a:lnTo>
                    <a:pt x="259433" y="362967"/>
                  </a:lnTo>
                  <a:cubicBezTo>
                    <a:pt x="259433" y="395603"/>
                    <a:pt x="289349" y="422800"/>
                    <a:pt x="321985" y="422800"/>
                  </a:cubicBezTo>
                  <a:cubicBezTo>
                    <a:pt x="354621" y="425519"/>
                    <a:pt x="387257" y="395603"/>
                    <a:pt x="387257" y="362967"/>
                  </a:cubicBezTo>
                  <a:lnTo>
                    <a:pt x="387257" y="273219"/>
                  </a:lnTo>
                  <a:cubicBezTo>
                    <a:pt x="384537" y="183470"/>
                    <a:pt x="395416" y="71964"/>
                    <a:pt x="302948" y="74684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FB6801FA-EDF1-44B7-B74A-D233D1901FB2}"/>
                </a:ext>
              </a:extLst>
            </p:cNvPr>
            <p:cNvSpPr/>
            <p:nvPr/>
          </p:nvSpPr>
          <p:spPr bwMode="black">
            <a:xfrm>
              <a:off x="5020669" y="3416868"/>
              <a:ext cx="435145" cy="462341"/>
            </a:xfrm>
            <a:custGeom>
              <a:avLst/>
              <a:gdLst>
                <a:gd name="connsiteX0" fmla="*/ 302948 w 435145"/>
                <a:gd name="connsiteY0" fmla="*/ 74684 h 462341"/>
                <a:gd name="connsiteX1" fmla="*/ 186002 w 435145"/>
                <a:gd name="connsiteY1" fmla="*/ 148115 h 462341"/>
                <a:gd name="connsiteX2" fmla="*/ 186002 w 435145"/>
                <a:gd name="connsiteY2" fmla="*/ 148115 h 462341"/>
                <a:gd name="connsiteX3" fmla="*/ 186002 w 435145"/>
                <a:gd name="connsiteY3" fmla="*/ 115479 h 462341"/>
                <a:gd name="connsiteX4" fmla="*/ 123450 w 435145"/>
                <a:gd name="connsiteY4" fmla="*/ 58366 h 462341"/>
                <a:gd name="connsiteX5" fmla="*/ 58178 w 435145"/>
                <a:gd name="connsiteY5" fmla="*/ 115479 h 462341"/>
                <a:gd name="connsiteX6" fmla="*/ 58178 w 435145"/>
                <a:gd name="connsiteY6" fmla="*/ 362967 h 462341"/>
                <a:gd name="connsiteX7" fmla="*/ 120730 w 435145"/>
                <a:gd name="connsiteY7" fmla="*/ 422800 h 462341"/>
                <a:gd name="connsiteX8" fmla="*/ 186002 w 435145"/>
                <a:gd name="connsiteY8" fmla="*/ 362967 h 462341"/>
                <a:gd name="connsiteX9" fmla="*/ 186002 w 435145"/>
                <a:gd name="connsiteY9" fmla="*/ 213386 h 462341"/>
                <a:gd name="connsiteX10" fmla="*/ 186002 w 435145"/>
                <a:gd name="connsiteY10" fmla="*/ 213386 h 462341"/>
                <a:gd name="connsiteX11" fmla="*/ 229517 w 435145"/>
                <a:gd name="connsiteY11" fmla="*/ 161713 h 462341"/>
                <a:gd name="connsiteX12" fmla="*/ 259433 w 435145"/>
                <a:gd name="connsiteY12" fmla="*/ 194349 h 462341"/>
                <a:gd name="connsiteX13" fmla="*/ 259433 w 435145"/>
                <a:gd name="connsiteY13" fmla="*/ 362967 h 462341"/>
                <a:gd name="connsiteX14" fmla="*/ 321985 w 435145"/>
                <a:gd name="connsiteY14" fmla="*/ 422800 h 462341"/>
                <a:gd name="connsiteX15" fmla="*/ 387257 w 435145"/>
                <a:gd name="connsiteY15" fmla="*/ 362967 h 462341"/>
                <a:gd name="connsiteX16" fmla="*/ 387257 w 435145"/>
                <a:gd name="connsiteY16" fmla="*/ 273219 h 462341"/>
                <a:gd name="connsiteX17" fmla="*/ 302948 w 435145"/>
                <a:gd name="connsiteY17" fmla="*/ 74684 h 4623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435145" h="462341">
                  <a:moveTo>
                    <a:pt x="302948" y="74684"/>
                  </a:moveTo>
                  <a:cubicBezTo>
                    <a:pt x="234956" y="74684"/>
                    <a:pt x="196881" y="131797"/>
                    <a:pt x="186002" y="148115"/>
                  </a:cubicBezTo>
                  <a:lnTo>
                    <a:pt x="186002" y="148115"/>
                  </a:lnTo>
                  <a:cubicBezTo>
                    <a:pt x="186002" y="129077"/>
                    <a:pt x="186002" y="115479"/>
                    <a:pt x="186002" y="115479"/>
                  </a:cubicBezTo>
                  <a:cubicBezTo>
                    <a:pt x="186002" y="82843"/>
                    <a:pt x="156086" y="58366"/>
                    <a:pt x="123450" y="58366"/>
                  </a:cubicBezTo>
                  <a:cubicBezTo>
                    <a:pt x="90814" y="55646"/>
                    <a:pt x="58178" y="82843"/>
                    <a:pt x="58178" y="115479"/>
                  </a:cubicBezTo>
                  <a:cubicBezTo>
                    <a:pt x="58178" y="120918"/>
                    <a:pt x="58178" y="360248"/>
                    <a:pt x="58178" y="362967"/>
                  </a:cubicBezTo>
                  <a:cubicBezTo>
                    <a:pt x="58178" y="395603"/>
                    <a:pt x="88094" y="422800"/>
                    <a:pt x="120730" y="422800"/>
                  </a:cubicBezTo>
                  <a:cubicBezTo>
                    <a:pt x="153366" y="425519"/>
                    <a:pt x="186002" y="395603"/>
                    <a:pt x="186002" y="362967"/>
                  </a:cubicBezTo>
                  <a:cubicBezTo>
                    <a:pt x="186002" y="360248"/>
                    <a:pt x="186002" y="281378"/>
                    <a:pt x="186002" y="213386"/>
                  </a:cubicBezTo>
                  <a:lnTo>
                    <a:pt x="186002" y="213386"/>
                  </a:lnTo>
                  <a:cubicBezTo>
                    <a:pt x="191442" y="186190"/>
                    <a:pt x="205040" y="161713"/>
                    <a:pt x="229517" y="161713"/>
                  </a:cubicBezTo>
                  <a:cubicBezTo>
                    <a:pt x="259433" y="161713"/>
                    <a:pt x="259433" y="194349"/>
                    <a:pt x="259433" y="194349"/>
                  </a:cubicBezTo>
                  <a:lnTo>
                    <a:pt x="259433" y="362967"/>
                  </a:lnTo>
                  <a:cubicBezTo>
                    <a:pt x="259433" y="395603"/>
                    <a:pt x="289349" y="422800"/>
                    <a:pt x="321985" y="422800"/>
                  </a:cubicBezTo>
                  <a:cubicBezTo>
                    <a:pt x="354621" y="425519"/>
                    <a:pt x="387257" y="395603"/>
                    <a:pt x="387257" y="362967"/>
                  </a:cubicBezTo>
                  <a:lnTo>
                    <a:pt x="387257" y="273219"/>
                  </a:lnTo>
                  <a:cubicBezTo>
                    <a:pt x="384537" y="183470"/>
                    <a:pt x="395416" y="71964"/>
                    <a:pt x="302948" y="74684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7B2E6C61-DDF2-47D9-8A25-89BB69487158}"/>
                </a:ext>
              </a:extLst>
            </p:cNvPr>
            <p:cNvSpPr/>
            <p:nvPr/>
          </p:nvSpPr>
          <p:spPr bwMode="black">
            <a:xfrm>
              <a:off x="7616289" y="3475234"/>
              <a:ext cx="364436" cy="364434"/>
            </a:xfrm>
            <a:custGeom>
              <a:avLst/>
              <a:gdLst>
                <a:gd name="connsiteX0" fmla="*/ 182218 w 364436"/>
                <a:gd name="connsiteY0" fmla="*/ 73431 h 364434"/>
                <a:gd name="connsiteX1" fmla="*/ 130544 w 364436"/>
                <a:gd name="connsiteY1" fmla="*/ 179499 h 364434"/>
                <a:gd name="connsiteX2" fmla="*/ 182218 w 364436"/>
                <a:gd name="connsiteY2" fmla="*/ 285565 h 364434"/>
                <a:gd name="connsiteX3" fmla="*/ 233891 w 364436"/>
                <a:gd name="connsiteY3" fmla="*/ 179499 h 364434"/>
                <a:gd name="connsiteX4" fmla="*/ 182218 w 364436"/>
                <a:gd name="connsiteY4" fmla="*/ 73431 h 364434"/>
                <a:gd name="connsiteX5" fmla="*/ 182219 w 364436"/>
                <a:gd name="connsiteY5" fmla="*/ 0 h 364434"/>
                <a:gd name="connsiteX6" fmla="*/ 364436 w 364436"/>
                <a:gd name="connsiteY6" fmla="*/ 182217 h 364434"/>
                <a:gd name="connsiteX7" fmla="*/ 182219 w 364436"/>
                <a:gd name="connsiteY7" fmla="*/ 364434 h 364434"/>
                <a:gd name="connsiteX8" fmla="*/ 0 w 364436"/>
                <a:gd name="connsiteY8" fmla="*/ 182217 h 364434"/>
                <a:gd name="connsiteX9" fmla="*/ 182219 w 364436"/>
                <a:gd name="connsiteY9" fmla="*/ 0 h 3644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64436" h="364434">
                  <a:moveTo>
                    <a:pt x="182218" y="73431"/>
                  </a:moveTo>
                  <a:cubicBezTo>
                    <a:pt x="152302" y="76151"/>
                    <a:pt x="130544" y="114226"/>
                    <a:pt x="130544" y="179499"/>
                  </a:cubicBezTo>
                  <a:cubicBezTo>
                    <a:pt x="130544" y="244770"/>
                    <a:pt x="146862" y="285565"/>
                    <a:pt x="182218" y="285565"/>
                  </a:cubicBezTo>
                  <a:cubicBezTo>
                    <a:pt x="217573" y="285565"/>
                    <a:pt x="233891" y="247490"/>
                    <a:pt x="233891" y="179499"/>
                  </a:cubicBezTo>
                  <a:cubicBezTo>
                    <a:pt x="233891" y="114226"/>
                    <a:pt x="212134" y="73431"/>
                    <a:pt x="182218" y="73431"/>
                  </a:cubicBezTo>
                  <a:close/>
                  <a:moveTo>
                    <a:pt x="182219" y="0"/>
                  </a:moveTo>
                  <a:cubicBezTo>
                    <a:pt x="282846" y="0"/>
                    <a:pt x="364436" y="81590"/>
                    <a:pt x="364436" y="182217"/>
                  </a:cubicBezTo>
                  <a:cubicBezTo>
                    <a:pt x="364436" y="282844"/>
                    <a:pt x="282846" y="364434"/>
                    <a:pt x="182219" y="364434"/>
                  </a:cubicBezTo>
                  <a:cubicBezTo>
                    <a:pt x="81591" y="364434"/>
                    <a:pt x="0" y="282844"/>
                    <a:pt x="0" y="182217"/>
                  </a:cubicBezTo>
                  <a:cubicBezTo>
                    <a:pt x="0" y="81590"/>
                    <a:pt x="81591" y="0"/>
                    <a:pt x="182219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6DF9C6F1-437C-49ED-BDB4-BFA7F469DBE7}"/>
                </a:ext>
              </a:extLst>
            </p:cNvPr>
            <p:cNvSpPr/>
            <p:nvPr/>
          </p:nvSpPr>
          <p:spPr bwMode="black">
            <a:xfrm>
              <a:off x="6743101" y="3464184"/>
              <a:ext cx="372773" cy="375657"/>
            </a:xfrm>
            <a:custGeom>
              <a:avLst/>
              <a:gdLst>
                <a:gd name="connsiteX0" fmla="*/ 176958 w 372773"/>
                <a:gd name="connsiteY0" fmla="*/ 98080 h 375657"/>
                <a:gd name="connsiteX1" fmla="*/ 125284 w 372773"/>
                <a:gd name="connsiteY1" fmla="*/ 190548 h 375657"/>
                <a:gd name="connsiteX2" fmla="*/ 176958 w 372773"/>
                <a:gd name="connsiteY2" fmla="*/ 283017 h 375657"/>
                <a:gd name="connsiteX3" fmla="*/ 228631 w 372773"/>
                <a:gd name="connsiteY3" fmla="*/ 190548 h 375657"/>
                <a:gd name="connsiteX4" fmla="*/ 176958 w 372773"/>
                <a:gd name="connsiteY4" fmla="*/ 98080 h 375657"/>
                <a:gd name="connsiteX5" fmla="*/ 307501 w 372773"/>
                <a:gd name="connsiteY5" fmla="*/ 172 h 375657"/>
                <a:gd name="connsiteX6" fmla="*/ 372773 w 372773"/>
                <a:gd name="connsiteY6" fmla="*/ 62724 h 375657"/>
                <a:gd name="connsiteX7" fmla="*/ 372773 w 372773"/>
                <a:gd name="connsiteY7" fmla="*/ 312934 h 375657"/>
                <a:gd name="connsiteX8" fmla="*/ 302061 w 372773"/>
                <a:gd name="connsiteY8" fmla="*/ 375486 h 375657"/>
                <a:gd name="connsiteX9" fmla="*/ 239509 w 372773"/>
                <a:gd name="connsiteY9" fmla="*/ 326532 h 375657"/>
                <a:gd name="connsiteX10" fmla="*/ 179677 w 372773"/>
                <a:gd name="connsiteY10" fmla="*/ 370046 h 375657"/>
                <a:gd name="connsiteX11" fmla="*/ 70890 w 372773"/>
                <a:gd name="connsiteY11" fmla="*/ 353728 h 375657"/>
                <a:gd name="connsiteX12" fmla="*/ 128003 w 372773"/>
                <a:gd name="connsiteY12" fmla="*/ 11051 h 375657"/>
                <a:gd name="connsiteX13" fmla="*/ 236790 w 372773"/>
                <a:gd name="connsiteY13" fmla="*/ 70883 h 375657"/>
                <a:gd name="connsiteX14" fmla="*/ 236790 w 372773"/>
                <a:gd name="connsiteY14" fmla="*/ 62724 h 375657"/>
                <a:gd name="connsiteX15" fmla="*/ 307501 w 372773"/>
                <a:gd name="connsiteY15" fmla="*/ 172 h 3756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72773" h="375657">
                  <a:moveTo>
                    <a:pt x="176958" y="98080"/>
                  </a:moveTo>
                  <a:cubicBezTo>
                    <a:pt x="147042" y="100800"/>
                    <a:pt x="125284" y="133436"/>
                    <a:pt x="125284" y="190548"/>
                  </a:cubicBezTo>
                  <a:cubicBezTo>
                    <a:pt x="125284" y="247661"/>
                    <a:pt x="141602" y="283017"/>
                    <a:pt x="176958" y="283017"/>
                  </a:cubicBezTo>
                  <a:cubicBezTo>
                    <a:pt x="212314" y="283017"/>
                    <a:pt x="228631" y="247661"/>
                    <a:pt x="228631" y="190548"/>
                  </a:cubicBezTo>
                  <a:cubicBezTo>
                    <a:pt x="228631" y="133436"/>
                    <a:pt x="206874" y="98080"/>
                    <a:pt x="176958" y="98080"/>
                  </a:cubicBezTo>
                  <a:close/>
                  <a:moveTo>
                    <a:pt x="307501" y="172"/>
                  </a:moveTo>
                  <a:cubicBezTo>
                    <a:pt x="340137" y="172"/>
                    <a:pt x="372773" y="30088"/>
                    <a:pt x="372773" y="62724"/>
                  </a:cubicBezTo>
                  <a:cubicBezTo>
                    <a:pt x="372773" y="65444"/>
                    <a:pt x="372773" y="307494"/>
                    <a:pt x="372773" y="312934"/>
                  </a:cubicBezTo>
                  <a:cubicBezTo>
                    <a:pt x="370053" y="348289"/>
                    <a:pt x="337417" y="378205"/>
                    <a:pt x="302061" y="375486"/>
                  </a:cubicBezTo>
                  <a:cubicBezTo>
                    <a:pt x="274865" y="372766"/>
                    <a:pt x="247668" y="353728"/>
                    <a:pt x="239509" y="326532"/>
                  </a:cubicBezTo>
                  <a:cubicBezTo>
                    <a:pt x="225911" y="348289"/>
                    <a:pt x="198715" y="364607"/>
                    <a:pt x="179677" y="370046"/>
                  </a:cubicBezTo>
                  <a:cubicBezTo>
                    <a:pt x="147041" y="378205"/>
                    <a:pt x="100807" y="372766"/>
                    <a:pt x="70890" y="353728"/>
                  </a:cubicBezTo>
                  <a:cubicBezTo>
                    <a:pt x="-35177" y="285737"/>
                    <a:pt x="-27018" y="11051"/>
                    <a:pt x="128003" y="11051"/>
                  </a:cubicBezTo>
                  <a:cubicBezTo>
                    <a:pt x="185116" y="11051"/>
                    <a:pt x="220471" y="49126"/>
                    <a:pt x="236790" y="70883"/>
                  </a:cubicBezTo>
                  <a:cubicBezTo>
                    <a:pt x="236790" y="70883"/>
                    <a:pt x="236790" y="65444"/>
                    <a:pt x="236790" y="62724"/>
                  </a:cubicBezTo>
                  <a:cubicBezTo>
                    <a:pt x="239509" y="27369"/>
                    <a:pt x="272145" y="-2547"/>
                    <a:pt x="307501" y="172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1980F842-8843-4ECD-BDE7-3CD6D542F555}"/>
                </a:ext>
              </a:extLst>
            </p:cNvPr>
            <p:cNvSpPr/>
            <p:nvPr/>
          </p:nvSpPr>
          <p:spPr bwMode="black">
            <a:xfrm>
              <a:off x="8380335" y="3464184"/>
              <a:ext cx="372772" cy="375657"/>
            </a:xfrm>
            <a:custGeom>
              <a:avLst/>
              <a:gdLst>
                <a:gd name="connsiteX0" fmla="*/ 176957 w 372772"/>
                <a:gd name="connsiteY0" fmla="*/ 98080 h 375657"/>
                <a:gd name="connsiteX1" fmla="*/ 125282 w 372772"/>
                <a:gd name="connsiteY1" fmla="*/ 190548 h 375657"/>
                <a:gd name="connsiteX2" fmla="*/ 176957 w 372772"/>
                <a:gd name="connsiteY2" fmla="*/ 283017 h 375657"/>
                <a:gd name="connsiteX3" fmla="*/ 228630 w 372772"/>
                <a:gd name="connsiteY3" fmla="*/ 190548 h 375657"/>
                <a:gd name="connsiteX4" fmla="*/ 176957 w 372772"/>
                <a:gd name="connsiteY4" fmla="*/ 98080 h 375657"/>
                <a:gd name="connsiteX5" fmla="*/ 307501 w 372772"/>
                <a:gd name="connsiteY5" fmla="*/ 172 h 375657"/>
                <a:gd name="connsiteX6" fmla="*/ 372772 w 372772"/>
                <a:gd name="connsiteY6" fmla="*/ 62724 h 375657"/>
                <a:gd name="connsiteX7" fmla="*/ 372772 w 372772"/>
                <a:gd name="connsiteY7" fmla="*/ 312934 h 375657"/>
                <a:gd name="connsiteX8" fmla="*/ 302062 w 372772"/>
                <a:gd name="connsiteY8" fmla="*/ 375486 h 375657"/>
                <a:gd name="connsiteX9" fmla="*/ 239509 w 372772"/>
                <a:gd name="connsiteY9" fmla="*/ 326532 h 375657"/>
                <a:gd name="connsiteX10" fmla="*/ 179677 w 372772"/>
                <a:gd name="connsiteY10" fmla="*/ 370046 h 375657"/>
                <a:gd name="connsiteX11" fmla="*/ 70890 w 372772"/>
                <a:gd name="connsiteY11" fmla="*/ 353728 h 375657"/>
                <a:gd name="connsiteX12" fmla="*/ 128002 w 372772"/>
                <a:gd name="connsiteY12" fmla="*/ 11051 h 375657"/>
                <a:gd name="connsiteX13" fmla="*/ 236790 w 372772"/>
                <a:gd name="connsiteY13" fmla="*/ 70883 h 375657"/>
                <a:gd name="connsiteX14" fmla="*/ 236790 w 372772"/>
                <a:gd name="connsiteY14" fmla="*/ 62724 h 375657"/>
                <a:gd name="connsiteX15" fmla="*/ 307501 w 372772"/>
                <a:gd name="connsiteY15" fmla="*/ 172 h 3756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72772" h="375657">
                  <a:moveTo>
                    <a:pt x="176957" y="98080"/>
                  </a:moveTo>
                  <a:cubicBezTo>
                    <a:pt x="147039" y="100800"/>
                    <a:pt x="125282" y="133436"/>
                    <a:pt x="125282" y="190548"/>
                  </a:cubicBezTo>
                  <a:cubicBezTo>
                    <a:pt x="125282" y="247661"/>
                    <a:pt x="141600" y="283017"/>
                    <a:pt x="176957" y="283017"/>
                  </a:cubicBezTo>
                  <a:cubicBezTo>
                    <a:pt x="212312" y="283017"/>
                    <a:pt x="228630" y="247661"/>
                    <a:pt x="228630" y="190548"/>
                  </a:cubicBezTo>
                  <a:cubicBezTo>
                    <a:pt x="228630" y="133436"/>
                    <a:pt x="206873" y="98080"/>
                    <a:pt x="176957" y="98080"/>
                  </a:cubicBezTo>
                  <a:close/>
                  <a:moveTo>
                    <a:pt x="307501" y="172"/>
                  </a:moveTo>
                  <a:cubicBezTo>
                    <a:pt x="340137" y="172"/>
                    <a:pt x="372772" y="30088"/>
                    <a:pt x="372772" y="62724"/>
                  </a:cubicBezTo>
                  <a:cubicBezTo>
                    <a:pt x="372772" y="65444"/>
                    <a:pt x="372772" y="307494"/>
                    <a:pt x="372772" y="312934"/>
                  </a:cubicBezTo>
                  <a:cubicBezTo>
                    <a:pt x="370053" y="348289"/>
                    <a:pt x="337417" y="378205"/>
                    <a:pt x="302062" y="375486"/>
                  </a:cubicBezTo>
                  <a:cubicBezTo>
                    <a:pt x="274865" y="372766"/>
                    <a:pt x="247668" y="353728"/>
                    <a:pt x="239509" y="326532"/>
                  </a:cubicBezTo>
                  <a:cubicBezTo>
                    <a:pt x="228630" y="348289"/>
                    <a:pt x="198714" y="364607"/>
                    <a:pt x="179677" y="370046"/>
                  </a:cubicBezTo>
                  <a:cubicBezTo>
                    <a:pt x="147040" y="378205"/>
                    <a:pt x="100806" y="372766"/>
                    <a:pt x="70890" y="353728"/>
                  </a:cubicBezTo>
                  <a:cubicBezTo>
                    <a:pt x="-35177" y="285737"/>
                    <a:pt x="-27018" y="11051"/>
                    <a:pt x="128002" y="11051"/>
                  </a:cubicBezTo>
                  <a:cubicBezTo>
                    <a:pt x="185116" y="11051"/>
                    <a:pt x="220472" y="49126"/>
                    <a:pt x="236790" y="70883"/>
                  </a:cubicBezTo>
                  <a:cubicBezTo>
                    <a:pt x="236790" y="70883"/>
                    <a:pt x="236790" y="65444"/>
                    <a:pt x="236790" y="62724"/>
                  </a:cubicBezTo>
                  <a:cubicBezTo>
                    <a:pt x="239509" y="27369"/>
                    <a:pt x="272145" y="-2547"/>
                    <a:pt x="307501" y="172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25814236-BEAA-4CFC-B101-3AEF7AA8B77B}"/>
                </a:ext>
              </a:extLst>
            </p:cNvPr>
            <p:cNvSpPr/>
            <p:nvPr/>
          </p:nvSpPr>
          <p:spPr bwMode="black">
            <a:xfrm>
              <a:off x="7389492" y="3444253"/>
              <a:ext cx="217573" cy="435145"/>
            </a:xfrm>
            <a:custGeom>
              <a:avLst/>
              <a:gdLst>
                <a:gd name="connsiteX0" fmla="*/ 186002 w 217572"/>
                <a:gd name="connsiteY0" fmla="*/ 118011 h 435144"/>
                <a:gd name="connsiteX1" fmla="*/ 128890 w 217572"/>
                <a:gd name="connsiteY1" fmla="*/ 58178 h 435144"/>
                <a:gd name="connsiteX2" fmla="*/ 123450 w 217572"/>
                <a:gd name="connsiteY2" fmla="*/ 58178 h 435144"/>
                <a:gd name="connsiteX3" fmla="*/ 58178 w 217572"/>
                <a:gd name="connsiteY3" fmla="*/ 115291 h 435144"/>
                <a:gd name="connsiteX4" fmla="*/ 58178 w 217572"/>
                <a:gd name="connsiteY4" fmla="*/ 232236 h 435144"/>
                <a:gd name="connsiteX5" fmla="*/ 58178 w 217572"/>
                <a:gd name="connsiteY5" fmla="*/ 232236 h 435144"/>
                <a:gd name="connsiteX6" fmla="*/ 58178 w 217572"/>
                <a:gd name="connsiteY6" fmla="*/ 335583 h 435144"/>
                <a:gd name="connsiteX7" fmla="*/ 115291 w 217572"/>
                <a:gd name="connsiteY7" fmla="*/ 395415 h 435144"/>
                <a:gd name="connsiteX8" fmla="*/ 120730 w 217572"/>
                <a:gd name="connsiteY8" fmla="*/ 395415 h 435144"/>
                <a:gd name="connsiteX9" fmla="*/ 186002 w 217572"/>
                <a:gd name="connsiteY9" fmla="*/ 338303 h 435144"/>
                <a:gd name="connsiteX10" fmla="*/ 186002 w 217572"/>
                <a:gd name="connsiteY10" fmla="*/ 240395 h 435144"/>
                <a:gd name="connsiteX11" fmla="*/ 186002 w 217572"/>
                <a:gd name="connsiteY11" fmla="*/ 240395 h 435144"/>
                <a:gd name="connsiteX12" fmla="*/ 186002 w 217572"/>
                <a:gd name="connsiteY12" fmla="*/ 118011 h 4351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17572" h="435144">
                  <a:moveTo>
                    <a:pt x="186002" y="118011"/>
                  </a:moveTo>
                  <a:cubicBezTo>
                    <a:pt x="183283" y="85375"/>
                    <a:pt x="158806" y="60898"/>
                    <a:pt x="128890" y="58178"/>
                  </a:cubicBezTo>
                  <a:cubicBezTo>
                    <a:pt x="126170" y="58178"/>
                    <a:pt x="126170" y="58178"/>
                    <a:pt x="123450" y="58178"/>
                  </a:cubicBezTo>
                  <a:cubicBezTo>
                    <a:pt x="96254" y="58178"/>
                    <a:pt x="58178" y="82655"/>
                    <a:pt x="58178" y="115291"/>
                  </a:cubicBezTo>
                  <a:lnTo>
                    <a:pt x="58178" y="232236"/>
                  </a:lnTo>
                  <a:lnTo>
                    <a:pt x="58178" y="232236"/>
                  </a:lnTo>
                  <a:cubicBezTo>
                    <a:pt x="58178" y="270311"/>
                    <a:pt x="58178" y="335583"/>
                    <a:pt x="58178" y="335583"/>
                  </a:cubicBezTo>
                  <a:cubicBezTo>
                    <a:pt x="60898" y="368219"/>
                    <a:pt x="85375" y="392696"/>
                    <a:pt x="115291" y="395415"/>
                  </a:cubicBezTo>
                  <a:cubicBezTo>
                    <a:pt x="118011" y="395415"/>
                    <a:pt x="118011" y="395415"/>
                    <a:pt x="120730" y="395415"/>
                  </a:cubicBezTo>
                  <a:cubicBezTo>
                    <a:pt x="147927" y="395415"/>
                    <a:pt x="186002" y="370938"/>
                    <a:pt x="186002" y="338303"/>
                  </a:cubicBezTo>
                  <a:lnTo>
                    <a:pt x="186002" y="240395"/>
                  </a:lnTo>
                  <a:lnTo>
                    <a:pt x="186002" y="240395"/>
                  </a:lnTo>
                  <a:cubicBezTo>
                    <a:pt x="186002" y="202320"/>
                    <a:pt x="186002" y="118011"/>
                    <a:pt x="186002" y="118011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2ED7C96E-27D1-4907-930F-0FBC0B6CF852}"/>
                </a:ext>
              </a:extLst>
            </p:cNvPr>
            <p:cNvSpPr/>
            <p:nvPr/>
          </p:nvSpPr>
          <p:spPr bwMode="black">
            <a:xfrm>
              <a:off x="7392212" y="3280901"/>
              <a:ext cx="217573" cy="217572"/>
            </a:xfrm>
            <a:custGeom>
              <a:avLst/>
              <a:gdLst>
                <a:gd name="connsiteX0" fmla="*/ 183282 w 217572"/>
                <a:gd name="connsiteY0" fmla="*/ 120902 h 217572"/>
                <a:gd name="connsiteX1" fmla="*/ 120730 w 217572"/>
                <a:gd name="connsiteY1" fmla="*/ 183454 h 217572"/>
                <a:gd name="connsiteX2" fmla="*/ 58178 w 217572"/>
                <a:gd name="connsiteY2" fmla="*/ 120902 h 217572"/>
                <a:gd name="connsiteX3" fmla="*/ 120730 w 217572"/>
                <a:gd name="connsiteY3" fmla="*/ 58350 h 217572"/>
                <a:gd name="connsiteX4" fmla="*/ 183282 w 217572"/>
                <a:gd name="connsiteY4" fmla="*/ 120902 h 2175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17572" h="217572">
                  <a:moveTo>
                    <a:pt x="183282" y="120902"/>
                  </a:moveTo>
                  <a:cubicBezTo>
                    <a:pt x="183282" y="156258"/>
                    <a:pt x="156086" y="183454"/>
                    <a:pt x="120730" y="183454"/>
                  </a:cubicBezTo>
                  <a:cubicBezTo>
                    <a:pt x="85375" y="183454"/>
                    <a:pt x="58178" y="156258"/>
                    <a:pt x="58178" y="120902"/>
                  </a:cubicBezTo>
                  <a:cubicBezTo>
                    <a:pt x="58178" y="85547"/>
                    <a:pt x="85375" y="58350"/>
                    <a:pt x="120730" y="58350"/>
                  </a:cubicBezTo>
                  <a:cubicBezTo>
                    <a:pt x="153366" y="55630"/>
                    <a:pt x="183282" y="85547"/>
                    <a:pt x="183282" y="120902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57858C7E-AF70-4F67-B2E8-5ADA3F580674}"/>
                </a:ext>
              </a:extLst>
            </p:cNvPr>
            <p:cNvSpPr/>
            <p:nvPr/>
          </p:nvSpPr>
          <p:spPr bwMode="black">
            <a:xfrm>
              <a:off x="6005186" y="3416884"/>
              <a:ext cx="380752" cy="462341"/>
            </a:xfrm>
            <a:custGeom>
              <a:avLst/>
              <a:gdLst>
                <a:gd name="connsiteX0" fmla="*/ 270312 w 380752"/>
                <a:gd name="connsiteY0" fmla="*/ 69229 h 462341"/>
                <a:gd name="connsiteX1" fmla="*/ 188722 w 380752"/>
                <a:gd name="connsiteY1" fmla="*/ 134501 h 462341"/>
                <a:gd name="connsiteX2" fmla="*/ 188722 w 380752"/>
                <a:gd name="connsiteY2" fmla="*/ 118183 h 462341"/>
                <a:gd name="connsiteX3" fmla="*/ 126170 w 380752"/>
                <a:gd name="connsiteY3" fmla="*/ 58350 h 462341"/>
                <a:gd name="connsiteX4" fmla="*/ 58178 w 380752"/>
                <a:gd name="connsiteY4" fmla="*/ 118183 h 462341"/>
                <a:gd name="connsiteX5" fmla="*/ 58178 w 380752"/>
                <a:gd name="connsiteY5" fmla="*/ 210651 h 462341"/>
                <a:gd name="connsiteX6" fmla="*/ 58178 w 380752"/>
                <a:gd name="connsiteY6" fmla="*/ 365671 h 462341"/>
                <a:gd name="connsiteX7" fmla="*/ 58178 w 380752"/>
                <a:gd name="connsiteY7" fmla="*/ 365671 h 462341"/>
                <a:gd name="connsiteX8" fmla="*/ 120730 w 380752"/>
                <a:gd name="connsiteY8" fmla="*/ 425504 h 462341"/>
                <a:gd name="connsiteX9" fmla="*/ 186002 w 380752"/>
                <a:gd name="connsiteY9" fmla="*/ 365671 h 462341"/>
                <a:gd name="connsiteX10" fmla="*/ 186002 w 380752"/>
                <a:gd name="connsiteY10" fmla="*/ 365671 h 462341"/>
                <a:gd name="connsiteX11" fmla="*/ 186002 w 380752"/>
                <a:gd name="connsiteY11" fmla="*/ 210651 h 462341"/>
                <a:gd name="connsiteX12" fmla="*/ 215919 w 380752"/>
                <a:gd name="connsiteY12" fmla="*/ 158978 h 462341"/>
                <a:gd name="connsiteX13" fmla="*/ 275751 w 380752"/>
                <a:gd name="connsiteY13" fmla="*/ 221530 h 462341"/>
                <a:gd name="connsiteX14" fmla="*/ 270312 w 380752"/>
                <a:gd name="connsiteY14" fmla="*/ 69229 h 4623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80752" h="462341">
                  <a:moveTo>
                    <a:pt x="270312" y="69229"/>
                  </a:moveTo>
                  <a:cubicBezTo>
                    <a:pt x="232236" y="71949"/>
                    <a:pt x="213199" y="99145"/>
                    <a:pt x="188722" y="134501"/>
                  </a:cubicBezTo>
                  <a:cubicBezTo>
                    <a:pt x="188722" y="134501"/>
                    <a:pt x="188722" y="118183"/>
                    <a:pt x="188722" y="118183"/>
                  </a:cubicBezTo>
                  <a:cubicBezTo>
                    <a:pt x="188722" y="85547"/>
                    <a:pt x="158806" y="58350"/>
                    <a:pt x="126170" y="58350"/>
                  </a:cubicBezTo>
                  <a:cubicBezTo>
                    <a:pt x="93534" y="55631"/>
                    <a:pt x="60898" y="85547"/>
                    <a:pt x="58178" y="118183"/>
                  </a:cubicBezTo>
                  <a:lnTo>
                    <a:pt x="58178" y="210651"/>
                  </a:lnTo>
                  <a:lnTo>
                    <a:pt x="58178" y="365671"/>
                  </a:lnTo>
                  <a:lnTo>
                    <a:pt x="58178" y="365671"/>
                  </a:lnTo>
                  <a:cubicBezTo>
                    <a:pt x="58178" y="398307"/>
                    <a:pt x="88094" y="425504"/>
                    <a:pt x="120730" y="425504"/>
                  </a:cubicBezTo>
                  <a:cubicBezTo>
                    <a:pt x="153366" y="428224"/>
                    <a:pt x="186002" y="398307"/>
                    <a:pt x="186002" y="365671"/>
                  </a:cubicBezTo>
                  <a:lnTo>
                    <a:pt x="186002" y="365671"/>
                  </a:lnTo>
                  <a:lnTo>
                    <a:pt x="186002" y="210651"/>
                  </a:lnTo>
                  <a:cubicBezTo>
                    <a:pt x="188722" y="188894"/>
                    <a:pt x="196881" y="158978"/>
                    <a:pt x="215919" y="158978"/>
                  </a:cubicBezTo>
                  <a:cubicBezTo>
                    <a:pt x="243115" y="158978"/>
                    <a:pt x="215919" y="221530"/>
                    <a:pt x="275751" y="221530"/>
                  </a:cubicBezTo>
                  <a:cubicBezTo>
                    <a:pt x="362780" y="221530"/>
                    <a:pt x="373658" y="63790"/>
                    <a:pt x="270312" y="69229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BC38C734-4415-4F9B-B96B-AE7393B02692}"/>
                </a:ext>
              </a:extLst>
            </p:cNvPr>
            <p:cNvSpPr/>
            <p:nvPr/>
          </p:nvSpPr>
          <p:spPr bwMode="black">
            <a:xfrm>
              <a:off x="5693490" y="3475234"/>
              <a:ext cx="337238" cy="364434"/>
            </a:xfrm>
            <a:custGeom>
              <a:avLst/>
              <a:gdLst>
                <a:gd name="connsiteX0" fmla="*/ 180433 w 337238"/>
                <a:gd name="connsiteY0" fmla="*/ 73984 h 364434"/>
                <a:gd name="connsiteX1" fmla="*/ 163180 w 337238"/>
                <a:gd name="connsiteY1" fmla="*/ 78870 h 364434"/>
                <a:gd name="connsiteX2" fmla="*/ 125105 w 337238"/>
                <a:gd name="connsiteY2" fmla="*/ 160461 h 364434"/>
                <a:gd name="connsiteX3" fmla="*/ 171339 w 337238"/>
                <a:gd name="connsiteY3" fmla="*/ 163180 h 364434"/>
                <a:gd name="connsiteX4" fmla="*/ 214854 w 337238"/>
                <a:gd name="connsiteY4" fmla="*/ 108787 h 364434"/>
                <a:gd name="connsiteX5" fmla="*/ 180433 w 337238"/>
                <a:gd name="connsiteY5" fmla="*/ 73984 h 364434"/>
                <a:gd name="connsiteX6" fmla="*/ 174059 w 337238"/>
                <a:gd name="connsiteY6" fmla="*/ 0 h 364434"/>
                <a:gd name="connsiteX7" fmla="*/ 337238 w 337238"/>
                <a:gd name="connsiteY7" fmla="*/ 119665 h 364434"/>
                <a:gd name="connsiteX8" fmla="*/ 133264 w 337238"/>
                <a:gd name="connsiteY8" fmla="*/ 217573 h 364434"/>
                <a:gd name="connsiteX9" fmla="*/ 225732 w 337238"/>
                <a:gd name="connsiteY9" fmla="*/ 277405 h 364434"/>
                <a:gd name="connsiteX10" fmla="*/ 320920 w 337238"/>
                <a:gd name="connsiteY10" fmla="*/ 250208 h 364434"/>
                <a:gd name="connsiteX11" fmla="*/ 174059 w 337238"/>
                <a:gd name="connsiteY11" fmla="*/ 364434 h 364434"/>
                <a:gd name="connsiteX12" fmla="*/ 0 w 337238"/>
                <a:gd name="connsiteY12" fmla="*/ 184937 h 364434"/>
                <a:gd name="connsiteX13" fmla="*/ 174059 w 337238"/>
                <a:gd name="connsiteY13" fmla="*/ 0 h 3644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37238" h="364434">
                  <a:moveTo>
                    <a:pt x="180433" y="73984"/>
                  </a:moveTo>
                  <a:cubicBezTo>
                    <a:pt x="174569" y="73941"/>
                    <a:pt x="168620" y="75471"/>
                    <a:pt x="163180" y="78870"/>
                  </a:cubicBezTo>
                  <a:cubicBezTo>
                    <a:pt x="135984" y="95189"/>
                    <a:pt x="127825" y="130544"/>
                    <a:pt x="125105" y="160461"/>
                  </a:cubicBezTo>
                  <a:cubicBezTo>
                    <a:pt x="125105" y="163180"/>
                    <a:pt x="168620" y="160461"/>
                    <a:pt x="171339" y="163180"/>
                  </a:cubicBezTo>
                  <a:cubicBezTo>
                    <a:pt x="195816" y="157741"/>
                    <a:pt x="214854" y="135984"/>
                    <a:pt x="214854" y="108787"/>
                  </a:cubicBezTo>
                  <a:cubicBezTo>
                    <a:pt x="214854" y="88389"/>
                    <a:pt x="198026" y="74111"/>
                    <a:pt x="180433" y="73984"/>
                  </a:cubicBezTo>
                  <a:close/>
                  <a:moveTo>
                    <a:pt x="174059" y="0"/>
                  </a:moveTo>
                  <a:cubicBezTo>
                    <a:pt x="233891" y="0"/>
                    <a:pt x="337238" y="29916"/>
                    <a:pt x="337238" y="119665"/>
                  </a:cubicBezTo>
                  <a:cubicBezTo>
                    <a:pt x="337238" y="209414"/>
                    <a:pt x="244770" y="217573"/>
                    <a:pt x="133264" y="217573"/>
                  </a:cubicBezTo>
                  <a:cubicBezTo>
                    <a:pt x="133264" y="217573"/>
                    <a:pt x="149581" y="277405"/>
                    <a:pt x="225732" y="277405"/>
                  </a:cubicBezTo>
                  <a:cubicBezTo>
                    <a:pt x="301883" y="277405"/>
                    <a:pt x="320920" y="250208"/>
                    <a:pt x="320920" y="250208"/>
                  </a:cubicBezTo>
                  <a:cubicBezTo>
                    <a:pt x="320920" y="250208"/>
                    <a:pt x="315481" y="364434"/>
                    <a:pt x="174059" y="364434"/>
                  </a:cubicBezTo>
                  <a:cubicBezTo>
                    <a:pt x="95188" y="364434"/>
                    <a:pt x="0" y="304602"/>
                    <a:pt x="0" y="184937"/>
                  </a:cubicBezTo>
                  <a:cubicBezTo>
                    <a:pt x="0" y="78870"/>
                    <a:pt x="73431" y="0"/>
                    <a:pt x="174059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FBCC10D7-F9B5-4884-95E0-76FFA954D306}"/>
                </a:ext>
              </a:extLst>
            </p:cNvPr>
            <p:cNvSpPr/>
            <p:nvPr/>
          </p:nvSpPr>
          <p:spPr bwMode="black">
            <a:xfrm>
              <a:off x="5376945" y="3338014"/>
              <a:ext cx="353556" cy="543931"/>
            </a:xfrm>
            <a:custGeom>
              <a:avLst/>
              <a:gdLst>
                <a:gd name="connsiteX0" fmla="*/ 311107 w 353555"/>
                <a:gd name="connsiteY0" fmla="*/ 433663 h 543931"/>
                <a:gd name="connsiteX1" fmla="*/ 215919 w 353555"/>
                <a:gd name="connsiteY1" fmla="*/ 501654 h 543931"/>
                <a:gd name="connsiteX2" fmla="*/ 98973 w 353555"/>
                <a:gd name="connsiteY2" fmla="*/ 392868 h 543931"/>
                <a:gd name="connsiteX3" fmla="*/ 98973 w 353555"/>
                <a:gd name="connsiteY3" fmla="*/ 221530 h 543931"/>
                <a:gd name="connsiteX4" fmla="*/ 82655 w 353555"/>
                <a:gd name="connsiteY4" fmla="*/ 221530 h 543931"/>
                <a:gd name="connsiteX5" fmla="*/ 58178 w 353555"/>
                <a:gd name="connsiteY5" fmla="*/ 191614 h 543931"/>
                <a:gd name="connsiteX6" fmla="*/ 85375 w 353555"/>
                <a:gd name="connsiteY6" fmla="*/ 164417 h 543931"/>
                <a:gd name="connsiteX7" fmla="*/ 101693 w 353555"/>
                <a:gd name="connsiteY7" fmla="*/ 164417 h 543931"/>
                <a:gd name="connsiteX8" fmla="*/ 101693 w 353555"/>
                <a:gd name="connsiteY8" fmla="*/ 118183 h 543931"/>
                <a:gd name="connsiteX9" fmla="*/ 166965 w 353555"/>
                <a:gd name="connsiteY9" fmla="*/ 58350 h 543931"/>
                <a:gd name="connsiteX10" fmla="*/ 229517 w 353555"/>
                <a:gd name="connsiteY10" fmla="*/ 118183 h 543931"/>
                <a:gd name="connsiteX11" fmla="*/ 229517 w 353555"/>
                <a:gd name="connsiteY11" fmla="*/ 118183 h 543931"/>
                <a:gd name="connsiteX12" fmla="*/ 229517 w 353555"/>
                <a:gd name="connsiteY12" fmla="*/ 164417 h 543931"/>
                <a:gd name="connsiteX13" fmla="*/ 283910 w 353555"/>
                <a:gd name="connsiteY13" fmla="*/ 164417 h 543931"/>
                <a:gd name="connsiteX14" fmla="*/ 308387 w 353555"/>
                <a:gd name="connsiteY14" fmla="*/ 194333 h 543931"/>
                <a:gd name="connsiteX15" fmla="*/ 281190 w 353555"/>
                <a:gd name="connsiteY15" fmla="*/ 221530 h 543931"/>
                <a:gd name="connsiteX16" fmla="*/ 229517 w 353555"/>
                <a:gd name="connsiteY16" fmla="*/ 221530 h 543931"/>
                <a:gd name="connsiteX17" fmla="*/ 229517 w 353555"/>
                <a:gd name="connsiteY17" fmla="*/ 365671 h 543931"/>
                <a:gd name="connsiteX18" fmla="*/ 311107 w 353555"/>
                <a:gd name="connsiteY18" fmla="*/ 433663 h 5439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353555" h="543931">
                  <a:moveTo>
                    <a:pt x="311107" y="433663"/>
                  </a:moveTo>
                  <a:cubicBezTo>
                    <a:pt x="311107" y="433663"/>
                    <a:pt x="278471" y="501654"/>
                    <a:pt x="215919" y="501654"/>
                  </a:cubicBezTo>
                  <a:cubicBezTo>
                    <a:pt x="164245" y="501654"/>
                    <a:pt x="101693" y="458140"/>
                    <a:pt x="98973" y="392868"/>
                  </a:cubicBezTo>
                  <a:cubicBezTo>
                    <a:pt x="98973" y="392868"/>
                    <a:pt x="98973" y="297680"/>
                    <a:pt x="98973" y="221530"/>
                  </a:cubicBezTo>
                  <a:lnTo>
                    <a:pt x="82655" y="221530"/>
                  </a:lnTo>
                  <a:cubicBezTo>
                    <a:pt x="74496" y="221530"/>
                    <a:pt x="58178" y="216090"/>
                    <a:pt x="58178" y="191614"/>
                  </a:cubicBezTo>
                  <a:cubicBezTo>
                    <a:pt x="58178" y="167137"/>
                    <a:pt x="77216" y="164417"/>
                    <a:pt x="85375" y="164417"/>
                  </a:cubicBezTo>
                  <a:lnTo>
                    <a:pt x="101693" y="164417"/>
                  </a:lnTo>
                  <a:cubicBezTo>
                    <a:pt x="101693" y="137220"/>
                    <a:pt x="101693" y="118183"/>
                    <a:pt x="101693" y="118183"/>
                  </a:cubicBezTo>
                  <a:cubicBezTo>
                    <a:pt x="104413" y="85547"/>
                    <a:pt x="134329" y="55631"/>
                    <a:pt x="166965" y="58350"/>
                  </a:cubicBezTo>
                  <a:cubicBezTo>
                    <a:pt x="196881" y="61070"/>
                    <a:pt x="229517" y="85547"/>
                    <a:pt x="229517" y="118183"/>
                  </a:cubicBezTo>
                  <a:lnTo>
                    <a:pt x="229517" y="118183"/>
                  </a:lnTo>
                  <a:lnTo>
                    <a:pt x="229517" y="164417"/>
                  </a:lnTo>
                  <a:lnTo>
                    <a:pt x="283910" y="164417"/>
                  </a:lnTo>
                  <a:cubicBezTo>
                    <a:pt x="292069" y="164417"/>
                    <a:pt x="308387" y="169856"/>
                    <a:pt x="308387" y="194333"/>
                  </a:cubicBezTo>
                  <a:cubicBezTo>
                    <a:pt x="308387" y="218810"/>
                    <a:pt x="292069" y="221530"/>
                    <a:pt x="281190" y="221530"/>
                  </a:cubicBezTo>
                  <a:lnTo>
                    <a:pt x="229517" y="221530"/>
                  </a:lnTo>
                  <a:lnTo>
                    <a:pt x="229517" y="365671"/>
                  </a:lnTo>
                  <a:cubicBezTo>
                    <a:pt x="226797" y="409186"/>
                    <a:pt x="267592" y="433663"/>
                    <a:pt x="311107" y="433663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DC3432CC-EC60-49E1-82E4-7E2CBE3EE40A}"/>
                </a:ext>
              </a:extLst>
            </p:cNvPr>
            <p:cNvSpPr/>
            <p:nvPr/>
          </p:nvSpPr>
          <p:spPr bwMode="black">
            <a:xfrm>
              <a:off x="7090329" y="3338014"/>
              <a:ext cx="353556" cy="543931"/>
            </a:xfrm>
            <a:custGeom>
              <a:avLst/>
              <a:gdLst>
                <a:gd name="connsiteX0" fmla="*/ 311107 w 353555"/>
                <a:gd name="connsiteY0" fmla="*/ 433663 h 543931"/>
                <a:gd name="connsiteX1" fmla="*/ 215919 w 353555"/>
                <a:gd name="connsiteY1" fmla="*/ 501654 h 543931"/>
                <a:gd name="connsiteX2" fmla="*/ 98973 w 353555"/>
                <a:gd name="connsiteY2" fmla="*/ 392868 h 543931"/>
                <a:gd name="connsiteX3" fmla="*/ 98973 w 353555"/>
                <a:gd name="connsiteY3" fmla="*/ 221530 h 543931"/>
                <a:gd name="connsiteX4" fmla="*/ 82655 w 353555"/>
                <a:gd name="connsiteY4" fmla="*/ 221530 h 543931"/>
                <a:gd name="connsiteX5" fmla="*/ 58178 w 353555"/>
                <a:gd name="connsiteY5" fmla="*/ 191614 h 543931"/>
                <a:gd name="connsiteX6" fmla="*/ 85375 w 353555"/>
                <a:gd name="connsiteY6" fmla="*/ 164417 h 543931"/>
                <a:gd name="connsiteX7" fmla="*/ 101693 w 353555"/>
                <a:gd name="connsiteY7" fmla="*/ 164417 h 543931"/>
                <a:gd name="connsiteX8" fmla="*/ 101693 w 353555"/>
                <a:gd name="connsiteY8" fmla="*/ 118183 h 543931"/>
                <a:gd name="connsiteX9" fmla="*/ 166965 w 353555"/>
                <a:gd name="connsiteY9" fmla="*/ 58350 h 543931"/>
                <a:gd name="connsiteX10" fmla="*/ 229517 w 353555"/>
                <a:gd name="connsiteY10" fmla="*/ 118183 h 543931"/>
                <a:gd name="connsiteX11" fmla="*/ 229517 w 353555"/>
                <a:gd name="connsiteY11" fmla="*/ 118183 h 543931"/>
                <a:gd name="connsiteX12" fmla="*/ 229517 w 353555"/>
                <a:gd name="connsiteY12" fmla="*/ 164417 h 543931"/>
                <a:gd name="connsiteX13" fmla="*/ 283910 w 353555"/>
                <a:gd name="connsiteY13" fmla="*/ 164417 h 543931"/>
                <a:gd name="connsiteX14" fmla="*/ 308387 w 353555"/>
                <a:gd name="connsiteY14" fmla="*/ 194333 h 543931"/>
                <a:gd name="connsiteX15" fmla="*/ 281190 w 353555"/>
                <a:gd name="connsiteY15" fmla="*/ 221530 h 543931"/>
                <a:gd name="connsiteX16" fmla="*/ 229517 w 353555"/>
                <a:gd name="connsiteY16" fmla="*/ 221530 h 543931"/>
                <a:gd name="connsiteX17" fmla="*/ 229517 w 353555"/>
                <a:gd name="connsiteY17" fmla="*/ 365671 h 543931"/>
                <a:gd name="connsiteX18" fmla="*/ 311107 w 353555"/>
                <a:gd name="connsiteY18" fmla="*/ 433663 h 5439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353555" h="543931">
                  <a:moveTo>
                    <a:pt x="311107" y="433663"/>
                  </a:moveTo>
                  <a:cubicBezTo>
                    <a:pt x="311107" y="433663"/>
                    <a:pt x="278471" y="501654"/>
                    <a:pt x="215919" y="501654"/>
                  </a:cubicBezTo>
                  <a:cubicBezTo>
                    <a:pt x="164245" y="501654"/>
                    <a:pt x="101693" y="458140"/>
                    <a:pt x="98973" y="392868"/>
                  </a:cubicBezTo>
                  <a:cubicBezTo>
                    <a:pt x="98973" y="392868"/>
                    <a:pt x="98973" y="297680"/>
                    <a:pt x="98973" y="221530"/>
                  </a:cubicBezTo>
                  <a:lnTo>
                    <a:pt x="82655" y="221530"/>
                  </a:lnTo>
                  <a:cubicBezTo>
                    <a:pt x="74496" y="221530"/>
                    <a:pt x="58178" y="216090"/>
                    <a:pt x="58178" y="191614"/>
                  </a:cubicBezTo>
                  <a:cubicBezTo>
                    <a:pt x="58178" y="167137"/>
                    <a:pt x="77216" y="164417"/>
                    <a:pt x="85375" y="164417"/>
                  </a:cubicBezTo>
                  <a:lnTo>
                    <a:pt x="101693" y="164417"/>
                  </a:lnTo>
                  <a:cubicBezTo>
                    <a:pt x="101693" y="137220"/>
                    <a:pt x="101693" y="118183"/>
                    <a:pt x="101693" y="118183"/>
                  </a:cubicBezTo>
                  <a:cubicBezTo>
                    <a:pt x="104412" y="85547"/>
                    <a:pt x="134329" y="55631"/>
                    <a:pt x="166965" y="58350"/>
                  </a:cubicBezTo>
                  <a:cubicBezTo>
                    <a:pt x="196881" y="61070"/>
                    <a:pt x="229517" y="85547"/>
                    <a:pt x="229517" y="118183"/>
                  </a:cubicBezTo>
                  <a:lnTo>
                    <a:pt x="229517" y="118183"/>
                  </a:lnTo>
                  <a:lnTo>
                    <a:pt x="229517" y="164417"/>
                  </a:lnTo>
                  <a:lnTo>
                    <a:pt x="283910" y="164417"/>
                  </a:lnTo>
                  <a:cubicBezTo>
                    <a:pt x="292069" y="164417"/>
                    <a:pt x="308387" y="169856"/>
                    <a:pt x="308387" y="194333"/>
                  </a:cubicBezTo>
                  <a:cubicBezTo>
                    <a:pt x="308387" y="218810"/>
                    <a:pt x="292069" y="221530"/>
                    <a:pt x="281190" y="221530"/>
                  </a:cubicBezTo>
                  <a:lnTo>
                    <a:pt x="229517" y="221530"/>
                  </a:lnTo>
                  <a:lnTo>
                    <a:pt x="229517" y="365671"/>
                  </a:lnTo>
                  <a:cubicBezTo>
                    <a:pt x="229517" y="409186"/>
                    <a:pt x="270312" y="433663"/>
                    <a:pt x="311107" y="433663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496C76B7-245D-481E-B35F-7C1ECEB9548A}"/>
                </a:ext>
              </a:extLst>
            </p:cNvPr>
            <p:cNvSpPr/>
            <p:nvPr/>
          </p:nvSpPr>
          <p:spPr bwMode="black">
            <a:xfrm>
              <a:off x="2080719" y="4178559"/>
              <a:ext cx="462342" cy="788700"/>
            </a:xfrm>
            <a:custGeom>
              <a:avLst/>
              <a:gdLst>
                <a:gd name="connsiteX0" fmla="*/ 403575 w 462341"/>
                <a:gd name="connsiteY0" fmla="*/ 583072 h 788699"/>
                <a:gd name="connsiteX1" fmla="*/ 406295 w 462341"/>
                <a:gd name="connsiteY1" fmla="*/ 596670 h 788699"/>
                <a:gd name="connsiteX2" fmla="*/ 400855 w 462341"/>
                <a:gd name="connsiteY2" fmla="*/ 610268 h 788699"/>
                <a:gd name="connsiteX3" fmla="*/ 389977 w 462341"/>
                <a:gd name="connsiteY3" fmla="*/ 626586 h 788699"/>
                <a:gd name="connsiteX4" fmla="*/ 354621 w 462341"/>
                <a:gd name="connsiteY4" fmla="*/ 675540 h 788699"/>
                <a:gd name="connsiteX5" fmla="*/ 327424 w 462341"/>
                <a:gd name="connsiteY5" fmla="*/ 691858 h 788699"/>
                <a:gd name="connsiteX6" fmla="*/ 292069 w 462341"/>
                <a:gd name="connsiteY6" fmla="*/ 713615 h 788699"/>
                <a:gd name="connsiteX7" fmla="*/ 251274 w 462341"/>
                <a:gd name="connsiteY7" fmla="*/ 724494 h 788699"/>
                <a:gd name="connsiteX8" fmla="*/ 221358 w 462341"/>
                <a:gd name="connsiteY8" fmla="*/ 721774 h 788699"/>
                <a:gd name="connsiteX9" fmla="*/ 191442 w 462341"/>
                <a:gd name="connsiteY9" fmla="*/ 721774 h 788699"/>
                <a:gd name="connsiteX10" fmla="*/ 153366 w 462341"/>
                <a:gd name="connsiteY10" fmla="*/ 713615 h 788699"/>
                <a:gd name="connsiteX11" fmla="*/ 104412 w 462341"/>
                <a:gd name="connsiteY11" fmla="*/ 675540 h 788699"/>
                <a:gd name="connsiteX12" fmla="*/ 104412 w 462341"/>
                <a:gd name="connsiteY12" fmla="*/ 689138 h 788699"/>
                <a:gd name="connsiteX13" fmla="*/ 101693 w 462341"/>
                <a:gd name="connsiteY13" fmla="*/ 710895 h 788699"/>
                <a:gd name="connsiteX14" fmla="*/ 85375 w 462341"/>
                <a:gd name="connsiteY14" fmla="*/ 732653 h 788699"/>
                <a:gd name="connsiteX15" fmla="*/ 69057 w 462341"/>
                <a:gd name="connsiteY15" fmla="*/ 727214 h 788699"/>
                <a:gd name="connsiteX16" fmla="*/ 60898 w 462341"/>
                <a:gd name="connsiteY16" fmla="*/ 710895 h 788699"/>
                <a:gd name="connsiteX17" fmla="*/ 58178 w 462341"/>
                <a:gd name="connsiteY17" fmla="*/ 691858 h 788699"/>
                <a:gd name="connsiteX18" fmla="*/ 60898 w 462341"/>
                <a:gd name="connsiteY18" fmla="*/ 664661 h 788699"/>
                <a:gd name="connsiteX19" fmla="*/ 60898 w 462341"/>
                <a:gd name="connsiteY19" fmla="*/ 607549 h 788699"/>
                <a:gd name="connsiteX20" fmla="*/ 63618 w 462341"/>
                <a:gd name="connsiteY20" fmla="*/ 528679 h 788699"/>
                <a:gd name="connsiteX21" fmla="*/ 69057 w 462341"/>
                <a:gd name="connsiteY21" fmla="*/ 504202 h 788699"/>
                <a:gd name="connsiteX22" fmla="*/ 74496 w 462341"/>
                <a:gd name="connsiteY22" fmla="*/ 493323 h 788699"/>
                <a:gd name="connsiteX23" fmla="*/ 82655 w 462341"/>
                <a:gd name="connsiteY23" fmla="*/ 487884 h 788699"/>
                <a:gd name="connsiteX24" fmla="*/ 90814 w 462341"/>
                <a:gd name="connsiteY24" fmla="*/ 493323 h 788699"/>
                <a:gd name="connsiteX25" fmla="*/ 98973 w 462341"/>
                <a:gd name="connsiteY25" fmla="*/ 512361 h 788699"/>
                <a:gd name="connsiteX26" fmla="*/ 101693 w 462341"/>
                <a:gd name="connsiteY26" fmla="*/ 555875 h 788699"/>
                <a:gd name="connsiteX27" fmla="*/ 101693 w 462341"/>
                <a:gd name="connsiteY27" fmla="*/ 596670 h 788699"/>
                <a:gd name="connsiteX28" fmla="*/ 109852 w 462341"/>
                <a:gd name="connsiteY28" fmla="*/ 626586 h 788699"/>
                <a:gd name="connsiteX29" fmla="*/ 128889 w 462341"/>
                <a:gd name="connsiteY29" fmla="*/ 651063 h 788699"/>
                <a:gd name="connsiteX30" fmla="*/ 153366 w 462341"/>
                <a:gd name="connsiteY30" fmla="*/ 670101 h 788699"/>
                <a:gd name="connsiteX31" fmla="*/ 196881 w 462341"/>
                <a:gd name="connsiteY31" fmla="*/ 678260 h 788699"/>
                <a:gd name="connsiteX32" fmla="*/ 221358 w 462341"/>
                <a:gd name="connsiteY32" fmla="*/ 667381 h 788699"/>
                <a:gd name="connsiteX33" fmla="*/ 253994 w 462341"/>
                <a:gd name="connsiteY33" fmla="*/ 659222 h 788699"/>
                <a:gd name="connsiteX34" fmla="*/ 275751 w 462341"/>
                <a:gd name="connsiteY34" fmla="*/ 637465 h 788699"/>
                <a:gd name="connsiteX35" fmla="*/ 281190 w 462341"/>
                <a:gd name="connsiteY35" fmla="*/ 615708 h 788699"/>
                <a:gd name="connsiteX36" fmla="*/ 278471 w 462341"/>
                <a:gd name="connsiteY36" fmla="*/ 602109 h 788699"/>
                <a:gd name="connsiteX37" fmla="*/ 262153 w 462341"/>
                <a:gd name="connsiteY37" fmla="*/ 572193 h 788699"/>
                <a:gd name="connsiteX38" fmla="*/ 245835 w 462341"/>
                <a:gd name="connsiteY38" fmla="*/ 536838 h 788699"/>
                <a:gd name="connsiteX39" fmla="*/ 196881 w 462341"/>
                <a:gd name="connsiteY39" fmla="*/ 477005 h 788699"/>
                <a:gd name="connsiteX40" fmla="*/ 145207 w 462341"/>
                <a:gd name="connsiteY40" fmla="*/ 419892 h 788699"/>
                <a:gd name="connsiteX41" fmla="*/ 93534 w 462341"/>
                <a:gd name="connsiteY41" fmla="*/ 357340 h 788699"/>
                <a:gd name="connsiteX42" fmla="*/ 66337 w 462341"/>
                <a:gd name="connsiteY42" fmla="*/ 283910 h 788699"/>
                <a:gd name="connsiteX43" fmla="*/ 58178 w 462341"/>
                <a:gd name="connsiteY43" fmla="*/ 224077 h 788699"/>
                <a:gd name="connsiteX44" fmla="*/ 82655 w 462341"/>
                <a:gd name="connsiteY44" fmla="*/ 150647 h 788699"/>
                <a:gd name="connsiteX45" fmla="*/ 137048 w 462341"/>
                <a:gd name="connsiteY45" fmla="*/ 96253 h 788699"/>
                <a:gd name="connsiteX46" fmla="*/ 196881 w 462341"/>
                <a:gd name="connsiteY46" fmla="*/ 77216 h 788699"/>
                <a:gd name="connsiteX47" fmla="*/ 232236 w 462341"/>
                <a:gd name="connsiteY47" fmla="*/ 69057 h 788699"/>
                <a:gd name="connsiteX48" fmla="*/ 262153 w 462341"/>
                <a:gd name="connsiteY48" fmla="*/ 74496 h 788699"/>
                <a:gd name="connsiteX49" fmla="*/ 294789 w 462341"/>
                <a:gd name="connsiteY49" fmla="*/ 85375 h 788699"/>
                <a:gd name="connsiteX50" fmla="*/ 327424 w 462341"/>
                <a:gd name="connsiteY50" fmla="*/ 104412 h 788699"/>
                <a:gd name="connsiteX51" fmla="*/ 332864 w 462341"/>
                <a:gd name="connsiteY51" fmla="*/ 74496 h 788699"/>
                <a:gd name="connsiteX52" fmla="*/ 338303 w 462341"/>
                <a:gd name="connsiteY52" fmla="*/ 63618 h 788699"/>
                <a:gd name="connsiteX53" fmla="*/ 349182 w 462341"/>
                <a:gd name="connsiteY53" fmla="*/ 58178 h 788699"/>
                <a:gd name="connsiteX54" fmla="*/ 357341 w 462341"/>
                <a:gd name="connsiteY54" fmla="*/ 63618 h 788699"/>
                <a:gd name="connsiteX55" fmla="*/ 365500 w 462341"/>
                <a:gd name="connsiteY55" fmla="*/ 82655 h 788699"/>
                <a:gd name="connsiteX56" fmla="*/ 368219 w 462341"/>
                <a:gd name="connsiteY56" fmla="*/ 142488 h 788699"/>
                <a:gd name="connsiteX57" fmla="*/ 368219 w 462341"/>
                <a:gd name="connsiteY57" fmla="*/ 188722 h 788699"/>
                <a:gd name="connsiteX58" fmla="*/ 370939 w 462341"/>
                <a:gd name="connsiteY58" fmla="*/ 245834 h 788699"/>
                <a:gd name="connsiteX59" fmla="*/ 354621 w 462341"/>
                <a:gd name="connsiteY59" fmla="*/ 286629 h 788699"/>
                <a:gd name="connsiteX60" fmla="*/ 338303 w 462341"/>
                <a:gd name="connsiteY60" fmla="*/ 281190 h 788699"/>
                <a:gd name="connsiteX61" fmla="*/ 330144 w 462341"/>
                <a:gd name="connsiteY61" fmla="*/ 264872 h 788699"/>
                <a:gd name="connsiteX62" fmla="*/ 327424 w 462341"/>
                <a:gd name="connsiteY62" fmla="*/ 248554 h 788699"/>
                <a:gd name="connsiteX63" fmla="*/ 330144 w 462341"/>
                <a:gd name="connsiteY63" fmla="*/ 221357 h 788699"/>
                <a:gd name="connsiteX64" fmla="*/ 330144 w 462341"/>
                <a:gd name="connsiteY64" fmla="*/ 188722 h 788699"/>
                <a:gd name="connsiteX65" fmla="*/ 327424 w 462341"/>
                <a:gd name="connsiteY65" fmla="*/ 164245 h 788699"/>
                <a:gd name="connsiteX66" fmla="*/ 311107 w 462341"/>
                <a:gd name="connsiteY66" fmla="*/ 134329 h 788699"/>
                <a:gd name="connsiteX67" fmla="*/ 283910 w 462341"/>
                <a:gd name="connsiteY67" fmla="*/ 118011 h 788699"/>
                <a:gd name="connsiteX68" fmla="*/ 251274 w 462341"/>
                <a:gd name="connsiteY68" fmla="*/ 112571 h 788699"/>
                <a:gd name="connsiteX69" fmla="*/ 215918 w 462341"/>
                <a:gd name="connsiteY69" fmla="*/ 123450 h 788699"/>
                <a:gd name="connsiteX70" fmla="*/ 202320 w 462341"/>
                <a:gd name="connsiteY70" fmla="*/ 147927 h 788699"/>
                <a:gd name="connsiteX71" fmla="*/ 188722 w 462341"/>
                <a:gd name="connsiteY71" fmla="*/ 180563 h 788699"/>
                <a:gd name="connsiteX72" fmla="*/ 183283 w 462341"/>
                <a:gd name="connsiteY72" fmla="*/ 210479 h 788699"/>
                <a:gd name="connsiteX73" fmla="*/ 188722 w 462341"/>
                <a:gd name="connsiteY73" fmla="*/ 226797 h 788699"/>
                <a:gd name="connsiteX74" fmla="*/ 188722 w 462341"/>
                <a:gd name="connsiteY74" fmla="*/ 248554 h 788699"/>
                <a:gd name="connsiteX75" fmla="*/ 210479 w 462341"/>
                <a:gd name="connsiteY75" fmla="*/ 273031 h 788699"/>
                <a:gd name="connsiteX76" fmla="*/ 226797 w 462341"/>
                <a:gd name="connsiteY76" fmla="*/ 300228 h 788699"/>
                <a:gd name="connsiteX77" fmla="*/ 256713 w 462341"/>
                <a:gd name="connsiteY77" fmla="*/ 332864 h 788699"/>
                <a:gd name="connsiteX78" fmla="*/ 275751 w 462341"/>
                <a:gd name="connsiteY78" fmla="*/ 351901 h 788699"/>
                <a:gd name="connsiteX79" fmla="*/ 324705 w 462341"/>
                <a:gd name="connsiteY79" fmla="*/ 400855 h 788699"/>
                <a:gd name="connsiteX80" fmla="*/ 343742 w 462341"/>
                <a:gd name="connsiteY80" fmla="*/ 428051 h 788699"/>
                <a:gd name="connsiteX81" fmla="*/ 351901 w 462341"/>
                <a:gd name="connsiteY81" fmla="*/ 433491 h 788699"/>
                <a:gd name="connsiteX82" fmla="*/ 360060 w 462341"/>
                <a:gd name="connsiteY82" fmla="*/ 447089 h 788699"/>
                <a:gd name="connsiteX83" fmla="*/ 384537 w 462341"/>
                <a:gd name="connsiteY83" fmla="*/ 474286 h 788699"/>
                <a:gd name="connsiteX84" fmla="*/ 395416 w 462341"/>
                <a:gd name="connsiteY84" fmla="*/ 506921 h 788699"/>
                <a:gd name="connsiteX85" fmla="*/ 406295 w 462341"/>
                <a:gd name="connsiteY85" fmla="*/ 536838 h 788699"/>
                <a:gd name="connsiteX86" fmla="*/ 409014 w 462341"/>
                <a:gd name="connsiteY86" fmla="*/ 547716 h 788699"/>
                <a:gd name="connsiteX87" fmla="*/ 406295 w 462341"/>
                <a:gd name="connsiteY87" fmla="*/ 569473 h 788699"/>
                <a:gd name="connsiteX88" fmla="*/ 403575 w 462341"/>
                <a:gd name="connsiteY88" fmla="*/ 583072 h 788699"/>
                <a:gd name="connsiteX89" fmla="*/ 403575 w 462341"/>
                <a:gd name="connsiteY89" fmla="*/ 583072 h 7886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</a:cxnLst>
              <a:rect l="l" t="t" r="r" b="b"/>
              <a:pathLst>
                <a:path w="462341" h="788699">
                  <a:moveTo>
                    <a:pt x="403575" y="583072"/>
                  </a:moveTo>
                  <a:cubicBezTo>
                    <a:pt x="403575" y="588511"/>
                    <a:pt x="406295" y="591231"/>
                    <a:pt x="406295" y="596670"/>
                  </a:cubicBezTo>
                  <a:cubicBezTo>
                    <a:pt x="406295" y="602109"/>
                    <a:pt x="403575" y="604829"/>
                    <a:pt x="400855" y="610268"/>
                  </a:cubicBezTo>
                  <a:cubicBezTo>
                    <a:pt x="398136" y="615708"/>
                    <a:pt x="392696" y="621147"/>
                    <a:pt x="389977" y="626586"/>
                  </a:cubicBezTo>
                  <a:cubicBezTo>
                    <a:pt x="381818" y="645624"/>
                    <a:pt x="368219" y="661942"/>
                    <a:pt x="354621" y="675540"/>
                  </a:cubicBezTo>
                  <a:cubicBezTo>
                    <a:pt x="346462" y="683699"/>
                    <a:pt x="338303" y="686419"/>
                    <a:pt x="327424" y="691858"/>
                  </a:cubicBezTo>
                  <a:cubicBezTo>
                    <a:pt x="316546" y="700017"/>
                    <a:pt x="302948" y="708176"/>
                    <a:pt x="292069" y="713615"/>
                  </a:cubicBezTo>
                  <a:cubicBezTo>
                    <a:pt x="281190" y="719054"/>
                    <a:pt x="264872" y="724494"/>
                    <a:pt x="251274" y="724494"/>
                  </a:cubicBezTo>
                  <a:cubicBezTo>
                    <a:pt x="240395" y="724494"/>
                    <a:pt x="229517" y="721774"/>
                    <a:pt x="221358" y="721774"/>
                  </a:cubicBezTo>
                  <a:cubicBezTo>
                    <a:pt x="213199" y="721774"/>
                    <a:pt x="202320" y="721774"/>
                    <a:pt x="191442" y="721774"/>
                  </a:cubicBezTo>
                  <a:cubicBezTo>
                    <a:pt x="172404" y="721774"/>
                    <a:pt x="172404" y="721774"/>
                    <a:pt x="153366" y="713615"/>
                  </a:cubicBezTo>
                  <a:cubicBezTo>
                    <a:pt x="134329" y="708176"/>
                    <a:pt x="118011" y="691858"/>
                    <a:pt x="104412" y="675540"/>
                  </a:cubicBezTo>
                  <a:cubicBezTo>
                    <a:pt x="104412" y="678260"/>
                    <a:pt x="104412" y="680979"/>
                    <a:pt x="104412" y="689138"/>
                  </a:cubicBezTo>
                  <a:cubicBezTo>
                    <a:pt x="104412" y="694578"/>
                    <a:pt x="104412" y="702737"/>
                    <a:pt x="101693" y="710895"/>
                  </a:cubicBezTo>
                  <a:cubicBezTo>
                    <a:pt x="101693" y="721774"/>
                    <a:pt x="96253" y="732653"/>
                    <a:pt x="85375" y="732653"/>
                  </a:cubicBezTo>
                  <a:cubicBezTo>
                    <a:pt x="77216" y="732653"/>
                    <a:pt x="74496" y="729933"/>
                    <a:pt x="69057" y="727214"/>
                  </a:cubicBezTo>
                  <a:cubicBezTo>
                    <a:pt x="63618" y="724494"/>
                    <a:pt x="60898" y="716335"/>
                    <a:pt x="60898" y="710895"/>
                  </a:cubicBezTo>
                  <a:cubicBezTo>
                    <a:pt x="58178" y="702737"/>
                    <a:pt x="58178" y="697297"/>
                    <a:pt x="58178" y="691858"/>
                  </a:cubicBezTo>
                  <a:cubicBezTo>
                    <a:pt x="58178" y="683699"/>
                    <a:pt x="60898" y="678260"/>
                    <a:pt x="60898" y="664661"/>
                  </a:cubicBezTo>
                  <a:cubicBezTo>
                    <a:pt x="60898" y="656502"/>
                    <a:pt x="60898" y="632026"/>
                    <a:pt x="60898" y="607549"/>
                  </a:cubicBezTo>
                  <a:cubicBezTo>
                    <a:pt x="60898" y="574913"/>
                    <a:pt x="60898" y="542277"/>
                    <a:pt x="63618" y="528679"/>
                  </a:cubicBezTo>
                  <a:cubicBezTo>
                    <a:pt x="63618" y="520520"/>
                    <a:pt x="63618" y="509641"/>
                    <a:pt x="69057" y="504202"/>
                  </a:cubicBezTo>
                  <a:cubicBezTo>
                    <a:pt x="71777" y="501482"/>
                    <a:pt x="71777" y="498762"/>
                    <a:pt x="74496" y="493323"/>
                  </a:cubicBezTo>
                  <a:cubicBezTo>
                    <a:pt x="77216" y="490603"/>
                    <a:pt x="79936" y="487884"/>
                    <a:pt x="82655" y="487884"/>
                  </a:cubicBezTo>
                  <a:cubicBezTo>
                    <a:pt x="85375" y="487884"/>
                    <a:pt x="90814" y="490603"/>
                    <a:pt x="90814" y="493323"/>
                  </a:cubicBezTo>
                  <a:cubicBezTo>
                    <a:pt x="93534" y="498762"/>
                    <a:pt x="98973" y="506921"/>
                    <a:pt x="98973" y="512361"/>
                  </a:cubicBezTo>
                  <a:cubicBezTo>
                    <a:pt x="98973" y="520520"/>
                    <a:pt x="101693" y="536838"/>
                    <a:pt x="101693" y="555875"/>
                  </a:cubicBezTo>
                  <a:cubicBezTo>
                    <a:pt x="101693" y="569473"/>
                    <a:pt x="101693" y="583072"/>
                    <a:pt x="101693" y="596670"/>
                  </a:cubicBezTo>
                  <a:cubicBezTo>
                    <a:pt x="101693" y="607549"/>
                    <a:pt x="104412" y="618427"/>
                    <a:pt x="109852" y="626586"/>
                  </a:cubicBezTo>
                  <a:cubicBezTo>
                    <a:pt x="115291" y="637465"/>
                    <a:pt x="123450" y="642904"/>
                    <a:pt x="128889" y="651063"/>
                  </a:cubicBezTo>
                  <a:cubicBezTo>
                    <a:pt x="137048" y="661942"/>
                    <a:pt x="139768" y="667381"/>
                    <a:pt x="153366" y="670101"/>
                  </a:cubicBezTo>
                  <a:cubicBezTo>
                    <a:pt x="161525" y="670101"/>
                    <a:pt x="183283" y="678260"/>
                    <a:pt x="196881" y="678260"/>
                  </a:cubicBezTo>
                  <a:cubicBezTo>
                    <a:pt x="207759" y="678260"/>
                    <a:pt x="210479" y="672820"/>
                    <a:pt x="221358" y="667381"/>
                  </a:cubicBezTo>
                  <a:cubicBezTo>
                    <a:pt x="232236" y="661942"/>
                    <a:pt x="245835" y="664661"/>
                    <a:pt x="253994" y="659222"/>
                  </a:cubicBezTo>
                  <a:cubicBezTo>
                    <a:pt x="262153" y="653783"/>
                    <a:pt x="273031" y="645624"/>
                    <a:pt x="275751" y="637465"/>
                  </a:cubicBezTo>
                  <a:cubicBezTo>
                    <a:pt x="281190" y="629306"/>
                    <a:pt x="281190" y="621147"/>
                    <a:pt x="281190" y="615708"/>
                  </a:cubicBezTo>
                  <a:cubicBezTo>
                    <a:pt x="281190" y="610268"/>
                    <a:pt x="281190" y="607549"/>
                    <a:pt x="278471" y="602109"/>
                  </a:cubicBezTo>
                  <a:cubicBezTo>
                    <a:pt x="275751" y="591231"/>
                    <a:pt x="267592" y="583072"/>
                    <a:pt x="262153" y="572193"/>
                  </a:cubicBezTo>
                  <a:cubicBezTo>
                    <a:pt x="256713" y="561314"/>
                    <a:pt x="253994" y="547716"/>
                    <a:pt x="245835" y="536838"/>
                  </a:cubicBezTo>
                  <a:cubicBezTo>
                    <a:pt x="232236" y="515080"/>
                    <a:pt x="213199" y="498762"/>
                    <a:pt x="196881" y="477005"/>
                  </a:cubicBezTo>
                  <a:cubicBezTo>
                    <a:pt x="180563" y="457968"/>
                    <a:pt x="164245" y="438930"/>
                    <a:pt x="145207" y="419892"/>
                  </a:cubicBezTo>
                  <a:cubicBezTo>
                    <a:pt x="126170" y="400855"/>
                    <a:pt x="109852" y="379098"/>
                    <a:pt x="93534" y="357340"/>
                  </a:cubicBezTo>
                  <a:cubicBezTo>
                    <a:pt x="77216" y="335583"/>
                    <a:pt x="71777" y="308387"/>
                    <a:pt x="66337" y="283910"/>
                  </a:cubicBezTo>
                  <a:cubicBezTo>
                    <a:pt x="63618" y="267592"/>
                    <a:pt x="58178" y="245834"/>
                    <a:pt x="58178" y="224077"/>
                  </a:cubicBezTo>
                  <a:cubicBezTo>
                    <a:pt x="58178" y="194161"/>
                    <a:pt x="69057" y="175123"/>
                    <a:pt x="82655" y="150647"/>
                  </a:cubicBezTo>
                  <a:cubicBezTo>
                    <a:pt x="96253" y="128889"/>
                    <a:pt x="115291" y="109852"/>
                    <a:pt x="137048" y="96253"/>
                  </a:cubicBezTo>
                  <a:cubicBezTo>
                    <a:pt x="158806" y="82655"/>
                    <a:pt x="172404" y="79936"/>
                    <a:pt x="196881" y="77216"/>
                  </a:cubicBezTo>
                  <a:cubicBezTo>
                    <a:pt x="210479" y="77216"/>
                    <a:pt x="215918" y="69057"/>
                    <a:pt x="232236" y="69057"/>
                  </a:cubicBezTo>
                  <a:cubicBezTo>
                    <a:pt x="243115" y="69057"/>
                    <a:pt x="251274" y="71776"/>
                    <a:pt x="262153" y="74496"/>
                  </a:cubicBezTo>
                  <a:cubicBezTo>
                    <a:pt x="273031" y="77216"/>
                    <a:pt x="283910" y="82655"/>
                    <a:pt x="294789" y="85375"/>
                  </a:cubicBezTo>
                  <a:cubicBezTo>
                    <a:pt x="308387" y="90814"/>
                    <a:pt x="319265" y="96253"/>
                    <a:pt x="327424" y="104412"/>
                  </a:cubicBezTo>
                  <a:cubicBezTo>
                    <a:pt x="327424" y="90814"/>
                    <a:pt x="327424" y="79936"/>
                    <a:pt x="332864" y="74496"/>
                  </a:cubicBezTo>
                  <a:cubicBezTo>
                    <a:pt x="335583" y="71776"/>
                    <a:pt x="335583" y="69057"/>
                    <a:pt x="338303" y="63618"/>
                  </a:cubicBezTo>
                  <a:cubicBezTo>
                    <a:pt x="341023" y="60898"/>
                    <a:pt x="346462" y="58178"/>
                    <a:pt x="349182" y="58178"/>
                  </a:cubicBezTo>
                  <a:cubicBezTo>
                    <a:pt x="351901" y="58178"/>
                    <a:pt x="357341" y="60898"/>
                    <a:pt x="357341" y="63618"/>
                  </a:cubicBezTo>
                  <a:cubicBezTo>
                    <a:pt x="360060" y="69057"/>
                    <a:pt x="365500" y="77216"/>
                    <a:pt x="365500" y="82655"/>
                  </a:cubicBezTo>
                  <a:cubicBezTo>
                    <a:pt x="365500" y="90814"/>
                    <a:pt x="368219" y="123450"/>
                    <a:pt x="368219" y="142488"/>
                  </a:cubicBezTo>
                  <a:cubicBezTo>
                    <a:pt x="368219" y="158806"/>
                    <a:pt x="368219" y="177843"/>
                    <a:pt x="368219" y="188722"/>
                  </a:cubicBezTo>
                  <a:cubicBezTo>
                    <a:pt x="368219" y="213199"/>
                    <a:pt x="370939" y="224077"/>
                    <a:pt x="370939" y="245834"/>
                  </a:cubicBezTo>
                  <a:cubicBezTo>
                    <a:pt x="370939" y="256713"/>
                    <a:pt x="370939" y="286629"/>
                    <a:pt x="354621" y="286629"/>
                  </a:cubicBezTo>
                  <a:cubicBezTo>
                    <a:pt x="346462" y="286629"/>
                    <a:pt x="343742" y="283910"/>
                    <a:pt x="338303" y="281190"/>
                  </a:cubicBezTo>
                  <a:cubicBezTo>
                    <a:pt x="332864" y="278470"/>
                    <a:pt x="330144" y="270311"/>
                    <a:pt x="330144" y="264872"/>
                  </a:cubicBezTo>
                  <a:cubicBezTo>
                    <a:pt x="327424" y="256713"/>
                    <a:pt x="327424" y="251274"/>
                    <a:pt x="327424" y="248554"/>
                  </a:cubicBezTo>
                  <a:cubicBezTo>
                    <a:pt x="327424" y="240395"/>
                    <a:pt x="330144" y="234956"/>
                    <a:pt x="330144" y="221357"/>
                  </a:cubicBezTo>
                  <a:cubicBezTo>
                    <a:pt x="330144" y="213199"/>
                    <a:pt x="330144" y="202320"/>
                    <a:pt x="330144" y="188722"/>
                  </a:cubicBezTo>
                  <a:cubicBezTo>
                    <a:pt x="330144" y="180563"/>
                    <a:pt x="327424" y="172404"/>
                    <a:pt x="327424" y="164245"/>
                  </a:cubicBezTo>
                  <a:cubicBezTo>
                    <a:pt x="324705" y="153366"/>
                    <a:pt x="319265" y="142488"/>
                    <a:pt x="311107" y="134329"/>
                  </a:cubicBezTo>
                  <a:cubicBezTo>
                    <a:pt x="302948" y="126170"/>
                    <a:pt x="294789" y="120730"/>
                    <a:pt x="283910" y="118011"/>
                  </a:cubicBezTo>
                  <a:cubicBezTo>
                    <a:pt x="275751" y="115291"/>
                    <a:pt x="262153" y="112571"/>
                    <a:pt x="251274" y="112571"/>
                  </a:cubicBezTo>
                  <a:cubicBezTo>
                    <a:pt x="237676" y="112571"/>
                    <a:pt x="224077" y="115291"/>
                    <a:pt x="215918" y="123450"/>
                  </a:cubicBezTo>
                  <a:cubicBezTo>
                    <a:pt x="207759" y="128889"/>
                    <a:pt x="205040" y="139768"/>
                    <a:pt x="202320" y="147927"/>
                  </a:cubicBezTo>
                  <a:cubicBezTo>
                    <a:pt x="196881" y="158806"/>
                    <a:pt x="191442" y="166964"/>
                    <a:pt x="188722" y="180563"/>
                  </a:cubicBezTo>
                  <a:cubicBezTo>
                    <a:pt x="186002" y="191441"/>
                    <a:pt x="183283" y="199600"/>
                    <a:pt x="183283" y="210479"/>
                  </a:cubicBezTo>
                  <a:cubicBezTo>
                    <a:pt x="183283" y="215918"/>
                    <a:pt x="186002" y="221357"/>
                    <a:pt x="188722" y="226797"/>
                  </a:cubicBezTo>
                  <a:cubicBezTo>
                    <a:pt x="191442" y="234956"/>
                    <a:pt x="188722" y="243115"/>
                    <a:pt x="188722" y="248554"/>
                  </a:cubicBezTo>
                  <a:cubicBezTo>
                    <a:pt x="191442" y="259433"/>
                    <a:pt x="202320" y="264872"/>
                    <a:pt x="210479" y="273031"/>
                  </a:cubicBezTo>
                  <a:cubicBezTo>
                    <a:pt x="218638" y="281190"/>
                    <a:pt x="221358" y="292069"/>
                    <a:pt x="226797" y="300228"/>
                  </a:cubicBezTo>
                  <a:cubicBezTo>
                    <a:pt x="234956" y="311106"/>
                    <a:pt x="245835" y="321985"/>
                    <a:pt x="256713" y="332864"/>
                  </a:cubicBezTo>
                  <a:cubicBezTo>
                    <a:pt x="259433" y="338303"/>
                    <a:pt x="267592" y="343742"/>
                    <a:pt x="275751" y="351901"/>
                  </a:cubicBezTo>
                  <a:cubicBezTo>
                    <a:pt x="292069" y="368219"/>
                    <a:pt x="311107" y="384537"/>
                    <a:pt x="324705" y="400855"/>
                  </a:cubicBezTo>
                  <a:cubicBezTo>
                    <a:pt x="332864" y="409014"/>
                    <a:pt x="335583" y="419892"/>
                    <a:pt x="343742" y="428051"/>
                  </a:cubicBezTo>
                  <a:cubicBezTo>
                    <a:pt x="346462" y="430771"/>
                    <a:pt x="349182" y="430771"/>
                    <a:pt x="351901" y="433491"/>
                  </a:cubicBezTo>
                  <a:cubicBezTo>
                    <a:pt x="354621" y="436210"/>
                    <a:pt x="357341" y="441650"/>
                    <a:pt x="360060" y="447089"/>
                  </a:cubicBezTo>
                  <a:cubicBezTo>
                    <a:pt x="368219" y="455248"/>
                    <a:pt x="376378" y="463407"/>
                    <a:pt x="384537" y="474286"/>
                  </a:cubicBezTo>
                  <a:cubicBezTo>
                    <a:pt x="389977" y="482445"/>
                    <a:pt x="392696" y="496043"/>
                    <a:pt x="395416" y="506921"/>
                  </a:cubicBezTo>
                  <a:cubicBezTo>
                    <a:pt x="400855" y="517800"/>
                    <a:pt x="400855" y="528679"/>
                    <a:pt x="406295" y="536838"/>
                  </a:cubicBezTo>
                  <a:cubicBezTo>
                    <a:pt x="409014" y="539557"/>
                    <a:pt x="409014" y="544997"/>
                    <a:pt x="409014" y="547716"/>
                  </a:cubicBezTo>
                  <a:cubicBezTo>
                    <a:pt x="409014" y="555875"/>
                    <a:pt x="406295" y="561314"/>
                    <a:pt x="406295" y="569473"/>
                  </a:cubicBezTo>
                  <a:cubicBezTo>
                    <a:pt x="406295" y="574913"/>
                    <a:pt x="403575" y="577632"/>
                    <a:pt x="403575" y="583072"/>
                  </a:cubicBezTo>
                  <a:lnTo>
                    <a:pt x="403575" y="583072"/>
                  </a:ln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F8338E1C-6445-4350-AB97-162B440CB474}"/>
                </a:ext>
              </a:extLst>
            </p:cNvPr>
            <p:cNvSpPr/>
            <p:nvPr/>
          </p:nvSpPr>
          <p:spPr bwMode="black">
            <a:xfrm>
              <a:off x="2456032" y="4192158"/>
              <a:ext cx="571128" cy="761503"/>
            </a:xfrm>
            <a:custGeom>
              <a:avLst/>
              <a:gdLst>
                <a:gd name="connsiteX0" fmla="*/ 512361 w 571128"/>
                <a:gd name="connsiteY0" fmla="*/ 79936 h 761503"/>
                <a:gd name="connsiteX1" fmla="*/ 539558 w 571128"/>
                <a:gd name="connsiteY1" fmla="*/ 96253 h 761503"/>
                <a:gd name="connsiteX2" fmla="*/ 534118 w 571128"/>
                <a:gd name="connsiteY2" fmla="*/ 112571 h 761503"/>
                <a:gd name="connsiteX3" fmla="*/ 523240 w 571128"/>
                <a:gd name="connsiteY3" fmla="*/ 120730 h 761503"/>
                <a:gd name="connsiteX4" fmla="*/ 506922 w 571128"/>
                <a:gd name="connsiteY4" fmla="*/ 123450 h 761503"/>
                <a:gd name="connsiteX5" fmla="*/ 477006 w 571128"/>
                <a:gd name="connsiteY5" fmla="*/ 123450 h 761503"/>
                <a:gd name="connsiteX6" fmla="*/ 479725 w 571128"/>
                <a:gd name="connsiteY6" fmla="*/ 145207 h 761503"/>
                <a:gd name="connsiteX7" fmla="*/ 477006 w 571128"/>
                <a:gd name="connsiteY7" fmla="*/ 180563 h 761503"/>
                <a:gd name="connsiteX8" fmla="*/ 482445 w 571128"/>
                <a:gd name="connsiteY8" fmla="*/ 232236 h 761503"/>
                <a:gd name="connsiteX9" fmla="*/ 485165 w 571128"/>
                <a:gd name="connsiteY9" fmla="*/ 283910 h 761503"/>
                <a:gd name="connsiteX10" fmla="*/ 485165 w 571128"/>
                <a:gd name="connsiteY10" fmla="*/ 327424 h 761503"/>
                <a:gd name="connsiteX11" fmla="*/ 487884 w 571128"/>
                <a:gd name="connsiteY11" fmla="*/ 373658 h 761503"/>
                <a:gd name="connsiteX12" fmla="*/ 485165 w 571128"/>
                <a:gd name="connsiteY12" fmla="*/ 419892 h 761503"/>
                <a:gd name="connsiteX13" fmla="*/ 485165 w 571128"/>
                <a:gd name="connsiteY13" fmla="*/ 463407 h 761503"/>
                <a:gd name="connsiteX14" fmla="*/ 482445 w 571128"/>
                <a:gd name="connsiteY14" fmla="*/ 515080 h 761503"/>
                <a:gd name="connsiteX15" fmla="*/ 482445 w 571128"/>
                <a:gd name="connsiteY15" fmla="*/ 558595 h 761503"/>
                <a:gd name="connsiteX16" fmla="*/ 479725 w 571128"/>
                <a:gd name="connsiteY16" fmla="*/ 602109 h 761503"/>
                <a:gd name="connsiteX17" fmla="*/ 485165 w 571128"/>
                <a:gd name="connsiteY17" fmla="*/ 648343 h 761503"/>
                <a:gd name="connsiteX18" fmla="*/ 474286 w 571128"/>
                <a:gd name="connsiteY18" fmla="*/ 675540 h 761503"/>
                <a:gd name="connsiteX19" fmla="*/ 428052 w 571128"/>
                <a:gd name="connsiteY19" fmla="*/ 691858 h 761503"/>
                <a:gd name="connsiteX20" fmla="*/ 387257 w 571128"/>
                <a:gd name="connsiteY20" fmla="*/ 683699 h 761503"/>
                <a:gd name="connsiteX21" fmla="*/ 351901 w 571128"/>
                <a:gd name="connsiteY21" fmla="*/ 664661 h 761503"/>
                <a:gd name="connsiteX22" fmla="*/ 305667 w 571128"/>
                <a:gd name="connsiteY22" fmla="*/ 596670 h 761503"/>
                <a:gd name="connsiteX23" fmla="*/ 270312 w 571128"/>
                <a:gd name="connsiteY23" fmla="*/ 509641 h 761503"/>
                <a:gd name="connsiteX24" fmla="*/ 251274 w 571128"/>
                <a:gd name="connsiteY24" fmla="*/ 460687 h 761503"/>
                <a:gd name="connsiteX25" fmla="*/ 224077 w 571128"/>
                <a:gd name="connsiteY25" fmla="*/ 381817 h 761503"/>
                <a:gd name="connsiteX26" fmla="*/ 207759 w 571128"/>
                <a:gd name="connsiteY26" fmla="*/ 330144 h 761503"/>
                <a:gd name="connsiteX27" fmla="*/ 191442 w 571128"/>
                <a:gd name="connsiteY27" fmla="*/ 286629 h 761503"/>
                <a:gd name="connsiteX28" fmla="*/ 183283 w 571128"/>
                <a:gd name="connsiteY28" fmla="*/ 278470 h 761503"/>
                <a:gd name="connsiteX29" fmla="*/ 180563 w 571128"/>
                <a:gd name="connsiteY29" fmla="*/ 292069 h 761503"/>
                <a:gd name="connsiteX30" fmla="*/ 180563 w 571128"/>
                <a:gd name="connsiteY30" fmla="*/ 305667 h 761503"/>
                <a:gd name="connsiteX31" fmla="*/ 183283 w 571128"/>
                <a:gd name="connsiteY31" fmla="*/ 354621 h 761503"/>
                <a:gd name="connsiteX32" fmla="*/ 188722 w 571128"/>
                <a:gd name="connsiteY32" fmla="*/ 449809 h 761503"/>
                <a:gd name="connsiteX33" fmla="*/ 188722 w 571128"/>
                <a:gd name="connsiteY33" fmla="*/ 479725 h 761503"/>
                <a:gd name="connsiteX34" fmla="*/ 188722 w 571128"/>
                <a:gd name="connsiteY34" fmla="*/ 542277 h 761503"/>
                <a:gd name="connsiteX35" fmla="*/ 186002 w 571128"/>
                <a:gd name="connsiteY35" fmla="*/ 615708 h 761503"/>
                <a:gd name="connsiteX36" fmla="*/ 186002 w 571128"/>
                <a:gd name="connsiteY36" fmla="*/ 637465 h 761503"/>
                <a:gd name="connsiteX37" fmla="*/ 183283 w 571128"/>
                <a:gd name="connsiteY37" fmla="*/ 664661 h 761503"/>
                <a:gd name="connsiteX38" fmla="*/ 226797 w 571128"/>
                <a:gd name="connsiteY38" fmla="*/ 664661 h 761503"/>
                <a:gd name="connsiteX39" fmla="*/ 253994 w 571128"/>
                <a:gd name="connsiteY39" fmla="*/ 680979 h 761503"/>
                <a:gd name="connsiteX40" fmla="*/ 248554 w 571128"/>
                <a:gd name="connsiteY40" fmla="*/ 697297 h 761503"/>
                <a:gd name="connsiteX41" fmla="*/ 234956 w 571128"/>
                <a:gd name="connsiteY41" fmla="*/ 705456 h 761503"/>
                <a:gd name="connsiteX42" fmla="*/ 218638 w 571128"/>
                <a:gd name="connsiteY42" fmla="*/ 708176 h 761503"/>
                <a:gd name="connsiteX43" fmla="*/ 183283 w 571128"/>
                <a:gd name="connsiteY43" fmla="*/ 708176 h 761503"/>
                <a:gd name="connsiteX44" fmla="*/ 150647 w 571128"/>
                <a:gd name="connsiteY44" fmla="*/ 708176 h 761503"/>
                <a:gd name="connsiteX45" fmla="*/ 107132 w 571128"/>
                <a:gd name="connsiteY45" fmla="*/ 708176 h 761503"/>
                <a:gd name="connsiteX46" fmla="*/ 88094 w 571128"/>
                <a:gd name="connsiteY46" fmla="*/ 708176 h 761503"/>
                <a:gd name="connsiteX47" fmla="*/ 69057 w 571128"/>
                <a:gd name="connsiteY47" fmla="*/ 702737 h 761503"/>
                <a:gd name="connsiteX48" fmla="*/ 58178 w 571128"/>
                <a:gd name="connsiteY48" fmla="*/ 686419 h 761503"/>
                <a:gd name="connsiteX49" fmla="*/ 60898 w 571128"/>
                <a:gd name="connsiteY49" fmla="*/ 678260 h 761503"/>
                <a:gd name="connsiteX50" fmla="*/ 77216 w 571128"/>
                <a:gd name="connsiteY50" fmla="*/ 670101 h 761503"/>
                <a:gd name="connsiteX51" fmla="*/ 120730 w 571128"/>
                <a:gd name="connsiteY51" fmla="*/ 664661 h 761503"/>
                <a:gd name="connsiteX52" fmla="*/ 131609 w 571128"/>
                <a:gd name="connsiteY52" fmla="*/ 664661 h 761503"/>
                <a:gd name="connsiteX53" fmla="*/ 134329 w 571128"/>
                <a:gd name="connsiteY53" fmla="*/ 539557 h 761503"/>
                <a:gd name="connsiteX54" fmla="*/ 134329 w 571128"/>
                <a:gd name="connsiteY54" fmla="*/ 504202 h 761503"/>
                <a:gd name="connsiteX55" fmla="*/ 131609 w 571128"/>
                <a:gd name="connsiteY55" fmla="*/ 376378 h 761503"/>
                <a:gd name="connsiteX56" fmla="*/ 131609 w 571128"/>
                <a:gd name="connsiteY56" fmla="*/ 302947 h 761503"/>
                <a:gd name="connsiteX57" fmla="*/ 134329 w 571128"/>
                <a:gd name="connsiteY57" fmla="*/ 221357 h 761503"/>
                <a:gd name="connsiteX58" fmla="*/ 137048 w 571128"/>
                <a:gd name="connsiteY58" fmla="*/ 123450 h 761503"/>
                <a:gd name="connsiteX59" fmla="*/ 107132 w 571128"/>
                <a:gd name="connsiteY59" fmla="*/ 123450 h 761503"/>
                <a:gd name="connsiteX60" fmla="*/ 88094 w 571128"/>
                <a:gd name="connsiteY60" fmla="*/ 123450 h 761503"/>
                <a:gd name="connsiteX61" fmla="*/ 69057 w 571128"/>
                <a:gd name="connsiteY61" fmla="*/ 118011 h 761503"/>
                <a:gd name="connsiteX62" fmla="*/ 58178 w 571128"/>
                <a:gd name="connsiteY62" fmla="*/ 101693 h 761503"/>
                <a:gd name="connsiteX63" fmla="*/ 60898 w 571128"/>
                <a:gd name="connsiteY63" fmla="*/ 93534 h 761503"/>
                <a:gd name="connsiteX64" fmla="*/ 77216 w 571128"/>
                <a:gd name="connsiteY64" fmla="*/ 85375 h 761503"/>
                <a:gd name="connsiteX65" fmla="*/ 131609 w 571128"/>
                <a:gd name="connsiteY65" fmla="*/ 79936 h 761503"/>
                <a:gd name="connsiteX66" fmla="*/ 161525 w 571128"/>
                <a:gd name="connsiteY66" fmla="*/ 79936 h 761503"/>
                <a:gd name="connsiteX67" fmla="*/ 177843 w 571128"/>
                <a:gd name="connsiteY67" fmla="*/ 66337 h 761503"/>
                <a:gd name="connsiteX68" fmla="*/ 202320 w 571128"/>
                <a:gd name="connsiteY68" fmla="*/ 58178 h 761503"/>
                <a:gd name="connsiteX69" fmla="*/ 234956 w 571128"/>
                <a:gd name="connsiteY69" fmla="*/ 77216 h 761503"/>
                <a:gd name="connsiteX70" fmla="*/ 251274 w 571128"/>
                <a:gd name="connsiteY70" fmla="*/ 107132 h 761503"/>
                <a:gd name="connsiteX71" fmla="*/ 267592 w 571128"/>
                <a:gd name="connsiteY71" fmla="*/ 147927 h 761503"/>
                <a:gd name="connsiteX72" fmla="*/ 281190 w 571128"/>
                <a:gd name="connsiteY72" fmla="*/ 183282 h 761503"/>
                <a:gd name="connsiteX73" fmla="*/ 297508 w 571128"/>
                <a:gd name="connsiteY73" fmla="*/ 224077 h 761503"/>
                <a:gd name="connsiteX74" fmla="*/ 308387 w 571128"/>
                <a:gd name="connsiteY74" fmla="*/ 264872 h 761503"/>
                <a:gd name="connsiteX75" fmla="*/ 319265 w 571128"/>
                <a:gd name="connsiteY75" fmla="*/ 300228 h 761503"/>
                <a:gd name="connsiteX76" fmla="*/ 351901 w 571128"/>
                <a:gd name="connsiteY76" fmla="*/ 379098 h 761503"/>
                <a:gd name="connsiteX77" fmla="*/ 365500 w 571128"/>
                <a:gd name="connsiteY77" fmla="*/ 417173 h 761503"/>
                <a:gd name="connsiteX78" fmla="*/ 379098 w 571128"/>
                <a:gd name="connsiteY78" fmla="*/ 457968 h 761503"/>
                <a:gd name="connsiteX79" fmla="*/ 395416 w 571128"/>
                <a:gd name="connsiteY79" fmla="*/ 496043 h 761503"/>
                <a:gd name="connsiteX80" fmla="*/ 406295 w 571128"/>
                <a:gd name="connsiteY80" fmla="*/ 512361 h 761503"/>
                <a:gd name="connsiteX81" fmla="*/ 411734 w 571128"/>
                <a:gd name="connsiteY81" fmla="*/ 531398 h 761503"/>
                <a:gd name="connsiteX82" fmla="*/ 419893 w 571128"/>
                <a:gd name="connsiteY82" fmla="*/ 558595 h 761503"/>
                <a:gd name="connsiteX83" fmla="*/ 425332 w 571128"/>
                <a:gd name="connsiteY83" fmla="*/ 564034 h 761503"/>
                <a:gd name="connsiteX84" fmla="*/ 430771 w 571128"/>
                <a:gd name="connsiteY84" fmla="*/ 558595 h 761503"/>
                <a:gd name="connsiteX85" fmla="*/ 430771 w 571128"/>
                <a:gd name="connsiteY85" fmla="*/ 550436 h 761503"/>
                <a:gd name="connsiteX86" fmla="*/ 430771 w 571128"/>
                <a:gd name="connsiteY86" fmla="*/ 501482 h 761503"/>
                <a:gd name="connsiteX87" fmla="*/ 430771 w 571128"/>
                <a:gd name="connsiteY87" fmla="*/ 403575 h 761503"/>
                <a:gd name="connsiteX88" fmla="*/ 425332 w 571128"/>
                <a:gd name="connsiteY88" fmla="*/ 313826 h 761503"/>
                <a:gd name="connsiteX89" fmla="*/ 425332 w 571128"/>
                <a:gd name="connsiteY89" fmla="*/ 248554 h 761503"/>
                <a:gd name="connsiteX90" fmla="*/ 425332 w 571128"/>
                <a:gd name="connsiteY90" fmla="*/ 210479 h 761503"/>
                <a:gd name="connsiteX91" fmla="*/ 422613 w 571128"/>
                <a:gd name="connsiteY91" fmla="*/ 153366 h 761503"/>
                <a:gd name="connsiteX92" fmla="*/ 425332 w 571128"/>
                <a:gd name="connsiteY92" fmla="*/ 123450 h 761503"/>
                <a:gd name="connsiteX93" fmla="*/ 398136 w 571128"/>
                <a:gd name="connsiteY93" fmla="*/ 123450 h 761503"/>
                <a:gd name="connsiteX94" fmla="*/ 379098 w 571128"/>
                <a:gd name="connsiteY94" fmla="*/ 123450 h 761503"/>
                <a:gd name="connsiteX95" fmla="*/ 360060 w 571128"/>
                <a:gd name="connsiteY95" fmla="*/ 118011 h 761503"/>
                <a:gd name="connsiteX96" fmla="*/ 349182 w 571128"/>
                <a:gd name="connsiteY96" fmla="*/ 101693 h 761503"/>
                <a:gd name="connsiteX97" fmla="*/ 351901 w 571128"/>
                <a:gd name="connsiteY97" fmla="*/ 93534 h 761503"/>
                <a:gd name="connsiteX98" fmla="*/ 368219 w 571128"/>
                <a:gd name="connsiteY98" fmla="*/ 85375 h 761503"/>
                <a:gd name="connsiteX99" fmla="*/ 422613 w 571128"/>
                <a:gd name="connsiteY99" fmla="*/ 79936 h 761503"/>
                <a:gd name="connsiteX100" fmla="*/ 444370 w 571128"/>
                <a:gd name="connsiteY100" fmla="*/ 79936 h 761503"/>
                <a:gd name="connsiteX101" fmla="*/ 463407 w 571128"/>
                <a:gd name="connsiteY101" fmla="*/ 71776 h 761503"/>
                <a:gd name="connsiteX102" fmla="*/ 477006 w 571128"/>
                <a:gd name="connsiteY102" fmla="*/ 79936 h 761503"/>
                <a:gd name="connsiteX103" fmla="*/ 512361 w 571128"/>
                <a:gd name="connsiteY103" fmla="*/ 79936 h 761503"/>
                <a:gd name="connsiteX104" fmla="*/ 512361 w 571128"/>
                <a:gd name="connsiteY104" fmla="*/ 79936 h 761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</a:cxnLst>
              <a:rect l="l" t="t" r="r" b="b"/>
              <a:pathLst>
                <a:path w="571128" h="761503">
                  <a:moveTo>
                    <a:pt x="512361" y="79936"/>
                  </a:moveTo>
                  <a:cubicBezTo>
                    <a:pt x="520520" y="79936"/>
                    <a:pt x="539558" y="79936"/>
                    <a:pt x="539558" y="96253"/>
                  </a:cubicBezTo>
                  <a:cubicBezTo>
                    <a:pt x="539558" y="104412"/>
                    <a:pt x="539558" y="107132"/>
                    <a:pt x="534118" y="112571"/>
                  </a:cubicBezTo>
                  <a:cubicBezTo>
                    <a:pt x="531399" y="118011"/>
                    <a:pt x="525960" y="120730"/>
                    <a:pt x="523240" y="120730"/>
                  </a:cubicBezTo>
                  <a:cubicBezTo>
                    <a:pt x="515081" y="123450"/>
                    <a:pt x="512361" y="123450"/>
                    <a:pt x="506922" y="123450"/>
                  </a:cubicBezTo>
                  <a:cubicBezTo>
                    <a:pt x="504202" y="123450"/>
                    <a:pt x="490604" y="123450"/>
                    <a:pt x="477006" y="123450"/>
                  </a:cubicBezTo>
                  <a:cubicBezTo>
                    <a:pt x="477006" y="131609"/>
                    <a:pt x="479725" y="137048"/>
                    <a:pt x="479725" y="145207"/>
                  </a:cubicBezTo>
                  <a:cubicBezTo>
                    <a:pt x="479725" y="156086"/>
                    <a:pt x="477006" y="166964"/>
                    <a:pt x="477006" y="180563"/>
                  </a:cubicBezTo>
                  <a:cubicBezTo>
                    <a:pt x="477006" y="196881"/>
                    <a:pt x="479725" y="215918"/>
                    <a:pt x="482445" y="232236"/>
                  </a:cubicBezTo>
                  <a:cubicBezTo>
                    <a:pt x="485165" y="248554"/>
                    <a:pt x="485165" y="267592"/>
                    <a:pt x="485165" y="283910"/>
                  </a:cubicBezTo>
                  <a:cubicBezTo>
                    <a:pt x="485165" y="297508"/>
                    <a:pt x="485165" y="313826"/>
                    <a:pt x="485165" y="327424"/>
                  </a:cubicBezTo>
                  <a:cubicBezTo>
                    <a:pt x="485165" y="343742"/>
                    <a:pt x="487884" y="357340"/>
                    <a:pt x="487884" y="373658"/>
                  </a:cubicBezTo>
                  <a:cubicBezTo>
                    <a:pt x="487884" y="389976"/>
                    <a:pt x="485165" y="403575"/>
                    <a:pt x="485165" y="419892"/>
                  </a:cubicBezTo>
                  <a:cubicBezTo>
                    <a:pt x="485165" y="436210"/>
                    <a:pt x="485165" y="449809"/>
                    <a:pt x="485165" y="463407"/>
                  </a:cubicBezTo>
                  <a:cubicBezTo>
                    <a:pt x="485165" y="479725"/>
                    <a:pt x="485165" y="498762"/>
                    <a:pt x="482445" y="515080"/>
                  </a:cubicBezTo>
                  <a:cubicBezTo>
                    <a:pt x="482445" y="528679"/>
                    <a:pt x="482445" y="542277"/>
                    <a:pt x="482445" y="558595"/>
                  </a:cubicBezTo>
                  <a:cubicBezTo>
                    <a:pt x="482445" y="572193"/>
                    <a:pt x="479725" y="588511"/>
                    <a:pt x="479725" y="602109"/>
                  </a:cubicBezTo>
                  <a:cubicBezTo>
                    <a:pt x="479725" y="615708"/>
                    <a:pt x="485165" y="632026"/>
                    <a:pt x="485165" y="648343"/>
                  </a:cubicBezTo>
                  <a:cubicBezTo>
                    <a:pt x="485165" y="659222"/>
                    <a:pt x="482445" y="670101"/>
                    <a:pt x="474286" y="675540"/>
                  </a:cubicBezTo>
                  <a:cubicBezTo>
                    <a:pt x="460688" y="686419"/>
                    <a:pt x="444370" y="691858"/>
                    <a:pt x="428052" y="691858"/>
                  </a:cubicBezTo>
                  <a:cubicBezTo>
                    <a:pt x="414454" y="691858"/>
                    <a:pt x="400855" y="689138"/>
                    <a:pt x="387257" y="683699"/>
                  </a:cubicBezTo>
                  <a:cubicBezTo>
                    <a:pt x="373659" y="678260"/>
                    <a:pt x="360060" y="672820"/>
                    <a:pt x="351901" y="664661"/>
                  </a:cubicBezTo>
                  <a:cubicBezTo>
                    <a:pt x="330144" y="645624"/>
                    <a:pt x="316546" y="621147"/>
                    <a:pt x="305667" y="596670"/>
                  </a:cubicBezTo>
                  <a:cubicBezTo>
                    <a:pt x="292069" y="569473"/>
                    <a:pt x="281190" y="539557"/>
                    <a:pt x="270312" y="509641"/>
                  </a:cubicBezTo>
                  <a:cubicBezTo>
                    <a:pt x="264872" y="493323"/>
                    <a:pt x="256713" y="477005"/>
                    <a:pt x="251274" y="460687"/>
                  </a:cubicBezTo>
                  <a:cubicBezTo>
                    <a:pt x="240395" y="433491"/>
                    <a:pt x="232236" y="409014"/>
                    <a:pt x="224077" y="381817"/>
                  </a:cubicBezTo>
                  <a:cubicBezTo>
                    <a:pt x="218638" y="365499"/>
                    <a:pt x="213199" y="346462"/>
                    <a:pt x="207759" y="330144"/>
                  </a:cubicBezTo>
                  <a:cubicBezTo>
                    <a:pt x="202320" y="316545"/>
                    <a:pt x="196881" y="300228"/>
                    <a:pt x="191442" y="286629"/>
                  </a:cubicBezTo>
                  <a:cubicBezTo>
                    <a:pt x="188722" y="281190"/>
                    <a:pt x="186002" y="278470"/>
                    <a:pt x="183283" y="278470"/>
                  </a:cubicBezTo>
                  <a:cubicBezTo>
                    <a:pt x="180563" y="278470"/>
                    <a:pt x="180563" y="286629"/>
                    <a:pt x="180563" y="292069"/>
                  </a:cubicBezTo>
                  <a:cubicBezTo>
                    <a:pt x="180563" y="297508"/>
                    <a:pt x="180563" y="302947"/>
                    <a:pt x="180563" y="305667"/>
                  </a:cubicBezTo>
                  <a:cubicBezTo>
                    <a:pt x="180563" y="321985"/>
                    <a:pt x="183283" y="338303"/>
                    <a:pt x="183283" y="354621"/>
                  </a:cubicBezTo>
                  <a:cubicBezTo>
                    <a:pt x="183283" y="387257"/>
                    <a:pt x="186002" y="417173"/>
                    <a:pt x="188722" y="449809"/>
                  </a:cubicBezTo>
                  <a:cubicBezTo>
                    <a:pt x="188722" y="460687"/>
                    <a:pt x="188722" y="468846"/>
                    <a:pt x="188722" y="479725"/>
                  </a:cubicBezTo>
                  <a:cubicBezTo>
                    <a:pt x="188722" y="501482"/>
                    <a:pt x="188722" y="523239"/>
                    <a:pt x="188722" y="542277"/>
                  </a:cubicBezTo>
                  <a:cubicBezTo>
                    <a:pt x="188722" y="566754"/>
                    <a:pt x="186002" y="591231"/>
                    <a:pt x="186002" y="615708"/>
                  </a:cubicBezTo>
                  <a:cubicBezTo>
                    <a:pt x="186002" y="623867"/>
                    <a:pt x="186002" y="632026"/>
                    <a:pt x="186002" y="637465"/>
                  </a:cubicBezTo>
                  <a:cubicBezTo>
                    <a:pt x="186002" y="645624"/>
                    <a:pt x="183283" y="656502"/>
                    <a:pt x="183283" y="664661"/>
                  </a:cubicBezTo>
                  <a:cubicBezTo>
                    <a:pt x="202320" y="664661"/>
                    <a:pt x="218638" y="664661"/>
                    <a:pt x="226797" y="664661"/>
                  </a:cubicBezTo>
                  <a:cubicBezTo>
                    <a:pt x="234956" y="664661"/>
                    <a:pt x="253994" y="664661"/>
                    <a:pt x="253994" y="680979"/>
                  </a:cubicBezTo>
                  <a:cubicBezTo>
                    <a:pt x="253994" y="689138"/>
                    <a:pt x="253994" y="691858"/>
                    <a:pt x="248554" y="697297"/>
                  </a:cubicBezTo>
                  <a:cubicBezTo>
                    <a:pt x="245835" y="702737"/>
                    <a:pt x="240395" y="705456"/>
                    <a:pt x="234956" y="705456"/>
                  </a:cubicBezTo>
                  <a:cubicBezTo>
                    <a:pt x="226797" y="708176"/>
                    <a:pt x="224077" y="708176"/>
                    <a:pt x="218638" y="708176"/>
                  </a:cubicBezTo>
                  <a:cubicBezTo>
                    <a:pt x="215918" y="708176"/>
                    <a:pt x="199600" y="708176"/>
                    <a:pt x="183283" y="708176"/>
                  </a:cubicBezTo>
                  <a:cubicBezTo>
                    <a:pt x="166965" y="708176"/>
                    <a:pt x="153366" y="708176"/>
                    <a:pt x="150647" y="708176"/>
                  </a:cubicBezTo>
                  <a:cubicBezTo>
                    <a:pt x="139768" y="708176"/>
                    <a:pt x="120730" y="708176"/>
                    <a:pt x="107132" y="708176"/>
                  </a:cubicBezTo>
                  <a:cubicBezTo>
                    <a:pt x="101693" y="708176"/>
                    <a:pt x="96253" y="708176"/>
                    <a:pt x="88094" y="708176"/>
                  </a:cubicBezTo>
                  <a:cubicBezTo>
                    <a:pt x="82655" y="708176"/>
                    <a:pt x="74496" y="708176"/>
                    <a:pt x="69057" y="702737"/>
                  </a:cubicBezTo>
                  <a:cubicBezTo>
                    <a:pt x="63618" y="700017"/>
                    <a:pt x="58178" y="691858"/>
                    <a:pt x="58178" y="686419"/>
                  </a:cubicBezTo>
                  <a:cubicBezTo>
                    <a:pt x="58178" y="683699"/>
                    <a:pt x="58178" y="680979"/>
                    <a:pt x="60898" y="678260"/>
                  </a:cubicBezTo>
                  <a:cubicBezTo>
                    <a:pt x="63618" y="675540"/>
                    <a:pt x="71777" y="672820"/>
                    <a:pt x="77216" y="670101"/>
                  </a:cubicBezTo>
                  <a:cubicBezTo>
                    <a:pt x="90814" y="667381"/>
                    <a:pt x="115291" y="664661"/>
                    <a:pt x="120730" y="664661"/>
                  </a:cubicBezTo>
                  <a:cubicBezTo>
                    <a:pt x="123450" y="664661"/>
                    <a:pt x="126170" y="664661"/>
                    <a:pt x="131609" y="664661"/>
                  </a:cubicBezTo>
                  <a:cubicBezTo>
                    <a:pt x="131609" y="623867"/>
                    <a:pt x="134329" y="583072"/>
                    <a:pt x="134329" y="539557"/>
                  </a:cubicBezTo>
                  <a:cubicBezTo>
                    <a:pt x="134329" y="528679"/>
                    <a:pt x="134329" y="515080"/>
                    <a:pt x="134329" y="504202"/>
                  </a:cubicBezTo>
                  <a:cubicBezTo>
                    <a:pt x="131609" y="460687"/>
                    <a:pt x="131609" y="417173"/>
                    <a:pt x="131609" y="376378"/>
                  </a:cubicBezTo>
                  <a:cubicBezTo>
                    <a:pt x="131609" y="351901"/>
                    <a:pt x="131609" y="327424"/>
                    <a:pt x="131609" y="302947"/>
                  </a:cubicBezTo>
                  <a:cubicBezTo>
                    <a:pt x="131609" y="275751"/>
                    <a:pt x="131609" y="248554"/>
                    <a:pt x="134329" y="221357"/>
                  </a:cubicBezTo>
                  <a:cubicBezTo>
                    <a:pt x="134329" y="188722"/>
                    <a:pt x="137048" y="156086"/>
                    <a:pt x="137048" y="123450"/>
                  </a:cubicBezTo>
                  <a:cubicBezTo>
                    <a:pt x="126170" y="123450"/>
                    <a:pt x="115291" y="123450"/>
                    <a:pt x="107132" y="123450"/>
                  </a:cubicBezTo>
                  <a:cubicBezTo>
                    <a:pt x="101693" y="123450"/>
                    <a:pt x="96253" y="123450"/>
                    <a:pt x="88094" y="123450"/>
                  </a:cubicBezTo>
                  <a:cubicBezTo>
                    <a:pt x="82655" y="123450"/>
                    <a:pt x="74496" y="120730"/>
                    <a:pt x="69057" y="118011"/>
                  </a:cubicBezTo>
                  <a:cubicBezTo>
                    <a:pt x="63618" y="115291"/>
                    <a:pt x="58178" y="107132"/>
                    <a:pt x="58178" y="101693"/>
                  </a:cubicBezTo>
                  <a:cubicBezTo>
                    <a:pt x="58178" y="98973"/>
                    <a:pt x="58178" y="96253"/>
                    <a:pt x="60898" y="93534"/>
                  </a:cubicBezTo>
                  <a:cubicBezTo>
                    <a:pt x="63618" y="90814"/>
                    <a:pt x="71777" y="88095"/>
                    <a:pt x="77216" y="85375"/>
                  </a:cubicBezTo>
                  <a:cubicBezTo>
                    <a:pt x="90814" y="82655"/>
                    <a:pt x="126170" y="79936"/>
                    <a:pt x="131609" y="79936"/>
                  </a:cubicBezTo>
                  <a:cubicBezTo>
                    <a:pt x="137048" y="79936"/>
                    <a:pt x="147927" y="79936"/>
                    <a:pt x="161525" y="79936"/>
                  </a:cubicBezTo>
                  <a:cubicBezTo>
                    <a:pt x="166965" y="74496"/>
                    <a:pt x="172404" y="71776"/>
                    <a:pt x="177843" y="66337"/>
                  </a:cubicBezTo>
                  <a:cubicBezTo>
                    <a:pt x="186002" y="60898"/>
                    <a:pt x="194161" y="58178"/>
                    <a:pt x="202320" y="58178"/>
                  </a:cubicBezTo>
                  <a:cubicBezTo>
                    <a:pt x="215918" y="58178"/>
                    <a:pt x="226797" y="63618"/>
                    <a:pt x="234956" y="77216"/>
                  </a:cubicBezTo>
                  <a:cubicBezTo>
                    <a:pt x="240395" y="88095"/>
                    <a:pt x="248554" y="96253"/>
                    <a:pt x="251274" y="107132"/>
                  </a:cubicBezTo>
                  <a:cubicBezTo>
                    <a:pt x="256713" y="120730"/>
                    <a:pt x="259433" y="134329"/>
                    <a:pt x="267592" y="147927"/>
                  </a:cubicBezTo>
                  <a:cubicBezTo>
                    <a:pt x="273031" y="158806"/>
                    <a:pt x="275751" y="172404"/>
                    <a:pt x="281190" y="183282"/>
                  </a:cubicBezTo>
                  <a:cubicBezTo>
                    <a:pt x="286630" y="196881"/>
                    <a:pt x="292069" y="210479"/>
                    <a:pt x="297508" y="224077"/>
                  </a:cubicBezTo>
                  <a:cubicBezTo>
                    <a:pt x="300228" y="237676"/>
                    <a:pt x="305667" y="251274"/>
                    <a:pt x="308387" y="264872"/>
                  </a:cubicBezTo>
                  <a:cubicBezTo>
                    <a:pt x="311107" y="278470"/>
                    <a:pt x="311107" y="289349"/>
                    <a:pt x="319265" y="300228"/>
                  </a:cubicBezTo>
                  <a:cubicBezTo>
                    <a:pt x="332864" y="324704"/>
                    <a:pt x="346462" y="351901"/>
                    <a:pt x="351901" y="379098"/>
                  </a:cubicBezTo>
                  <a:cubicBezTo>
                    <a:pt x="354621" y="392696"/>
                    <a:pt x="360060" y="403575"/>
                    <a:pt x="365500" y="417173"/>
                  </a:cubicBezTo>
                  <a:cubicBezTo>
                    <a:pt x="373659" y="430771"/>
                    <a:pt x="373659" y="444369"/>
                    <a:pt x="379098" y="457968"/>
                  </a:cubicBezTo>
                  <a:cubicBezTo>
                    <a:pt x="381818" y="471566"/>
                    <a:pt x="387257" y="482445"/>
                    <a:pt x="395416" y="496043"/>
                  </a:cubicBezTo>
                  <a:cubicBezTo>
                    <a:pt x="398136" y="501482"/>
                    <a:pt x="403575" y="506921"/>
                    <a:pt x="406295" y="512361"/>
                  </a:cubicBezTo>
                  <a:cubicBezTo>
                    <a:pt x="409014" y="517800"/>
                    <a:pt x="409014" y="525959"/>
                    <a:pt x="411734" y="531398"/>
                  </a:cubicBezTo>
                  <a:cubicBezTo>
                    <a:pt x="414454" y="539557"/>
                    <a:pt x="417173" y="550436"/>
                    <a:pt x="419893" y="558595"/>
                  </a:cubicBezTo>
                  <a:cubicBezTo>
                    <a:pt x="422613" y="561314"/>
                    <a:pt x="422613" y="564034"/>
                    <a:pt x="425332" y="564034"/>
                  </a:cubicBezTo>
                  <a:cubicBezTo>
                    <a:pt x="428052" y="564034"/>
                    <a:pt x="428052" y="561314"/>
                    <a:pt x="430771" y="558595"/>
                  </a:cubicBezTo>
                  <a:cubicBezTo>
                    <a:pt x="430771" y="555875"/>
                    <a:pt x="430771" y="553156"/>
                    <a:pt x="430771" y="550436"/>
                  </a:cubicBezTo>
                  <a:cubicBezTo>
                    <a:pt x="430771" y="534118"/>
                    <a:pt x="430771" y="517800"/>
                    <a:pt x="430771" y="501482"/>
                  </a:cubicBezTo>
                  <a:cubicBezTo>
                    <a:pt x="430771" y="468846"/>
                    <a:pt x="433491" y="436210"/>
                    <a:pt x="430771" y="403575"/>
                  </a:cubicBezTo>
                  <a:cubicBezTo>
                    <a:pt x="430771" y="373658"/>
                    <a:pt x="425332" y="343742"/>
                    <a:pt x="425332" y="313826"/>
                  </a:cubicBezTo>
                  <a:cubicBezTo>
                    <a:pt x="425332" y="292069"/>
                    <a:pt x="425332" y="270311"/>
                    <a:pt x="425332" y="248554"/>
                  </a:cubicBezTo>
                  <a:cubicBezTo>
                    <a:pt x="425332" y="234956"/>
                    <a:pt x="425332" y="224077"/>
                    <a:pt x="425332" y="210479"/>
                  </a:cubicBezTo>
                  <a:cubicBezTo>
                    <a:pt x="425332" y="191441"/>
                    <a:pt x="422613" y="172404"/>
                    <a:pt x="422613" y="153366"/>
                  </a:cubicBezTo>
                  <a:cubicBezTo>
                    <a:pt x="422613" y="142488"/>
                    <a:pt x="422613" y="134329"/>
                    <a:pt x="425332" y="123450"/>
                  </a:cubicBezTo>
                  <a:cubicBezTo>
                    <a:pt x="417173" y="123450"/>
                    <a:pt x="406295" y="123450"/>
                    <a:pt x="398136" y="123450"/>
                  </a:cubicBezTo>
                  <a:cubicBezTo>
                    <a:pt x="392696" y="123450"/>
                    <a:pt x="387257" y="123450"/>
                    <a:pt x="379098" y="123450"/>
                  </a:cubicBezTo>
                  <a:cubicBezTo>
                    <a:pt x="373659" y="123450"/>
                    <a:pt x="365500" y="120730"/>
                    <a:pt x="360060" y="118011"/>
                  </a:cubicBezTo>
                  <a:cubicBezTo>
                    <a:pt x="354621" y="115291"/>
                    <a:pt x="349182" y="107132"/>
                    <a:pt x="349182" y="101693"/>
                  </a:cubicBezTo>
                  <a:cubicBezTo>
                    <a:pt x="349182" y="98973"/>
                    <a:pt x="349182" y="96253"/>
                    <a:pt x="351901" y="93534"/>
                  </a:cubicBezTo>
                  <a:cubicBezTo>
                    <a:pt x="354621" y="90814"/>
                    <a:pt x="362780" y="88095"/>
                    <a:pt x="368219" y="85375"/>
                  </a:cubicBezTo>
                  <a:cubicBezTo>
                    <a:pt x="381818" y="82655"/>
                    <a:pt x="417173" y="79936"/>
                    <a:pt x="422613" y="79936"/>
                  </a:cubicBezTo>
                  <a:cubicBezTo>
                    <a:pt x="428052" y="79936"/>
                    <a:pt x="433491" y="79936"/>
                    <a:pt x="444370" y="79936"/>
                  </a:cubicBezTo>
                  <a:cubicBezTo>
                    <a:pt x="449809" y="74496"/>
                    <a:pt x="455248" y="71776"/>
                    <a:pt x="463407" y="71776"/>
                  </a:cubicBezTo>
                  <a:cubicBezTo>
                    <a:pt x="471566" y="71776"/>
                    <a:pt x="477006" y="74496"/>
                    <a:pt x="477006" y="79936"/>
                  </a:cubicBezTo>
                  <a:cubicBezTo>
                    <a:pt x="490604" y="82655"/>
                    <a:pt x="504202" y="79936"/>
                    <a:pt x="512361" y="79936"/>
                  </a:cubicBezTo>
                  <a:lnTo>
                    <a:pt x="512361" y="79936"/>
                  </a:ln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id="{520C9512-69D6-40AE-A46C-46C7A8C18D0E}"/>
                </a:ext>
              </a:extLst>
            </p:cNvPr>
            <p:cNvSpPr/>
            <p:nvPr/>
          </p:nvSpPr>
          <p:spPr bwMode="black">
            <a:xfrm>
              <a:off x="2987430" y="4242177"/>
              <a:ext cx="494979" cy="674476"/>
            </a:xfrm>
            <a:custGeom>
              <a:avLst/>
              <a:gdLst>
                <a:gd name="connsiteX0" fmla="*/ 228453 w 494979"/>
                <a:gd name="connsiteY0" fmla="*/ 97907 h 674476"/>
                <a:gd name="connsiteX1" fmla="*/ 212135 w 494979"/>
                <a:gd name="connsiteY1" fmla="*/ 119665 h 674476"/>
                <a:gd name="connsiteX2" fmla="*/ 203976 w 494979"/>
                <a:gd name="connsiteY2" fmla="*/ 152300 h 674476"/>
                <a:gd name="connsiteX3" fmla="*/ 201256 w 494979"/>
                <a:gd name="connsiteY3" fmla="*/ 168618 h 674476"/>
                <a:gd name="connsiteX4" fmla="*/ 198537 w 494979"/>
                <a:gd name="connsiteY4" fmla="*/ 184936 h 674476"/>
                <a:gd name="connsiteX5" fmla="*/ 190378 w 494979"/>
                <a:gd name="connsiteY5" fmla="*/ 220292 h 674476"/>
                <a:gd name="connsiteX6" fmla="*/ 171340 w 494979"/>
                <a:gd name="connsiteY6" fmla="*/ 291003 h 674476"/>
                <a:gd name="connsiteX7" fmla="*/ 163180 w 494979"/>
                <a:gd name="connsiteY7" fmla="*/ 323639 h 674476"/>
                <a:gd name="connsiteX8" fmla="*/ 152302 w 494979"/>
                <a:gd name="connsiteY8" fmla="*/ 361714 h 674476"/>
                <a:gd name="connsiteX9" fmla="*/ 146862 w 494979"/>
                <a:gd name="connsiteY9" fmla="*/ 388910 h 674476"/>
                <a:gd name="connsiteX10" fmla="*/ 152302 w 494979"/>
                <a:gd name="connsiteY10" fmla="*/ 391630 h 674476"/>
                <a:gd name="connsiteX11" fmla="*/ 174060 w 494979"/>
                <a:gd name="connsiteY11" fmla="*/ 391630 h 674476"/>
                <a:gd name="connsiteX12" fmla="*/ 195817 w 494979"/>
                <a:gd name="connsiteY12" fmla="*/ 388910 h 674476"/>
                <a:gd name="connsiteX13" fmla="*/ 214855 w 494979"/>
                <a:gd name="connsiteY13" fmla="*/ 388910 h 674476"/>
                <a:gd name="connsiteX14" fmla="*/ 239332 w 494979"/>
                <a:gd name="connsiteY14" fmla="*/ 388910 h 674476"/>
                <a:gd name="connsiteX15" fmla="*/ 252930 w 494979"/>
                <a:gd name="connsiteY15" fmla="*/ 386191 h 674476"/>
                <a:gd name="connsiteX16" fmla="*/ 261089 w 494979"/>
                <a:gd name="connsiteY16" fmla="*/ 386191 h 674476"/>
                <a:gd name="connsiteX17" fmla="*/ 258369 w 494979"/>
                <a:gd name="connsiteY17" fmla="*/ 367153 h 674476"/>
                <a:gd name="connsiteX18" fmla="*/ 252930 w 494979"/>
                <a:gd name="connsiteY18" fmla="*/ 331797 h 674476"/>
                <a:gd name="connsiteX19" fmla="*/ 250210 w 494979"/>
                <a:gd name="connsiteY19" fmla="*/ 244769 h 674476"/>
                <a:gd name="connsiteX20" fmla="*/ 244771 w 494979"/>
                <a:gd name="connsiteY20" fmla="*/ 203974 h 674476"/>
                <a:gd name="connsiteX21" fmla="*/ 239332 w 494979"/>
                <a:gd name="connsiteY21" fmla="*/ 157740 h 674476"/>
                <a:gd name="connsiteX22" fmla="*/ 236612 w 494979"/>
                <a:gd name="connsiteY22" fmla="*/ 119665 h 674476"/>
                <a:gd name="connsiteX23" fmla="*/ 228453 w 494979"/>
                <a:gd name="connsiteY23" fmla="*/ 97907 h 674476"/>
                <a:gd name="connsiteX24" fmla="*/ 274687 w 494979"/>
                <a:gd name="connsiteY24" fmla="*/ 0 h 674476"/>
                <a:gd name="connsiteX25" fmla="*/ 304603 w 494979"/>
                <a:gd name="connsiteY25" fmla="*/ 5439 h 674476"/>
                <a:gd name="connsiteX26" fmla="*/ 320921 w 494979"/>
                <a:gd name="connsiteY26" fmla="*/ 24477 h 674476"/>
                <a:gd name="connsiteX27" fmla="*/ 334519 w 494979"/>
                <a:gd name="connsiteY27" fmla="*/ 43515 h 674476"/>
                <a:gd name="connsiteX28" fmla="*/ 339959 w 494979"/>
                <a:gd name="connsiteY28" fmla="*/ 65272 h 674476"/>
                <a:gd name="connsiteX29" fmla="*/ 348118 w 494979"/>
                <a:gd name="connsiteY29" fmla="*/ 114226 h 674476"/>
                <a:gd name="connsiteX30" fmla="*/ 361716 w 494979"/>
                <a:gd name="connsiteY30" fmla="*/ 163180 h 674476"/>
                <a:gd name="connsiteX31" fmla="*/ 369875 w 494979"/>
                <a:gd name="connsiteY31" fmla="*/ 220293 h 674476"/>
                <a:gd name="connsiteX32" fmla="*/ 378034 w 494979"/>
                <a:gd name="connsiteY32" fmla="*/ 274686 h 674476"/>
                <a:gd name="connsiteX33" fmla="*/ 383473 w 494979"/>
                <a:gd name="connsiteY33" fmla="*/ 301883 h 674476"/>
                <a:gd name="connsiteX34" fmla="*/ 391632 w 494979"/>
                <a:gd name="connsiteY34" fmla="*/ 337238 h 674476"/>
                <a:gd name="connsiteX35" fmla="*/ 397071 w 494979"/>
                <a:gd name="connsiteY35" fmla="*/ 364435 h 674476"/>
                <a:gd name="connsiteX36" fmla="*/ 405230 w 494979"/>
                <a:gd name="connsiteY36" fmla="*/ 383473 h 674476"/>
                <a:gd name="connsiteX37" fmla="*/ 416109 w 494979"/>
                <a:gd name="connsiteY37" fmla="*/ 386192 h 674476"/>
                <a:gd name="connsiteX38" fmla="*/ 426988 w 494979"/>
                <a:gd name="connsiteY38" fmla="*/ 386192 h 674476"/>
                <a:gd name="connsiteX39" fmla="*/ 454184 w 494979"/>
                <a:gd name="connsiteY39" fmla="*/ 397071 h 674476"/>
                <a:gd name="connsiteX40" fmla="*/ 456904 w 494979"/>
                <a:gd name="connsiteY40" fmla="*/ 405230 h 674476"/>
                <a:gd name="connsiteX41" fmla="*/ 451465 w 494979"/>
                <a:gd name="connsiteY41" fmla="*/ 416108 h 674476"/>
                <a:gd name="connsiteX42" fmla="*/ 432427 w 494979"/>
                <a:gd name="connsiteY42" fmla="*/ 429707 h 674476"/>
                <a:gd name="connsiteX43" fmla="*/ 421548 w 494979"/>
                <a:gd name="connsiteY43" fmla="*/ 432426 h 674476"/>
                <a:gd name="connsiteX44" fmla="*/ 413389 w 494979"/>
                <a:gd name="connsiteY44" fmla="*/ 435146 h 674476"/>
                <a:gd name="connsiteX45" fmla="*/ 413389 w 494979"/>
                <a:gd name="connsiteY45" fmla="*/ 440585 h 674476"/>
                <a:gd name="connsiteX46" fmla="*/ 416109 w 494979"/>
                <a:gd name="connsiteY46" fmla="*/ 451464 h 674476"/>
                <a:gd name="connsiteX47" fmla="*/ 418829 w 494979"/>
                <a:gd name="connsiteY47" fmla="*/ 465062 h 674476"/>
                <a:gd name="connsiteX48" fmla="*/ 418829 w 494979"/>
                <a:gd name="connsiteY48" fmla="*/ 475941 h 674476"/>
                <a:gd name="connsiteX49" fmla="*/ 418829 w 494979"/>
                <a:gd name="connsiteY49" fmla="*/ 486820 h 674476"/>
                <a:gd name="connsiteX50" fmla="*/ 426988 w 494979"/>
                <a:gd name="connsiteY50" fmla="*/ 516736 h 674476"/>
                <a:gd name="connsiteX51" fmla="*/ 432427 w 494979"/>
                <a:gd name="connsiteY51" fmla="*/ 543932 h 674476"/>
                <a:gd name="connsiteX52" fmla="*/ 437866 w 494979"/>
                <a:gd name="connsiteY52" fmla="*/ 573848 h 674476"/>
                <a:gd name="connsiteX53" fmla="*/ 443306 w 494979"/>
                <a:gd name="connsiteY53" fmla="*/ 606484 h 674476"/>
                <a:gd name="connsiteX54" fmla="*/ 446025 w 494979"/>
                <a:gd name="connsiteY54" fmla="*/ 617363 h 674476"/>
                <a:gd name="connsiteX55" fmla="*/ 470502 w 494979"/>
                <a:gd name="connsiteY55" fmla="*/ 617363 h 674476"/>
                <a:gd name="connsiteX56" fmla="*/ 494979 w 494979"/>
                <a:gd name="connsiteY56" fmla="*/ 641840 h 674476"/>
                <a:gd name="connsiteX57" fmla="*/ 486820 w 494979"/>
                <a:gd name="connsiteY57" fmla="*/ 655438 h 674476"/>
                <a:gd name="connsiteX58" fmla="*/ 470502 w 494979"/>
                <a:gd name="connsiteY58" fmla="*/ 663597 h 674476"/>
                <a:gd name="connsiteX59" fmla="*/ 446025 w 494979"/>
                <a:gd name="connsiteY59" fmla="*/ 666317 h 674476"/>
                <a:gd name="connsiteX60" fmla="*/ 424268 w 494979"/>
                <a:gd name="connsiteY60" fmla="*/ 666317 h 674476"/>
                <a:gd name="connsiteX61" fmla="*/ 416109 w 494979"/>
                <a:gd name="connsiteY61" fmla="*/ 666317 h 674476"/>
                <a:gd name="connsiteX62" fmla="*/ 402511 w 494979"/>
                <a:gd name="connsiteY62" fmla="*/ 671756 h 674476"/>
                <a:gd name="connsiteX63" fmla="*/ 386193 w 494979"/>
                <a:gd name="connsiteY63" fmla="*/ 674476 h 674476"/>
                <a:gd name="connsiteX64" fmla="*/ 350837 w 494979"/>
                <a:gd name="connsiteY64" fmla="*/ 669036 h 674476"/>
                <a:gd name="connsiteX65" fmla="*/ 329080 w 494979"/>
                <a:gd name="connsiteY65" fmla="*/ 669036 h 674476"/>
                <a:gd name="connsiteX66" fmla="*/ 280126 w 494979"/>
                <a:gd name="connsiteY66" fmla="*/ 669036 h 674476"/>
                <a:gd name="connsiteX67" fmla="*/ 255649 w 494979"/>
                <a:gd name="connsiteY67" fmla="*/ 663597 h 674476"/>
                <a:gd name="connsiteX68" fmla="*/ 239331 w 494979"/>
                <a:gd name="connsiteY68" fmla="*/ 647279 h 674476"/>
                <a:gd name="connsiteX69" fmla="*/ 263808 w 494979"/>
                <a:gd name="connsiteY69" fmla="*/ 630961 h 674476"/>
                <a:gd name="connsiteX70" fmla="*/ 291005 w 494979"/>
                <a:gd name="connsiteY70" fmla="*/ 628241 h 674476"/>
                <a:gd name="connsiteX71" fmla="*/ 288285 w 494979"/>
                <a:gd name="connsiteY71" fmla="*/ 609204 h 674476"/>
                <a:gd name="connsiteX72" fmla="*/ 285565 w 494979"/>
                <a:gd name="connsiteY72" fmla="*/ 582007 h 674476"/>
                <a:gd name="connsiteX73" fmla="*/ 282846 w 494979"/>
                <a:gd name="connsiteY73" fmla="*/ 568409 h 674476"/>
                <a:gd name="connsiteX74" fmla="*/ 285565 w 494979"/>
                <a:gd name="connsiteY74" fmla="*/ 554811 h 674476"/>
                <a:gd name="connsiteX75" fmla="*/ 280126 w 494979"/>
                <a:gd name="connsiteY75" fmla="*/ 538493 h 674476"/>
                <a:gd name="connsiteX76" fmla="*/ 274687 w 494979"/>
                <a:gd name="connsiteY76" fmla="*/ 505857 h 674476"/>
                <a:gd name="connsiteX77" fmla="*/ 271967 w 494979"/>
                <a:gd name="connsiteY77" fmla="*/ 478660 h 674476"/>
                <a:gd name="connsiteX78" fmla="*/ 269247 w 494979"/>
                <a:gd name="connsiteY78" fmla="*/ 446025 h 674476"/>
                <a:gd name="connsiteX79" fmla="*/ 263808 w 494979"/>
                <a:gd name="connsiteY79" fmla="*/ 437866 h 674476"/>
                <a:gd name="connsiteX80" fmla="*/ 252929 w 494979"/>
                <a:gd name="connsiteY80" fmla="*/ 437866 h 674476"/>
                <a:gd name="connsiteX81" fmla="*/ 223013 w 494979"/>
                <a:gd name="connsiteY81" fmla="*/ 440585 h 674476"/>
                <a:gd name="connsiteX82" fmla="*/ 193097 w 494979"/>
                <a:gd name="connsiteY82" fmla="*/ 443305 h 674476"/>
                <a:gd name="connsiteX83" fmla="*/ 168620 w 494979"/>
                <a:gd name="connsiteY83" fmla="*/ 443305 h 674476"/>
                <a:gd name="connsiteX84" fmla="*/ 146862 w 494979"/>
                <a:gd name="connsiteY84" fmla="*/ 440585 h 674476"/>
                <a:gd name="connsiteX85" fmla="*/ 138703 w 494979"/>
                <a:gd name="connsiteY85" fmla="*/ 454184 h 674476"/>
                <a:gd name="connsiteX86" fmla="*/ 133263 w 494979"/>
                <a:gd name="connsiteY86" fmla="*/ 486820 h 674476"/>
                <a:gd name="connsiteX87" fmla="*/ 122385 w 494979"/>
                <a:gd name="connsiteY87" fmla="*/ 541213 h 674476"/>
                <a:gd name="connsiteX88" fmla="*/ 106067 w 494979"/>
                <a:gd name="connsiteY88" fmla="*/ 614643 h 674476"/>
                <a:gd name="connsiteX89" fmla="*/ 135983 w 494979"/>
                <a:gd name="connsiteY89" fmla="*/ 614643 h 674476"/>
                <a:gd name="connsiteX90" fmla="*/ 171340 w 494979"/>
                <a:gd name="connsiteY90" fmla="*/ 630961 h 674476"/>
                <a:gd name="connsiteX91" fmla="*/ 165900 w 494979"/>
                <a:gd name="connsiteY91" fmla="*/ 647279 h 674476"/>
                <a:gd name="connsiteX92" fmla="*/ 149581 w 494979"/>
                <a:gd name="connsiteY92" fmla="*/ 655438 h 674476"/>
                <a:gd name="connsiteX93" fmla="*/ 127824 w 494979"/>
                <a:gd name="connsiteY93" fmla="*/ 658158 h 674476"/>
                <a:gd name="connsiteX94" fmla="*/ 106067 w 494979"/>
                <a:gd name="connsiteY94" fmla="*/ 658158 h 674476"/>
                <a:gd name="connsiteX95" fmla="*/ 62552 w 494979"/>
                <a:gd name="connsiteY95" fmla="*/ 658158 h 674476"/>
                <a:gd name="connsiteX96" fmla="*/ 40795 w 494979"/>
                <a:gd name="connsiteY96" fmla="*/ 658158 h 674476"/>
                <a:gd name="connsiteX97" fmla="*/ 16318 w 494979"/>
                <a:gd name="connsiteY97" fmla="*/ 652718 h 674476"/>
                <a:gd name="connsiteX98" fmla="*/ 0 w 494979"/>
                <a:gd name="connsiteY98" fmla="*/ 636401 h 674476"/>
                <a:gd name="connsiteX99" fmla="*/ 2720 w 494979"/>
                <a:gd name="connsiteY99" fmla="*/ 628241 h 674476"/>
                <a:gd name="connsiteX100" fmla="*/ 24477 w 494979"/>
                <a:gd name="connsiteY100" fmla="*/ 620082 h 674476"/>
                <a:gd name="connsiteX101" fmla="*/ 62552 w 494979"/>
                <a:gd name="connsiteY101" fmla="*/ 617363 h 674476"/>
                <a:gd name="connsiteX102" fmla="*/ 62552 w 494979"/>
                <a:gd name="connsiteY102" fmla="*/ 614643 h 674476"/>
                <a:gd name="connsiteX103" fmla="*/ 65272 w 494979"/>
                <a:gd name="connsiteY103" fmla="*/ 587447 h 674476"/>
                <a:gd name="connsiteX104" fmla="*/ 76151 w 494979"/>
                <a:gd name="connsiteY104" fmla="*/ 522175 h 674476"/>
                <a:gd name="connsiteX105" fmla="*/ 87029 w 494979"/>
                <a:gd name="connsiteY105" fmla="*/ 470501 h 674476"/>
                <a:gd name="connsiteX106" fmla="*/ 92469 w 494979"/>
                <a:gd name="connsiteY106" fmla="*/ 446025 h 674476"/>
                <a:gd name="connsiteX107" fmla="*/ 65272 w 494979"/>
                <a:gd name="connsiteY107" fmla="*/ 432426 h 674476"/>
                <a:gd name="connsiteX108" fmla="*/ 54393 w 494979"/>
                <a:gd name="connsiteY108" fmla="*/ 421548 h 674476"/>
                <a:gd name="connsiteX109" fmla="*/ 73431 w 494979"/>
                <a:gd name="connsiteY109" fmla="*/ 407949 h 674476"/>
                <a:gd name="connsiteX110" fmla="*/ 100628 w 494979"/>
                <a:gd name="connsiteY110" fmla="*/ 399790 h 674476"/>
                <a:gd name="connsiteX111" fmla="*/ 108787 w 494979"/>
                <a:gd name="connsiteY111" fmla="*/ 369874 h 674476"/>
                <a:gd name="connsiteX112" fmla="*/ 125105 w 494979"/>
                <a:gd name="connsiteY112" fmla="*/ 307322 h 674476"/>
                <a:gd name="connsiteX113" fmla="*/ 141423 w 494979"/>
                <a:gd name="connsiteY113" fmla="*/ 242051 h 674476"/>
                <a:gd name="connsiteX114" fmla="*/ 155021 w 494979"/>
                <a:gd name="connsiteY114" fmla="*/ 179498 h 674476"/>
                <a:gd name="connsiteX115" fmla="*/ 168620 w 494979"/>
                <a:gd name="connsiteY115" fmla="*/ 119665 h 674476"/>
                <a:gd name="connsiteX116" fmla="*/ 193097 w 494979"/>
                <a:gd name="connsiteY116" fmla="*/ 57113 h 674476"/>
                <a:gd name="connsiteX117" fmla="*/ 201256 w 494979"/>
                <a:gd name="connsiteY117" fmla="*/ 38075 h 674476"/>
                <a:gd name="connsiteX118" fmla="*/ 217574 w 494979"/>
                <a:gd name="connsiteY118" fmla="*/ 13598 h 674476"/>
                <a:gd name="connsiteX119" fmla="*/ 274687 w 494979"/>
                <a:gd name="connsiteY119" fmla="*/ 0 h 6744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</a:cxnLst>
              <a:rect l="l" t="t" r="r" b="b"/>
              <a:pathLst>
                <a:path w="494979" h="674476">
                  <a:moveTo>
                    <a:pt x="228453" y="97907"/>
                  </a:moveTo>
                  <a:cubicBezTo>
                    <a:pt x="220294" y="97907"/>
                    <a:pt x="212135" y="114225"/>
                    <a:pt x="212135" y="119665"/>
                  </a:cubicBezTo>
                  <a:cubicBezTo>
                    <a:pt x="209415" y="130543"/>
                    <a:pt x="206696" y="144141"/>
                    <a:pt x="203976" y="152300"/>
                  </a:cubicBezTo>
                  <a:cubicBezTo>
                    <a:pt x="201256" y="157740"/>
                    <a:pt x="201256" y="163179"/>
                    <a:pt x="201256" y="168618"/>
                  </a:cubicBezTo>
                  <a:cubicBezTo>
                    <a:pt x="201256" y="174058"/>
                    <a:pt x="198537" y="179497"/>
                    <a:pt x="198537" y="184936"/>
                  </a:cubicBezTo>
                  <a:cubicBezTo>
                    <a:pt x="195817" y="195815"/>
                    <a:pt x="193097" y="209413"/>
                    <a:pt x="190378" y="220292"/>
                  </a:cubicBezTo>
                  <a:cubicBezTo>
                    <a:pt x="187658" y="244769"/>
                    <a:pt x="179499" y="269246"/>
                    <a:pt x="171340" y="291003"/>
                  </a:cubicBezTo>
                  <a:cubicBezTo>
                    <a:pt x="168620" y="301881"/>
                    <a:pt x="165900" y="312760"/>
                    <a:pt x="163180" y="323639"/>
                  </a:cubicBezTo>
                  <a:cubicBezTo>
                    <a:pt x="160461" y="337237"/>
                    <a:pt x="157741" y="348115"/>
                    <a:pt x="152302" y="361714"/>
                  </a:cubicBezTo>
                  <a:cubicBezTo>
                    <a:pt x="149582" y="367153"/>
                    <a:pt x="146862" y="383471"/>
                    <a:pt x="146862" y="388910"/>
                  </a:cubicBezTo>
                  <a:cubicBezTo>
                    <a:pt x="146862" y="391630"/>
                    <a:pt x="149582" y="391630"/>
                    <a:pt x="152302" y="391630"/>
                  </a:cubicBezTo>
                  <a:cubicBezTo>
                    <a:pt x="157741" y="391630"/>
                    <a:pt x="171340" y="391630"/>
                    <a:pt x="174060" y="391630"/>
                  </a:cubicBezTo>
                  <a:cubicBezTo>
                    <a:pt x="182219" y="391630"/>
                    <a:pt x="190378" y="391630"/>
                    <a:pt x="195817" y="388910"/>
                  </a:cubicBezTo>
                  <a:cubicBezTo>
                    <a:pt x="201256" y="388910"/>
                    <a:pt x="206696" y="388910"/>
                    <a:pt x="214855" y="388910"/>
                  </a:cubicBezTo>
                  <a:cubicBezTo>
                    <a:pt x="220294" y="388910"/>
                    <a:pt x="228453" y="388910"/>
                    <a:pt x="239332" y="388910"/>
                  </a:cubicBezTo>
                  <a:cubicBezTo>
                    <a:pt x="244771" y="388910"/>
                    <a:pt x="250210" y="388910"/>
                    <a:pt x="252930" y="386191"/>
                  </a:cubicBezTo>
                  <a:cubicBezTo>
                    <a:pt x="258369" y="391630"/>
                    <a:pt x="261089" y="388910"/>
                    <a:pt x="261089" y="386191"/>
                  </a:cubicBezTo>
                  <a:cubicBezTo>
                    <a:pt x="261089" y="380751"/>
                    <a:pt x="258369" y="372592"/>
                    <a:pt x="258369" y="367153"/>
                  </a:cubicBezTo>
                  <a:cubicBezTo>
                    <a:pt x="255650" y="353555"/>
                    <a:pt x="252930" y="342676"/>
                    <a:pt x="252930" y="331797"/>
                  </a:cubicBezTo>
                  <a:cubicBezTo>
                    <a:pt x="252930" y="301881"/>
                    <a:pt x="252930" y="274685"/>
                    <a:pt x="250210" y="244769"/>
                  </a:cubicBezTo>
                  <a:cubicBezTo>
                    <a:pt x="250210" y="231170"/>
                    <a:pt x="247491" y="217572"/>
                    <a:pt x="244771" y="203974"/>
                  </a:cubicBezTo>
                  <a:cubicBezTo>
                    <a:pt x="242051" y="187656"/>
                    <a:pt x="239332" y="174058"/>
                    <a:pt x="239332" y="157740"/>
                  </a:cubicBezTo>
                  <a:cubicBezTo>
                    <a:pt x="239332" y="152300"/>
                    <a:pt x="239332" y="133263"/>
                    <a:pt x="236612" y="119665"/>
                  </a:cubicBezTo>
                  <a:cubicBezTo>
                    <a:pt x="236612" y="106066"/>
                    <a:pt x="233892" y="97907"/>
                    <a:pt x="228453" y="97907"/>
                  </a:cubicBezTo>
                  <a:close/>
                  <a:moveTo>
                    <a:pt x="274687" y="0"/>
                  </a:moveTo>
                  <a:cubicBezTo>
                    <a:pt x="288285" y="0"/>
                    <a:pt x="293724" y="2720"/>
                    <a:pt x="304603" y="5439"/>
                  </a:cubicBezTo>
                  <a:cubicBezTo>
                    <a:pt x="315482" y="10879"/>
                    <a:pt x="315482" y="16318"/>
                    <a:pt x="320921" y="24477"/>
                  </a:cubicBezTo>
                  <a:cubicBezTo>
                    <a:pt x="326360" y="29916"/>
                    <a:pt x="331800" y="35356"/>
                    <a:pt x="334519" y="43515"/>
                  </a:cubicBezTo>
                  <a:cubicBezTo>
                    <a:pt x="337239" y="51674"/>
                    <a:pt x="337239" y="57113"/>
                    <a:pt x="339959" y="65272"/>
                  </a:cubicBezTo>
                  <a:cubicBezTo>
                    <a:pt x="345398" y="78870"/>
                    <a:pt x="342678" y="97908"/>
                    <a:pt x="348118" y="114226"/>
                  </a:cubicBezTo>
                  <a:cubicBezTo>
                    <a:pt x="350837" y="130544"/>
                    <a:pt x="358996" y="146863"/>
                    <a:pt x="361716" y="163180"/>
                  </a:cubicBezTo>
                  <a:cubicBezTo>
                    <a:pt x="364435" y="182218"/>
                    <a:pt x="364435" y="201256"/>
                    <a:pt x="369875" y="220293"/>
                  </a:cubicBezTo>
                  <a:cubicBezTo>
                    <a:pt x="375314" y="239331"/>
                    <a:pt x="378034" y="255649"/>
                    <a:pt x="378034" y="274686"/>
                  </a:cubicBezTo>
                  <a:cubicBezTo>
                    <a:pt x="378034" y="282845"/>
                    <a:pt x="380753" y="293724"/>
                    <a:pt x="383473" y="301883"/>
                  </a:cubicBezTo>
                  <a:cubicBezTo>
                    <a:pt x="386193" y="312762"/>
                    <a:pt x="388912" y="326360"/>
                    <a:pt x="391632" y="337238"/>
                  </a:cubicBezTo>
                  <a:cubicBezTo>
                    <a:pt x="391632" y="342678"/>
                    <a:pt x="394352" y="353556"/>
                    <a:pt x="397071" y="364435"/>
                  </a:cubicBezTo>
                  <a:cubicBezTo>
                    <a:pt x="399791" y="372594"/>
                    <a:pt x="402511" y="380753"/>
                    <a:pt x="405230" y="383473"/>
                  </a:cubicBezTo>
                  <a:cubicBezTo>
                    <a:pt x="407950" y="386192"/>
                    <a:pt x="413389" y="386192"/>
                    <a:pt x="416109" y="386192"/>
                  </a:cubicBezTo>
                  <a:cubicBezTo>
                    <a:pt x="418829" y="386192"/>
                    <a:pt x="424268" y="386192"/>
                    <a:pt x="426988" y="386192"/>
                  </a:cubicBezTo>
                  <a:cubicBezTo>
                    <a:pt x="437866" y="386192"/>
                    <a:pt x="448745" y="388912"/>
                    <a:pt x="454184" y="397071"/>
                  </a:cubicBezTo>
                  <a:cubicBezTo>
                    <a:pt x="456904" y="399790"/>
                    <a:pt x="456904" y="402510"/>
                    <a:pt x="456904" y="405230"/>
                  </a:cubicBezTo>
                  <a:cubicBezTo>
                    <a:pt x="456904" y="407949"/>
                    <a:pt x="454184" y="410669"/>
                    <a:pt x="451465" y="416108"/>
                  </a:cubicBezTo>
                  <a:cubicBezTo>
                    <a:pt x="446025" y="421548"/>
                    <a:pt x="440586" y="426987"/>
                    <a:pt x="432427" y="429707"/>
                  </a:cubicBezTo>
                  <a:cubicBezTo>
                    <a:pt x="429707" y="429707"/>
                    <a:pt x="426988" y="432426"/>
                    <a:pt x="421548" y="432426"/>
                  </a:cubicBezTo>
                  <a:cubicBezTo>
                    <a:pt x="418829" y="432426"/>
                    <a:pt x="416109" y="432426"/>
                    <a:pt x="413389" y="435146"/>
                  </a:cubicBezTo>
                  <a:cubicBezTo>
                    <a:pt x="413389" y="435146"/>
                    <a:pt x="413389" y="437866"/>
                    <a:pt x="413389" y="440585"/>
                  </a:cubicBezTo>
                  <a:cubicBezTo>
                    <a:pt x="413389" y="443305"/>
                    <a:pt x="413389" y="448744"/>
                    <a:pt x="416109" y="451464"/>
                  </a:cubicBezTo>
                  <a:cubicBezTo>
                    <a:pt x="416109" y="456903"/>
                    <a:pt x="418829" y="462343"/>
                    <a:pt x="418829" y="465062"/>
                  </a:cubicBezTo>
                  <a:lnTo>
                    <a:pt x="418829" y="475941"/>
                  </a:lnTo>
                  <a:cubicBezTo>
                    <a:pt x="418829" y="481380"/>
                    <a:pt x="418829" y="484100"/>
                    <a:pt x="418829" y="486820"/>
                  </a:cubicBezTo>
                  <a:cubicBezTo>
                    <a:pt x="421548" y="497698"/>
                    <a:pt x="424268" y="505857"/>
                    <a:pt x="426988" y="516736"/>
                  </a:cubicBezTo>
                  <a:cubicBezTo>
                    <a:pt x="426988" y="524895"/>
                    <a:pt x="429707" y="535773"/>
                    <a:pt x="432427" y="543932"/>
                  </a:cubicBezTo>
                  <a:cubicBezTo>
                    <a:pt x="435147" y="554811"/>
                    <a:pt x="437866" y="562970"/>
                    <a:pt x="437866" y="573848"/>
                  </a:cubicBezTo>
                  <a:cubicBezTo>
                    <a:pt x="437866" y="587447"/>
                    <a:pt x="440586" y="595606"/>
                    <a:pt x="443306" y="606484"/>
                  </a:cubicBezTo>
                  <a:cubicBezTo>
                    <a:pt x="443306" y="609204"/>
                    <a:pt x="446025" y="614643"/>
                    <a:pt x="446025" y="617363"/>
                  </a:cubicBezTo>
                  <a:cubicBezTo>
                    <a:pt x="454184" y="617363"/>
                    <a:pt x="462343" y="617363"/>
                    <a:pt x="470502" y="617363"/>
                  </a:cubicBezTo>
                  <a:cubicBezTo>
                    <a:pt x="478661" y="625522"/>
                    <a:pt x="492259" y="630961"/>
                    <a:pt x="494979" y="641840"/>
                  </a:cubicBezTo>
                  <a:cubicBezTo>
                    <a:pt x="494979" y="647279"/>
                    <a:pt x="489540" y="649999"/>
                    <a:pt x="486820" y="655438"/>
                  </a:cubicBezTo>
                  <a:cubicBezTo>
                    <a:pt x="484100" y="660877"/>
                    <a:pt x="475942" y="663597"/>
                    <a:pt x="470502" y="663597"/>
                  </a:cubicBezTo>
                  <a:cubicBezTo>
                    <a:pt x="459623" y="666317"/>
                    <a:pt x="454184" y="666317"/>
                    <a:pt x="446025" y="666317"/>
                  </a:cubicBezTo>
                  <a:cubicBezTo>
                    <a:pt x="440586" y="666317"/>
                    <a:pt x="432427" y="666317"/>
                    <a:pt x="424268" y="666317"/>
                  </a:cubicBezTo>
                  <a:cubicBezTo>
                    <a:pt x="421548" y="666317"/>
                    <a:pt x="418829" y="666317"/>
                    <a:pt x="416109" y="666317"/>
                  </a:cubicBezTo>
                  <a:cubicBezTo>
                    <a:pt x="410670" y="669036"/>
                    <a:pt x="407950" y="669036"/>
                    <a:pt x="402511" y="671756"/>
                  </a:cubicBezTo>
                  <a:cubicBezTo>
                    <a:pt x="397071" y="671756"/>
                    <a:pt x="391632" y="674476"/>
                    <a:pt x="386193" y="674476"/>
                  </a:cubicBezTo>
                  <a:cubicBezTo>
                    <a:pt x="375314" y="674476"/>
                    <a:pt x="361716" y="671756"/>
                    <a:pt x="350837" y="669036"/>
                  </a:cubicBezTo>
                  <a:cubicBezTo>
                    <a:pt x="342678" y="669036"/>
                    <a:pt x="334519" y="669036"/>
                    <a:pt x="329080" y="669036"/>
                  </a:cubicBezTo>
                  <a:cubicBezTo>
                    <a:pt x="307323" y="669036"/>
                    <a:pt x="288285" y="669036"/>
                    <a:pt x="280126" y="669036"/>
                  </a:cubicBezTo>
                  <a:cubicBezTo>
                    <a:pt x="271967" y="669036"/>
                    <a:pt x="261088" y="669036"/>
                    <a:pt x="255649" y="663597"/>
                  </a:cubicBezTo>
                  <a:cubicBezTo>
                    <a:pt x="250210" y="660877"/>
                    <a:pt x="239331" y="655438"/>
                    <a:pt x="239331" y="647279"/>
                  </a:cubicBezTo>
                  <a:cubicBezTo>
                    <a:pt x="239331" y="636401"/>
                    <a:pt x="255649" y="633681"/>
                    <a:pt x="263808" y="630961"/>
                  </a:cubicBezTo>
                  <a:cubicBezTo>
                    <a:pt x="269247" y="630961"/>
                    <a:pt x="277406" y="630961"/>
                    <a:pt x="291005" y="628241"/>
                  </a:cubicBezTo>
                  <a:cubicBezTo>
                    <a:pt x="291005" y="620082"/>
                    <a:pt x="291005" y="614643"/>
                    <a:pt x="288285" y="609204"/>
                  </a:cubicBezTo>
                  <a:cubicBezTo>
                    <a:pt x="288285" y="601045"/>
                    <a:pt x="285565" y="590166"/>
                    <a:pt x="285565" y="582007"/>
                  </a:cubicBezTo>
                  <a:cubicBezTo>
                    <a:pt x="285565" y="576568"/>
                    <a:pt x="282846" y="573848"/>
                    <a:pt x="282846" y="568409"/>
                  </a:cubicBezTo>
                  <a:cubicBezTo>
                    <a:pt x="282846" y="562970"/>
                    <a:pt x="285565" y="557531"/>
                    <a:pt x="285565" y="554811"/>
                  </a:cubicBezTo>
                  <a:cubicBezTo>
                    <a:pt x="285565" y="549371"/>
                    <a:pt x="282846" y="546652"/>
                    <a:pt x="280126" y="538493"/>
                  </a:cubicBezTo>
                  <a:cubicBezTo>
                    <a:pt x="280126" y="527614"/>
                    <a:pt x="274687" y="516736"/>
                    <a:pt x="274687" y="505857"/>
                  </a:cubicBezTo>
                  <a:cubicBezTo>
                    <a:pt x="274687" y="494978"/>
                    <a:pt x="274687" y="486820"/>
                    <a:pt x="271967" y="478660"/>
                  </a:cubicBezTo>
                  <a:cubicBezTo>
                    <a:pt x="269247" y="467782"/>
                    <a:pt x="269247" y="456903"/>
                    <a:pt x="269247" y="446025"/>
                  </a:cubicBezTo>
                  <a:cubicBezTo>
                    <a:pt x="269247" y="440585"/>
                    <a:pt x="266528" y="437866"/>
                    <a:pt x="263808" y="437866"/>
                  </a:cubicBezTo>
                  <a:cubicBezTo>
                    <a:pt x="261088" y="437866"/>
                    <a:pt x="258369" y="437866"/>
                    <a:pt x="252929" y="437866"/>
                  </a:cubicBezTo>
                  <a:cubicBezTo>
                    <a:pt x="242051" y="437866"/>
                    <a:pt x="231172" y="437866"/>
                    <a:pt x="223013" y="440585"/>
                  </a:cubicBezTo>
                  <a:cubicBezTo>
                    <a:pt x="212135" y="440585"/>
                    <a:pt x="203976" y="443305"/>
                    <a:pt x="193097" y="443305"/>
                  </a:cubicBezTo>
                  <a:cubicBezTo>
                    <a:pt x="184938" y="443305"/>
                    <a:pt x="176779" y="443305"/>
                    <a:pt x="168620" y="443305"/>
                  </a:cubicBezTo>
                  <a:cubicBezTo>
                    <a:pt x="165900" y="443305"/>
                    <a:pt x="155021" y="440585"/>
                    <a:pt x="146862" y="440585"/>
                  </a:cubicBezTo>
                  <a:cubicBezTo>
                    <a:pt x="138703" y="440585"/>
                    <a:pt x="138703" y="448744"/>
                    <a:pt x="138703" y="454184"/>
                  </a:cubicBezTo>
                  <a:cubicBezTo>
                    <a:pt x="138703" y="465062"/>
                    <a:pt x="135983" y="475941"/>
                    <a:pt x="133263" y="486820"/>
                  </a:cubicBezTo>
                  <a:cubicBezTo>
                    <a:pt x="130544" y="505857"/>
                    <a:pt x="125105" y="522175"/>
                    <a:pt x="122385" y="541213"/>
                  </a:cubicBezTo>
                  <a:cubicBezTo>
                    <a:pt x="119665" y="560250"/>
                    <a:pt x="111506" y="595606"/>
                    <a:pt x="106067" y="614643"/>
                  </a:cubicBezTo>
                  <a:cubicBezTo>
                    <a:pt x="114226" y="614643"/>
                    <a:pt x="125105" y="614643"/>
                    <a:pt x="135983" y="614643"/>
                  </a:cubicBezTo>
                  <a:cubicBezTo>
                    <a:pt x="149581" y="614643"/>
                    <a:pt x="171340" y="614643"/>
                    <a:pt x="171340" y="630961"/>
                  </a:cubicBezTo>
                  <a:cubicBezTo>
                    <a:pt x="171340" y="639120"/>
                    <a:pt x="168620" y="639120"/>
                    <a:pt x="165900" y="647279"/>
                  </a:cubicBezTo>
                  <a:cubicBezTo>
                    <a:pt x="163181" y="652718"/>
                    <a:pt x="155021" y="655438"/>
                    <a:pt x="149581" y="655438"/>
                  </a:cubicBezTo>
                  <a:cubicBezTo>
                    <a:pt x="141423" y="658158"/>
                    <a:pt x="135983" y="658158"/>
                    <a:pt x="127824" y="658158"/>
                  </a:cubicBezTo>
                  <a:cubicBezTo>
                    <a:pt x="122385" y="658158"/>
                    <a:pt x="116946" y="658158"/>
                    <a:pt x="106067" y="658158"/>
                  </a:cubicBezTo>
                  <a:cubicBezTo>
                    <a:pt x="92469" y="658158"/>
                    <a:pt x="78870" y="658158"/>
                    <a:pt x="62552" y="658158"/>
                  </a:cubicBezTo>
                  <a:cubicBezTo>
                    <a:pt x="54393" y="658158"/>
                    <a:pt x="46234" y="658158"/>
                    <a:pt x="40795" y="658158"/>
                  </a:cubicBezTo>
                  <a:cubicBezTo>
                    <a:pt x="32636" y="658158"/>
                    <a:pt x="21758" y="658158"/>
                    <a:pt x="16318" y="652718"/>
                  </a:cubicBezTo>
                  <a:cubicBezTo>
                    <a:pt x="8159" y="649999"/>
                    <a:pt x="0" y="641840"/>
                    <a:pt x="0" y="636401"/>
                  </a:cubicBezTo>
                  <a:cubicBezTo>
                    <a:pt x="0" y="633681"/>
                    <a:pt x="0" y="630961"/>
                    <a:pt x="2720" y="628241"/>
                  </a:cubicBezTo>
                  <a:cubicBezTo>
                    <a:pt x="8159" y="625522"/>
                    <a:pt x="16318" y="622802"/>
                    <a:pt x="24477" y="620082"/>
                  </a:cubicBezTo>
                  <a:cubicBezTo>
                    <a:pt x="38075" y="617363"/>
                    <a:pt x="48954" y="617363"/>
                    <a:pt x="62552" y="617363"/>
                  </a:cubicBezTo>
                  <a:cubicBezTo>
                    <a:pt x="62552" y="617363"/>
                    <a:pt x="62552" y="614643"/>
                    <a:pt x="62552" y="614643"/>
                  </a:cubicBezTo>
                  <a:cubicBezTo>
                    <a:pt x="62552" y="603765"/>
                    <a:pt x="65272" y="590166"/>
                    <a:pt x="65272" y="587447"/>
                  </a:cubicBezTo>
                  <a:cubicBezTo>
                    <a:pt x="67992" y="565689"/>
                    <a:pt x="73431" y="543932"/>
                    <a:pt x="76151" y="522175"/>
                  </a:cubicBezTo>
                  <a:cubicBezTo>
                    <a:pt x="78870" y="505857"/>
                    <a:pt x="81590" y="486820"/>
                    <a:pt x="87029" y="470501"/>
                  </a:cubicBezTo>
                  <a:cubicBezTo>
                    <a:pt x="87029" y="465062"/>
                    <a:pt x="92469" y="451464"/>
                    <a:pt x="92469" y="446025"/>
                  </a:cubicBezTo>
                  <a:cubicBezTo>
                    <a:pt x="92469" y="437866"/>
                    <a:pt x="73431" y="437866"/>
                    <a:pt x="65272" y="432426"/>
                  </a:cubicBezTo>
                  <a:cubicBezTo>
                    <a:pt x="59833" y="429707"/>
                    <a:pt x="54393" y="426987"/>
                    <a:pt x="54393" y="421548"/>
                  </a:cubicBezTo>
                  <a:cubicBezTo>
                    <a:pt x="54393" y="413389"/>
                    <a:pt x="62552" y="410669"/>
                    <a:pt x="73431" y="407949"/>
                  </a:cubicBezTo>
                  <a:cubicBezTo>
                    <a:pt x="78870" y="407949"/>
                    <a:pt x="92469" y="405230"/>
                    <a:pt x="100628" y="399790"/>
                  </a:cubicBezTo>
                  <a:cubicBezTo>
                    <a:pt x="106067" y="394351"/>
                    <a:pt x="106067" y="378033"/>
                    <a:pt x="108787" y="369874"/>
                  </a:cubicBezTo>
                  <a:cubicBezTo>
                    <a:pt x="114226" y="348117"/>
                    <a:pt x="119665" y="326360"/>
                    <a:pt x="125105" y="307322"/>
                  </a:cubicBezTo>
                  <a:cubicBezTo>
                    <a:pt x="130544" y="285565"/>
                    <a:pt x="135983" y="263808"/>
                    <a:pt x="141423" y="242051"/>
                  </a:cubicBezTo>
                  <a:cubicBezTo>
                    <a:pt x="146862" y="220293"/>
                    <a:pt x="152301" y="198536"/>
                    <a:pt x="155021" y="179498"/>
                  </a:cubicBezTo>
                  <a:cubicBezTo>
                    <a:pt x="157740" y="160461"/>
                    <a:pt x="163181" y="138703"/>
                    <a:pt x="168620" y="119665"/>
                  </a:cubicBezTo>
                  <a:cubicBezTo>
                    <a:pt x="176779" y="100627"/>
                    <a:pt x="182218" y="76150"/>
                    <a:pt x="193097" y="57113"/>
                  </a:cubicBezTo>
                  <a:lnTo>
                    <a:pt x="201256" y="38075"/>
                  </a:lnTo>
                  <a:cubicBezTo>
                    <a:pt x="206695" y="29916"/>
                    <a:pt x="209415" y="19038"/>
                    <a:pt x="217574" y="13598"/>
                  </a:cubicBezTo>
                  <a:cubicBezTo>
                    <a:pt x="231172" y="2720"/>
                    <a:pt x="255649" y="0"/>
                    <a:pt x="274687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5" name="Freeform: Shape 34">
              <a:extLst>
                <a:ext uri="{FF2B5EF4-FFF2-40B4-BE49-F238E27FC236}">
                  <a16:creationId xmlns:a16="http://schemas.microsoft.com/office/drawing/2014/main" id="{76824091-EA77-4290-B5D8-D9ABB8E8F443}"/>
                </a:ext>
              </a:extLst>
            </p:cNvPr>
            <p:cNvSpPr/>
            <p:nvPr/>
          </p:nvSpPr>
          <p:spPr bwMode="black">
            <a:xfrm>
              <a:off x="3443268" y="4186718"/>
              <a:ext cx="435145" cy="761503"/>
            </a:xfrm>
            <a:custGeom>
              <a:avLst/>
              <a:gdLst>
                <a:gd name="connsiteX0" fmla="*/ 400855 w 435145"/>
                <a:gd name="connsiteY0" fmla="*/ 678260 h 761503"/>
                <a:gd name="connsiteX1" fmla="*/ 384537 w 435145"/>
                <a:gd name="connsiteY1" fmla="*/ 719054 h 761503"/>
                <a:gd name="connsiteX2" fmla="*/ 368219 w 435145"/>
                <a:gd name="connsiteY2" fmla="*/ 713615 h 761503"/>
                <a:gd name="connsiteX3" fmla="*/ 360060 w 435145"/>
                <a:gd name="connsiteY3" fmla="*/ 697297 h 761503"/>
                <a:gd name="connsiteX4" fmla="*/ 360060 w 435145"/>
                <a:gd name="connsiteY4" fmla="*/ 651063 h 761503"/>
                <a:gd name="connsiteX5" fmla="*/ 332864 w 435145"/>
                <a:gd name="connsiteY5" fmla="*/ 686418 h 761503"/>
                <a:gd name="connsiteX6" fmla="*/ 251274 w 435145"/>
                <a:gd name="connsiteY6" fmla="*/ 721774 h 761503"/>
                <a:gd name="connsiteX7" fmla="*/ 229517 w 435145"/>
                <a:gd name="connsiteY7" fmla="*/ 719054 h 761503"/>
                <a:gd name="connsiteX8" fmla="*/ 158806 w 435145"/>
                <a:gd name="connsiteY8" fmla="*/ 694578 h 761503"/>
                <a:gd name="connsiteX9" fmla="*/ 112571 w 435145"/>
                <a:gd name="connsiteY9" fmla="*/ 659222 h 761503"/>
                <a:gd name="connsiteX10" fmla="*/ 79936 w 435145"/>
                <a:gd name="connsiteY10" fmla="*/ 607548 h 761503"/>
                <a:gd name="connsiteX11" fmla="*/ 63618 w 435145"/>
                <a:gd name="connsiteY11" fmla="*/ 542277 h 761503"/>
                <a:gd name="connsiteX12" fmla="*/ 58178 w 435145"/>
                <a:gd name="connsiteY12" fmla="*/ 471566 h 761503"/>
                <a:gd name="connsiteX13" fmla="*/ 60898 w 435145"/>
                <a:gd name="connsiteY13" fmla="*/ 400855 h 761503"/>
                <a:gd name="connsiteX14" fmla="*/ 66337 w 435145"/>
                <a:gd name="connsiteY14" fmla="*/ 335583 h 761503"/>
                <a:gd name="connsiteX15" fmla="*/ 85375 w 435145"/>
                <a:gd name="connsiteY15" fmla="*/ 267592 h 761503"/>
                <a:gd name="connsiteX16" fmla="*/ 109852 w 435145"/>
                <a:gd name="connsiteY16" fmla="*/ 199600 h 761503"/>
                <a:gd name="connsiteX17" fmla="*/ 145207 w 435145"/>
                <a:gd name="connsiteY17" fmla="*/ 145207 h 761503"/>
                <a:gd name="connsiteX18" fmla="*/ 188722 w 435145"/>
                <a:gd name="connsiteY18" fmla="*/ 96253 h 761503"/>
                <a:gd name="connsiteX19" fmla="*/ 243115 w 435145"/>
                <a:gd name="connsiteY19" fmla="*/ 71776 h 761503"/>
                <a:gd name="connsiteX20" fmla="*/ 286630 w 435145"/>
                <a:gd name="connsiteY20" fmla="*/ 63617 h 761503"/>
                <a:gd name="connsiteX21" fmla="*/ 305667 w 435145"/>
                <a:gd name="connsiteY21" fmla="*/ 66337 h 761503"/>
                <a:gd name="connsiteX22" fmla="*/ 324705 w 435145"/>
                <a:gd name="connsiteY22" fmla="*/ 79936 h 761503"/>
                <a:gd name="connsiteX23" fmla="*/ 341023 w 435145"/>
                <a:gd name="connsiteY23" fmla="*/ 101693 h 761503"/>
                <a:gd name="connsiteX24" fmla="*/ 354621 w 435145"/>
                <a:gd name="connsiteY24" fmla="*/ 123450 h 761503"/>
                <a:gd name="connsiteX25" fmla="*/ 354621 w 435145"/>
                <a:gd name="connsiteY25" fmla="*/ 98973 h 761503"/>
                <a:gd name="connsiteX26" fmla="*/ 360060 w 435145"/>
                <a:gd name="connsiteY26" fmla="*/ 74496 h 761503"/>
                <a:gd name="connsiteX27" fmla="*/ 365500 w 435145"/>
                <a:gd name="connsiteY27" fmla="*/ 63617 h 761503"/>
                <a:gd name="connsiteX28" fmla="*/ 373659 w 435145"/>
                <a:gd name="connsiteY28" fmla="*/ 58178 h 761503"/>
                <a:gd name="connsiteX29" fmla="*/ 381818 w 435145"/>
                <a:gd name="connsiteY29" fmla="*/ 63617 h 761503"/>
                <a:gd name="connsiteX30" fmla="*/ 389977 w 435145"/>
                <a:gd name="connsiteY30" fmla="*/ 82655 h 761503"/>
                <a:gd name="connsiteX31" fmla="*/ 392696 w 435145"/>
                <a:gd name="connsiteY31" fmla="*/ 126170 h 761503"/>
                <a:gd name="connsiteX32" fmla="*/ 395416 w 435145"/>
                <a:gd name="connsiteY32" fmla="*/ 186002 h 761503"/>
                <a:gd name="connsiteX33" fmla="*/ 398136 w 435145"/>
                <a:gd name="connsiteY33" fmla="*/ 237675 h 761503"/>
                <a:gd name="connsiteX34" fmla="*/ 398136 w 435145"/>
                <a:gd name="connsiteY34" fmla="*/ 243115 h 761503"/>
                <a:gd name="connsiteX35" fmla="*/ 395416 w 435145"/>
                <a:gd name="connsiteY35" fmla="*/ 256713 h 761503"/>
                <a:gd name="connsiteX36" fmla="*/ 379098 w 435145"/>
                <a:gd name="connsiteY36" fmla="*/ 278470 h 761503"/>
                <a:gd name="connsiteX37" fmla="*/ 362780 w 435145"/>
                <a:gd name="connsiteY37" fmla="*/ 273031 h 761503"/>
                <a:gd name="connsiteX38" fmla="*/ 354621 w 435145"/>
                <a:gd name="connsiteY38" fmla="*/ 256713 h 761503"/>
                <a:gd name="connsiteX39" fmla="*/ 354621 w 435145"/>
                <a:gd name="connsiteY39" fmla="*/ 213198 h 761503"/>
                <a:gd name="connsiteX40" fmla="*/ 354621 w 435145"/>
                <a:gd name="connsiteY40" fmla="*/ 205040 h 761503"/>
                <a:gd name="connsiteX41" fmla="*/ 338303 w 435145"/>
                <a:gd name="connsiteY41" fmla="*/ 147927 h 761503"/>
                <a:gd name="connsiteX42" fmla="*/ 292069 w 435145"/>
                <a:gd name="connsiteY42" fmla="*/ 107132 h 761503"/>
                <a:gd name="connsiteX43" fmla="*/ 262153 w 435145"/>
                <a:gd name="connsiteY43" fmla="*/ 120730 h 761503"/>
                <a:gd name="connsiteX44" fmla="*/ 251274 w 435145"/>
                <a:gd name="connsiteY44" fmla="*/ 131609 h 761503"/>
                <a:gd name="connsiteX45" fmla="*/ 240395 w 435145"/>
                <a:gd name="connsiteY45" fmla="*/ 139768 h 761503"/>
                <a:gd name="connsiteX46" fmla="*/ 237676 w 435145"/>
                <a:gd name="connsiteY46" fmla="*/ 164245 h 761503"/>
                <a:gd name="connsiteX47" fmla="*/ 226797 w 435145"/>
                <a:gd name="connsiteY47" fmla="*/ 196881 h 761503"/>
                <a:gd name="connsiteX48" fmla="*/ 213199 w 435145"/>
                <a:gd name="connsiteY48" fmla="*/ 259433 h 761503"/>
                <a:gd name="connsiteX49" fmla="*/ 207759 w 435145"/>
                <a:gd name="connsiteY49" fmla="*/ 324704 h 761503"/>
                <a:gd name="connsiteX50" fmla="*/ 207759 w 435145"/>
                <a:gd name="connsiteY50" fmla="*/ 335583 h 761503"/>
                <a:gd name="connsiteX51" fmla="*/ 205040 w 435145"/>
                <a:gd name="connsiteY51" fmla="*/ 349181 h 761503"/>
                <a:gd name="connsiteX52" fmla="*/ 207759 w 435145"/>
                <a:gd name="connsiteY52" fmla="*/ 368219 h 761503"/>
                <a:gd name="connsiteX53" fmla="*/ 207759 w 435145"/>
                <a:gd name="connsiteY53" fmla="*/ 376378 h 761503"/>
                <a:gd name="connsiteX54" fmla="*/ 205040 w 435145"/>
                <a:gd name="connsiteY54" fmla="*/ 387256 h 761503"/>
                <a:gd name="connsiteX55" fmla="*/ 205040 w 435145"/>
                <a:gd name="connsiteY55" fmla="*/ 395415 h 761503"/>
                <a:gd name="connsiteX56" fmla="*/ 205040 w 435145"/>
                <a:gd name="connsiteY56" fmla="*/ 406294 h 761503"/>
                <a:gd name="connsiteX57" fmla="*/ 205040 w 435145"/>
                <a:gd name="connsiteY57" fmla="*/ 425332 h 761503"/>
                <a:gd name="connsiteX58" fmla="*/ 213199 w 435145"/>
                <a:gd name="connsiteY58" fmla="*/ 493323 h 761503"/>
                <a:gd name="connsiteX59" fmla="*/ 221358 w 435145"/>
                <a:gd name="connsiteY59" fmla="*/ 561314 h 761503"/>
                <a:gd name="connsiteX60" fmla="*/ 226797 w 435145"/>
                <a:gd name="connsiteY60" fmla="*/ 591231 h 761503"/>
                <a:gd name="connsiteX61" fmla="*/ 240395 w 435145"/>
                <a:gd name="connsiteY61" fmla="*/ 618427 h 761503"/>
                <a:gd name="connsiteX62" fmla="*/ 283910 w 435145"/>
                <a:gd name="connsiteY62" fmla="*/ 651063 h 761503"/>
                <a:gd name="connsiteX63" fmla="*/ 338303 w 435145"/>
                <a:gd name="connsiteY63" fmla="*/ 612988 h 761503"/>
                <a:gd name="connsiteX64" fmla="*/ 354621 w 435145"/>
                <a:gd name="connsiteY64" fmla="*/ 577632 h 761503"/>
                <a:gd name="connsiteX65" fmla="*/ 357341 w 435145"/>
                <a:gd name="connsiteY65" fmla="*/ 509641 h 761503"/>
                <a:gd name="connsiteX66" fmla="*/ 362780 w 435145"/>
                <a:gd name="connsiteY66" fmla="*/ 485164 h 761503"/>
                <a:gd name="connsiteX67" fmla="*/ 368219 w 435145"/>
                <a:gd name="connsiteY67" fmla="*/ 474286 h 761503"/>
                <a:gd name="connsiteX68" fmla="*/ 376378 w 435145"/>
                <a:gd name="connsiteY68" fmla="*/ 468846 h 761503"/>
                <a:gd name="connsiteX69" fmla="*/ 384537 w 435145"/>
                <a:gd name="connsiteY69" fmla="*/ 474286 h 761503"/>
                <a:gd name="connsiteX70" fmla="*/ 392696 w 435145"/>
                <a:gd name="connsiteY70" fmla="*/ 493323 h 761503"/>
                <a:gd name="connsiteX71" fmla="*/ 395416 w 435145"/>
                <a:gd name="connsiteY71" fmla="*/ 558595 h 761503"/>
                <a:gd name="connsiteX72" fmla="*/ 398136 w 435145"/>
                <a:gd name="connsiteY72" fmla="*/ 618427 h 761503"/>
                <a:gd name="connsiteX73" fmla="*/ 400855 w 435145"/>
                <a:gd name="connsiteY73" fmla="*/ 678260 h 761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</a:cxnLst>
              <a:rect l="l" t="t" r="r" b="b"/>
              <a:pathLst>
                <a:path w="435145" h="761503">
                  <a:moveTo>
                    <a:pt x="400855" y="678260"/>
                  </a:moveTo>
                  <a:cubicBezTo>
                    <a:pt x="400855" y="689138"/>
                    <a:pt x="400855" y="719054"/>
                    <a:pt x="384537" y="719054"/>
                  </a:cubicBezTo>
                  <a:cubicBezTo>
                    <a:pt x="376378" y="719054"/>
                    <a:pt x="373659" y="716335"/>
                    <a:pt x="368219" y="713615"/>
                  </a:cubicBezTo>
                  <a:cubicBezTo>
                    <a:pt x="362780" y="710895"/>
                    <a:pt x="360060" y="702736"/>
                    <a:pt x="360060" y="697297"/>
                  </a:cubicBezTo>
                  <a:cubicBezTo>
                    <a:pt x="357341" y="680979"/>
                    <a:pt x="357341" y="664661"/>
                    <a:pt x="360060" y="651063"/>
                  </a:cubicBezTo>
                  <a:cubicBezTo>
                    <a:pt x="354621" y="659222"/>
                    <a:pt x="341023" y="678260"/>
                    <a:pt x="332864" y="686418"/>
                  </a:cubicBezTo>
                  <a:cubicBezTo>
                    <a:pt x="311107" y="708176"/>
                    <a:pt x="283910" y="721774"/>
                    <a:pt x="251274" y="721774"/>
                  </a:cubicBezTo>
                  <a:cubicBezTo>
                    <a:pt x="243115" y="721774"/>
                    <a:pt x="237676" y="721774"/>
                    <a:pt x="229517" y="719054"/>
                  </a:cubicBezTo>
                  <a:cubicBezTo>
                    <a:pt x="207759" y="716335"/>
                    <a:pt x="183283" y="708176"/>
                    <a:pt x="158806" y="694578"/>
                  </a:cubicBezTo>
                  <a:cubicBezTo>
                    <a:pt x="142488" y="686418"/>
                    <a:pt x="126170" y="672820"/>
                    <a:pt x="112571" y="659222"/>
                  </a:cubicBezTo>
                  <a:cubicBezTo>
                    <a:pt x="98973" y="642904"/>
                    <a:pt x="88095" y="626586"/>
                    <a:pt x="79936" y="607548"/>
                  </a:cubicBezTo>
                  <a:cubicBezTo>
                    <a:pt x="71777" y="585791"/>
                    <a:pt x="66337" y="566754"/>
                    <a:pt x="63618" y="542277"/>
                  </a:cubicBezTo>
                  <a:cubicBezTo>
                    <a:pt x="60898" y="517800"/>
                    <a:pt x="58178" y="493323"/>
                    <a:pt x="58178" y="471566"/>
                  </a:cubicBezTo>
                  <a:cubicBezTo>
                    <a:pt x="58178" y="447089"/>
                    <a:pt x="58178" y="425332"/>
                    <a:pt x="60898" y="400855"/>
                  </a:cubicBezTo>
                  <a:cubicBezTo>
                    <a:pt x="63618" y="379098"/>
                    <a:pt x="60898" y="357340"/>
                    <a:pt x="66337" y="335583"/>
                  </a:cubicBezTo>
                  <a:cubicBezTo>
                    <a:pt x="69057" y="313826"/>
                    <a:pt x="77216" y="289349"/>
                    <a:pt x="85375" y="267592"/>
                  </a:cubicBezTo>
                  <a:cubicBezTo>
                    <a:pt x="93534" y="243115"/>
                    <a:pt x="98973" y="221357"/>
                    <a:pt x="109852" y="199600"/>
                  </a:cubicBezTo>
                  <a:cubicBezTo>
                    <a:pt x="118011" y="177843"/>
                    <a:pt x="131609" y="161525"/>
                    <a:pt x="145207" y="145207"/>
                  </a:cubicBezTo>
                  <a:cubicBezTo>
                    <a:pt x="158806" y="128889"/>
                    <a:pt x="172404" y="109852"/>
                    <a:pt x="188722" y="96253"/>
                  </a:cubicBezTo>
                  <a:cubicBezTo>
                    <a:pt x="205040" y="82655"/>
                    <a:pt x="224077" y="77216"/>
                    <a:pt x="243115" y="71776"/>
                  </a:cubicBezTo>
                  <a:cubicBezTo>
                    <a:pt x="256713" y="69057"/>
                    <a:pt x="273031" y="63617"/>
                    <a:pt x="286630" y="63617"/>
                  </a:cubicBezTo>
                  <a:cubicBezTo>
                    <a:pt x="292069" y="63617"/>
                    <a:pt x="297508" y="63617"/>
                    <a:pt x="305667" y="66337"/>
                  </a:cubicBezTo>
                  <a:cubicBezTo>
                    <a:pt x="313826" y="69057"/>
                    <a:pt x="319266" y="74496"/>
                    <a:pt x="324705" y="79936"/>
                  </a:cubicBezTo>
                  <a:cubicBezTo>
                    <a:pt x="332864" y="85375"/>
                    <a:pt x="332864" y="93534"/>
                    <a:pt x="341023" y="101693"/>
                  </a:cubicBezTo>
                  <a:cubicBezTo>
                    <a:pt x="346462" y="107132"/>
                    <a:pt x="349182" y="118011"/>
                    <a:pt x="354621" y="123450"/>
                  </a:cubicBezTo>
                  <a:cubicBezTo>
                    <a:pt x="354621" y="115291"/>
                    <a:pt x="354621" y="101693"/>
                    <a:pt x="354621" y="98973"/>
                  </a:cubicBezTo>
                  <a:cubicBezTo>
                    <a:pt x="354621" y="90814"/>
                    <a:pt x="354621" y="79936"/>
                    <a:pt x="360060" y="74496"/>
                  </a:cubicBezTo>
                  <a:cubicBezTo>
                    <a:pt x="362780" y="71776"/>
                    <a:pt x="362780" y="69057"/>
                    <a:pt x="365500" y="63617"/>
                  </a:cubicBezTo>
                  <a:cubicBezTo>
                    <a:pt x="368219" y="60898"/>
                    <a:pt x="370939" y="58178"/>
                    <a:pt x="373659" y="58178"/>
                  </a:cubicBezTo>
                  <a:cubicBezTo>
                    <a:pt x="376378" y="58178"/>
                    <a:pt x="379098" y="60898"/>
                    <a:pt x="381818" y="63617"/>
                  </a:cubicBezTo>
                  <a:cubicBezTo>
                    <a:pt x="384537" y="69057"/>
                    <a:pt x="387257" y="77216"/>
                    <a:pt x="389977" y="82655"/>
                  </a:cubicBezTo>
                  <a:cubicBezTo>
                    <a:pt x="389977" y="90814"/>
                    <a:pt x="392696" y="107132"/>
                    <a:pt x="392696" y="126170"/>
                  </a:cubicBezTo>
                  <a:cubicBezTo>
                    <a:pt x="392696" y="150647"/>
                    <a:pt x="392696" y="177843"/>
                    <a:pt x="395416" y="186002"/>
                  </a:cubicBezTo>
                  <a:cubicBezTo>
                    <a:pt x="398136" y="205040"/>
                    <a:pt x="398136" y="215918"/>
                    <a:pt x="398136" y="237675"/>
                  </a:cubicBezTo>
                  <a:cubicBezTo>
                    <a:pt x="398136" y="240395"/>
                    <a:pt x="398136" y="243115"/>
                    <a:pt x="398136" y="243115"/>
                  </a:cubicBezTo>
                  <a:cubicBezTo>
                    <a:pt x="398136" y="248554"/>
                    <a:pt x="398136" y="251274"/>
                    <a:pt x="395416" y="256713"/>
                  </a:cubicBezTo>
                  <a:cubicBezTo>
                    <a:pt x="392696" y="267592"/>
                    <a:pt x="389977" y="278470"/>
                    <a:pt x="379098" y="278470"/>
                  </a:cubicBezTo>
                  <a:cubicBezTo>
                    <a:pt x="370939" y="278470"/>
                    <a:pt x="368219" y="275751"/>
                    <a:pt x="362780" y="273031"/>
                  </a:cubicBezTo>
                  <a:cubicBezTo>
                    <a:pt x="357341" y="270311"/>
                    <a:pt x="354621" y="262152"/>
                    <a:pt x="354621" y="256713"/>
                  </a:cubicBezTo>
                  <a:cubicBezTo>
                    <a:pt x="349182" y="237675"/>
                    <a:pt x="354621" y="232236"/>
                    <a:pt x="354621" y="213198"/>
                  </a:cubicBezTo>
                  <a:cubicBezTo>
                    <a:pt x="354621" y="210479"/>
                    <a:pt x="354621" y="207759"/>
                    <a:pt x="354621" y="205040"/>
                  </a:cubicBezTo>
                  <a:cubicBezTo>
                    <a:pt x="349182" y="186002"/>
                    <a:pt x="343742" y="169684"/>
                    <a:pt x="338303" y="147927"/>
                  </a:cubicBezTo>
                  <a:cubicBezTo>
                    <a:pt x="332864" y="131609"/>
                    <a:pt x="311107" y="107132"/>
                    <a:pt x="292069" y="107132"/>
                  </a:cubicBezTo>
                  <a:cubicBezTo>
                    <a:pt x="281190" y="107132"/>
                    <a:pt x="270312" y="115291"/>
                    <a:pt x="262153" y="120730"/>
                  </a:cubicBezTo>
                  <a:cubicBezTo>
                    <a:pt x="259433" y="123450"/>
                    <a:pt x="256713" y="126170"/>
                    <a:pt x="251274" y="131609"/>
                  </a:cubicBezTo>
                  <a:cubicBezTo>
                    <a:pt x="248554" y="134329"/>
                    <a:pt x="243115" y="137048"/>
                    <a:pt x="240395" y="139768"/>
                  </a:cubicBezTo>
                  <a:cubicBezTo>
                    <a:pt x="237676" y="145207"/>
                    <a:pt x="240395" y="156086"/>
                    <a:pt x="237676" y="164245"/>
                  </a:cubicBezTo>
                  <a:cubicBezTo>
                    <a:pt x="232236" y="175123"/>
                    <a:pt x="229517" y="186002"/>
                    <a:pt x="226797" y="196881"/>
                  </a:cubicBezTo>
                  <a:cubicBezTo>
                    <a:pt x="221358" y="218638"/>
                    <a:pt x="218638" y="237675"/>
                    <a:pt x="213199" y="259433"/>
                  </a:cubicBezTo>
                  <a:cubicBezTo>
                    <a:pt x="210479" y="281190"/>
                    <a:pt x="207759" y="302947"/>
                    <a:pt x="207759" y="324704"/>
                  </a:cubicBezTo>
                  <a:cubicBezTo>
                    <a:pt x="207759" y="327424"/>
                    <a:pt x="207759" y="332863"/>
                    <a:pt x="207759" y="335583"/>
                  </a:cubicBezTo>
                  <a:cubicBezTo>
                    <a:pt x="207759" y="341022"/>
                    <a:pt x="205040" y="343742"/>
                    <a:pt x="205040" y="349181"/>
                  </a:cubicBezTo>
                  <a:cubicBezTo>
                    <a:pt x="205040" y="354621"/>
                    <a:pt x="207759" y="362779"/>
                    <a:pt x="207759" y="368219"/>
                  </a:cubicBezTo>
                  <a:cubicBezTo>
                    <a:pt x="207759" y="370939"/>
                    <a:pt x="207759" y="373658"/>
                    <a:pt x="207759" y="376378"/>
                  </a:cubicBezTo>
                  <a:cubicBezTo>
                    <a:pt x="205040" y="381817"/>
                    <a:pt x="205040" y="384537"/>
                    <a:pt x="205040" y="387256"/>
                  </a:cubicBezTo>
                  <a:cubicBezTo>
                    <a:pt x="205040" y="389976"/>
                    <a:pt x="205040" y="392696"/>
                    <a:pt x="205040" y="395415"/>
                  </a:cubicBezTo>
                  <a:cubicBezTo>
                    <a:pt x="205040" y="398135"/>
                    <a:pt x="205040" y="403574"/>
                    <a:pt x="205040" y="406294"/>
                  </a:cubicBezTo>
                  <a:cubicBezTo>
                    <a:pt x="205040" y="411733"/>
                    <a:pt x="205040" y="417173"/>
                    <a:pt x="205040" y="425332"/>
                  </a:cubicBezTo>
                  <a:cubicBezTo>
                    <a:pt x="205040" y="449809"/>
                    <a:pt x="213199" y="471566"/>
                    <a:pt x="213199" y="493323"/>
                  </a:cubicBezTo>
                  <a:cubicBezTo>
                    <a:pt x="213199" y="517800"/>
                    <a:pt x="215919" y="539557"/>
                    <a:pt x="221358" y="561314"/>
                  </a:cubicBezTo>
                  <a:cubicBezTo>
                    <a:pt x="224077" y="572193"/>
                    <a:pt x="224077" y="580352"/>
                    <a:pt x="226797" y="591231"/>
                  </a:cubicBezTo>
                  <a:cubicBezTo>
                    <a:pt x="229517" y="599390"/>
                    <a:pt x="237676" y="607548"/>
                    <a:pt x="240395" y="618427"/>
                  </a:cubicBezTo>
                  <a:cubicBezTo>
                    <a:pt x="248554" y="637465"/>
                    <a:pt x="262153" y="651063"/>
                    <a:pt x="283910" y="651063"/>
                  </a:cubicBezTo>
                  <a:cubicBezTo>
                    <a:pt x="302948" y="651063"/>
                    <a:pt x="330144" y="629306"/>
                    <a:pt x="338303" y="612988"/>
                  </a:cubicBezTo>
                  <a:cubicBezTo>
                    <a:pt x="346462" y="599390"/>
                    <a:pt x="351901" y="591231"/>
                    <a:pt x="354621" y="577632"/>
                  </a:cubicBezTo>
                  <a:cubicBezTo>
                    <a:pt x="354621" y="550436"/>
                    <a:pt x="354621" y="517800"/>
                    <a:pt x="357341" y="509641"/>
                  </a:cubicBezTo>
                  <a:cubicBezTo>
                    <a:pt x="357341" y="501482"/>
                    <a:pt x="357341" y="490603"/>
                    <a:pt x="362780" y="485164"/>
                  </a:cubicBezTo>
                  <a:cubicBezTo>
                    <a:pt x="365500" y="482444"/>
                    <a:pt x="365500" y="479725"/>
                    <a:pt x="368219" y="474286"/>
                  </a:cubicBezTo>
                  <a:cubicBezTo>
                    <a:pt x="370939" y="471566"/>
                    <a:pt x="373659" y="468846"/>
                    <a:pt x="376378" y="468846"/>
                  </a:cubicBezTo>
                  <a:cubicBezTo>
                    <a:pt x="379098" y="468846"/>
                    <a:pt x="381818" y="471566"/>
                    <a:pt x="384537" y="474286"/>
                  </a:cubicBezTo>
                  <a:cubicBezTo>
                    <a:pt x="387257" y="479725"/>
                    <a:pt x="389977" y="487884"/>
                    <a:pt x="392696" y="493323"/>
                  </a:cubicBezTo>
                  <a:cubicBezTo>
                    <a:pt x="392696" y="501482"/>
                    <a:pt x="395416" y="539557"/>
                    <a:pt x="395416" y="558595"/>
                  </a:cubicBezTo>
                  <a:cubicBezTo>
                    <a:pt x="395416" y="583072"/>
                    <a:pt x="395416" y="610268"/>
                    <a:pt x="398136" y="618427"/>
                  </a:cubicBezTo>
                  <a:cubicBezTo>
                    <a:pt x="398136" y="648343"/>
                    <a:pt x="400855" y="659222"/>
                    <a:pt x="400855" y="678260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6" name="Freeform: Shape 35">
              <a:extLst>
                <a:ext uri="{FF2B5EF4-FFF2-40B4-BE49-F238E27FC236}">
                  <a16:creationId xmlns:a16="http://schemas.microsoft.com/office/drawing/2014/main" id="{71747A0A-4A0D-474C-A3A8-8C14A8B72D4D}"/>
                </a:ext>
              </a:extLst>
            </p:cNvPr>
            <p:cNvSpPr/>
            <p:nvPr/>
          </p:nvSpPr>
          <p:spPr bwMode="black">
            <a:xfrm>
              <a:off x="3829459" y="4200317"/>
              <a:ext cx="598325" cy="761503"/>
            </a:xfrm>
            <a:custGeom>
              <a:avLst/>
              <a:gdLst>
                <a:gd name="connsiteX0" fmla="*/ 360060 w 598324"/>
                <a:gd name="connsiteY0" fmla="*/ 332863 h 761503"/>
                <a:gd name="connsiteX1" fmla="*/ 341023 w 598324"/>
                <a:gd name="connsiteY1" fmla="*/ 370939 h 761503"/>
                <a:gd name="connsiteX2" fmla="*/ 376378 w 598324"/>
                <a:gd name="connsiteY2" fmla="*/ 389976 h 761503"/>
                <a:gd name="connsiteX3" fmla="*/ 425332 w 598324"/>
                <a:gd name="connsiteY3" fmla="*/ 433491 h 761503"/>
                <a:gd name="connsiteX4" fmla="*/ 438930 w 598324"/>
                <a:gd name="connsiteY4" fmla="*/ 463407 h 761503"/>
                <a:gd name="connsiteX5" fmla="*/ 449809 w 598324"/>
                <a:gd name="connsiteY5" fmla="*/ 498762 h 761503"/>
                <a:gd name="connsiteX6" fmla="*/ 457968 w 598324"/>
                <a:gd name="connsiteY6" fmla="*/ 528679 h 761503"/>
                <a:gd name="connsiteX7" fmla="*/ 466127 w 598324"/>
                <a:gd name="connsiteY7" fmla="*/ 564034 h 761503"/>
                <a:gd name="connsiteX8" fmla="*/ 471566 w 598324"/>
                <a:gd name="connsiteY8" fmla="*/ 593950 h 761503"/>
                <a:gd name="connsiteX9" fmla="*/ 479725 w 598324"/>
                <a:gd name="connsiteY9" fmla="*/ 607548 h 761503"/>
                <a:gd name="connsiteX10" fmla="*/ 487884 w 598324"/>
                <a:gd name="connsiteY10" fmla="*/ 623867 h 761503"/>
                <a:gd name="connsiteX11" fmla="*/ 501482 w 598324"/>
                <a:gd name="connsiteY11" fmla="*/ 651063 h 761503"/>
                <a:gd name="connsiteX12" fmla="*/ 523240 w 598324"/>
                <a:gd name="connsiteY12" fmla="*/ 670101 h 761503"/>
                <a:gd name="connsiteX13" fmla="*/ 534119 w 598324"/>
                <a:gd name="connsiteY13" fmla="*/ 686418 h 761503"/>
                <a:gd name="connsiteX14" fmla="*/ 531399 w 598324"/>
                <a:gd name="connsiteY14" fmla="*/ 694578 h 761503"/>
                <a:gd name="connsiteX15" fmla="*/ 498763 w 598324"/>
                <a:gd name="connsiteY15" fmla="*/ 708176 h 761503"/>
                <a:gd name="connsiteX16" fmla="*/ 449809 w 598324"/>
                <a:gd name="connsiteY16" fmla="*/ 700017 h 761503"/>
                <a:gd name="connsiteX17" fmla="*/ 400855 w 598324"/>
                <a:gd name="connsiteY17" fmla="*/ 667381 h 761503"/>
                <a:gd name="connsiteX18" fmla="*/ 381817 w 598324"/>
                <a:gd name="connsiteY18" fmla="*/ 642904 h 761503"/>
                <a:gd name="connsiteX19" fmla="*/ 368219 w 598324"/>
                <a:gd name="connsiteY19" fmla="*/ 610268 h 761503"/>
                <a:gd name="connsiteX20" fmla="*/ 349182 w 598324"/>
                <a:gd name="connsiteY20" fmla="*/ 550436 h 761503"/>
                <a:gd name="connsiteX21" fmla="*/ 338303 w 598324"/>
                <a:gd name="connsiteY21" fmla="*/ 504202 h 761503"/>
                <a:gd name="connsiteX22" fmla="*/ 330144 w 598324"/>
                <a:gd name="connsiteY22" fmla="*/ 477005 h 761503"/>
                <a:gd name="connsiteX23" fmla="*/ 321985 w 598324"/>
                <a:gd name="connsiteY23" fmla="*/ 455248 h 761503"/>
                <a:gd name="connsiteX24" fmla="*/ 305667 w 598324"/>
                <a:gd name="connsiteY24" fmla="*/ 436210 h 761503"/>
                <a:gd name="connsiteX25" fmla="*/ 294788 w 598324"/>
                <a:gd name="connsiteY25" fmla="*/ 441650 h 761503"/>
                <a:gd name="connsiteX26" fmla="*/ 278471 w 598324"/>
                <a:gd name="connsiteY26" fmla="*/ 463407 h 761503"/>
                <a:gd name="connsiteX27" fmla="*/ 264872 w 598324"/>
                <a:gd name="connsiteY27" fmla="*/ 496043 h 761503"/>
                <a:gd name="connsiteX28" fmla="*/ 262153 w 598324"/>
                <a:gd name="connsiteY28" fmla="*/ 517800 h 761503"/>
                <a:gd name="connsiteX29" fmla="*/ 262153 w 598324"/>
                <a:gd name="connsiteY29" fmla="*/ 523239 h 761503"/>
                <a:gd name="connsiteX30" fmla="*/ 262153 w 598324"/>
                <a:gd name="connsiteY30" fmla="*/ 553155 h 761503"/>
                <a:gd name="connsiteX31" fmla="*/ 262153 w 598324"/>
                <a:gd name="connsiteY31" fmla="*/ 629306 h 761503"/>
                <a:gd name="connsiteX32" fmla="*/ 259433 w 598324"/>
                <a:gd name="connsiteY32" fmla="*/ 659222 h 761503"/>
                <a:gd name="connsiteX33" fmla="*/ 283910 w 598324"/>
                <a:gd name="connsiteY33" fmla="*/ 659222 h 761503"/>
                <a:gd name="connsiteX34" fmla="*/ 321985 w 598324"/>
                <a:gd name="connsiteY34" fmla="*/ 675540 h 761503"/>
                <a:gd name="connsiteX35" fmla="*/ 316546 w 598324"/>
                <a:gd name="connsiteY35" fmla="*/ 691858 h 761503"/>
                <a:gd name="connsiteX36" fmla="*/ 300228 w 598324"/>
                <a:gd name="connsiteY36" fmla="*/ 700017 h 761503"/>
                <a:gd name="connsiteX37" fmla="*/ 278471 w 598324"/>
                <a:gd name="connsiteY37" fmla="*/ 702736 h 761503"/>
                <a:gd name="connsiteX38" fmla="*/ 243115 w 598324"/>
                <a:gd name="connsiteY38" fmla="*/ 702736 h 761503"/>
                <a:gd name="connsiteX39" fmla="*/ 221358 w 598324"/>
                <a:gd name="connsiteY39" fmla="*/ 710895 h 761503"/>
                <a:gd name="connsiteX40" fmla="*/ 194161 w 598324"/>
                <a:gd name="connsiteY40" fmla="*/ 702736 h 761503"/>
                <a:gd name="connsiteX41" fmla="*/ 177843 w 598324"/>
                <a:gd name="connsiteY41" fmla="*/ 702736 h 761503"/>
                <a:gd name="connsiteX42" fmla="*/ 126170 w 598324"/>
                <a:gd name="connsiteY42" fmla="*/ 702736 h 761503"/>
                <a:gd name="connsiteX43" fmla="*/ 101693 w 598324"/>
                <a:gd name="connsiteY43" fmla="*/ 702736 h 761503"/>
                <a:gd name="connsiteX44" fmla="*/ 74496 w 598324"/>
                <a:gd name="connsiteY44" fmla="*/ 697297 h 761503"/>
                <a:gd name="connsiteX45" fmla="*/ 58178 w 598324"/>
                <a:gd name="connsiteY45" fmla="*/ 680979 h 761503"/>
                <a:gd name="connsiteX46" fmla="*/ 63617 w 598324"/>
                <a:gd name="connsiteY46" fmla="*/ 672820 h 761503"/>
                <a:gd name="connsiteX47" fmla="*/ 85375 w 598324"/>
                <a:gd name="connsiteY47" fmla="*/ 664661 h 761503"/>
                <a:gd name="connsiteX48" fmla="*/ 128889 w 598324"/>
                <a:gd name="connsiteY48" fmla="*/ 659222 h 761503"/>
                <a:gd name="connsiteX49" fmla="*/ 147927 w 598324"/>
                <a:gd name="connsiteY49" fmla="*/ 659222 h 761503"/>
                <a:gd name="connsiteX50" fmla="*/ 145207 w 598324"/>
                <a:gd name="connsiteY50" fmla="*/ 653783 h 761503"/>
                <a:gd name="connsiteX51" fmla="*/ 131609 w 598324"/>
                <a:gd name="connsiteY51" fmla="*/ 585791 h 761503"/>
                <a:gd name="connsiteX52" fmla="*/ 134329 w 598324"/>
                <a:gd name="connsiteY52" fmla="*/ 498762 h 761503"/>
                <a:gd name="connsiteX53" fmla="*/ 137048 w 598324"/>
                <a:gd name="connsiteY53" fmla="*/ 406294 h 761503"/>
                <a:gd name="connsiteX54" fmla="*/ 134329 w 598324"/>
                <a:gd name="connsiteY54" fmla="*/ 327424 h 761503"/>
                <a:gd name="connsiteX55" fmla="*/ 137048 w 598324"/>
                <a:gd name="connsiteY55" fmla="*/ 253993 h 761503"/>
                <a:gd name="connsiteX56" fmla="*/ 139768 w 598324"/>
                <a:gd name="connsiteY56" fmla="*/ 207759 h 761503"/>
                <a:gd name="connsiteX57" fmla="*/ 137048 w 598324"/>
                <a:gd name="connsiteY57" fmla="*/ 172404 h 761503"/>
                <a:gd name="connsiteX58" fmla="*/ 137048 w 598324"/>
                <a:gd name="connsiteY58" fmla="*/ 112571 h 761503"/>
                <a:gd name="connsiteX59" fmla="*/ 126170 w 598324"/>
                <a:gd name="connsiteY59" fmla="*/ 112571 h 761503"/>
                <a:gd name="connsiteX60" fmla="*/ 101693 w 598324"/>
                <a:gd name="connsiteY60" fmla="*/ 112571 h 761503"/>
                <a:gd name="connsiteX61" fmla="*/ 74496 w 598324"/>
                <a:gd name="connsiteY61" fmla="*/ 107132 h 761503"/>
                <a:gd name="connsiteX62" fmla="*/ 58178 w 598324"/>
                <a:gd name="connsiteY62" fmla="*/ 90814 h 761503"/>
                <a:gd name="connsiteX63" fmla="*/ 63617 w 598324"/>
                <a:gd name="connsiteY63" fmla="*/ 82655 h 761503"/>
                <a:gd name="connsiteX64" fmla="*/ 85375 w 598324"/>
                <a:gd name="connsiteY64" fmla="*/ 74496 h 761503"/>
                <a:gd name="connsiteX65" fmla="*/ 137048 w 598324"/>
                <a:gd name="connsiteY65" fmla="*/ 69057 h 761503"/>
                <a:gd name="connsiteX66" fmla="*/ 145207 w 598324"/>
                <a:gd name="connsiteY66" fmla="*/ 69057 h 761503"/>
                <a:gd name="connsiteX67" fmla="*/ 169684 w 598324"/>
                <a:gd name="connsiteY67" fmla="*/ 58178 h 761503"/>
                <a:gd name="connsiteX68" fmla="*/ 177843 w 598324"/>
                <a:gd name="connsiteY68" fmla="*/ 58178 h 761503"/>
                <a:gd name="connsiteX69" fmla="*/ 205040 w 598324"/>
                <a:gd name="connsiteY69" fmla="*/ 66337 h 761503"/>
                <a:gd name="connsiteX70" fmla="*/ 286629 w 598324"/>
                <a:gd name="connsiteY70" fmla="*/ 63617 h 761503"/>
                <a:gd name="connsiteX71" fmla="*/ 324705 w 598324"/>
                <a:gd name="connsiteY71" fmla="*/ 79936 h 761503"/>
                <a:gd name="connsiteX72" fmla="*/ 319265 w 598324"/>
                <a:gd name="connsiteY72" fmla="*/ 96253 h 761503"/>
                <a:gd name="connsiteX73" fmla="*/ 302948 w 598324"/>
                <a:gd name="connsiteY73" fmla="*/ 104412 h 761503"/>
                <a:gd name="connsiteX74" fmla="*/ 278471 w 598324"/>
                <a:gd name="connsiteY74" fmla="*/ 112571 h 761503"/>
                <a:gd name="connsiteX75" fmla="*/ 232236 w 598324"/>
                <a:gd name="connsiteY75" fmla="*/ 112571 h 761503"/>
                <a:gd name="connsiteX76" fmla="*/ 240395 w 598324"/>
                <a:gd name="connsiteY76" fmla="*/ 137048 h 761503"/>
                <a:gd name="connsiteX77" fmla="*/ 240395 w 598324"/>
                <a:gd name="connsiteY77" fmla="*/ 150647 h 761503"/>
                <a:gd name="connsiteX78" fmla="*/ 243115 w 598324"/>
                <a:gd name="connsiteY78" fmla="*/ 158805 h 761503"/>
                <a:gd name="connsiteX79" fmla="*/ 248554 w 598324"/>
                <a:gd name="connsiteY79" fmla="*/ 188722 h 761503"/>
                <a:gd name="connsiteX80" fmla="*/ 248554 w 598324"/>
                <a:gd name="connsiteY80" fmla="*/ 199600 h 761503"/>
                <a:gd name="connsiteX81" fmla="*/ 248554 w 598324"/>
                <a:gd name="connsiteY81" fmla="*/ 221357 h 761503"/>
                <a:gd name="connsiteX82" fmla="*/ 253994 w 598324"/>
                <a:gd name="connsiteY82" fmla="*/ 264872 h 761503"/>
                <a:gd name="connsiteX83" fmla="*/ 262153 w 598324"/>
                <a:gd name="connsiteY83" fmla="*/ 297508 h 761503"/>
                <a:gd name="connsiteX84" fmla="*/ 264872 w 598324"/>
                <a:gd name="connsiteY84" fmla="*/ 324704 h 761503"/>
                <a:gd name="connsiteX85" fmla="*/ 264872 w 598324"/>
                <a:gd name="connsiteY85" fmla="*/ 332863 h 761503"/>
                <a:gd name="connsiteX86" fmla="*/ 264872 w 598324"/>
                <a:gd name="connsiteY86" fmla="*/ 351901 h 761503"/>
                <a:gd name="connsiteX87" fmla="*/ 262153 w 598324"/>
                <a:gd name="connsiteY87" fmla="*/ 370939 h 761503"/>
                <a:gd name="connsiteX88" fmla="*/ 267592 w 598324"/>
                <a:gd name="connsiteY88" fmla="*/ 384537 h 761503"/>
                <a:gd name="connsiteX89" fmla="*/ 278471 w 598324"/>
                <a:gd name="connsiteY89" fmla="*/ 370939 h 761503"/>
                <a:gd name="connsiteX90" fmla="*/ 297508 w 598324"/>
                <a:gd name="connsiteY90" fmla="*/ 332863 h 761503"/>
                <a:gd name="connsiteX91" fmla="*/ 311106 w 598324"/>
                <a:gd name="connsiteY91" fmla="*/ 305667 h 761503"/>
                <a:gd name="connsiteX92" fmla="*/ 335583 w 598324"/>
                <a:gd name="connsiteY92" fmla="*/ 259433 h 761503"/>
                <a:gd name="connsiteX93" fmla="*/ 354621 w 598324"/>
                <a:gd name="connsiteY93" fmla="*/ 224077 h 761503"/>
                <a:gd name="connsiteX94" fmla="*/ 381817 w 598324"/>
                <a:gd name="connsiteY94" fmla="*/ 172404 h 761503"/>
                <a:gd name="connsiteX95" fmla="*/ 409014 w 598324"/>
                <a:gd name="connsiteY95" fmla="*/ 118011 h 761503"/>
                <a:gd name="connsiteX96" fmla="*/ 411734 w 598324"/>
                <a:gd name="connsiteY96" fmla="*/ 115291 h 761503"/>
                <a:gd name="connsiteX97" fmla="*/ 398136 w 598324"/>
                <a:gd name="connsiteY97" fmla="*/ 115291 h 761503"/>
                <a:gd name="connsiteX98" fmla="*/ 379098 w 598324"/>
                <a:gd name="connsiteY98" fmla="*/ 109852 h 761503"/>
                <a:gd name="connsiteX99" fmla="*/ 368219 w 598324"/>
                <a:gd name="connsiteY99" fmla="*/ 93534 h 761503"/>
                <a:gd name="connsiteX100" fmla="*/ 370939 w 598324"/>
                <a:gd name="connsiteY100" fmla="*/ 85375 h 761503"/>
                <a:gd name="connsiteX101" fmla="*/ 387257 w 598324"/>
                <a:gd name="connsiteY101" fmla="*/ 77216 h 761503"/>
                <a:gd name="connsiteX102" fmla="*/ 422612 w 598324"/>
                <a:gd name="connsiteY102" fmla="*/ 71776 h 761503"/>
                <a:gd name="connsiteX103" fmla="*/ 436211 w 598324"/>
                <a:gd name="connsiteY103" fmla="*/ 71776 h 761503"/>
                <a:gd name="connsiteX104" fmla="*/ 438930 w 598324"/>
                <a:gd name="connsiteY104" fmla="*/ 69057 h 761503"/>
                <a:gd name="connsiteX105" fmla="*/ 452529 w 598324"/>
                <a:gd name="connsiteY105" fmla="*/ 66337 h 761503"/>
                <a:gd name="connsiteX106" fmla="*/ 466127 w 598324"/>
                <a:gd name="connsiteY106" fmla="*/ 69057 h 761503"/>
                <a:gd name="connsiteX107" fmla="*/ 471566 w 598324"/>
                <a:gd name="connsiteY107" fmla="*/ 71776 h 761503"/>
                <a:gd name="connsiteX108" fmla="*/ 515081 w 598324"/>
                <a:gd name="connsiteY108" fmla="*/ 71776 h 761503"/>
                <a:gd name="connsiteX109" fmla="*/ 542277 w 598324"/>
                <a:gd name="connsiteY109" fmla="*/ 88094 h 761503"/>
                <a:gd name="connsiteX110" fmla="*/ 536838 w 598324"/>
                <a:gd name="connsiteY110" fmla="*/ 104412 h 761503"/>
                <a:gd name="connsiteX111" fmla="*/ 525959 w 598324"/>
                <a:gd name="connsiteY111" fmla="*/ 112571 h 761503"/>
                <a:gd name="connsiteX112" fmla="*/ 509642 w 598324"/>
                <a:gd name="connsiteY112" fmla="*/ 115291 h 761503"/>
                <a:gd name="connsiteX113" fmla="*/ 468847 w 598324"/>
                <a:gd name="connsiteY113" fmla="*/ 115291 h 761503"/>
                <a:gd name="connsiteX114" fmla="*/ 457968 w 598324"/>
                <a:gd name="connsiteY114" fmla="*/ 137048 h 761503"/>
                <a:gd name="connsiteX115" fmla="*/ 430771 w 598324"/>
                <a:gd name="connsiteY115" fmla="*/ 194161 h 761503"/>
                <a:gd name="connsiteX116" fmla="*/ 400855 w 598324"/>
                <a:gd name="connsiteY116" fmla="*/ 262152 h 761503"/>
                <a:gd name="connsiteX117" fmla="*/ 360060 w 598324"/>
                <a:gd name="connsiteY117" fmla="*/ 332863 h 761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</a:cxnLst>
              <a:rect l="l" t="t" r="r" b="b"/>
              <a:pathLst>
                <a:path w="598324" h="761503">
                  <a:moveTo>
                    <a:pt x="360060" y="332863"/>
                  </a:moveTo>
                  <a:cubicBezTo>
                    <a:pt x="351901" y="343742"/>
                    <a:pt x="341023" y="357340"/>
                    <a:pt x="341023" y="370939"/>
                  </a:cubicBezTo>
                  <a:cubicBezTo>
                    <a:pt x="341023" y="379098"/>
                    <a:pt x="357341" y="381817"/>
                    <a:pt x="376378" y="389976"/>
                  </a:cubicBezTo>
                  <a:cubicBezTo>
                    <a:pt x="395416" y="398135"/>
                    <a:pt x="417173" y="417173"/>
                    <a:pt x="425332" y="433491"/>
                  </a:cubicBezTo>
                  <a:cubicBezTo>
                    <a:pt x="430771" y="444369"/>
                    <a:pt x="436211" y="452528"/>
                    <a:pt x="438930" y="463407"/>
                  </a:cubicBezTo>
                  <a:cubicBezTo>
                    <a:pt x="444370" y="474286"/>
                    <a:pt x="447089" y="487884"/>
                    <a:pt x="449809" y="498762"/>
                  </a:cubicBezTo>
                  <a:cubicBezTo>
                    <a:pt x="452529" y="512361"/>
                    <a:pt x="452529" y="517800"/>
                    <a:pt x="457968" y="528679"/>
                  </a:cubicBezTo>
                  <a:cubicBezTo>
                    <a:pt x="463407" y="539557"/>
                    <a:pt x="463407" y="553155"/>
                    <a:pt x="466127" y="564034"/>
                  </a:cubicBezTo>
                  <a:cubicBezTo>
                    <a:pt x="468847" y="572193"/>
                    <a:pt x="468847" y="585791"/>
                    <a:pt x="471566" y="593950"/>
                  </a:cubicBezTo>
                  <a:cubicBezTo>
                    <a:pt x="474286" y="599390"/>
                    <a:pt x="477006" y="602109"/>
                    <a:pt x="479725" y="607548"/>
                  </a:cubicBezTo>
                  <a:cubicBezTo>
                    <a:pt x="482445" y="612988"/>
                    <a:pt x="487884" y="618427"/>
                    <a:pt x="487884" y="623867"/>
                  </a:cubicBezTo>
                  <a:cubicBezTo>
                    <a:pt x="490604" y="634745"/>
                    <a:pt x="496043" y="642904"/>
                    <a:pt x="501482" y="651063"/>
                  </a:cubicBezTo>
                  <a:cubicBezTo>
                    <a:pt x="506922" y="661942"/>
                    <a:pt x="512361" y="664661"/>
                    <a:pt x="523240" y="670101"/>
                  </a:cubicBezTo>
                  <a:cubicBezTo>
                    <a:pt x="528679" y="672820"/>
                    <a:pt x="534119" y="680979"/>
                    <a:pt x="534119" y="686418"/>
                  </a:cubicBezTo>
                  <a:cubicBezTo>
                    <a:pt x="534119" y="689138"/>
                    <a:pt x="534119" y="691858"/>
                    <a:pt x="531399" y="694578"/>
                  </a:cubicBezTo>
                  <a:cubicBezTo>
                    <a:pt x="525959" y="702736"/>
                    <a:pt x="512361" y="708176"/>
                    <a:pt x="498763" y="708176"/>
                  </a:cubicBezTo>
                  <a:cubicBezTo>
                    <a:pt x="485165" y="708176"/>
                    <a:pt x="466127" y="705456"/>
                    <a:pt x="449809" y="700017"/>
                  </a:cubicBezTo>
                  <a:cubicBezTo>
                    <a:pt x="430771" y="694578"/>
                    <a:pt x="409014" y="675540"/>
                    <a:pt x="400855" y="667381"/>
                  </a:cubicBezTo>
                  <a:cubicBezTo>
                    <a:pt x="392696" y="659222"/>
                    <a:pt x="387257" y="651063"/>
                    <a:pt x="381817" y="642904"/>
                  </a:cubicBezTo>
                  <a:cubicBezTo>
                    <a:pt x="376378" y="632025"/>
                    <a:pt x="370939" y="623867"/>
                    <a:pt x="368219" y="610268"/>
                  </a:cubicBezTo>
                  <a:cubicBezTo>
                    <a:pt x="360060" y="588511"/>
                    <a:pt x="357341" y="574913"/>
                    <a:pt x="349182" y="550436"/>
                  </a:cubicBezTo>
                  <a:cubicBezTo>
                    <a:pt x="343742" y="534118"/>
                    <a:pt x="341023" y="520520"/>
                    <a:pt x="338303" y="504202"/>
                  </a:cubicBezTo>
                  <a:cubicBezTo>
                    <a:pt x="335583" y="493323"/>
                    <a:pt x="332864" y="485164"/>
                    <a:pt x="330144" y="477005"/>
                  </a:cubicBezTo>
                  <a:cubicBezTo>
                    <a:pt x="327424" y="471566"/>
                    <a:pt x="324705" y="463407"/>
                    <a:pt x="321985" y="455248"/>
                  </a:cubicBezTo>
                  <a:cubicBezTo>
                    <a:pt x="316546" y="444369"/>
                    <a:pt x="311106" y="436210"/>
                    <a:pt x="305667" y="436210"/>
                  </a:cubicBezTo>
                  <a:cubicBezTo>
                    <a:pt x="302948" y="436210"/>
                    <a:pt x="300228" y="438930"/>
                    <a:pt x="294788" y="441650"/>
                  </a:cubicBezTo>
                  <a:cubicBezTo>
                    <a:pt x="289349" y="447089"/>
                    <a:pt x="283910" y="455248"/>
                    <a:pt x="278471" y="463407"/>
                  </a:cubicBezTo>
                  <a:cubicBezTo>
                    <a:pt x="270312" y="474286"/>
                    <a:pt x="267592" y="485164"/>
                    <a:pt x="264872" y="496043"/>
                  </a:cubicBezTo>
                  <a:cubicBezTo>
                    <a:pt x="264872" y="504202"/>
                    <a:pt x="262153" y="512361"/>
                    <a:pt x="262153" y="517800"/>
                  </a:cubicBezTo>
                  <a:cubicBezTo>
                    <a:pt x="262153" y="520520"/>
                    <a:pt x="262153" y="520520"/>
                    <a:pt x="262153" y="523239"/>
                  </a:cubicBezTo>
                  <a:cubicBezTo>
                    <a:pt x="262153" y="528679"/>
                    <a:pt x="262153" y="544997"/>
                    <a:pt x="262153" y="553155"/>
                  </a:cubicBezTo>
                  <a:cubicBezTo>
                    <a:pt x="262153" y="583072"/>
                    <a:pt x="264872" y="599390"/>
                    <a:pt x="262153" y="629306"/>
                  </a:cubicBezTo>
                  <a:cubicBezTo>
                    <a:pt x="262153" y="640184"/>
                    <a:pt x="262153" y="648343"/>
                    <a:pt x="259433" y="659222"/>
                  </a:cubicBezTo>
                  <a:cubicBezTo>
                    <a:pt x="270312" y="659222"/>
                    <a:pt x="278471" y="659222"/>
                    <a:pt x="283910" y="659222"/>
                  </a:cubicBezTo>
                  <a:cubicBezTo>
                    <a:pt x="297508" y="659222"/>
                    <a:pt x="321985" y="659222"/>
                    <a:pt x="321985" y="675540"/>
                  </a:cubicBezTo>
                  <a:cubicBezTo>
                    <a:pt x="321985" y="683699"/>
                    <a:pt x="319265" y="686418"/>
                    <a:pt x="316546" y="691858"/>
                  </a:cubicBezTo>
                  <a:cubicBezTo>
                    <a:pt x="311106" y="697297"/>
                    <a:pt x="305667" y="700017"/>
                    <a:pt x="300228" y="700017"/>
                  </a:cubicBezTo>
                  <a:cubicBezTo>
                    <a:pt x="292069" y="702736"/>
                    <a:pt x="283910" y="702736"/>
                    <a:pt x="278471" y="702736"/>
                  </a:cubicBezTo>
                  <a:cubicBezTo>
                    <a:pt x="275751" y="702736"/>
                    <a:pt x="259433" y="702736"/>
                    <a:pt x="243115" y="702736"/>
                  </a:cubicBezTo>
                  <a:cubicBezTo>
                    <a:pt x="237676" y="708176"/>
                    <a:pt x="229517" y="710895"/>
                    <a:pt x="221358" y="710895"/>
                  </a:cubicBezTo>
                  <a:cubicBezTo>
                    <a:pt x="213199" y="710895"/>
                    <a:pt x="202320" y="708176"/>
                    <a:pt x="194161" y="702736"/>
                  </a:cubicBezTo>
                  <a:cubicBezTo>
                    <a:pt x="186002" y="702736"/>
                    <a:pt x="180563" y="702736"/>
                    <a:pt x="177843" y="702736"/>
                  </a:cubicBezTo>
                  <a:cubicBezTo>
                    <a:pt x="164245" y="702736"/>
                    <a:pt x="139768" y="702736"/>
                    <a:pt x="126170" y="702736"/>
                  </a:cubicBezTo>
                  <a:cubicBezTo>
                    <a:pt x="118011" y="702736"/>
                    <a:pt x="109852" y="702736"/>
                    <a:pt x="101693" y="702736"/>
                  </a:cubicBezTo>
                  <a:cubicBezTo>
                    <a:pt x="93534" y="702736"/>
                    <a:pt x="82655" y="702736"/>
                    <a:pt x="74496" y="697297"/>
                  </a:cubicBezTo>
                  <a:cubicBezTo>
                    <a:pt x="66337" y="694578"/>
                    <a:pt x="58178" y="686418"/>
                    <a:pt x="58178" y="680979"/>
                  </a:cubicBezTo>
                  <a:cubicBezTo>
                    <a:pt x="58178" y="678260"/>
                    <a:pt x="58178" y="675540"/>
                    <a:pt x="63617" y="672820"/>
                  </a:cubicBezTo>
                  <a:cubicBezTo>
                    <a:pt x="69057" y="670101"/>
                    <a:pt x="79935" y="667381"/>
                    <a:pt x="85375" y="664661"/>
                  </a:cubicBezTo>
                  <a:cubicBezTo>
                    <a:pt x="104412" y="661942"/>
                    <a:pt x="123450" y="659222"/>
                    <a:pt x="128889" y="659222"/>
                  </a:cubicBezTo>
                  <a:cubicBezTo>
                    <a:pt x="134329" y="659222"/>
                    <a:pt x="139768" y="659222"/>
                    <a:pt x="147927" y="659222"/>
                  </a:cubicBezTo>
                  <a:cubicBezTo>
                    <a:pt x="147927" y="656502"/>
                    <a:pt x="145207" y="653783"/>
                    <a:pt x="145207" y="653783"/>
                  </a:cubicBezTo>
                  <a:cubicBezTo>
                    <a:pt x="131609" y="632025"/>
                    <a:pt x="131609" y="610268"/>
                    <a:pt x="131609" y="585791"/>
                  </a:cubicBezTo>
                  <a:cubicBezTo>
                    <a:pt x="131609" y="555875"/>
                    <a:pt x="131609" y="528679"/>
                    <a:pt x="134329" y="498762"/>
                  </a:cubicBezTo>
                  <a:cubicBezTo>
                    <a:pt x="134329" y="468846"/>
                    <a:pt x="137048" y="436210"/>
                    <a:pt x="137048" y="406294"/>
                  </a:cubicBezTo>
                  <a:cubicBezTo>
                    <a:pt x="137048" y="379098"/>
                    <a:pt x="134329" y="354621"/>
                    <a:pt x="134329" y="327424"/>
                  </a:cubicBezTo>
                  <a:cubicBezTo>
                    <a:pt x="134329" y="302947"/>
                    <a:pt x="137048" y="278470"/>
                    <a:pt x="137048" y="253993"/>
                  </a:cubicBezTo>
                  <a:cubicBezTo>
                    <a:pt x="137048" y="237675"/>
                    <a:pt x="139768" y="224077"/>
                    <a:pt x="139768" y="207759"/>
                  </a:cubicBezTo>
                  <a:cubicBezTo>
                    <a:pt x="139768" y="196881"/>
                    <a:pt x="137048" y="183282"/>
                    <a:pt x="137048" y="172404"/>
                  </a:cubicBezTo>
                  <a:cubicBezTo>
                    <a:pt x="137048" y="150647"/>
                    <a:pt x="137048" y="131609"/>
                    <a:pt x="137048" y="112571"/>
                  </a:cubicBezTo>
                  <a:cubicBezTo>
                    <a:pt x="134329" y="112571"/>
                    <a:pt x="137048" y="112571"/>
                    <a:pt x="126170" y="112571"/>
                  </a:cubicBezTo>
                  <a:cubicBezTo>
                    <a:pt x="118011" y="112571"/>
                    <a:pt x="109852" y="112571"/>
                    <a:pt x="101693" y="112571"/>
                  </a:cubicBezTo>
                  <a:cubicBezTo>
                    <a:pt x="93534" y="112571"/>
                    <a:pt x="82655" y="109852"/>
                    <a:pt x="74496" y="107132"/>
                  </a:cubicBezTo>
                  <a:cubicBezTo>
                    <a:pt x="66337" y="104412"/>
                    <a:pt x="58178" y="96253"/>
                    <a:pt x="58178" y="90814"/>
                  </a:cubicBezTo>
                  <a:cubicBezTo>
                    <a:pt x="58178" y="88094"/>
                    <a:pt x="58178" y="85375"/>
                    <a:pt x="63617" y="82655"/>
                  </a:cubicBezTo>
                  <a:cubicBezTo>
                    <a:pt x="69057" y="79936"/>
                    <a:pt x="79935" y="77216"/>
                    <a:pt x="85375" y="74496"/>
                  </a:cubicBezTo>
                  <a:cubicBezTo>
                    <a:pt x="104412" y="71776"/>
                    <a:pt x="128889" y="69057"/>
                    <a:pt x="137048" y="69057"/>
                  </a:cubicBezTo>
                  <a:cubicBezTo>
                    <a:pt x="137048" y="69057"/>
                    <a:pt x="139768" y="69057"/>
                    <a:pt x="145207" y="69057"/>
                  </a:cubicBezTo>
                  <a:cubicBezTo>
                    <a:pt x="150646" y="60898"/>
                    <a:pt x="158806" y="58178"/>
                    <a:pt x="169684" y="58178"/>
                  </a:cubicBezTo>
                  <a:cubicBezTo>
                    <a:pt x="172404" y="58178"/>
                    <a:pt x="175123" y="58178"/>
                    <a:pt x="177843" y="58178"/>
                  </a:cubicBezTo>
                  <a:cubicBezTo>
                    <a:pt x="186002" y="58178"/>
                    <a:pt x="196881" y="63617"/>
                    <a:pt x="205040" y="66337"/>
                  </a:cubicBezTo>
                  <a:cubicBezTo>
                    <a:pt x="237676" y="66337"/>
                    <a:pt x="273031" y="63617"/>
                    <a:pt x="286629" y="63617"/>
                  </a:cubicBezTo>
                  <a:cubicBezTo>
                    <a:pt x="300228" y="63617"/>
                    <a:pt x="324705" y="63617"/>
                    <a:pt x="324705" y="79936"/>
                  </a:cubicBezTo>
                  <a:cubicBezTo>
                    <a:pt x="324705" y="88094"/>
                    <a:pt x="321985" y="90814"/>
                    <a:pt x="319265" y="96253"/>
                  </a:cubicBezTo>
                  <a:cubicBezTo>
                    <a:pt x="313826" y="101693"/>
                    <a:pt x="308387" y="104412"/>
                    <a:pt x="302948" y="104412"/>
                  </a:cubicBezTo>
                  <a:cubicBezTo>
                    <a:pt x="289349" y="112571"/>
                    <a:pt x="283910" y="112571"/>
                    <a:pt x="278471" y="112571"/>
                  </a:cubicBezTo>
                  <a:cubicBezTo>
                    <a:pt x="273031" y="112571"/>
                    <a:pt x="253994" y="112571"/>
                    <a:pt x="232236" y="112571"/>
                  </a:cubicBezTo>
                  <a:cubicBezTo>
                    <a:pt x="237676" y="120730"/>
                    <a:pt x="240395" y="128889"/>
                    <a:pt x="240395" y="137048"/>
                  </a:cubicBezTo>
                  <a:cubicBezTo>
                    <a:pt x="240395" y="142487"/>
                    <a:pt x="240395" y="145207"/>
                    <a:pt x="240395" y="150647"/>
                  </a:cubicBezTo>
                  <a:cubicBezTo>
                    <a:pt x="240395" y="153366"/>
                    <a:pt x="240395" y="156086"/>
                    <a:pt x="243115" y="158805"/>
                  </a:cubicBezTo>
                  <a:cubicBezTo>
                    <a:pt x="245835" y="169684"/>
                    <a:pt x="245835" y="180563"/>
                    <a:pt x="248554" y="188722"/>
                  </a:cubicBezTo>
                  <a:cubicBezTo>
                    <a:pt x="248554" y="191441"/>
                    <a:pt x="248554" y="194161"/>
                    <a:pt x="248554" y="199600"/>
                  </a:cubicBezTo>
                  <a:cubicBezTo>
                    <a:pt x="248554" y="207759"/>
                    <a:pt x="248554" y="213198"/>
                    <a:pt x="248554" y="221357"/>
                  </a:cubicBezTo>
                  <a:cubicBezTo>
                    <a:pt x="248554" y="234956"/>
                    <a:pt x="251274" y="248554"/>
                    <a:pt x="253994" y="264872"/>
                  </a:cubicBezTo>
                  <a:cubicBezTo>
                    <a:pt x="256713" y="275751"/>
                    <a:pt x="259433" y="286629"/>
                    <a:pt x="262153" y="297508"/>
                  </a:cubicBezTo>
                  <a:cubicBezTo>
                    <a:pt x="264872" y="305667"/>
                    <a:pt x="264872" y="313826"/>
                    <a:pt x="264872" y="324704"/>
                  </a:cubicBezTo>
                  <a:cubicBezTo>
                    <a:pt x="264872" y="327424"/>
                    <a:pt x="264872" y="330144"/>
                    <a:pt x="264872" y="332863"/>
                  </a:cubicBezTo>
                  <a:cubicBezTo>
                    <a:pt x="264872" y="338303"/>
                    <a:pt x="264872" y="346462"/>
                    <a:pt x="264872" y="351901"/>
                  </a:cubicBezTo>
                  <a:cubicBezTo>
                    <a:pt x="264872" y="357340"/>
                    <a:pt x="262153" y="365499"/>
                    <a:pt x="262153" y="370939"/>
                  </a:cubicBezTo>
                  <a:cubicBezTo>
                    <a:pt x="262153" y="376378"/>
                    <a:pt x="264872" y="384537"/>
                    <a:pt x="267592" y="384537"/>
                  </a:cubicBezTo>
                  <a:cubicBezTo>
                    <a:pt x="273031" y="384537"/>
                    <a:pt x="275751" y="376378"/>
                    <a:pt x="278471" y="370939"/>
                  </a:cubicBezTo>
                  <a:cubicBezTo>
                    <a:pt x="283910" y="360060"/>
                    <a:pt x="289349" y="346462"/>
                    <a:pt x="297508" y="332863"/>
                  </a:cubicBezTo>
                  <a:cubicBezTo>
                    <a:pt x="302948" y="324704"/>
                    <a:pt x="305667" y="313826"/>
                    <a:pt x="311106" y="305667"/>
                  </a:cubicBezTo>
                  <a:cubicBezTo>
                    <a:pt x="319265" y="289349"/>
                    <a:pt x="327424" y="275751"/>
                    <a:pt x="335583" y="259433"/>
                  </a:cubicBezTo>
                  <a:cubicBezTo>
                    <a:pt x="341023" y="248554"/>
                    <a:pt x="349182" y="234956"/>
                    <a:pt x="354621" y="224077"/>
                  </a:cubicBezTo>
                  <a:cubicBezTo>
                    <a:pt x="362780" y="207759"/>
                    <a:pt x="370939" y="191441"/>
                    <a:pt x="381817" y="172404"/>
                  </a:cubicBezTo>
                  <a:cubicBezTo>
                    <a:pt x="389977" y="153366"/>
                    <a:pt x="400855" y="134329"/>
                    <a:pt x="409014" y="118011"/>
                  </a:cubicBezTo>
                  <a:cubicBezTo>
                    <a:pt x="409014" y="115291"/>
                    <a:pt x="409014" y="115291"/>
                    <a:pt x="411734" y="115291"/>
                  </a:cubicBezTo>
                  <a:cubicBezTo>
                    <a:pt x="406294" y="115291"/>
                    <a:pt x="400855" y="115291"/>
                    <a:pt x="398136" y="115291"/>
                  </a:cubicBezTo>
                  <a:cubicBezTo>
                    <a:pt x="392696" y="115291"/>
                    <a:pt x="384537" y="115291"/>
                    <a:pt x="379098" y="109852"/>
                  </a:cubicBezTo>
                  <a:cubicBezTo>
                    <a:pt x="373659" y="107132"/>
                    <a:pt x="368219" y="98973"/>
                    <a:pt x="368219" y="93534"/>
                  </a:cubicBezTo>
                  <a:cubicBezTo>
                    <a:pt x="368219" y="90814"/>
                    <a:pt x="368219" y="88094"/>
                    <a:pt x="370939" y="85375"/>
                  </a:cubicBezTo>
                  <a:cubicBezTo>
                    <a:pt x="373659" y="82655"/>
                    <a:pt x="381817" y="79936"/>
                    <a:pt x="387257" y="77216"/>
                  </a:cubicBezTo>
                  <a:cubicBezTo>
                    <a:pt x="400855" y="74496"/>
                    <a:pt x="414453" y="71776"/>
                    <a:pt x="422612" y="71776"/>
                  </a:cubicBezTo>
                  <a:cubicBezTo>
                    <a:pt x="425332" y="71776"/>
                    <a:pt x="430771" y="71776"/>
                    <a:pt x="436211" y="71776"/>
                  </a:cubicBezTo>
                  <a:cubicBezTo>
                    <a:pt x="436211" y="71776"/>
                    <a:pt x="438930" y="69057"/>
                    <a:pt x="438930" y="69057"/>
                  </a:cubicBezTo>
                  <a:cubicBezTo>
                    <a:pt x="444370" y="66337"/>
                    <a:pt x="447089" y="66337"/>
                    <a:pt x="452529" y="66337"/>
                  </a:cubicBezTo>
                  <a:cubicBezTo>
                    <a:pt x="457968" y="66337"/>
                    <a:pt x="460688" y="66337"/>
                    <a:pt x="466127" y="69057"/>
                  </a:cubicBezTo>
                  <a:cubicBezTo>
                    <a:pt x="468847" y="69057"/>
                    <a:pt x="471566" y="71776"/>
                    <a:pt x="471566" y="71776"/>
                  </a:cubicBezTo>
                  <a:cubicBezTo>
                    <a:pt x="490604" y="71776"/>
                    <a:pt x="506922" y="71776"/>
                    <a:pt x="515081" y="71776"/>
                  </a:cubicBezTo>
                  <a:cubicBezTo>
                    <a:pt x="523240" y="71776"/>
                    <a:pt x="542277" y="71776"/>
                    <a:pt x="542277" y="88094"/>
                  </a:cubicBezTo>
                  <a:cubicBezTo>
                    <a:pt x="542277" y="96253"/>
                    <a:pt x="542277" y="98973"/>
                    <a:pt x="536838" y="104412"/>
                  </a:cubicBezTo>
                  <a:cubicBezTo>
                    <a:pt x="534119" y="109852"/>
                    <a:pt x="528679" y="112571"/>
                    <a:pt x="525959" y="112571"/>
                  </a:cubicBezTo>
                  <a:cubicBezTo>
                    <a:pt x="520520" y="115291"/>
                    <a:pt x="515081" y="115291"/>
                    <a:pt x="509642" y="115291"/>
                  </a:cubicBezTo>
                  <a:cubicBezTo>
                    <a:pt x="506922" y="115291"/>
                    <a:pt x="487884" y="115291"/>
                    <a:pt x="468847" y="115291"/>
                  </a:cubicBezTo>
                  <a:cubicBezTo>
                    <a:pt x="466127" y="123450"/>
                    <a:pt x="460688" y="128889"/>
                    <a:pt x="457968" y="137048"/>
                  </a:cubicBezTo>
                  <a:cubicBezTo>
                    <a:pt x="447089" y="156086"/>
                    <a:pt x="438930" y="175123"/>
                    <a:pt x="430771" y="194161"/>
                  </a:cubicBezTo>
                  <a:cubicBezTo>
                    <a:pt x="419893" y="215918"/>
                    <a:pt x="411734" y="240395"/>
                    <a:pt x="400855" y="262152"/>
                  </a:cubicBezTo>
                  <a:cubicBezTo>
                    <a:pt x="387257" y="289349"/>
                    <a:pt x="373659" y="311106"/>
                    <a:pt x="360060" y="332863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7" name="Freeform: Shape 36">
              <a:extLst>
                <a:ext uri="{FF2B5EF4-FFF2-40B4-BE49-F238E27FC236}">
                  <a16:creationId xmlns:a16="http://schemas.microsoft.com/office/drawing/2014/main" id="{A5536A8A-2076-4C05-9C5C-7E9AD95BA4CB}"/>
                </a:ext>
              </a:extLst>
            </p:cNvPr>
            <p:cNvSpPr/>
            <p:nvPr/>
          </p:nvSpPr>
          <p:spPr bwMode="black">
            <a:xfrm>
              <a:off x="4335316" y="4186718"/>
              <a:ext cx="353556" cy="761503"/>
            </a:xfrm>
            <a:custGeom>
              <a:avLst/>
              <a:gdLst>
                <a:gd name="connsiteX0" fmla="*/ 283910 w 353555"/>
                <a:gd name="connsiteY0" fmla="*/ 672820 h 761503"/>
                <a:gd name="connsiteX1" fmla="*/ 321985 w 353555"/>
                <a:gd name="connsiteY1" fmla="*/ 689138 h 761503"/>
                <a:gd name="connsiteX2" fmla="*/ 316546 w 353555"/>
                <a:gd name="connsiteY2" fmla="*/ 705456 h 761503"/>
                <a:gd name="connsiteX3" fmla="*/ 300228 w 353555"/>
                <a:gd name="connsiteY3" fmla="*/ 713615 h 761503"/>
                <a:gd name="connsiteX4" fmla="*/ 278471 w 353555"/>
                <a:gd name="connsiteY4" fmla="*/ 716335 h 761503"/>
                <a:gd name="connsiteX5" fmla="*/ 237676 w 353555"/>
                <a:gd name="connsiteY5" fmla="*/ 716335 h 761503"/>
                <a:gd name="connsiteX6" fmla="*/ 180563 w 353555"/>
                <a:gd name="connsiteY6" fmla="*/ 719054 h 761503"/>
                <a:gd name="connsiteX7" fmla="*/ 126170 w 353555"/>
                <a:gd name="connsiteY7" fmla="*/ 719054 h 761503"/>
                <a:gd name="connsiteX8" fmla="*/ 101693 w 353555"/>
                <a:gd name="connsiteY8" fmla="*/ 719054 h 761503"/>
                <a:gd name="connsiteX9" fmla="*/ 74496 w 353555"/>
                <a:gd name="connsiteY9" fmla="*/ 713615 h 761503"/>
                <a:gd name="connsiteX10" fmla="*/ 58178 w 353555"/>
                <a:gd name="connsiteY10" fmla="*/ 697297 h 761503"/>
                <a:gd name="connsiteX11" fmla="*/ 63617 w 353555"/>
                <a:gd name="connsiteY11" fmla="*/ 689138 h 761503"/>
                <a:gd name="connsiteX12" fmla="*/ 85375 w 353555"/>
                <a:gd name="connsiteY12" fmla="*/ 680979 h 761503"/>
                <a:gd name="connsiteX13" fmla="*/ 131609 w 353555"/>
                <a:gd name="connsiteY13" fmla="*/ 675540 h 761503"/>
                <a:gd name="connsiteX14" fmla="*/ 142488 w 353555"/>
                <a:gd name="connsiteY14" fmla="*/ 675540 h 761503"/>
                <a:gd name="connsiteX15" fmla="*/ 131609 w 353555"/>
                <a:gd name="connsiteY15" fmla="*/ 653783 h 761503"/>
                <a:gd name="connsiteX16" fmla="*/ 128889 w 353555"/>
                <a:gd name="connsiteY16" fmla="*/ 640184 h 761503"/>
                <a:gd name="connsiteX17" fmla="*/ 128889 w 353555"/>
                <a:gd name="connsiteY17" fmla="*/ 629306 h 761503"/>
                <a:gd name="connsiteX18" fmla="*/ 128889 w 353555"/>
                <a:gd name="connsiteY18" fmla="*/ 621147 h 761503"/>
                <a:gd name="connsiteX19" fmla="*/ 128889 w 353555"/>
                <a:gd name="connsiteY19" fmla="*/ 593950 h 761503"/>
                <a:gd name="connsiteX20" fmla="*/ 128889 w 353555"/>
                <a:gd name="connsiteY20" fmla="*/ 583072 h 761503"/>
                <a:gd name="connsiteX21" fmla="*/ 128889 w 353555"/>
                <a:gd name="connsiteY21" fmla="*/ 436210 h 761503"/>
                <a:gd name="connsiteX22" fmla="*/ 128889 w 353555"/>
                <a:gd name="connsiteY22" fmla="*/ 357340 h 761503"/>
                <a:gd name="connsiteX23" fmla="*/ 131609 w 353555"/>
                <a:gd name="connsiteY23" fmla="*/ 289349 h 761503"/>
                <a:gd name="connsiteX24" fmla="*/ 131609 w 353555"/>
                <a:gd name="connsiteY24" fmla="*/ 251274 h 761503"/>
                <a:gd name="connsiteX25" fmla="*/ 131609 w 353555"/>
                <a:gd name="connsiteY25" fmla="*/ 205040 h 761503"/>
                <a:gd name="connsiteX26" fmla="*/ 131609 w 353555"/>
                <a:gd name="connsiteY26" fmla="*/ 139768 h 761503"/>
                <a:gd name="connsiteX27" fmla="*/ 131609 w 353555"/>
                <a:gd name="connsiteY27" fmla="*/ 128889 h 761503"/>
                <a:gd name="connsiteX28" fmla="*/ 126170 w 353555"/>
                <a:gd name="connsiteY28" fmla="*/ 128889 h 761503"/>
                <a:gd name="connsiteX29" fmla="*/ 101693 w 353555"/>
                <a:gd name="connsiteY29" fmla="*/ 128889 h 761503"/>
                <a:gd name="connsiteX30" fmla="*/ 74496 w 353555"/>
                <a:gd name="connsiteY30" fmla="*/ 123450 h 761503"/>
                <a:gd name="connsiteX31" fmla="*/ 58178 w 353555"/>
                <a:gd name="connsiteY31" fmla="*/ 107132 h 761503"/>
                <a:gd name="connsiteX32" fmla="*/ 60898 w 353555"/>
                <a:gd name="connsiteY32" fmla="*/ 98973 h 761503"/>
                <a:gd name="connsiteX33" fmla="*/ 82655 w 353555"/>
                <a:gd name="connsiteY33" fmla="*/ 93534 h 761503"/>
                <a:gd name="connsiteX34" fmla="*/ 131609 w 353555"/>
                <a:gd name="connsiteY34" fmla="*/ 88094 h 761503"/>
                <a:gd name="connsiteX35" fmla="*/ 131609 w 353555"/>
                <a:gd name="connsiteY35" fmla="*/ 82655 h 761503"/>
                <a:gd name="connsiteX36" fmla="*/ 134329 w 353555"/>
                <a:gd name="connsiteY36" fmla="*/ 71776 h 761503"/>
                <a:gd name="connsiteX37" fmla="*/ 147927 w 353555"/>
                <a:gd name="connsiteY37" fmla="*/ 63617 h 761503"/>
                <a:gd name="connsiteX38" fmla="*/ 164245 w 353555"/>
                <a:gd name="connsiteY38" fmla="*/ 58178 h 761503"/>
                <a:gd name="connsiteX39" fmla="*/ 177843 w 353555"/>
                <a:gd name="connsiteY39" fmla="*/ 58178 h 761503"/>
                <a:gd name="connsiteX40" fmla="*/ 196881 w 353555"/>
                <a:gd name="connsiteY40" fmla="*/ 60898 h 761503"/>
                <a:gd name="connsiteX41" fmla="*/ 232236 w 353555"/>
                <a:gd name="connsiteY41" fmla="*/ 88094 h 761503"/>
                <a:gd name="connsiteX42" fmla="*/ 278471 w 353555"/>
                <a:gd name="connsiteY42" fmla="*/ 88094 h 761503"/>
                <a:gd name="connsiteX43" fmla="*/ 316546 w 353555"/>
                <a:gd name="connsiteY43" fmla="*/ 104412 h 761503"/>
                <a:gd name="connsiteX44" fmla="*/ 311106 w 353555"/>
                <a:gd name="connsiteY44" fmla="*/ 120730 h 761503"/>
                <a:gd name="connsiteX45" fmla="*/ 294788 w 353555"/>
                <a:gd name="connsiteY45" fmla="*/ 128889 h 761503"/>
                <a:gd name="connsiteX46" fmla="*/ 273031 w 353555"/>
                <a:gd name="connsiteY46" fmla="*/ 131609 h 761503"/>
                <a:gd name="connsiteX47" fmla="*/ 243115 w 353555"/>
                <a:gd name="connsiteY47" fmla="*/ 131609 h 761503"/>
                <a:gd name="connsiteX48" fmla="*/ 243115 w 353555"/>
                <a:gd name="connsiteY48" fmla="*/ 134329 h 761503"/>
                <a:gd name="connsiteX49" fmla="*/ 248554 w 353555"/>
                <a:gd name="connsiteY49" fmla="*/ 169684 h 761503"/>
                <a:gd name="connsiteX50" fmla="*/ 251274 w 353555"/>
                <a:gd name="connsiteY50" fmla="*/ 205040 h 761503"/>
                <a:gd name="connsiteX51" fmla="*/ 251274 w 353555"/>
                <a:gd name="connsiteY51" fmla="*/ 240395 h 761503"/>
                <a:gd name="connsiteX52" fmla="*/ 251274 w 353555"/>
                <a:gd name="connsiteY52" fmla="*/ 256713 h 761503"/>
                <a:gd name="connsiteX53" fmla="*/ 253994 w 353555"/>
                <a:gd name="connsiteY53" fmla="*/ 270311 h 761503"/>
                <a:gd name="connsiteX54" fmla="*/ 259433 w 353555"/>
                <a:gd name="connsiteY54" fmla="*/ 343742 h 761503"/>
                <a:gd name="connsiteX55" fmla="*/ 262153 w 353555"/>
                <a:gd name="connsiteY55" fmla="*/ 425332 h 761503"/>
                <a:gd name="connsiteX56" fmla="*/ 264872 w 353555"/>
                <a:gd name="connsiteY56" fmla="*/ 490603 h 761503"/>
                <a:gd name="connsiteX57" fmla="*/ 270312 w 353555"/>
                <a:gd name="connsiteY57" fmla="*/ 564034 h 761503"/>
                <a:gd name="connsiteX58" fmla="*/ 270312 w 353555"/>
                <a:gd name="connsiteY58" fmla="*/ 599390 h 761503"/>
                <a:gd name="connsiteX59" fmla="*/ 270312 w 353555"/>
                <a:gd name="connsiteY59" fmla="*/ 637465 h 761503"/>
                <a:gd name="connsiteX60" fmla="*/ 264872 w 353555"/>
                <a:gd name="connsiteY60" fmla="*/ 670101 h 761503"/>
                <a:gd name="connsiteX61" fmla="*/ 283910 w 353555"/>
                <a:gd name="connsiteY61" fmla="*/ 672820 h 761503"/>
                <a:gd name="connsiteX62" fmla="*/ 283910 w 353555"/>
                <a:gd name="connsiteY62" fmla="*/ 672820 h 761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</a:cxnLst>
              <a:rect l="l" t="t" r="r" b="b"/>
              <a:pathLst>
                <a:path w="353555" h="761503">
                  <a:moveTo>
                    <a:pt x="283910" y="672820"/>
                  </a:moveTo>
                  <a:cubicBezTo>
                    <a:pt x="297508" y="672820"/>
                    <a:pt x="321985" y="672820"/>
                    <a:pt x="321985" y="689138"/>
                  </a:cubicBezTo>
                  <a:cubicBezTo>
                    <a:pt x="321985" y="697297"/>
                    <a:pt x="319265" y="697297"/>
                    <a:pt x="316546" y="705456"/>
                  </a:cubicBezTo>
                  <a:cubicBezTo>
                    <a:pt x="311106" y="710895"/>
                    <a:pt x="305667" y="713615"/>
                    <a:pt x="300228" y="713615"/>
                  </a:cubicBezTo>
                  <a:cubicBezTo>
                    <a:pt x="292069" y="716335"/>
                    <a:pt x="283910" y="716335"/>
                    <a:pt x="278471" y="716335"/>
                  </a:cubicBezTo>
                  <a:cubicBezTo>
                    <a:pt x="275751" y="716335"/>
                    <a:pt x="256713" y="716335"/>
                    <a:pt x="237676" y="716335"/>
                  </a:cubicBezTo>
                  <a:cubicBezTo>
                    <a:pt x="213199" y="716335"/>
                    <a:pt x="186002" y="719054"/>
                    <a:pt x="180563" y="719054"/>
                  </a:cubicBezTo>
                  <a:cubicBezTo>
                    <a:pt x="166965" y="719054"/>
                    <a:pt x="142488" y="719054"/>
                    <a:pt x="126170" y="719054"/>
                  </a:cubicBezTo>
                  <a:cubicBezTo>
                    <a:pt x="118011" y="719054"/>
                    <a:pt x="109852" y="719054"/>
                    <a:pt x="101693" y="719054"/>
                  </a:cubicBezTo>
                  <a:cubicBezTo>
                    <a:pt x="93534" y="719054"/>
                    <a:pt x="82655" y="719054"/>
                    <a:pt x="74496" y="713615"/>
                  </a:cubicBezTo>
                  <a:cubicBezTo>
                    <a:pt x="66337" y="710895"/>
                    <a:pt x="58178" y="702736"/>
                    <a:pt x="58178" y="697297"/>
                  </a:cubicBezTo>
                  <a:cubicBezTo>
                    <a:pt x="58178" y="694578"/>
                    <a:pt x="58178" y="691858"/>
                    <a:pt x="63617" y="689138"/>
                  </a:cubicBezTo>
                  <a:cubicBezTo>
                    <a:pt x="69057" y="686418"/>
                    <a:pt x="79935" y="683699"/>
                    <a:pt x="85375" y="680979"/>
                  </a:cubicBezTo>
                  <a:cubicBezTo>
                    <a:pt x="104412" y="678260"/>
                    <a:pt x="123450" y="675540"/>
                    <a:pt x="131609" y="675540"/>
                  </a:cubicBezTo>
                  <a:cubicBezTo>
                    <a:pt x="134329" y="675540"/>
                    <a:pt x="137048" y="675540"/>
                    <a:pt x="142488" y="675540"/>
                  </a:cubicBezTo>
                  <a:cubicBezTo>
                    <a:pt x="134329" y="670101"/>
                    <a:pt x="131609" y="661942"/>
                    <a:pt x="131609" y="653783"/>
                  </a:cubicBezTo>
                  <a:cubicBezTo>
                    <a:pt x="131609" y="648343"/>
                    <a:pt x="131609" y="642904"/>
                    <a:pt x="128889" y="640184"/>
                  </a:cubicBezTo>
                  <a:cubicBezTo>
                    <a:pt x="128889" y="637465"/>
                    <a:pt x="128889" y="634745"/>
                    <a:pt x="128889" y="629306"/>
                  </a:cubicBezTo>
                  <a:cubicBezTo>
                    <a:pt x="128889" y="626586"/>
                    <a:pt x="128889" y="623867"/>
                    <a:pt x="128889" y="621147"/>
                  </a:cubicBezTo>
                  <a:cubicBezTo>
                    <a:pt x="128889" y="612988"/>
                    <a:pt x="128889" y="604829"/>
                    <a:pt x="128889" y="593950"/>
                  </a:cubicBezTo>
                  <a:cubicBezTo>
                    <a:pt x="128889" y="591231"/>
                    <a:pt x="128889" y="585791"/>
                    <a:pt x="128889" y="583072"/>
                  </a:cubicBezTo>
                  <a:cubicBezTo>
                    <a:pt x="128889" y="534118"/>
                    <a:pt x="131609" y="485164"/>
                    <a:pt x="128889" y="436210"/>
                  </a:cubicBezTo>
                  <a:cubicBezTo>
                    <a:pt x="128889" y="409014"/>
                    <a:pt x="128889" y="384537"/>
                    <a:pt x="128889" y="357340"/>
                  </a:cubicBezTo>
                  <a:cubicBezTo>
                    <a:pt x="128889" y="335583"/>
                    <a:pt x="131609" y="313826"/>
                    <a:pt x="131609" y="289349"/>
                  </a:cubicBezTo>
                  <a:cubicBezTo>
                    <a:pt x="131609" y="275751"/>
                    <a:pt x="131609" y="264872"/>
                    <a:pt x="131609" y="251274"/>
                  </a:cubicBezTo>
                  <a:cubicBezTo>
                    <a:pt x="131609" y="234956"/>
                    <a:pt x="131609" y="221357"/>
                    <a:pt x="131609" y="205040"/>
                  </a:cubicBezTo>
                  <a:cubicBezTo>
                    <a:pt x="131609" y="183282"/>
                    <a:pt x="131609" y="161525"/>
                    <a:pt x="131609" y="139768"/>
                  </a:cubicBezTo>
                  <a:cubicBezTo>
                    <a:pt x="131609" y="137048"/>
                    <a:pt x="131609" y="134329"/>
                    <a:pt x="131609" y="128889"/>
                  </a:cubicBezTo>
                  <a:cubicBezTo>
                    <a:pt x="128889" y="128889"/>
                    <a:pt x="126170" y="128889"/>
                    <a:pt x="126170" y="128889"/>
                  </a:cubicBezTo>
                  <a:cubicBezTo>
                    <a:pt x="118011" y="128889"/>
                    <a:pt x="109852" y="128889"/>
                    <a:pt x="101693" y="128889"/>
                  </a:cubicBezTo>
                  <a:cubicBezTo>
                    <a:pt x="93534" y="128889"/>
                    <a:pt x="82655" y="128889"/>
                    <a:pt x="74496" y="123450"/>
                  </a:cubicBezTo>
                  <a:cubicBezTo>
                    <a:pt x="66337" y="120730"/>
                    <a:pt x="58178" y="112571"/>
                    <a:pt x="58178" y="107132"/>
                  </a:cubicBezTo>
                  <a:cubicBezTo>
                    <a:pt x="58178" y="104412"/>
                    <a:pt x="58178" y="101693"/>
                    <a:pt x="60898" y="98973"/>
                  </a:cubicBezTo>
                  <a:cubicBezTo>
                    <a:pt x="63617" y="96253"/>
                    <a:pt x="77216" y="93534"/>
                    <a:pt x="82655" y="93534"/>
                  </a:cubicBezTo>
                  <a:cubicBezTo>
                    <a:pt x="98973" y="90814"/>
                    <a:pt x="123450" y="88094"/>
                    <a:pt x="131609" y="88094"/>
                  </a:cubicBezTo>
                  <a:cubicBezTo>
                    <a:pt x="131609" y="85375"/>
                    <a:pt x="131609" y="85375"/>
                    <a:pt x="131609" y="82655"/>
                  </a:cubicBezTo>
                  <a:cubicBezTo>
                    <a:pt x="131609" y="77216"/>
                    <a:pt x="131609" y="74496"/>
                    <a:pt x="134329" y="71776"/>
                  </a:cubicBezTo>
                  <a:cubicBezTo>
                    <a:pt x="137048" y="69057"/>
                    <a:pt x="145207" y="66337"/>
                    <a:pt x="147927" y="63617"/>
                  </a:cubicBezTo>
                  <a:cubicBezTo>
                    <a:pt x="153366" y="60898"/>
                    <a:pt x="158806" y="58178"/>
                    <a:pt x="164245" y="58178"/>
                  </a:cubicBezTo>
                  <a:cubicBezTo>
                    <a:pt x="169684" y="58178"/>
                    <a:pt x="175123" y="58178"/>
                    <a:pt x="177843" y="58178"/>
                  </a:cubicBezTo>
                  <a:cubicBezTo>
                    <a:pt x="183283" y="58178"/>
                    <a:pt x="191442" y="58178"/>
                    <a:pt x="196881" y="60898"/>
                  </a:cubicBezTo>
                  <a:cubicBezTo>
                    <a:pt x="213199" y="63617"/>
                    <a:pt x="224077" y="74496"/>
                    <a:pt x="232236" y="88094"/>
                  </a:cubicBezTo>
                  <a:cubicBezTo>
                    <a:pt x="253994" y="88094"/>
                    <a:pt x="270312" y="88094"/>
                    <a:pt x="278471" y="88094"/>
                  </a:cubicBezTo>
                  <a:cubicBezTo>
                    <a:pt x="292069" y="88094"/>
                    <a:pt x="316546" y="88094"/>
                    <a:pt x="316546" y="104412"/>
                  </a:cubicBezTo>
                  <a:cubicBezTo>
                    <a:pt x="316546" y="112571"/>
                    <a:pt x="313826" y="112571"/>
                    <a:pt x="311106" y="120730"/>
                  </a:cubicBezTo>
                  <a:cubicBezTo>
                    <a:pt x="305667" y="126170"/>
                    <a:pt x="300228" y="128889"/>
                    <a:pt x="294788" y="128889"/>
                  </a:cubicBezTo>
                  <a:cubicBezTo>
                    <a:pt x="286630" y="131609"/>
                    <a:pt x="278471" y="131609"/>
                    <a:pt x="273031" y="131609"/>
                  </a:cubicBezTo>
                  <a:cubicBezTo>
                    <a:pt x="270312" y="131609"/>
                    <a:pt x="259433" y="131609"/>
                    <a:pt x="243115" y="131609"/>
                  </a:cubicBezTo>
                  <a:lnTo>
                    <a:pt x="243115" y="134329"/>
                  </a:lnTo>
                  <a:cubicBezTo>
                    <a:pt x="245835" y="145207"/>
                    <a:pt x="245835" y="158805"/>
                    <a:pt x="248554" y="169684"/>
                  </a:cubicBezTo>
                  <a:cubicBezTo>
                    <a:pt x="251274" y="180563"/>
                    <a:pt x="251274" y="194161"/>
                    <a:pt x="251274" y="205040"/>
                  </a:cubicBezTo>
                  <a:cubicBezTo>
                    <a:pt x="251274" y="215918"/>
                    <a:pt x="251274" y="226797"/>
                    <a:pt x="251274" y="240395"/>
                  </a:cubicBezTo>
                  <a:cubicBezTo>
                    <a:pt x="251274" y="245834"/>
                    <a:pt x="251274" y="251274"/>
                    <a:pt x="251274" y="256713"/>
                  </a:cubicBezTo>
                  <a:cubicBezTo>
                    <a:pt x="251274" y="262152"/>
                    <a:pt x="251274" y="267592"/>
                    <a:pt x="253994" y="270311"/>
                  </a:cubicBezTo>
                  <a:cubicBezTo>
                    <a:pt x="256713" y="294788"/>
                    <a:pt x="256713" y="319265"/>
                    <a:pt x="259433" y="343742"/>
                  </a:cubicBezTo>
                  <a:cubicBezTo>
                    <a:pt x="259433" y="370939"/>
                    <a:pt x="262153" y="398135"/>
                    <a:pt x="262153" y="425332"/>
                  </a:cubicBezTo>
                  <a:cubicBezTo>
                    <a:pt x="262153" y="447089"/>
                    <a:pt x="262153" y="468846"/>
                    <a:pt x="264872" y="490603"/>
                  </a:cubicBezTo>
                  <a:cubicBezTo>
                    <a:pt x="264872" y="515080"/>
                    <a:pt x="270312" y="539557"/>
                    <a:pt x="270312" y="564034"/>
                  </a:cubicBezTo>
                  <a:cubicBezTo>
                    <a:pt x="270312" y="574913"/>
                    <a:pt x="270312" y="588511"/>
                    <a:pt x="270312" y="599390"/>
                  </a:cubicBezTo>
                  <a:cubicBezTo>
                    <a:pt x="270312" y="612988"/>
                    <a:pt x="270312" y="623867"/>
                    <a:pt x="270312" y="637465"/>
                  </a:cubicBezTo>
                  <a:cubicBezTo>
                    <a:pt x="270312" y="648343"/>
                    <a:pt x="270312" y="661942"/>
                    <a:pt x="264872" y="670101"/>
                  </a:cubicBezTo>
                  <a:cubicBezTo>
                    <a:pt x="273031" y="672820"/>
                    <a:pt x="278471" y="672820"/>
                    <a:pt x="283910" y="672820"/>
                  </a:cubicBezTo>
                  <a:lnTo>
                    <a:pt x="283910" y="672820"/>
                  </a:ln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8" name="Freeform: Shape 37">
              <a:extLst>
                <a:ext uri="{FF2B5EF4-FFF2-40B4-BE49-F238E27FC236}">
                  <a16:creationId xmlns:a16="http://schemas.microsoft.com/office/drawing/2014/main" id="{A9620A82-35FD-44A4-8994-CE526DA47B24}"/>
                </a:ext>
              </a:extLst>
            </p:cNvPr>
            <p:cNvSpPr/>
            <p:nvPr/>
          </p:nvSpPr>
          <p:spPr bwMode="black">
            <a:xfrm>
              <a:off x="4620880" y="4194877"/>
              <a:ext cx="598325" cy="761503"/>
            </a:xfrm>
            <a:custGeom>
              <a:avLst/>
              <a:gdLst>
                <a:gd name="connsiteX0" fmla="*/ 515081 w 598324"/>
                <a:gd name="connsiteY0" fmla="*/ 79935 h 761503"/>
                <a:gd name="connsiteX1" fmla="*/ 542277 w 598324"/>
                <a:gd name="connsiteY1" fmla="*/ 96253 h 761503"/>
                <a:gd name="connsiteX2" fmla="*/ 536838 w 598324"/>
                <a:gd name="connsiteY2" fmla="*/ 112571 h 761503"/>
                <a:gd name="connsiteX3" fmla="*/ 523240 w 598324"/>
                <a:gd name="connsiteY3" fmla="*/ 120730 h 761503"/>
                <a:gd name="connsiteX4" fmla="*/ 506922 w 598324"/>
                <a:gd name="connsiteY4" fmla="*/ 123450 h 761503"/>
                <a:gd name="connsiteX5" fmla="*/ 477006 w 598324"/>
                <a:gd name="connsiteY5" fmla="*/ 123450 h 761503"/>
                <a:gd name="connsiteX6" fmla="*/ 479725 w 598324"/>
                <a:gd name="connsiteY6" fmla="*/ 145207 h 761503"/>
                <a:gd name="connsiteX7" fmla="*/ 477006 w 598324"/>
                <a:gd name="connsiteY7" fmla="*/ 180563 h 761503"/>
                <a:gd name="connsiteX8" fmla="*/ 482445 w 598324"/>
                <a:gd name="connsiteY8" fmla="*/ 232236 h 761503"/>
                <a:gd name="connsiteX9" fmla="*/ 485165 w 598324"/>
                <a:gd name="connsiteY9" fmla="*/ 283909 h 761503"/>
                <a:gd name="connsiteX10" fmla="*/ 485165 w 598324"/>
                <a:gd name="connsiteY10" fmla="*/ 327424 h 761503"/>
                <a:gd name="connsiteX11" fmla="*/ 487884 w 598324"/>
                <a:gd name="connsiteY11" fmla="*/ 373658 h 761503"/>
                <a:gd name="connsiteX12" fmla="*/ 485165 w 598324"/>
                <a:gd name="connsiteY12" fmla="*/ 419892 h 761503"/>
                <a:gd name="connsiteX13" fmla="*/ 485165 w 598324"/>
                <a:gd name="connsiteY13" fmla="*/ 463407 h 761503"/>
                <a:gd name="connsiteX14" fmla="*/ 482445 w 598324"/>
                <a:gd name="connsiteY14" fmla="*/ 515080 h 761503"/>
                <a:gd name="connsiteX15" fmla="*/ 482445 w 598324"/>
                <a:gd name="connsiteY15" fmla="*/ 558595 h 761503"/>
                <a:gd name="connsiteX16" fmla="*/ 479725 w 598324"/>
                <a:gd name="connsiteY16" fmla="*/ 602109 h 761503"/>
                <a:gd name="connsiteX17" fmla="*/ 485165 w 598324"/>
                <a:gd name="connsiteY17" fmla="*/ 648343 h 761503"/>
                <a:gd name="connsiteX18" fmla="*/ 474286 w 598324"/>
                <a:gd name="connsiteY18" fmla="*/ 675540 h 761503"/>
                <a:gd name="connsiteX19" fmla="*/ 428052 w 598324"/>
                <a:gd name="connsiteY19" fmla="*/ 691858 h 761503"/>
                <a:gd name="connsiteX20" fmla="*/ 387257 w 598324"/>
                <a:gd name="connsiteY20" fmla="*/ 683699 h 761503"/>
                <a:gd name="connsiteX21" fmla="*/ 351901 w 598324"/>
                <a:gd name="connsiteY21" fmla="*/ 664661 h 761503"/>
                <a:gd name="connsiteX22" fmla="*/ 305667 w 598324"/>
                <a:gd name="connsiteY22" fmla="*/ 596670 h 761503"/>
                <a:gd name="connsiteX23" fmla="*/ 270312 w 598324"/>
                <a:gd name="connsiteY23" fmla="*/ 509641 h 761503"/>
                <a:gd name="connsiteX24" fmla="*/ 251274 w 598324"/>
                <a:gd name="connsiteY24" fmla="*/ 460687 h 761503"/>
                <a:gd name="connsiteX25" fmla="*/ 224077 w 598324"/>
                <a:gd name="connsiteY25" fmla="*/ 381817 h 761503"/>
                <a:gd name="connsiteX26" fmla="*/ 207759 w 598324"/>
                <a:gd name="connsiteY26" fmla="*/ 330144 h 761503"/>
                <a:gd name="connsiteX27" fmla="*/ 191442 w 598324"/>
                <a:gd name="connsiteY27" fmla="*/ 286629 h 761503"/>
                <a:gd name="connsiteX28" fmla="*/ 183283 w 598324"/>
                <a:gd name="connsiteY28" fmla="*/ 278470 h 761503"/>
                <a:gd name="connsiteX29" fmla="*/ 180563 w 598324"/>
                <a:gd name="connsiteY29" fmla="*/ 292068 h 761503"/>
                <a:gd name="connsiteX30" fmla="*/ 180563 w 598324"/>
                <a:gd name="connsiteY30" fmla="*/ 305667 h 761503"/>
                <a:gd name="connsiteX31" fmla="*/ 183283 w 598324"/>
                <a:gd name="connsiteY31" fmla="*/ 354620 h 761503"/>
                <a:gd name="connsiteX32" fmla="*/ 188722 w 598324"/>
                <a:gd name="connsiteY32" fmla="*/ 449808 h 761503"/>
                <a:gd name="connsiteX33" fmla="*/ 188722 w 598324"/>
                <a:gd name="connsiteY33" fmla="*/ 479725 h 761503"/>
                <a:gd name="connsiteX34" fmla="*/ 188722 w 598324"/>
                <a:gd name="connsiteY34" fmla="*/ 542277 h 761503"/>
                <a:gd name="connsiteX35" fmla="*/ 186002 w 598324"/>
                <a:gd name="connsiteY35" fmla="*/ 615708 h 761503"/>
                <a:gd name="connsiteX36" fmla="*/ 186002 w 598324"/>
                <a:gd name="connsiteY36" fmla="*/ 637465 h 761503"/>
                <a:gd name="connsiteX37" fmla="*/ 183283 w 598324"/>
                <a:gd name="connsiteY37" fmla="*/ 664661 h 761503"/>
                <a:gd name="connsiteX38" fmla="*/ 226797 w 598324"/>
                <a:gd name="connsiteY38" fmla="*/ 664661 h 761503"/>
                <a:gd name="connsiteX39" fmla="*/ 253994 w 598324"/>
                <a:gd name="connsiteY39" fmla="*/ 680979 h 761503"/>
                <a:gd name="connsiteX40" fmla="*/ 248554 w 598324"/>
                <a:gd name="connsiteY40" fmla="*/ 697297 h 761503"/>
                <a:gd name="connsiteX41" fmla="*/ 234956 w 598324"/>
                <a:gd name="connsiteY41" fmla="*/ 705456 h 761503"/>
                <a:gd name="connsiteX42" fmla="*/ 218638 w 598324"/>
                <a:gd name="connsiteY42" fmla="*/ 708176 h 761503"/>
                <a:gd name="connsiteX43" fmla="*/ 183283 w 598324"/>
                <a:gd name="connsiteY43" fmla="*/ 708176 h 761503"/>
                <a:gd name="connsiteX44" fmla="*/ 150647 w 598324"/>
                <a:gd name="connsiteY44" fmla="*/ 708176 h 761503"/>
                <a:gd name="connsiteX45" fmla="*/ 107132 w 598324"/>
                <a:gd name="connsiteY45" fmla="*/ 708176 h 761503"/>
                <a:gd name="connsiteX46" fmla="*/ 88094 w 598324"/>
                <a:gd name="connsiteY46" fmla="*/ 708176 h 761503"/>
                <a:gd name="connsiteX47" fmla="*/ 69057 w 598324"/>
                <a:gd name="connsiteY47" fmla="*/ 702736 h 761503"/>
                <a:gd name="connsiteX48" fmla="*/ 58178 w 598324"/>
                <a:gd name="connsiteY48" fmla="*/ 686418 h 761503"/>
                <a:gd name="connsiteX49" fmla="*/ 60898 w 598324"/>
                <a:gd name="connsiteY49" fmla="*/ 678259 h 761503"/>
                <a:gd name="connsiteX50" fmla="*/ 77216 w 598324"/>
                <a:gd name="connsiteY50" fmla="*/ 670101 h 761503"/>
                <a:gd name="connsiteX51" fmla="*/ 120730 w 598324"/>
                <a:gd name="connsiteY51" fmla="*/ 664661 h 761503"/>
                <a:gd name="connsiteX52" fmla="*/ 131609 w 598324"/>
                <a:gd name="connsiteY52" fmla="*/ 664661 h 761503"/>
                <a:gd name="connsiteX53" fmla="*/ 134329 w 598324"/>
                <a:gd name="connsiteY53" fmla="*/ 539557 h 761503"/>
                <a:gd name="connsiteX54" fmla="*/ 134329 w 598324"/>
                <a:gd name="connsiteY54" fmla="*/ 504201 h 761503"/>
                <a:gd name="connsiteX55" fmla="*/ 131609 w 598324"/>
                <a:gd name="connsiteY55" fmla="*/ 376378 h 761503"/>
                <a:gd name="connsiteX56" fmla="*/ 131609 w 598324"/>
                <a:gd name="connsiteY56" fmla="*/ 302947 h 761503"/>
                <a:gd name="connsiteX57" fmla="*/ 134329 w 598324"/>
                <a:gd name="connsiteY57" fmla="*/ 221357 h 761503"/>
                <a:gd name="connsiteX58" fmla="*/ 137048 w 598324"/>
                <a:gd name="connsiteY58" fmla="*/ 123450 h 761503"/>
                <a:gd name="connsiteX59" fmla="*/ 107132 w 598324"/>
                <a:gd name="connsiteY59" fmla="*/ 123450 h 761503"/>
                <a:gd name="connsiteX60" fmla="*/ 88094 w 598324"/>
                <a:gd name="connsiteY60" fmla="*/ 123450 h 761503"/>
                <a:gd name="connsiteX61" fmla="*/ 69057 w 598324"/>
                <a:gd name="connsiteY61" fmla="*/ 118011 h 761503"/>
                <a:gd name="connsiteX62" fmla="*/ 58178 w 598324"/>
                <a:gd name="connsiteY62" fmla="*/ 101693 h 761503"/>
                <a:gd name="connsiteX63" fmla="*/ 60898 w 598324"/>
                <a:gd name="connsiteY63" fmla="*/ 93534 h 761503"/>
                <a:gd name="connsiteX64" fmla="*/ 77216 w 598324"/>
                <a:gd name="connsiteY64" fmla="*/ 85375 h 761503"/>
                <a:gd name="connsiteX65" fmla="*/ 131609 w 598324"/>
                <a:gd name="connsiteY65" fmla="*/ 79935 h 761503"/>
                <a:gd name="connsiteX66" fmla="*/ 161525 w 598324"/>
                <a:gd name="connsiteY66" fmla="*/ 79935 h 761503"/>
                <a:gd name="connsiteX67" fmla="*/ 177843 w 598324"/>
                <a:gd name="connsiteY67" fmla="*/ 66337 h 761503"/>
                <a:gd name="connsiteX68" fmla="*/ 202320 w 598324"/>
                <a:gd name="connsiteY68" fmla="*/ 58178 h 761503"/>
                <a:gd name="connsiteX69" fmla="*/ 234956 w 598324"/>
                <a:gd name="connsiteY69" fmla="*/ 77216 h 761503"/>
                <a:gd name="connsiteX70" fmla="*/ 251274 w 598324"/>
                <a:gd name="connsiteY70" fmla="*/ 107132 h 761503"/>
                <a:gd name="connsiteX71" fmla="*/ 267592 w 598324"/>
                <a:gd name="connsiteY71" fmla="*/ 147927 h 761503"/>
                <a:gd name="connsiteX72" fmla="*/ 281190 w 598324"/>
                <a:gd name="connsiteY72" fmla="*/ 183282 h 761503"/>
                <a:gd name="connsiteX73" fmla="*/ 297508 w 598324"/>
                <a:gd name="connsiteY73" fmla="*/ 224077 h 761503"/>
                <a:gd name="connsiteX74" fmla="*/ 308387 w 598324"/>
                <a:gd name="connsiteY74" fmla="*/ 264872 h 761503"/>
                <a:gd name="connsiteX75" fmla="*/ 319265 w 598324"/>
                <a:gd name="connsiteY75" fmla="*/ 300227 h 761503"/>
                <a:gd name="connsiteX76" fmla="*/ 351901 w 598324"/>
                <a:gd name="connsiteY76" fmla="*/ 379097 h 761503"/>
                <a:gd name="connsiteX77" fmla="*/ 365500 w 598324"/>
                <a:gd name="connsiteY77" fmla="*/ 417173 h 761503"/>
                <a:gd name="connsiteX78" fmla="*/ 379098 w 598324"/>
                <a:gd name="connsiteY78" fmla="*/ 457967 h 761503"/>
                <a:gd name="connsiteX79" fmla="*/ 395416 w 598324"/>
                <a:gd name="connsiteY79" fmla="*/ 496043 h 761503"/>
                <a:gd name="connsiteX80" fmla="*/ 406294 w 598324"/>
                <a:gd name="connsiteY80" fmla="*/ 512361 h 761503"/>
                <a:gd name="connsiteX81" fmla="*/ 411734 w 598324"/>
                <a:gd name="connsiteY81" fmla="*/ 531398 h 761503"/>
                <a:gd name="connsiteX82" fmla="*/ 419893 w 598324"/>
                <a:gd name="connsiteY82" fmla="*/ 558595 h 761503"/>
                <a:gd name="connsiteX83" fmla="*/ 425332 w 598324"/>
                <a:gd name="connsiteY83" fmla="*/ 564034 h 761503"/>
                <a:gd name="connsiteX84" fmla="*/ 430771 w 598324"/>
                <a:gd name="connsiteY84" fmla="*/ 558595 h 761503"/>
                <a:gd name="connsiteX85" fmla="*/ 430771 w 598324"/>
                <a:gd name="connsiteY85" fmla="*/ 550436 h 761503"/>
                <a:gd name="connsiteX86" fmla="*/ 430771 w 598324"/>
                <a:gd name="connsiteY86" fmla="*/ 501482 h 761503"/>
                <a:gd name="connsiteX87" fmla="*/ 430771 w 598324"/>
                <a:gd name="connsiteY87" fmla="*/ 403574 h 761503"/>
                <a:gd name="connsiteX88" fmla="*/ 425332 w 598324"/>
                <a:gd name="connsiteY88" fmla="*/ 313826 h 761503"/>
                <a:gd name="connsiteX89" fmla="*/ 425332 w 598324"/>
                <a:gd name="connsiteY89" fmla="*/ 248554 h 761503"/>
                <a:gd name="connsiteX90" fmla="*/ 425332 w 598324"/>
                <a:gd name="connsiteY90" fmla="*/ 210479 h 761503"/>
                <a:gd name="connsiteX91" fmla="*/ 422613 w 598324"/>
                <a:gd name="connsiteY91" fmla="*/ 153366 h 761503"/>
                <a:gd name="connsiteX92" fmla="*/ 425332 w 598324"/>
                <a:gd name="connsiteY92" fmla="*/ 123450 h 761503"/>
                <a:gd name="connsiteX93" fmla="*/ 398136 w 598324"/>
                <a:gd name="connsiteY93" fmla="*/ 123450 h 761503"/>
                <a:gd name="connsiteX94" fmla="*/ 379098 w 598324"/>
                <a:gd name="connsiteY94" fmla="*/ 123450 h 761503"/>
                <a:gd name="connsiteX95" fmla="*/ 360060 w 598324"/>
                <a:gd name="connsiteY95" fmla="*/ 118011 h 761503"/>
                <a:gd name="connsiteX96" fmla="*/ 349182 w 598324"/>
                <a:gd name="connsiteY96" fmla="*/ 101693 h 761503"/>
                <a:gd name="connsiteX97" fmla="*/ 351901 w 598324"/>
                <a:gd name="connsiteY97" fmla="*/ 93534 h 761503"/>
                <a:gd name="connsiteX98" fmla="*/ 368219 w 598324"/>
                <a:gd name="connsiteY98" fmla="*/ 85375 h 761503"/>
                <a:gd name="connsiteX99" fmla="*/ 422613 w 598324"/>
                <a:gd name="connsiteY99" fmla="*/ 79935 h 761503"/>
                <a:gd name="connsiteX100" fmla="*/ 444370 w 598324"/>
                <a:gd name="connsiteY100" fmla="*/ 79935 h 761503"/>
                <a:gd name="connsiteX101" fmla="*/ 463407 w 598324"/>
                <a:gd name="connsiteY101" fmla="*/ 71776 h 761503"/>
                <a:gd name="connsiteX102" fmla="*/ 477006 w 598324"/>
                <a:gd name="connsiteY102" fmla="*/ 79935 h 761503"/>
                <a:gd name="connsiteX103" fmla="*/ 515081 w 598324"/>
                <a:gd name="connsiteY103" fmla="*/ 79935 h 761503"/>
                <a:gd name="connsiteX104" fmla="*/ 515081 w 598324"/>
                <a:gd name="connsiteY104" fmla="*/ 79935 h 761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</a:cxnLst>
              <a:rect l="l" t="t" r="r" b="b"/>
              <a:pathLst>
                <a:path w="598324" h="761503">
                  <a:moveTo>
                    <a:pt x="515081" y="79935"/>
                  </a:moveTo>
                  <a:cubicBezTo>
                    <a:pt x="523240" y="79935"/>
                    <a:pt x="542277" y="79935"/>
                    <a:pt x="542277" y="96253"/>
                  </a:cubicBezTo>
                  <a:cubicBezTo>
                    <a:pt x="542277" y="104412"/>
                    <a:pt x="542277" y="107132"/>
                    <a:pt x="536838" y="112571"/>
                  </a:cubicBezTo>
                  <a:cubicBezTo>
                    <a:pt x="534119" y="118011"/>
                    <a:pt x="528679" y="120730"/>
                    <a:pt x="523240" y="120730"/>
                  </a:cubicBezTo>
                  <a:cubicBezTo>
                    <a:pt x="515081" y="123450"/>
                    <a:pt x="512361" y="123450"/>
                    <a:pt x="506922" y="123450"/>
                  </a:cubicBezTo>
                  <a:cubicBezTo>
                    <a:pt x="504202" y="123450"/>
                    <a:pt x="490604" y="123450"/>
                    <a:pt x="477006" y="123450"/>
                  </a:cubicBezTo>
                  <a:cubicBezTo>
                    <a:pt x="477006" y="131609"/>
                    <a:pt x="479725" y="137048"/>
                    <a:pt x="479725" y="145207"/>
                  </a:cubicBezTo>
                  <a:cubicBezTo>
                    <a:pt x="479725" y="156086"/>
                    <a:pt x="477006" y="166964"/>
                    <a:pt x="477006" y="180563"/>
                  </a:cubicBezTo>
                  <a:cubicBezTo>
                    <a:pt x="477006" y="196881"/>
                    <a:pt x="479725" y="215918"/>
                    <a:pt x="482445" y="232236"/>
                  </a:cubicBezTo>
                  <a:cubicBezTo>
                    <a:pt x="485165" y="248554"/>
                    <a:pt x="485165" y="267592"/>
                    <a:pt x="485165" y="283909"/>
                  </a:cubicBezTo>
                  <a:cubicBezTo>
                    <a:pt x="485165" y="297508"/>
                    <a:pt x="485165" y="313826"/>
                    <a:pt x="485165" y="327424"/>
                  </a:cubicBezTo>
                  <a:cubicBezTo>
                    <a:pt x="485165" y="343742"/>
                    <a:pt x="487884" y="357340"/>
                    <a:pt x="487884" y="373658"/>
                  </a:cubicBezTo>
                  <a:cubicBezTo>
                    <a:pt x="487884" y="389976"/>
                    <a:pt x="485165" y="403574"/>
                    <a:pt x="485165" y="419892"/>
                  </a:cubicBezTo>
                  <a:cubicBezTo>
                    <a:pt x="485165" y="436210"/>
                    <a:pt x="485165" y="449808"/>
                    <a:pt x="485165" y="463407"/>
                  </a:cubicBezTo>
                  <a:cubicBezTo>
                    <a:pt x="485165" y="479725"/>
                    <a:pt x="485165" y="498762"/>
                    <a:pt x="482445" y="515080"/>
                  </a:cubicBezTo>
                  <a:cubicBezTo>
                    <a:pt x="482445" y="528678"/>
                    <a:pt x="482445" y="542277"/>
                    <a:pt x="482445" y="558595"/>
                  </a:cubicBezTo>
                  <a:cubicBezTo>
                    <a:pt x="482445" y="572193"/>
                    <a:pt x="479725" y="588511"/>
                    <a:pt x="479725" y="602109"/>
                  </a:cubicBezTo>
                  <a:cubicBezTo>
                    <a:pt x="479725" y="615708"/>
                    <a:pt x="485165" y="632025"/>
                    <a:pt x="485165" y="648343"/>
                  </a:cubicBezTo>
                  <a:cubicBezTo>
                    <a:pt x="485165" y="659222"/>
                    <a:pt x="482445" y="670101"/>
                    <a:pt x="474286" y="675540"/>
                  </a:cubicBezTo>
                  <a:cubicBezTo>
                    <a:pt x="460688" y="686418"/>
                    <a:pt x="444370" y="691858"/>
                    <a:pt x="428052" y="691858"/>
                  </a:cubicBezTo>
                  <a:cubicBezTo>
                    <a:pt x="414453" y="691858"/>
                    <a:pt x="400855" y="689138"/>
                    <a:pt x="387257" y="683699"/>
                  </a:cubicBezTo>
                  <a:cubicBezTo>
                    <a:pt x="373659" y="678259"/>
                    <a:pt x="360060" y="672820"/>
                    <a:pt x="351901" y="664661"/>
                  </a:cubicBezTo>
                  <a:cubicBezTo>
                    <a:pt x="330144" y="645624"/>
                    <a:pt x="316546" y="621147"/>
                    <a:pt x="305667" y="596670"/>
                  </a:cubicBezTo>
                  <a:cubicBezTo>
                    <a:pt x="292069" y="569473"/>
                    <a:pt x="281190" y="539557"/>
                    <a:pt x="270312" y="509641"/>
                  </a:cubicBezTo>
                  <a:cubicBezTo>
                    <a:pt x="264872" y="493323"/>
                    <a:pt x="256713" y="477005"/>
                    <a:pt x="251274" y="460687"/>
                  </a:cubicBezTo>
                  <a:cubicBezTo>
                    <a:pt x="240395" y="433490"/>
                    <a:pt x="232236" y="409014"/>
                    <a:pt x="224077" y="381817"/>
                  </a:cubicBezTo>
                  <a:cubicBezTo>
                    <a:pt x="218638" y="365499"/>
                    <a:pt x="213199" y="346462"/>
                    <a:pt x="207759" y="330144"/>
                  </a:cubicBezTo>
                  <a:cubicBezTo>
                    <a:pt x="202320" y="316545"/>
                    <a:pt x="196881" y="300227"/>
                    <a:pt x="191442" y="286629"/>
                  </a:cubicBezTo>
                  <a:cubicBezTo>
                    <a:pt x="188722" y="281190"/>
                    <a:pt x="186002" y="278470"/>
                    <a:pt x="183283" y="278470"/>
                  </a:cubicBezTo>
                  <a:cubicBezTo>
                    <a:pt x="180563" y="278470"/>
                    <a:pt x="180563" y="286629"/>
                    <a:pt x="180563" y="292068"/>
                  </a:cubicBezTo>
                  <a:cubicBezTo>
                    <a:pt x="180563" y="297508"/>
                    <a:pt x="180563" y="302947"/>
                    <a:pt x="180563" y="305667"/>
                  </a:cubicBezTo>
                  <a:cubicBezTo>
                    <a:pt x="180563" y="321985"/>
                    <a:pt x="183283" y="338303"/>
                    <a:pt x="183283" y="354620"/>
                  </a:cubicBezTo>
                  <a:cubicBezTo>
                    <a:pt x="183283" y="387256"/>
                    <a:pt x="186002" y="417173"/>
                    <a:pt x="188722" y="449808"/>
                  </a:cubicBezTo>
                  <a:cubicBezTo>
                    <a:pt x="188722" y="460687"/>
                    <a:pt x="188722" y="468846"/>
                    <a:pt x="188722" y="479725"/>
                  </a:cubicBezTo>
                  <a:cubicBezTo>
                    <a:pt x="188722" y="501482"/>
                    <a:pt x="188722" y="523239"/>
                    <a:pt x="188722" y="542277"/>
                  </a:cubicBezTo>
                  <a:cubicBezTo>
                    <a:pt x="188722" y="566754"/>
                    <a:pt x="186002" y="591231"/>
                    <a:pt x="186002" y="615708"/>
                  </a:cubicBezTo>
                  <a:cubicBezTo>
                    <a:pt x="186002" y="623866"/>
                    <a:pt x="186002" y="632025"/>
                    <a:pt x="186002" y="637465"/>
                  </a:cubicBezTo>
                  <a:cubicBezTo>
                    <a:pt x="186002" y="645624"/>
                    <a:pt x="183283" y="656502"/>
                    <a:pt x="183283" y="664661"/>
                  </a:cubicBezTo>
                  <a:cubicBezTo>
                    <a:pt x="202320" y="664661"/>
                    <a:pt x="218638" y="664661"/>
                    <a:pt x="226797" y="664661"/>
                  </a:cubicBezTo>
                  <a:cubicBezTo>
                    <a:pt x="234956" y="664661"/>
                    <a:pt x="253994" y="664661"/>
                    <a:pt x="253994" y="680979"/>
                  </a:cubicBezTo>
                  <a:cubicBezTo>
                    <a:pt x="253994" y="689138"/>
                    <a:pt x="253994" y="691858"/>
                    <a:pt x="248554" y="697297"/>
                  </a:cubicBezTo>
                  <a:cubicBezTo>
                    <a:pt x="245835" y="702736"/>
                    <a:pt x="240395" y="705456"/>
                    <a:pt x="234956" y="705456"/>
                  </a:cubicBezTo>
                  <a:cubicBezTo>
                    <a:pt x="226797" y="708176"/>
                    <a:pt x="224077" y="708176"/>
                    <a:pt x="218638" y="708176"/>
                  </a:cubicBezTo>
                  <a:cubicBezTo>
                    <a:pt x="215918" y="708176"/>
                    <a:pt x="199600" y="708176"/>
                    <a:pt x="183283" y="708176"/>
                  </a:cubicBezTo>
                  <a:cubicBezTo>
                    <a:pt x="166965" y="708176"/>
                    <a:pt x="153366" y="708176"/>
                    <a:pt x="150647" y="708176"/>
                  </a:cubicBezTo>
                  <a:cubicBezTo>
                    <a:pt x="139768" y="708176"/>
                    <a:pt x="120730" y="708176"/>
                    <a:pt x="107132" y="708176"/>
                  </a:cubicBezTo>
                  <a:cubicBezTo>
                    <a:pt x="101693" y="708176"/>
                    <a:pt x="96254" y="708176"/>
                    <a:pt x="88094" y="708176"/>
                  </a:cubicBezTo>
                  <a:cubicBezTo>
                    <a:pt x="82655" y="708176"/>
                    <a:pt x="74496" y="708176"/>
                    <a:pt x="69057" y="702736"/>
                  </a:cubicBezTo>
                  <a:cubicBezTo>
                    <a:pt x="63617" y="700017"/>
                    <a:pt x="58178" y="691858"/>
                    <a:pt x="58178" y="686418"/>
                  </a:cubicBezTo>
                  <a:cubicBezTo>
                    <a:pt x="58178" y="683699"/>
                    <a:pt x="58178" y="680979"/>
                    <a:pt x="60898" y="678259"/>
                  </a:cubicBezTo>
                  <a:cubicBezTo>
                    <a:pt x="63617" y="675540"/>
                    <a:pt x="71777" y="672820"/>
                    <a:pt x="77216" y="670101"/>
                  </a:cubicBezTo>
                  <a:cubicBezTo>
                    <a:pt x="90814" y="667381"/>
                    <a:pt x="115291" y="664661"/>
                    <a:pt x="120730" y="664661"/>
                  </a:cubicBezTo>
                  <a:cubicBezTo>
                    <a:pt x="123450" y="664661"/>
                    <a:pt x="126170" y="664661"/>
                    <a:pt x="131609" y="664661"/>
                  </a:cubicBezTo>
                  <a:cubicBezTo>
                    <a:pt x="131609" y="623866"/>
                    <a:pt x="134329" y="583072"/>
                    <a:pt x="134329" y="539557"/>
                  </a:cubicBezTo>
                  <a:cubicBezTo>
                    <a:pt x="134329" y="528678"/>
                    <a:pt x="134329" y="515080"/>
                    <a:pt x="134329" y="504201"/>
                  </a:cubicBezTo>
                  <a:cubicBezTo>
                    <a:pt x="131609" y="460687"/>
                    <a:pt x="131609" y="417173"/>
                    <a:pt x="131609" y="376378"/>
                  </a:cubicBezTo>
                  <a:cubicBezTo>
                    <a:pt x="131609" y="351901"/>
                    <a:pt x="131609" y="327424"/>
                    <a:pt x="131609" y="302947"/>
                  </a:cubicBezTo>
                  <a:cubicBezTo>
                    <a:pt x="131609" y="275751"/>
                    <a:pt x="131609" y="248554"/>
                    <a:pt x="134329" y="221357"/>
                  </a:cubicBezTo>
                  <a:cubicBezTo>
                    <a:pt x="134329" y="188722"/>
                    <a:pt x="137048" y="156086"/>
                    <a:pt x="137048" y="123450"/>
                  </a:cubicBezTo>
                  <a:cubicBezTo>
                    <a:pt x="126170" y="123450"/>
                    <a:pt x="115291" y="123450"/>
                    <a:pt x="107132" y="123450"/>
                  </a:cubicBezTo>
                  <a:cubicBezTo>
                    <a:pt x="101693" y="123450"/>
                    <a:pt x="96254" y="123450"/>
                    <a:pt x="88094" y="123450"/>
                  </a:cubicBezTo>
                  <a:cubicBezTo>
                    <a:pt x="82655" y="123450"/>
                    <a:pt x="74496" y="120730"/>
                    <a:pt x="69057" y="118011"/>
                  </a:cubicBezTo>
                  <a:cubicBezTo>
                    <a:pt x="63617" y="115291"/>
                    <a:pt x="58178" y="107132"/>
                    <a:pt x="58178" y="101693"/>
                  </a:cubicBezTo>
                  <a:cubicBezTo>
                    <a:pt x="58178" y="98973"/>
                    <a:pt x="58178" y="96253"/>
                    <a:pt x="60898" y="93534"/>
                  </a:cubicBezTo>
                  <a:cubicBezTo>
                    <a:pt x="63617" y="90814"/>
                    <a:pt x="71777" y="88094"/>
                    <a:pt x="77216" y="85375"/>
                  </a:cubicBezTo>
                  <a:cubicBezTo>
                    <a:pt x="90814" y="82655"/>
                    <a:pt x="126170" y="79935"/>
                    <a:pt x="131609" y="79935"/>
                  </a:cubicBezTo>
                  <a:cubicBezTo>
                    <a:pt x="137048" y="79935"/>
                    <a:pt x="147927" y="79935"/>
                    <a:pt x="161525" y="79935"/>
                  </a:cubicBezTo>
                  <a:cubicBezTo>
                    <a:pt x="166965" y="74496"/>
                    <a:pt x="172404" y="71776"/>
                    <a:pt x="177843" y="66337"/>
                  </a:cubicBezTo>
                  <a:cubicBezTo>
                    <a:pt x="186002" y="60898"/>
                    <a:pt x="194161" y="58178"/>
                    <a:pt x="202320" y="58178"/>
                  </a:cubicBezTo>
                  <a:cubicBezTo>
                    <a:pt x="215918" y="58178"/>
                    <a:pt x="226797" y="63617"/>
                    <a:pt x="234956" y="77216"/>
                  </a:cubicBezTo>
                  <a:cubicBezTo>
                    <a:pt x="240395" y="88094"/>
                    <a:pt x="248554" y="96253"/>
                    <a:pt x="251274" y="107132"/>
                  </a:cubicBezTo>
                  <a:cubicBezTo>
                    <a:pt x="256713" y="120730"/>
                    <a:pt x="259433" y="134328"/>
                    <a:pt x="267592" y="147927"/>
                  </a:cubicBezTo>
                  <a:cubicBezTo>
                    <a:pt x="273031" y="158805"/>
                    <a:pt x="275751" y="172404"/>
                    <a:pt x="281190" y="183282"/>
                  </a:cubicBezTo>
                  <a:cubicBezTo>
                    <a:pt x="286630" y="196881"/>
                    <a:pt x="292069" y="210479"/>
                    <a:pt x="297508" y="224077"/>
                  </a:cubicBezTo>
                  <a:cubicBezTo>
                    <a:pt x="300228" y="237675"/>
                    <a:pt x="305667" y="251274"/>
                    <a:pt x="308387" y="264872"/>
                  </a:cubicBezTo>
                  <a:cubicBezTo>
                    <a:pt x="311106" y="278470"/>
                    <a:pt x="311106" y="289349"/>
                    <a:pt x="319265" y="300227"/>
                  </a:cubicBezTo>
                  <a:cubicBezTo>
                    <a:pt x="332864" y="324704"/>
                    <a:pt x="346462" y="351901"/>
                    <a:pt x="351901" y="379097"/>
                  </a:cubicBezTo>
                  <a:cubicBezTo>
                    <a:pt x="354621" y="392696"/>
                    <a:pt x="360060" y="403574"/>
                    <a:pt x="365500" y="417173"/>
                  </a:cubicBezTo>
                  <a:cubicBezTo>
                    <a:pt x="373659" y="430771"/>
                    <a:pt x="373659" y="444369"/>
                    <a:pt x="379098" y="457967"/>
                  </a:cubicBezTo>
                  <a:cubicBezTo>
                    <a:pt x="381818" y="471566"/>
                    <a:pt x="387257" y="482444"/>
                    <a:pt x="395416" y="496043"/>
                  </a:cubicBezTo>
                  <a:cubicBezTo>
                    <a:pt x="398136" y="501482"/>
                    <a:pt x="403575" y="506921"/>
                    <a:pt x="406294" y="512361"/>
                  </a:cubicBezTo>
                  <a:cubicBezTo>
                    <a:pt x="409014" y="517800"/>
                    <a:pt x="409014" y="525959"/>
                    <a:pt x="411734" y="531398"/>
                  </a:cubicBezTo>
                  <a:cubicBezTo>
                    <a:pt x="414453" y="539557"/>
                    <a:pt x="417173" y="550436"/>
                    <a:pt x="419893" y="558595"/>
                  </a:cubicBezTo>
                  <a:cubicBezTo>
                    <a:pt x="422613" y="561314"/>
                    <a:pt x="422613" y="564034"/>
                    <a:pt x="425332" y="564034"/>
                  </a:cubicBezTo>
                  <a:cubicBezTo>
                    <a:pt x="428052" y="564034"/>
                    <a:pt x="428052" y="561314"/>
                    <a:pt x="430771" y="558595"/>
                  </a:cubicBezTo>
                  <a:cubicBezTo>
                    <a:pt x="430771" y="555875"/>
                    <a:pt x="430771" y="553155"/>
                    <a:pt x="430771" y="550436"/>
                  </a:cubicBezTo>
                  <a:cubicBezTo>
                    <a:pt x="430771" y="534118"/>
                    <a:pt x="430771" y="517800"/>
                    <a:pt x="430771" y="501482"/>
                  </a:cubicBezTo>
                  <a:cubicBezTo>
                    <a:pt x="430771" y="468846"/>
                    <a:pt x="433491" y="436210"/>
                    <a:pt x="430771" y="403574"/>
                  </a:cubicBezTo>
                  <a:cubicBezTo>
                    <a:pt x="430771" y="373658"/>
                    <a:pt x="425332" y="343742"/>
                    <a:pt x="425332" y="313826"/>
                  </a:cubicBezTo>
                  <a:cubicBezTo>
                    <a:pt x="425332" y="292068"/>
                    <a:pt x="425332" y="270311"/>
                    <a:pt x="425332" y="248554"/>
                  </a:cubicBezTo>
                  <a:cubicBezTo>
                    <a:pt x="425332" y="234956"/>
                    <a:pt x="425332" y="224077"/>
                    <a:pt x="425332" y="210479"/>
                  </a:cubicBezTo>
                  <a:cubicBezTo>
                    <a:pt x="425332" y="191441"/>
                    <a:pt x="422613" y="172404"/>
                    <a:pt x="422613" y="153366"/>
                  </a:cubicBezTo>
                  <a:cubicBezTo>
                    <a:pt x="422613" y="142487"/>
                    <a:pt x="422613" y="134328"/>
                    <a:pt x="425332" y="123450"/>
                  </a:cubicBezTo>
                  <a:cubicBezTo>
                    <a:pt x="417173" y="123450"/>
                    <a:pt x="406294" y="123450"/>
                    <a:pt x="398136" y="123450"/>
                  </a:cubicBezTo>
                  <a:cubicBezTo>
                    <a:pt x="392696" y="123450"/>
                    <a:pt x="387257" y="123450"/>
                    <a:pt x="379098" y="123450"/>
                  </a:cubicBezTo>
                  <a:cubicBezTo>
                    <a:pt x="373659" y="123450"/>
                    <a:pt x="365500" y="120730"/>
                    <a:pt x="360060" y="118011"/>
                  </a:cubicBezTo>
                  <a:cubicBezTo>
                    <a:pt x="354621" y="115291"/>
                    <a:pt x="349182" y="107132"/>
                    <a:pt x="349182" y="101693"/>
                  </a:cubicBezTo>
                  <a:cubicBezTo>
                    <a:pt x="349182" y="98973"/>
                    <a:pt x="349182" y="96253"/>
                    <a:pt x="351901" y="93534"/>
                  </a:cubicBezTo>
                  <a:cubicBezTo>
                    <a:pt x="354621" y="90814"/>
                    <a:pt x="362780" y="88094"/>
                    <a:pt x="368219" y="85375"/>
                  </a:cubicBezTo>
                  <a:cubicBezTo>
                    <a:pt x="381818" y="82655"/>
                    <a:pt x="417173" y="79935"/>
                    <a:pt x="422613" y="79935"/>
                  </a:cubicBezTo>
                  <a:cubicBezTo>
                    <a:pt x="428052" y="79935"/>
                    <a:pt x="433491" y="79935"/>
                    <a:pt x="444370" y="79935"/>
                  </a:cubicBezTo>
                  <a:cubicBezTo>
                    <a:pt x="449809" y="74496"/>
                    <a:pt x="455248" y="71776"/>
                    <a:pt x="463407" y="71776"/>
                  </a:cubicBezTo>
                  <a:cubicBezTo>
                    <a:pt x="471566" y="71776"/>
                    <a:pt x="477006" y="74496"/>
                    <a:pt x="477006" y="79935"/>
                  </a:cubicBezTo>
                  <a:cubicBezTo>
                    <a:pt x="493324" y="79935"/>
                    <a:pt x="506922" y="79935"/>
                    <a:pt x="515081" y="79935"/>
                  </a:cubicBezTo>
                  <a:lnTo>
                    <a:pt x="515081" y="79935"/>
                  </a:ln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: Shape 38">
              <a:extLst>
                <a:ext uri="{FF2B5EF4-FFF2-40B4-BE49-F238E27FC236}">
                  <a16:creationId xmlns:a16="http://schemas.microsoft.com/office/drawing/2014/main" id="{26D7F20F-A650-4743-9FC0-A2573AB641DE}"/>
                </a:ext>
              </a:extLst>
            </p:cNvPr>
            <p:cNvSpPr/>
            <p:nvPr/>
          </p:nvSpPr>
          <p:spPr bwMode="black">
            <a:xfrm>
              <a:off x="5139126" y="4192158"/>
              <a:ext cx="516735" cy="788700"/>
            </a:xfrm>
            <a:custGeom>
              <a:avLst/>
              <a:gdLst>
                <a:gd name="connsiteX0" fmla="*/ 464616 w 516735"/>
                <a:gd name="connsiteY0" fmla="*/ 436210 h 788699"/>
                <a:gd name="connsiteX1" fmla="*/ 445578 w 516735"/>
                <a:gd name="connsiteY1" fmla="*/ 455248 h 788699"/>
                <a:gd name="connsiteX2" fmla="*/ 404784 w 516735"/>
                <a:gd name="connsiteY2" fmla="*/ 466126 h 788699"/>
                <a:gd name="connsiteX3" fmla="*/ 385746 w 516735"/>
                <a:gd name="connsiteY3" fmla="*/ 479725 h 788699"/>
                <a:gd name="connsiteX4" fmla="*/ 388466 w 516735"/>
                <a:gd name="connsiteY4" fmla="*/ 512361 h 788699"/>
                <a:gd name="connsiteX5" fmla="*/ 388466 w 516735"/>
                <a:gd name="connsiteY5" fmla="*/ 544997 h 788699"/>
                <a:gd name="connsiteX6" fmla="*/ 388466 w 516735"/>
                <a:gd name="connsiteY6" fmla="*/ 566754 h 788699"/>
                <a:gd name="connsiteX7" fmla="*/ 391185 w 516735"/>
                <a:gd name="connsiteY7" fmla="*/ 632026 h 788699"/>
                <a:gd name="connsiteX8" fmla="*/ 393905 w 516735"/>
                <a:gd name="connsiteY8" fmla="*/ 683699 h 788699"/>
                <a:gd name="connsiteX9" fmla="*/ 377587 w 516735"/>
                <a:gd name="connsiteY9" fmla="*/ 724494 h 788699"/>
                <a:gd name="connsiteX10" fmla="*/ 361269 w 516735"/>
                <a:gd name="connsiteY10" fmla="*/ 719054 h 788699"/>
                <a:gd name="connsiteX11" fmla="*/ 353110 w 516735"/>
                <a:gd name="connsiteY11" fmla="*/ 702737 h 788699"/>
                <a:gd name="connsiteX12" fmla="*/ 350390 w 516735"/>
                <a:gd name="connsiteY12" fmla="*/ 686419 h 788699"/>
                <a:gd name="connsiteX13" fmla="*/ 353110 w 516735"/>
                <a:gd name="connsiteY13" fmla="*/ 659222 h 788699"/>
                <a:gd name="connsiteX14" fmla="*/ 353110 w 516735"/>
                <a:gd name="connsiteY14" fmla="*/ 656502 h 788699"/>
                <a:gd name="connsiteX15" fmla="*/ 317755 w 516735"/>
                <a:gd name="connsiteY15" fmla="*/ 708176 h 788699"/>
                <a:gd name="connsiteX16" fmla="*/ 241604 w 516735"/>
                <a:gd name="connsiteY16" fmla="*/ 735372 h 788699"/>
                <a:gd name="connsiteX17" fmla="*/ 187211 w 516735"/>
                <a:gd name="connsiteY17" fmla="*/ 727214 h 788699"/>
                <a:gd name="connsiteX18" fmla="*/ 135538 w 516735"/>
                <a:gd name="connsiteY18" fmla="*/ 694578 h 788699"/>
                <a:gd name="connsiteX19" fmla="*/ 86584 w 516735"/>
                <a:gd name="connsiteY19" fmla="*/ 621147 h 788699"/>
                <a:gd name="connsiteX20" fmla="*/ 67546 w 516735"/>
                <a:gd name="connsiteY20" fmla="*/ 555875 h 788699"/>
                <a:gd name="connsiteX21" fmla="*/ 59387 w 516735"/>
                <a:gd name="connsiteY21" fmla="*/ 509641 h 788699"/>
                <a:gd name="connsiteX22" fmla="*/ 59387 w 516735"/>
                <a:gd name="connsiteY22" fmla="*/ 468846 h 788699"/>
                <a:gd name="connsiteX23" fmla="*/ 86584 w 516735"/>
                <a:gd name="connsiteY23" fmla="*/ 302947 h 788699"/>
                <a:gd name="connsiteX24" fmla="*/ 108341 w 516735"/>
                <a:gd name="connsiteY24" fmla="*/ 224077 h 788699"/>
                <a:gd name="connsiteX25" fmla="*/ 146416 w 516735"/>
                <a:gd name="connsiteY25" fmla="*/ 145207 h 788699"/>
                <a:gd name="connsiteX26" fmla="*/ 198090 w 516735"/>
                <a:gd name="connsiteY26" fmla="*/ 85375 h 788699"/>
                <a:gd name="connsiteX27" fmla="*/ 228006 w 516735"/>
                <a:gd name="connsiteY27" fmla="*/ 69057 h 788699"/>
                <a:gd name="connsiteX28" fmla="*/ 268801 w 516735"/>
                <a:gd name="connsiteY28" fmla="*/ 58178 h 788699"/>
                <a:gd name="connsiteX29" fmla="*/ 274240 w 516735"/>
                <a:gd name="connsiteY29" fmla="*/ 58178 h 788699"/>
                <a:gd name="connsiteX30" fmla="*/ 295997 w 516735"/>
                <a:gd name="connsiteY30" fmla="*/ 60898 h 788699"/>
                <a:gd name="connsiteX31" fmla="*/ 331353 w 516735"/>
                <a:gd name="connsiteY31" fmla="*/ 71776 h 788699"/>
                <a:gd name="connsiteX32" fmla="*/ 350390 w 516735"/>
                <a:gd name="connsiteY32" fmla="*/ 93534 h 788699"/>
                <a:gd name="connsiteX33" fmla="*/ 353110 w 516735"/>
                <a:gd name="connsiteY33" fmla="*/ 74496 h 788699"/>
                <a:gd name="connsiteX34" fmla="*/ 358549 w 516735"/>
                <a:gd name="connsiteY34" fmla="*/ 63618 h 788699"/>
                <a:gd name="connsiteX35" fmla="*/ 366708 w 516735"/>
                <a:gd name="connsiteY35" fmla="*/ 58178 h 788699"/>
                <a:gd name="connsiteX36" fmla="*/ 374867 w 516735"/>
                <a:gd name="connsiteY36" fmla="*/ 63618 h 788699"/>
                <a:gd name="connsiteX37" fmla="*/ 383026 w 516735"/>
                <a:gd name="connsiteY37" fmla="*/ 82655 h 788699"/>
                <a:gd name="connsiteX38" fmla="*/ 385746 w 516735"/>
                <a:gd name="connsiteY38" fmla="*/ 126170 h 788699"/>
                <a:gd name="connsiteX39" fmla="*/ 388466 w 516735"/>
                <a:gd name="connsiteY39" fmla="*/ 186002 h 788699"/>
                <a:gd name="connsiteX40" fmla="*/ 391185 w 516735"/>
                <a:gd name="connsiteY40" fmla="*/ 237676 h 788699"/>
                <a:gd name="connsiteX41" fmla="*/ 374867 w 516735"/>
                <a:gd name="connsiteY41" fmla="*/ 278470 h 788699"/>
                <a:gd name="connsiteX42" fmla="*/ 358549 w 516735"/>
                <a:gd name="connsiteY42" fmla="*/ 273031 h 788699"/>
                <a:gd name="connsiteX43" fmla="*/ 350390 w 516735"/>
                <a:gd name="connsiteY43" fmla="*/ 256713 h 788699"/>
                <a:gd name="connsiteX44" fmla="*/ 347671 w 516735"/>
                <a:gd name="connsiteY44" fmla="*/ 240395 h 788699"/>
                <a:gd name="connsiteX45" fmla="*/ 347671 w 516735"/>
                <a:gd name="connsiteY45" fmla="*/ 213199 h 788699"/>
                <a:gd name="connsiteX46" fmla="*/ 344951 w 516735"/>
                <a:gd name="connsiteY46" fmla="*/ 194161 h 788699"/>
                <a:gd name="connsiteX47" fmla="*/ 339512 w 516735"/>
                <a:gd name="connsiteY47" fmla="*/ 150647 h 788699"/>
                <a:gd name="connsiteX48" fmla="*/ 323194 w 516735"/>
                <a:gd name="connsiteY48" fmla="*/ 112571 h 788699"/>
                <a:gd name="connsiteX49" fmla="*/ 293278 w 516735"/>
                <a:gd name="connsiteY49" fmla="*/ 101693 h 788699"/>
                <a:gd name="connsiteX50" fmla="*/ 263361 w 516735"/>
                <a:gd name="connsiteY50" fmla="*/ 120730 h 788699"/>
                <a:gd name="connsiteX51" fmla="*/ 241604 w 516735"/>
                <a:gd name="connsiteY51" fmla="*/ 153366 h 788699"/>
                <a:gd name="connsiteX52" fmla="*/ 233445 w 516735"/>
                <a:gd name="connsiteY52" fmla="*/ 194161 h 788699"/>
                <a:gd name="connsiteX53" fmla="*/ 225286 w 516735"/>
                <a:gd name="connsiteY53" fmla="*/ 232236 h 788699"/>
                <a:gd name="connsiteX54" fmla="*/ 217127 w 516735"/>
                <a:gd name="connsiteY54" fmla="*/ 275751 h 788699"/>
                <a:gd name="connsiteX55" fmla="*/ 211688 w 516735"/>
                <a:gd name="connsiteY55" fmla="*/ 316545 h 788699"/>
                <a:gd name="connsiteX56" fmla="*/ 206249 w 516735"/>
                <a:gd name="connsiteY56" fmla="*/ 354621 h 788699"/>
                <a:gd name="connsiteX57" fmla="*/ 200809 w 516735"/>
                <a:gd name="connsiteY57" fmla="*/ 398135 h 788699"/>
                <a:gd name="connsiteX58" fmla="*/ 195370 w 516735"/>
                <a:gd name="connsiteY58" fmla="*/ 438930 h 788699"/>
                <a:gd name="connsiteX59" fmla="*/ 192650 w 516735"/>
                <a:gd name="connsiteY59" fmla="*/ 474286 h 788699"/>
                <a:gd name="connsiteX60" fmla="*/ 195370 w 516735"/>
                <a:gd name="connsiteY60" fmla="*/ 525959 h 788699"/>
                <a:gd name="connsiteX61" fmla="*/ 208968 w 516735"/>
                <a:gd name="connsiteY61" fmla="*/ 596670 h 788699"/>
                <a:gd name="connsiteX62" fmla="*/ 214407 w 516735"/>
                <a:gd name="connsiteY62" fmla="*/ 623867 h 788699"/>
                <a:gd name="connsiteX63" fmla="*/ 228006 w 516735"/>
                <a:gd name="connsiteY63" fmla="*/ 656502 h 788699"/>
                <a:gd name="connsiteX64" fmla="*/ 271520 w 516735"/>
                <a:gd name="connsiteY64" fmla="*/ 689138 h 788699"/>
                <a:gd name="connsiteX65" fmla="*/ 306876 w 516735"/>
                <a:gd name="connsiteY65" fmla="*/ 664661 h 788699"/>
                <a:gd name="connsiteX66" fmla="*/ 331353 w 516735"/>
                <a:gd name="connsiteY66" fmla="*/ 602109 h 788699"/>
                <a:gd name="connsiteX67" fmla="*/ 336792 w 516735"/>
                <a:gd name="connsiteY67" fmla="*/ 544997 h 788699"/>
                <a:gd name="connsiteX68" fmla="*/ 336792 w 516735"/>
                <a:gd name="connsiteY68" fmla="*/ 498762 h 788699"/>
                <a:gd name="connsiteX69" fmla="*/ 336792 w 516735"/>
                <a:gd name="connsiteY69" fmla="*/ 490603 h 788699"/>
                <a:gd name="connsiteX70" fmla="*/ 320474 w 516735"/>
                <a:gd name="connsiteY70" fmla="*/ 477005 h 788699"/>
                <a:gd name="connsiteX71" fmla="*/ 282399 w 516735"/>
                <a:gd name="connsiteY71" fmla="*/ 479725 h 788699"/>
                <a:gd name="connsiteX72" fmla="*/ 252483 w 516735"/>
                <a:gd name="connsiteY72" fmla="*/ 474286 h 788699"/>
                <a:gd name="connsiteX73" fmla="*/ 247043 w 516735"/>
                <a:gd name="connsiteY73" fmla="*/ 466126 h 788699"/>
                <a:gd name="connsiteX74" fmla="*/ 249763 w 516735"/>
                <a:gd name="connsiteY74" fmla="*/ 457968 h 788699"/>
                <a:gd name="connsiteX75" fmla="*/ 268801 w 516735"/>
                <a:gd name="connsiteY75" fmla="*/ 447089 h 788699"/>
                <a:gd name="connsiteX76" fmla="*/ 312315 w 516735"/>
                <a:gd name="connsiteY76" fmla="*/ 436210 h 788699"/>
                <a:gd name="connsiteX77" fmla="*/ 353110 w 516735"/>
                <a:gd name="connsiteY77" fmla="*/ 430771 h 788699"/>
                <a:gd name="connsiteX78" fmla="*/ 385746 w 516735"/>
                <a:gd name="connsiteY78" fmla="*/ 430771 h 788699"/>
                <a:gd name="connsiteX79" fmla="*/ 437420 w 516735"/>
                <a:gd name="connsiteY79" fmla="*/ 428051 h 788699"/>
                <a:gd name="connsiteX80" fmla="*/ 464616 w 516735"/>
                <a:gd name="connsiteY80" fmla="*/ 436210 h 7886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</a:cxnLst>
              <a:rect l="l" t="t" r="r" b="b"/>
              <a:pathLst>
                <a:path w="516735" h="788699">
                  <a:moveTo>
                    <a:pt x="464616" y="436210"/>
                  </a:moveTo>
                  <a:cubicBezTo>
                    <a:pt x="464616" y="447089"/>
                    <a:pt x="453737" y="452528"/>
                    <a:pt x="445578" y="455248"/>
                  </a:cubicBezTo>
                  <a:cubicBezTo>
                    <a:pt x="434700" y="460687"/>
                    <a:pt x="415662" y="463407"/>
                    <a:pt x="404784" y="466126"/>
                  </a:cubicBezTo>
                  <a:cubicBezTo>
                    <a:pt x="393905" y="466126"/>
                    <a:pt x="385746" y="468846"/>
                    <a:pt x="385746" y="479725"/>
                  </a:cubicBezTo>
                  <a:cubicBezTo>
                    <a:pt x="385746" y="487884"/>
                    <a:pt x="388466" y="506921"/>
                    <a:pt x="388466" y="512361"/>
                  </a:cubicBezTo>
                  <a:cubicBezTo>
                    <a:pt x="388466" y="515080"/>
                    <a:pt x="388466" y="539557"/>
                    <a:pt x="388466" y="544997"/>
                  </a:cubicBezTo>
                  <a:cubicBezTo>
                    <a:pt x="388466" y="550436"/>
                    <a:pt x="388466" y="558595"/>
                    <a:pt x="388466" y="566754"/>
                  </a:cubicBezTo>
                  <a:cubicBezTo>
                    <a:pt x="388466" y="591231"/>
                    <a:pt x="388466" y="621147"/>
                    <a:pt x="391185" y="632026"/>
                  </a:cubicBezTo>
                  <a:cubicBezTo>
                    <a:pt x="393905" y="653783"/>
                    <a:pt x="393905" y="661942"/>
                    <a:pt x="393905" y="683699"/>
                  </a:cubicBezTo>
                  <a:cubicBezTo>
                    <a:pt x="393905" y="694578"/>
                    <a:pt x="393905" y="724494"/>
                    <a:pt x="377587" y="724494"/>
                  </a:cubicBezTo>
                  <a:cubicBezTo>
                    <a:pt x="369428" y="724494"/>
                    <a:pt x="366708" y="721774"/>
                    <a:pt x="361269" y="719054"/>
                  </a:cubicBezTo>
                  <a:cubicBezTo>
                    <a:pt x="355830" y="716335"/>
                    <a:pt x="353110" y="708176"/>
                    <a:pt x="353110" y="702737"/>
                  </a:cubicBezTo>
                  <a:cubicBezTo>
                    <a:pt x="350390" y="694578"/>
                    <a:pt x="350390" y="689138"/>
                    <a:pt x="350390" y="686419"/>
                  </a:cubicBezTo>
                  <a:cubicBezTo>
                    <a:pt x="350390" y="678260"/>
                    <a:pt x="353110" y="672820"/>
                    <a:pt x="353110" y="659222"/>
                  </a:cubicBezTo>
                  <a:lnTo>
                    <a:pt x="353110" y="656502"/>
                  </a:lnTo>
                  <a:cubicBezTo>
                    <a:pt x="347671" y="675540"/>
                    <a:pt x="334072" y="694578"/>
                    <a:pt x="317755" y="708176"/>
                  </a:cubicBezTo>
                  <a:cubicBezTo>
                    <a:pt x="293278" y="727214"/>
                    <a:pt x="274240" y="735372"/>
                    <a:pt x="241604" y="735372"/>
                  </a:cubicBezTo>
                  <a:cubicBezTo>
                    <a:pt x="222566" y="735372"/>
                    <a:pt x="203529" y="732653"/>
                    <a:pt x="187211" y="727214"/>
                  </a:cubicBezTo>
                  <a:cubicBezTo>
                    <a:pt x="165454" y="719054"/>
                    <a:pt x="149136" y="708176"/>
                    <a:pt x="135538" y="694578"/>
                  </a:cubicBezTo>
                  <a:cubicBezTo>
                    <a:pt x="113780" y="672820"/>
                    <a:pt x="100182" y="648343"/>
                    <a:pt x="86584" y="621147"/>
                  </a:cubicBezTo>
                  <a:cubicBezTo>
                    <a:pt x="75705" y="599390"/>
                    <a:pt x="70266" y="580352"/>
                    <a:pt x="67546" y="555875"/>
                  </a:cubicBezTo>
                  <a:cubicBezTo>
                    <a:pt x="64826" y="539557"/>
                    <a:pt x="62107" y="525959"/>
                    <a:pt x="59387" y="509641"/>
                  </a:cubicBezTo>
                  <a:cubicBezTo>
                    <a:pt x="56667" y="493323"/>
                    <a:pt x="59387" y="485164"/>
                    <a:pt x="59387" y="468846"/>
                  </a:cubicBezTo>
                  <a:cubicBezTo>
                    <a:pt x="59387" y="414453"/>
                    <a:pt x="72985" y="362780"/>
                    <a:pt x="86584" y="302947"/>
                  </a:cubicBezTo>
                  <a:cubicBezTo>
                    <a:pt x="92023" y="275751"/>
                    <a:pt x="100182" y="248554"/>
                    <a:pt x="108341" y="224077"/>
                  </a:cubicBezTo>
                  <a:cubicBezTo>
                    <a:pt x="116500" y="196881"/>
                    <a:pt x="130098" y="169684"/>
                    <a:pt x="146416" y="145207"/>
                  </a:cubicBezTo>
                  <a:cubicBezTo>
                    <a:pt x="160014" y="123450"/>
                    <a:pt x="176332" y="101693"/>
                    <a:pt x="198090" y="85375"/>
                  </a:cubicBezTo>
                  <a:cubicBezTo>
                    <a:pt x="206249" y="77216"/>
                    <a:pt x="217127" y="71776"/>
                    <a:pt x="228006" y="69057"/>
                  </a:cubicBezTo>
                  <a:cubicBezTo>
                    <a:pt x="241604" y="63618"/>
                    <a:pt x="255202" y="58178"/>
                    <a:pt x="268801" y="58178"/>
                  </a:cubicBezTo>
                  <a:cubicBezTo>
                    <a:pt x="271520" y="58178"/>
                    <a:pt x="274240" y="58178"/>
                    <a:pt x="274240" y="58178"/>
                  </a:cubicBezTo>
                  <a:cubicBezTo>
                    <a:pt x="279679" y="58178"/>
                    <a:pt x="285119" y="58178"/>
                    <a:pt x="295997" y="60898"/>
                  </a:cubicBezTo>
                  <a:cubicBezTo>
                    <a:pt x="309595" y="63618"/>
                    <a:pt x="320474" y="66337"/>
                    <a:pt x="331353" y="71776"/>
                  </a:cubicBezTo>
                  <a:cubicBezTo>
                    <a:pt x="339512" y="77216"/>
                    <a:pt x="347671" y="85375"/>
                    <a:pt x="350390" y="93534"/>
                  </a:cubicBezTo>
                  <a:cubicBezTo>
                    <a:pt x="350390" y="88095"/>
                    <a:pt x="353110" y="79936"/>
                    <a:pt x="353110" y="74496"/>
                  </a:cubicBezTo>
                  <a:cubicBezTo>
                    <a:pt x="355830" y="71776"/>
                    <a:pt x="355830" y="69057"/>
                    <a:pt x="358549" y="63618"/>
                  </a:cubicBezTo>
                  <a:cubicBezTo>
                    <a:pt x="361269" y="60898"/>
                    <a:pt x="363989" y="58178"/>
                    <a:pt x="366708" y="58178"/>
                  </a:cubicBezTo>
                  <a:cubicBezTo>
                    <a:pt x="369428" y="58178"/>
                    <a:pt x="372148" y="60898"/>
                    <a:pt x="374867" y="63618"/>
                  </a:cubicBezTo>
                  <a:cubicBezTo>
                    <a:pt x="377587" y="69057"/>
                    <a:pt x="380307" y="77216"/>
                    <a:pt x="383026" y="82655"/>
                  </a:cubicBezTo>
                  <a:cubicBezTo>
                    <a:pt x="383026" y="90814"/>
                    <a:pt x="385746" y="107132"/>
                    <a:pt x="385746" y="126170"/>
                  </a:cubicBezTo>
                  <a:cubicBezTo>
                    <a:pt x="385746" y="150647"/>
                    <a:pt x="385746" y="177843"/>
                    <a:pt x="388466" y="186002"/>
                  </a:cubicBezTo>
                  <a:cubicBezTo>
                    <a:pt x="391185" y="207759"/>
                    <a:pt x="391185" y="215918"/>
                    <a:pt x="391185" y="237676"/>
                  </a:cubicBezTo>
                  <a:cubicBezTo>
                    <a:pt x="391185" y="248554"/>
                    <a:pt x="391185" y="278470"/>
                    <a:pt x="374867" y="278470"/>
                  </a:cubicBezTo>
                  <a:cubicBezTo>
                    <a:pt x="366708" y="278470"/>
                    <a:pt x="363989" y="275751"/>
                    <a:pt x="358549" y="273031"/>
                  </a:cubicBezTo>
                  <a:cubicBezTo>
                    <a:pt x="353110" y="270311"/>
                    <a:pt x="350390" y="262152"/>
                    <a:pt x="350390" y="256713"/>
                  </a:cubicBezTo>
                  <a:cubicBezTo>
                    <a:pt x="350390" y="251274"/>
                    <a:pt x="347671" y="245834"/>
                    <a:pt x="347671" y="240395"/>
                  </a:cubicBezTo>
                  <a:cubicBezTo>
                    <a:pt x="347671" y="232236"/>
                    <a:pt x="347671" y="224077"/>
                    <a:pt x="347671" y="213199"/>
                  </a:cubicBezTo>
                  <a:cubicBezTo>
                    <a:pt x="347671" y="207759"/>
                    <a:pt x="347671" y="199600"/>
                    <a:pt x="344951" y="194161"/>
                  </a:cubicBezTo>
                  <a:cubicBezTo>
                    <a:pt x="342232" y="180563"/>
                    <a:pt x="342232" y="164245"/>
                    <a:pt x="339512" y="150647"/>
                  </a:cubicBezTo>
                  <a:cubicBezTo>
                    <a:pt x="336792" y="137048"/>
                    <a:pt x="331353" y="123450"/>
                    <a:pt x="323194" y="112571"/>
                  </a:cubicBezTo>
                  <a:cubicBezTo>
                    <a:pt x="317755" y="104412"/>
                    <a:pt x="304156" y="101693"/>
                    <a:pt x="293278" y="101693"/>
                  </a:cubicBezTo>
                  <a:cubicBezTo>
                    <a:pt x="279679" y="101693"/>
                    <a:pt x="271520" y="109852"/>
                    <a:pt x="263361" y="120730"/>
                  </a:cubicBezTo>
                  <a:cubicBezTo>
                    <a:pt x="257922" y="131609"/>
                    <a:pt x="247043" y="139768"/>
                    <a:pt x="241604" y="153366"/>
                  </a:cubicBezTo>
                  <a:cubicBezTo>
                    <a:pt x="236165" y="166964"/>
                    <a:pt x="233445" y="180563"/>
                    <a:pt x="233445" y="194161"/>
                  </a:cubicBezTo>
                  <a:cubicBezTo>
                    <a:pt x="233445" y="207759"/>
                    <a:pt x="230726" y="218638"/>
                    <a:pt x="225286" y="232236"/>
                  </a:cubicBezTo>
                  <a:cubicBezTo>
                    <a:pt x="219847" y="245834"/>
                    <a:pt x="219847" y="262152"/>
                    <a:pt x="217127" y="275751"/>
                  </a:cubicBezTo>
                  <a:cubicBezTo>
                    <a:pt x="214407" y="289349"/>
                    <a:pt x="214407" y="302947"/>
                    <a:pt x="211688" y="316545"/>
                  </a:cubicBezTo>
                  <a:cubicBezTo>
                    <a:pt x="211688" y="330144"/>
                    <a:pt x="206249" y="341022"/>
                    <a:pt x="206249" y="354621"/>
                  </a:cubicBezTo>
                  <a:cubicBezTo>
                    <a:pt x="203529" y="368219"/>
                    <a:pt x="203529" y="381817"/>
                    <a:pt x="200809" y="398135"/>
                  </a:cubicBezTo>
                  <a:cubicBezTo>
                    <a:pt x="198090" y="411733"/>
                    <a:pt x="198090" y="425332"/>
                    <a:pt x="195370" y="438930"/>
                  </a:cubicBezTo>
                  <a:cubicBezTo>
                    <a:pt x="195370" y="449809"/>
                    <a:pt x="192650" y="463407"/>
                    <a:pt x="192650" y="474286"/>
                  </a:cubicBezTo>
                  <a:cubicBezTo>
                    <a:pt x="192650" y="490603"/>
                    <a:pt x="195370" y="509641"/>
                    <a:pt x="195370" y="525959"/>
                  </a:cubicBezTo>
                  <a:cubicBezTo>
                    <a:pt x="195370" y="550436"/>
                    <a:pt x="203529" y="572193"/>
                    <a:pt x="208968" y="596670"/>
                  </a:cubicBezTo>
                  <a:cubicBezTo>
                    <a:pt x="211688" y="604829"/>
                    <a:pt x="211688" y="615708"/>
                    <a:pt x="214407" y="623867"/>
                  </a:cubicBezTo>
                  <a:cubicBezTo>
                    <a:pt x="217127" y="634745"/>
                    <a:pt x="222566" y="645624"/>
                    <a:pt x="228006" y="656502"/>
                  </a:cubicBezTo>
                  <a:cubicBezTo>
                    <a:pt x="236165" y="670101"/>
                    <a:pt x="252483" y="689138"/>
                    <a:pt x="271520" y="689138"/>
                  </a:cubicBezTo>
                  <a:cubicBezTo>
                    <a:pt x="287838" y="689138"/>
                    <a:pt x="298717" y="675540"/>
                    <a:pt x="306876" y="664661"/>
                  </a:cubicBezTo>
                  <a:cubicBezTo>
                    <a:pt x="320474" y="645624"/>
                    <a:pt x="325914" y="623867"/>
                    <a:pt x="331353" y="602109"/>
                  </a:cubicBezTo>
                  <a:cubicBezTo>
                    <a:pt x="334072" y="583072"/>
                    <a:pt x="336792" y="564034"/>
                    <a:pt x="336792" y="544997"/>
                  </a:cubicBezTo>
                  <a:cubicBezTo>
                    <a:pt x="336792" y="531398"/>
                    <a:pt x="336792" y="512361"/>
                    <a:pt x="336792" y="498762"/>
                  </a:cubicBezTo>
                  <a:cubicBezTo>
                    <a:pt x="336792" y="496043"/>
                    <a:pt x="336792" y="493323"/>
                    <a:pt x="336792" y="490603"/>
                  </a:cubicBezTo>
                  <a:cubicBezTo>
                    <a:pt x="336792" y="479725"/>
                    <a:pt x="336792" y="477005"/>
                    <a:pt x="320474" y="477005"/>
                  </a:cubicBezTo>
                  <a:cubicBezTo>
                    <a:pt x="309595" y="477005"/>
                    <a:pt x="295997" y="479725"/>
                    <a:pt x="282399" y="479725"/>
                  </a:cubicBezTo>
                  <a:cubicBezTo>
                    <a:pt x="271520" y="479725"/>
                    <a:pt x="260642" y="479725"/>
                    <a:pt x="252483" y="474286"/>
                  </a:cubicBezTo>
                  <a:cubicBezTo>
                    <a:pt x="249763" y="471566"/>
                    <a:pt x="247043" y="468846"/>
                    <a:pt x="247043" y="466126"/>
                  </a:cubicBezTo>
                  <a:cubicBezTo>
                    <a:pt x="247043" y="463407"/>
                    <a:pt x="247043" y="460687"/>
                    <a:pt x="249763" y="457968"/>
                  </a:cubicBezTo>
                  <a:cubicBezTo>
                    <a:pt x="255202" y="452528"/>
                    <a:pt x="260642" y="449809"/>
                    <a:pt x="268801" y="447089"/>
                  </a:cubicBezTo>
                  <a:cubicBezTo>
                    <a:pt x="282399" y="441650"/>
                    <a:pt x="295997" y="438930"/>
                    <a:pt x="312315" y="436210"/>
                  </a:cubicBezTo>
                  <a:cubicBezTo>
                    <a:pt x="325914" y="433491"/>
                    <a:pt x="339512" y="433491"/>
                    <a:pt x="353110" y="430771"/>
                  </a:cubicBezTo>
                  <a:cubicBezTo>
                    <a:pt x="363989" y="430771"/>
                    <a:pt x="374867" y="430771"/>
                    <a:pt x="385746" y="430771"/>
                  </a:cubicBezTo>
                  <a:cubicBezTo>
                    <a:pt x="402064" y="430771"/>
                    <a:pt x="426541" y="428051"/>
                    <a:pt x="437420" y="428051"/>
                  </a:cubicBezTo>
                  <a:cubicBezTo>
                    <a:pt x="451018" y="419892"/>
                    <a:pt x="464616" y="425332"/>
                    <a:pt x="464616" y="436210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0" name="Freeform: Shape 39">
              <a:extLst>
                <a:ext uri="{FF2B5EF4-FFF2-40B4-BE49-F238E27FC236}">
                  <a16:creationId xmlns:a16="http://schemas.microsoft.com/office/drawing/2014/main" id="{DCBE3A4A-2817-40F0-9829-E5E0844F1DDF}"/>
                </a:ext>
              </a:extLst>
            </p:cNvPr>
            <p:cNvSpPr/>
            <p:nvPr/>
          </p:nvSpPr>
          <p:spPr bwMode="black">
            <a:xfrm>
              <a:off x="5651630" y="4181279"/>
              <a:ext cx="734308" cy="788700"/>
            </a:xfrm>
            <a:custGeom>
              <a:avLst/>
              <a:gdLst>
                <a:gd name="connsiteX0" fmla="*/ 653783 w 734307"/>
                <a:gd name="connsiteY0" fmla="*/ 678259 h 788699"/>
                <a:gd name="connsiteX1" fmla="*/ 691859 w 734307"/>
                <a:gd name="connsiteY1" fmla="*/ 694577 h 788699"/>
                <a:gd name="connsiteX2" fmla="*/ 686419 w 734307"/>
                <a:gd name="connsiteY2" fmla="*/ 710895 h 788699"/>
                <a:gd name="connsiteX3" fmla="*/ 670101 w 734307"/>
                <a:gd name="connsiteY3" fmla="*/ 719054 h 788699"/>
                <a:gd name="connsiteX4" fmla="*/ 648344 w 734307"/>
                <a:gd name="connsiteY4" fmla="*/ 721774 h 788699"/>
                <a:gd name="connsiteX5" fmla="*/ 618428 w 734307"/>
                <a:gd name="connsiteY5" fmla="*/ 721774 h 788699"/>
                <a:gd name="connsiteX6" fmla="*/ 572194 w 734307"/>
                <a:gd name="connsiteY6" fmla="*/ 735372 h 788699"/>
                <a:gd name="connsiteX7" fmla="*/ 544997 w 734307"/>
                <a:gd name="connsiteY7" fmla="*/ 729933 h 788699"/>
                <a:gd name="connsiteX8" fmla="*/ 534119 w 734307"/>
                <a:gd name="connsiteY8" fmla="*/ 721774 h 788699"/>
                <a:gd name="connsiteX9" fmla="*/ 496043 w 734307"/>
                <a:gd name="connsiteY9" fmla="*/ 721774 h 788699"/>
                <a:gd name="connsiteX10" fmla="*/ 471566 w 734307"/>
                <a:gd name="connsiteY10" fmla="*/ 721774 h 788699"/>
                <a:gd name="connsiteX11" fmla="*/ 444370 w 734307"/>
                <a:gd name="connsiteY11" fmla="*/ 716335 h 788699"/>
                <a:gd name="connsiteX12" fmla="*/ 428052 w 734307"/>
                <a:gd name="connsiteY12" fmla="*/ 700017 h 788699"/>
                <a:gd name="connsiteX13" fmla="*/ 433491 w 734307"/>
                <a:gd name="connsiteY13" fmla="*/ 691858 h 788699"/>
                <a:gd name="connsiteX14" fmla="*/ 455248 w 734307"/>
                <a:gd name="connsiteY14" fmla="*/ 683699 h 788699"/>
                <a:gd name="connsiteX15" fmla="*/ 506922 w 734307"/>
                <a:gd name="connsiteY15" fmla="*/ 678259 h 788699"/>
                <a:gd name="connsiteX16" fmla="*/ 509641 w 734307"/>
                <a:gd name="connsiteY16" fmla="*/ 678259 h 788699"/>
                <a:gd name="connsiteX17" fmla="*/ 506922 w 734307"/>
                <a:gd name="connsiteY17" fmla="*/ 664661 h 788699"/>
                <a:gd name="connsiteX18" fmla="*/ 498763 w 734307"/>
                <a:gd name="connsiteY18" fmla="*/ 580352 h 788699"/>
                <a:gd name="connsiteX19" fmla="*/ 496043 w 734307"/>
                <a:gd name="connsiteY19" fmla="*/ 479725 h 788699"/>
                <a:gd name="connsiteX20" fmla="*/ 493324 w 734307"/>
                <a:gd name="connsiteY20" fmla="*/ 389976 h 788699"/>
                <a:gd name="connsiteX21" fmla="*/ 490604 w 734307"/>
                <a:gd name="connsiteY21" fmla="*/ 302947 h 788699"/>
                <a:gd name="connsiteX22" fmla="*/ 487884 w 734307"/>
                <a:gd name="connsiteY22" fmla="*/ 229516 h 788699"/>
                <a:gd name="connsiteX23" fmla="*/ 485165 w 734307"/>
                <a:gd name="connsiteY23" fmla="*/ 221357 h 788699"/>
                <a:gd name="connsiteX24" fmla="*/ 482445 w 734307"/>
                <a:gd name="connsiteY24" fmla="*/ 226797 h 788699"/>
                <a:gd name="connsiteX25" fmla="*/ 477006 w 734307"/>
                <a:gd name="connsiteY25" fmla="*/ 262152 h 788699"/>
                <a:gd name="connsiteX26" fmla="*/ 460688 w 734307"/>
                <a:gd name="connsiteY26" fmla="*/ 341022 h 788699"/>
                <a:gd name="connsiteX27" fmla="*/ 444370 w 734307"/>
                <a:gd name="connsiteY27" fmla="*/ 417173 h 788699"/>
                <a:gd name="connsiteX28" fmla="*/ 436211 w 734307"/>
                <a:gd name="connsiteY28" fmla="*/ 455248 h 788699"/>
                <a:gd name="connsiteX29" fmla="*/ 425332 w 734307"/>
                <a:gd name="connsiteY29" fmla="*/ 493323 h 788699"/>
                <a:gd name="connsiteX30" fmla="*/ 411734 w 734307"/>
                <a:gd name="connsiteY30" fmla="*/ 531398 h 788699"/>
                <a:gd name="connsiteX31" fmla="*/ 376378 w 734307"/>
                <a:gd name="connsiteY31" fmla="*/ 547716 h 788699"/>
                <a:gd name="connsiteX32" fmla="*/ 319265 w 734307"/>
                <a:gd name="connsiteY32" fmla="*/ 525959 h 788699"/>
                <a:gd name="connsiteX33" fmla="*/ 289349 w 734307"/>
                <a:gd name="connsiteY33" fmla="*/ 455248 h 788699"/>
                <a:gd name="connsiteX34" fmla="*/ 273031 w 734307"/>
                <a:gd name="connsiteY34" fmla="*/ 373658 h 788699"/>
                <a:gd name="connsiteX35" fmla="*/ 262153 w 734307"/>
                <a:gd name="connsiteY35" fmla="*/ 316545 h 788699"/>
                <a:gd name="connsiteX36" fmla="*/ 245835 w 734307"/>
                <a:gd name="connsiteY36" fmla="*/ 237675 h 788699"/>
                <a:gd name="connsiteX37" fmla="*/ 234956 w 734307"/>
                <a:gd name="connsiteY37" fmla="*/ 196881 h 788699"/>
                <a:gd name="connsiteX38" fmla="*/ 232236 w 734307"/>
                <a:gd name="connsiteY38" fmla="*/ 191441 h 788699"/>
                <a:gd name="connsiteX39" fmla="*/ 226797 w 734307"/>
                <a:gd name="connsiteY39" fmla="*/ 207759 h 788699"/>
                <a:gd name="connsiteX40" fmla="*/ 226797 w 734307"/>
                <a:gd name="connsiteY40" fmla="*/ 232236 h 788699"/>
                <a:gd name="connsiteX41" fmla="*/ 224077 w 734307"/>
                <a:gd name="connsiteY41" fmla="*/ 267592 h 788699"/>
                <a:gd name="connsiteX42" fmla="*/ 221358 w 734307"/>
                <a:gd name="connsiteY42" fmla="*/ 311106 h 788699"/>
                <a:gd name="connsiteX43" fmla="*/ 218638 w 734307"/>
                <a:gd name="connsiteY43" fmla="*/ 360060 h 788699"/>
                <a:gd name="connsiteX44" fmla="*/ 215919 w 734307"/>
                <a:gd name="connsiteY44" fmla="*/ 398135 h 788699"/>
                <a:gd name="connsiteX45" fmla="*/ 213199 w 734307"/>
                <a:gd name="connsiteY45" fmla="*/ 430771 h 788699"/>
                <a:gd name="connsiteX46" fmla="*/ 213199 w 734307"/>
                <a:gd name="connsiteY46" fmla="*/ 455248 h 788699"/>
                <a:gd name="connsiteX47" fmla="*/ 213199 w 734307"/>
                <a:gd name="connsiteY47" fmla="*/ 477005 h 788699"/>
                <a:gd name="connsiteX48" fmla="*/ 207759 w 734307"/>
                <a:gd name="connsiteY48" fmla="*/ 520520 h 788699"/>
                <a:gd name="connsiteX49" fmla="*/ 196881 w 734307"/>
                <a:gd name="connsiteY49" fmla="*/ 610268 h 788699"/>
                <a:gd name="connsiteX50" fmla="*/ 194161 w 734307"/>
                <a:gd name="connsiteY50" fmla="*/ 653783 h 788699"/>
                <a:gd name="connsiteX51" fmla="*/ 191441 w 734307"/>
                <a:gd name="connsiteY51" fmla="*/ 667381 h 788699"/>
                <a:gd name="connsiteX52" fmla="*/ 243115 w 734307"/>
                <a:gd name="connsiteY52" fmla="*/ 667381 h 788699"/>
                <a:gd name="connsiteX53" fmla="*/ 273031 w 734307"/>
                <a:gd name="connsiteY53" fmla="*/ 683699 h 788699"/>
                <a:gd name="connsiteX54" fmla="*/ 262153 w 734307"/>
                <a:gd name="connsiteY54" fmla="*/ 697297 h 788699"/>
                <a:gd name="connsiteX55" fmla="*/ 248554 w 734307"/>
                <a:gd name="connsiteY55" fmla="*/ 705456 h 788699"/>
                <a:gd name="connsiteX56" fmla="*/ 232236 w 734307"/>
                <a:gd name="connsiteY56" fmla="*/ 708176 h 788699"/>
                <a:gd name="connsiteX57" fmla="*/ 166965 w 734307"/>
                <a:gd name="connsiteY57" fmla="*/ 708176 h 788699"/>
                <a:gd name="connsiteX58" fmla="*/ 109852 w 734307"/>
                <a:gd name="connsiteY58" fmla="*/ 708176 h 788699"/>
                <a:gd name="connsiteX59" fmla="*/ 90814 w 734307"/>
                <a:gd name="connsiteY59" fmla="*/ 708176 h 788699"/>
                <a:gd name="connsiteX60" fmla="*/ 69057 w 734307"/>
                <a:gd name="connsiteY60" fmla="*/ 702736 h 788699"/>
                <a:gd name="connsiteX61" fmla="*/ 58178 w 734307"/>
                <a:gd name="connsiteY61" fmla="*/ 686418 h 788699"/>
                <a:gd name="connsiteX62" fmla="*/ 60898 w 734307"/>
                <a:gd name="connsiteY62" fmla="*/ 678259 h 788699"/>
                <a:gd name="connsiteX63" fmla="*/ 77216 w 734307"/>
                <a:gd name="connsiteY63" fmla="*/ 670101 h 788699"/>
                <a:gd name="connsiteX64" fmla="*/ 126170 w 734307"/>
                <a:gd name="connsiteY64" fmla="*/ 664661 h 788699"/>
                <a:gd name="connsiteX65" fmla="*/ 142487 w 734307"/>
                <a:gd name="connsiteY65" fmla="*/ 664661 h 788699"/>
                <a:gd name="connsiteX66" fmla="*/ 147927 w 734307"/>
                <a:gd name="connsiteY66" fmla="*/ 588511 h 788699"/>
                <a:gd name="connsiteX67" fmla="*/ 153366 w 734307"/>
                <a:gd name="connsiteY67" fmla="*/ 493323 h 788699"/>
                <a:gd name="connsiteX68" fmla="*/ 156086 w 734307"/>
                <a:gd name="connsiteY68" fmla="*/ 411733 h 788699"/>
                <a:gd name="connsiteX69" fmla="*/ 161525 w 734307"/>
                <a:gd name="connsiteY69" fmla="*/ 297508 h 788699"/>
                <a:gd name="connsiteX70" fmla="*/ 166965 w 734307"/>
                <a:gd name="connsiteY70" fmla="*/ 240395 h 788699"/>
                <a:gd name="connsiteX71" fmla="*/ 177843 w 734307"/>
                <a:gd name="connsiteY71" fmla="*/ 161525 h 788699"/>
                <a:gd name="connsiteX72" fmla="*/ 183282 w 734307"/>
                <a:gd name="connsiteY72" fmla="*/ 118011 h 788699"/>
                <a:gd name="connsiteX73" fmla="*/ 183282 w 734307"/>
                <a:gd name="connsiteY73" fmla="*/ 115291 h 788699"/>
                <a:gd name="connsiteX74" fmla="*/ 161525 w 734307"/>
                <a:gd name="connsiteY74" fmla="*/ 115291 h 788699"/>
                <a:gd name="connsiteX75" fmla="*/ 137048 w 734307"/>
                <a:gd name="connsiteY75" fmla="*/ 115291 h 788699"/>
                <a:gd name="connsiteX76" fmla="*/ 109852 w 734307"/>
                <a:gd name="connsiteY76" fmla="*/ 109851 h 788699"/>
                <a:gd name="connsiteX77" fmla="*/ 93534 w 734307"/>
                <a:gd name="connsiteY77" fmla="*/ 93534 h 788699"/>
                <a:gd name="connsiteX78" fmla="*/ 98973 w 734307"/>
                <a:gd name="connsiteY78" fmla="*/ 85375 h 788699"/>
                <a:gd name="connsiteX79" fmla="*/ 120730 w 734307"/>
                <a:gd name="connsiteY79" fmla="*/ 77216 h 788699"/>
                <a:gd name="connsiteX80" fmla="*/ 172404 w 734307"/>
                <a:gd name="connsiteY80" fmla="*/ 71776 h 788699"/>
                <a:gd name="connsiteX81" fmla="*/ 234956 w 734307"/>
                <a:gd name="connsiteY81" fmla="*/ 69057 h 788699"/>
                <a:gd name="connsiteX82" fmla="*/ 243115 w 734307"/>
                <a:gd name="connsiteY82" fmla="*/ 69057 h 788699"/>
                <a:gd name="connsiteX83" fmla="*/ 270312 w 734307"/>
                <a:gd name="connsiteY83" fmla="*/ 74496 h 788699"/>
                <a:gd name="connsiteX84" fmla="*/ 308387 w 734307"/>
                <a:gd name="connsiteY84" fmla="*/ 123450 h 788699"/>
                <a:gd name="connsiteX85" fmla="*/ 332864 w 734307"/>
                <a:gd name="connsiteY85" fmla="*/ 202320 h 788699"/>
                <a:gd name="connsiteX86" fmla="*/ 338303 w 734307"/>
                <a:gd name="connsiteY86" fmla="*/ 237675 h 788699"/>
                <a:gd name="connsiteX87" fmla="*/ 349182 w 734307"/>
                <a:gd name="connsiteY87" fmla="*/ 281190 h 788699"/>
                <a:gd name="connsiteX88" fmla="*/ 357341 w 734307"/>
                <a:gd name="connsiteY88" fmla="*/ 316545 h 788699"/>
                <a:gd name="connsiteX89" fmla="*/ 365500 w 734307"/>
                <a:gd name="connsiteY89" fmla="*/ 351901 h 788699"/>
                <a:gd name="connsiteX90" fmla="*/ 376378 w 734307"/>
                <a:gd name="connsiteY90" fmla="*/ 389976 h 788699"/>
                <a:gd name="connsiteX91" fmla="*/ 387257 w 734307"/>
                <a:gd name="connsiteY91" fmla="*/ 414453 h 788699"/>
                <a:gd name="connsiteX92" fmla="*/ 398136 w 734307"/>
                <a:gd name="connsiteY92" fmla="*/ 376378 h 788699"/>
                <a:gd name="connsiteX93" fmla="*/ 406295 w 734307"/>
                <a:gd name="connsiteY93" fmla="*/ 332863 h 788699"/>
                <a:gd name="connsiteX94" fmla="*/ 425332 w 734307"/>
                <a:gd name="connsiteY94" fmla="*/ 243115 h 788699"/>
                <a:gd name="connsiteX95" fmla="*/ 444370 w 734307"/>
                <a:gd name="connsiteY95" fmla="*/ 150646 h 788699"/>
                <a:gd name="connsiteX96" fmla="*/ 477006 w 734307"/>
                <a:gd name="connsiteY96" fmla="*/ 79935 h 788699"/>
                <a:gd name="connsiteX97" fmla="*/ 523240 w 734307"/>
                <a:gd name="connsiteY97" fmla="*/ 58178 h 788699"/>
                <a:gd name="connsiteX98" fmla="*/ 544997 w 734307"/>
                <a:gd name="connsiteY98" fmla="*/ 63617 h 788699"/>
                <a:gd name="connsiteX99" fmla="*/ 612988 w 734307"/>
                <a:gd name="connsiteY99" fmla="*/ 63617 h 788699"/>
                <a:gd name="connsiteX100" fmla="*/ 651064 w 734307"/>
                <a:gd name="connsiteY100" fmla="*/ 79935 h 788699"/>
                <a:gd name="connsiteX101" fmla="*/ 645624 w 734307"/>
                <a:gd name="connsiteY101" fmla="*/ 96253 h 788699"/>
                <a:gd name="connsiteX102" fmla="*/ 629307 w 734307"/>
                <a:gd name="connsiteY102" fmla="*/ 104412 h 788699"/>
                <a:gd name="connsiteX103" fmla="*/ 607549 w 734307"/>
                <a:gd name="connsiteY103" fmla="*/ 107132 h 788699"/>
                <a:gd name="connsiteX104" fmla="*/ 580353 w 734307"/>
                <a:gd name="connsiteY104" fmla="*/ 107132 h 788699"/>
                <a:gd name="connsiteX105" fmla="*/ 583072 w 734307"/>
                <a:gd name="connsiteY105" fmla="*/ 115291 h 788699"/>
                <a:gd name="connsiteX106" fmla="*/ 588512 w 734307"/>
                <a:gd name="connsiteY106" fmla="*/ 156086 h 788699"/>
                <a:gd name="connsiteX107" fmla="*/ 593951 w 734307"/>
                <a:gd name="connsiteY107" fmla="*/ 196881 h 788699"/>
                <a:gd name="connsiteX108" fmla="*/ 599390 w 734307"/>
                <a:gd name="connsiteY108" fmla="*/ 226797 h 788699"/>
                <a:gd name="connsiteX109" fmla="*/ 599390 w 734307"/>
                <a:gd name="connsiteY109" fmla="*/ 232236 h 788699"/>
                <a:gd name="connsiteX110" fmla="*/ 599390 w 734307"/>
                <a:gd name="connsiteY110" fmla="*/ 240395 h 788699"/>
                <a:gd name="connsiteX111" fmla="*/ 602110 w 734307"/>
                <a:gd name="connsiteY111" fmla="*/ 270311 h 788699"/>
                <a:gd name="connsiteX112" fmla="*/ 607549 w 734307"/>
                <a:gd name="connsiteY112" fmla="*/ 308386 h 788699"/>
                <a:gd name="connsiteX113" fmla="*/ 607549 w 734307"/>
                <a:gd name="connsiteY113" fmla="*/ 319265 h 788699"/>
                <a:gd name="connsiteX114" fmla="*/ 612988 w 734307"/>
                <a:gd name="connsiteY114" fmla="*/ 335583 h 788699"/>
                <a:gd name="connsiteX115" fmla="*/ 612988 w 734307"/>
                <a:gd name="connsiteY115" fmla="*/ 346462 h 788699"/>
                <a:gd name="connsiteX116" fmla="*/ 612988 w 734307"/>
                <a:gd name="connsiteY116" fmla="*/ 370939 h 788699"/>
                <a:gd name="connsiteX117" fmla="*/ 612988 w 734307"/>
                <a:gd name="connsiteY117" fmla="*/ 395415 h 788699"/>
                <a:gd name="connsiteX118" fmla="*/ 615708 w 734307"/>
                <a:gd name="connsiteY118" fmla="*/ 422612 h 788699"/>
                <a:gd name="connsiteX119" fmla="*/ 618428 w 734307"/>
                <a:gd name="connsiteY119" fmla="*/ 441650 h 788699"/>
                <a:gd name="connsiteX120" fmla="*/ 618428 w 734307"/>
                <a:gd name="connsiteY120" fmla="*/ 455248 h 788699"/>
                <a:gd name="connsiteX121" fmla="*/ 621147 w 734307"/>
                <a:gd name="connsiteY121" fmla="*/ 463407 h 788699"/>
                <a:gd name="connsiteX122" fmla="*/ 626587 w 734307"/>
                <a:gd name="connsiteY122" fmla="*/ 482444 h 788699"/>
                <a:gd name="connsiteX123" fmla="*/ 629307 w 734307"/>
                <a:gd name="connsiteY123" fmla="*/ 517800 h 788699"/>
                <a:gd name="connsiteX124" fmla="*/ 634746 w 734307"/>
                <a:gd name="connsiteY124" fmla="*/ 561314 h 788699"/>
                <a:gd name="connsiteX125" fmla="*/ 634746 w 734307"/>
                <a:gd name="connsiteY125" fmla="*/ 566754 h 788699"/>
                <a:gd name="connsiteX126" fmla="*/ 634746 w 734307"/>
                <a:gd name="connsiteY126" fmla="*/ 583072 h 788699"/>
                <a:gd name="connsiteX127" fmla="*/ 637466 w 734307"/>
                <a:gd name="connsiteY127" fmla="*/ 607548 h 788699"/>
                <a:gd name="connsiteX128" fmla="*/ 640185 w 734307"/>
                <a:gd name="connsiteY128" fmla="*/ 618427 h 788699"/>
                <a:gd name="connsiteX129" fmla="*/ 640185 w 734307"/>
                <a:gd name="connsiteY129" fmla="*/ 632025 h 788699"/>
                <a:gd name="connsiteX130" fmla="*/ 640185 w 734307"/>
                <a:gd name="connsiteY130" fmla="*/ 640184 h 788699"/>
                <a:gd name="connsiteX131" fmla="*/ 642905 w 734307"/>
                <a:gd name="connsiteY131" fmla="*/ 659222 h 788699"/>
                <a:gd name="connsiteX132" fmla="*/ 642905 w 734307"/>
                <a:gd name="connsiteY132" fmla="*/ 664661 h 788699"/>
                <a:gd name="connsiteX133" fmla="*/ 653783 w 734307"/>
                <a:gd name="connsiteY133" fmla="*/ 678259 h 788699"/>
                <a:gd name="connsiteX134" fmla="*/ 653783 w 734307"/>
                <a:gd name="connsiteY134" fmla="*/ 678259 h 7886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</a:cxnLst>
              <a:rect l="l" t="t" r="r" b="b"/>
              <a:pathLst>
                <a:path w="734307" h="788699">
                  <a:moveTo>
                    <a:pt x="653783" y="678259"/>
                  </a:moveTo>
                  <a:cubicBezTo>
                    <a:pt x="667382" y="678259"/>
                    <a:pt x="691859" y="678259"/>
                    <a:pt x="691859" y="694577"/>
                  </a:cubicBezTo>
                  <a:cubicBezTo>
                    <a:pt x="691859" y="702736"/>
                    <a:pt x="689139" y="705456"/>
                    <a:pt x="686419" y="710895"/>
                  </a:cubicBezTo>
                  <a:cubicBezTo>
                    <a:pt x="683700" y="716335"/>
                    <a:pt x="675541" y="719054"/>
                    <a:pt x="670101" y="719054"/>
                  </a:cubicBezTo>
                  <a:cubicBezTo>
                    <a:pt x="661942" y="721774"/>
                    <a:pt x="653783" y="721774"/>
                    <a:pt x="648344" y="721774"/>
                  </a:cubicBezTo>
                  <a:cubicBezTo>
                    <a:pt x="645624" y="721774"/>
                    <a:pt x="634746" y="721774"/>
                    <a:pt x="618428" y="721774"/>
                  </a:cubicBezTo>
                  <a:cubicBezTo>
                    <a:pt x="604829" y="729933"/>
                    <a:pt x="588512" y="735372"/>
                    <a:pt x="572194" y="735372"/>
                  </a:cubicBezTo>
                  <a:cubicBezTo>
                    <a:pt x="564035" y="735372"/>
                    <a:pt x="553156" y="732653"/>
                    <a:pt x="544997" y="729933"/>
                  </a:cubicBezTo>
                  <a:cubicBezTo>
                    <a:pt x="539558" y="727213"/>
                    <a:pt x="536838" y="724494"/>
                    <a:pt x="534119" y="721774"/>
                  </a:cubicBezTo>
                  <a:cubicBezTo>
                    <a:pt x="520520" y="721774"/>
                    <a:pt x="509641" y="721774"/>
                    <a:pt x="496043" y="721774"/>
                  </a:cubicBezTo>
                  <a:cubicBezTo>
                    <a:pt x="487884" y="721774"/>
                    <a:pt x="479725" y="721774"/>
                    <a:pt x="471566" y="721774"/>
                  </a:cubicBezTo>
                  <a:cubicBezTo>
                    <a:pt x="463407" y="721774"/>
                    <a:pt x="452529" y="721774"/>
                    <a:pt x="444370" y="716335"/>
                  </a:cubicBezTo>
                  <a:cubicBezTo>
                    <a:pt x="436211" y="713615"/>
                    <a:pt x="428052" y="705456"/>
                    <a:pt x="428052" y="700017"/>
                  </a:cubicBezTo>
                  <a:cubicBezTo>
                    <a:pt x="428052" y="697297"/>
                    <a:pt x="428052" y="694577"/>
                    <a:pt x="433491" y="691858"/>
                  </a:cubicBezTo>
                  <a:cubicBezTo>
                    <a:pt x="438930" y="689138"/>
                    <a:pt x="449809" y="686418"/>
                    <a:pt x="455248" y="683699"/>
                  </a:cubicBezTo>
                  <a:cubicBezTo>
                    <a:pt x="474286" y="680979"/>
                    <a:pt x="498763" y="678259"/>
                    <a:pt x="506922" y="678259"/>
                  </a:cubicBezTo>
                  <a:cubicBezTo>
                    <a:pt x="506922" y="678259"/>
                    <a:pt x="509641" y="678259"/>
                    <a:pt x="509641" y="678259"/>
                  </a:cubicBezTo>
                  <a:cubicBezTo>
                    <a:pt x="509641" y="672820"/>
                    <a:pt x="506922" y="670101"/>
                    <a:pt x="506922" y="664661"/>
                  </a:cubicBezTo>
                  <a:cubicBezTo>
                    <a:pt x="501483" y="640184"/>
                    <a:pt x="501483" y="612988"/>
                    <a:pt x="498763" y="580352"/>
                  </a:cubicBezTo>
                  <a:cubicBezTo>
                    <a:pt x="496043" y="547716"/>
                    <a:pt x="498763" y="512361"/>
                    <a:pt x="496043" y="479725"/>
                  </a:cubicBezTo>
                  <a:cubicBezTo>
                    <a:pt x="493324" y="449808"/>
                    <a:pt x="493324" y="419892"/>
                    <a:pt x="493324" y="389976"/>
                  </a:cubicBezTo>
                  <a:cubicBezTo>
                    <a:pt x="493324" y="360060"/>
                    <a:pt x="490604" y="332863"/>
                    <a:pt x="490604" y="302947"/>
                  </a:cubicBezTo>
                  <a:cubicBezTo>
                    <a:pt x="487884" y="275751"/>
                    <a:pt x="487884" y="240395"/>
                    <a:pt x="487884" y="229516"/>
                  </a:cubicBezTo>
                  <a:cubicBezTo>
                    <a:pt x="487884" y="224077"/>
                    <a:pt x="487884" y="221357"/>
                    <a:pt x="485165" y="221357"/>
                  </a:cubicBezTo>
                  <a:cubicBezTo>
                    <a:pt x="485165" y="221357"/>
                    <a:pt x="482445" y="224077"/>
                    <a:pt x="482445" y="226797"/>
                  </a:cubicBezTo>
                  <a:cubicBezTo>
                    <a:pt x="479725" y="237675"/>
                    <a:pt x="479725" y="251274"/>
                    <a:pt x="477006" y="262152"/>
                  </a:cubicBezTo>
                  <a:cubicBezTo>
                    <a:pt x="471566" y="289349"/>
                    <a:pt x="466127" y="316545"/>
                    <a:pt x="460688" y="341022"/>
                  </a:cubicBezTo>
                  <a:cubicBezTo>
                    <a:pt x="455248" y="365499"/>
                    <a:pt x="447090" y="392696"/>
                    <a:pt x="444370" y="417173"/>
                  </a:cubicBezTo>
                  <a:cubicBezTo>
                    <a:pt x="441650" y="430771"/>
                    <a:pt x="438930" y="441650"/>
                    <a:pt x="436211" y="455248"/>
                  </a:cubicBezTo>
                  <a:cubicBezTo>
                    <a:pt x="433491" y="468846"/>
                    <a:pt x="428052" y="479725"/>
                    <a:pt x="425332" y="493323"/>
                  </a:cubicBezTo>
                  <a:cubicBezTo>
                    <a:pt x="422612" y="506921"/>
                    <a:pt x="419893" y="520520"/>
                    <a:pt x="411734" y="531398"/>
                  </a:cubicBezTo>
                  <a:cubicBezTo>
                    <a:pt x="406295" y="539557"/>
                    <a:pt x="395416" y="547716"/>
                    <a:pt x="376378" y="547716"/>
                  </a:cubicBezTo>
                  <a:cubicBezTo>
                    <a:pt x="357341" y="547716"/>
                    <a:pt x="335583" y="539557"/>
                    <a:pt x="319265" y="525959"/>
                  </a:cubicBezTo>
                  <a:cubicBezTo>
                    <a:pt x="300228" y="506921"/>
                    <a:pt x="294788" y="479725"/>
                    <a:pt x="289349" y="455248"/>
                  </a:cubicBezTo>
                  <a:cubicBezTo>
                    <a:pt x="283910" y="428051"/>
                    <a:pt x="278470" y="400855"/>
                    <a:pt x="273031" y="373658"/>
                  </a:cubicBezTo>
                  <a:cubicBezTo>
                    <a:pt x="273031" y="368219"/>
                    <a:pt x="267592" y="346462"/>
                    <a:pt x="262153" y="316545"/>
                  </a:cubicBezTo>
                  <a:cubicBezTo>
                    <a:pt x="256713" y="292068"/>
                    <a:pt x="251274" y="262152"/>
                    <a:pt x="245835" y="237675"/>
                  </a:cubicBezTo>
                  <a:cubicBezTo>
                    <a:pt x="240395" y="218638"/>
                    <a:pt x="237675" y="205039"/>
                    <a:pt x="234956" y="196881"/>
                  </a:cubicBezTo>
                  <a:cubicBezTo>
                    <a:pt x="232236" y="191441"/>
                    <a:pt x="232236" y="191441"/>
                    <a:pt x="232236" y="191441"/>
                  </a:cubicBezTo>
                  <a:cubicBezTo>
                    <a:pt x="229517" y="191441"/>
                    <a:pt x="229517" y="196881"/>
                    <a:pt x="226797" y="207759"/>
                  </a:cubicBezTo>
                  <a:cubicBezTo>
                    <a:pt x="226797" y="215918"/>
                    <a:pt x="226797" y="229516"/>
                    <a:pt x="226797" y="232236"/>
                  </a:cubicBezTo>
                  <a:cubicBezTo>
                    <a:pt x="226797" y="243115"/>
                    <a:pt x="224077" y="256713"/>
                    <a:pt x="224077" y="267592"/>
                  </a:cubicBezTo>
                  <a:cubicBezTo>
                    <a:pt x="224077" y="278470"/>
                    <a:pt x="224077" y="294788"/>
                    <a:pt x="221358" y="311106"/>
                  </a:cubicBezTo>
                  <a:cubicBezTo>
                    <a:pt x="221358" y="327424"/>
                    <a:pt x="218638" y="343742"/>
                    <a:pt x="218638" y="360060"/>
                  </a:cubicBezTo>
                  <a:cubicBezTo>
                    <a:pt x="218638" y="373658"/>
                    <a:pt x="215919" y="384537"/>
                    <a:pt x="215919" y="398135"/>
                  </a:cubicBezTo>
                  <a:cubicBezTo>
                    <a:pt x="215919" y="409014"/>
                    <a:pt x="213199" y="419892"/>
                    <a:pt x="213199" y="430771"/>
                  </a:cubicBezTo>
                  <a:cubicBezTo>
                    <a:pt x="213199" y="438930"/>
                    <a:pt x="213199" y="447089"/>
                    <a:pt x="213199" y="455248"/>
                  </a:cubicBezTo>
                  <a:cubicBezTo>
                    <a:pt x="213199" y="463407"/>
                    <a:pt x="213199" y="471566"/>
                    <a:pt x="213199" y="477005"/>
                  </a:cubicBezTo>
                  <a:cubicBezTo>
                    <a:pt x="210479" y="490603"/>
                    <a:pt x="207759" y="506921"/>
                    <a:pt x="207759" y="520520"/>
                  </a:cubicBezTo>
                  <a:cubicBezTo>
                    <a:pt x="202320" y="550436"/>
                    <a:pt x="199600" y="580352"/>
                    <a:pt x="196881" y="610268"/>
                  </a:cubicBezTo>
                  <a:cubicBezTo>
                    <a:pt x="196881" y="623866"/>
                    <a:pt x="196881" y="640184"/>
                    <a:pt x="194161" y="653783"/>
                  </a:cubicBezTo>
                  <a:cubicBezTo>
                    <a:pt x="194161" y="659222"/>
                    <a:pt x="194161" y="661942"/>
                    <a:pt x="191441" y="667381"/>
                  </a:cubicBezTo>
                  <a:cubicBezTo>
                    <a:pt x="213199" y="667381"/>
                    <a:pt x="232236" y="667381"/>
                    <a:pt x="243115" y="667381"/>
                  </a:cubicBezTo>
                  <a:cubicBezTo>
                    <a:pt x="253994" y="667381"/>
                    <a:pt x="273031" y="670101"/>
                    <a:pt x="273031" y="683699"/>
                  </a:cubicBezTo>
                  <a:cubicBezTo>
                    <a:pt x="273031" y="691858"/>
                    <a:pt x="267592" y="691858"/>
                    <a:pt x="262153" y="697297"/>
                  </a:cubicBezTo>
                  <a:cubicBezTo>
                    <a:pt x="259433" y="702736"/>
                    <a:pt x="253994" y="705456"/>
                    <a:pt x="248554" y="705456"/>
                  </a:cubicBezTo>
                  <a:cubicBezTo>
                    <a:pt x="240395" y="708176"/>
                    <a:pt x="234956" y="708176"/>
                    <a:pt x="232236" y="708176"/>
                  </a:cubicBezTo>
                  <a:cubicBezTo>
                    <a:pt x="226797" y="708176"/>
                    <a:pt x="175124" y="708176"/>
                    <a:pt x="166965" y="708176"/>
                  </a:cubicBezTo>
                  <a:cubicBezTo>
                    <a:pt x="156086" y="708176"/>
                    <a:pt x="120730" y="708176"/>
                    <a:pt x="109852" y="708176"/>
                  </a:cubicBezTo>
                  <a:cubicBezTo>
                    <a:pt x="104412" y="708176"/>
                    <a:pt x="96253" y="708176"/>
                    <a:pt x="90814" y="708176"/>
                  </a:cubicBezTo>
                  <a:cubicBezTo>
                    <a:pt x="85375" y="708176"/>
                    <a:pt x="77216" y="705456"/>
                    <a:pt x="69057" y="702736"/>
                  </a:cubicBezTo>
                  <a:cubicBezTo>
                    <a:pt x="63617" y="700017"/>
                    <a:pt x="58178" y="691858"/>
                    <a:pt x="58178" y="686418"/>
                  </a:cubicBezTo>
                  <a:cubicBezTo>
                    <a:pt x="58178" y="683699"/>
                    <a:pt x="58178" y="680979"/>
                    <a:pt x="60898" y="678259"/>
                  </a:cubicBezTo>
                  <a:cubicBezTo>
                    <a:pt x="63617" y="675540"/>
                    <a:pt x="71777" y="672820"/>
                    <a:pt x="77216" y="670101"/>
                  </a:cubicBezTo>
                  <a:cubicBezTo>
                    <a:pt x="90814" y="667381"/>
                    <a:pt x="120730" y="664661"/>
                    <a:pt x="126170" y="664661"/>
                  </a:cubicBezTo>
                  <a:cubicBezTo>
                    <a:pt x="128889" y="664661"/>
                    <a:pt x="134329" y="664661"/>
                    <a:pt x="142487" y="664661"/>
                  </a:cubicBezTo>
                  <a:cubicBezTo>
                    <a:pt x="142487" y="640184"/>
                    <a:pt x="147927" y="612988"/>
                    <a:pt x="147927" y="588511"/>
                  </a:cubicBezTo>
                  <a:cubicBezTo>
                    <a:pt x="150646" y="555875"/>
                    <a:pt x="153366" y="523239"/>
                    <a:pt x="153366" y="493323"/>
                  </a:cubicBezTo>
                  <a:cubicBezTo>
                    <a:pt x="153366" y="466126"/>
                    <a:pt x="156086" y="438930"/>
                    <a:pt x="156086" y="411733"/>
                  </a:cubicBezTo>
                  <a:cubicBezTo>
                    <a:pt x="158806" y="373658"/>
                    <a:pt x="158806" y="335583"/>
                    <a:pt x="161525" y="297508"/>
                  </a:cubicBezTo>
                  <a:cubicBezTo>
                    <a:pt x="161525" y="278470"/>
                    <a:pt x="164245" y="259433"/>
                    <a:pt x="166965" y="240395"/>
                  </a:cubicBezTo>
                  <a:cubicBezTo>
                    <a:pt x="169684" y="210479"/>
                    <a:pt x="172404" y="191441"/>
                    <a:pt x="177843" y="161525"/>
                  </a:cubicBezTo>
                  <a:cubicBezTo>
                    <a:pt x="180563" y="147927"/>
                    <a:pt x="180563" y="131609"/>
                    <a:pt x="183282" y="118011"/>
                  </a:cubicBezTo>
                  <a:cubicBezTo>
                    <a:pt x="183282" y="118011"/>
                    <a:pt x="183282" y="115291"/>
                    <a:pt x="183282" y="115291"/>
                  </a:cubicBezTo>
                  <a:cubicBezTo>
                    <a:pt x="177843" y="115291"/>
                    <a:pt x="172404" y="115291"/>
                    <a:pt x="161525" y="115291"/>
                  </a:cubicBezTo>
                  <a:cubicBezTo>
                    <a:pt x="153366" y="115291"/>
                    <a:pt x="145207" y="115291"/>
                    <a:pt x="137048" y="115291"/>
                  </a:cubicBezTo>
                  <a:cubicBezTo>
                    <a:pt x="128889" y="115291"/>
                    <a:pt x="118011" y="115291"/>
                    <a:pt x="109852" y="109851"/>
                  </a:cubicBezTo>
                  <a:cubicBezTo>
                    <a:pt x="101693" y="107132"/>
                    <a:pt x="93534" y="98973"/>
                    <a:pt x="93534" y="93534"/>
                  </a:cubicBezTo>
                  <a:cubicBezTo>
                    <a:pt x="93534" y="90814"/>
                    <a:pt x="93534" y="88094"/>
                    <a:pt x="98973" y="85375"/>
                  </a:cubicBezTo>
                  <a:cubicBezTo>
                    <a:pt x="104412" y="82655"/>
                    <a:pt x="115291" y="79935"/>
                    <a:pt x="120730" y="77216"/>
                  </a:cubicBezTo>
                  <a:cubicBezTo>
                    <a:pt x="139768" y="74496"/>
                    <a:pt x="164245" y="71776"/>
                    <a:pt x="172404" y="71776"/>
                  </a:cubicBezTo>
                  <a:cubicBezTo>
                    <a:pt x="194161" y="71776"/>
                    <a:pt x="210479" y="69057"/>
                    <a:pt x="234956" y="69057"/>
                  </a:cubicBezTo>
                  <a:cubicBezTo>
                    <a:pt x="237675" y="69057"/>
                    <a:pt x="240395" y="69057"/>
                    <a:pt x="243115" y="69057"/>
                  </a:cubicBezTo>
                  <a:cubicBezTo>
                    <a:pt x="251274" y="69057"/>
                    <a:pt x="262153" y="69057"/>
                    <a:pt x="270312" y="74496"/>
                  </a:cubicBezTo>
                  <a:cubicBezTo>
                    <a:pt x="283910" y="82655"/>
                    <a:pt x="300228" y="96253"/>
                    <a:pt x="308387" y="123450"/>
                  </a:cubicBezTo>
                  <a:cubicBezTo>
                    <a:pt x="316546" y="147927"/>
                    <a:pt x="327424" y="175123"/>
                    <a:pt x="332864" y="202320"/>
                  </a:cubicBezTo>
                  <a:cubicBezTo>
                    <a:pt x="335583" y="213198"/>
                    <a:pt x="335583" y="226797"/>
                    <a:pt x="338303" y="237675"/>
                  </a:cubicBezTo>
                  <a:cubicBezTo>
                    <a:pt x="343742" y="251274"/>
                    <a:pt x="346462" y="264872"/>
                    <a:pt x="349182" y="281190"/>
                  </a:cubicBezTo>
                  <a:cubicBezTo>
                    <a:pt x="351901" y="292068"/>
                    <a:pt x="351901" y="305667"/>
                    <a:pt x="357341" y="316545"/>
                  </a:cubicBezTo>
                  <a:cubicBezTo>
                    <a:pt x="362780" y="327424"/>
                    <a:pt x="362780" y="338303"/>
                    <a:pt x="365500" y="351901"/>
                  </a:cubicBezTo>
                  <a:cubicBezTo>
                    <a:pt x="365500" y="357340"/>
                    <a:pt x="373658" y="373658"/>
                    <a:pt x="376378" y="389976"/>
                  </a:cubicBezTo>
                  <a:cubicBezTo>
                    <a:pt x="381817" y="403574"/>
                    <a:pt x="384537" y="414453"/>
                    <a:pt x="387257" y="414453"/>
                  </a:cubicBezTo>
                  <a:cubicBezTo>
                    <a:pt x="392696" y="414453"/>
                    <a:pt x="395416" y="381817"/>
                    <a:pt x="398136" y="376378"/>
                  </a:cubicBezTo>
                  <a:cubicBezTo>
                    <a:pt x="400855" y="362779"/>
                    <a:pt x="403575" y="346462"/>
                    <a:pt x="406295" y="332863"/>
                  </a:cubicBezTo>
                  <a:cubicBezTo>
                    <a:pt x="411734" y="302947"/>
                    <a:pt x="417173" y="273031"/>
                    <a:pt x="425332" y="243115"/>
                  </a:cubicBezTo>
                  <a:cubicBezTo>
                    <a:pt x="430771" y="213198"/>
                    <a:pt x="436211" y="180563"/>
                    <a:pt x="444370" y="150646"/>
                  </a:cubicBezTo>
                  <a:cubicBezTo>
                    <a:pt x="449809" y="126170"/>
                    <a:pt x="460688" y="98973"/>
                    <a:pt x="477006" y="79935"/>
                  </a:cubicBezTo>
                  <a:cubicBezTo>
                    <a:pt x="487884" y="66337"/>
                    <a:pt x="506922" y="58178"/>
                    <a:pt x="523240" y="58178"/>
                  </a:cubicBezTo>
                  <a:cubicBezTo>
                    <a:pt x="528679" y="58178"/>
                    <a:pt x="539558" y="58178"/>
                    <a:pt x="544997" y="63617"/>
                  </a:cubicBezTo>
                  <a:lnTo>
                    <a:pt x="612988" y="63617"/>
                  </a:lnTo>
                  <a:cubicBezTo>
                    <a:pt x="626587" y="63617"/>
                    <a:pt x="651064" y="63617"/>
                    <a:pt x="651064" y="79935"/>
                  </a:cubicBezTo>
                  <a:cubicBezTo>
                    <a:pt x="651064" y="88094"/>
                    <a:pt x="648344" y="88094"/>
                    <a:pt x="645624" y="96253"/>
                  </a:cubicBezTo>
                  <a:cubicBezTo>
                    <a:pt x="640185" y="101693"/>
                    <a:pt x="634746" y="104412"/>
                    <a:pt x="629307" y="104412"/>
                  </a:cubicBezTo>
                  <a:cubicBezTo>
                    <a:pt x="621147" y="107132"/>
                    <a:pt x="612988" y="107132"/>
                    <a:pt x="607549" y="107132"/>
                  </a:cubicBezTo>
                  <a:cubicBezTo>
                    <a:pt x="604829" y="107132"/>
                    <a:pt x="591231" y="107132"/>
                    <a:pt x="580353" y="107132"/>
                  </a:cubicBezTo>
                  <a:cubicBezTo>
                    <a:pt x="580353" y="109851"/>
                    <a:pt x="583072" y="112571"/>
                    <a:pt x="583072" y="115291"/>
                  </a:cubicBezTo>
                  <a:cubicBezTo>
                    <a:pt x="585792" y="128889"/>
                    <a:pt x="585792" y="142487"/>
                    <a:pt x="588512" y="156086"/>
                  </a:cubicBezTo>
                  <a:cubicBezTo>
                    <a:pt x="591231" y="169684"/>
                    <a:pt x="591231" y="183282"/>
                    <a:pt x="593951" y="196881"/>
                  </a:cubicBezTo>
                  <a:cubicBezTo>
                    <a:pt x="593951" y="207759"/>
                    <a:pt x="599390" y="215918"/>
                    <a:pt x="599390" y="226797"/>
                  </a:cubicBezTo>
                  <a:cubicBezTo>
                    <a:pt x="599390" y="229516"/>
                    <a:pt x="599390" y="229516"/>
                    <a:pt x="599390" y="232236"/>
                  </a:cubicBezTo>
                  <a:cubicBezTo>
                    <a:pt x="599390" y="234956"/>
                    <a:pt x="599390" y="237675"/>
                    <a:pt x="599390" y="240395"/>
                  </a:cubicBezTo>
                  <a:cubicBezTo>
                    <a:pt x="599390" y="251274"/>
                    <a:pt x="599390" y="259433"/>
                    <a:pt x="602110" y="270311"/>
                  </a:cubicBezTo>
                  <a:cubicBezTo>
                    <a:pt x="604829" y="283909"/>
                    <a:pt x="607549" y="294788"/>
                    <a:pt x="607549" y="308386"/>
                  </a:cubicBezTo>
                  <a:cubicBezTo>
                    <a:pt x="607549" y="311106"/>
                    <a:pt x="607549" y="316545"/>
                    <a:pt x="607549" y="319265"/>
                  </a:cubicBezTo>
                  <a:cubicBezTo>
                    <a:pt x="607549" y="324704"/>
                    <a:pt x="610269" y="330144"/>
                    <a:pt x="612988" y="335583"/>
                  </a:cubicBezTo>
                  <a:cubicBezTo>
                    <a:pt x="612988" y="338303"/>
                    <a:pt x="612988" y="343742"/>
                    <a:pt x="612988" y="346462"/>
                  </a:cubicBezTo>
                  <a:cubicBezTo>
                    <a:pt x="612988" y="354620"/>
                    <a:pt x="612988" y="362779"/>
                    <a:pt x="612988" y="370939"/>
                  </a:cubicBezTo>
                  <a:cubicBezTo>
                    <a:pt x="612988" y="379097"/>
                    <a:pt x="612988" y="387256"/>
                    <a:pt x="612988" y="395415"/>
                  </a:cubicBezTo>
                  <a:cubicBezTo>
                    <a:pt x="612988" y="403574"/>
                    <a:pt x="615708" y="414453"/>
                    <a:pt x="615708" y="422612"/>
                  </a:cubicBezTo>
                  <a:cubicBezTo>
                    <a:pt x="618428" y="430771"/>
                    <a:pt x="618428" y="436210"/>
                    <a:pt x="618428" y="441650"/>
                  </a:cubicBezTo>
                  <a:cubicBezTo>
                    <a:pt x="618428" y="444369"/>
                    <a:pt x="618428" y="449808"/>
                    <a:pt x="618428" y="455248"/>
                  </a:cubicBezTo>
                  <a:cubicBezTo>
                    <a:pt x="618428" y="460687"/>
                    <a:pt x="618428" y="460687"/>
                    <a:pt x="621147" y="463407"/>
                  </a:cubicBezTo>
                  <a:cubicBezTo>
                    <a:pt x="623867" y="471566"/>
                    <a:pt x="623867" y="477005"/>
                    <a:pt x="626587" y="482444"/>
                  </a:cubicBezTo>
                  <a:cubicBezTo>
                    <a:pt x="629307" y="493323"/>
                    <a:pt x="629307" y="506921"/>
                    <a:pt x="629307" y="517800"/>
                  </a:cubicBezTo>
                  <a:cubicBezTo>
                    <a:pt x="632026" y="534118"/>
                    <a:pt x="632026" y="547716"/>
                    <a:pt x="634746" y="561314"/>
                  </a:cubicBezTo>
                  <a:cubicBezTo>
                    <a:pt x="634746" y="564034"/>
                    <a:pt x="634746" y="564034"/>
                    <a:pt x="634746" y="566754"/>
                  </a:cubicBezTo>
                  <a:cubicBezTo>
                    <a:pt x="634746" y="572193"/>
                    <a:pt x="634746" y="577632"/>
                    <a:pt x="634746" y="583072"/>
                  </a:cubicBezTo>
                  <a:cubicBezTo>
                    <a:pt x="634746" y="596670"/>
                    <a:pt x="637466" y="602109"/>
                    <a:pt x="637466" y="607548"/>
                  </a:cubicBezTo>
                  <a:cubicBezTo>
                    <a:pt x="637466" y="610268"/>
                    <a:pt x="640185" y="615708"/>
                    <a:pt x="640185" y="618427"/>
                  </a:cubicBezTo>
                  <a:cubicBezTo>
                    <a:pt x="640185" y="623866"/>
                    <a:pt x="640185" y="629306"/>
                    <a:pt x="640185" y="632025"/>
                  </a:cubicBezTo>
                  <a:cubicBezTo>
                    <a:pt x="640185" y="634745"/>
                    <a:pt x="640185" y="637465"/>
                    <a:pt x="640185" y="640184"/>
                  </a:cubicBezTo>
                  <a:cubicBezTo>
                    <a:pt x="640185" y="645624"/>
                    <a:pt x="642905" y="653783"/>
                    <a:pt x="642905" y="659222"/>
                  </a:cubicBezTo>
                  <a:cubicBezTo>
                    <a:pt x="642905" y="661942"/>
                    <a:pt x="642905" y="661942"/>
                    <a:pt x="642905" y="664661"/>
                  </a:cubicBezTo>
                  <a:cubicBezTo>
                    <a:pt x="645624" y="678259"/>
                    <a:pt x="651064" y="678259"/>
                    <a:pt x="653783" y="678259"/>
                  </a:cubicBezTo>
                  <a:lnTo>
                    <a:pt x="653783" y="678259"/>
                  </a:ln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1" name="Freeform: Shape 40">
              <a:extLst>
                <a:ext uri="{FF2B5EF4-FFF2-40B4-BE49-F238E27FC236}">
                  <a16:creationId xmlns:a16="http://schemas.microsoft.com/office/drawing/2014/main" id="{71994F37-B45E-48F6-A426-16BA0C3A0618}"/>
                </a:ext>
              </a:extLst>
            </p:cNvPr>
            <p:cNvSpPr/>
            <p:nvPr/>
          </p:nvSpPr>
          <p:spPr bwMode="black">
            <a:xfrm>
              <a:off x="6362526" y="4242177"/>
              <a:ext cx="492259" cy="674476"/>
            </a:xfrm>
            <a:custGeom>
              <a:avLst/>
              <a:gdLst>
                <a:gd name="connsiteX0" fmla="*/ 225733 w 492259"/>
                <a:gd name="connsiteY0" fmla="*/ 97907 h 674476"/>
                <a:gd name="connsiteX1" fmla="*/ 209415 w 492259"/>
                <a:gd name="connsiteY1" fmla="*/ 119665 h 674476"/>
                <a:gd name="connsiteX2" fmla="*/ 201256 w 492259"/>
                <a:gd name="connsiteY2" fmla="*/ 152300 h 674476"/>
                <a:gd name="connsiteX3" fmla="*/ 198536 w 492259"/>
                <a:gd name="connsiteY3" fmla="*/ 168618 h 674476"/>
                <a:gd name="connsiteX4" fmla="*/ 195817 w 492259"/>
                <a:gd name="connsiteY4" fmla="*/ 184936 h 674476"/>
                <a:gd name="connsiteX5" fmla="*/ 187658 w 492259"/>
                <a:gd name="connsiteY5" fmla="*/ 220292 h 674476"/>
                <a:gd name="connsiteX6" fmla="*/ 168620 w 492259"/>
                <a:gd name="connsiteY6" fmla="*/ 291003 h 674476"/>
                <a:gd name="connsiteX7" fmla="*/ 160461 w 492259"/>
                <a:gd name="connsiteY7" fmla="*/ 323639 h 674476"/>
                <a:gd name="connsiteX8" fmla="*/ 149582 w 492259"/>
                <a:gd name="connsiteY8" fmla="*/ 361714 h 674476"/>
                <a:gd name="connsiteX9" fmla="*/ 144143 w 492259"/>
                <a:gd name="connsiteY9" fmla="*/ 388910 h 674476"/>
                <a:gd name="connsiteX10" fmla="*/ 149582 w 492259"/>
                <a:gd name="connsiteY10" fmla="*/ 391630 h 674476"/>
                <a:gd name="connsiteX11" fmla="*/ 171340 w 492259"/>
                <a:gd name="connsiteY11" fmla="*/ 391630 h 674476"/>
                <a:gd name="connsiteX12" fmla="*/ 193097 w 492259"/>
                <a:gd name="connsiteY12" fmla="*/ 388910 h 674476"/>
                <a:gd name="connsiteX13" fmla="*/ 212135 w 492259"/>
                <a:gd name="connsiteY13" fmla="*/ 388910 h 674476"/>
                <a:gd name="connsiteX14" fmla="*/ 236611 w 492259"/>
                <a:gd name="connsiteY14" fmla="*/ 388910 h 674476"/>
                <a:gd name="connsiteX15" fmla="*/ 250210 w 492259"/>
                <a:gd name="connsiteY15" fmla="*/ 386191 h 674476"/>
                <a:gd name="connsiteX16" fmla="*/ 258369 w 492259"/>
                <a:gd name="connsiteY16" fmla="*/ 386191 h 674476"/>
                <a:gd name="connsiteX17" fmla="*/ 255649 w 492259"/>
                <a:gd name="connsiteY17" fmla="*/ 367153 h 674476"/>
                <a:gd name="connsiteX18" fmla="*/ 250210 w 492259"/>
                <a:gd name="connsiteY18" fmla="*/ 331797 h 674476"/>
                <a:gd name="connsiteX19" fmla="*/ 247490 w 492259"/>
                <a:gd name="connsiteY19" fmla="*/ 244769 h 674476"/>
                <a:gd name="connsiteX20" fmla="*/ 242051 w 492259"/>
                <a:gd name="connsiteY20" fmla="*/ 203974 h 674476"/>
                <a:gd name="connsiteX21" fmla="*/ 236611 w 492259"/>
                <a:gd name="connsiteY21" fmla="*/ 157740 h 674476"/>
                <a:gd name="connsiteX22" fmla="*/ 233892 w 492259"/>
                <a:gd name="connsiteY22" fmla="*/ 119665 h 674476"/>
                <a:gd name="connsiteX23" fmla="*/ 225733 w 492259"/>
                <a:gd name="connsiteY23" fmla="*/ 97907 h 674476"/>
                <a:gd name="connsiteX24" fmla="*/ 274687 w 492259"/>
                <a:gd name="connsiteY24" fmla="*/ 0 h 674476"/>
                <a:gd name="connsiteX25" fmla="*/ 304603 w 492259"/>
                <a:gd name="connsiteY25" fmla="*/ 5439 h 674476"/>
                <a:gd name="connsiteX26" fmla="*/ 320921 w 492259"/>
                <a:gd name="connsiteY26" fmla="*/ 24477 h 674476"/>
                <a:gd name="connsiteX27" fmla="*/ 334519 w 492259"/>
                <a:gd name="connsiteY27" fmla="*/ 43515 h 674476"/>
                <a:gd name="connsiteX28" fmla="*/ 339959 w 492259"/>
                <a:gd name="connsiteY28" fmla="*/ 65272 h 674476"/>
                <a:gd name="connsiteX29" fmla="*/ 348118 w 492259"/>
                <a:gd name="connsiteY29" fmla="*/ 114226 h 674476"/>
                <a:gd name="connsiteX30" fmla="*/ 361716 w 492259"/>
                <a:gd name="connsiteY30" fmla="*/ 163180 h 674476"/>
                <a:gd name="connsiteX31" fmla="*/ 369875 w 492259"/>
                <a:gd name="connsiteY31" fmla="*/ 220293 h 674476"/>
                <a:gd name="connsiteX32" fmla="*/ 378034 w 492259"/>
                <a:gd name="connsiteY32" fmla="*/ 274686 h 674476"/>
                <a:gd name="connsiteX33" fmla="*/ 383473 w 492259"/>
                <a:gd name="connsiteY33" fmla="*/ 301883 h 674476"/>
                <a:gd name="connsiteX34" fmla="*/ 391632 w 492259"/>
                <a:gd name="connsiteY34" fmla="*/ 337238 h 674476"/>
                <a:gd name="connsiteX35" fmla="*/ 397071 w 492259"/>
                <a:gd name="connsiteY35" fmla="*/ 364435 h 674476"/>
                <a:gd name="connsiteX36" fmla="*/ 405230 w 492259"/>
                <a:gd name="connsiteY36" fmla="*/ 383473 h 674476"/>
                <a:gd name="connsiteX37" fmla="*/ 416109 w 492259"/>
                <a:gd name="connsiteY37" fmla="*/ 386192 h 674476"/>
                <a:gd name="connsiteX38" fmla="*/ 426988 w 492259"/>
                <a:gd name="connsiteY38" fmla="*/ 386192 h 674476"/>
                <a:gd name="connsiteX39" fmla="*/ 454184 w 492259"/>
                <a:gd name="connsiteY39" fmla="*/ 397071 h 674476"/>
                <a:gd name="connsiteX40" fmla="*/ 456904 w 492259"/>
                <a:gd name="connsiteY40" fmla="*/ 405230 h 674476"/>
                <a:gd name="connsiteX41" fmla="*/ 451464 w 492259"/>
                <a:gd name="connsiteY41" fmla="*/ 416108 h 674476"/>
                <a:gd name="connsiteX42" fmla="*/ 432427 w 492259"/>
                <a:gd name="connsiteY42" fmla="*/ 429707 h 674476"/>
                <a:gd name="connsiteX43" fmla="*/ 421548 w 492259"/>
                <a:gd name="connsiteY43" fmla="*/ 432426 h 674476"/>
                <a:gd name="connsiteX44" fmla="*/ 413389 w 492259"/>
                <a:gd name="connsiteY44" fmla="*/ 435146 h 674476"/>
                <a:gd name="connsiteX45" fmla="*/ 413389 w 492259"/>
                <a:gd name="connsiteY45" fmla="*/ 440585 h 674476"/>
                <a:gd name="connsiteX46" fmla="*/ 416109 w 492259"/>
                <a:gd name="connsiteY46" fmla="*/ 451464 h 674476"/>
                <a:gd name="connsiteX47" fmla="*/ 418829 w 492259"/>
                <a:gd name="connsiteY47" fmla="*/ 465062 h 674476"/>
                <a:gd name="connsiteX48" fmla="*/ 418829 w 492259"/>
                <a:gd name="connsiteY48" fmla="*/ 475941 h 674476"/>
                <a:gd name="connsiteX49" fmla="*/ 418829 w 492259"/>
                <a:gd name="connsiteY49" fmla="*/ 486820 h 674476"/>
                <a:gd name="connsiteX50" fmla="*/ 426988 w 492259"/>
                <a:gd name="connsiteY50" fmla="*/ 516736 h 674476"/>
                <a:gd name="connsiteX51" fmla="*/ 432427 w 492259"/>
                <a:gd name="connsiteY51" fmla="*/ 543932 h 674476"/>
                <a:gd name="connsiteX52" fmla="*/ 437866 w 492259"/>
                <a:gd name="connsiteY52" fmla="*/ 573848 h 674476"/>
                <a:gd name="connsiteX53" fmla="*/ 443306 w 492259"/>
                <a:gd name="connsiteY53" fmla="*/ 606484 h 674476"/>
                <a:gd name="connsiteX54" fmla="*/ 446025 w 492259"/>
                <a:gd name="connsiteY54" fmla="*/ 617363 h 674476"/>
                <a:gd name="connsiteX55" fmla="*/ 470502 w 492259"/>
                <a:gd name="connsiteY55" fmla="*/ 617363 h 674476"/>
                <a:gd name="connsiteX56" fmla="*/ 492259 w 492259"/>
                <a:gd name="connsiteY56" fmla="*/ 641840 h 674476"/>
                <a:gd name="connsiteX57" fmla="*/ 484101 w 492259"/>
                <a:gd name="connsiteY57" fmla="*/ 655438 h 674476"/>
                <a:gd name="connsiteX58" fmla="*/ 467782 w 492259"/>
                <a:gd name="connsiteY58" fmla="*/ 663597 h 674476"/>
                <a:gd name="connsiteX59" fmla="*/ 443306 w 492259"/>
                <a:gd name="connsiteY59" fmla="*/ 666317 h 674476"/>
                <a:gd name="connsiteX60" fmla="*/ 421548 w 492259"/>
                <a:gd name="connsiteY60" fmla="*/ 666317 h 674476"/>
                <a:gd name="connsiteX61" fmla="*/ 413389 w 492259"/>
                <a:gd name="connsiteY61" fmla="*/ 666317 h 674476"/>
                <a:gd name="connsiteX62" fmla="*/ 399791 w 492259"/>
                <a:gd name="connsiteY62" fmla="*/ 671756 h 674476"/>
                <a:gd name="connsiteX63" fmla="*/ 383473 w 492259"/>
                <a:gd name="connsiteY63" fmla="*/ 674476 h 674476"/>
                <a:gd name="connsiteX64" fmla="*/ 348118 w 492259"/>
                <a:gd name="connsiteY64" fmla="*/ 669036 h 674476"/>
                <a:gd name="connsiteX65" fmla="*/ 326360 w 492259"/>
                <a:gd name="connsiteY65" fmla="*/ 669036 h 674476"/>
                <a:gd name="connsiteX66" fmla="*/ 277406 w 492259"/>
                <a:gd name="connsiteY66" fmla="*/ 669036 h 674476"/>
                <a:gd name="connsiteX67" fmla="*/ 252930 w 492259"/>
                <a:gd name="connsiteY67" fmla="*/ 663597 h 674476"/>
                <a:gd name="connsiteX68" fmla="*/ 236611 w 492259"/>
                <a:gd name="connsiteY68" fmla="*/ 647279 h 674476"/>
                <a:gd name="connsiteX69" fmla="*/ 261088 w 492259"/>
                <a:gd name="connsiteY69" fmla="*/ 630961 h 674476"/>
                <a:gd name="connsiteX70" fmla="*/ 288285 w 492259"/>
                <a:gd name="connsiteY70" fmla="*/ 628241 h 674476"/>
                <a:gd name="connsiteX71" fmla="*/ 285565 w 492259"/>
                <a:gd name="connsiteY71" fmla="*/ 609204 h 674476"/>
                <a:gd name="connsiteX72" fmla="*/ 282846 w 492259"/>
                <a:gd name="connsiteY72" fmla="*/ 582007 h 674476"/>
                <a:gd name="connsiteX73" fmla="*/ 280126 w 492259"/>
                <a:gd name="connsiteY73" fmla="*/ 568409 h 674476"/>
                <a:gd name="connsiteX74" fmla="*/ 282846 w 492259"/>
                <a:gd name="connsiteY74" fmla="*/ 554811 h 674476"/>
                <a:gd name="connsiteX75" fmla="*/ 277406 w 492259"/>
                <a:gd name="connsiteY75" fmla="*/ 538493 h 674476"/>
                <a:gd name="connsiteX76" fmla="*/ 271967 w 492259"/>
                <a:gd name="connsiteY76" fmla="*/ 505857 h 674476"/>
                <a:gd name="connsiteX77" fmla="*/ 269247 w 492259"/>
                <a:gd name="connsiteY77" fmla="*/ 478660 h 674476"/>
                <a:gd name="connsiteX78" fmla="*/ 266528 w 492259"/>
                <a:gd name="connsiteY78" fmla="*/ 446025 h 674476"/>
                <a:gd name="connsiteX79" fmla="*/ 261088 w 492259"/>
                <a:gd name="connsiteY79" fmla="*/ 437866 h 674476"/>
                <a:gd name="connsiteX80" fmla="*/ 250210 w 492259"/>
                <a:gd name="connsiteY80" fmla="*/ 437866 h 674476"/>
                <a:gd name="connsiteX81" fmla="*/ 220293 w 492259"/>
                <a:gd name="connsiteY81" fmla="*/ 440585 h 674476"/>
                <a:gd name="connsiteX82" fmla="*/ 190377 w 492259"/>
                <a:gd name="connsiteY82" fmla="*/ 443305 h 674476"/>
                <a:gd name="connsiteX83" fmla="*/ 165900 w 492259"/>
                <a:gd name="connsiteY83" fmla="*/ 443305 h 674476"/>
                <a:gd name="connsiteX84" fmla="*/ 144143 w 492259"/>
                <a:gd name="connsiteY84" fmla="*/ 440585 h 674476"/>
                <a:gd name="connsiteX85" fmla="*/ 135984 w 492259"/>
                <a:gd name="connsiteY85" fmla="*/ 454184 h 674476"/>
                <a:gd name="connsiteX86" fmla="*/ 130545 w 492259"/>
                <a:gd name="connsiteY86" fmla="*/ 486820 h 674476"/>
                <a:gd name="connsiteX87" fmla="*/ 119666 w 492259"/>
                <a:gd name="connsiteY87" fmla="*/ 541213 h 674476"/>
                <a:gd name="connsiteX88" fmla="*/ 103348 w 492259"/>
                <a:gd name="connsiteY88" fmla="*/ 614643 h 674476"/>
                <a:gd name="connsiteX89" fmla="*/ 133264 w 492259"/>
                <a:gd name="connsiteY89" fmla="*/ 614643 h 674476"/>
                <a:gd name="connsiteX90" fmla="*/ 168620 w 492259"/>
                <a:gd name="connsiteY90" fmla="*/ 630961 h 674476"/>
                <a:gd name="connsiteX91" fmla="*/ 163181 w 492259"/>
                <a:gd name="connsiteY91" fmla="*/ 647279 h 674476"/>
                <a:gd name="connsiteX92" fmla="*/ 146863 w 492259"/>
                <a:gd name="connsiteY92" fmla="*/ 655438 h 674476"/>
                <a:gd name="connsiteX93" fmla="*/ 127825 w 492259"/>
                <a:gd name="connsiteY93" fmla="*/ 658158 h 674476"/>
                <a:gd name="connsiteX94" fmla="*/ 106068 w 492259"/>
                <a:gd name="connsiteY94" fmla="*/ 658158 h 674476"/>
                <a:gd name="connsiteX95" fmla="*/ 62552 w 492259"/>
                <a:gd name="connsiteY95" fmla="*/ 658158 h 674476"/>
                <a:gd name="connsiteX96" fmla="*/ 40795 w 492259"/>
                <a:gd name="connsiteY96" fmla="*/ 658158 h 674476"/>
                <a:gd name="connsiteX97" fmla="*/ 16318 w 492259"/>
                <a:gd name="connsiteY97" fmla="*/ 652718 h 674476"/>
                <a:gd name="connsiteX98" fmla="*/ 0 w 492259"/>
                <a:gd name="connsiteY98" fmla="*/ 636401 h 674476"/>
                <a:gd name="connsiteX99" fmla="*/ 2720 w 492259"/>
                <a:gd name="connsiteY99" fmla="*/ 628241 h 674476"/>
                <a:gd name="connsiteX100" fmla="*/ 24477 w 492259"/>
                <a:gd name="connsiteY100" fmla="*/ 620082 h 674476"/>
                <a:gd name="connsiteX101" fmla="*/ 62552 w 492259"/>
                <a:gd name="connsiteY101" fmla="*/ 617363 h 674476"/>
                <a:gd name="connsiteX102" fmla="*/ 62552 w 492259"/>
                <a:gd name="connsiteY102" fmla="*/ 614643 h 674476"/>
                <a:gd name="connsiteX103" fmla="*/ 65272 w 492259"/>
                <a:gd name="connsiteY103" fmla="*/ 587447 h 674476"/>
                <a:gd name="connsiteX104" fmla="*/ 76151 w 492259"/>
                <a:gd name="connsiteY104" fmla="*/ 522175 h 674476"/>
                <a:gd name="connsiteX105" fmla="*/ 87029 w 492259"/>
                <a:gd name="connsiteY105" fmla="*/ 470501 h 674476"/>
                <a:gd name="connsiteX106" fmla="*/ 92468 w 492259"/>
                <a:gd name="connsiteY106" fmla="*/ 446025 h 674476"/>
                <a:gd name="connsiteX107" fmla="*/ 65272 w 492259"/>
                <a:gd name="connsiteY107" fmla="*/ 432426 h 674476"/>
                <a:gd name="connsiteX108" fmla="*/ 54393 w 492259"/>
                <a:gd name="connsiteY108" fmla="*/ 421548 h 674476"/>
                <a:gd name="connsiteX109" fmla="*/ 73431 w 492259"/>
                <a:gd name="connsiteY109" fmla="*/ 407949 h 674476"/>
                <a:gd name="connsiteX110" fmla="*/ 100629 w 492259"/>
                <a:gd name="connsiteY110" fmla="*/ 399790 h 674476"/>
                <a:gd name="connsiteX111" fmla="*/ 108788 w 492259"/>
                <a:gd name="connsiteY111" fmla="*/ 369874 h 674476"/>
                <a:gd name="connsiteX112" fmla="*/ 125105 w 492259"/>
                <a:gd name="connsiteY112" fmla="*/ 307322 h 674476"/>
                <a:gd name="connsiteX113" fmla="*/ 141423 w 492259"/>
                <a:gd name="connsiteY113" fmla="*/ 242051 h 674476"/>
                <a:gd name="connsiteX114" fmla="*/ 155022 w 492259"/>
                <a:gd name="connsiteY114" fmla="*/ 179498 h 674476"/>
                <a:gd name="connsiteX115" fmla="*/ 168620 w 492259"/>
                <a:gd name="connsiteY115" fmla="*/ 119665 h 674476"/>
                <a:gd name="connsiteX116" fmla="*/ 193097 w 492259"/>
                <a:gd name="connsiteY116" fmla="*/ 57113 h 674476"/>
                <a:gd name="connsiteX117" fmla="*/ 201256 w 492259"/>
                <a:gd name="connsiteY117" fmla="*/ 38075 h 674476"/>
                <a:gd name="connsiteX118" fmla="*/ 217574 w 492259"/>
                <a:gd name="connsiteY118" fmla="*/ 13598 h 674476"/>
                <a:gd name="connsiteX119" fmla="*/ 274687 w 492259"/>
                <a:gd name="connsiteY119" fmla="*/ 0 h 6744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</a:cxnLst>
              <a:rect l="l" t="t" r="r" b="b"/>
              <a:pathLst>
                <a:path w="492259" h="674476">
                  <a:moveTo>
                    <a:pt x="225733" y="97907"/>
                  </a:moveTo>
                  <a:cubicBezTo>
                    <a:pt x="217574" y="97907"/>
                    <a:pt x="209415" y="114225"/>
                    <a:pt x="209415" y="119665"/>
                  </a:cubicBezTo>
                  <a:cubicBezTo>
                    <a:pt x="206695" y="130543"/>
                    <a:pt x="203976" y="144141"/>
                    <a:pt x="201256" y="152300"/>
                  </a:cubicBezTo>
                  <a:cubicBezTo>
                    <a:pt x="198536" y="157740"/>
                    <a:pt x="198536" y="163179"/>
                    <a:pt x="198536" y="168618"/>
                  </a:cubicBezTo>
                  <a:cubicBezTo>
                    <a:pt x="198536" y="174058"/>
                    <a:pt x="195817" y="179497"/>
                    <a:pt x="195817" y="184936"/>
                  </a:cubicBezTo>
                  <a:cubicBezTo>
                    <a:pt x="193097" y="195815"/>
                    <a:pt x="190377" y="209413"/>
                    <a:pt x="187658" y="220292"/>
                  </a:cubicBezTo>
                  <a:cubicBezTo>
                    <a:pt x="184938" y="244769"/>
                    <a:pt x="176779" y="269246"/>
                    <a:pt x="168620" y="291003"/>
                  </a:cubicBezTo>
                  <a:cubicBezTo>
                    <a:pt x="165900" y="301881"/>
                    <a:pt x="163181" y="312760"/>
                    <a:pt x="160461" y="323639"/>
                  </a:cubicBezTo>
                  <a:cubicBezTo>
                    <a:pt x="157742" y="337237"/>
                    <a:pt x="155022" y="348115"/>
                    <a:pt x="149582" y="361714"/>
                  </a:cubicBezTo>
                  <a:cubicBezTo>
                    <a:pt x="146863" y="367153"/>
                    <a:pt x="144143" y="383471"/>
                    <a:pt x="144143" y="388910"/>
                  </a:cubicBezTo>
                  <a:cubicBezTo>
                    <a:pt x="144143" y="391630"/>
                    <a:pt x="146863" y="391630"/>
                    <a:pt x="149582" y="391630"/>
                  </a:cubicBezTo>
                  <a:cubicBezTo>
                    <a:pt x="155022" y="391630"/>
                    <a:pt x="168620" y="391630"/>
                    <a:pt x="171340" y="391630"/>
                  </a:cubicBezTo>
                  <a:cubicBezTo>
                    <a:pt x="179498" y="391630"/>
                    <a:pt x="187658" y="391630"/>
                    <a:pt x="193097" y="388910"/>
                  </a:cubicBezTo>
                  <a:cubicBezTo>
                    <a:pt x="198536" y="388910"/>
                    <a:pt x="203976" y="388910"/>
                    <a:pt x="212135" y="388910"/>
                  </a:cubicBezTo>
                  <a:cubicBezTo>
                    <a:pt x="217574" y="388910"/>
                    <a:pt x="225733" y="388910"/>
                    <a:pt x="236611" y="388910"/>
                  </a:cubicBezTo>
                  <a:cubicBezTo>
                    <a:pt x="242051" y="388910"/>
                    <a:pt x="247490" y="388910"/>
                    <a:pt x="250210" y="386191"/>
                  </a:cubicBezTo>
                  <a:cubicBezTo>
                    <a:pt x="255649" y="391630"/>
                    <a:pt x="258369" y="388910"/>
                    <a:pt x="258369" y="386191"/>
                  </a:cubicBezTo>
                  <a:cubicBezTo>
                    <a:pt x="258369" y="380751"/>
                    <a:pt x="255649" y="372592"/>
                    <a:pt x="255649" y="367153"/>
                  </a:cubicBezTo>
                  <a:cubicBezTo>
                    <a:pt x="252930" y="353555"/>
                    <a:pt x="250210" y="342676"/>
                    <a:pt x="250210" y="331797"/>
                  </a:cubicBezTo>
                  <a:cubicBezTo>
                    <a:pt x="250210" y="301881"/>
                    <a:pt x="250210" y="274685"/>
                    <a:pt x="247490" y="244769"/>
                  </a:cubicBezTo>
                  <a:cubicBezTo>
                    <a:pt x="247490" y="231170"/>
                    <a:pt x="244771" y="217572"/>
                    <a:pt x="242051" y="203974"/>
                  </a:cubicBezTo>
                  <a:cubicBezTo>
                    <a:pt x="239331" y="187656"/>
                    <a:pt x="236611" y="174058"/>
                    <a:pt x="236611" y="157740"/>
                  </a:cubicBezTo>
                  <a:cubicBezTo>
                    <a:pt x="236611" y="152300"/>
                    <a:pt x="236611" y="133263"/>
                    <a:pt x="233892" y="119665"/>
                  </a:cubicBezTo>
                  <a:cubicBezTo>
                    <a:pt x="233892" y="106066"/>
                    <a:pt x="231172" y="97907"/>
                    <a:pt x="225733" y="97907"/>
                  </a:cubicBezTo>
                  <a:close/>
                  <a:moveTo>
                    <a:pt x="274687" y="0"/>
                  </a:moveTo>
                  <a:cubicBezTo>
                    <a:pt x="288285" y="0"/>
                    <a:pt x="293724" y="2720"/>
                    <a:pt x="304603" y="5439"/>
                  </a:cubicBezTo>
                  <a:cubicBezTo>
                    <a:pt x="315481" y="10879"/>
                    <a:pt x="315481" y="16318"/>
                    <a:pt x="320921" y="24477"/>
                  </a:cubicBezTo>
                  <a:cubicBezTo>
                    <a:pt x="326360" y="29916"/>
                    <a:pt x="331800" y="35356"/>
                    <a:pt x="334519" y="43515"/>
                  </a:cubicBezTo>
                  <a:cubicBezTo>
                    <a:pt x="337239" y="51674"/>
                    <a:pt x="337239" y="57113"/>
                    <a:pt x="339959" y="65272"/>
                  </a:cubicBezTo>
                  <a:cubicBezTo>
                    <a:pt x="345398" y="78870"/>
                    <a:pt x="342678" y="97908"/>
                    <a:pt x="348118" y="114226"/>
                  </a:cubicBezTo>
                  <a:cubicBezTo>
                    <a:pt x="350837" y="130544"/>
                    <a:pt x="358996" y="146863"/>
                    <a:pt x="361716" y="163180"/>
                  </a:cubicBezTo>
                  <a:cubicBezTo>
                    <a:pt x="364435" y="182218"/>
                    <a:pt x="364435" y="201256"/>
                    <a:pt x="369875" y="220293"/>
                  </a:cubicBezTo>
                  <a:cubicBezTo>
                    <a:pt x="375314" y="239331"/>
                    <a:pt x="378034" y="255649"/>
                    <a:pt x="378034" y="274686"/>
                  </a:cubicBezTo>
                  <a:cubicBezTo>
                    <a:pt x="378034" y="282845"/>
                    <a:pt x="380753" y="293724"/>
                    <a:pt x="383473" y="301883"/>
                  </a:cubicBezTo>
                  <a:cubicBezTo>
                    <a:pt x="386193" y="312762"/>
                    <a:pt x="388913" y="326360"/>
                    <a:pt x="391632" y="337238"/>
                  </a:cubicBezTo>
                  <a:cubicBezTo>
                    <a:pt x="391632" y="342678"/>
                    <a:pt x="394352" y="353556"/>
                    <a:pt x="397071" y="364435"/>
                  </a:cubicBezTo>
                  <a:cubicBezTo>
                    <a:pt x="399791" y="372594"/>
                    <a:pt x="402511" y="380753"/>
                    <a:pt x="405230" y="383473"/>
                  </a:cubicBezTo>
                  <a:cubicBezTo>
                    <a:pt x="407950" y="386192"/>
                    <a:pt x="413389" y="386192"/>
                    <a:pt x="416109" y="386192"/>
                  </a:cubicBezTo>
                  <a:cubicBezTo>
                    <a:pt x="418829" y="386192"/>
                    <a:pt x="424268" y="386192"/>
                    <a:pt x="426988" y="386192"/>
                  </a:cubicBezTo>
                  <a:cubicBezTo>
                    <a:pt x="437866" y="386192"/>
                    <a:pt x="448745" y="388912"/>
                    <a:pt x="454184" y="397071"/>
                  </a:cubicBezTo>
                  <a:cubicBezTo>
                    <a:pt x="456904" y="399790"/>
                    <a:pt x="456904" y="402510"/>
                    <a:pt x="456904" y="405230"/>
                  </a:cubicBezTo>
                  <a:cubicBezTo>
                    <a:pt x="456904" y="407949"/>
                    <a:pt x="454184" y="410669"/>
                    <a:pt x="451464" y="416108"/>
                  </a:cubicBezTo>
                  <a:cubicBezTo>
                    <a:pt x="446025" y="421548"/>
                    <a:pt x="440586" y="426987"/>
                    <a:pt x="432427" y="429707"/>
                  </a:cubicBezTo>
                  <a:cubicBezTo>
                    <a:pt x="429707" y="429707"/>
                    <a:pt x="426988" y="432426"/>
                    <a:pt x="421548" y="432426"/>
                  </a:cubicBezTo>
                  <a:cubicBezTo>
                    <a:pt x="418829" y="432426"/>
                    <a:pt x="416109" y="432426"/>
                    <a:pt x="413389" y="435146"/>
                  </a:cubicBezTo>
                  <a:cubicBezTo>
                    <a:pt x="413389" y="435146"/>
                    <a:pt x="413389" y="437866"/>
                    <a:pt x="413389" y="440585"/>
                  </a:cubicBezTo>
                  <a:cubicBezTo>
                    <a:pt x="413389" y="443305"/>
                    <a:pt x="413389" y="448744"/>
                    <a:pt x="416109" y="451464"/>
                  </a:cubicBezTo>
                  <a:cubicBezTo>
                    <a:pt x="416109" y="456903"/>
                    <a:pt x="418829" y="462343"/>
                    <a:pt x="418829" y="465062"/>
                  </a:cubicBezTo>
                  <a:lnTo>
                    <a:pt x="418829" y="475941"/>
                  </a:lnTo>
                  <a:cubicBezTo>
                    <a:pt x="418829" y="481380"/>
                    <a:pt x="418829" y="484100"/>
                    <a:pt x="418829" y="486820"/>
                  </a:cubicBezTo>
                  <a:cubicBezTo>
                    <a:pt x="421548" y="497698"/>
                    <a:pt x="424268" y="505857"/>
                    <a:pt x="426988" y="516736"/>
                  </a:cubicBezTo>
                  <a:cubicBezTo>
                    <a:pt x="426988" y="524895"/>
                    <a:pt x="429707" y="535773"/>
                    <a:pt x="432427" y="543932"/>
                  </a:cubicBezTo>
                  <a:cubicBezTo>
                    <a:pt x="435147" y="554811"/>
                    <a:pt x="437866" y="562970"/>
                    <a:pt x="437866" y="573848"/>
                  </a:cubicBezTo>
                  <a:cubicBezTo>
                    <a:pt x="437866" y="587447"/>
                    <a:pt x="440586" y="595606"/>
                    <a:pt x="443306" y="606484"/>
                  </a:cubicBezTo>
                  <a:cubicBezTo>
                    <a:pt x="443306" y="609204"/>
                    <a:pt x="446025" y="614643"/>
                    <a:pt x="446025" y="617363"/>
                  </a:cubicBezTo>
                  <a:cubicBezTo>
                    <a:pt x="454184" y="617363"/>
                    <a:pt x="462343" y="617363"/>
                    <a:pt x="470502" y="617363"/>
                  </a:cubicBezTo>
                  <a:cubicBezTo>
                    <a:pt x="475942" y="625522"/>
                    <a:pt x="492259" y="630961"/>
                    <a:pt x="492259" y="641840"/>
                  </a:cubicBezTo>
                  <a:cubicBezTo>
                    <a:pt x="492259" y="647279"/>
                    <a:pt x="486820" y="649999"/>
                    <a:pt x="484101" y="655438"/>
                  </a:cubicBezTo>
                  <a:cubicBezTo>
                    <a:pt x="481381" y="660877"/>
                    <a:pt x="473222" y="663597"/>
                    <a:pt x="467782" y="663597"/>
                  </a:cubicBezTo>
                  <a:cubicBezTo>
                    <a:pt x="456904" y="666317"/>
                    <a:pt x="451464" y="666317"/>
                    <a:pt x="443306" y="666317"/>
                  </a:cubicBezTo>
                  <a:cubicBezTo>
                    <a:pt x="437866" y="666317"/>
                    <a:pt x="429707" y="666317"/>
                    <a:pt x="421548" y="666317"/>
                  </a:cubicBezTo>
                  <a:cubicBezTo>
                    <a:pt x="418829" y="666317"/>
                    <a:pt x="416109" y="666317"/>
                    <a:pt x="413389" y="666317"/>
                  </a:cubicBezTo>
                  <a:cubicBezTo>
                    <a:pt x="407950" y="669036"/>
                    <a:pt x="405230" y="669036"/>
                    <a:pt x="399791" y="671756"/>
                  </a:cubicBezTo>
                  <a:cubicBezTo>
                    <a:pt x="394352" y="671756"/>
                    <a:pt x="388913" y="674476"/>
                    <a:pt x="383473" y="674476"/>
                  </a:cubicBezTo>
                  <a:cubicBezTo>
                    <a:pt x="372594" y="674476"/>
                    <a:pt x="358996" y="671756"/>
                    <a:pt x="348118" y="669036"/>
                  </a:cubicBezTo>
                  <a:cubicBezTo>
                    <a:pt x="339959" y="669036"/>
                    <a:pt x="331800" y="669036"/>
                    <a:pt x="326360" y="669036"/>
                  </a:cubicBezTo>
                  <a:cubicBezTo>
                    <a:pt x="304603" y="669036"/>
                    <a:pt x="285565" y="669036"/>
                    <a:pt x="277406" y="669036"/>
                  </a:cubicBezTo>
                  <a:cubicBezTo>
                    <a:pt x="269247" y="669036"/>
                    <a:pt x="258369" y="669036"/>
                    <a:pt x="252930" y="663597"/>
                  </a:cubicBezTo>
                  <a:cubicBezTo>
                    <a:pt x="247490" y="660877"/>
                    <a:pt x="236611" y="655438"/>
                    <a:pt x="236611" y="647279"/>
                  </a:cubicBezTo>
                  <a:cubicBezTo>
                    <a:pt x="236611" y="636401"/>
                    <a:pt x="252930" y="633681"/>
                    <a:pt x="261088" y="630961"/>
                  </a:cubicBezTo>
                  <a:cubicBezTo>
                    <a:pt x="266528" y="630961"/>
                    <a:pt x="274687" y="630961"/>
                    <a:pt x="288285" y="628241"/>
                  </a:cubicBezTo>
                  <a:cubicBezTo>
                    <a:pt x="288285" y="620082"/>
                    <a:pt x="288285" y="614643"/>
                    <a:pt x="285565" y="609204"/>
                  </a:cubicBezTo>
                  <a:cubicBezTo>
                    <a:pt x="285565" y="601045"/>
                    <a:pt x="282846" y="590166"/>
                    <a:pt x="282846" y="582007"/>
                  </a:cubicBezTo>
                  <a:cubicBezTo>
                    <a:pt x="282846" y="576568"/>
                    <a:pt x="280126" y="573848"/>
                    <a:pt x="280126" y="568409"/>
                  </a:cubicBezTo>
                  <a:cubicBezTo>
                    <a:pt x="280126" y="562970"/>
                    <a:pt x="282846" y="557531"/>
                    <a:pt x="282846" y="554811"/>
                  </a:cubicBezTo>
                  <a:cubicBezTo>
                    <a:pt x="282846" y="549371"/>
                    <a:pt x="280126" y="546652"/>
                    <a:pt x="277406" y="538493"/>
                  </a:cubicBezTo>
                  <a:cubicBezTo>
                    <a:pt x="277406" y="527614"/>
                    <a:pt x="271967" y="516736"/>
                    <a:pt x="271967" y="505857"/>
                  </a:cubicBezTo>
                  <a:cubicBezTo>
                    <a:pt x="271967" y="494978"/>
                    <a:pt x="271967" y="486820"/>
                    <a:pt x="269247" y="478660"/>
                  </a:cubicBezTo>
                  <a:cubicBezTo>
                    <a:pt x="266528" y="467782"/>
                    <a:pt x="266528" y="456903"/>
                    <a:pt x="266528" y="446025"/>
                  </a:cubicBezTo>
                  <a:cubicBezTo>
                    <a:pt x="266528" y="440585"/>
                    <a:pt x="263808" y="437866"/>
                    <a:pt x="261088" y="437866"/>
                  </a:cubicBezTo>
                  <a:cubicBezTo>
                    <a:pt x="258369" y="437866"/>
                    <a:pt x="255649" y="437866"/>
                    <a:pt x="250210" y="437866"/>
                  </a:cubicBezTo>
                  <a:cubicBezTo>
                    <a:pt x="239331" y="437866"/>
                    <a:pt x="228452" y="437866"/>
                    <a:pt x="220293" y="440585"/>
                  </a:cubicBezTo>
                  <a:cubicBezTo>
                    <a:pt x="209415" y="440585"/>
                    <a:pt x="201256" y="443305"/>
                    <a:pt x="190377" y="443305"/>
                  </a:cubicBezTo>
                  <a:cubicBezTo>
                    <a:pt x="182218" y="443305"/>
                    <a:pt x="174059" y="443305"/>
                    <a:pt x="165900" y="443305"/>
                  </a:cubicBezTo>
                  <a:cubicBezTo>
                    <a:pt x="163181" y="443305"/>
                    <a:pt x="152302" y="440585"/>
                    <a:pt x="144143" y="440585"/>
                  </a:cubicBezTo>
                  <a:cubicBezTo>
                    <a:pt x="135984" y="440585"/>
                    <a:pt x="135984" y="448744"/>
                    <a:pt x="135984" y="454184"/>
                  </a:cubicBezTo>
                  <a:cubicBezTo>
                    <a:pt x="135984" y="465062"/>
                    <a:pt x="133264" y="475941"/>
                    <a:pt x="130545" y="486820"/>
                  </a:cubicBezTo>
                  <a:cubicBezTo>
                    <a:pt x="127825" y="505857"/>
                    <a:pt x="122386" y="522175"/>
                    <a:pt x="119666" y="541213"/>
                  </a:cubicBezTo>
                  <a:cubicBezTo>
                    <a:pt x="116947" y="560250"/>
                    <a:pt x="108788" y="595606"/>
                    <a:pt x="103348" y="614643"/>
                  </a:cubicBezTo>
                  <a:cubicBezTo>
                    <a:pt x="111507" y="614643"/>
                    <a:pt x="122386" y="614643"/>
                    <a:pt x="133264" y="614643"/>
                  </a:cubicBezTo>
                  <a:cubicBezTo>
                    <a:pt x="146863" y="614643"/>
                    <a:pt x="168620" y="614643"/>
                    <a:pt x="168620" y="630961"/>
                  </a:cubicBezTo>
                  <a:cubicBezTo>
                    <a:pt x="168620" y="639120"/>
                    <a:pt x="165900" y="639120"/>
                    <a:pt x="163181" y="647279"/>
                  </a:cubicBezTo>
                  <a:cubicBezTo>
                    <a:pt x="160461" y="652718"/>
                    <a:pt x="152302" y="655438"/>
                    <a:pt x="146863" y="655438"/>
                  </a:cubicBezTo>
                  <a:cubicBezTo>
                    <a:pt x="138704" y="658158"/>
                    <a:pt x="133264" y="658158"/>
                    <a:pt x="127825" y="658158"/>
                  </a:cubicBezTo>
                  <a:cubicBezTo>
                    <a:pt x="122386" y="658158"/>
                    <a:pt x="116947" y="658158"/>
                    <a:pt x="106068" y="658158"/>
                  </a:cubicBezTo>
                  <a:cubicBezTo>
                    <a:pt x="92468" y="658158"/>
                    <a:pt x="78870" y="658158"/>
                    <a:pt x="62552" y="658158"/>
                  </a:cubicBezTo>
                  <a:cubicBezTo>
                    <a:pt x="54393" y="658158"/>
                    <a:pt x="46234" y="658158"/>
                    <a:pt x="40795" y="658158"/>
                  </a:cubicBezTo>
                  <a:cubicBezTo>
                    <a:pt x="32636" y="658158"/>
                    <a:pt x="21758" y="658158"/>
                    <a:pt x="16318" y="652718"/>
                  </a:cubicBezTo>
                  <a:cubicBezTo>
                    <a:pt x="8159" y="649999"/>
                    <a:pt x="0" y="641840"/>
                    <a:pt x="0" y="636401"/>
                  </a:cubicBezTo>
                  <a:cubicBezTo>
                    <a:pt x="0" y="633681"/>
                    <a:pt x="0" y="630961"/>
                    <a:pt x="2720" y="628241"/>
                  </a:cubicBezTo>
                  <a:cubicBezTo>
                    <a:pt x="8159" y="625522"/>
                    <a:pt x="16318" y="622802"/>
                    <a:pt x="24477" y="620082"/>
                  </a:cubicBezTo>
                  <a:cubicBezTo>
                    <a:pt x="38075" y="617363"/>
                    <a:pt x="48954" y="617363"/>
                    <a:pt x="62552" y="617363"/>
                  </a:cubicBezTo>
                  <a:cubicBezTo>
                    <a:pt x="62552" y="617363"/>
                    <a:pt x="62552" y="614643"/>
                    <a:pt x="62552" y="614643"/>
                  </a:cubicBezTo>
                  <a:cubicBezTo>
                    <a:pt x="62552" y="603765"/>
                    <a:pt x="65272" y="590166"/>
                    <a:pt x="65272" y="587447"/>
                  </a:cubicBezTo>
                  <a:cubicBezTo>
                    <a:pt x="67992" y="565689"/>
                    <a:pt x="73431" y="543932"/>
                    <a:pt x="76151" y="522175"/>
                  </a:cubicBezTo>
                  <a:cubicBezTo>
                    <a:pt x="78870" y="505857"/>
                    <a:pt x="81590" y="486820"/>
                    <a:pt x="87029" y="470501"/>
                  </a:cubicBezTo>
                  <a:cubicBezTo>
                    <a:pt x="87029" y="465062"/>
                    <a:pt x="92468" y="451464"/>
                    <a:pt x="92468" y="446025"/>
                  </a:cubicBezTo>
                  <a:cubicBezTo>
                    <a:pt x="92468" y="437866"/>
                    <a:pt x="73431" y="437866"/>
                    <a:pt x="65272" y="432426"/>
                  </a:cubicBezTo>
                  <a:cubicBezTo>
                    <a:pt x="59833" y="429707"/>
                    <a:pt x="54393" y="426987"/>
                    <a:pt x="54393" y="421548"/>
                  </a:cubicBezTo>
                  <a:cubicBezTo>
                    <a:pt x="54393" y="413389"/>
                    <a:pt x="62552" y="410669"/>
                    <a:pt x="73431" y="407949"/>
                  </a:cubicBezTo>
                  <a:cubicBezTo>
                    <a:pt x="78870" y="407949"/>
                    <a:pt x="92468" y="405230"/>
                    <a:pt x="100629" y="399790"/>
                  </a:cubicBezTo>
                  <a:cubicBezTo>
                    <a:pt x="106068" y="394351"/>
                    <a:pt x="106068" y="378033"/>
                    <a:pt x="108788" y="369874"/>
                  </a:cubicBezTo>
                  <a:cubicBezTo>
                    <a:pt x="114227" y="348117"/>
                    <a:pt x="119666" y="326360"/>
                    <a:pt x="125105" y="307322"/>
                  </a:cubicBezTo>
                  <a:cubicBezTo>
                    <a:pt x="130545" y="285565"/>
                    <a:pt x="135984" y="263808"/>
                    <a:pt x="141423" y="242051"/>
                  </a:cubicBezTo>
                  <a:cubicBezTo>
                    <a:pt x="146863" y="220293"/>
                    <a:pt x="152302" y="198536"/>
                    <a:pt x="155022" y="179498"/>
                  </a:cubicBezTo>
                  <a:cubicBezTo>
                    <a:pt x="157742" y="160461"/>
                    <a:pt x="163181" y="138703"/>
                    <a:pt x="168620" y="119665"/>
                  </a:cubicBezTo>
                  <a:cubicBezTo>
                    <a:pt x="176779" y="100627"/>
                    <a:pt x="182218" y="76150"/>
                    <a:pt x="193097" y="57113"/>
                  </a:cubicBezTo>
                  <a:lnTo>
                    <a:pt x="201256" y="38075"/>
                  </a:lnTo>
                  <a:cubicBezTo>
                    <a:pt x="206695" y="29916"/>
                    <a:pt x="209415" y="19038"/>
                    <a:pt x="217574" y="13598"/>
                  </a:cubicBezTo>
                  <a:cubicBezTo>
                    <a:pt x="231172" y="2720"/>
                    <a:pt x="255649" y="0"/>
                    <a:pt x="274687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2" name="Freeform: Shape 41">
              <a:extLst>
                <a:ext uri="{FF2B5EF4-FFF2-40B4-BE49-F238E27FC236}">
                  <a16:creationId xmlns:a16="http://schemas.microsoft.com/office/drawing/2014/main" id="{8127A624-42CC-4E96-BDC2-D7800A80C6A5}"/>
                </a:ext>
              </a:extLst>
            </p:cNvPr>
            <p:cNvSpPr/>
            <p:nvPr/>
          </p:nvSpPr>
          <p:spPr bwMode="black">
            <a:xfrm>
              <a:off x="6876542" y="4244897"/>
              <a:ext cx="462342" cy="677195"/>
            </a:xfrm>
            <a:custGeom>
              <a:avLst/>
              <a:gdLst>
                <a:gd name="connsiteX0" fmla="*/ 214853 w 462342"/>
                <a:gd name="connsiteY0" fmla="*/ 65272 h 677195"/>
                <a:gd name="connsiteX1" fmla="*/ 195815 w 462342"/>
                <a:gd name="connsiteY1" fmla="*/ 73431 h 677195"/>
                <a:gd name="connsiteX2" fmla="*/ 193096 w 462342"/>
                <a:gd name="connsiteY2" fmla="*/ 125105 h 677195"/>
                <a:gd name="connsiteX3" fmla="*/ 190376 w 462342"/>
                <a:gd name="connsiteY3" fmla="*/ 280125 h 677195"/>
                <a:gd name="connsiteX4" fmla="*/ 190376 w 462342"/>
                <a:gd name="connsiteY4" fmla="*/ 301882 h 677195"/>
                <a:gd name="connsiteX5" fmla="*/ 193096 w 462342"/>
                <a:gd name="connsiteY5" fmla="*/ 342677 h 677195"/>
                <a:gd name="connsiteX6" fmla="*/ 195815 w 462342"/>
                <a:gd name="connsiteY6" fmla="*/ 397070 h 677195"/>
                <a:gd name="connsiteX7" fmla="*/ 195815 w 462342"/>
                <a:gd name="connsiteY7" fmla="*/ 443304 h 677195"/>
                <a:gd name="connsiteX8" fmla="*/ 195815 w 462342"/>
                <a:gd name="connsiteY8" fmla="*/ 530333 h 677195"/>
                <a:gd name="connsiteX9" fmla="*/ 193096 w 462342"/>
                <a:gd name="connsiteY9" fmla="*/ 554810 h 677195"/>
                <a:gd name="connsiteX10" fmla="*/ 190376 w 462342"/>
                <a:gd name="connsiteY10" fmla="*/ 603764 h 677195"/>
                <a:gd name="connsiteX11" fmla="*/ 198535 w 462342"/>
                <a:gd name="connsiteY11" fmla="*/ 611923 h 677195"/>
                <a:gd name="connsiteX12" fmla="*/ 214853 w 462342"/>
                <a:gd name="connsiteY12" fmla="*/ 611923 h 677195"/>
                <a:gd name="connsiteX13" fmla="*/ 236610 w 462342"/>
                <a:gd name="connsiteY13" fmla="*/ 611923 h 677195"/>
                <a:gd name="connsiteX14" fmla="*/ 263807 w 462342"/>
                <a:gd name="connsiteY14" fmla="*/ 598325 h 677195"/>
                <a:gd name="connsiteX15" fmla="*/ 277405 w 462342"/>
                <a:gd name="connsiteY15" fmla="*/ 592885 h 677195"/>
                <a:gd name="connsiteX16" fmla="*/ 291004 w 462342"/>
                <a:gd name="connsiteY16" fmla="*/ 573848 h 677195"/>
                <a:gd name="connsiteX17" fmla="*/ 307322 w 462342"/>
                <a:gd name="connsiteY17" fmla="*/ 543931 h 677195"/>
                <a:gd name="connsiteX18" fmla="*/ 326359 w 462342"/>
                <a:gd name="connsiteY18" fmla="*/ 481379 h 677195"/>
                <a:gd name="connsiteX19" fmla="*/ 337238 w 462342"/>
                <a:gd name="connsiteY19" fmla="*/ 413388 h 677195"/>
                <a:gd name="connsiteX20" fmla="*/ 337238 w 462342"/>
                <a:gd name="connsiteY20" fmla="*/ 350836 h 677195"/>
                <a:gd name="connsiteX21" fmla="*/ 334518 w 462342"/>
                <a:gd name="connsiteY21" fmla="*/ 296443 h 677195"/>
                <a:gd name="connsiteX22" fmla="*/ 329079 w 462342"/>
                <a:gd name="connsiteY22" fmla="*/ 244769 h 677195"/>
                <a:gd name="connsiteX23" fmla="*/ 307322 w 462342"/>
                <a:gd name="connsiteY23" fmla="*/ 135983 h 677195"/>
                <a:gd name="connsiteX24" fmla="*/ 271966 w 462342"/>
                <a:gd name="connsiteY24" fmla="*/ 78870 h 677195"/>
                <a:gd name="connsiteX25" fmla="*/ 214853 w 462342"/>
                <a:gd name="connsiteY25" fmla="*/ 65272 h 677195"/>
                <a:gd name="connsiteX26" fmla="*/ 114226 w 462342"/>
                <a:gd name="connsiteY26" fmla="*/ 0 h 677195"/>
                <a:gd name="connsiteX27" fmla="*/ 127824 w 462342"/>
                <a:gd name="connsiteY27" fmla="*/ 0 h 677195"/>
                <a:gd name="connsiteX28" fmla="*/ 146862 w 462342"/>
                <a:gd name="connsiteY28" fmla="*/ 2720 h 677195"/>
                <a:gd name="connsiteX29" fmla="*/ 174059 w 462342"/>
                <a:gd name="connsiteY29" fmla="*/ 21758 h 677195"/>
                <a:gd name="connsiteX30" fmla="*/ 193096 w 462342"/>
                <a:gd name="connsiteY30" fmla="*/ 21758 h 677195"/>
                <a:gd name="connsiteX31" fmla="*/ 261088 w 462342"/>
                <a:gd name="connsiteY31" fmla="*/ 27197 h 677195"/>
                <a:gd name="connsiteX32" fmla="*/ 310042 w 462342"/>
                <a:gd name="connsiteY32" fmla="*/ 35356 h 677195"/>
                <a:gd name="connsiteX33" fmla="*/ 334518 w 462342"/>
                <a:gd name="connsiteY33" fmla="*/ 40795 h 677195"/>
                <a:gd name="connsiteX34" fmla="*/ 356276 w 462342"/>
                <a:gd name="connsiteY34" fmla="*/ 59833 h 677195"/>
                <a:gd name="connsiteX35" fmla="*/ 372593 w 462342"/>
                <a:gd name="connsiteY35" fmla="*/ 76151 h 677195"/>
                <a:gd name="connsiteX36" fmla="*/ 380752 w 462342"/>
                <a:gd name="connsiteY36" fmla="*/ 95188 h 677195"/>
                <a:gd name="connsiteX37" fmla="*/ 405230 w 462342"/>
                <a:gd name="connsiteY37" fmla="*/ 114226 h 677195"/>
                <a:gd name="connsiteX38" fmla="*/ 416108 w 462342"/>
                <a:gd name="connsiteY38" fmla="*/ 141422 h 677195"/>
                <a:gd name="connsiteX39" fmla="*/ 451464 w 462342"/>
                <a:gd name="connsiteY39" fmla="*/ 201256 h 677195"/>
                <a:gd name="connsiteX40" fmla="*/ 456903 w 462342"/>
                <a:gd name="connsiteY40" fmla="*/ 252929 h 677195"/>
                <a:gd name="connsiteX41" fmla="*/ 456903 w 462342"/>
                <a:gd name="connsiteY41" fmla="*/ 291004 h 677195"/>
                <a:gd name="connsiteX42" fmla="*/ 459623 w 462342"/>
                <a:gd name="connsiteY42" fmla="*/ 318201 h 677195"/>
                <a:gd name="connsiteX43" fmla="*/ 459623 w 462342"/>
                <a:gd name="connsiteY43" fmla="*/ 326360 h 677195"/>
                <a:gd name="connsiteX44" fmla="*/ 459623 w 462342"/>
                <a:gd name="connsiteY44" fmla="*/ 348117 h 677195"/>
                <a:gd name="connsiteX45" fmla="*/ 462342 w 462342"/>
                <a:gd name="connsiteY45" fmla="*/ 367155 h 677195"/>
                <a:gd name="connsiteX46" fmla="*/ 456903 w 462342"/>
                <a:gd name="connsiteY46" fmla="*/ 391632 h 677195"/>
                <a:gd name="connsiteX47" fmla="*/ 456903 w 462342"/>
                <a:gd name="connsiteY47" fmla="*/ 418828 h 677195"/>
                <a:gd name="connsiteX48" fmla="*/ 451464 w 462342"/>
                <a:gd name="connsiteY48" fmla="*/ 437866 h 677195"/>
                <a:gd name="connsiteX49" fmla="*/ 446025 w 462342"/>
                <a:gd name="connsiteY49" fmla="*/ 454184 h 677195"/>
                <a:gd name="connsiteX50" fmla="*/ 440585 w 462342"/>
                <a:gd name="connsiteY50" fmla="*/ 481380 h 677195"/>
                <a:gd name="connsiteX51" fmla="*/ 432426 w 462342"/>
                <a:gd name="connsiteY51" fmla="*/ 508577 h 677195"/>
                <a:gd name="connsiteX52" fmla="*/ 418828 w 462342"/>
                <a:gd name="connsiteY52" fmla="*/ 530334 h 677195"/>
                <a:gd name="connsiteX53" fmla="*/ 410669 w 462342"/>
                <a:gd name="connsiteY53" fmla="*/ 549371 h 677195"/>
                <a:gd name="connsiteX54" fmla="*/ 391631 w 462342"/>
                <a:gd name="connsiteY54" fmla="*/ 579288 h 677195"/>
                <a:gd name="connsiteX55" fmla="*/ 337238 w 462342"/>
                <a:gd name="connsiteY55" fmla="*/ 630961 h 677195"/>
                <a:gd name="connsiteX56" fmla="*/ 301883 w 462342"/>
                <a:gd name="connsiteY56" fmla="*/ 647279 h 677195"/>
                <a:gd name="connsiteX57" fmla="*/ 263807 w 462342"/>
                <a:gd name="connsiteY57" fmla="*/ 652718 h 677195"/>
                <a:gd name="connsiteX58" fmla="*/ 233891 w 462342"/>
                <a:gd name="connsiteY58" fmla="*/ 649999 h 677195"/>
                <a:gd name="connsiteX59" fmla="*/ 187657 w 462342"/>
                <a:gd name="connsiteY59" fmla="*/ 652718 h 677195"/>
                <a:gd name="connsiteX60" fmla="*/ 171339 w 462342"/>
                <a:gd name="connsiteY60" fmla="*/ 669036 h 677195"/>
                <a:gd name="connsiteX61" fmla="*/ 155021 w 462342"/>
                <a:gd name="connsiteY61" fmla="*/ 671756 h 677195"/>
                <a:gd name="connsiteX62" fmla="*/ 138703 w 462342"/>
                <a:gd name="connsiteY62" fmla="*/ 674476 h 677195"/>
                <a:gd name="connsiteX63" fmla="*/ 125105 w 462342"/>
                <a:gd name="connsiteY63" fmla="*/ 677195 h 677195"/>
                <a:gd name="connsiteX64" fmla="*/ 106067 w 462342"/>
                <a:gd name="connsiteY64" fmla="*/ 671756 h 677195"/>
                <a:gd name="connsiteX65" fmla="*/ 87029 w 462342"/>
                <a:gd name="connsiteY65" fmla="*/ 658158 h 677195"/>
                <a:gd name="connsiteX66" fmla="*/ 81590 w 462342"/>
                <a:gd name="connsiteY66" fmla="*/ 652718 h 677195"/>
                <a:gd name="connsiteX67" fmla="*/ 67992 w 462342"/>
                <a:gd name="connsiteY67" fmla="*/ 652718 h 677195"/>
                <a:gd name="connsiteX68" fmla="*/ 43515 w 462342"/>
                <a:gd name="connsiteY68" fmla="*/ 652718 h 677195"/>
                <a:gd name="connsiteX69" fmla="*/ 16318 w 462342"/>
                <a:gd name="connsiteY69" fmla="*/ 647279 h 677195"/>
                <a:gd name="connsiteX70" fmla="*/ 0 w 462342"/>
                <a:gd name="connsiteY70" fmla="*/ 630961 h 677195"/>
                <a:gd name="connsiteX71" fmla="*/ 5439 w 462342"/>
                <a:gd name="connsiteY71" fmla="*/ 620083 h 677195"/>
                <a:gd name="connsiteX72" fmla="*/ 27197 w 462342"/>
                <a:gd name="connsiteY72" fmla="*/ 611924 h 677195"/>
                <a:gd name="connsiteX73" fmla="*/ 65272 w 462342"/>
                <a:gd name="connsiteY73" fmla="*/ 609204 h 677195"/>
                <a:gd name="connsiteX74" fmla="*/ 65272 w 462342"/>
                <a:gd name="connsiteY74" fmla="*/ 584727 h 677195"/>
                <a:gd name="connsiteX75" fmla="*/ 62552 w 462342"/>
                <a:gd name="connsiteY75" fmla="*/ 456903 h 677195"/>
                <a:gd name="connsiteX76" fmla="*/ 65272 w 462342"/>
                <a:gd name="connsiteY76" fmla="*/ 337238 h 677195"/>
                <a:gd name="connsiteX77" fmla="*/ 67992 w 462342"/>
                <a:gd name="connsiteY77" fmla="*/ 203975 h 677195"/>
                <a:gd name="connsiteX78" fmla="*/ 70712 w 462342"/>
                <a:gd name="connsiteY78" fmla="*/ 119665 h 677195"/>
                <a:gd name="connsiteX79" fmla="*/ 73431 w 462342"/>
                <a:gd name="connsiteY79" fmla="*/ 67992 h 677195"/>
                <a:gd name="connsiteX80" fmla="*/ 67992 w 462342"/>
                <a:gd name="connsiteY80" fmla="*/ 67992 h 677195"/>
                <a:gd name="connsiteX81" fmla="*/ 43515 w 462342"/>
                <a:gd name="connsiteY81" fmla="*/ 67992 h 677195"/>
                <a:gd name="connsiteX82" fmla="*/ 16318 w 462342"/>
                <a:gd name="connsiteY82" fmla="*/ 62552 h 677195"/>
                <a:gd name="connsiteX83" fmla="*/ 0 w 462342"/>
                <a:gd name="connsiteY83" fmla="*/ 46234 h 677195"/>
                <a:gd name="connsiteX84" fmla="*/ 5439 w 462342"/>
                <a:gd name="connsiteY84" fmla="*/ 35356 h 677195"/>
                <a:gd name="connsiteX85" fmla="*/ 27197 w 462342"/>
                <a:gd name="connsiteY85" fmla="*/ 27197 h 677195"/>
                <a:gd name="connsiteX86" fmla="*/ 76151 w 462342"/>
                <a:gd name="connsiteY86" fmla="*/ 21758 h 677195"/>
                <a:gd name="connsiteX87" fmla="*/ 81590 w 462342"/>
                <a:gd name="connsiteY87" fmla="*/ 13598 h 677195"/>
                <a:gd name="connsiteX88" fmla="*/ 97908 w 462342"/>
                <a:gd name="connsiteY88" fmla="*/ 5439 h 677195"/>
                <a:gd name="connsiteX89" fmla="*/ 114226 w 462342"/>
                <a:gd name="connsiteY89" fmla="*/ 0 h 6771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</a:cxnLst>
              <a:rect l="l" t="t" r="r" b="b"/>
              <a:pathLst>
                <a:path w="462342" h="677195">
                  <a:moveTo>
                    <a:pt x="214853" y="65272"/>
                  </a:moveTo>
                  <a:cubicBezTo>
                    <a:pt x="203975" y="65272"/>
                    <a:pt x="195815" y="67992"/>
                    <a:pt x="195815" y="73431"/>
                  </a:cubicBezTo>
                  <a:cubicBezTo>
                    <a:pt x="193096" y="78870"/>
                    <a:pt x="193096" y="100628"/>
                    <a:pt x="193096" y="125105"/>
                  </a:cubicBezTo>
                  <a:cubicBezTo>
                    <a:pt x="193096" y="182217"/>
                    <a:pt x="193096" y="266527"/>
                    <a:pt x="190376" y="280125"/>
                  </a:cubicBezTo>
                  <a:cubicBezTo>
                    <a:pt x="190376" y="288284"/>
                    <a:pt x="190376" y="293723"/>
                    <a:pt x="190376" y="301882"/>
                  </a:cubicBezTo>
                  <a:cubicBezTo>
                    <a:pt x="190376" y="315480"/>
                    <a:pt x="190376" y="329079"/>
                    <a:pt x="193096" y="342677"/>
                  </a:cubicBezTo>
                  <a:cubicBezTo>
                    <a:pt x="193096" y="361715"/>
                    <a:pt x="193096" y="378033"/>
                    <a:pt x="195815" y="397070"/>
                  </a:cubicBezTo>
                  <a:cubicBezTo>
                    <a:pt x="195815" y="413388"/>
                    <a:pt x="195815" y="426986"/>
                    <a:pt x="195815" y="443304"/>
                  </a:cubicBezTo>
                  <a:cubicBezTo>
                    <a:pt x="195815" y="465061"/>
                    <a:pt x="198535" y="508576"/>
                    <a:pt x="195815" y="530333"/>
                  </a:cubicBezTo>
                  <a:cubicBezTo>
                    <a:pt x="195815" y="538492"/>
                    <a:pt x="193096" y="546651"/>
                    <a:pt x="193096" y="554810"/>
                  </a:cubicBezTo>
                  <a:cubicBezTo>
                    <a:pt x="193096" y="560249"/>
                    <a:pt x="190376" y="590166"/>
                    <a:pt x="190376" y="603764"/>
                  </a:cubicBezTo>
                  <a:cubicBezTo>
                    <a:pt x="190376" y="609203"/>
                    <a:pt x="190376" y="611923"/>
                    <a:pt x="198535" y="611923"/>
                  </a:cubicBezTo>
                  <a:cubicBezTo>
                    <a:pt x="206694" y="611923"/>
                    <a:pt x="209414" y="611923"/>
                    <a:pt x="214853" y="611923"/>
                  </a:cubicBezTo>
                  <a:cubicBezTo>
                    <a:pt x="223012" y="611923"/>
                    <a:pt x="220293" y="611923"/>
                    <a:pt x="236610" y="611923"/>
                  </a:cubicBezTo>
                  <a:cubicBezTo>
                    <a:pt x="242050" y="611923"/>
                    <a:pt x="258368" y="601044"/>
                    <a:pt x="263807" y="598325"/>
                  </a:cubicBezTo>
                  <a:cubicBezTo>
                    <a:pt x="266527" y="598325"/>
                    <a:pt x="274686" y="592885"/>
                    <a:pt x="277405" y="592885"/>
                  </a:cubicBezTo>
                  <a:cubicBezTo>
                    <a:pt x="285564" y="587446"/>
                    <a:pt x="288284" y="579287"/>
                    <a:pt x="291004" y="573848"/>
                  </a:cubicBezTo>
                  <a:cubicBezTo>
                    <a:pt x="296443" y="562969"/>
                    <a:pt x="301882" y="554810"/>
                    <a:pt x="307322" y="543931"/>
                  </a:cubicBezTo>
                  <a:cubicBezTo>
                    <a:pt x="315481" y="524894"/>
                    <a:pt x="320920" y="524894"/>
                    <a:pt x="326359" y="481379"/>
                  </a:cubicBezTo>
                  <a:cubicBezTo>
                    <a:pt x="329079" y="456903"/>
                    <a:pt x="334518" y="435145"/>
                    <a:pt x="337238" y="413388"/>
                  </a:cubicBezTo>
                  <a:cubicBezTo>
                    <a:pt x="337238" y="391631"/>
                    <a:pt x="337238" y="369873"/>
                    <a:pt x="337238" y="350836"/>
                  </a:cubicBezTo>
                  <a:cubicBezTo>
                    <a:pt x="337238" y="339957"/>
                    <a:pt x="337238" y="320920"/>
                    <a:pt x="334518" y="296443"/>
                  </a:cubicBezTo>
                  <a:cubicBezTo>
                    <a:pt x="331798" y="269246"/>
                    <a:pt x="329079" y="250209"/>
                    <a:pt x="329079" y="244769"/>
                  </a:cubicBezTo>
                  <a:cubicBezTo>
                    <a:pt x="323640" y="206694"/>
                    <a:pt x="318200" y="174058"/>
                    <a:pt x="307322" y="135983"/>
                  </a:cubicBezTo>
                  <a:cubicBezTo>
                    <a:pt x="304602" y="125105"/>
                    <a:pt x="304602" y="108787"/>
                    <a:pt x="271966" y="78870"/>
                  </a:cubicBezTo>
                  <a:cubicBezTo>
                    <a:pt x="263807" y="73431"/>
                    <a:pt x="233891" y="65272"/>
                    <a:pt x="214853" y="65272"/>
                  </a:cubicBezTo>
                  <a:close/>
                  <a:moveTo>
                    <a:pt x="114226" y="0"/>
                  </a:moveTo>
                  <a:cubicBezTo>
                    <a:pt x="119665" y="0"/>
                    <a:pt x="125105" y="0"/>
                    <a:pt x="127824" y="0"/>
                  </a:cubicBezTo>
                  <a:cubicBezTo>
                    <a:pt x="133264" y="0"/>
                    <a:pt x="141422" y="0"/>
                    <a:pt x="146862" y="2720"/>
                  </a:cubicBezTo>
                  <a:cubicBezTo>
                    <a:pt x="157741" y="5439"/>
                    <a:pt x="165900" y="13598"/>
                    <a:pt x="174059" y="21758"/>
                  </a:cubicBezTo>
                  <a:cubicBezTo>
                    <a:pt x="179498" y="21758"/>
                    <a:pt x="187657" y="21758"/>
                    <a:pt x="193096" y="21758"/>
                  </a:cubicBezTo>
                  <a:cubicBezTo>
                    <a:pt x="212134" y="21758"/>
                    <a:pt x="228452" y="27197"/>
                    <a:pt x="261088" y="27197"/>
                  </a:cubicBezTo>
                  <a:cubicBezTo>
                    <a:pt x="277405" y="27197"/>
                    <a:pt x="293723" y="35356"/>
                    <a:pt x="310042" y="35356"/>
                  </a:cubicBezTo>
                  <a:cubicBezTo>
                    <a:pt x="318200" y="35356"/>
                    <a:pt x="329079" y="35356"/>
                    <a:pt x="334518" y="40795"/>
                  </a:cubicBezTo>
                  <a:cubicBezTo>
                    <a:pt x="342677" y="46234"/>
                    <a:pt x="348117" y="54393"/>
                    <a:pt x="356276" y="59833"/>
                  </a:cubicBezTo>
                  <a:cubicBezTo>
                    <a:pt x="361715" y="65272"/>
                    <a:pt x="369874" y="67992"/>
                    <a:pt x="372593" y="76151"/>
                  </a:cubicBezTo>
                  <a:cubicBezTo>
                    <a:pt x="375313" y="81590"/>
                    <a:pt x="378033" y="89749"/>
                    <a:pt x="380752" y="95188"/>
                  </a:cubicBezTo>
                  <a:cubicBezTo>
                    <a:pt x="386192" y="103347"/>
                    <a:pt x="391631" y="106067"/>
                    <a:pt x="405230" y="114226"/>
                  </a:cubicBezTo>
                  <a:cubicBezTo>
                    <a:pt x="413388" y="119665"/>
                    <a:pt x="410669" y="133263"/>
                    <a:pt x="416108" y="141422"/>
                  </a:cubicBezTo>
                  <a:cubicBezTo>
                    <a:pt x="426987" y="160461"/>
                    <a:pt x="446025" y="182218"/>
                    <a:pt x="451464" y="201256"/>
                  </a:cubicBezTo>
                  <a:cubicBezTo>
                    <a:pt x="456903" y="220293"/>
                    <a:pt x="456903" y="236611"/>
                    <a:pt x="456903" y="252929"/>
                  </a:cubicBezTo>
                  <a:cubicBezTo>
                    <a:pt x="456903" y="266527"/>
                    <a:pt x="456903" y="277406"/>
                    <a:pt x="456903" y="291004"/>
                  </a:cubicBezTo>
                  <a:cubicBezTo>
                    <a:pt x="456903" y="299163"/>
                    <a:pt x="456903" y="307322"/>
                    <a:pt x="459623" y="318201"/>
                  </a:cubicBezTo>
                  <a:cubicBezTo>
                    <a:pt x="459623" y="320921"/>
                    <a:pt x="459623" y="323640"/>
                    <a:pt x="459623" y="326360"/>
                  </a:cubicBezTo>
                  <a:cubicBezTo>
                    <a:pt x="462342" y="331799"/>
                    <a:pt x="459623" y="337238"/>
                    <a:pt x="459623" y="348117"/>
                  </a:cubicBezTo>
                  <a:cubicBezTo>
                    <a:pt x="459623" y="350837"/>
                    <a:pt x="462342" y="361715"/>
                    <a:pt x="462342" y="367155"/>
                  </a:cubicBezTo>
                  <a:cubicBezTo>
                    <a:pt x="462342" y="375314"/>
                    <a:pt x="456903" y="383473"/>
                    <a:pt x="456903" y="391632"/>
                  </a:cubicBezTo>
                  <a:cubicBezTo>
                    <a:pt x="456903" y="399790"/>
                    <a:pt x="456903" y="410669"/>
                    <a:pt x="456903" y="418828"/>
                  </a:cubicBezTo>
                  <a:cubicBezTo>
                    <a:pt x="456903" y="421548"/>
                    <a:pt x="454183" y="429707"/>
                    <a:pt x="451464" y="437866"/>
                  </a:cubicBezTo>
                  <a:cubicBezTo>
                    <a:pt x="448744" y="443305"/>
                    <a:pt x="448744" y="451464"/>
                    <a:pt x="446025" y="454184"/>
                  </a:cubicBezTo>
                  <a:cubicBezTo>
                    <a:pt x="443305" y="462343"/>
                    <a:pt x="440585" y="473221"/>
                    <a:pt x="440585" y="481380"/>
                  </a:cubicBezTo>
                  <a:cubicBezTo>
                    <a:pt x="437865" y="489539"/>
                    <a:pt x="437865" y="500418"/>
                    <a:pt x="432426" y="508577"/>
                  </a:cubicBezTo>
                  <a:cubicBezTo>
                    <a:pt x="429706" y="516736"/>
                    <a:pt x="424267" y="522175"/>
                    <a:pt x="418828" y="530334"/>
                  </a:cubicBezTo>
                  <a:cubicBezTo>
                    <a:pt x="416108" y="535773"/>
                    <a:pt x="413388" y="543932"/>
                    <a:pt x="410669" y="549371"/>
                  </a:cubicBezTo>
                  <a:cubicBezTo>
                    <a:pt x="405230" y="557531"/>
                    <a:pt x="397071" y="573848"/>
                    <a:pt x="391631" y="579288"/>
                  </a:cubicBezTo>
                  <a:cubicBezTo>
                    <a:pt x="369874" y="609204"/>
                    <a:pt x="350836" y="620083"/>
                    <a:pt x="337238" y="630961"/>
                  </a:cubicBezTo>
                  <a:cubicBezTo>
                    <a:pt x="326359" y="639120"/>
                    <a:pt x="315481" y="641840"/>
                    <a:pt x="301883" y="647279"/>
                  </a:cubicBezTo>
                  <a:cubicBezTo>
                    <a:pt x="291004" y="649999"/>
                    <a:pt x="277405" y="652718"/>
                    <a:pt x="263807" y="652718"/>
                  </a:cubicBezTo>
                  <a:cubicBezTo>
                    <a:pt x="252929" y="652718"/>
                    <a:pt x="244770" y="649999"/>
                    <a:pt x="233891" y="649999"/>
                  </a:cubicBezTo>
                  <a:cubicBezTo>
                    <a:pt x="206694" y="649999"/>
                    <a:pt x="217573" y="652718"/>
                    <a:pt x="187657" y="652718"/>
                  </a:cubicBezTo>
                  <a:cubicBezTo>
                    <a:pt x="184937" y="660877"/>
                    <a:pt x="179498" y="666317"/>
                    <a:pt x="171339" y="669036"/>
                  </a:cubicBezTo>
                  <a:cubicBezTo>
                    <a:pt x="165900" y="671756"/>
                    <a:pt x="160460" y="671756"/>
                    <a:pt x="155021" y="671756"/>
                  </a:cubicBezTo>
                  <a:cubicBezTo>
                    <a:pt x="149581" y="671756"/>
                    <a:pt x="144142" y="674476"/>
                    <a:pt x="138703" y="674476"/>
                  </a:cubicBezTo>
                  <a:cubicBezTo>
                    <a:pt x="135983" y="674476"/>
                    <a:pt x="127824" y="677195"/>
                    <a:pt x="125105" y="677195"/>
                  </a:cubicBezTo>
                  <a:cubicBezTo>
                    <a:pt x="116946" y="677195"/>
                    <a:pt x="108787" y="671756"/>
                    <a:pt x="106067" y="671756"/>
                  </a:cubicBezTo>
                  <a:cubicBezTo>
                    <a:pt x="100628" y="669036"/>
                    <a:pt x="95188" y="663597"/>
                    <a:pt x="87029" y="658158"/>
                  </a:cubicBezTo>
                  <a:cubicBezTo>
                    <a:pt x="84310" y="655438"/>
                    <a:pt x="81590" y="655438"/>
                    <a:pt x="81590" y="652718"/>
                  </a:cubicBezTo>
                  <a:cubicBezTo>
                    <a:pt x="73431" y="652718"/>
                    <a:pt x="81590" y="652718"/>
                    <a:pt x="67992" y="652718"/>
                  </a:cubicBezTo>
                  <a:cubicBezTo>
                    <a:pt x="59833" y="652718"/>
                    <a:pt x="51674" y="652718"/>
                    <a:pt x="43515" y="652718"/>
                  </a:cubicBezTo>
                  <a:cubicBezTo>
                    <a:pt x="35356" y="652718"/>
                    <a:pt x="24477" y="652718"/>
                    <a:pt x="16318" y="647279"/>
                  </a:cubicBezTo>
                  <a:cubicBezTo>
                    <a:pt x="8159" y="644559"/>
                    <a:pt x="0" y="636401"/>
                    <a:pt x="0" y="630961"/>
                  </a:cubicBezTo>
                  <a:cubicBezTo>
                    <a:pt x="0" y="625522"/>
                    <a:pt x="0" y="622802"/>
                    <a:pt x="5439" y="620083"/>
                  </a:cubicBezTo>
                  <a:cubicBezTo>
                    <a:pt x="10879" y="617363"/>
                    <a:pt x="21758" y="614643"/>
                    <a:pt x="27197" y="611924"/>
                  </a:cubicBezTo>
                  <a:cubicBezTo>
                    <a:pt x="38076" y="609204"/>
                    <a:pt x="54393" y="609204"/>
                    <a:pt x="65272" y="609204"/>
                  </a:cubicBezTo>
                  <a:cubicBezTo>
                    <a:pt x="65272" y="601045"/>
                    <a:pt x="65272" y="592886"/>
                    <a:pt x="65272" y="584727"/>
                  </a:cubicBezTo>
                  <a:cubicBezTo>
                    <a:pt x="65272" y="541213"/>
                    <a:pt x="62552" y="500418"/>
                    <a:pt x="62552" y="456903"/>
                  </a:cubicBezTo>
                  <a:cubicBezTo>
                    <a:pt x="62552" y="440585"/>
                    <a:pt x="65272" y="397071"/>
                    <a:pt x="65272" y="337238"/>
                  </a:cubicBezTo>
                  <a:cubicBezTo>
                    <a:pt x="65272" y="293724"/>
                    <a:pt x="67992" y="247490"/>
                    <a:pt x="67992" y="203975"/>
                  </a:cubicBezTo>
                  <a:cubicBezTo>
                    <a:pt x="67992" y="179498"/>
                    <a:pt x="67992" y="149582"/>
                    <a:pt x="70712" y="119665"/>
                  </a:cubicBezTo>
                  <a:cubicBezTo>
                    <a:pt x="70712" y="103347"/>
                    <a:pt x="73431" y="84309"/>
                    <a:pt x="73431" y="67992"/>
                  </a:cubicBezTo>
                  <a:cubicBezTo>
                    <a:pt x="73431" y="67992"/>
                    <a:pt x="70712" y="67992"/>
                    <a:pt x="67992" y="67992"/>
                  </a:cubicBezTo>
                  <a:cubicBezTo>
                    <a:pt x="59833" y="67992"/>
                    <a:pt x="51674" y="67992"/>
                    <a:pt x="43515" y="67992"/>
                  </a:cubicBezTo>
                  <a:cubicBezTo>
                    <a:pt x="35356" y="67992"/>
                    <a:pt x="24477" y="67992"/>
                    <a:pt x="16318" y="62552"/>
                  </a:cubicBezTo>
                  <a:cubicBezTo>
                    <a:pt x="8159" y="59833"/>
                    <a:pt x="0" y="51674"/>
                    <a:pt x="0" y="46234"/>
                  </a:cubicBezTo>
                  <a:cubicBezTo>
                    <a:pt x="0" y="43515"/>
                    <a:pt x="0" y="38075"/>
                    <a:pt x="5439" y="35356"/>
                  </a:cubicBezTo>
                  <a:cubicBezTo>
                    <a:pt x="10879" y="32636"/>
                    <a:pt x="21758" y="29916"/>
                    <a:pt x="27197" y="27197"/>
                  </a:cubicBezTo>
                  <a:cubicBezTo>
                    <a:pt x="46234" y="24477"/>
                    <a:pt x="65272" y="21758"/>
                    <a:pt x="76151" y="21758"/>
                  </a:cubicBezTo>
                  <a:cubicBezTo>
                    <a:pt x="76151" y="19038"/>
                    <a:pt x="78871" y="16318"/>
                    <a:pt x="81590" y="13598"/>
                  </a:cubicBezTo>
                  <a:cubicBezTo>
                    <a:pt x="84310" y="10879"/>
                    <a:pt x="92469" y="5439"/>
                    <a:pt x="97908" y="5439"/>
                  </a:cubicBezTo>
                  <a:cubicBezTo>
                    <a:pt x="103347" y="2720"/>
                    <a:pt x="108787" y="0"/>
                    <a:pt x="114226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3" name="Freeform: Shape 42">
              <a:extLst>
                <a:ext uri="{FF2B5EF4-FFF2-40B4-BE49-F238E27FC236}">
                  <a16:creationId xmlns:a16="http://schemas.microsoft.com/office/drawing/2014/main" id="{5EB8DCA6-2948-47B4-BC21-51F554D02642}"/>
                </a:ext>
              </a:extLst>
            </p:cNvPr>
            <p:cNvSpPr/>
            <p:nvPr/>
          </p:nvSpPr>
          <p:spPr bwMode="black">
            <a:xfrm>
              <a:off x="7310622" y="4197597"/>
              <a:ext cx="489539" cy="761503"/>
            </a:xfrm>
            <a:custGeom>
              <a:avLst/>
              <a:gdLst>
                <a:gd name="connsiteX0" fmla="*/ 433491 w 489538"/>
                <a:gd name="connsiteY0" fmla="*/ 651063 h 761503"/>
                <a:gd name="connsiteX1" fmla="*/ 438930 w 489538"/>
                <a:gd name="connsiteY1" fmla="*/ 661942 h 761503"/>
                <a:gd name="connsiteX2" fmla="*/ 425332 w 489538"/>
                <a:gd name="connsiteY2" fmla="*/ 683699 h 761503"/>
                <a:gd name="connsiteX3" fmla="*/ 400855 w 489538"/>
                <a:gd name="connsiteY3" fmla="*/ 691858 h 761503"/>
                <a:gd name="connsiteX4" fmla="*/ 343742 w 489538"/>
                <a:gd name="connsiteY4" fmla="*/ 700017 h 761503"/>
                <a:gd name="connsiteX5" fmla="*/ 316546 w 489538"/>
                <a:gd name="connsiteY5" fmla="*/ 705456 h 761503"/>
                <a:gd name="connsiteX6" fmla="*/ 275751 w 489538"/>
                <a:gd name="connsiteY6" fmla="*/ 705456 h 761503"/>
                <a:gd name="connsiteX7" fmla="*/ 264872 w 489538"/>
                <a:gd name="connsiteY7" fmla="*/ 708176 h 761503"/>
                <a:gd name="connsiteX8" fmla="*/ 253994 w 489538"/>
                <a:gd name="connsiteY8" fmla="*/ 708176 h 761503"/>
                <a:gd name="connsiteX9" fmla="*/ 240395 w 489538"/>
                <a:gd name="connsiteY9" fmla="*/ 719054 h 761503"/>
                <a:gd name="connsiteX10" fmla="*/ 224077 w 489538"/>
                <a:gd name="connsiteY10" fmla="*/ 721774 h 761503"/>
                <a:gd name="connsiteX11" fmla="*/ 205040 w 489538"/>
                <a:gd name="connsiteY11" fmla="*/ 724494 h 761503"/>
                <a:gd name="connsiteX12" fmla="*/ 191441 w 489538"/>
                <a:gd name="connsiteY12" fmla="*/ 727213 h 761503"/>
                <a:gd name="connsiteX13" fmla="*/ 169684 w 489538"/>
                <a:gd name="connsiteY13" fmla="*/ 721774 h 761503"/>
                <a:gd name="connsiteX14" fmla="*/ 150646 w 489538"/>
                <a:gd name="connsiteY14" fmla="*/ 708176 h 761503"/>
                <a:gd name="connsiteX15" fmla="*/ 139768 w 489538"/>
                <a:gd name="connsiteY15" fmla="*/ 708176 h 761503"/>
                <a:gd name="connsiteX16" fmla="*/ 120730 w 489538"/>
                <a:gd name="connsiteY16" fmla="*/ 708176 h 761503"/>
                <a:gd name="connsiteX17" fmla="*/ 98973 w 489538"/>
                <a:gd name="connsiteY17" fmla="*/ 708176 h 761503"/>
                <a:gd name="connsiteX18" fmla="*/ 74496 w 489538"/>
                <a:gd name="connsiteY18" fmla="*/ 702736 h 761503"/>
                <a:gd name="connsiteX19" fmla="*/ 58178 w 489538"/>
                <a:gd name="connsiteY19" fmla="*/ 683699 h 761503"/>
                <a:gd name="connsiteX20" fmla="*/ 63617 w 489538"/>
                <a:gd name="connsiteY20" fmla="*/ 675540 h 761503"/>
                <a:gd name="connsiteX21" fmla="*/ 85375 w 489538"/>
                <a:gd name="connsiteY21" fmla="*/ 667381 h 761503"/>
                <a:gd name="connsiteX22" fmla="*/ 128889 w 489538"/>
                <a:gd name="connsiteY22" fmla="*/ 661942 h 761503"/>
                <a:gd name="connsiteX23" fmla="*/ 128889 w 489538"/>
                <a:gd name="connsiteY23" fmla="*/ 602109 h 761503"/>
                <a:gd name="connsiteX24" fmla="*/ 126170 w 489538"/>
                <a:gd name="connsiteY24" fmla="*/ 523239 h 761503"/>
                <a:gd name="connsiteX25" fmla="*/ 126170 w 489538"/>
                <a:gd name="connsiteY25" fmla="*/ 468846 h 761503"/>
                <a:gd name="connsiteX26" fmla="*/ 123450 w 489538"/>
                <a:gd name="connsiteY26" fmla="*/ 409014 h 761503"/>
                <a:gd name="connsiteX27" fmla="*/ 123450 w 489538"/>
                <a:gd name="connsiteY27" fmla="*/ 384537 h 761503"/>
                <a:gd name="connsiteX28" fmla="*/ 126170 w 489538"/>
                <a:gd name="connsiteY28" fmla="*/ 349181 h 761503"/>
                <a:gd name="connsiteX29" fmla="*/ 126170 w 489538"/>
                <a:gd name="connsiteY29" fmla="*/ 324704 h 761503"/>
                <a:gd name="connsiteX30" fmla="*/ 128889 w 489538"/>
                <a:gd name="connsiteY30" fmla="*/ 292068 h 761503"/>
                <a:gd name="connsiteX31" fmla="*/ 134329 w 489538"/>
                <a:gd name="connsiteY31" fmla="*/ 234956 h 761503"/>
                <a:gd name="connsiteX32" fmla="*/ 134329 w 489538"/>
                <a:gd name="connsiteY32" fmla="*/ 172404 h 761503"/>
                <a:gd name="connsiteX33" fmla="*/ 137048 w 489538"/>
                <a:gd name="connsiteY33" fmla="*/ 123450 h 761503"/>
                <a:gd name="connsiteX34" fmla="*/ 123450 w 489538"/>
                <a:gd name="connsiteY34" fmla="*/ 123450 h 761503"/>
                <a:gd name="connsiteX35" fmla="*/ 101693 w 489538"/>
                <a:gd name="connsiteY35" fmla="*/ 123450 h 761503"/>
                <a:gd name="connsiteX36" fmla="*/ 77216 w 489538"/>
                <a:gd name="connsiteY36" fmla="*/ 118011 h 761503"/>
                <a:gd name="connsiteX37" fmla="*/ 60898 w 489538"/>
                <a:gd name="connsiteY37" fmla="*/ 98973 h 761503"/>
                <a:gd name="connsiteX38" fmla="*/ 66337 w 489538"/>
                <a:gd name="connsiteY38" fmla="*/ 90814 h 761503"/>
                <a:gd name="connsiteX39" fmla="*/ 88094 w 489538"/>
                <a:gd name="connsiteY39" fmla="*/ 82655 h 761503"/>
                <a:gd name="connsiteX40" fmla="*/ 145207 w 489538"/>
                <a:gd name="connsiteY40" fmla="*/ 77216 h 761503"/>
                <a:gd name="connsiteX41" fmla="*/ 145207 w 489538"/>
                <a:gd name="connsiteY41" fmla="*/ 77216 h 761503"/>
                <a:gd name="connsiteX42" fmla="*/ 153366 w 489538"/>
                <a:gd name="connsiteY42" fmla="*/ 69057 h 761503"/>
                <a:gd name="connsiteX43" fmla="*/ 177843 w 489538"/>
                <a:gd name="connsiteY43" fmla="*/ 60898 h 761503"/>
                <a:gd name="connsiteX44" fmla="*/ 196881 w 489538"/>
                <a:gd name="connsiteY44" fmla="*/ 58178 h 761503"/>
                <a:gd name="connsiteX45" fmla="*/ 205040 w 489538"/>
                <a:gd name="connsiteY45" fmla="*/ 58178 h 761503"/>
                <a:gd name="connsiteX46" fmla="*/ 215919 w 489538"/>
                <a:gd name="connsiteY46" fmla="*/ 63617 h 761503"/>
                <a:gd name="connsiteX47" fmla="*/ 229517 w 489538"/>
                <a:gd name="connsiteY47" fmla="*/ 69057 h 761503"/>
                <a:gd name="connsiteX48" fmla="*/ 256713 w 489538"/>
                <a:gd name="connsiteY48" fmla="*/ 77216 h 761503"/>
                <a:gd name="connsiteX49" fmla="*/ 264872 w 489538"/>
                <a:gd name="connsiteY49" fmla="*/ 77216 h 761503"/>
                <a:gd name="connsiteX50" fmla="*/ 281190 w 489538"/>
                <a:gd name="connsiteY50" fmla="*/ 77216 h 761503"/>
                <a:gd name="connsiteX51" fmla="*/ 330144 w 489538"/>
                <a:gd name="connsiteY51" fmla="*/ 77216 h 761503"/>
                <a:gd name="connsiteX52" fmla="*/ 357341 w 489538"/>
                <a:gd name="connsiteY52" fmla="*/ 79935 h 761503"/>
                <a:gd name="connsiteX53" fmla="*/ 387257 w 489538"/>
                <a:gd name="connsiteY53" fmla="*/ 82655 h 761503"/>
                <a:gd name="connsiteX54" fmla="*/ 406295 w 489538"/>
                <a:gd name="connsiteY54" fmla="*/ 85375 h 761503"/>
                <a:gd name="connsiteX55" fmla="*/ 417173 w 489538"/>
                <a:gd name="connsiteY55" fmla="*/ 79935 h 761503"/>
                <a:gd name="connsiteX56" fmla="*/ 425332 w 489538"/>
                <a:gd name="connsiteY56" fmla="*/ 85375 h 761503"/>
                <a:gd name="connsiteX57" fmla="*/ 433491 w 489538"/>
                <a:gd name="connsiteY57" fmla="*/ 104412 h 761503"/>
                <a:gd name="connsiteX58" fmla="*/ 436211 w 489538"/>
                <a:gd name="connsiteY58" fmla="*/ 137048 h 761503"/>
                <a:gd name="connsiteX59" fmla="*/ 438930 w 489538"/>
                <a:gd name="connsiteY59" fmla="*/ 183282 h 761503"/>
                <a:gd name="connsiteX60" fmla="*/ 422612 w 489538"/>
                <a:gd name="connsiteY60" fmla="*/ 218638 h 761503"/>
                <a:gd name="connsiteX61" fmla="*/ 406295 w 489538"/>
                <a:gd name="connsiteY61" fmla="*/ 213198 h 761503"/>
                <a:gd name="connsiteX62" fmla="*/ 398136 w 489538"/>
                <a:gd name="connsiteY62" fmla="*/ 196881 h 761503"/>
                <a:gd name="connsiteX63" fmla="*/ 395416 w 489538"/>
                <a:gd name="connsiteY63" fmla="*/ 175123 h 761503"/>
                <a:gd name="connsiteX64" fmla="*/ 395416 w 489538"/>
                <a:gd name="connsiteY64" fmla="*/ 153366 h 761503"/>
                <a:gd name="connsiteX65" fmla="*/ 395416 w 489538"/>
                <a:gd name="connsiteY65" fmla="*/ 126170 h 761503"/>
                <a:gd name="connsiteX66" fmla="*/ 370939 w 489538"/>
                <a:gd name="connsiteY66" fmla="*/ 128889 h 761503"/>
                <a:gd name="connsiteX67" fmla="*/ 338303 w 489538"/>
                <a:gd name="connsiteY67" fmla="*/ 131609 h 761503"/>
                <a:gd name="connsiteX68" fmla="*/ 286629 w 489538"/>
                <a:gd name="connsiteY68" fmla="*/ 134328 h 761503"/>
                <a:gd name="connsiteX69" fmla="*/ 273031 w 489538"/>
                <a:gd name="connsiteY69" fmla="*/ 137048 h 761503"/>
                <a:gd name="connsiteX70" fmla="*/ 262153 w 489538"/>
                <a:gd name="connsiteY70" fmla="*/ 142487 h 761503"/>
                <a:gd name="connsiteX71" fmla="*/ 259433 w 489538"/>
                <a:gd name="connsiteY71" fmla="*/ 153366 h 761503"/>
                <a:gd name="connsiteX72" fmla="*/ 262153 w 489538"/>
                <a:gd name="connsiteY72" fmla="*/ 166964 h 761503"/>
                <a:gd name="connsiteX73" fmla="*/ 262153 w 489538"/>
                <a:gd name="connsiteY73" fmla="*/ 196881 h 761503"/>
                <a:gd name="connsiteX74" fmla="*/ 262153 w 489538"/>
                <a:gd name="connsiteY74" fmla="*/ 215918 h 761503"/>
                <a:gd name="connsiteX75" fmla="*/ 262153 w 489538"/>
                <a:gd name="connsiteY75" fmla="*/ 251274 h 761503"/>
                <a:gd name="connsiteX76" fmla="*/ 259433 w 489538"/>
                <a:gd name="connsiteY76" fmla="*/ 278470 h 761503"/>
                <a:gd name="connsiteX77" fmla="*/ 259433 w 489538"/>
                <a:gd name="connsiteY77" fmla="*/ 308386 h 761503"/>
                <a:gd name="connsiteX78" fmla="*/ 259433 w 489538"/>
                <a:gd name="connsiteY78" fmla="*/ 321985 h 761503"/>
                <a:gd name="connsiteX79" fmla="*/ 259433 w 489538"/>
                <a:gd name="connsiteY79" fmla="*/ 332863 h 761503"/>
                <a:gd name="connsiteX80" fmla="*/ 267592 w 489538"/>
                <a:gd name="connsiteY80" fmla="*/ 335583 h 761503"/>
                <a:gd name="connsiteX81" fmla="*/ 281190 w 489538"/>
                <a:gd name="connsiteY81" fmla="*/ 335583 h 761503"/>
                <a:gd name="connsiteX82" fmla="*/ 327424 w 489538"/>
                <a:gd name="connsiteY82" fmla="*/ 338303 h 761503"/>
                <a:gd name="connsiteX83" fmla="*/ 351901 w 489538"/>
                <a:gd name="connsiteY83" fmla="*/ 341022 h 761503"/>
                <a:gd name="connsiteX84" fmla="*/ 351901 w 489538"/>
                <a:gd name="connsiteY84" fmla="*/ 335583 h 761503"/>
                <a:gd name="connsiteX85" fmla="*/ 351901 w 489538"/>
                <a:gd name="connsiteY85" fmla="*/ 313826 h 761503"/>
                <a:gd name="connsiteX86" fmla="*/ 357341 w 489538"/>
                <a:gd name="connsiteY86" fmla="*/ 289349 h 761503"/>
                <a:gd name="connsiteX87" fmla="*/ 373658 w 489538"/>
                <a:gd name="connsiteY87" fmla="*/ 273031 h 761503"/>
                <a:gd name="connsiteX88" fmla="*/ 381817 w 489538"/>
                <a:gd name="connsiteY88" fmla="*/ 278470 h 761503"/>
                <a:gd name="connsiteX89" fmla="*/ 389977 w 489538"/>
                <a:gd name="connsiteY89" fmla="*/ 300228 h 761503"/>
                <a:gd name="connsiteX90" fmla="*/ 395416 w 489538"/>
                <a:gd name="connsiteY90" fmla="*/ 351901 h 761503"/>
                <a:gd name="connsiteX91" fmla="*/ 398136 w 489538"/>
                <a:gd name="connsiteY91" fmla="*/ 409014 h 761503"/>
                <a:gd name="connsiteX92" fmla="*/ 381817 w 489538"/>
                <a:gd name="connsiteY92" fmla="*/ 444369 h 761503"/>
                <a:gd name="connsiteX93" fmla="*/ 365500 w 489538"/>
                <a:gd name="connsiteY93" fmla="*/ 438930 h 761503"/>
                <a:gd name="connsiteX94" fmla="*/ 357341 w 489538"/>
                <a:gd name="connsiteY94" fmla="*/ 422612 h 761503"/>
                <a:gd name="connsiteX95" fmla="*/ 354621 w 489538"/>
                <a:gd name="connsiteY95" fmla="*/ 400855 h 761503"/>
                <a:gd name="connsiteX96" fmla="*/ 354621 w 489538"/>
                <a:gd name="connsiteY96" fmla="*/ 381817 h 761503"/>
                <a:gd name="connsiteX97" fmla="*/ 270312 w 489538"/>
                <a:gd name="connsiteY97" fmla="*/ 381817 h 761503"/>
                <a:gd name="connsiteX98" fmla="*/ 256713 w 489538"/>
                <a:gd name="connsiteY98" fmla="*/ 395415 h 761503"/>
                <a:gd name="connsiteX99" fmla="*/ 253994 w 489538"/>
                <a:gd name="connsiteY99" fmla="*/ 422612 h 761503"/>
                <a:gd name="connsiteX100" fmla="*/ 253994 w 489538"/>
                <a:gd name="connsiteY100" fmla="*/ 433490 h 761503"/>
                <a:gd name="connsiteX101" fmla="*/ 253994 w 489538"/>
                <a:gd name="connsiteY101" fmla="*/ 449809 h 761503"/>
                <a:gd name="connsiteX102" fmla="*/ 256713 w 489538"/>
                <a:gd name="connsiteY102" fmla="*/ 474285 h 761503"/>
                <a:gd name="connsiteX103" fmla="*/ 256713 w 489538"/>
                <a:gd name="connsiteY103" fmla="*/ 496043 h 761503"/>
                <a:gd name="connsiteX104" fmla="*/ 259433 w 489538"/>
                <a:gd name="connsiteY104" fmla="*/ 534118 h 761503"/>
                <a:gd name="connsiteX105" fmla="*/ 259433 w 489538"/>
                <a:gd name="connsiteY105" fmla="*/ 591231 h 761503"/>
                <a:gd name="connsiteX106" fmla="*/ 262153 w 489538"/>
                <a:gd name="connsiteY106" fmla="*/ 618427 h 761503"/>
                <a:gd name="connsiteX107" fmla="*/ 267592 w 489538"/>
                <a:gd name="connsiteY107" fmla="*/ 648343 h 761503"/>
                <a:gd name="connsiteX108" fmla="*/ 292069 w 489538"/>
                <a:gd name="connsiteY108" fmla="*/ 651063 h 761503"/>
                <a:gd name="connsiteX109" fmla="*/ 327424 w 489538"/>
                <a:gd name="connsiteY109" fmla="*/ 651063 h 761503"/>
                <a:gd name="connsiteX110" fmla="*/ 362780 w 489538"/>
                <a:gd name="connsiteY110" fmla="*/ 653783 h 761503"/>
                <a:gd name="connsiteX111" fmla="*/ 395416 w 489538"/>
                <a:gd name="connsiteY111" fmla="*/ 648343 h 761503"/>
                <a:gd name="connsiteX112" fmla="*/ 395416 w 489538"/>
                <a:gd name="connsiteY112" fmla="*/ 618427 h 761503"/>
                <a:gd name="connsiteX113" fmla="*/ 395416 w 489538"/>
                <a:gd name="connsiteY113" fmla="*/ 596670 h 761503"/>
                <a:gd name="connsiteX114" fmla="*/ 398136 w 489538"/>
                <a:gd name="connsiteY114" fmla="*/ 574913 h 761503"/>
                <a:gd name="connsiteX115" fmla="*/ 406295 w 489538"/>
                <a:gd name="connsiteY115" fmla="*/ 558595 h 761503"/>
                <a:gd name="connsiteX116" fmla="*/ 422612 w 489538"/>
                <a:gd name="connsiteY116" fmla="*/ 553155 h 761503"/>
                <a:gd name="connsiteX117" fmla="*/ 438930 w 489538"/>
                <a:gd name="connsiteY117" fmla="*/ 588511 h 761503"/>
                <a:gd name="connsiteX118" fmla="*/ 436211 w 489538"/>
                <a:gd name="connsiteY118" fmla="*/ 645624 h 761503"/>
                <a:gd name="connsiteX119" fmla="*/ 433491 w 489538"/>
                <a:gd name="connsiteY119" fmla="*/ 651063 h 761503"/>
                <a:gd name="connsiteX120" fmla="*/ 433491 w 489538"/>
                <a:gd name="connsiteY120" fmla="*/ 651063 h 761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</a:cxnLst>
              <a:rect l="l" t="t" r="r" b="b"/>
              <a:pathLst>
                <a:path w="489538" h="761503">
                  <a:moveTo>
                    <a:pt x="433491" y="651063"/>
                  </a:moveTo>
                  <a:cubicBezTo>
                    <a:pt x="436211" y="653783"/>
                    <a:pt x="438930" y="656502"/>
                    <a:pt x="438930" y="661942"/>
                  </a:cubicBezTo>
                  <a:cubicBezTo>
                    <a:pt x="438930" y="670101"/>
                    <a:pt x="433491" y="678259"/>
                    <a:pt x="425332" y="683699"/>
                  </a:cubicBezTo>
                  <a:cubicBezTo>
                    <a:pt x="417173" y="689138"/>
                    <a:pt x="409014" y="689138"/>
                    <a:pt x="400855" y="691858"/>
                  </a:cubicBezTo>
                  <a:cubicBezTo>
                    <a:pt x="381817" y="694578"/>
                    <a:pt x="362780" y="694578"/>
                    <a:pt x="343742" y="700017"/>
                  </a:cubicBezTo>
                  <a:cubicBezTo>
                    <a:pt x="335583" y="702736"/>
                    <a:pt x="324705" y="702736"/>
                    <a:pt x="316546" y="705456"/>
                  </a:cubicBezTo>
                  <a:cubicBezTo>
                    <a:pt x="308387" y="705456"/>
                    <a:pt x="289349" y="705456"/>
                    <a:pt x="275751" y="705456"/>
                  </a:cubicBezTo>
                  <a:cubicBezTo>
                    <a:pt x="270312" y="705456"/>
                    <a:pt x="267592" y="708176"/>
                    <a:pt x="264872" y="708176"/>
                  </a:cubicBezTo>
                  <a:cubicBezTo>
                    <a:pt x="264872" y="708176"/>
                    <a:pt x="259433" y="708176"/>
                    <a:pt x="253994" y="708176"/>
                  </a:cubicBezTo>
                  <a:cubicBezTo>
                    <a:pt x="251274" y="713615"/>
                    <a:pt x="245835" y="716335"/>
                    <a:pt x="240395" y="719054"/>
                  </a:cubicBezTo>
                  <a:cubicBezTo>
                    <a:pt x="234956" y="721774"/>
                    <a:pt x="229517" y="721774"/>
                    <a:pt x="224077" y="721774"/>
                  </a:cubicBezTo>
                  <a:cubicBezTo>
                    <a:pt x="218638" y="721774"/>
                    <a:pt x="213199" y="724494"/>
                    <a:pt x="205040" y="724494"/>
                  </a:cubicBezTo>
                  <a:cubicBezTo>
                    <a:pt x="202320" y="724494"/>
                    <a:pt x="194161" y="727213"/>
                    <a:pt x="191441" y="727213"/>
                  </a:cubicBezTo>
                  <a:cubicBezTo>
                    <a:pt x="183282" y="727213"/>
                    <a:pt x="172404" y="721774"/>
                    <a:pt x="169684" y="721774"/>
                  </a:cubicBezTo>
                  <a:cubicBezTo>
                    <a:pt x="164245" y="719054"/>
                    <a:pt x="156086" y="713615"/>
                    <a:pt x="150646" y="708176"/>
                  </a:cubicBezTo>
                  <a:cubicBezTo>
                    <a:pt x="145207" y="708176"/>
                    <a:pt x="139768" y="708176"/>
                    <a:pt x="139768" y="708176"/>
                  </a:cubicBezTo>
                  <a:cubicBezTo>
                    <a:pt x="126170" y="708176"/>
                    <a:pt x="137048" y="708176"/>
                    <a:pt x="120730" y="708176"/>
                  </a:cubicBezTo>
                  <a:cubicBezTo>
                    <a:pt x="112571" y="708176"/>
                    <a:pt x="104412" y="708176"/>
                    <a:pt x="98973" y="708176"/>
                  </a:cubicBezTo>
                  <a:cubicBezTo>
                    <a:pt x="90814" y="708176"/>
                    <a:pt x="79936" y="708176"/>
                    <a:pt x="74496" y="702736"/>
                  </a:cubicBezTo>
                  <a:cubicBezTo>
                    <a:pt x="66337" y="700017"/>
                    <a:pt x="58178" y="689138"/>
                    <a:pt x="58178" y="683699"/>
                  </a:cubicBezTo>
                  <a:cubicBezTo>
                    <a:pt x="58178" y="680979"/>
                    <a:pt x="58178" y="678259"/>
                    <a:pt x="63617" y="675540"/>
                  </a:cubicBezTo>
                  <a:cubicBezTo>
                    <a:pt x="69057" y="672820"/>
                    <a:pt x="77216" y="670101"/>
                    <a:pt x="85375" y="667381"/>
                  </a:cubicBezTo>
                  <a:cubicBezTo>
                    <a:pt x="98973" y="664661"/>
                    <a:pt x="115291" y="664661"/>
                    <a:pt x="128889" y="661942"/>
                  </a:cubicBezTo>
                  <a:cubicBezTo>
                    <a:pt x="128889" y="645624"/>
                    <a:pt x="128889" y="623866"/>
                    <a:pt x="128889" y="602109"/>
                  </a:cubicBezTo>
                  <a:cubicBezTo>
                    <a:pt x="128889" y="566754"/>
                    <a:pt x="128889" y="531398"/>
                    <a:pt x="126170" y="523239"/>
                  </a:cubicBezTo>
                  <a:cubicBezTo>
                    <a:pt x="126170" y="517800"/>
                    <a:pt x="126170" y="487884"/>
                    <a:pt x="126170" y="468846"/>
                  </a:cubicBezTo>
                  <a:cubicBezTo>
                    <a:pt x="126170" y="449809"/>
                    <a:pt x="123450" y="430771"/>
                    <a:pt x="123450" y="409014"/>
                  </a:cubicBezTo>
                  <a:cubicBezTo>
                    <a:pt x="123450" y="400855"/>
                    <a:pt x="123450" y="392696"/>
                    <a:pt x="123450" y="384537"/>
                  </a:cubicBezTo>
                  <a:cubicBezTo>
                    <a:pt x="123450" y="373658"/>
                    <a:pt x="126170" y="360060"/>
                    <a:pt x="126170" y="349181"/>
                  </a:cubicBezTo>
                  <a:cubicBezTo>
                    <a:pt x="126170" y="341022"/>
                    <a:pt x="126170" y="332863"/>
                    <a:pt x="126170" y="324704"/>
                  </a:cubicBezTo>
                  <a:cubicBezTo>
                    <a:pt x="126170" y="313826"/>
                    <a:pt x="126170" y="302947"/>
                    <a:pt x="128889" y="292068"/>
                  </a:cubicBezTo>
                  <a:cubicBezTo>
                    <a:pt x="131609" y="273031"/>
                    <a:pt x="134329" y="253993"/>
                    <a:pt x="134329" y="234956"/>
                  </a:cubicBezTo>
                  <a:cubicBezTo>
                    <a:pt x="134329" y="213198"/>
                    <a:pt x="134329" y="191441"/>
                    <a:pt x="134329" y="172404"/>
                  </a:cubicBezTo>
                  <a:cubicBezTo>
                    <a:pt x="134329" y="156086"/>
                    <a:pt x="134329" y="139768"/>
                    <a:pt x="137048" y="123450"/>
                  </a:cubicBezTo>
                  <a:cubicBezTo>
                    <a:pt x="131609" y="123450"/>
                    <a:pt x="134329" y="123450"/>
                    <a:pt x="123450" y="123450"/>
                  </a:cubicBezTo>
                  <a:cubicBezTo>
                    <a:pt x="115291" y="123450"/>
                    <a:pt x="107132" y="123450"/>
                    <a:pt x="101693" y="123450"/>
                  </a:cubicBezTo>
                  <a:cubicBezTo>
                    <a:pt x="93534" y="123450"/>
                    <a:pt x="82655" y="123450"/>
                    <a:pt x="77216" y="118011"/>
                  </a:cubicBezTo>
                  <a:cubicBezTo>
                    <a:pt x="69057" y="115291"/>
                    <a:pt x="60898" y="101693"/>
                    <a:pt x="60898" y="98973"/>
                  </a:cubicBezTo>
                  <a:cubicBezTo>
                    <a:pt x="60898" y="96253"/>
                    <a:pt x="60898" y="93534"/>
                    <a:pt x="66337" y="90814"/>
                  </a:cubicBezTo>
                  <a:cubicBezTo>
                    <a:pt x="71777" y="88094"/>
                    <a:pt x="79936" y="85375"/>
                    <a:pt x="88094" y="82655"/>
                  </a:cubicBezTo>
                  <a:cubicBezTo>
                    <a:pt x="104412" y="79935"/>
                    <a:pt x="131609" y="77216"/>
                    <a:pt x="145207" y="77216"/>
                  </a:cubicBezTo>
                  <a:cubicBezTo>
                    <a:pt x="145207" y="77216"/>
                    <a:pt x="145207" y="77216"/>
                    <a:pt x="145207" y="77216"/>
                  </a:cubicBezTo>
                  <a:cubicBezTo>
                    <a:pt x="145207" y="74496"/>
                    <a:pt x="150646" y="71776"/>
                    <a:pt x="153366" y="69057"/>
                  </a:cubicBezTo>
                  <a:cubicBezTo>
                    <a:pt x="161525" y="63617"/>
                    <a:pt x="169684" y="63617"/>
                    <a:pt x="177843" y="60898"/>
                  </a:cubicBezTo>
                  <a:cubicBezTo>
                    <a:pt x="183282" y="58178"/>
                    <a:pt x="191441" y="58178"/>
                    <a:pt x="196881" y="58178"/>
                  </a:cubicBezTo>
                  <a:cubicBezTo>
                    <a:pt x="199600" y="58178"/>
                    <a:pt x="202320" y="58178"/>
                    <a:pt x="205040" y="58178"/>
                  </a:cubicBezTo>
                  <a:cubicBezTo>
                    <a:pt x="207759" y="58178"/>
                    <a:pt x="213199" y="60898"/>
                    <a:pt x="215919" y="63617"/>
                  </a:cubicBezTo>
                  <a:cubicBezTo>
                    <a:pt x="221358" y="66337"/>
                    <a:pt x="224077" y="66337"/>
                    <a:pt x="229517" y="69057"/>
                  </a:cubicBezTo>
                  <a:cubicBezTo>
                    <a:pt x="237675" y="71776"/>
                    <a:pt x="245835" y="77216"/>
                    <a:pt x="256713" y="77216"/>
                  </a:cubicBezTo>
                  <a:cubicBezTo>
                    <a:pt x="259433" y="77216"/>
                    <a:pt x="262153" y="77216"/>
                    <a:pt x="264872" y="77216"/>
                  </a:cubicBezTo>
                  <a:cubicBezTo>
                    <a:pt x="270312" y="77216"/>
                    <a:pt x="275751" y="77216"/>
                    <a:pt x="281190" y="77216"/>
                  </a:cubicBezTo>
                  <a:cubicBezTo>
                    <a:pt x="292069" y="77216"/>
                    <a:pt x="321985" y="77216"/>
                    <a:pt x="330144" y="77216"/>
                  </a:cubicBezTo>
                  <a:cubicBezTo>
                    <a:pt x="338303" y="77216"/>
                    <a:pt x="349182" y="77216"/>
                    <a:pt x="357341" y="79935"/>
                  </a:cubicBezTo>
                  <a:cubicBezTo>
                    <a:pt x="368219" y="79935"/>
                    <a:pt x="379098" y="82655"/>
                    <a:pt x="387257" y="82655"/>
                  </a:cubicBezTo>
                  <a:cubicBezTo>
                    <a:pt x="392696" y="82655"/>
                    <a:pt x="400855" y="85375"/>
                    <a:pt x="406295" y="85375"/>
                  </a:cubicBezTo>
                  <a:cubicBezTo>
                    <a:pt x="409014" y="82655"/>
                    <a:pt x="414453" y="79935"/>
                    <a:pt x="417173" y="79935"/>
                  </a:cubicBezTo>
                  <a:cubicBezTo>
                    <a:pt x="419893" y="79935"/>
                    <a:pt x="422612" y="79935"/>
                    <a:pt x="425332" y="85375"/>
                  </a:cubicBezTo>
                  <a:cubicBezTo>
                    <a:pt x="428052" y="90814"/>
                    <a:pt x="433491" y="98973"/>
                    <a:pt x="433491" y="104412"/>
                  </a:cubicBezTo>
                  <a:cubicBezTo>
                    <a:pt x="436211" y="131609"/>
                    <a:pt x="436211" y="120730"/>
                    <a:pt x="436211" y="137048"/>
                  </a:cubicBezTo>
                  <a:cubicBezTo>
                    <a:pt x="438930" y="158805"/>
                    <a:pt x="438930" y="158805"/>
                    <a:pt x="438930" y="183282"/>
                  </a:cubicBezTo>
                  <a:cubicBezTo>
                    <a:pt x="438930" y="194161"/>
                    <a:pt x="438930" y="218638"/>
                    <a:pt x="422612" y="218638"/>
                  </a:cubicBezTo>
                  <a:cubicBezTo>
                    <a:pt x="414453" y="218638"/>
                    <a:pt x="411734" y="215918"/>
                    <a:pt x="406295" y="213198"/>
                  </a:cubicBezTo>
                  <a:cubicBezTo>
                    <a:pt x="400855" y="210479"/>
                    <a:pt x="398136" y="202320"/>
                    <a:pt x="398136" y="196881"/>
                  </a:cubicBezTo>
                  <a:cubicBezTo>
                    <a:pt x="395416" y="188722"/>
                    <a:pt x="395416" y="183282"/>
                    <a:pt x="395416" y="175123"/>
                  </a:cubicBezTo>
                  <a:cubicBezTo>
                    <a:pt x="395416" y="169684"/>
                    <a:pt x="395416" y="164245"/>
                    <a:pt x="395416" y="153366"/>
                  </a:cubicBezTo>
                  <a:cubicBezTo>
                    <a:pt x="395416" y="145207"/>
                    <a:pt x="395416" y="134328"/>
                    <a:pt x="395416" y="126170"/>
                  </a:cubicBezTo>
                  <a:cubicBezTo>
                    <a:pt x="387257" y="128889"/>
                    <a:pt x="379098" y="128889"/>
                    <a:pt x="370939" y="128889"/>
                  </a:cubicBezTo>
                  <a:cubicBezTo>
                    <a:pt x="360060" y="128889"/>
                    <a:pt x="349182" y="128889"/>
                    <a:pt x="338303" y="131609"/>
                  </a:cubicBezTo>
                  <a:cubicBezTo>
                    <a:pt x="327424" y="131609"/>
                    <a:pt x="319265" y="134328"/>
                    <a:pt x="286629" y="134328"/>
                  </a:cubicBezTo>
                  <a:cubicBezTo>
                    <a:pt x="281190" y="134328"/>
                    <a:pt x="278470" y="134328"/>
                    <a:pt x="273031" y="137048"/>
                  </a:cubicBezTo>
                  <a:cubicBezTo>
                    <a:pt x="270312" y="137048"/>
                    <a:pt x="264872" y="137048"/>
                    <a:pt x="262153" y="142487"/>
                  </a:cubicBezTo>
                  <a:cubicBezTo>
                    <a:pt x="259433" y="145207"/>
                    <a:pt x="259433" y="150647"/>
                    <a:pt x="259433" y="153366"/>
                  </a:cubicBezTo>
                  <a:cubicBezTo>
                    <a:pt x="259433" y="158805"/>
                    <a:pt x="259433" y="164245"/>
                    <a:pt x="262153" y="166964"/>
                  </a:cubicBezTo>
                  <a:cubicBezTo>
                    <a:pt x="262153" y="177843"/>
                    <a:pt x="262153" y="186002"/>
                    <a:pt x="262153" y="196881"/>
                  </a:cubicBezTo>
                  <a:cubicBezTo>
                    <a:pt x="262153" y="202320"/>
                    <a:pt x="262153" y="210479"/>
                    <a:pt x="262153" y="215918"/>
                  </a:cubicBezTo>
                  <a:cubicBezTo>
                    <a:pt x="262153" y="229516"/>
                    <a:pt x="262153" y="240395"/>
                    <a:pt x="262153" y="251274"/>
                  </a:cubicBezTo>
                  <a:cubicBezTo>
                    <a:pt x="262153" y="259433"/>
                    <a:pt x="259433" y="270311"/>
                    <a:pt x="259433" y="278470"/>
                  </a:cubicBezTo>
                  <a:cubicBezTo>
                    <a:pt x="259433" y="289349"/>
                    <a:pt x="259433" y="297508"/>
                    <a:pt x="259433" y="308386"/>
                  </a:cubicBezTo>
                  <a:cubicBezTo>
                    <a:pt x="259433" y="313826"/>
                    <a:pt x="259433" y="319265"/>
                    <a:pt x="259433" y="321985"/>
                  </a:cubicBezTo>
                  <a:cubicBezTo>
                    <a:pt x="259433" y="324704"/>
                    <a:pt x="259433" y="330144"/>
                    <a:pt x="259433" y="332863"/>
                  </a:cubicBezTo>
                  <a:cubicBezTo>
                    <a:pt x="262153" y="335583"/>
                    <a:pt x="264872" y="335583"/>
                    <a:pt x="267592" y="335583"/>
                  </a:cubicBezTo>
                  <a:cubicBezTo>
                    <a:pt x="273031" y="335583"/>
                    <a:pt x="275751" y="335583"/>
                    <a:pt x="281190" y="335583"/>
                  </a:cubicBezTo>
                  <a:cubicBezTo>
                    <a:pt x="311107" y="335583"/>
                    <a:pt x="319265" y="335583"/>
                    <a:pt x="327424" y="338303"/>
                  </a:cubicBezTo>
                  <a:cubicBezTo>
                    <a:pt x="335583" y="341022"/>
                    <a:pt x="343742" y="341022"/>
                    <a:pt x="351901" y="341022"/>
                  </a:cubicBezTo>
                  <a:cubicBezTo>
                    <a:pt x="351901" y="338303"/>
                    <a:pt x="351901" y="338303"/>
                    <a:pt x="351901" y="335583"/>
                  </a:cubicBezTo>
                  <a:cubicBezTo>
                    <a:pt x="351901" y="327424"/>
                    <a:pt x="351901" y="319265"/>
                    <a:pt x="351901" y="313826"/>
                  </a:cubicBezTo>
                  <a:cubicBezTo>
                    <a:pt x="351901" y="305667"/>
                    <a:pt x="351901" y="294788"/>
                    <a:pt x="357341" y="289349"/>
                  </a:cubicBezTo>
                  <a:cubicBezTo>
                    <a:pt x="360060" y="281190"/>
                    <a:pt x="368219" y="273031"/>
                    <a:pt x="373658" y="273031"/>
                  </a:cubicBezTo>
                  <a:cubicBezTo>
                    <a:pt x="376378" y="273031"/>
                    <a:pt x="379098" y="273031"/>
                    <a:pt x="381817" y="278470"/>
                  </a:cubicBezTo>
                  <a:cubicBezTo>
                    <a:pt x="384537" y="283909"/>
                    <a:pt x="387257" y="292068"/>
                    <a:pt x="389977" y="300228"/>
                  </a:cubicBezTo>
                  <a:cubicBezTo>
                    <a:pt x="392696" y="316545"/>
                    <a:pt x="392696" y="335583"/>
                    <a:pt x="395416" y="351901"/>
                  </a:cubicBezTo>
                  <a:cubicBezTo>
                    <a:pt x="398136" y="373658"/>
                    <a:pt x="398136" y="384537"/>
                    <a:pt x="398136" y="409014"/>
                  </a:cubicBezTo>
                  <a:cubicBezTo>
                    <a:pt x="398136" y="422612"/>
                    <a:pt x="398136" y="444369"/>
                    <a:pt x="381817" y="444369"/>
                  </a:cubicBezTo>
                  <a:cubicBezTo>
                    <a:pt x="373658" y="444369"/>
                    <a:pt x="370939" y="441650"/>
                    <a:pt x="365500" y="438930"/>
                  </a:cubicBezTo>
                  <a:cubicBezTo>
                    <a:pt x="360060" y="436210"/>
                    <a:pt x="357341" y="428051"/>
                    <a:pt x="357341" y="422612"/>
                  </a:cubicBezTo>
                  <a:cubicBezTo>
                    <a:pt x="354621" y="414453"/>
                    <a:pt x="354621" y="409014"/>
                    <a:pt x="354621" y="400855"/>
                  </a:cubicBezTo>
                  <a:cubicBezTo>
                    <a:pt x="354621" y="395415"/>
                    <a:pt x="354621" y="389976"/>
                    <a:pt x="354621" y="381817"/>
                  </a:cubicBezTo>
                  <a:cubicBezTo>
                    <a:pt x="335583" y="381817"/>
                    <a:pt x="308387" y="384537"/>
                    <a:pt x="270312" y="381817"/>
                  </a:cubicBezTo>
                  <a:cubicBezTo>
                    <a:pt x="262153" y="381817"/>
                    <a:pt x="256713" y="387256"/>
                    <a:pt x="256713" y="395415"/>
                  </a:cubicBezTo>
                  <a:cubicBezTo>
                    <a:pt x="256713" y="403574"/>
                    <a:pt x="256713" y="414453"/>
                    <a:pt x="253994" y="422612"/>
                  </a:cubicBezTo>
                  <a:cubicBezTo>
                    <a:pt x="253994" y="425332"/>
                    <a:pt x="253994" y="430771"/>
                    <a:pt x="253994" y="433490"/>
                  </a:cubicBezTo>
                  <a:cubicBezTo>
                    <a:pt x="253994" y="438930"/>
                    <a:pt x="253994" y="444369"/>
                    <a:pt x="253994" y="449809"/>
                  </a:cubicBezTo>
                  <a:cubicBezTo>
                    <a:pt x="253994" y="457967"/>
                    <a:pt x="256713" y="466126"/>
                    <a:pt x="256713" y="474285"/>
                  </a:cubicBezTo>
                  <a:cubicBezTo>
                    <a:pt x="256713" y="482444"/>
                    <a:pt x="256713" y="490603"/>
                    <a:pt x="256713" y="496043"/>
                  </a:cubicBezTo>
                  <a:cubicBezTo>
                    <a:pt x="256713" y="509641"/>
                    <a:pt x="259433" y="520520"/>
                    <a:pt x="259433" y="534118"/>
                  </a:cubicBezTo>
                  <a:cubicBezTo>
                    <a:pt x="259433" y="553155"/>
                    <a:pt x="259433" y="572193"/>
                    <a:pt x="259433" y="591231"/>
                  </a:cubicBezTo>
                  <a:cubicBezTo>
                    <a:pt x="259433" y="602109"/>
                    <a:pt x="262153" y="610268"/>
                    <a:pt x="262153" y="618427"/>
                  </a:cubicBezTo>
                  <a:cubicBezTo>
                    <a:pt x="264872" y="626586"/>
                    <a:pt x="262153" y="642904"/>
                    <a:pt x="267592" y="648343"/>
                  </a:cubicBezTo>
                  <a:cubicBezTo>
                    <a:pt x="270312" y="651063"/>
                    <a:pt x="275751" y="651063"/>
                    <a:pt x="292069" y="651063"/>
                  </a:cubicBezTo>
                  <a:cubicBezTo>
                    <a:pt x="305667" y="651063"/>
                    <a:pt x="319265" y="651063"/>
                    <a:pt x="327424" y="651063"/>
                  </a:cubicBezTo>
                  <a:cubicBezTo>
                    <a:pt x="338303" y="651063"/>
                    <a:pt x="351901" y="653783"/>
                    <a:pt x="362780" y="653783"/>
                  </a:cubicBezTo>
                  <a:cubicBezTo>
                    <a:pt x="376378" y="653783"/>
                    <a:pt x="384537" y="651063"/>
                    <a:pt x="395416" y="648343"/>
                  </a:cubicBezTo>
                  <a:cubicBezTo>
                    <a:pt x="395416" y="637465"/>
                    <a:pt x="395416" y="629306"/>
                    <a:pt x="395416" y="618427"/>
                  </a:cubicBezTo>
                  <a:cubicBezTo>
                    <a:pt x="395416" y="610268"/>
                    <a:pt x="395416" y="602109"/>
                    <a:pt x="395416" y="596670"/>
                  </a:cubicBezTo>
                  <a:cubicBezTo>
                    <a:pt x="395416" y="591231"/>
                    <a:pt x="395416" y="585791"/>
                    <a:pt x="398136" y="574913"/>
                  </a:cubicBezTo>
                  <a:cubicBezTo>
                    <a:pt x="400855" y="569473"/>
                    <a:pt x="400855" y="564034"/>
                    <a:pt x="406295" y="558595"/>
                  </a:cubicBezTo>
                  <a:cubicBezTo>
                    <a:pt x="411734" y="553155"/>
                    <a:pt x="414453" y="553155"/>
                    <a:pt x="422612" y="553155"/>
                  </a:cubicBezTo>
                  <a:cubicBezTo>
                    <a:pt x="436211" y="553155"/>
                    <a:pt x="438930" y="577632"/>
                    <a:pt x="438930" y="588511"/>
                  </a:cubicBezTo>
                  <a:cubicBezTo>
                    <a:pt x="438930" y="612988"/>
                    <a:pt x="438930" y="623866"/>
                    <a:pt x="436211" y="645624"/>
                  </a:cubicBezTo>
                  <a:cubicBezTo>
                    <a:pt x="433491" y="648343"/>
                    <a:pt x="433491" y="648343"/>
                    <a:pt x="433491" y="651063"/>
                  </a:cubicBezTo>
                  <a:lnTo>
                    <a:pt x="433491" y="651063"/>
                  </a:ln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4" name="Freeform: Shape 43">
              <a:extLst>
                <a:ext uri="{FF2B5EF4-FFF2-40B4-BE49-F238E27FC236}">
                  <a16:creationId xmlns:a16="http://schemas.microsoft.com/office/drawing/2014/main" id="{987E6C4C-5076-4CC1-8A31-4708BB874E99}"/>
                </a:ext>
              </a:extLst>
            </p:cNvPr>
            <p:cNvSpPr/>
            <p:nvPr/>
          </p:nvSpPr>
          <p:spPr bwMode="black">
            <a:xfrm>
              <a:off x="7912732" y="4250336"/>
              <a:ext cx="465062" cy="658157"/>
            </a:xfrm>
            <a:custGeom>
              <a:avLst/>
              <a:gdLst>
                <a:gd name="connsiteX0" fmla="*/ 193096 w 465062"/>
                <a:gd name="connsiteY0" fmla="*/ 59832 h 658157"/>
                <a:gd name="connsiteX1" fmla="*/ 193096 w 465062"/>
                <a:gd name="connsiteY1" fmla="*/ 114226 h 658157"/>
                <a:gd name="connsiteX2" fmla="*/ 198536 w 465062"/>
                <a:gd name="connsiteY2" fmla="*/ 209414 h 658157"/>
                <a:gd name="connsiteX3" fmla="*/ 201255 w 465062"/>
                <a:gd name="connsiteY3" fmla="*/ 282845 h 658157"/>
                <a:gd name="connsiteX4" fmla="*/ 203975 w 465062"/>
                <a:gd name="connsiteY4" fmla="*/ 315481 h 658157"/>
                <a:gd name="connsiteX5" fmla="*/ 203975 w 465062"/>
                <a:gd name="connsiteY5" fmla="*/ 320920 h 658157"/>
                <a:gd name="connsiteX6" fmla="*/ 212134 w 465062"/>
                <a:gd name="connsiteY6" fmla="*/ 329079 h 658157"/>
                <a:gd name="connsiteX7" fmla="*/ 223013 w 465062"/>
                <a:gd name="connsiteY7" fmla="*/ 329079 h 658157"/>
                <a:gd name="connsiteX8" fmla="*/ 239331 w 465062"/>
                <a:gd name="connsiteY8" fmla="*/ 329079 h 658157"/>
                <a:gd name="connsiteX9" fmla="*/ 280126 w 465062"/>
                <a:gd name="connsiteY9" fmla="*/ 312761 h 658157"/>
                <a:gd name="connsiteX10" fmla="*/ 296443 w 465062"/>
                <a:gd name="connsiteY10" fmla="*/ 288284 h 658157"/>
                <a:gd name="connsiteX11" fmla="*/ 304602 w 465062"/>
                <a:gd name="connsiteY11" fmla="*/ 258368 h 658157"/>
                <a:gd name="connsiteX12" fmla="*/ 312761 w 465062"/>
                <a:gd name="connsiteY12" fmla="*/ 225732 h 658157"/>
                <a:gd name="connsiteX13" fmla="*/ 315481 w 465062"/>
                <a:gd name="connsiteY13" fmla="*/ 195816 h 658157"/>
                <a:gd name="connsiteX14" fmla="*/ 318201 w 465062"/>
                <a:gd name="connsiteY14" fmla="*/ 168619 h 658157"/>
                <a:gd name="connsiteX15" fmla="*/ 312761 w 465062"/>
                <a:gd name="connsiteY15" fmla="*/ 135983 h 658157"/>
                <a:gd name="connsiteX16" fmla="*/ 312761 w 465062"/>
                <a:gd name="connsiteY16" fmla="*/ 122385 h 658157"/>
                <a:gd name="connsiteX17" fmla="*/ 293724 w 465062"/>
                <a:gd name="connsiteY17" fmla="*/ 84309 h 658157"/>
                <a:gd name="connsiteX18" fmla="*/ 280126 w 465062"/>
                <a:gd name="connsiteY18" fmla="*/ 73430 h 658157"/>
                <a:gd name="connsiteX19" fmla="*/ 258368 w 465062"/>
                <a:gd name="connsiteY19" fmla="*/ 62552 h 658157"/>
                <a:gd name="connsiteX20" fmla="*/ 217573 w 465062"/>
                <a:gd name="connsiteY20" fmla="*/ 59832 h 658157"/>
                <a:gd name="connsiteX21" fmla="*/ 111506 w 465062"/>
                <a:gd name="connsiteY21" fmla="*/ 0 h 658157"/>
                <a:gd name="connsiteX22" fmla="*/ 127824 w 465062"/>
                <a:gd name="connsiteY22" fmla="*/ 0 h 658157"/>
                <a:gd name="connsiteX23" fmla="*/ 157741 w 465062"/>
                <a:gd name="connsiteY23" fmla="*/ 5440 h 658157"/>
                <a:gd name="connsiteX24" fmla="*/ 179497 w 465062"/>
                <a:gd name="connsiteY24" fmla="*/ 16318 h 658157"/>
                <a:gd name="connsiteX25" fmla="*/ 209414 w 465062"/>
                <a:gd name="connsiteY25" fmla="*/ 16318 h 658157"/>
                <a:gd name="connsiteX26" fmla="*/ 247489 w 465062"/>
                <a:gd name="connsiteY26" fmla="*/ 16318 h 658157"/>
                <a:gd name="connsiteX27" fmla="*/ 266527 w 465062"/>
                <a:gd name="connsiteY27" fmla="*/ 16318 h 658157"/>
                <a:gd name="connsiteX28" fmla="*/ 312761 w 465062"/>
                <a:gd name="connsiteY28" fmla="*/ 27197 h 658157"/>
                <a:gd name="connsiteX29" fmla="*/ 337238 w 465062"/>
                <a:gd name="connsiteY29" fmla="*/ 38075 h 658157"/>
                <a:gd name="connsiteX30" fmla="*/ 364434 w 465062"/>
                <a:gd name="connsiteY30" fmla="*/ 54393 h 658157"/>
                <a:gd name="connsiteX31" fmla="*/ 386192 w 465062"/>
                <a:gd name="connsiteY31" fmla="*/ 73431 h 658157"/>
                <a:gd name="connsiteX32" fmla="*/ 407949 w 465062"/>
                <a:gd name="connsiteY32" fmla="*/ 103347 h 658157"/>
                <a:gd name="connsiteX33" fmla="*/ 416108 w 465062"/>
                <a:gd name="connsiteY33" fmla="*/ 141422 h 658157"/>
                <a:gd name="connsiteX34" fmla="*/ 418828 w 465062"/>
                <a:gd name="connsiteY34" fmla="*/ 163179 h 658157"/>
                <a:gd name="connsiteX35" fmla="*/ 418828 w 465062"/>
                <a:gd name="connsiteY35" fmla="*/ 171339 h 658157"/>
                <a:gd name="connsiteX36" fmla="*/ 421547 w 465062"/>
                <a:gd name="connsiteY36" fmla="*/ 187656 h 658157"/>
                <a:gd name="connsiteX37" fmla="*/ 418828 w 465062"/>
                <a:gd name="connsiteY37" fmla="*/ 206694 h 658157"/>
                <a:gd name="connsiteX38" fmla="*/ 416108 w 465062"/>
                <a:gd name="connsiteY38" fmla="*/ 233891 h 658157"/>
                <a:gd name="connsiteX39" fmla="*/ 405229 w 465062"/>
                <a:gd name="connsiteY39" fmla="*/ 263807 h 658157"/>
                <a:gd name="connsiteX40" fmla="*/ 394351 w 465062"/>
                <a:gd name="connsiteY40" fmla="*/ 274686 h 658157"/>
                <a:gd name="connsiteX41" fmla="*/ 388912 w 465062"/>
                <a:gd name="connsiteY41" fmla="*/ 285564 h 658157"/>
                <a:gd name="connsiteX42" fmla="*/ 369874 w 465062"/>
                <a:gd name="connsiteY42" fmla="*/ 304602 h 658157"/>
                <a:gd name="connsiteX43" fmla="*/ 358995 w 465062"/>
                <a:gd name="connsiteY43" fmla="*/ 310041 h 658157"/>
                <a:gd name="connsiteX44" fmla="*/ 348117 w 465062"/>
                <a:gd name="connsiteY44" fmla="*/ 320920 h 658157"/>
                <a:gd name="connsiteX45" fmla="*/ 326359 w 465062"/>
                <a:gd name="connsiteY45" fmla="*/ 339957 h 658157"/>
                <a:gd name="connsiteX46" fmla="*/ 312761 w 465062"/>
                <a:gd name="connsiteY46" fmla="*/ 353555 h 658157"/>
                <a:gd name="connsiteX47" fmla="*/ 337238 w 465062"/>
                <a:gd name="connsiteY47" fmla="*/ 380752 h 658157"/>
                <a:gd name="connsiteX48" fmla="*/ 358995 w 465062"/>
                <a:gd name="connsiteY48" fmla="*/ 421547 h 658157"/>
                <a:gd name="connsiteX49" fmla="*/ 372593 w 465062"/>
                <a:gd name="connsiteY49" fmla="*/ 459622 h 658157"/>
                <a:gd name="connsiteX50" fmla="*/ 386192 w 465062"/>
                <a:gd name="connsiteY50" fmla="*/ 514015 h 658157"/>
                <a:gd name="connsiteX51" fmla="*/ 407949 w 465062"/>
                <a:gd name="connsiteY51" fmla="*/ 568408 h 658157"/>
                <a:gd name="connsiteX52" fmla="*/ 421547 w 465062"/>
                <a:gd name="connsiteY52" fmla="*/ 598324 h 658157"/>
                <a:gd name="connsiteX53" fmla="*/ 451463 w 465062"/>
                <a:gd name="connsiteY53" fmla="*/ 628241 h 658157"/>
                <a:gd name="connsiteX54" fmla="*/ 465062 w 465062"/>
                <a:gd name="connsiteY54" fmla="*/ 644559 h 658157"/>
                <a:gd name="connsiteX55" fmla="*/ 462342 w 465062"/>
                <a:gd name="connsiteY55" fmla="*/ 649998 h 658157"/>
                <a:gd name="connsiteX56" fmla="*/ 437865 w 465062"/>
                <a:gd name="connsiteY56" fmla="*/ 658157 h 658157"/>
                <a:gd name="connsiteX57" fmla="*/ 361715 w 465062"/>
                <a:gd name="connsiteY57" fmla="*/ 622801 h 658157"/>
                <a:gd name="connsiteX58" fmla="*/ 320920 w 465062"/>
                <a:gd name="connsiteY58" fmla="*/ 565689 h 658157"/>
                <a:gd name="connsiteX59" fmla="*/ 304602 w 465062"/>
                <a:gd name="connsiteY59" fmla="*/ 530333 h 658157"/>
                <a:gd name="connsiteX60" fmla="*/ 293723 w 465062"/>
                <a:gd name="connsiteY60" fmla="*/ 497697 h 658157"/>
                <a:gd name="connsiteX61" fmla="*/ 282845 w 465062"/>
                <a:gd name="connsiteY61" fmla="*/ 462342 h 658157"/>
                <a:gd name="connsiteX62" fmla="*/ 269246 w 465062"/>
                <a:gd name="connsiteY62" fmla="*/ 424267 h 658157"/>
                <a:gd name="connsiteX63" fmla="*/ 255648 w 465062"/>
                <a:gd name="connsiteY63" fmla="*/ 391631 h 658157"/>
                <a:gd name="connsiteX64" fmla="*/ 236610 w 465062"/>
                <a:gd name="connsiteY64" fmla="*/ 367154 h 658157"/>
                <a:gd name="connsiteX65" fmla="*/ 217573 w 465062"/>
                <a:gd name="connsiteY65" fmla="*/ 361714 h 658157"/>
                <a:gd name="connsiteX66" fmla="*/ 201255 w 465062"/>
                <a:gd name="connsiteY66" fmla="*/ 361714 h 658157"/>
                <a:gd name="connsiteX67" fmla="*/ 198535 w 465062"/>
                <a:gd name="connsiteY67" fmla="*/ 367154 h 658157"/>
                <a:gd name="connsiteX68" fmla="*/ 201255 w 465062"/>
                <a:gd name="connsiteY68" fmla="*/ 388911 h 658157"/>
                <a:gd name="connsiteX69" fmla="*/ 198535 w 465062"/>
                <a:gd name="connsiteY69" fmla="*/ 426986 h 658157"/>
                <a:gd name="connsiteX70" fmla="*/ 203975 w 465062"/>
                <a:gd name="connsiteY70" fmla="*/ 478660 h 658157"/>
                <a:gd name="connsiteX71" fmla="*/ 198535 w 465062"/>
                <a:gd name="connsiteY71" fmla="*/ 552090 h 658157"/>
                <a:gd name="connsiteX72" fmla="*/ 195816 w 465062"/>
                <a:gd name="connsiteY72" fmla="*/ 576567 h 658157"/>
                <a:gd name="connsiteX73" fmla="*/ 198535 w 465062"/>
                <a:gd name="connsiteY73" fmla="*/ 592885 h 658157"/>
                <a:gd name="connsiteX74" fmla="*/ 233891 w 465062"/>
                <a:gd name="connsiteY74" fmla="*/ 592885 h 658157"/>
                <a:gd name="connsiteX75" fmla="*/ 271966 w 465062"/>
                <a:gd name="connsiteY75" fmla="*/ 611923 h 658157"/>
                <a:gd name="connsiteX76" fmla="*/ 266527 w 465062"/>
                <a:gd name="connsiteY76" fmla="*/ 628241 h 658157"/>
                <a:gd name="connsiteX77" fmla="*/ 250209 w 465062"/>
                <a:gd name="connsiteY77" fmla="*/ 636400 h 658157"/>
                <a:gd name="connsiteX78" fmla="*/ 228451 w 465062"/>
                <a:gd name="connsiteY78" fmla="*/ 639119 h 658157"/>
                <a:gd name="connsiteX79" fmla="*/ 187657 w 465062"/>
                <a:gd name="connsiteY79" fmla="*/ 639119 h 658157"/>
                <a:gd name="connsiteX80" fmla="*/ 152301 w 465062"/>
                <a:gd name="connsiteY80" fmla="*/ 652717 h 658157"/>
                <a:gd name="connsiteX81" fmla="*/ 133263 w 465062"/>
                <a:gd name="connsiteY81" fmla="*/ 655437 h 658157"/>
                <a:gd name="connsiteX82" fmla="*/ 122385 w 465062"/>
                <a:gd name="connsiteY82" fmla="*/ 652717 h 658157"/>
                <a:gd name="connsiteX83" fmla="*/ 97908 w 465062"/>
                <a:gd name="connsiteY83" fmla="*/ 639119 h 658157"/>
                <a:gd name="connsiteX84" fmla="*/ 70711 w 465062"/>
                <a:gd name="connsiteY84" fmla="*/ 639119 h 658157"/>
                <a:gd name="connsiteX85" fmla="*/ 46234 w 465062"/>
                <a:gd name="connsiteY85" fmla="*/ 639119 h 658157"/>
                <a:gd name="connsiteX86" fmla="*/ 19038 w 465062"/>
                <a:gd name="connsiteY86" fmla="*/ 630960 h 658157"/>
                <a:gd name="connsiteX87" fmla="*/ 2720 w 465062"/>
                <a:gd name="connsiteY87" fmla="*/ 614642 h 658157"/>
                <a:gd name="connsiteX88" fmla="*/ 8159 w 465062"/>
                <a:gd name="connsiteY88" fmla="*/ 606483 h 658157"/>
                <a:gd name="connsiteX89" fmla="*/ 29916 w 465062"/>
                <a:gd name="connsiteY89" fmla="*/ 598324 h 658157"/>
                <a:gd name="connsiteX90" fmla="*/ 76151 w 465062"/>
                <a:gd name="connsiteY90" fmla="*/ 592885 h 658157"/>
                <a:gd name="connsiteX91" fmla="*/ 73431 w 465062"/>
                <a:gd name="connsiteY91" fmla="*/ 573848 h 658157"/>
                <a:gd name="connsiteX92" fmla="*/ 70711 w 465062"/>
                <a:gd name="connsiteY92" fmla="*/ 500417 h 658157"/>
                <a:gd name="connsiteX93" fmla="*/ 73431 w 465062"/>
                <a:gd name="connsiteY93" fmla="*/ 437865 h 658157"/>
                <a:gd name="connsiteX94" fmla="*/ 70711 w 465062"/>
                <a:gd name="connsiteY94" fmla="*/ 369873 h 658157"/>
                <a:gd name="connsiteX95" fmla="*/ 70711 w 465062"/>
                <a:gd name="connsiteY95" fmla="*/ 293723 h 658157"/>
                <a:gd name="connsiteX96" fmla="*/ 73431 w 465062"/>
                <a:gd name="connsiteY96" fmla="*/ 212133 h 658157"/>
                <a:gd name="connsiteX97" fmla="*/ 76151 w 465062"/>
                <a:gd name="connsiteY97" fmla="*/ 155021 h 658157"/>
                <a:gd name="connsiteX98" fmla="*/ 76151 w 465062"/>
                <a:gd name="connsiteY98" fmla="*/ 119665 h 658157"/>
                <a:gd name="connsiteX99" fmla="*/ 78870 w 465062"/>
                <a:gd name="connsiteY99" fmla="*/ 84310 h 658157"/>
                <a:gd name="connsiteX100" fmla="*/ 76151 w 465062"/>
                <a:gd name="connsiteY100" fmla="*/ 62552 h 658157"/>
                <a:gd name="connsiteX101" fmla="*/ 67992 w 465062"/>
                <a:gd name="connsiteY101" fmla="*/ 62552 h 658157"/>
                <a:gd name="connsiteX102" fmla="*/ 43515 w 465062"/>
                <a:gd name="connsiteY102" fmla="*/ 62552 h 658157"/>
                <a:gd name="connsiteX103" fmla="*/ 16318 w 465062"/>
                <a:gd name="connsiteY103" fmla="*/ 57113 h 658157"/>
                <a:gd name="connsiteX104" fmla="*/ 0 w 465062"/>
                <a:gd name="connsiteY104" fmla="*/ 40795 h 658157"/>
                <a:gd name="connsiteX105" fmla="*/ 5439 w 465062"/>
                <a:gd name="connsiteY105" fmla="*/ 32636 h 658157"/>
                <a:gd name="connsiteX106" fmla="*/ 27197 w 465062"/>
                <a:gd name="connsiteY106" fmla="*/ 24477 h 658157"/>
                <a:gd name="connsiteX107" fmla="*/ 76151 w 465062"/>
                <a:gd name="connsiteY107" fmla="*/ 19038 h 658157"/>
                <a:gd name="connsiteX108" fmla="*/ 78870 w 465062"/>
                <a:gd name="connsiteY108" fmla="*/ 13598 h 658157"/>
                <a:gd name="connsiteX109" fmla="*/ 95188 w 465062"/>
                <a:gd name="connsiteY109" fmla="*/ 5440 h 658157"/>
                <a:gd name="connsiteX110" fmla="*/ 111506 w 465062"/>
                <a:gd name="connsiteY110" fmla="*/ 0 h 6581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</a:cxnLst>
              <a:rect l="l" t="t" r="r" b="b"/>
              <a:pathLst>
                <a:path w="465062" h="658157">
                  <a:moveTo>
                    <a:pt x="193096" y="59832"/>
                  </a:moveTo>
                  <a:cubicBezTo>
                    <a:pt x="193096" y="73430"/>
                    <a:pt x="193096" y="89748"/>
                    <a:pt x="193096" y="114226"/>
                  </a:cubicBezTo>
                  <a:cubicBezTo>
                    <a:pt x="193096" y="144142"/>
                    <a:pt x="195816" y="176778"/>
                    <a:pt x="198536" y="209414"/>
                  </a:cubicBezTo>
                  <a:cubicBezTo>
                    <a:pt x="198536" y="247489"/>
                    <a:pt x="201255" y="277406"/>
                    <a:pt x="201255" y="282845"/>
                  </a:cubicBezTo>
                  <a:cubicBezTo>
                    <a:pt x="201255" y="293723"/>
                    <a:pt x="203975" y="304602"/>
                    <a:pt x="203975" y="315481"/>
                  </a:cubicBezTo>
                  <a:cubicBezTo>
                    <a:pt x="203975" y="318200"/>
                    <a:pt x="203975" y="318200"/>
                    <a:pt x="203975" y="320920"/>
                  </a:cubicBezTo>
                  <a:cubicBezTo>
                    <a:pt x="203975" y="326359"/>
                    <a:pt x="206695" y="329079"/>
                    <a:pt x="212134" y="329079"/>
                  </a:cubicBezTo>
                  <a:cubicBezTo>
                    <a:pt x="214854" y="329079"/>
                    <a:pt x="220293" y="329079"/>
                    <a:pt x="223013" y="329079"/>
                  </a:cubicBezTo>
                  <a:cubicBezTo>
                    <a:pt x="228452" y="329079"/>
                    <a:pt x="233891" y="329079"/>
                    <a:pt x="239331" y="329079"/>
                  </a:cubicBezTo>
                  <a:cubicBezTo>
                    <a:pt x="252929" y="329079"/>
                    <a:pt x="271967" y="323640"/>
                    <a:pt x="280126" y="312761"/>
                  </a:cubicBezTo>
                  <a:cubicBezTo>
                    <a:pt x="288284" y="304602"/>
                    <a:pt x="291004" y="299163"/>
                    <a:pt x="296443" y="288284"/>
                  </a:cubicBezTo>
                  <a:cubicBezTo>
                    <a:pt x="299163" y="277406"/>
                    <a:pt x="301883" y="269247"/>
                    <a:pt x="304602" y="258368"/>
                  </a:cubicBezTo>
                  <a:cubicBezTo>
                    <a:pt x="307322" y="244770"/>
                    <a:pt x="310042" y="239330"/>
                    <a:pt x="312761" y="225732"/>
                  </a:cubicBezTo>
                  <a:cubicBezTo>
                    <a:pt x="315481" y="212134"/>
                    <a:pt x="315481" y="209414"/>
                    <a:pt x="315481" y="195816"/>
                  </a:cubicBezTo>
                  <a:cubicBezTo>
                    <a:pt x="315481" y="179498"/>
                    <a:pt x="315481" y="184937"/>
                    <a:pt x="318201" y="168619"/>
                  </a:cubicBezTo>
                  <a:cubicBezTo>
                    <a:pt x="312761" y="152302"/>
                    <a:pt x="312761" y="149582"/>
                    <a:pt x="312761" y="135983"/>
                  </a:cubicBezTo>
                  <a:cubicBezTo>
                    <a:pt x="312761" y="133264"/>
                    <a:pt x="312761" y="127825"/>
                    <a:pt x="312761" y="122385"/>
                  </a:cubicBezTo>
                  <a:cubicBezTo>
                    <a:pt x="312761" y="111507"/>
                    <a:pt x="301883" y="95188"/>
                    <a:pt x="293724" y="84309"/>
                  </a:cubicBezTo>
                  <a:cubicBezTo>
                    <a:pt x="288284" y="78870"/>
                    <a:pt x="285565" y="76150"/>
                    <a:pt x="280126" y="73430"/>
                  </a:cubicBezTo>
                  <a:cubicBezTo>
                    <a:pt x="271967" y="67991"/>
                    <a:pt x="266527" y="65271"/>
                    <a:pt x="258368" y="62552"/>
                  </a:cubicBezTo>
                  <a:cubicBezTo>
                    <a:pt x="244770" y="59832"/>
                    <a:pt x="228452" y="59832"/>
                    <a:pt x="217573" y="59832"/>
                  </a:cubicBezTo>
                  <a:close/>
                  <a:moveTo>
                    <a:pt x="111506" y="0"/>
                  </a:moveTo>
                  <a:cubicBezTo>
                    <a:pt x="114226" y="0"/>
                    <a:pt x="122385" y="0"/>
                    <a:pt x="127824" y="0"/>
                  </a:cubicBezTo>
                  <a:cubicBezTo>
                    <a:pt x="135983" y="0"/>
                    <a:pt x="146862" y="2720"/>
                    <a:pt x="157741" y="5440"/>
                  </a:cubicBezTo>
                  <a:cubicBezTo>
                    <a:pt x="168619" y="8159"/>
                    <a:pt x="176778" y="10879"/>
                    <a:pt x="179497" y="16318"/>
                  </a:cubicBezTo>
                  <a:cubicBezTo>
                    <a:pt x="193096" y="16318"/>
                    <a:pt x="201255" y="16318"/>
                    <a:pt x="209414" y="16318"/>
                  </a:cubicBezTo>
                  <a:cubicBezTo>
                    <a:pt x="220292" y="16318"/>
                    <a:pt x="231171" y="16318"/>
                    <a:pt x="247489" y="16318"/>
                  </a:cubicBezTo>
                  <a:cubicBezTo>
                    <a:pt x="250209" y="16318"/>
                    <a:pt x="258368" y="16318"/>
                    <a:pt x="266527" y="16318"/>
                  </a:cubicBezTo>
                  <a:cubicBezTo>
                    <a:pt x="277405" y="16318"/>
                    <a:pt x="291004" y="21758"/>
                    <a:pt x="312761" y="27197"/>
                  </a:cubicBezTo>
                  <a:cubicBezTo>
                    <a:pt x="320920" y="29917"/>
                    <a:pt x="329079" y="35356"/>
                    <a:pt x="337238" y="38075"/>
                  </a:cubicBezTo>
                  <a:cubicBezTo>
                    <a:pt x="342677" y="40795"/>
                    <a:pt x="353556" y="48954"/>
                    <a:pt x="364434" y="54393"/>
                  </a:cubicBezTo>
                  <a:cubicBezTo>
                    <a:pt x="375313" y="62552"/>
                    <a:pt x="386192" y="67992"/>
                    <a:pt x="386192" y="73431"/>
                  </a:cubicBezTo>
                  <a:cubicBezTo>
                    <a:pt x="391631" y="84310"/>
                    <a:pt x="402510" y="92469"/>
                    <a:pt x="407949" y="103347"/>
                  </a:cubicBezTo>
                  <a:cubicBezTo>
                    <a:pt x="413388" y="116945"/>
                    <a:pt x="416108" y="130544"/>
                    <a:pt x="416108" y="141422"/>
                  </a:cubicBezTo>
                  <a:cubicBezTo>
                    <a:pt x="416108" y="152301"/>
                    <a:pt x="418828" y="157740"/>
                    <a:pt x="418828" y="163179"/>
                  </a:cubicBezTo>
                  <a:cubicBezTo>
                    <a:pt x="418828" y="165899"/>
                    <a:pt x="418828" y="168619"/>
                    <a:pt x="418828" y="171339"/>
                  </a:cubicBezTo>
                  <a:cubicBezTo>
                    <a:pt x="418828" y="174058"/>
                    <a:pt x="421547" y="182217"/>
                    <a:pt x="421547" y="187656"/>
                  </a:cubicBezTo>
                  <a:cubicBezTo>
                    <a:pt x="421547" y="193096"/>
                    <a:pt x="418828" y="201255"/>
                    <a:pt x="418828" y="206694"/>
                  </a:cubicBezTo>
                  <a:cubicBezTo>
                    <a:pt x="418828" y="217573"/>
                    <a:pt x="418828" y="223012"/>
                    <a:pt x="416108" y="233891"/>
                  </a:cubicBezTo>
                  <a:cubicBezTo>
                    <a:pt x="413388" y="244769"/>
                    <a:pt x="410668" y="255648"/>
                    <a:pt x="405229" y="263807"/>
                  </a:cubicBezTo>
                  <a:cubicBezTo>
                    <a:pt x="402510" y="269246"/>
                    <a:pt x="397070" y="269246"/>
                    <a:pt x="394351" y="274686"/>
                  </a:cubicBezTo>
                  <a:cubicBezTo>
                    <a:pt x="391631" y="277405"/>
                    <a:pt x="391631" y="282844"/>
                    <a:pt x="388912" y="285564"/>
                  </a:cubicBezTo>
                  <a:cubicBezTo>
                    <a:pt x="383472" y="291003"/>
                    <a:pt x="375313" y="301882"/>
                    <a:pt x="369874" y="304602"/>
                  </a:cubicBezTo>
                  <a:cubicBezTo>
                    <a:pt x="367154" y="307321"/>
                    <a:pt x="361715" y="307321"/>
                    <a:pt x="358995" y="310041"/>
                  </a:cubicBezTo>
                  <a:cubicBezTo>
                    <a:pt x="356275" y="312761"/>
                    <a:pt x="350836" y="318200"/>
                    <a:pt x="348117" y="320920"/>
                  </a:cubicBezTo>
                  <a:cubicBezTo>
                    <a:pt x="339958" y="326359"/>
                    <a:pt x="334518" y="334518"/>
                    <a:pt x="326359" y="339957"/>
                  </a:cubicBezTo>
                  <a:cubicBezTo>
                    <a:pt x="320920" y="342677"/>
                    <a:pt x="312761" y="342677"/>
                    <a:pt x="312761" y="353555"/>
                  </a:cubicBezTo>
                  <a:cubicBezTo>
                    <a:pt x="312761" y="361714"/>
                    <a:pt x="334518" y="372593"/>
                    <a:pt x="337238" y="380752"/>
                  </a:cubicBezTo>
                  <a:cubicBezTo>
                    <a:pt x="345397" y="394350"/>
                    <a:pt x="353556" y="407948"/>
                    <a:pt x="358995" y="421547"/>
                  </a:cubicBezTo>
                  <a:cubicBezTo>
                    <a:pt x="364434" y="435145"/>
                    <a:pt x="367154" y="446024"/>
                    <a:pt x="372593" y="459622"/>
                  </a:cubicBezTo>
                  <a:cubicBezTo>
                    <a:pt x="378033" y="478660"/>
                    <a:pt x="383472" y="494978"/>
                    <a:pt x="386192" y="514015"/>
                  </a:cubicBezTo>
                  <a:cubicBezTo>
                    <a:pt x="391631" y="533053"/>
                    <a:pt x="402510" y="549371"/>
                    <a:pt x="407949" y="568408"/>
                  </a:cubicBezTo>
                  <a:cubicBezTo>
                    <a:pt x="410668" y="579287"/>
                    <a:pt x="416108" y="590165"/>
                    <a:pt x="421547" y="598324"/>
                  </a:cubicBezTo>
                  <a:cubicBezTo>
                    <a:pt x="435146" y="614642"/>
                    <a:pt x="443305" y="622801"/>
                    <a:pt x="451463" y="628241"/>
                  </a:cubicBezTo>
                  <a:cubicBezTo>
                    <a:pt x="456903" y="630960"/>
                    <a:pt x="465062" y="636400"/>
                    <a:pt x="465062" y="644559"/>
                  </a:cubicBezTo>
                  <a:cubicBezTo>
                    <a:pt x="465062" y="647278"/>
                    <a:pt x="465062" y="647278"/>
                    <a:pt x="462342" y="649998"/>
                  </a:cubicBezTo>
                  <a:cubicBezTo>
                    <a:pt x="456903" y="655437"/>
                    <a:pt x="446024" y="658157"/>
                    <a:pt x="437865" y="658157"/>
                  </a:cubicBezTo>
                  <a:cubicBezTo>
                    <a:pt x="413388" y="658157"/>
                    <a:pt x="378033" y="641839"/>
                    <a:pt x="361715" y="622801"/>
                  </a:cubicBezTo>
                  <a:cubicBezTo>
                    <a:pt x="345397" y="606483"/>
                    <a:pt x="334518" y="584726"/>
                    <a:pt x="320920" y="565689"/>
                  </a:cubicBezTo>
                  <a:cubicBezTo>
                    <a:pt x="315480" y="554810"/>
                    <a:pt x="310041" y="543931"/>
                    <a:pt x="304602" y="530333"/>
                  </a:cubicBezTo>
                  <a:cubicBezTo>
                    <a:pt x="299163" y="519454"/>
                    <a:pt x="296443" y="508576"/>
                    <a:pt x="293723" y="497697"/>
                  </a:cubicBezTo>
                  <a:cubicBezTo>
                    <a:pt x="291004" y="486819"/>
                    <a:pt x="288284" y="473220"/>
                    <a:pt x="282845" y="462342"/>
                  </a:cubicBezTo>
                  <a:cubicBezTo>
                    <a:pt x="280125" y="448743"/>
                    <a:pt x="274686" y="437865"/>
                    <a:pt x="269246" y="424267"/>
                  </a:cubicBezTo>
                  <a:cubicBezTo>
                    <a:pt x="266527" y="416108"/>
                    <a:pt x="261087" y="402509"/>
                    <a:pt x="255648" y="391631"/>
                  </a:cubicBezTo>
                  <a:cubicBezTo>
                    <a:pt x="250209" y="380752"/>
                    <a:pt x="244770" y="375313"/>
                    <a:pt x="236610" y="367154"/>
                  </a:cubicBezTo>
                  <a:cubicBezTo>
                    <a:pt x="231171" y="361714"/>
                    <a:pt x="223012" y="361714"/>
                    <a:pt x="217573" y="361714"/>
                  </a:cubicBezTo>
                  <a:cubicBezTo>
                    <a:pt x="212134" y="361714"/>
                    <a:pt x="206694" y="361714"/>
                    <a:pt x="201255" y="361714"/>
                  </a:cubicBezTo>
                  <a:cubicBezTo>
                    <a:pt x="198535" y="361714"/>
                    <a:pt x="198535" y="364434"/>
                    <a:pt x="198535" y="367154"/>
                  </a:cubicBezTo>
                  <a:cubicBezTo>
                    <a:pt x="198535" y="375313"/>
                    <a:pt x="201255" y="386191"/>
                    <a:pt x="201255" y="388911"/>
                  </a:cubicBezTo>
                  <a:cubicBezTo>
                    <a:pt x="201255" y="402509"/>
                    <a:pt x="198535" y="413388"/>
                    <a:pt x="198535" y="426986"/>
                  </a:cubicBezTo>
                  <a:cubicBezTo>
                    <a:pt x="198535" y="446024"/>
                    <a:pt x="203975" y="456902"/>
                    <a:pt x="203975" y="478660"/>
                  </a:cubicBezTo>
                  <a:cubicBezTo>
                    <a:pt x="203975" y="503136"/>
                    <a:pt x="201255" y="527613"/>
                    <a:pt x="198535" y="552090"/>
                  </a:cubicBezTo>
                  <a:cubicBezTo>
                    <a:pt x="198535" y="560249"/>
                    <a:pt x="195816" y="568408"/>
                    <a:pt x="195816" y="576567"/>
                  </a:cubicBezTo>
                  <a:cubicBezTo>
                    <a:pt x="195816" y="582006"/>
                    <a:pt x="195816" y="587446"/>
                    <a:pt x="198535" y="592885"/>
                  </a:cubicBezTo>
                  <a:cubicBezTo>
                    <a:pt x="212134" y="592885"/>
                    <a:pt x="225732" y="592885"/>
                    <a:pt x="233891" y="592885"/>
                  </a:cubicBezTo>
                  <a:cubicBezTo>
                    <a:pt x="247489" y="592885"/>
                    <a:pt x="271966" y="592885"/>
                    <a:pt x="271966" y="611923"/>
                  </a:cubicBezTo>
                  <a:cubicBezTo>
                    <a:pt x="271966" y="620082"/>
                    <a:pt x="269246" y="622801"/>
                    <a:pt x="266527" y="628241"/>
                  </a:cubicBezTo>
                  <a:cubicBezTo>
                    <a:pt x="261087" y="633680"/>
                    <a:pt x="255648" y="636400"/>
                    <a:pt x="250209" y="636400"/>
                  </a:cubicBezTo>
                  <a:cubicBezTo>
                    <a:pt x="239330" y="639119"/>
                    <a:pt x="233891" y="639119"/>
                    <a:pt x="228451" y="639119"/>
                  </a:cubicBezTo>
                  <a:cubicBezTo>
                    <a:pt x="223012" y="639119"/>
                    <a:pt x="206694" y="639119"/>
                    <a:pt x="187657" y="639119"/>
                  </a:cubicBezTo>
                  <a:cubicBezTo>
                    <a:pt x="176778" y="647278"/>
                    <a:pt x="163180" y="649998"/>
                    <a:pt x="152301" y="652717"/>
                  </a:cubicBezTo>
                  <a:cubicBezTo>
                    <a:pt x="146862" y="652717"/>
                    <a:pt x="138703" y="655437"/>
                    <a:pt x="133263" y="655437"/>
                  </a:cubicBezTo>
                  <a:cubicBezTo>
                    <a:pt x="130544" y="655437"/>
                    <a:pt x="125104" y="655437"/>
                    <a:pt x="122385" y="652717"/>
                  </a:cubicBezTo>
                  <a:cubicBezTo>
                    <a:pt x="114226" y="649998"/>
                    <a:pt x="103347" y="644559"/>
                    <a:pt x="97908" y="639119"/>
                  </a:cubicBezTo>
                  <a:cubicBezTo>
                    <a:pt x="87029" y="639119"/>
                    <a:pt x="78870" y="639119"/>
                    <a:pt x="70711" y="639119"/>
                  </a:cubicBezTo>
                  <a:cubicBezTo>
                    <a:pt x="62552" y="639119"/>
                    <a:pt x="54393" y="639119"/>
                    <a:pt x="46234" y="639119"/>
                  </a:cubicBezTo>
                  <a:cubicBezTo>
                    <a:pt x="38075" y="639119"/>
                    <a:pt x="27197" y="633680"/>
                    <a:pt x="19038" y="630960"/>
                  </a:cubicBezTo>
                  <a:cubicBezTo>
                    <a:pt x="10879" y="628241"/>
                    <a:pt x="2720" y="620082"/>
                    <a:pt x="2720" y="614642"/>
                  </a:cubicBezTo>
                  <a:cubicBezTo>
                    <a:pt x="2720" y="611923"/>
                    <a:pt x="2720" y="609203"/>
                    <a:pt x="8159" y="606483"/>
                  </a:cubicBezTo>
                  <a:cubicBezTo>
                    <a:pt x="13599" y="603764"/>
                    <a:pt x="24477" y="601044"/>
                    <a:pt x="29916" y="598324"/>
                  </a:cubicBezTo>
                  <a:cubicBezTo>
                    <a:pt x="43515" y="595605"/>
                    <a:pt x="62552" y="595605"/>
                    <a:pt x="76151" y="592885"/>
                  </a:cubicBezTo>
                  <a:cubicBezTo>
                    <a:pt x="76151" y="587446"/>
                    <a:pt x="73431" y="582006"/>
                    <a:pt x="73431" y="573848"/>
                  </a:cubicBezTo>
                  <a:cubicBezTo>
                    <a:pt x="73431" y="565689"/>
                    <a:pt x="70711" y="516735"/>
                    <a:pt x="70711" y="500417"/>
                  </a:cubicBezTo>
                  <a:cubicBezTo>
                    <a:pt x="70711" y="481379"/>
                    <a:pt x="73431" y="456902"/>
                    <a:pt x="73431" y="437865"/>
                  </a:cubicBezTo>
                  <a:cubicBezTo>
                    <a:pt x="73431" y="416108"/>
                    <a:pt x="70711" y="391631"/>
                    <a:pt x="70711" y="369873"/>
                  </a:cubicBezTo>
                  <a:cubicBezTo>
                    <a:pt x="70711" y="345397"/>
                    <a:pt x="70711" y="318200"/>
                    <a:pt x="70711" y="293723"/>
                  </a:cubicBezTo>
                  <a:cubicBezTo>
                    <a:pt x="70711" y="266526"/>
                    <a:pt x="73431" y="239330"/>
                    <a:pt x="73431" y="212133"/>
                  </a:cubicBezTo>
                  <a:cubicBezTo>
                    <a:pt x="73431" y="187656"/>
                    <a:pt x="76151" y="179498"/>
                    <a:pt x="76151" y="155021"/>
                  </a:cubicBezTo>
                  <a:cubicBezTo>
                    <a:pt x="76151" y="144142"/>
                    <a:pt x="76151" y="130544"/>
                    <a:pt x="76151" y="119665"/>
                  </a:cubicBezTo>
                  <a:cubicBezTo>
                    <a:pt x="76151" y="106067"/>
                    <a:pt x="78870" y="95188"/>
                    <a:pt x="78870" y="84310"/>
                  </a:cubicBezTo>
                  <a:cubicBezTo>
                    <a:pt x="78870" y="78870"/>
                    <a:pt x="78870" y="70711"/>
                    <a:pt x="76151" y="62552"/>
                  </a:cubicBezTo>
                  <a:cubicBezTo>
                    <a:pt x="76151" y="62552"/>
                    <a:pt x="73431" y="62552"/>
                    <a:pt x="67992" y="62552"/>
                  </a:cubicBezTo>
                  <a:cubicBezTo>
                    <a:pt x="59833" y="62552"/>
                    <a:pt x="51674" y="62552"/>
                    <a:pt x="43515" y="62552"/>
                  </a:cubicBezTo>
                  <a:cubicBezTo>
                    <a:pt x="35356" y="62552"/>
                    <a:pt x="24477" y="59833"/>
                    <a:pt x="16318" y="57113"/>
                  </a:cubicBezTo>
                  <a:cubicBezTo>
                    <a:pt x="8159" y="54393"/>
                    <a:pt x="0" y="43515"/>
                    <a:pt x="0" y="40795"/>
                  </a:cubicBezTo>
                  <a:cubicBezTo>
                    <a:pt x="0" y="38075"/>
                    <a:pt x="0" y="35356"/>
                    <a:pt x="5439" y="32636"/>
                  </a:cubicBezTo>
                  <a:cubicBezTo>
                    <a:pt x="10879" y="29917"/>
                    <a:pt x="21758" y="27197"/>
                    <a:pt x="27197" y="24477"/>
                  </a:cubicBezTo>
                  <a:cubicBezTo>
                    <a:pt x="46234" y="21758"/>
                    <a:pt x="62552" y="19038"/>
                    <a:pt x="76151" y="19038"/>
                  </a:cubicBezTo>
                  <a:cubicBezTo>
                    <a:pt x="76151" y="16318"/>
                    <a:pt x="78870" y="16318"/>
                    <a:pt x="78870" y="13598"/>
                  </a:cubicBezTo>
                  <a:cubicBezTo>
                    <a:pt x="84309" y="10879"/>
                    <a:pt x="89749" y="8159"/>
                    <a:pt x="95188" y="5440"/>
                  </a:cubicBezTo>
                  <a:cubicBezTo>
                    <a:pt x="100628" y="2720"/>
                    <a:pt x="106067" y="0"/>
                    <a:pt x="111506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5" name="Freeform: Shape 44">
              <a:extLst>
                <a:ext uri="{FF2B5EF4-FFF2-40B4-BE49-F238E27FC236}">
                  <a16:creationId xmlns:a16="http://schemas.microsoft.com/office/drawing/2014/main" id="{55A557F2-2B51-4A94-8BAD-38C184786E6F}"/>
                </a:ext>
              </a:extLst>
            </p:cNvPr>
            <p:cNvSpPr/>
            <p:nvPr/>
          </p:nvSpPr>
          <p:spPr bwMode="black">
            <a:xfrm>
              <a:off x="8346812" y="4186718"/>
              <a:ext cx="353556" cy="761503"/>
            </a:xfrm>
            <a:custGeom>
              <a:avLst/>
              <a:gdLst>
                <a:gd name="connsiteX0" fmla="*/ 283910 w 353555"/>
                <a:gd name="connsiteY0" fmla="*/ 672820 h 761503"/>
                <a:gd name="connsiteX1" fmla="*/ 321985 w 353555"/>
                <a:gd name="connsiteY1" fmla="*/ 689138 h 761503"/>
                <a:gd name="connsiteX2" fmla="*/ 316546 w 353555"/>
                <a:gd name="connsiteY2" fmla="*/ 705456 h 761503"/>
                <a:gd name="connsiteX3" fmla="*/ 300228 w 353555"/>
                <a:gd name="connsiteY3" fmla="*/ 713615 h 761503"/>
                <a:gd name="connsiteX4" fmla="*/ 278471 w 353555"/>
                <a:gd name="connsiteY4" fmla="*/ 716335 h 761503"/>
                <a:gd name="connsiteX5" fmla="*/ 237676 w 353555"/>
                <a:gd name="connsiteY5" fmla="*/ 716335 h 761503"/>
                <a:gd name="connsiteX6" fmla="*/ 180563 w 353555"/>
                <a:gd name="connsiteY6" fmla="*/ 719054 h 761503"/>
                <a:gd name="connsiteX7" fmla="*/ 126170 w 353555"/>
                <a:gd name="connsiteY7" fmla="*/ 719054 h 761503"/>
                <a:gd name="connsiteX8" fmla="*/ 101693 w 353555"/>
                <a:gd name="connsiteY8" fmla="*/ 719054 h 761503"/>
                <a:gd name="connsiteX9" fmla="*/ 74496 w 353555"/>
                <a:gd name="connsiteY9" fmla="*/ 713615 h 761503"/>
                <a:gd name="connsiteX10" fmla="*/ 58178 w 353555"/>
                <a:gd name="connsiteY10" fmla="*/ 697297 h 761503"/>
                <a:gd name="connsiteX11" fmla="*/ 63618 w 353555"/>
                <a:gd name="connsiteY11" fmla="*/ 689138 h 761503"/>
                <a:gd name="connsiteX12" fmla="*/ 85375 w 353555"/>
                <a:gd name="connsiteY12" fmla="*/ 680979 h 761503"/>
                <a:gd name="connsiteX13" fmla="*/ 131609 w 353555"/>
                <a:gd name="connsiteY13" fmla="*/ 675540 h 761503"/>
                <a:gd name="connsiteX14" fmla="*/ 142488 w 353555"/>
                <a:gd name="connsiteY14" fmla="*/ 675540 h 761503"/>
                <a:gd name="connsiteX15" fmla="*/ 131609 w 353555"/>
                <a:gd name="connsiteY15" fmla="*/ 653783 h 761503"/>
                <a:gd name="connsiteX16" fmla="*/ 128890 w 353555"/>
                <a:gd name="connsiteY16" fmla="*/ 640184 h 761503"/>
                <a:gd name="connsiteX17" fmla="*/ 128890 w 353555"/>
                <a:gd name="connsiteY17" fmla="*/ 629306 h 761503"/>
                <a:gd name="connsiteX18" fmla="*/ 128890 w 353555"/>
                <a:gd name="connsiteY18" fmla="*/ 621147 h 761503"/>
                <a:gd name="connsiteX19" fmla="*/ 128890 w 353555"/>
                <a:gd name="connsiteY19" fmla="*/ 593950 h 761503"/>
                <a:gd name="connsiteX20" fmla="*/ 128890 w 353555"/>
                <a:gd name="connsiteY20" fmla="*/ 583072 h 761503"/>
                <a:gd name="connsiteX21" fmla="*/ 128890 w 353555"/>
                <a:gd name="connsiteY21" fmla="*/ 436210 h 761503"/>
                <a:gd name="connsiteX22" fmla="*/ 128890 w 353555"/>
                <a:gd name="connsiteY22" fmla="*/ 357340 h 761503"/>
                <a:gd name="connsiteX23" fmla="*/ 131609 w 353555"/>
                <a:gd name="connsiteY23" fmla="*/ 289349 h 761503"/>
                <a:gd name="connsiteX24" fmla="*/ 131609 w 353555"/>
                <a:gd name="connsiteY24" fmla="*/ 251274 h 761503"/>
                <a:gd name="connsiteX25" fmla="*/ 131609 w 353555"/>
                <a:gd name="connsiteY25" fmla="*/ 205040 h 761503"/>
                <a:gd name="connsiteX26" fmla="*/ 131609 w 353555"/>
                <a:gd name="connsiteY26" fmla="*/ 139768 h 761503"/>
                <a:gd name="connsiteX27" fmla="*/ 131609 w 353555"/>
                <a:gd name="connsiteY27" fmla="*/ 128889 h 761503"/>
                <a:gd name="connsiteX28" fmla="*/ 126170 w 353555"/>
                <a:gd name="connsiteY28" fmla="*/ 128889 h 761503"/>
                <a:gd name="connsiteX29" fmla="*/ 101693 w 353555"/>
                <a:gd name="connsiteY29" fmla="*/ 128889 h 761503"/>
                <a:gd name="connsiteX30" fmla="*/ 74496 w 353555"/>
                <a:gd name="connsiteY30" fmla="*/ 123450 h 761503"/>
                <a:gd name="connsiteX31" fmla="*/ 58178 w 353555"/>
                <a:gd name="connsiteY31" fmla="*/ 107132 h 761503"/>
                <a:gd name="connsiteX32" fmla="*/ 60898 w 353555"/>
                <a:gd name="connsiteY32" fmla="*/ 98973 h 761503"/>
                <a:gd name="connsiteX33" fmla="*/ 82655 w 353555"/>
                <a:gd name="connsiteY33" fmla="*/ 93534 h 761503"/>
                <a:gd name="connsiteX34" fmla="*/ 131609 w 353555"/>
                <a:gd name="connsiteY34" fmla="*/ 88094 h 761503"/>
                <a:gd name="connsiteX35" fmla="*/ 131609 w 353555"/>
                <a:gd name="connsiteY35" fmla="*/ 82655 h 761503"/>
                <a:gd name="connsiteX36" fmla="*/ 134329 w 353555"/>
                <a:gd name="connsiteY36" fmla="*/ 71776 h 761503"/>
                <a:gd name="connsiteX37" fmla="*/ 147927 w 353555"/>
                <a:gd name="connsiteY37" fmla="*/ 63617 h 761503"/>
                <a:gd name="connsiteX38" fmla="*/ 164245 w 353555"/>
                <a:gd name="connsiteY38" fmla="*/ 58178 h 761503"/>
                <a:gd name="connsiteX39" fmla="*/ 177843 w 353555"/>
                <a:gd name="connsiteY39" fmla="*/ 58178 h 761503"/>
                <a:gd name="connsiteX40" fmla="*/ 196881 w 353555"/>
                <a:gd name="connsiteY40" fmla="*/ 60898 h 761503"/>
                <a:gd name="connsiteX41" fmla="*/ 232237 w 353555"/>
                <a:gd name="connsiteY41" fmla="*/ 88094 h 761503"/>
                <a:gd name="connsiteX42" fmla="*/ 278471 w 353555"/>
                <a:gd name="connsiteY42" fmla="*/ 88094 h 761503"/>
                <a:gd name="connsiteX43" fmla="*/ 316546 w 353555"/>
                <a:gd name="connsiteY43" fmla="*/ 104412 h 761503"/>
                <a:gd name="connsiteX44" fmla="*/ 311107 w 353555"/>
                <a:gd name="connsiteY44" fmla="*/ 120730 h 761503"/>
                <a:gd name="connsiteX45" fmla="*/ 294789 w 353555"/>
                <a:gd name="connsiteY45" fmla="*/ 128889 h 761503"/>
                <a:gd name="connsiteX46" fmla="*/ 273032 w 353555"/>
                <a:gd name="connsiteY46" fmla="*/ 131609 h 761503"/>
                <a:gd name="connsiteX47" fmla="*/ 243115 w 353555"/>
                <a:gd name="connsiteY47" fmla="*/ 131609 h 761503"/>
                <a:gd name="connsiteX48" fmla="*/ 243115 w 353555"/>
                <a:gd name="connsiteY48" fmla="*/ 134329 h 761503"/>
                <a:gd name="connsiteX49" fmla="*/ 248554 w 353555"/>
                <a:gd name="connsiteY49" fmla="*/ 169684 h 761503"/>
                <a:gd name="connsiteX50" fmla="*/ 251274 w 353555"/>
                <a:gd name="connsiteY50" fmla="*/ 205040 h 761503"/>
                <a:gd name="connsiteX51" fmla="*/ 251274 w 353555"/>
                <a:gd name="connsiteY51" fmla="*/ 240395 h 761503"/>
                <a:gd name="connsiteX52" fmla="*/ 251274 w 353555"/>
                <a:gd name="connsiteY52" fmla="*/ 256713 h 761503"/>
                <a:gd name="connsiteX53" fmla="*/ 253994 w 353555"/>
                <a:gd name="connsiteY53" fmla="*/ 270311 h 761503"/>
                <a:gd name="connsiteX54" fmla="*/ 259433 w 353555"/>
                <a:gd name="connsiteY54" fmla="*/ 343742 h 761503"/>
                <a:gd name="connsiteX55" fmla="*/ 262153 w 353555"/>
                <a:gd name="connsiteY55" fmla="*/ 425332 h 761503"/>
                <a:gd name="connsiteX56" fmla="*/ 264872 w 353555"/>
                <a:gd name="connsiteY56" fmla="*/ 490603 h 761503"/>
                <a:gd name="connsiteX57" fmla="*/ 270312 w 353555"/>
                <a:gd name="connsiteY57" fmla="*/ 564034 h 761503"/>
                <a:gd name="connsiteX58" fmla="*/ 270312 w 353555"/>
                <a:gd name="connsiteY58" fmla="*/ 599390 h 761503"/>
                <a:gd name="connsiteX59" fmla="*/ 270312 w 353555"/>
                <a:gd name="connsiteY59" fmla="*/ 637465 h 761503"/>
                <a:gd name="connsiteX60" fmla="*/ 264872 w 353555"/>
                <a:gd name="connsiteY60" fmla="*/ 670101 h 761503"/>
                <a:gd name="connsiteX61" fmla="*/ 283910 w 353555"/>
                <a:gd name="connsiteY61" fmla="*/ 672820 h 761503"/>
                <a:gd name="connsiteX62" fmla="*/ 283910 w 353555"/>
                <a:gd name="connsiteY62" fmla="*/ 672820 h 761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</a:cxnLst>
              <a:rect l="l" t="t" r="r" b="b"/>
              <a:pathLst>
                <a:path w="353555" h="761503">
                  <a:moveTo>
                    <a:pt x="283910" y="672820"/>
                  </a:moveTo>
                  <a:cubicBezTo>
                    <a:pt x="297508" y="672820"/>
                    <a:pt x="321985" y="672820"/>
                    <a:pt x="321985" y="689138"/>
                  </a:cubicBezTo>
                  <a:cubicBezTo>
                    <a:pt x="321985" y="697297"/>
                    <a:pt x="319266" y="697297"/>
                    <a:pt x="316546" y="705456"/>
                  </a:cubicBezTo>
                  <a:cubicBezTo>
                    <a:pt x="311107" y="710895"/>
                    <a:pt x="305667" y="713615"/>
                    <a:pt x="300228" y="713615"/>
                  </a:cubicBezTo>
                  <a:cubicBezTo>
                    <a:pt x="292069" y="716335"/>
                    <a:pt x="283910" y="716335"/>
                    <a:pt x="278471" y="716335"/>
                  </a:cubicBezTo>
                  <a:cubicBezTo>
                    <a:pt x="275751" y="716335"/>
                    <a:pt x="256713" y="716335"/>
                    <a:pt x="237676" y="716335"/>
                  </a:cubicBezTo>
                  <a:cubicBezTo>
                    <a:pt x="213199" y="716335"/>
                    <a:pt x="186003" y="719054"/>
                    <a:pt x="180563" y="719054"/>
                  </a:cubicBezTo>
                  <a:cubicBezTo>
                    <a:pt x="166965" y="719054"/>
                    <a:pt x="142488" y="719054"/>
                    <a:pt x="126170" y="719054"/>
                  </a:cubicBezTo>
                  <a:cubicBezTo>
                    <a:pt x="118011" y="719054"/>
                    <a:pt x="109852" y="719054"/>
                    <a:pt x="101693" y="719054"/>
                  </a:cubicBezTo>
                  <a:cubicBezTo>
                    <a:pt x="93534" y="719054"/>
                    <a:pt x="82655" y="719054"/>
                    <a:pt x="74496" y="713615"/>
                  </a:cubicBezTo>
                  <a:cubicBezTo>
                    <a:pt x="66337" y="710895"/>
                    <a:pt x="58178" y="702736"/>
                    <a:pt x="58178" y="697297"/>
                  </a:cubicBezTo>
                  <a:cubicBezTo>
                    <a:pt x="58178" y="694578"/>
                    <a:pt x="58178" y="691858"/>
                    <a:pt x="63618" y="689138"/>
                  </a:cubicBezTo>
                  <a:cubicBezTo>
                    <a:pt x="69057" y="686418"/>
                    <a:pt x="79936" y="683699"/>
                    <a:pt x="85375" y="680979"/>
                  </a:cubicBezTo>
                  <a:cubicBezTo>
                    <a:pt x="104413" y="678260"/>
                    <a:pt x="123450" y="675540"/>
                    <a:pt x="131609" y="675540"/>
                  </a:cubicBezTo>
                  <a:cubicBezTo>
                    <a:pt x="134329" y="675540"/>
                    <a:pt x="137049" y="675540"/>
                    <a:pt x="142488" y="675540"/>
                  </a:cubicBezTo>
                  <a:cubicBezTo>
                    <a:pt x="134329" y="670101"/>
                    <a:pt x="131609" y="661942"/>
                    <a:pt x="131609" y="653783"/>
                  </a:cubicBezTo>
                  <a:cubicBezTo>
                    <a:pt x="131609" y="648343"/>
                    <a:pt x="131609" y="642904"/>
                    <a:pt x="128890" y="640184"/>
                  </a:cubicBezTo>
                  <a:cubicBezTo>
                    <a:pt x="128890" y="637465"/>
                    <a:pt x="128890" y="634745"/>
                    <a:pt x="128890" y="629306"/>
                  </a:cubicBezTo>
                  <a:cubicBezTo>
                    <a:pt x="128890" y="626586"/>
                    <a:pt x="128890" y="623867"/>
                    <a:pt x="128890" y="621147"/>
                  </a:cubicBezTo>
                  <a:cubicBezTo>
                    <a:pt x="128890" y="612988"/>
                    <a:pt x="128890" y="604829"/>
                    <a:pt x="128890" y="593950"/>
                  </a:cubicBezTo>
                  <a:cubicBezTo>
                    <a:pt x="128890" y="591231"/>
                    <a:pt x="128890" y="585791"/>
                    <a:pt x="128890" y="583072"/>
                  </a:cubicBezTo>
                  <a:cubicBezTo>
                    <a:pt x="128890" y="534118"/>
                    <a:pt x="131609" y="485164"/>
                    <a:pt x="128890" y="436210"/>
                  </a:cubicBezTo>
                  <a:cubicBezTo>
                    <a:pt x="128890" y="409014"/>
                    <a:pt x="128890" y="384537"/>
                    <a:pt x="128890" y="357340"/>
                  </a:cubicBezTo>
                  <a:cubicBezTo>
                    <a:pt x="128890" y="335583"/>
                    <a:pt x="131609" y="313826"/>
                    <a:pt x="131609" y="289349"/>
                  </a:cubicBezTo>
                  <a:cubicBezTo>
                    <a:pt x="131609" y="275751"/>
                    <a:pt x="131609" y="264872"/>
                    <a:pt x="131609" y="251274"/>
                  </a:cubicBezTo>
                  <a:cubicBezTo>
                    <a:pt x="131609" y="234956"/>
                    <a:pt x="131609" y="221357"/>
                    <a:pt x="131609" y="205040"/>
                  </a:cubicBezTo>
                  <a:cubicBezTo>
                    <a:pt x="131609" y="183282"/>
                    <a:pt x="131609" y="161525"/>
                    <a:pt x="131609" y="139768"/>
                  </a:cubicBezTo>
                  <a:cubicBezTo>
                    <a:pt x="131609" y="137048"/>
                    <a:pt x="131609" y="134329"/>
                    <a:pt x="131609" y="128889"/>
                  </a:cubicBezTo>
                  <a:cubicBezTo>
                    <a:pt x="128890" y="128889"/>
                    <a:pt x="126170" y="128889"/>
                    <a:pt x="126170" y="128889"/>
                  </a:cubicBezTo>
                  <a:cubicBezTo>
                    <a:pt x="118011" y="128889"/>
                    <a:pt x="109852" y="128889"/>
                    <a:pt x="101693" y="128889"/>
                  </a:cubicBezTo>
                  <a:cubicBezTo>
                    <a:pt x="93534" y="128889"/>
                    <a:pt x="82655" y="128889"/>
                    <a:pt x="74496" y="123450"/>
                  </a:cubicBezTo>
                  <a:cubicBezTo>
                    <a:pt x="66337" y="120730"/>
                    <a:pt x="58178" y="112571"/>
                    <a:pt x="58178" y="107132"/>
                  </a:cubicBezTo>
                  <a:cubicBezTo>
                    <a:pt x="58178" y="104412"/>
                    <a:pt x="58178" y="101693"/>
                    <a:pt x="60898" y="98973"/>
                  </a:cubicBezTo>
                  <a:cubicBezTo>
                    <a:pt x="63618" y="96253"/>
                    <a:pt x="77216" y="93534"/>
                    <a:pt x="82655" y="93534"/>
                  </a:cubicBezTo>
                  <a:cubicBezTo>
                    <a:pt x="98973" y="90814"/>
                    <a:pt x="123450" y="88094"/>
                    <a:pt x="131609" y="88094"/>
                  </a:cubicBezTo>
                  <a:cubicBezTo>
                    <a:pt x="131609" y="85375"/>
                    <a:pt x="131609" y="85375"/>
                    <a:pt x="131609" y="82655"/>
                  </a:cubicBezTo>
                  <a:cubicBezTo>
                    <a:pt x="131609" y="77216"/>
                    <a:pt x="131609" y="74496"/>
                    <a:pt x="134329" y="71776"/>
                  </a:cubicBezTo>
                  <a:cubicBezTo>
                    <a:pt x="137049" y="69057"/>
                    <a:pt x="145208" y="66337"/>
                    <a:pt x="147927" y="63617"/>
                  </a:cubicBezTo>
                  <a:cubicBezTo>
                    <a:pt x="153366" y="60898"/>
                    <a:pt x="158806" y="58178"/>
                    <a:pt x="164245" y="58178"/>
                  </a:cubicBezTo>
                  <a:cubicBezTo>
                    <a:pt x="169684" y="58178"/>
                    <a:pt x="175124" y="58178"/>
                    <a:pt x="177843" y="58178"/>
                  </a:cubicBezTo>
                  <a:cubicBezTo>
                    <a:pt x="183283" y="58178"/>
                    <a:pt x="191442" y="58178"/>
                    <a:pt x="196881" y="60898"/>
                  </a:cubicBezTo>
                  <a:cubicBezTo>
                    <a:pt x="213199" y="63617"/>
                    <a:pt x="224078" y="74496"/>
                    <a:pt x="232237" y="88094"/>
                  </a:cubicBezTo>
                  <a:cubicBezTo>
                    <a:pt x="253994" y="88094"/>
                    <a:pt x="270312" y="88094"/>
                    <a:pt x="278471" y="88094"/>
                  </a:cubicBezTo>
                  <a:cubicBezTo>
                    <a:pt x="292069" y="88094"/>
                    <a:pt x="316546" y="88094"/>
                    <a:pt x="316546" y="104412"/>
                  </a:cubicBezTo>
                  <a:cubicBezTo>
                    <a:pt x="316546" y="112571"/>
                    <a:pt x="313826" y="112571"/>
                    <a:pt x="311107" y="120730"/>
                  </a:cubicBezTo>
                  <a:cubicBezTo>
                    <a:pt x="305667" y="126170"/>
                    <a:pt x="300228" y="128889"/>
                    <a:pt x="294789" y="128889"/>
                  </a:cubicBezTo>
                  <a:cubicBezTo>
                    <a:pt x="286630" y="131609"/>
                    <a:pt x="278471" y="131609"/>
                    <a:pt x="273032" y="131609"/>
                  </a:cubicBezTo>
                  <a:cubicBezTo>
                    <a:pt x="270312" y="131609"/>
                    <a:pt x="259433" y="131609"/>
                    <a:pt x="243115" y="131609"/>
                  </a:cubicBezTo>
                  <a:lnTo>
                    <a:pt x="243115" y="134329"/>
                  </a:lnTo>
                  <a:cubicBezTo>
                    <a:pt x="245835" y="145207"/>
                    <a:pt x="245835" y="158805"/>
                    <a:pt x="248554" y="169684"/>
                  </a:cubicBezTo>
                  <a:cubicBezTo>
                    <a:pt x="251274" y="180563"/>
                    <a:pt x="251274" y="194161"/>
                    <a:pt x="251274" y="205040"/>
                  </a:cubicBezTo>
                  <a:cubicBezTo>
                    <a:pt x="251274" y="215918"/>
                    <a:pt x="251274" y="226797"/>
                    <a:pt x="251274" y="240395"/>
                  </a:cubicBezTo>
                  <a:cubicBezTo>
                    <a:pt x="251274" y="245834"/>
                    <a:pt x="251274" y="251274"/>
                    <a:pt x="251274" y="256713"/>
                  </a:cubicBezTo>
                  <a:cubicBezTo>
                    <a:pt x="251274" y="262152"/>
                    <a:pt x="251274" y="267592"/>
                    <a:pt x="253994" y="270311"/>
                  </a:cubicBezTo>
                  <a:cubicBezTo>
                    <a:pt x="256713" y="294788"/>
                    <a:pt x="256713" y="319265"/>
                    <a:pt x="259433" y="343742"/>
                  </a:cubicBezTo>
                  <a:cubicBezTo>
                    <a:pt x="259433" y="370939"/>
                    <a:pt x="262153" y="398135"/>
                    <a:pt x="262153" y="425332"/>
                  </a:cubicBezTo>
                  <a:cubicBezTo>
                    <a:pt x="262153" y="447089"/>
                    <a:pt x="262153" y="468846"/>
                    <a:pt x="264872" y="490603"/>
                  </a:cubicBezTo>
                  <a:cubicBezTo>
                    <a:pt x="264872" y="515080"/>
                    <a:pt x="270312" y="539557"/>
                    <a:pt x="270312" y="564034"/>
                  </a:cubicBezTo>
                  <a:cubicBezTo>
                    <a:pt x="270312" y="574913"/>
                    <a:pt x="270312" y="588511"/>
                    <a:pt x="270312" y="599390"/>
                  </a:cubicBezTo>
                  <a:cubicBezTo>
                    <a:pt x="270312" y="612988"/>
                    <a:pt x="270312" y="623867"/>
                    <a:pt x="270312" y="637465"/>
                  </a:cubicBezTo>
                  <a:cubicBezTo>
                    <a:pt x="270312" y="648343"/>
                    <a:pt x="270312" y="661942"/>
                    <a:pt x="264872" y="670101"/>
                  </a:cubicBezTo>
                  <a:cubicBezTo>
                    <a:pt x="273032" y="672820"/>
                    <a:pt x="278471" y="672820"/>
                    <a:pt x="283910" y="672820"/>
                  </a:cubicBezTo>
                  <a:lnTo>
                    <a:pt x="283910" y="672820"/>
                  </a:ln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6" name="Freeform: Shape 45">
              <a:extLst>
                <a:ext uri="{FF2B5EF4-FFF2-40B4-BE49-F238E27FC236}">
                  <a16:creationId xmlns:a16="http://schemas.microsoft.com/office/drawing/2014/main" id="{91CD0877-E703-46CC-91C2-0B64DCDDC22E}"/>
                </a:ext>
              </a:extLst>
            </p:cNvPr>
            <p:cNvSpPr/>
            <p:nvPr/>
          </p:nvSpPr>
          <p:spPr bwMode="black">
            <a:xfrm>
              <a:off x="8652924" y="4192158"/>
              <a:ext cx="516735" cy="788700"/>
            </a:xfrm>
            <a:custGeom>
              <a:avLst/>
              <a:gdLst>
                <a:gd name="connsiteX0" fmla="*/ 464616 w 516735"/>
                <a:gd name="connsiteY0" fmla="*/ 436210 h 788699"/>
                <a:gd name="connsiteX1" fmla="*/ 445578 w 516735"/>
                <a:gd name="connsiteY1" fmla="*/ 455248 h 788699"/>
                <a:gd name="connsiteX2" fmla="*/ 404783 w 516735"/>
                <a:gd name="connsiteY2" fmla="*/ 466126 h 788699"/>
                <a:gd name="connsiteX3" fmla="*/ 385746 w 516735"/>
                <a:gd name="connsiteY3" fmla="*/ 479725 h 788699"/>
                <a:gd name="connsiteX4" fmla="*/ 388466 w 516735"/>
                <a:gd name="connsiteY4" fmla="*/ 512361 h 788699"/>
                <a:gd name="connsiteX5" fmla="*/ 388466 w 516735"/>
                <a:gd name="connsiteY5" fmla="*/ 544997 h 788699"/>
                <a:gd name="connsiteX6" fmla="*/ 388466 w 516735"/>
                <a:gd name="connsiteY6" fmla="*/ 566754 h 788699"/>
                <a:gd name="connsiteX7" fmla="*/ 391185 w 516735"/>
                <a:gd name="connsiteY7" fmla="*/ 632026 h 788699"/>
                <a:gd name="connsiteX8" fmla="*/ 393905 w 516735"/>
                <a:gd name="connsiteY8" fmla="*/ 683699 h 788699"/>
                <a:gd name="connsiteX9" fmla="*/ 377587 w 516735"/>
                <a:gd name="connsiteY9" fmla="*/ 724494 h 788699"/>
                <a:gd name="connsiteX10" fmla="*/ 361269 w 516735"/>
                <a:gd name="connsiteY10" fmla="*/ 719054 h 788699"/>
                <a:gd name="connsiteX11" fmla="*/ 353110 w 516735"/>
                <a:gd name="connsiteY11" fmla="*/ 702737 h 788699"/>
                <a:gd name="connsiteX12" fmla="*/ 350390 w 516735"/>
                <a:gd name="connsiteY12" fmla="*/ 686419 h 788699"/>
                <a:gd name="connsiteX13" fmla="*/ 353110 w 516735"/>
                <a:gd name="connsiteY13" fmla="*/ 659222 h 788699"/>
                <a:gd name="connsiteX14" fmla="*/ 353110 w 516735"/>
                <a:gd name="connsiteY14" fmla="*/ 656502 h 788699"/>
                <a:gd name="connsiteX15" fmla="*/ 317754 w 516735"/>
                <a:gd name="connsiteY15" fmla="*/ 708176 h 788699"/>
                <a:gd name="connsiteX16" fmla="*/ 241604 w 516735"/>
                <a:gd name="connsiteY16" fmla="*/ 735372 h 788699"/>
                <a:gd name="connsiteX17" fmla="*/ 187211 w 516735"/>
                <a:gd name="connsiteY17" fmla="*/ 727214 h 788699"/>
                <a:gd name="connsiteX18" fmla="*/ 135537 w 516735"/>
                <a:gd name="connsiteY18" fmla="*/ 694578 h 788699"/>
                <a:gd name="connsiteX19" fmla="*/ 86583 w 516735"/>
                <a:gd name="connsiteY19" fmla="*/ 621147 h 788699"/>
                <a:gd name="connsiteX20" fmla="*/ 67546 w 516735"/>
                <a:gd name="connsiteY20" fmla="*/ 555875 h 788699"/>
                <a:gd name="connsiteX21" fmla="*/ 59387 w 516735"/>
                <a:gd name="connsiteY21" fmla="*/ 509641 h 788699"/>
                <a:gd name="connsiteX22" fmla="*/ 59387 w 516735"/>
                <a:gd name="connsiteY22" fmla="*/ 468846 h 788699"/>
                <a:gd name="connsiteX23" fmla="*/ 86583 w 516735"/>
                <a:gd name="connsiteY23" fmla="*/ 302947 h 788699"/>
                <a:gd name="connsiteX24" fmla="*/ 108341 w 516735"/>
                <a:gd name="connsiteY24" fmla="*/ 224077 h 788699"/>
                <a:gd name="connsiteX25" fmla="*/ 146416 w 516735"/>
                <a:gd name="connsiteY25" fmla="*/ 145207 h 788699"/>
                <a:gd name="connsiteX26" fmla="*/ 198090 w 516735"/>
                <a:gd name="connsiteY26" fmla="*/ 85375 h 788699"/>
                <a:gd name="connsiteX27" fmla="*/ 228006 w 516735"/>
                <a:gd name="connsiteY27" fmla="*/ 69057 h 788699"/>
                <a:gd name="connsiteX28" fmla="*/ 268801 w 516735"/>
                <a:gd name="connsiteY28" fmla="*/ 58178 h 788699"/>
                <a:gd name="connsiteX29" fmla="*/ 274240 w 516735"/>
                <a:gd name="connsiteY29" fmla="*/ 58178 h 788699"/>
                <a:gd name="connsiteX30" fmla="*/ 295997 w 516735"/>
                <a:gd name="connsiteY30" fmla="*/ 60898 h 788699"/>
                <a:gd name="connsiteX31" fmla="*/ 331353 w 516735"/>
                <a:gd name="connsiteY31" fmla="*/ 71776 h 788699"/>
                <a:gd name="connsiteX32" fmla="*/ 350390 w 516735"/>
                <a:gd name="connsiteY32" fmla="*/ 93534 h 788699"/>
                <a:gd name="connsiteX33" fmla="*/ 353110 w 516735"/>
                <a:gd name="connsiteY33" fmla="*/ 74496 h 788699"/>
                <a:gd name="connsiteX34" fmla="*/ 358549 w 516735"/>
                <a:gd name="connsiteY34" fmla="*/ 63618 h 788699"/>
                <a:gd name="connsiteX35" fmla="*/ 366708 w 516735"/>
                <a:gd name="connsiteY35" fmla="*/ 58178 h 788699"/>
                <a:gd name="connsiteX36" fmla="*/ 374867 w 516735"/>
                <a:gd name="connsiteY36" fmla="*/ 63618 h 788699"/>
                <a:gd name="connsiteX37" fmla="*/ 383027 w 516735"/>
                <a:gd name="connsiteY37" fmla="*/ 82655 h 788699"/>
                <a:gd name="connsiteX38" fmla="*/ 385746 w 516735"/>
                <a:gd name="connsiteY38" fmla="*/ 126170 h 788699"/>
                <a:gd name="connsiteX39" fmla="*/ 388466 w 516735"/>
                <a:gd name="connsiteY39" fmla="*/ 186002 h 788699"/>
                <a:gd name="connsiteX40" fmla="*/ 391185 w 516735"/>
                <a:gd name="connsiteY40" fmla="*/ 237676 h 788699"/>
                <a:gd name="connsiteX41" fmla="*/ 374867 w 516735"/>
                <a:gd name="connsiteY41" fmla="*/ 278470 h 788699"/>
                <a:gd name="connsiteX42" fmla="*/ 358549 w 516735"/>
                <a:gd name="connsiteY42" fmla="*/ 273031 h 788699"/>
                <a:gd name="connsiteX43" fmla="*/ 350390 w 516735"/>
                <a:gd name="connsiteY43" fmla="*/ 256713 h 788699"/>
                <a:gd name="connsiteX44" fmla="*/ 347671 w 516735"/>
                <a:gd name="connsiteY44" fmla="*/ 240395 h 788699"/>
                <a:gd name="connsiteX45" fmla="*/ 347671 w 516735"/>
                <a:gd name="connsiteY45" fmla="*/ 213199 h 788699"/>
                <a:gd name="connsiteX46" fmla="*/ 344951 w 516735"/>
                <a:gd name="connsiteY46" fmla="*/ 194161 h 788699"/>
                <a:gd name="connsiteX47" fmla="*/ 339512 w 516735"/>
                <a:gd name="connsiteY47" fmla="*/ 150647 h 788699"/>
                <a:gd name="connsiteX48" fmla="*/ 323194 w 516735"/>
                <a:gd name="connsiteY48" fmla="*/ 112571 h 788699"/>
                <a:gd name="connsiteX49" fmla="*/ 293278 w 516735"/>
                <a:gd name="connsiteY49" fmla="*/ 101693 h 788699"/>
                <a:gd name="connsiteX50" fmla="*/ 263361 w 516735"/>
                <a:gd name="connsiteY50" fmla="*/ 120730 h 788699"/>
                <a:gd name="connsiteX51" fmla="*/ 241604 w 516735"/>
                <a:gd name="connsiteY51" fmla="*/ 153366 h 788699"/>
                <a:gd name="connsiteX52" fmla="*/ 233445 w 516735"/>
                <a:gd name="connsiteY52" fmla="*/ 194161 h 788699"/>
                <a:gd name="connsiteX53" fmla="*/ 225286 w 516735"/>
                <a:gd name="connsiteY53" fmla="*/ 232236 h 788699"/>
                <a:gd name="connsiteX54" fmla="*/ 217127 w 516735"/>
                <a:gd name="connsiteY54" fmla="*/ 275751 h 788699"/>
                <a:gd name="connsiteX55" fmla="*/ 211688 w 516735"/>
                <a:gd name="connsiteY55" fmla="*/ 316545 h 788699"/>
                <a:gd name="connsiteX56" fmla="*/ 206249 w 516735"/>
                <a:gd name="connsiteY56" fmla="*/ 354621 h 788699"/>
                <a:gd name="connsiteX57" fmla="*/ 200809 w 516735"/>
                <a:gd name="connsiteY57" fmla="*/ 398135 h 788699"/>
                <a:gd name="connsiteX58" fmla="*/ 195370 w 516735"/>
                <a:gd name="connsiteY58" fmla="*/ 438930 h 788699"/>
                <a:gd name="connsiteX59" fmla="*/ 192650 w 516735"/>
                <a:gd name="connsiteY59" fmla="*/ 474286 h 788699"/>
                <a:gd name="connsiteX60" fmla="*/ 195370 w 516735"/>
                <a:gd name="connsiteY60" fmla="*/ 525959 h 788699"/>
                <a:gd name="connsiteX61" fmla="*/ 208968 w 516735"/>
                <a:gd name="connsiteY61" fmla="*/ 596670 h 788699"/>
                <a:gd name="connsiteX62" fmla="*/ 214407 w 516735"/>
                <a:gd name="connsiteY62" fmla="*/ 623867 h 788699"/>
                <a:gd name="connsiteX63" fmla="*/ 228006 w 516735"/>
                <a:gd name="connsiteY63" fmla="*/ 656502 h 788699"/>
                <a:gd name="connsiteX64" fmla="*/ 271520 w 516735"/>
                <a:gd name="connsiteY64" fmla="*/ 689138 h 788699"/>
                <a:gd name="connsiteX65" fmla="*/ 306876 w 516735"/>
                <a:gd name="connsiteY65" fmla="*/ 664661 h 788699"/>
                <a:gd name="connsiteX66" fmla="*/ 331353 w 516735"/>
                <a:gd name="connsiteY66" fmla="*/ 602109 h 788699"/>
                <a:gd name="connsiteX67" fmla="*/ 336792 w 516735"/>
                <a:gd name="connsiteY67" fmla="*/ 544997 h 788699"/>
                <a:gd name="connsiteX68" fmla="*/ 336792 w 516735"/>
                <a:gd name="connsiteY68" fmla="*/ 498762 h 788699"/>
                <a:gd name="connsiteX69" fmla="*/ 336792 w 516735"/>
                <a:gd name="connsiteY69" fmla="*/ 490603 h 788699"/>
                <a:gd name="connsiteX70" fmla="*/ 320474 w 516735"/>
                <a:gd name="connsiteY70" fmla="*/ 477005 h 788699"/>
                <a:gd name="connsiteX71" fmla="*/ 282399 w 516735"/>
                <a:gd name="connsiteY71" fmla="*/ 479725 h 788699"/>
                <a:gd name="connsiteX72" fmla="*/ 252483 w 516735"/>
                <a:gd name="connsiteY72" fmla="*/ 474286 h 788699"/>
                <a:gd name="connsiteX73" fmla="*/ 247044 w 516735"/>
                <a:gd name="connsiteY73" fmla="*/ 466126 h 788699"/>
                <a:gd name="connsiteX74" fmla="*/ 249763 w 516735"/>
                <a:gd name="connsiteY74" fmla="*/ 457968 h 788699"/>
                <a:gd name="connsiteX75" fmla="*/ 268801 w 516735"/>
                <a:gd name="connsiteY75" fmla="*/ 447089 h 788699"/>
                <a:gd name="connsiteX76" fmla="*/ 312315 w 516735"/>
                <a:gd name="connsiteY76" fmla="*/ 436210 h 788699"/>
                <a:gd name="connsiteX77" fmla="*/ 353110 w 516735"/>
                <a:gd name="connsiteY77" fmla="*/ 430771 h 788699"/>
                <a:gd name="connsiteX78" fmla="*/ 385746 w 516735"/>
                <a:gd name="connsiteY78" fmla="*/ 430771 h 788699"/>
                <a:gd name="connsiteX79" fmla="*/ 437420 w 516735"/>
                <a:gd name="connsiteY79" fmla="*/ 428051 h 788699"/>
                <a:gd name="connsiteX80" fmla="*/ 464616 w 516735"/>
                <a:gd name="connsiteY80" fmla="*/ 436210 h 7886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</a:cxnLst>
              <a:rect l="l" t="t" r="r" b="b"/>
              <a:pathLst>
                <a:path w="516735" h="788699">
                  <a:moveTo>
                    <a:pt x="464616" y="436210"/>
                  </a:moveTo>
                  <a:cubicBezTo>
                    <a:pt x="464616" y="447089"/>
                    <a:pt x="453738" y="452528"/>
                    <a:pt x="445578" y="455248"/>
                  </a:cubicBezTo>
                  <a:cubicBezTo>
                    <a:pt x="434700" y="460687"/>
                    <a:pt x="415662" y="463407"/>
                    <a:pt x="404783" y="466126"/>
                  </a:cubicBezTo>
                  <a:cubicBezTo>
                    <a:pt x="393905" y="466126"/>
                    <a:pt x="385746" y="468846"/>
                    <a:pt x="385746" y="479725"/>
                  </a:cubicBezTo>
                  <a:cubicBezTo>
                    <a:pt x="385746" y="487884"/>
                    <a:pt x="388466" y="506921"/>
                    <a:pt x="388466" y="512361"/>
                  </a:cubicBezTo>
                  <a:cubicBezTo>
                    <a:pt x="388466" y="515080"/>
                    <a:pt x="388466" y="539557"/>
                    <a:pt x="388466" y="544997"/>
                  </a:cubicBezTo>
                  <a:cubicBezTo>
                    <a:pt x="388466" y="550436"/>
                    <a:pt x="388466" y="558595"/>
                    <a:pt x="388466" y="566754"/>
                  </a:cubicBezTo>
                  <a:cubicBezTo>
                    <a:pt x="388466" y="591231"/>
                    <a:pt x="388466" y="621147"/>
                    <a:pt x="391185" y="632026"/>
                  </a:cubicBezTo>
                  <a:cubicBezTo>
                    <a:pt x="393905" y="653783"/>
                    <a:pt x="393905" y="661942"/>
                    <a:pt x="393905" y="683699"/>
                  </a:cubicBezTo>
                  <a:cubicBezTo>
                    <a:pt x="393905" y="694578"/>
                    <a:pt x="393905" y="724494"/>
                    <a:pt x="377587" y="724494"/>
                  </a:cubicBezTo>
                  <a:cubicBezTo>
                    <a:pt x="369428" y="724494"/>
                    <a:pt x="366708" y="721774"/>
                    <a:pt x="361269" y="719054"/>
                  </a:cubicBezTo>
                  <a:cubicBezTo>
                    <a:pt x="355830" y="716335"/>
                    <a:pt x="353110" y="708176"/>
                    <a:pt x="353110" y="702737"/>
                  </a:cubicBezTo>
                  <a:cubicBezTo>
                    <a:pt x="350390" y="694578"/>
                    <a:pt x="350390" y="689138"/>
                    <a:pt x="350390" y="686419"/>
                  </a:cubicBezTo>
                  <a:cubicBezTo>
                    <a:pt x="350390" y="678260"/>
                    <a:pt x="353110" y="672820"/>
                    <a:pt x="353110" y="659222"/>
                  </a:cubicBezTo>
                  <a:lnTo>
                    <a:pt x="353110" y="656502"/>
                  </a:lnTo>
                  <a:cubicBezTo>
                    <a:pt x="347671" y="675540"/>
                    <a:pt x="334073" y="694578"/>
                    <a:pt x="317754" y="708176"/>
                  </a:cubicBezTo>
                  <a:cubicBezTo>
                    <a:pt x="293278" y="727214"/>
                    <a:pt x="274240" y="735372"/>
                    <a:pt x="241604" y="735372"/>
                  </a:cubicBezTo>
                  <a:cubicBezTo>
                    <a:pt x="222566" y="735372"/>
                    <a:pt x="203529" y="732653"/>
                    <a:pt x="187211" y="727214"/>
                  </a:cubicBezTo>
                  <a:cubicBezTo>
                    <a:pt x="165454" y="719054"/>
                    <a:pt x="149136" y="708176"/>
                    <a:pt x="135537" y="694578"/>
                  </a:cubicBezTo>
                  <a:cubicBezTo>
                    <a:pt x="113780" y="672820"/>
                    <a:pt x="100182" y="648343"/>
                    <a:pt x="86583" y="621147"/>
                  </a:cubicBezTo>
                  <a:cubicBezTo>
                    <a:pt x="75705" y="599390"/>
                    <a:pt x="70266" y="580352"/>
                    <a:pt x="67546" y="555875"/>
                  </a:cubicBezTo>
                  <a:cubicBezTo>
                    <a:pt x="64826" y="539557"/>
                    <a:pt x="62107" y="525959"/>
                    <a:pt x="59387" y="509641"/>
                  </a:cubicBezTo>
                  <a:cubicBezTo>
                    <a:pt x="56667" y="493323"/>
                    <a:pt x="59387" y="485164"/>
                    <a:pt x="59387" y="468846"/>
                  </a:cubicBezTo>
                  <a:cubicBezTo>
                    <a:pt x="59387" y="414453"/>
                    <a:pt x="72985" y="362780"/>
                    <a:pt x="86583" y="302947"/>
                  </a:cubicBezTo>
                  <a:cubicBezTo>
                    <a:pt x="92023" y="275751"/>
                    <a:pt x="100182" y="248554"/>
                    <a:pt x="108341" y="224077"/>
                  </a:cubicBezTo>
                  <a:cubicBezTo>
                    <a:pt x="116500" y="196881"/>
                    <a:pt x="130098" y="169684"/>
                    <a:pt x="146416" y="145207"/>
                  </a:cubicBezTo>
                  <a:cubicBezTo>
                    <a:pt x="160014" y="123450"/>
                    <a:pt x="176332" y="101693"/>
                    <a:pt x="198090" y="85375"/>
                  </a:cubicBezTo>
                  <a:cubicBezTo>
                    <a:pt x="206249" y="77216"/>
                    <a:pt x="217127" y="71776"/>
                    <a:pt x="228006" y="69057"/>
                  </a:cubicBezTo>
                  <a:cubicBezTo>
                    <a:pt x="241604" y="63618"/>
                    <a:pt x="255202" y="58178"/>
                    <a:pt x="268801" y="58178"/>
                  </a:cubicBezTo>
                  <a:cubicBezTo>
                    <a:pt x="271520" y="58178"/>
                    <a:pt x="274240" y="58178"/>
                    <a:pt x="274240" y="58178"/>
                  </a:cubicBezTo>
                  <a:cubicBezTo>
                    <a:pt x="279679" y="58178"/>
                    <a:pt x="285119" y="58178"/>
                    <a:pt x="295997" y="60898"/>
                  </a:cubicBezTo>
                  <a:cubicBezTo>
                    <a:pt x="309595" y="63618"/>
                    <a:pt x="320474" y="66337"/>
                    <a:pt x="331353" y="71776"/>
                  </a:cubicBezTo>
                  <a:cubicBezTo>
                    <a:pt x="339512" y="77216"/>
                    <a:pt x="347671" y="85375"/>
                    <a:pt x="350390" y="93534"/>
                  </a:cubicBezTo>
                  <a:cubicBezTo>
                    <a:pt x="350390" y="88095"/>
                    <a:pt x="353110" y="79936"/>
                    <a:pt x="353110" y="74496"/>
                  </a:cubicBezTo>
                  <a:cubicBezTo>
                    <a:pt x="355830" y="71776"/>
                    <a:pt x="355830" y="69057"/>
                    <a:pt x="358549" y="63618"/>
                  </a:cubicBezTo>
                  <a:cubicBezTo>
                    <a:pt x="361269" y="60898"/>
                    <a:pt x="363989" y="58178"/>
                    <a:pt x="366708" y="58178"/>
                  </a:cubicBezTo>
                  <a:cubicBezTo>
                    <a:pt x="369428" y="58178"/>
                    <a:pt x="372148" y="60898"/>
                    <a:pt x="374867" y="63618"/>
                  </a:cubicBezTo>
                  <a:cubicBezTo>
                    <a:pt x="377587" y="69057"/>
                    <a:pt x="380307" y="77216"/>
                    <a:pt x="383027" y="82655"/>
                  </a:cubicBezTo>
                  <a:cubicBezTo>
                    <a:pt x="383027" y="90814"/>
                    <a:pt x="385746" y="107132"/>
                    <a:pt x="385746" y="126170"/>
                  </a:cubicBezTo>
                  <a:cubicBezTo>
                    <a:pt x="385746" y="150647"/>
                    <a:pt x="385746" y="177843"/>
                    <a:pt x="388466" y="186002"/>
                  </a:cubicBezTo>
                  <a:cubicBezTo>
                    <a:pt x="391185" y="207759"/>
                    <a:pt x="391185" y="215918"/>
                    <a:pt x="391185" y="237676"/>
                  </a:cubicBezTo>
                  <a:cubicBezTo>
                    <a:pt x="391185" y="248554"/>
                    <a:pt x="391185" y="278470"/>
                    <a:pt x="374867" y="278470"/>
                  </a:cubicBezTo>
                  <a:cubicBezTo>
                    <a:pt x="366708" y="278470"/>
                    <a:pt x="363989" y="275751"/>
                    <a:pt x="358549" y="273031"/>
                  </a:cubicBezTo>
                  <a:cubicBezTo>
                    <a:pt x="353110" y="270311"/>
                    <a:pt x="350390" y="262152"/>
                    <a:pt x="350390" y="256713"/>
                  </a:cubicBezTo>
                  <a:cubicBezTo>
                    <a:pt x="350390" y="251274"/>
                    <a:pt x="347671" y="245834"/>
                    <a:pt x="347671" y="240395"/>
                  </a:cubicBezTo>
                  <a:cubicBezTo>
                    <a:pt x="347671" y="232236"/>
                    <a:pt x="347671" y="224077"/>
                    <a:pt x="347671" y="213199"/>
                  </a:cubicBezTo>
                  <a:cubicBezTo>
                    <a:pt x="347671" y="207759"/>
                    <a:pt x="347671" y="199600"/>
                    <a:pt x="344951" y="194161"/>
                  </a:cubicBezTo>
                  <a:cubicBezTo>
                    <a:pt x="342232" y="180563"/>
                    <a:pt x="342232" y="164245"/>
                    <a:pt x="339512" y="150647"/>
                  </a:cubicBezTo>
                  <a:cubicBezTo>
                    <a:pt x="336792" y="137048"/>
                    <a:pt x="331353" y="123450"/>
                    <a:pt x="323194" y="112571"/>
                  </a:cubicBezTo>
                  <a:cubicBezTo>
                    <a:pt x="317754" y="104412"/>
                    <a:pt x="304156" y="101693"/>
                    <a:pt x="293278" y="101693"/>
                  </a:cubicBezTo>
                  <a:cubicBezTo>
                    <a:pt x="279679" y="101693"/>
                    <a:pt x="271520" y="109852"/>
                    <a:pt x="263361" y="120730"/>
                  </a:cubicBezTo>
                  <a:cubicBezTo>
                    <a:pt x="257922" y="131609"/>
                    <a:pt x="247044" y="139768"/>
                    <a:pt x="241604" y="153366"/>
                  </a:cubicBezTo>
                  <a:cubicBezTo>
                    <a:pt x="236165" y="166964"/>
                    <a:pt x="233445" y="180563"/>
                    <a:pt x="233445" y="194161"/>
                  </a:cubicBezTo>
                  <a:cubicBezTo>
                    <a:pt x="233445" y="207759"/>
                    <a:pt x="230725" y="218638"/>
                    <a:pt x="225286" y="232236"/>
                  </a:cubicBezTo>
                  <a:cubicBezTo>
                    <a:pt x="219847" y="245834"/>
                    <a:pt x="219847" y="262152"/>
                    <a:pt x="217127" y="275751"/>
                  </a:cubicBezTo>
                  <a:cubicBezTo>
                    <a:pt x="214407" y="289349"/>
                    <a:pt x="214407" y="302947"/>
                    <a:pt x="211688" y="316545"/>
                  </a:cubicBezTo>
                  <a:cubicBezTo>
                    <a:pt x="211688" y="330144"/>
                    <a:pt x="206249" y="341022"/>
                    <a:pt x="206249" y="354621"/>
                  </a:cubicBezTo>
                  <a:cubicBezTo>
                    <a:pt x="203529" y="368219"/>
                    <a:pt x="203529" y="381817"/>
                    <a:pt x="200809" y="398135"/>
                  </a:cubicBezTo>
                  <a:cubicBezTo>
                    <a:pt x="198090" y="411733"/>
                    <a:pt x="198090" y="425332"/>
                    <a:pt x="195370" y="438930"/>
                  </a:cubicBezTo>
                  <a:cubicBezTo>
                    <a:pt x="195370" y="449809"/>
                    <a:pt x="192650" y="463407"/>
                    <a:pt x="192650" y="474286"/>
                  </a:cubicBezTo>
                  <a:cubicBezTo>
                    <a:pt x="192650" y="490603"/>
                    <a:pt x="195370" y="509641"/>
                    <a:pt x="195370" y="525959"/>
                  </a:cubicBezTo>
                  <a:cubicBezTo>
                    <a:pt x="195370" y="550436"/>
                    <a:pt x="203529" y="572193"/>
                    <a:pt x="208968" y="596670"/>
                  </a:cubicBezTo>
                  <a:cubicBezTo>
                    <a:pt x="211688" y="604829"/>
                    <a:pt x="211688" y="615708"/>
                    <a:pt x="214407" y="623867"/>
                  </a:cubicBezTo>
                  <a:cubicBezTo>
                    <a:pt x="217127" y="634745"/>
                    <a:pt x="222566" y="645624"/>
                    <a:pt x="228006" y="656502"/>
                  </a:cubicBezTo>
                  <a:cubicBezTo>
                    <a:pt x="236165" y="670101"/>
                    <a:pt x="252483" y="689138"/>
                    <a:pt x="271520" y="689138"/>
                  </a:cubicBezTo>
                  <a:cubicBezTo>
                    <a:pt x="287838" y="689138"/>
                    <a:pt x="298717" y="675540"/>
                    <a:pt x="306876" y="664661"/>
                  </a:cubicBezTo>
                  <a:cubicBezTo>
                    <a:pt x="320474" y="645624"/>
                    <a:pt x="325914" y="623867"/>
                    <a:pt x="331353" y="602109"/>
                  </a:cubicBezTo>
                  <a:cubicBezTo>
                    <a:pt x="334073" y="583072"/>
                    <a:pt x="336792" y="564034"/>
                    <a:pt x="336792" y="544997"/>
                  </a:cubicBezTo>
                  <a:cubicBezTo>
                    <a:pt x="336792" y="531398"/>
                    <a:pt x="336792" y="512361"/>
                    <a:pt x="336792" y="498762"/>
                  </a:cubicBezTo>
                  <a:cubicBezTo>
                    <a:pt x="336792" y="496043"/>
                    <a:pt x="336792" y="493323"/>
                    <a:pt x="336792" y="490603"/>
                  </a:cubicBezTo>
                  <a:cubicBezTo>
                    <a:pt x="336792" y="479725"/>
                    <a:pt x="336792" y="477005"/>
                    <a:pt x="320474" y="477005"/>
                  </a:cubicBezTo>
                  <a:cubicBezTo>
                    <a:pt x="309595" y="477005"/>
                    <a:pt x="295997" y="479725"/>
                    <a:pt x="282399" y="479725"/>
                  </a:cubicBezTo>
                  <a:cubicBezTo>
                    <a:pt x="271520" y="479725"/>
                    <a:pt x="260642" y="479725"/>
                    <a:pt x="252483" y="474286"/>
                  </a:cubicBezTo>
                  <a:cubicBezTo>
                    <a:pt x="249763" y="471566"/>
                    <a:pt x="247044" y="468846"/>
                    <a:pt x="247044" y="466126"/>
                  </a:cubicBezTo>
                  <a:cubicBezTo>
                    <a:pt x="247044" y="463407"/>
                    <a:pt x="247044" y="460687"/>
                    <a:pt x="249763" y="457968"/>
                  </a:cubicBezTo>
                  <a:cubicBezTo>
                    <a:pt x="255202" y="452528"/>
                    <a:pt x="260642" y="449809"/>
                    <a:pt x="268801" y="447089"/>
                  </a:cubicBezTo>
                  <a:cubicBezTo>
                    <a:pt x="282399" y="441650"/>
                    <a:pt x="295997" y="438930"/>
                    <a:pt x="312315" y="436210"/>
                  </a:cubicBezTo>
                  <a:cubicBezTo>
                    <a:pt x="325914" y="433491"/>
                    <a:pt x="339512" y="433491"/>
                    <a:pt x="353110" y="430771"/>
                  </a:cubicBezTo>
                  <a:cubicBezTo>
                    <a:pt x="363989" y="430771"/>
                    <a:pt x="374867" y="430771"/>
                    <a:pt x="385746" y="430771"/>
                  </a:cubicBezTo>
                  <a:cubicBezTo>
                    <a:pt x="402064" y="430771"/>
                    <a:pt x="426541" y="428051"/>
                    <a:pt x="437420" y="428051"/>
                  </a:cubicBezTo>
                  <a:cubicBezTo>
                    <a:pt x="451018" y="422612"/>
                    <a:pt x="464616" y="425332"/>
                    <a:pt x="464616" y="436210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7" name="Freeform: Shape 46">
              <a:extLst>
                <a:ext uri="{FF2B5EF4-FFF2-40B4-BE49-F238E27FC236}">
                  <a16:creationId xmlns:a16="http://schemas.microsoft.com/office/drawing/2014/main" id="{5D27D3A3-0135-48AE-8310-53F0B4338891}"/>
                </a:ext>
              </a:extLst>
            </p:cNvPr>
            <p:cNvSpPr/>
            <p:nvPr/>
          </p:nvSpPr>
          <p:spPr bwMode="black">
            <a:xfrm>
              <a:off x="9053923" y="4178559"/>
              <a:ext cx="625521" cy="788700"/>
            </a:xfrm>
            <a:custGeom>
              <a:avLst/>
              <a:gdLst>
                <a:gd name="connsiteX0" fmla="*/ 536838 w 625521"/>
                <a:gd name="connsiteY0" fmla="*/ 680979 h 788699"/>
                <a:gd name="connsiteX1" fmla="*/ 574913 w 625521"/>
                <a:gd name="connsiteY1" fmla="*/ 697297 h 788699"/>
                <a:gd name="connsiteX2" fmla="*/ 566755 w 625521"/>
                <a:gd name="connsiteY2" fmla="*/ 713615 h 788699"/>
                <a:gd name="connsiteX3" fmla="*/ 550437 w 625521"/>
                <a:gd name="connsiteY3" fmla="*/ 721774 h 788699"/>
                <a:gd name="connsiteX4" fmla="*/ 528680 w 625521"/>
                <a:gd name="connsiteY4" fmla="*/ 724494 h 788699"/>
                <a:gd name="connsiteX5" fmla="*/ 417174 w 625521"/>
                <a:gd name="connsiteY5" fmla="*/ 724494 h 788699"/>
                <a:gd name="connsiteX6" fmla="*/ 398136 w 625521"/>
                <a:gd name="connsiteY6" fmla="*/ 724494 h 788699"/>
                <a:gd name="connsiteX7" fmla="*/ 373659 w 625521"/>
                <a:gd name="connsiteY7" fmla="*/ 724494 h 788699"/>
                <a:gd name="connsiteX8" fmla="*/ 346462 w 625521"/>
                <a:gd name="connsiteY8" fmla="*/ 719054 h 788699"/>
                <a:gd name="connsiteX9" fmla="*/ 330144 w 625521"/>
                <a:gd name="connsiteY9" fmla="*/ 702737 h 788699"/>
                <a:gd name="connsiteX10" fmla="*/ 335584 w 625521"/>
                <a:gd name="connsiteY10" fmla="*/ 694578 h 788699"/>
                <a:gd name="connsiteX11" fmla="*/ 357341 w 625521"/>
                <a:gd name="connsiteY11" fmla="*/ 686419 h 788699"/>
                <a:gd name="connsiteX12" fmla="*/ 395416 w 625521"/>
                <a:gd name="connsiteY12" fmla="*/ 680979 h 788699"/>
                <a:gd name="connsiteX13" fmla="*/ 381817 w 625521"/>
                <a:gd name="connsiteY13" fmla="*/ 656502 h 788699"/>
                <a:gd name="connsiteX14" fmla="*/ 379098 w 625521"/>
                <a:gd name="connsiteY14" fmla="*/ 585791 h 788699"/>
                <a:gd name="connsiteX15" fmla="*/ 379098 w 625521"/>
                <a:gd name="connsiteY15" fmla="*/ 517800 h 788699"/>
                <a:gd name="connsiteX16" fmla="*/ 379098 w 625521"/>
                <a:gd name="connsiteY16" fmla="*/ 474286 h 788699"/>
                <a:gd name="connsiteX17" fmla="*/ 379098 w 625521"/>
                <a:gd name="connsiteY17" fmla="*/ 430771 h 788699"/>
                <a:gd name="connsiteX18" fmla="*/ 381817 w 625521"/>
                <a:gd name="connsiteY18" fmla="*/ 411733 h 788699"/>
                <a:gd name="connsiteX19" fmla="*/ 379098 w 625521"/>
                <a:gd name="connsiteY19" fmla="*/ 400855 h 788699"/>
                <a:gd name="connsiteX20" fmla="*/ 370939 w 625521"/>
                <a:gd name="connsiteY20" fmla="*/ 398135 h 788699"/>
                <a:gd name="connsiteX21" fmla="*/ 338304 w 625521"/>
                <a:gd name="connsiteY21" fmla="*/ 400855 h 788699"/>
                <a:gd name="connsiteX22" fmla="*/ 289349 w 625521"/>
                <a:gd name="connsiteY22" fmla="*/ 403575 h 788699"/>
                <a:gd name="connsiteX23" fmla="*/ 264872 w 625521"/>
                <a:gd name="connsiteY23" fmla="*/ 400855 h 788699"/>
                <a:gd name="connsiteX24" fmla="*/ 259433 w 625521"/>
                <a:gd name="connsiteY24" fmla="*/ 406294 h 788699"/>
                <a:gd name="connsiteX25" fmla="*/ 259433 w 625521"/>
                <a:gd name="connsiteY25" fmla="*/ 425332 h 788699"/>
                <a:gd name="connsiteX26" fmla="*/ 259433 w 625521"/>
                <a:gd name="connsiteY26" fmla="*/ 449809 h 788699"/>
                <a:gd name="connsiteX27" fmla="*/ 259433 w 625521"/>
                <a:gd name="connsiteY27" fmla="*/ 471566 h 788699"/>
                <a:gd name="connsiteX28" fmla="*/ 259433 w 625521"/>
                <a:gd name="connsiteY28" fmla="*/ 504202 h 788699"/>
                <a:gd name="connsiteX29" fmla="*/ 259433 w 625521"/>
                <a:gd name="connsiteY29" fmla="*/ 509641 h 788699"/>
                <a:gd name="connsiteX30" fmla="*/ 256714 w 625521"/>
                <a:gd name="connsiteY30" fmla="*/ 542277 h 788699"/>
                <a:gd name="connsiteX31" fmla="*/ 256714 w 625521"/>
                <a:gd name="connsiteY31" fmla="*/ 577632 h 788699"/>
                <a:gd name="connsiteX32" fmla="*/ 256714 w 625521"/>
                <a:gd name="connsiteY32" fmla="*/ 612988 h 788699"/>
                <a:gd name="connsiteX33" fmla="*/ 253994 w 625521"/>
                <a:gd name="connsiteY33" fmla="*/ 656502 h 788699"/>
                <a:gd name="connsiteX34" fmla="*/ 256714 w 625521"/>
                <a:gd name="connsiteY34" fmla="*/ 678260 h 788699"/>
                <a:gd name="connsiteX35" fmla="*/ 286629 w 625521"/>
                <a:gd name="connsiteY35" fmla="*/ 694578 h 788699"/>
                <a:gd name="connsiteX36" fmla="*/ 281191 w 625521"/>
                <a:gd name="connsiteY36" fmla="*/ 710895 h 788699"/>
                <a:gd name="connsiteX37" fmla="*/ 264872 w 625521"/>
                <a:gd name="connsiteY37" fmla="*/ 719054 h 788699"/>
                <a:gd name="connsiteX38" fmla="*/ 243116 w 625521"/>
                <a:gd name="connsiteY38" fmla="*/ 721774 h 788699"/>
                <a:gd name="connsiteX39" fmla="*/ 243116 w 625521"/>
                <a:gd name="connsiteY39" fmla="*/ 721774 h 788699"/>
                <a:gd name="connsiteX40" fmla="*/ 232236 w 625521"/>
                <a:gd name="connsiteY40" fmla="*/ 727214 h 788699"/>
                <a:gd name="connsiteX41" fmla="*/ 224078 w 625521"/>
                <a:gd name="connsiteY41" fmla="*/ 735372 h 788699"/>
                <a:gd name="connsiteX42" fmla="*/ 213199 w 625521"/>
                <a:gd name="connsiteY42" fmla="*/ 738092 h 788699"/>
                <a:gd name="connsiteX43" fmla="*/ 183283 w 625521"/>
                <a:gd name="connsiteY43" fmla="*/ 727214 h 788699"/>
                <a:gd name="connsiteX44" fmla="*/ 175124 w 625521"/>
                <a:gd name="connsiteY44" fmla="*/ 719054 h 788699"/>
                <a:gd name="connsiteX45" fmla="*/ 145208 w 625521"/>
                <a:gd name="connsiteY45" fmla="*/ 719054 h 788699"/>
                <a:gd name="connsiteX46" fmla="*/ 126170 w 625521"/>
                <a:gd name="connsiteY46" fmla="*/ 719054 h 788699"/>
                <a:gd name="connsiteX47" fmla="*/ 101693 w 625521"/>
                <a:gd name="connsiteY47" fmla="*/ 719054 h 788699"/>
                <a:gd name="connsiteX48" fmla="*/ 74496 w 625521"/>
                <a:gd name="connsiteY48" fmla="*/ 713615 h 788699"/>
                <a:gd name="connsiteX49" fmla="*/ 58178 w 625521"/>
                <a:gd name="connsiteY49" fmla="*/ 697297 h 788699"/>
                <a:gd name="connsiteX50" fmla="*/ 63618 w 625521"/>
                <a:gd name="connsiteY50" fmla="*/ 689138 h 788699"/>
                <a:gd name="connsiteX51" fmla="*/ 85375 w 625521"/>
                <a:gd name="connsiteY51" fmla="*/ 680979 h 788699"/>
                <a:gd name="connsiteX52" fmla="*/ 131609 w 625521"/>
                <a:gd name="connsiteY52" fmla="*/ 675540 h 788699"/>
                <a:gd name="connsiteX53" fmla="*/ 131609 w 625521"/>
                <a:gd name="connsiteY53" fmla="*/ 667381 h 788699"/>
                <a:gd name="connsiteX54" fmla="*/ 131609 w 625521"/>
                <a:gd name="connsiteY54" fmla="*/ 651063 h 788699"/>
                <a:gd name="connsiteX55" fmla="*/ 131609 w 625521"/>
                <a:gd name="connsiteY55" fmla="*/ 618427 h 788699"/>
                <a:gd name="connsiteX56" fmla="*/ 131609 w 625521"/>
                <a:gd name="connsiteY56" fmla="*/ 580352 h 788699"/>
                <a:gd name="connsiteX57" fmla="*/ 131609 w 625521"/>
                <a:gd name="connsiteY57" fmla="*/ 531398 h 788699"/>
                <a:gd name="connsiteX58" fmla="*/ 131609 w 625521"/>
                <a:gd name="connsiteY58" fmla="*/ 466126 h 788699"/>
                <a:gd name="connsiteX59" fmla="*/ 131609 w 625521"/>
                <a:gd name="connsiteY59" fmla="*/ 422612 h 788699"/>
                <a:gd name="connsiteX60" fmla="*/ 131609 w 625521"/>
                <a:gd name="connsiteY60" fmla="*/ 411733 h 788699"/>
                <a:gd name="connsiteX61" fmla="*/ 131609 w 625521"/>
                <a:gd name="connsiteY61" fmla="*/ 398135 h 788699"/>
                <a:gd name="connsiteX62" fmla="*/ 126170 w 625521"/>
                <a:gd name="connsiteY62" fmla="*/ 389976 h 788699"/>
                <a:gd name="connsiteX63" fmla="*/ 101693 w 625521"/>
                <a:gd name="connsiteY63" fmla="*/ 387257 h 788699"/>
                <a:gd name="connsiteX64" fmla="*/ 77216 w 625521"/>
                <a:gd name="connsiteY64" fmla="*/ 376378 h 788699"/>
                <a:gd name="connsiteX65" fmla="*/ 82655 w 625521"/>
                <a:gd name="connsiteY65" fmla="*/ 368219 h 788699"/>
                <a:gd name="connsiteX66" fmla="*/ 98973 w 625521"/>
                <a:gd name="connsiteY66" fmla="*/ 360060 h 788699"/>
                <a:gd name="connsiteX67" fmla="*/ 118011 w 625521"/>
                <a:gd name="connsiteY67" fmla="*/ 357340 h 788699"/>
                <a:gd name="connsiteX68" fmla="*/ 131609 w 625521"/>
                <a:gd name="connsiteY68" fmla="*/ 351901 h 788699"/>
                <a:gd name="connsiteX69" fmla="*/ 131609 w 625521"/>
                <a:gd name="connsiteY69" fmla="*/ 343742 h 788699"/>
                <a:gd name="connsiteX70" fmla="*/ 131609 w 625521"/>
                <a:gd name="connsiteY70" fmla="*/ 270311 h 788699"/>
                <a:gd name="connsiteX71" fmla="*/ 137048 w 625521"/>
                <a:gd name="connsiteY71" fmla="*/ 145207 h 788699"/>
                <a:gd name="connsiteX72" fmla="*/ 139768 w 625521"/>
                <a:gd name="connsiteY72" fmla="*/ 123450 h 788699"/>
                <a:gd name="connsiteX73" fmla="*/ 123450 w 625521"/>
                <a:gd name="connsiteY73" fmla="*/ 123450 h 788699"/>
                <a:gd name="connsiteX74" fmla="*/ 118011 w 625521"/>
                <a:gd name="connsiteY74" fmla="*/ 123450 h 788699"/>
                <a:gd name="connsiteX75" fmla="*/ 101693 w 625521"/>
                <a:gd name="connsiteY75" fmla="*/ 123450 h 788699"/>
                <a:gd name="connsiteX76" fmla="*/ 74496 w 625521"/>
                <a:gd name="connsiteY76" fmla="*/ 118011 h 788699"/>
                <a:gd name="connsiteX77" fmla="*/ 58178 w 625521"/>
                <a:gd name="connsiteY77" fmla="*/ 101693 h 788699"/>
                <a:gd name="connsiteX78" fmla="*/ 63618 w 625521"/>
                <a:gd name="connsiteY78" fmla="*/ 93534 h 788699"/>
                <a:gd name="connsiteX79" fmla="*/ 85375 w 625521"/>
                <a:gd name="connsiteY79" fmla="*/ 85375 h 788699"/>
                <a:gd name="connsiteX80" fmla="*/ 137048 w 625521"/>
                <a:gd name="connsiteY80" fmla="*/ 82655 h 788699"/>
                <a:gd name="connsiteX81" fmla="*/ 147927 w 625521"/>
                <a:gd name="connsiteY81" fmla="*/ 82655 h 788699"/>
                <a:gd name="connsiteX82" fmla="*/ 186003 w 625521"/>
                <a:gd name="connsiteY82" fmla="*/ 58178 h 788699"/>
                <a:gd name="connsiteX83" fmla="*/ 226797 w 625521"/>
                <a:gd name="connsiteY83" fmla="*/ 79936 h 788699"/>
                <a:gd name="connsiteX84" fmla="*/ 253994 w 625521"/>
                <a:gd name="connsiteY84" fmla="*/ 79936 h 788699"/>
                <a:gd name="connsiteX85" fmla="*/ 294789 w 625521"/>
                <a:gd name="connsiteY85" fmla="*/ 96253 h 788699"/>
                <a:gd name="connsiteX86" fmla="*/ 283910 w 625521"/>
                <a:gd name="connsiteY86" fmla="*/ 112571 h 788699"/>
                <a:gd name="connsiteX87" fmla="*/ 267592 w 625521"/>
                <a:gd name="connsiteY87" fmla="*/ 120730 h 788699"/>
                <a:gd name="connsiteX88" fmla="*/ 245835 w 625521"/>
                <a:gd name="connsiteY88" fmla="*/ 123450 h 788699"/>
                <a:gd name="connsiteX89" fmla="*/ 237676 w 625521"/>
                <a:gd name="connsiteY89" fmla="*/ 123450 h 788699"/>
                <a:gd name="connsiteX90" fmla="*/ 240396 w 625521"/>
                <a:gd name="connsiteY90" fmla="*/ 128889 h 788699"/>
                <a:gd name="connsiteX91" fmla="*/ 251274 w 625521"/>
                <a:gd name="connsiteY91" fmla="*/ 177843 h 788699"/>
                <a:gd name="connsiteX92" fmla="*/ 256714 w 625521"/>
                <a:gd name="connsiteY92" fmla="*/ 226797 h 788699"/>
                <a:gd name="connsiteX93" fmla="*/ 262153 w 625521"/>
                <a:gd name="connsiteY93" fmla="*/ 273031 h 788699"/>
                <a:gd name="connsiteX94" fmla="*/ 262153 w 625521"/>
                <a:gd name="connsiteY94" fmla="*/ 289349 h 788699"/>
                <a:gd name="connsiteX95" fmla="*/ 262153 w 625521"/>
                <a:gd name="connsiteY95" fmla="*/ 297508 h 788699"/>
                <a:gd name="connsiteX96" fmla="*/ 264872 w 625521"/>
                <a:gd name="connsiteY96" fmla="*/ 321985 h 788699"/>
                <a:gd name="connsiteX97" fmla="*/ 270312 w 625521"/>
                <a:gd name="connsiteY97" fmla="*/ 335583 h 788699"/>
                <a:gd name="connsiteX98" fmla="*/ 270312 w 625521"/>
                <a:gd name="connsiteY98" fmla="*/ 338303 h 788699"/>
                <a:gd name="connsiteX99" fmla="*/ 270312 w 625521"/>
                <a:gd name="connsiteY99" fmla="*/ 346462 h 788699"/>
                <a:gd name="connsiteX100" fmla="*/ 278471 w 625521"/>
                <a:gd name="connsiteY100" fmla="*/ 354621 h 788699"/>
                <a:gd name="connsiteX101" fmla="*/ 338304 w 625521"/>
                <a:gd name="connsiteY101" fmla="*/ 349181 h 788699"/>
                <a:gd name="connsiteX102" fmla="*/ 365500 w 625521"/>
                <a:gd name="connsiteY102" fmla="*/ 349181 h 788699"/>
                <a:gd name="connsiteX103" fmla="*/ 381817 w 625521"/>
                <a:gd name="connsiteY103" fmla="*/ 349181 h 788699"/>
                <a:gd name="connsiteX104" fmla="*/ 392697 w 625521"/>
                <a:gd name="connsiteY104" fmla="*/ 338303 h 788699"/>
                <a:gd name="connsiteX105" fmla="*/ 389977 w 625521"/>
                <a:gd name="connsiteY105" fmla="*/ 313826 h 788699"/>
                <a:gd name="connsiteX106" fmla="*/ 392697 w 625521"/>
                <a:gd name="connsiteY106" fmla="*/ 262152 h 788699"/>
                <a:gd name="connsiteX107" fmla="*/ 395416 w 625521"/>
                <a:gd name="connsiteY107" fmla="*/ 224077 h 788699"/>
                <a:gd name="connsiteX108" fmla="*/ 398136 w 625521"/>
                <a:gd name="connsiteY108" fmla="*/ 177843 h 788699"/>
                <a:gd name="connsiteX109" fmla="*/ 395416 w 625521"/>
                <a:gd name="connsiteY109" fmla="*/ 153366 h 788699"/>
                <a:gd name="connsiteX110" fmla="*/ 395416 w 625521"/>
                <a:gd name="connsiteY110" fmla="*/ 137048 h 788699"/>
                <a:gd name="connsiteX111" fmla="*/ 379098 w 625521"/>
                <a:gd name="connsiteY111" fmla="*/ 137048 h 788699"/>
                <a:gd name="connsiteX112" fmla="*/ 351902 w 625521"/>
                <a:gd name="connsiteY112" fmla="*/ 131609 h 788699"/>
                <a:gd name="connsiteX113" fmla="*/ 338304 w 625521"/>
                <a:gd name="connsiteY113" fmla="*/ 115291 h 788699"/>
                <a:gd name="connsiteX114" fmla="*/ 343742 w 625521"/>
                <a:gd name="connsiteY114" fmla="*/ 107132 h 788699"/>
                <a:gd name="connsiteX115" fmla="*/ 362780 w 625521"/>
                <a:gd name="connsiteY115" fmla="*/ 98973 h 788699"/>
                <a:gd name="connsiteX116" fmla="*/ 395416 w 625521"/>
                <a:gd name="connsiteY116" fmla="*/ 96253 h 788699"/>
                <a:gd name="connsiteX117" fmla="*/ 403575 w 625521"/>
                <a:gd name="connsiteY117" fmla="*/ 90814 h 788699"/>
                <a:gd name="connsiteX118" fmla="*/ 422612 w 625521"/>
                <a:gd name="connsiteY118" fmla="*/ 88095 h 788699"/>
                <a:gd name="connsiteX119" fmla="*/ 428052 w 625521"/>
                <a:gd name="connsiteY119" fmla="*/ 88095 h 788699"/>
                <a:gd name="connsiteX120" fmla="*/ 447090 w 625521"/>
                <a:gd name="connsiteY120" fmla="*/ 90814 h 788699"/>
                <a:gd name="connsiteX121" fmla="*/ 455249 w 625521"/>
                <a:gd name="connsiteY121" fmla="*/ 96253 h 788699"/>
                <a:gd name="connsiteX122" fmla="*/ 525960 w 625521"/>
                <a:gd name="connsiteY122" fmla="*/ 93534 h 788699"/>
                <a:gd name="connsiteX123" fmla="*/ 561315 w 625521"/>
                <a:gd name="connsiteY123" fmla="*/ 109852 h 788699"/>
                <a:gd name="connsiteX124" fmla="*/ 555876 w 625521"/>
                <a:gd name="connsiteY124" fmla="*/ 126170 h 788699"/>
                <a:gd name="connsiteX125" fmla="*/ 539558 w 625521"/>
                <a:gd name="connsiteY125" fmla="*/ 134329 h 788699"/>
                <a:gd name="connsiteX126" fmla="*/ 517800 w 625521"/>
                <a:gd name="connsiteY126" fmla="*/ 137048 h 788699"/>
                <a:gd name="connsiteX127" fmla="*/ 477006 w 625521"/>
                <a:gd name="connsiteY127" fmla="*/ 137048 h 788699"/>
                <a:gd name="connsiteX128" fmla="*/ 485165 w 625521"/>
                <a:gd name="connsiteY128" fmla="*/ 161525 h 788699"/>
                <a:gd name="connsiteX129" fmla="*/ 496043 w 625521"/>
                <a:gd name="connsiteY129" fmla="*/ 210479 h 788699"/>
                <a:gd name="connsiteX130" fmla="*/ 501483 w 625521"/>
                <a:gd name="connsiteY130" fmla="*/ 251274 h 788699"/>
                <a:gd name="connsiteX131" fmla="*/ 506922 w 625521"/>
                <a:gd name="connsiteY131" fmla="*/ 292069 h 788699"/>
                <a:gd name="connsiteX132" fmla="*/ 506922 w 625521"/>
                <a:gd name="connsiteY132" fmla="*/ 321985 h 788699"/>
                <a:gd name="connsiteX133" fmla="*/ 509642 w 625521"/>
                <a:gd name="connsiteY133" fmla="*/ 341022 h 788699"/>
                <a:gd name="connsiteX134" fmla="*/ 509642 w 625521"/>
                <a:gd name="connsiteY134" fmla="*/ 343742 h 788699"/>
                <a:gd name="connsiteX135" fmla="*/ 517800 w 625521"/>
                <a:gd name="connsiteY135" fmla="*/ 349181 h 788699"/>
                <a:gd name="connsiteX136" fmla="*/ 528680 w 625521"/>
                <a:gd name="connsiteY136" fmla="*/ 349181 h 788699"/>
                <a:gd name="connsiteX137" fmla="*/ 550437 w 625521"/>
                <a:gd name="connsiteY137" fmla="*/ 357340 h 788699"/>
                <a:gd name="connsiteX138" fmla="*/ 550437 w 625521"/>
                <a:gd name="connsiteY138" fmla="*/ 362780 h 788699"/>
                <a:gd name="connsiteX139" fmla="*/ 534119 w 625521"/>
                <a:gd name="connsiteY139" fmla="*/ 384537 h 788699"/>
                <a:gd name="connsiteX140" fmla="*/ 520520 w 625521"/>
                <a:gd name="connsiteY140" fmla="*/ 389976 h 788699"/>
                <a:gd name="connsiteX141" fmla="*/ 512362 w 625521"/>
                <a:gd name="connsiteY141" fmla="*/ 395415 h 788699"/>
                <a:gd name="connsiteX142" fmla="*/ 512362 w 625521"/>
                <a:gd name="connsiteY142" fmla="*/ 398135 h 788699"/>
                <a:gd name="connsiteX143" fmla="*/ 512362 w 625521"/>
                <a:gd name="connsiteY143" fmla="*/ 409014 h 788699"/>
                <a:gd name="connsiteX144" fmla="*/ 512362 w 625521"/>
                <a:gd name="connsiteY144" fmla="*/ 414453 h 788699"/>
                <a:gd name="connsiteX145" fmla="*/ 512362 w 625521"/>
                <a:gd name="connsiteY145" fmla="*/ 438930 h 788699"/>
                <a:gd name="connsiteX146" fmla="*/ 515081 w 625521"/>
                <a:gd name="connsiteY146" fmla="*/ 504202 h 788699"/>
                <a:gd name="connsiteX147" fmla="*/ 520520 w 625521"/>
                <a:gd name="connsiteY147" fmla="*/ 572193 h 788699"/>
                <a:gd name="connsiteX148" fmla="*/ 517800 w 625521"/>
                <a:gd name="connsiteY148" fmla="*/ 604829 h 788699"/>
                <a:gd name="connsiteX149" fmla="*/ 512362 w 625521"/>
                <a:gd name="connsiteY149" fmla="*/ 661942 h 788699"/>
                <a:gd name="connsiteX150" fmla="*/ 509642 w 625521"/>
                <a:gd name="connsiteY150" fmla="*/ 670101 h 788699"/>
                <a:gd name="connsiteX151" fmla="*/ 512362 w 625521"/>
                <a:gd name="connsiteY151" fmla="*/ 680979 h 788699"/>
                <a:gd name="connsiteX152" fmla="*/ 512362 w 625521"/>
                <a:gd name="connsiteY152" fmla="*/ 686419 h 788699"/>
                <a:gd name="connsiteX153" fmla="*/ 536838 w 625521"/>
                <a:gd name="connsiteY153" fmla="*/ 680979 h 788699"/>
                <a:gd name="connsiteX154" fmla="*/ 536838 w 625521"/>
                <a:gd name="connsiteY154" fmla="*/ 680979 h 7886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</a:cxnLst>
              <a:rect l="l" t="t" r="r" b="b"/>
              <a:pathLst>
                <a:path w="625521" h="788699">
                  <a:moveTo>
                    <a:pt x="536838" y="680979"/>
                  </a:moveTo>
                  <a:cubicBezTo>
                    <a:pt x="550437" y="680979"/>
                    <a:pt x="574913" y="680979"/>
                    <a:pt x="574913" y="697297"/>
                  </a:cubicBezTo>
                  <a:cubicBezTo>
                    <a:pt x="574913" y="705456"/>
                    <a:pt x="572194" y="708176"/>
                    <a:pt x="566755" y="713615"/>
                  </a:cubicBezTo>
                  <a:cubicBezTo>
                    <a:pt x="561315" y="719054"/>
                    <a:pt x="555876" y="721774"/>
                    <a:pt x="550437" y="721774"/>
                  </a:cubicBezTo>
                  <a:cubicBezTo>
                    <a:pt x="539558" y="724494"/>
                    <a:pt x="534119" y="724494"/>
                    <a:pt x="528680" y="724494"/>
                  </a:cubicBezTo>
                  <a:cubicBezTo>
                    <a:pt x="517800" y="724494"/>
                    <a:pt x="428052" y="724494"/>
                    <a:pt x="417174" y="724494"/>
                  </a:cubicBezTo>
                  <a:cubicBezTo>
                    <a:pt x="403575" y="724494"/>
                    <a:pt x="414454" y="724494"/>
                    <a:pt x="398136" y="724494"/>
                  </a:cubicBezTo>
                  <a:cubicBezTo>
                    <a:pt x="389977" y="724494"/>
                    <a:pt x="381817" y="724494"/>
                    <a:pt x="373659" y="724494"/>
                  </a:cubicBezTo>
                  <a:cubicBezTo>
                    <a:pt x="365500" y="724494"/>
                    <a:pt x="354621" y="721774"/>
                    <a:pt x="346462" y="719054"/>
                  </a:cubicBezTo>
                  <a:cubicBezTo>
                    <a:pt x="338304" y="716335"/>
                    <a:pt x="330144" y="708176"/>
                    <a:pt x="330144" y="702737"/>
                  </a:cubicBezTo>
                  <a:cubicBezTo>
                    <a:pt x="330144" y="700017"/>
                    <a:pt x="330144" y="697297"/>
                    <a:pt x="335584" y="694578"/>
                  </a:cubicBezTo>
                  <a:cubicBezTo>
                    <a:pt x="341023" y="691858"/>
                    <a:pt x="351902" y="689138"/>
                    <a:pt x="357341" y="686419"/>
                  </a:cubicBezTo>
                  <a:cubicBezTo>
                    <a:pt x="373659" y="683699"/>
                    <a:pt x="387257" y="680979"/>
                    <a:pt x="395416" y="680979"/>
                  </a:cubicBezTo>
                  <a:cubicBezTo>
                    <a:pt x="387257" y="675540"/>
                    <a:pt x="384537" y="670101"/>
                    <a:pt x="381817" y="656502"/>
                  </a:cubicBezTo>
                  <a:cubicBezTo>
                    <a:pt x="379098" y="632026"/>
                    <a:pt x="379098" y="610268"/>
                    <a:pt x="379098" y="585791"/>
                  </a:cubicBezTo>
                  <a:cubicBezTo>
                    <a:pt x="379098" y="564034"/>
                    <a:pt x="379098" y="542277"/>
                    <a:pt x="379098" y="517800"/>
                  </a:cubicBezTo>
                  <a:cubicBezTo>
                    <a:pt x="379098" y="504202"/>
                    <a:pt x="379098" y="487884"/>
                    <a:pt x="379098" y="474286"/>
                  </a:cubicBezTo>
                  <a:cubicBezTo>
                    <a:pt x="379098" y="457968"/>
                    <a:pt x="376379" y="444369"/>
                    <a:pt x="379098" y="430771"/>
                  </a:cubicBezTo>
                  <a:cubicBezTo>
                    <a:pt x="379098" y="425332"/>
                    <a:pt x="381817" y="417173"/>
                    <a:pt x="381817" y="411733"/>
                  </a:cubicBezTo>
                  <a:cubicBezTo>
                    <a:pt x="381817" y="406294"/>
                    <a:pt x="381817" y="403575"/>
                    <a:pt x="379098" y="400855"/>
                  </a:cubicBezTo>
                  <a:cubicBezTo>
                    <a:pt x="376379" y="400855"/>
                    <a:pt x="373659" y="398135"/>
                    <a:pt x="370939" y="398135"/>
                  </a:cubicBezTo>
                  <a:cubicBezTo>
                    <a:pt x="360061" y="398135"/>
                    <a:pt x="343742" y="400855"/>
                    <a:pt x="338304" y="400855"/>
                  </a:cubicBezTo>
                  <a:cubicBezTo>
                    <a:pt x="330144" y="400855"/>
                    <a:pt x="319266" y="403575"/>
                    <a:pt x="289349" y="403575"/>
                  </a:cubicBezTo>
                  <a:cubicBezTo>
                    <a:pt x="275751" y="403575"/>
                    <a:pt x="267592" y="400855"/>
                    <a:pt x="264872" y="400855"/>
                  </a:cubicBezTo>
                  <a:cubicBezTo>
                    <a:pt x="262153" y="400855"/>
                    <a:pt x="259433" y="400855"/>
                    <a:pt x="259433" y="406294"/>
                  </a:cubicBezTo>
                  <a:cubicBezTo>
                    <a:pt x="259433" y="414453"/>
                    <a:pt x="259433" y="419892"/>
                    <a:pt x="259433" y="425332"/>
                  </a:cubicBezTo>
                  <a:cubicBezTo>
                    <a:pt x="259433" y="433491"/>
                    <a:pt x="259433" y="441650"/>
                    <a:pt x="259433" y="449809"/>
                  </a:cubicBezTo>
                  <a:cubicBezTo>
                    <a:pt x="259433" y="457968"/>
                    <a:pt x="259433" y="463407"/>
                    <a:pt x="259433" y="471566"/>
                  </a:cubicBezTo>
                  <a:cubicBezTo>
                    <a:pt x="259433" y="482445"/>
                    <a:pt x="259433" y="493323"/>
                    <a:pt x="259433" y="504202"/>
                  </a:cubicBezTo>
                  <a:cubicBezTo>
                    <a:pt x="259433" y="506921"/>
                    <a:pt x="259433" y="506921"/>
                    <a:pt x="259433" y="509641"/>
                  </a:cubicBezTo>
                  <a:cubicBezTo>
                    <a:pt x="259433" y="520520"/>
                    <a:pt x="256714" y="531398"/>
                    <a:pt x="256714" y="542277"/>
                  </a:cubicBezTo>
                  <a:cubicBezTo>
                    <a:pt x="256714" y="553156"/>
                    <a:pt x="256714" y="566754"/>
                    <a:pt x="256714" y="577632"/>
                  </a:cubicBezTo>
                  <a:cubicBezTo>
                    <a:pt x="256714" y="588511"/>
                    <a:pt x="256714" y="599390"/>
                    <a:pt x="256714" y="612988"/>
                  </a:cubicBezTo>
                  <a:cubicBezTo>
                    <a:pt x="256714" y="629306"/>
                    <a:pt x="253994" y="642904"/>
                    <a:pt x="253994" y="656502"/>
                  </a:cubicBezTo>
                  <a:cubicBezTo>
                    <a:pt x="253994" y="664661"/>
                    <a:pt x="256714" y="672820"/>
                    <a:pt x="256714" y="678260"/>
                  </a:cubicBezTo>
                  <a:cubicBezTo>
                    <a:pt x="270312" y="678260"/>
                    <a:pt x="286629" y="680979"/>
                    <a:pt x="286629" y="694578"/>
                  </a:cubicBezTo>
                  <a:cubicBezTo>
                    <a:pt x="286629" y="702737"/>
                    <a:pt x="283910" y="705456"/>
                    <a:pt x="281191" y="710895"/>
                  </a:cubicBezTo>
                  <a:cubicBezTo>
                    <a:pt x="275751" y="716335"/>
                    <a:pt x="270312" y="719054"/>
                    <a:pt x="264872" y="719054"/>
                  </a:cubicBezTo>
                  <a:cubicBezTo>
                    <a:pt x="256714" y="721774"/>
                    <a:pt x="248554" y="721774"/>
                    <a:pt x="243116" y="721774"/>
                  </a:cubicBezTo>
                  <a:cubicBezTo>
                    <a:pt x="243116" y="721774"/>
                    <a:pt x="243116" y="721774"/>
                    <a:pt x="243116" y="721774"/>
                  </a:cubicBezTo>
                  <a:cubicBezTo>
                    <a:pt x="237676" y="724494"/>
                    <a:pt x="237676" y="724494"/>
                    <a:pt x="232236" y="727214"/>
                  </a:cubicBezTo>
                  <a:cubicBezTo>
                    <a:pt x="229517" y="729933"/>
                    <a:pt x="229517" y="732653"/>
                    <a:pt x="224078" y="735372"/>
                  </a:cubicBezTo>
                  <a:cubicBezTo>
                    <a:pt x="221358" y="738092"/>
                    <a:pt x="215919" y="738092"/>
                    <a:pt x="213199" y="738092"/>
                  </a:cubicBezTo>
                  <a:cubicBezTo>
                    <a:pt x="199601" y="738092"/>
                    <a:pt x="188722" y="735372"/>
                    <a:pt x="183283" y="727214"/>
                  </a:cubicBezTo>
                  <a:cubicBezTo>
                    <a:pt x="180563" y="724494"/>
                    <a:pt x="177843" y="721774"/>
                    <a:pt x="175124" y="719054"/>
                  </a:cubicBezTo>
                  <a:cubicBezTo>
                    <a:pt x="161526" y="719054"/>
                    <a:pt x="150646" y="719054"/>
                    <a:pt x="145208" y="719054"/>
                  </a:cubicBezTo>
                  <a:cubicBezTo>
                    <a:pt x="131609" y="719054"/>
                    <a:pt x="142488" y="719054"/>
                    <a:pt x="126170" y="719054"/>
                  </a:cubicBezTo>
                  <a:cubicBezTo>
                    <a:pt x="118011" y="719054"/>
                    <a:pt x="109852" y="719054"/>
                    <a:pt x="101693" y="719054"/>
                  </a:cubicBezTo>
                  <a:cubicBezTo>
                    <a:pt x="93534" y="719054"/>
                    <a:pt x="82655" y="719054"/>
                    <a:pt x="74496" y="713615"/>
                  </a:cubicBezTo>
                  <a:cubicBezTo>
                    <a:pt x="66338" y="710895"/>
                    <a:pt x="58178" y="702737"/>
                    <a:pt x="58178" y="697297"/>
                  </a:cubicBezTo>
                  <a:cubicBezTo>
                    <a:pt x="58178" y="694578"/>
                    <a:pt x="58178" y="691858"/>
                    <a:pt x="63618" y="689138"/>
                  </a:cubicBezTo>
                  <a:cubicBezTo>
                    <a:pt x="69057" y="686419"/>
                    <a:pt x="79936" y="683699"/>
                    <a:pt x="85375" y="680979"/>
                  </a:cubicBezTo>
                  <a:cubicBezTo>
                    <a:pt x="98973" y="678260"/>
                    <a:pt x="118011" y="678260"/>
                    <a:pt x="131609" y="675540"/>
                  </a:cubicBezTo>
                  <a:cubicBezTo>
                    <a:pt x="131609" y="672820"/>
                    <a:pt x="131609" y="670101"/>
                    <a:pt x="131609" y="667381"/>
                  </a:cubicBezTo>
                  <a:cubicBezTo>
                    <a:pt x="131609" y="661942"/>
                    <a:pt x="131609" y="656502"/>
                    <a:pt x="131609" y="651063"/>
                  </a:cubicBezTo>
                  <a:cubicBezTo>
                    <a:pt x="131609" y="640184"/>
                    <a:pt x="131609" y="629306"/>
                    <a:pt x="131609" y="618427"/>
                  </a:cubicBezTo>
                  <a:cubicBezTo>
                    <a:pt x="131609" y="604829"/>
                    <a:pt x="131609" y="593950"/>
                    <a:pt x="131609" y="580352"/>
                  </a:cubicBezTo>
                  <a:cubicBezTo>
                    <a:pt x="131609" y="564034"/>
                    <a:pt x="131609" y="547716"/>
                    <a:pt x="131609" y="531398"/>
                  </a:cubicBezTo>
                  <a:cubicBezTo>
                    <a:pt x="131609" y="509641"/>
                    <a:pt x="131609" y="487884"/>
                    <a:pt x="131609" y="466126"/>
                  </a:cubicBezTo>
                  <a:cubicBezTo>
                    <a:pt x="131609" y="452528"/>
                    <a:pt x="131609" y="436210"/>
                    <a:pt x="131609" y="422612"/>
                  </a:cubicBezTo>
                  <a:cubicBezTo>
                    <a:pt x="131609" y="419892"/>
                    <a:pt x="131609" y="414453"/>
                    <a:pt x="131609" y="411733"/>
                  </a:cubicBezTo>
                  <a:cubicBezTo>
                    <a:pt x="131609" y="409014"/>
                    <a:pt x="131609" y="400855"/>
                    <a:pt x="131609" y="398135"/>
                  </a:cubicBezTo>
                  <a:cubicBezTo>
                    <a:pt x="131609" y="392696"/>
                    <a:pt x="131609" y="392696"/>
                    <a:pt x="126170" y="389976"/>
                  </a:cubicBezTo>
                  <a:cubicBezTo>
                    <a:pt x="123450" y="389976"/>
                    <a:pt x="109852" y="387257"/>
                    <a:pt x="101693" y="387257"/>
                  </a:cubicBezTo>
                  <a:cubicBezTo>
                    <a:pt x="90814" y="384537"/>
                    <a:pt x="77216" y="381817"/>
                    <a:pt x="77216" y="376378"/>
                  </a:cubicBezTo>
                  <a:cubicBezTo>
                    <a:pt x="77216" y="373658"/>
                    <a:pt x="79936" y="370939"/>
                    <a:pt x="82655" y="368219"/>
                  </a:cubicBezTo>
                  <a:cubicBezTo>
                    <a:pt x="88095" y="365499"/>
                    <a:pt x="93534" y="362780"/>
                    <a:pt x="98973" y="360060"/>
                  </a:cubicBezTo>
                  <a:cubicBezTo>
                    <a:pt x="104413" y="360060"/>
                    <a:pt x="112571" y="357340"/>
                    <a:pt x="118011" y="357340"/>
                  </a:cubicBezTo>
                  <a:cubicBezTo>
                    <a:pt x="126170" y="354621"/>
                    <a:pt x="128890" y="357340"/>
                    <a:pt x="131609" y="351901"/>
                  </a:cubicBezTo>
                  <a:cubicBezTo>
                    <a:pt x="131609" y="349181"/>
                    <a:pt x="131609" y="346462"/>
                    <a:pt x="131609" y="343742"/>
                  </a:cubicBezTo>
                  <a:cubicBezTo>
                    <a:pt x="131609" y="319265"/>
                    <a:pt x="131609" y="294788"/>
                    <a:pt x="131609" y="270311"/>
                  </a:cubicBezTo>
                  <a:cubicBezTo>
                    <a:pt x="131609" y="226797"/>
                    <a:pt x="131609" y="186002"/>
                    <a:pt x="137048" y="145207"/>
                  </a:cubicBezTo>
                  <a:cubicBezTo>
                    <a:pt x="137048" y="139768"/>
                    <a:pt x="137048" y="131609"/>
                    <a:pt x="139768" y="123450"/>
                  </a:cubicBezTo>
                  <a:cubicBezTo>
                    <a:pt x="134329" y="123450"/>
                    <a:pt x="137048" y="123450"/>
                    <a:pt x="123450" y="123450"/>
                  </a:cubicBezTo>
                  <a:cubicBezTo>
                    <a:pt x="120731" y="123450"/>
                    <a:pt x="120731" y="123450"/>
                    <a:pt x="118011" y="123450"/>
                  </a:cubicBezTo>
                  <a:cubicBezTo>
                    <a:pt x="112571" y="123450"/>
                    <a:pt x="107133" y="123450"/>
                    <a:pt x="101693" y="123450"/>
                  </a:cubicBezTo>
                  <a:cubicBezTo>
                    <a:pt x="93534" y="123450"/>
                    <a:pt x="82655" y="120730"/>
                    <a:pt x="74496" y="118011"/>
                  </a:cubicBezTo>
                  <a:cubicBezTo>
                    <a:pt x="66338" y="115291"/>
                    <a:pt x="58178" y="107132"/>
                    <a:pt x="58178" y="101693"/>
                  </a:cubicBezTo>
                  <a:cubicBezTo>
                    <a:pt x="58178" y="98973"/>
                    <a:pt x="58178" y="96253"/>
                    <a:pt x="63618" y="93534"/>
                  </a:cubicBezTo>
                  <a:cubicBezTo>
                    <a:pt x="66338" y="90814"/>
                    <a:pt x="77216" y="88095"/>
                    <a:pt x="85375" y="85375"/>
                  </a:cubicBezTo>
                  <a:cubicBezTo>
                    <a:pt x="104413" y="82655"/>
                    <a:pt x="128890" y="82655"/>
                    <a:pt x="137048" y="82655"/>
                  </a:cubicBezTo>
                  <a:cubicBezTo>
                    <a:pt x="139768" y="82655"/>
                    <a:pt x="142488" y="82655"/>
                    <a:pt x="147927" y="82655"/>
                  </a:cubicBezTo>
                  <a:cubicBezTo>
                    <a:pt x="153366" y="69057"/>
                    <a:pt x="164245" y="58178"/>
                    <a:pt x="186003" y="58178"/>
                  </a:cubicBezTo>
                  <a:cubicBezTo>
                    <a:pt x="202321" y="58178"/>
                    <a:pt x="215919" y="66337"/>
                    <a:pt x="226797" y="79936"/>
                  </a:cubicBezTo>
                  <a:cubicBezTo>
                    <a:pt x="237676" y="79936"/>
                    <a:pt x="248554" y="79936"/>
                    <a:pt x="253994" y="79936"/>
                  </a:cubicBezTo>
                  <a:cubicBezTo>
                    <a:pt x="267592" y="79936"/>
                    <a:pt x="294789" y="79936"/>
                    <a:pt x="294789" y="96253"/>
                  </a:cubicBezTo>
                  <a:cubicBezTo>
                    <a:pt x="294789" y="104412"/>
                    <a:pt x="289349" y="107132"/>
                    <a:pt x="283910" y="112571"/>
                  </a:cubicBezTo>
                  <a:cubicBezTo>
                    <a:pt x="278471" y="118011"/>
                    <a:pt x="273031" y="120730"/>
                    <a:pt x="267592" y="120730"/>
                  </a:cubicBezTo>
                  <a:cubicBezTo>
                    <a:pt x="259433" y="123450"/>
                    <a:pt x="251274" y="123450"/>
                    <a:pt x="245835" y="123450"/>
                  </a:cubicBezTo>
                  <a:cubicBezTo>
                    <a:pt x="245835" y="123450"/>
                    <a:pt x="243116" y="123450"/>
                    <a:pt x="237676" y="123450"/>
                  </a:cubicBezTo>
                  <a:cubicBezTo>
                    <a:pt x="237676" y="126170"/>
                    <a:pt x="237676" y="126170"/>
                    <a:pt x="240396" y="128889"/>
                  </a:cubicBezTo>
                  <a:cubicBezTo>
                    <a:pt x="245835" y="145207"/>
                    <a:pt x="248554" y="161525"/>
                    <a:pt x="251274" y="177843"/>
                  </a:cubicBezTo>
                  <a:cubicBezTo>
                    <a:pt x="253994" y="194161"/>
                    <a:pt x="253994" y="210479"/>
                    <a:pt x="256714" y="226797"/>
                  </a:cubicBezTo>
                  <a:cubicBezTo>
                    <a:pt x="259433" y="243115"/>
                    <a:pt x="262153" y="256713"/>
                    <a:pt x="262153" y="273031"/>
                  </a:cubicBezTo>
                  <a:cubicBezTo>
                    <a:pt x="262153" y="278470"/>
                    <a:pt x="262153" y="283910"/>
                    <a:pt x="262153" y="289349"/>
                  </a:cubicBezTo>
                  <a:lnTo>
                    <a:pt x="262153" y="297508"/>
                  </a:lnTo>
                  <a:cubicBezTo>
                    <a:pt x="262153" y="305667"/>
                    <a:pt x="262153" y="313826"/>
                    <a:pt x="264872" y="321985"/>
                  </a:cubicBezTo>
                  <a:cubicBezTo>
                    <a:pt x="264872" y="327424"/>
                    <a:pt x="270312" y="330144"/>
                    <a:pt x="270312" y="335583"/>
                  </a:cubicBezTo>
                  <a:cubicBezTo>
                    <a:pt x="270312" y="335583"/>
                    <a:pt x="270312" y="338303"/>
                    <a:pt x="270312" y="338303"/>
                  </a:cubicBezTo>
                  <a:cubicBezTo>
                    <a:pt x="270312" y="341022"/>
                    <a:pt x="270312" y="343742"/>
                    <a:pt x="270312" y="346462"/>
                  </a:cubicBezTo>
                  <a:cubicBezTo>
                    <a:pt x="270312" y="351901"/>
                    <a:pt x="273031" y="354621"/>
                    <a:pt x="278471" y="354621"/>
                  </a:cubicBezTo>
                  <a:cubicBezTo>
                    <a:pt x="289349" y="354621"/>
                    <a:pt x="335584" y="351901"/>
                    <a:pt x="338304" y="349181"/>
                  </a:cubicBezTo>
                  <a:cubicBezTo>
                    <a:pt x="346462" y="349181"/>
                    <a:pt x="357341" y="349181"/>
                    <a:pt x="365500" y="349181"/>
                  </a:cubicBezTo>
                  <a:cubicBezTo>
                    <a:pt x="370939" y="349181"/>
                    <a:pt x="376379" y="349181"/>
                    <a:pt x="381817" y="349181"/>
                  </a:cubicBezTo>
                  <a:cubicBezTo>
                    <a:pt x="387257" y="349181"/>
                    <a:pt x="392697" y="346462"/>
                    <a:pt x="392697" y="338303"/>
                  </a:cubicBezTo>
                  <a:cubicBezTo>
                    <a:pt x="392697" y="330144"/>
                    <a:pt x="389977" y="316545"/>
                    <a:pt x="389977" y="313826"/>
                  </a:cubicBezTo>
                  <a:cubicBezTo>
                    <a:pt x="389977" y="294788"/>
                    <a:pt x="389977" y="278470"/>
                    <a:pt x="392697" y="262152"/>
                  </a:cubicBezTo>
                  <a:cubicBezTo>
                    <a:pt x="392697" y="259433"/>
                    <a:pt x="395416" y="243115"/>
                    <a:pt x="395416" y="224077"/>
                  </a:cubicBezTo>
                  <a:cubicBezTo>
                    <a:pt x="395416" y="207759"/>
                    <a:pt x="398136" y="188722"/>
                    <a:pt x="398136" y="177843"/>
                  </a:cubicBezTo>
                  <a:cubicBezTo>
                    <a:pt x="398136" y="169684"/>
                    <a:pt x="395416" y="158806"/>
                    <a:pt x="395416" y="153366"/>
                  </a:cubicBezTo>
                  <a:cubicBezTo>
                    <a:pt x="395416" y="145207"/>
                    <a:pt x="395416" y="142488"/>
                    <a:pt x="395416" y="137048"/>
                  </a:cubicBezTo>
                  <a:cubicBezTo>
                    <a:pt x="389977" y="137048"/>
                    <a:pt x="384537" y="137048"/>
                    <a:pt x="379098" y="137048"/>
                  </a:cubicBezTo>
                  <a:cubicBezTo>
                    <a:pt x="370939" y="137048"/>
                    <a:pt x="360061" y="134329"/>
                    <a:pt x="351902" y="131609"/>
                  </a:cubicBezTo>
                  <a:cubicBezTo>
                    <a:pt x="343742" y="128889"/>
                    <a:pt x="338304" y="120730"/>
                    <a:pt x="338304" y="115291"/>
                  </a:cubicBezTo>
                  <a:cubicBezTo>
                    <a:pt x="338304" y="112571"/>
                    <a:pt x="338304" y="109852"/>
                    <a:pt x="343742" y="107132"/>
                  </a:cubicBezTo>
                  <a:cubicBezTo>
                    <a:pt x="349182" y="104412"/>
                    <a:pt x="357341" y="101693"/>
                    <a:pt x="362780" y="98973"/>
                  </a:cubicBezTo>
                  <a:cubicBezTo>
                    <a:pt x="373659" y="96253"/>
                    <a:pt x="387257" y="96253"/>
                    <a:pt x="395416" y="96253"/>
                  </a:cubicBezTo>
                  <a:cubicBezTo>
                    <a:pt x="398136" y="93534"/>
                    <a:pt x="400855" y="90814"/>
                    <a:pt x="403575" y="90814"/>
                  </a:cubicBezTo>
                  <a:cubicBezTo>
                    <a:pt x="411734" y="90814"/>
                    <a:pt x="419893" y="88095"/>
                    <a:pt x="422612" y="88095"/>
                  </a:cubicBezTo>
                  <a:cubicBezTo>
                    <a:pt x="425332" y="88095"/>
                    <a:pt x="425332" y="88095"/>
                    <a:pt x="428052" y="88095"/>
                  </a:cubicBezTo>
                  <a:cubicBezTo>
                    <a:pt x="433492" y="88095"/>
                    <a:pt x="441650" y="88095"/>
                    <a:pt x="447090" y="90814"/>
                  </a:cubicBezTo>
                  <a:cubicBezTo>
                    <a:pt x="449809" y="90814"/>
                    <a:pt x="452529" y="93534"/>
                    <a:pt x="455249" y="96253"/>
                  </a:cubicBezTo>
                  <a:cubicBezTo>
                    <a:pt x="482445" y="96253"/>
                    <a:pt x="509642" y="93534"/>
                    <a:pt x="525960" y="93534"/>
                  </a:cubicBezTo>
                  <a:cubicBezTo>
                    <a:pt x="539558" y="93534"/>
                    <a:pt x="561315" y="93534"/>
                    <a:pt x="561315" y="109852"/>
                  </a:cubicBezTo>
                  <a:cubicBezTo>
                    <a:pt x="561315" y="118011"/>
                    <a:pt x="561315" y="120730"/>
                    <a:pt x="555876" y="126170"/>
                  </a:cubicBezTo>
                  <a:cubicBezTo>
                    <a:pt x="550437" y="131609"/>
                    <a:pt x="544997" y="134329"/>
                    <a:pt x="539558" y="134329"/>
                  </a:cubicBezTo>
                  <a:cubicBezTo>
                    <a:pt x="531399" y="137048"/>
                    <a:pt x="523240" y="137048"/>
                    <a:pt x="517800" y="137048"/>
                  </a:cubicBezTo>
                  <a:cubicBezTo>
                    <a:pt x="515081" y="137048"/>
                    <a:pt x="498763" y="137048"/>
                    <a:pt x="477006" y="137048"/>
                  </a:cubicBezTo>
                  <a:cubicBezTo>
                    <a:pt x="479725" y="145207"/>
                    <a:pt x="485165" y="153366"/>
                    <a:pt x="485165" y="161525"/>
                  </a:cubicBezTo>
                  <a:cubicBezTo>
                    <a:pt x="487885" y="177843"/>
                    <a:pt x="493324" y="194161"/>
                    <a:pt x="496043" y="210479"/>
                  </a:cubicBezTo>
                  <a:cubicBezTo>
                    <a:pt x="498763" y="224077"/>
                    <a:pt x="498763" y="237676"/>
                    <a:pt x="501483" y="251274"/>
                  </a:cubicBezTo>
                  <a:cubicBezTo>
                    <a:pt x="504202" y="264872"/>
                    <a:pt x="506922" y="275751"/>
                    <a:pt x="506922" y="292069"/>
                  </a:cubicBezTo>
                  <a:cubicBezTo>
                    <a:pt x="506922" y="302947"/>
                    <a:pt x="506922" y="311106"/>
                    <a:pt x="506922" y="321985"/>
                  </a:cubicBezTo>
                  <a:cubicBezTo>
                    <a:pt x="506922" y="327424"/>
                    <a:pt x="509642" y="335583"/>
                    <a:pt x="509642" y="341022"/>
                  </a:cubicBezTo>
                  <a:cubicBezTo>
                    <a:pt x="509642" y="343742"/>
                    <a:pt x="509642" y="343742"/>
                    <a:pt x="509642" y="343742"/>
                  </a:cubicBezTo>
                  <a:cubicBezTo>
                    <a:pt x="509642" y="349181"/>
                    <a:pt x="515081" y="349181"/>
                    <a:pt x="517800" y="349181"/>
                  </a:cubicBezTo>
                  <a:cubicBezTo>
                    <a:pt x="520520" y="349181"/>
                    <a:pt x="523240" y="349181"/>
                    <a:pt x="528680" y="349181"/>
                  </a:cubicBezTo>
                  <a:cubicBezTo>
                    <a:pt x="536838" y="349181"/>
                    <a:pt x="547717" y="349181"/>
                    <a:pt x="550437" y="357340"/>
                  </a:cubicBezTo>
                  <a:cubicBezTo>
                    <a:pt x="550437" y="360060"/>
                    <a:pt x="550437" y="360060"/>
                    <a:pt x="550437" y="362780"/>
                  </a:cubicBezTo>
                  <a:cubicBezTo>
                    <a:pt x="550437" y="370939"/>
                    <a:pt x="539558" y="381817"/>
                    <a:pt x="534119" y="384537"/>
                  </a:cubicBezTo>
                  <a:cubicBezTo>
                    <a:pt x="531399" y="387257"/>
                    <a:pt x="523240" y="387257"/>
                    <a:pt x="520520" y="389976"/>
                  </a:cubicBezTo>
                  <a:cubicBezTo>
                    <a:pt x="515081" y="389976"/>
                    <a:pt x="512362" y="392696"/>
                    <a:pt x="512362" y="395415"/>
                  </a:cubicBezTo>
                  <a:cubicBezTo>
                    <a:pt x="512362" y="395415"/>
                    <a:pt x="512362" y="398135"/>
                    <a:pt x="512362" y="398135"/>
                  </a:cubicBezTo>
                  <a:cubicBezTo>
                    <a:pt x="512362" y="400855"/>
                    <a:pt x="512362" y="406294"/>
                    <a:pt x="512362" y="409014"/>
                  </a:cubicBezTo>
                  <a:cubicBezTo>
                    <a:pt x="512362" y="411733"/>
                    <a:pt x="512362" y="411733"/>
                    <a:pt x="512362" y="414453"/>
                  </a:cubicBezTo>
                  <a:cubicBezTo>
                    <a:pt x="512362" y="422612"/>
                    <a:pt x="512362" y="430771"/>
                    <a:pt x="512362" y="438930"/>
                  </a:cubicBezTo>
                  <a:cubicBezTo>
                    <a:pt x="512362" y="460687"/>
                    <a:pt x="512362" y="482445"/>
                    <a:pt x="515081" y="504202"/>
                  </a:cubicBezTo>
                  <a:cubicBezTo>
                    <a:pt x="517800" y="525959"/>
                    <a:pt x="520520" y="550436"/>
                    <a:pt x="520520" y="572193"/>
                  </a:cubicBezTo>
                  <a:cubicBezTo>
                    <a:pt x="520520" y="583072"/>
                    <a:pt x="520520" y="593950"/>
                    <a:pt x="517800" y="604829"/>
                  </a:cubicBezTo>
                  <a:cubicBezTo>
                    <a:pt x="515081" y="623867"/>
                    <a:pt x="515081" y="642904"/>
                    <a:pt x="512362" y="661942"/>
                  </a:cubicBezTo>
                  <a:cubicBezTo>
                    <a:pt x="512362" y="664661"/>
                    <a:pt x="509642" y="667381"/>
                    <a:pt x="509642" y="670101"/>
                  </a:cubicBezTo>
                  <a:cubicBezTo>
                    <a:pt x="509642" y="672820"/>
                    <a:pt x="512362" y="678260"/>
                    <a:pt x="512362" y="680979"/>
                  </a:cubicBezTo>
                  <a:cubicBezTo>
                    <a:pt x="512362" y="683699"/>
                    <a:pt x="512362" y="686419"/>
                    <a:pt x="512362" y="686419"/>
                  </a:cubicBezTo>
                  <a:cubicBezTo>
                    <a:pt x="517800" y="680979"/>
                    <a:pt x="528680" y="680979"/>
                    <a:pt x="536838" y="680979"/>
                  </a:cubicBezTo>
                  <a:lnTo>
                    <a:pt x="536838" y="680979"/>
                  </a:ln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8" name="Freeform: Shape 47">
              <a:extLst>
                <a:ext uri="{FF2B5EF4-FFF2-40B4-BE49-F238E27FC236}">
                  <a16:creationId xmlns:a16="http://schemas.microsoft.com/office/drawing/2014/main" id="{D3100DEA-196D-4FF4-B6C0-73F96315C0B0}"/>
                </a:ext>
              </a:extLst>
            </p:cNvPr>
            <p:cNvSpPr/>
            <p:nvPr/>
          </p:nvSpPr>
          <p:spPr bwMode="black">
            <a:xfrm>
              <a:off x="9592416" y="4192158"/>
              <a:ext cx="516735" cy="761503"/>
            </a:xfrm>
            <a:custGeom>
              <a:avLst/>
              <a:gdLst>
                <a:gd name="connsiteX0" fmla="*/ 463407 w 516735"/>
                <a:gd name="connsiteY0" fmla="*/ 194161 h 761503"/>
                <a:gd name="connsiteX1" fmla="*/ 447089 w 516735"/>
                <a:gd name="connsiteY1" fmla="*/ 226797 h 761503"/>
                <a:gd name="connsiteX2" fmla="*/ 430771 w 516735"/>
                <a:gd name="connsiteY2" fmla="*/ 221357 h 761503"/>
                <a:gd name="connsiteX3" fmla="*/ 422612 w 516735"/>
                <a:gd name="connsiteY3" fmla="*/ 207759 h 761503"/>
                <a:gd name="connsiteX4" fmla="*/ 419893 w 516735"/>
                <a:gd name="connsiteY4" fmla="*/ 188722 h 761503"/>
                <a:gd name="connsiteX5" fmla="*/ 419893 w 516735"/>
                <a:gd name="connsiteY5" fmla="*/ 139768 h 761503"/>
                <a:gd name="connsiteX6" fmla="*/ 419893 w 516735"/>
                <a:gd name="connsiteY6" fmla="*/ 120730 h 761503"/>
                <a:gd name="connsiteX7" fmla="*/ 395416 w 516735"/>
                <a:gd name="connsiteY7" fmla="*/ 120730 h 761503"/>
                <a:gd name="connsiteX8" fmla="*/ 370939 w 516735"/>
                <a:gd name="connsiteY8" fmla="*/ 120730 h 761503"/>
                <a:gd name="connsiteX9" fmla="*/ 346461 w 516735"/>
                <a:gd name="connsiteY9" fmla="*/ 123450 h 761503"/>
                <a:gd name="connsiteX10" fmla="*/ 335583 w 516735"/>
                <a:gd name="connsiteY10" fmla="*/ 123450 h 761503"/>
                <a:gd name="connsiteX11" fmla="*/ 335583 w 516735"/>
                <a:gd name="connsiteY11" fmla="*/ 123450 h 761503"/>
                <a:gd name="connsiteX12" fmla="*/ 324704 w 516735"/>
                <a:gd name="connsiteY12" fmla="*/ 128889 h 761503"/>
                <a:gd name="connsiteX13" fmla="*/ 327424 w 516735"/>
                <a:gd name="connsiteY13" fmla="*/ 139768 h 761503"/>
                <a:gd name="connsiteX14" fmla="*/ 330144 w 516735"/>
                <a:gd name="connsiteY14" fmla="*/ 175123 h 761503"/>
                <a:gd name="connsiteX15" fmla="*/ 330144 w 516735"/>
                <a:gd name="connsiteY15" fmla="*/ 199600 h 761503"/>
                <a:gd name="connsiteX16" fmla="*/ 327424 w 516735"/>
                <a:gd name="connsiteY16" fmla="*/ 224077 h 761503"/>
                <a:gd name="connsiteX17" fmla="*/ 330144 w 516735"/>
                <a:gd name="connsiteY17" fmla="*/ 251274 h 761503"/>
                <a:gd name="connsiteX18" fmla="*/ 327424 w 516735"/>
                <a:gd name="connsiteY18" fmla="*/ 278470 h 761503"/>
                <a:gd name="connsiteX19" fmla="*/ 327424 w 516735"/>
                <a:gd name="connsiteY19" fmla="*/ 332864 h 761503"/>
                <a:gd name="connsiteX20" fmla="*/ 330144 w 516735"/>
                <a:gd name="connsiteY20" fmla="*/ 357340 h 761503"/>
                <a:gd name="connsiteX21" fmla="*/ 330144 w 516735"/>
                <a:gd name="connsiteY21" fmla="*/ 368219 h 761503"/>
                <a:gd name="connsiteX22" fmla="*/ 332863 w 516735"/>
                <a:gd name="connsiteY22" fmla="*/ 387257 h 761503"/>
                <a:gd name="connsiteX23" fmla="*/ 332863 w 516735"/>
                <a:gd name="connsiteY23" fmla="*/ 433491 h 761503"/>
                <a:gd name="connsiteX24" fmla="*/ 332863 w 516735"/>
                <a:gd name="connsiteY24" fmla="*/ 487884 h 761503"/>
                <a:gd name="connsiteX25" fmla="*/ 330144 w 516735"/>
                <a:gd name="connsiteY25" fmla="*/ 512361 h 761503"/>
                <a:gd name="connsiteX26" fmla="*/ 330144 w 516735"/>
                <a:gd name="connsiteY26" fmla="*/ 539557 h 761503"/>
                <a:gd name="connsiteX27" fmla="*/ 332863 w 516735"/>
                <a:gd name="connsiteY27" fmla="*/ 593950 h 761503"/>
                <a:gd name="connsiteX28" fmla="*/ 332863 w 516735"/>
                <a:gd name="connsiteY28" fmla="*/ 648343 h 761503"/>
                <a:gd name="connsiteX29" fmla="*/ 332863 w 516735"/>
                <a:gd name="connsiteY29" fmla="*/ 656502 h 761503"/>
                <a:gd name="connsiteX30" fmla="*/ 357341 w 516735"/>
                <a:gd name="connsiteY30" fmla="*/ 656502 h 761503"/>
                <a:gd name="connsiteX31" fmla="*/ 395416 w 516735"/>
                <a:gd name="connsiteY31" fmla="*/ 675540 h 761503"/>
                <a:gd name="connsiteX32" fmla="*/ 389976 w 516735"/>
                <a:gd name="connsiteY32" fmla="*/ 691858 h 761503"/>
                <a:gd name="connsiteX33" fmla="*/ 373658 w 516735"/>
                <a:gd name="connsiteY33" fmla="*/ 700017 h 761503"/>
                <a:gd name="connsiteX34" fmla="*/ 351901 w 516735"/>
                <a:gd name="connsiteY34" fmla="*/ 702737 h 761503"/>
                <a:gd name="connsiteX35" fmla="*/ 319265 w 516735"/>
                <a:gd name="connsiteY35" fmla="*/ 702737 h 761503"/>
                <a:gd name="connsiteX36" fmla="*/ 311106 w 516735"/>
                <a:gd name="connsiteY36" fmla="*/ 708176 h 761503"/>
                <a:gd name="connsiteX37" fmla="*/ 289349 w 516735"/>
                <a:gd name="connsiteY37" fmla="*/ 713615 h 761503"/>
                <a:gd name="connsiteX38" fmla="*/ 270311 w 516735"/>
                <a:gd name="connsiteY38" fmla="*/ 713615 h 761503"/>
                <a:gd name="connsiteX39" fmla="*/ 243115 w 516735"/>
                <a:gd name="connsiteY39" fmla="*/ 705456 h 761503"/>
                <a:gd name="connsiteX40" fmla="*/ 237675 w 516735"/>
                <a:gd name="connsiteY40" fmla="*/ 702737 h 761503"/>
                <a:gd name="connsiteX41" fmla="*/ 199600 w 516735"/>
                <a:gd name="connsiteY41" fmla="*/ 702737 h 761503"/>
                <a:gd name="connsiteX42" fmla="*/ 175123 w 516735"/>
                <a:gd name="connsiteY42" fmla="*/ 702737 h 761503"/>
                <a:gd name="connsiteX43" fmla="*/ 147927 w 516735"/>
                <a:gd name="connsiteY43" fmla="*/ 697297 h 761503"/>
                <a:gd name="connsiteX44" fmla="*/ 131609 w 516735"/>
                <a:gd name="connsiteY44" fmla="*/ 678260 h 761503"/>
                <a:gd name="connsiteX45" fmla="*/ 137048 w 516735"/>
                <a:gd name="connsiteY45" fmla="*/ 670101 h 761503"/>
                <a:gd name="connsiteX46" fmla="*/ 158805 w 516735"/>
                <a:gd name="connsiteY46" fmla="*/ 661942 h 761503"/>
                <a:gd name="connsiteX47" fmla="*/ 199600 w 516735"/>
                <a:gd name="connsiteY47" fmla="*/ 659222 h 761503"/>
                <a:gd name="connsiteX48" fmla="*/ 199600 w 516735"/>
                <a:gd name="connsiteY48" fmla="*/ 659222 h 761503"/>
                <a:gd name="connsiteX49" fmla="*/ 196880 w 516735"/>
                <a:gd name="connsiteY49" fmla="*/ 629306 h 761503"/>
                <a:gd name="connsiteX50" fmla="*/ 199600 w 516735"/>
                <a:gd name="connsiteY50" fmla="*/ 574913 h 761503"/>
                <a:gd name="connsiteX51" fmla="*/ 202320 w 516735"/>
                <a:gd name="connsiteY51" fmla="*/ 523239 h 761503"/>
                <a:gd name="connsiteX52" fmla="*/ 205040 w 516735"/>
                <a:gd name="connsiteY52" fmla="*/ 460687 h 761503"/>
                <a:gd name="connsiteX53" fmla="*/ 205040 w 516735"/>
                <a:gd name="connsiteY53" fmla="*/ 417173 h 761503"/>
                <a:gd name="connsiteX54" fmla="*/ 207759 w 516735"/>
                <a:gd name="connsiteY54" fmla="*/ 392696 h 761503"/>
                <a:gd name="connsiteX55" fmla="*/ 210478 w 516735"/>
                <a:gd name="connsiteY55" fmla="*/ 368219 h 761503"/>
                <a:gd name="connsiteX56" fmla="*/ 210478 w 516735"/>
                <a:gd name="connsiteY56" fmla="*/ 313826 h 761503"/>
                <a:gd name="connsiteX57" fmla="*/ 210478 w 516735"/>
                <a:gd name="connsiteY57" fmla="*/ 259433 h 761503"/>
                <a:gd name="connsiteX58" fmla="*/ 210478 w 516735"/>
                <a:gd name="connsiteY58" fmla="*/ 213199 h 761503"/>
                <a:gd name="connsiteX59" fmla="*/ 210478 w 516735"/>
                <a:gd name="connsiteY59" fmla="*/ 145207 h 761503"/>
                <a:gd name="connsiteX60" fmla="*/ 213198 w 516735"/>
                <a:gd name="connsiteY60" fmla="*/ 131609 h 761503"/>
                <a:gd name="connsiteX61" fmla="*/ 205040 w 516735"/>
                <a:gd name="connsiteY61" fmla="*/ 123450 h 761503"/>
                <a:gd name="connsiteX62" fmla="*/ 161525 w 516735"/>
                <a:gd name="connsiteY62" fmla="*/ 123450 h 761503"/>
                <a:gd name="connsiteX63" fmla="*/ 112571 w 516735"/>
                <a:gd name="connsiteY63" fmla="*/ 120730 h 761503"/>
                <a:gd name="connsiteX64" fmla="*/ 104412 w 516735"/>
                <a:gd name="connsiteY64" fmla="*/ 118011 h 761503"/>
                <a:gd name="connsiteX65" fmla="*/ 107132 w 516735"/>
                <a:gd name="connsiteY65" fmla="*/ 191441 h 761503"/>
                <a:gd name="connsiteX66" fmla="*/ 90814 w 516735"/>
                <a:gd name="connsiteY66" fmla="*/ 224077 h 761503"/>
                <a:gd name="connsiteX67" fmla="*/ 74496 w 516735"/>
                <a:gd name="connsiteY67" fmla="*/ 218638 h 761503"/>
                <a:gd name="connsiteX68" fmla="*/ 66337 w 516735"/>
                <a:gd name="connsiteY68" fmla="*/ 205040 h 761503"/>
                <a:gd name="connsiteX69" fmla="*/ 63617 w 516735"/>
                <a:gd name="connsiteY69" fmla="*/ 186002 h 761503"/>
                <a:gd name="connsiteX70" fmla="*/ 63617 w 516735"/>
                <a:gd name="connsiteY70" fmla="*/ 145207 h 761503"/>
                <a:gd name="connsiteX71" fmla="*/ 63617 w 516735"/>
                <a:gd name="connsiteY71" fmla="*/ 109852 h 761503"/>
                <a:gd name="connsiteX72" fmla="*/ 58178 w 516735"/>
                <a:gd name="connsiteY72" fmla="*/ 96253 h 761503"/>
                <a:gd name="connsiteX73" fmla="*/ 66337 w 516735"/>
                <a:gd name="connsiteY73" fmla="*/ 85375 h 761503"/>
                <a:gd name="connsiteX74" fmla="*/ 93533 w 516735"/>
                <a:gd name="connsiteY74" fmla="*/ 77216 h 761503"/>
                <a:gd name="connsiteX75" fmla="*/ 115290 w 516735"/>
                <a:gd name="connsiteY75" fmla="*/ 77216 h 761503"/>
                <a:gd name="connsiteX76" fmla="*/ 169684 w 516735"/>
                <a:gd name="connsiteY76" fmla="*/ 74496 h 761503"/>
                <a:gd name="connsiteX77" fmla="*/ 194161 w 516735"/>
                <a:gd name="connsiteY77" fmla="*/ 71776 h 761503"/>
                <a:gd name="connsiteX78" fmla="*/ 196880 w 516735"/>
                <a:gd name="connsiteY78" fmla="*/ 71776 h 761503"/>
                <a:gd name="connsiteX79" fmla="*/ 210478 w 516735"/>
                <a:gd name="connsiteY79" fmla="*/ 71776 h 761503"/>
                <a:gd name="connsiteX80" fmla="*/ 218638 w 516735"/>
                <a:gd name="connsiteY80" fmla="*/ 71776 h 761503"/>
                <a:gd name="connsiteX81" fmla="*/ 237675 w 516735"/>
                <a:gd name="connsiteY81" fmla="*/ 60898 h 761503"/>
                <a:gd name="connsiteX82" fmla="*/ 253993 w 516735"/>
                <a:gd name="connsiteY82" fmla="*/ 58178 h 761503"/>
                <a:gd name="connsiteX83" fmla="*/ 283910 w 516735"/>
                <a:gd name="connsiteY83" fmla="*/ 60898 h 761503"/>
                <a:gd name="connsiteX84" fmla="*/ 294788 w 516735"/>
                <a:gd name="connsiteY84" fmla="*/ 66337 h 761503"/>
                <a:gd name="connsiteX85" fmla="*/ 305667 w 516735"/>
                <a:gd name="connsiteY85" fmla="*/ 74496 h 761503"/>
                <a:gd name="connsiteX86" fmla="*/ 313826 w 516735"/>
                <a:gd name="connsiteY86" fmla="*/ 74496 h 761503"/>
                <a:gd name="connsiteX87" fmla="*/ 327424 w 516735"/>
                <a:gd name="connsiteY87" fmla="*/ 74496 h 761503"/>
                <a:gd name="connsiteX88" fmla="*/ 354621 w 516735"/>
                <a:gd name="connsiteY88" fmla="*/ 74496 h 761503"/>
                <a:gd name="connsiteX89" fmla="*/ 422612 w 516735"/>
                <a:gd name="connsiteY89" fmla="*/ 74496 h 761503"/>
                <a:gd name="connsiteX90" fmla="*/ 455248 w 516735"/>
                <a:gd name="connsiteY90" fmla="*/ 79936 h 761503"/>
                <a:gd name="connsiteX91" fmla="*/ 466127 w 516735"/>
                <a:gd name="connsiteY91" fmla="*/ 98973 h 761503"/>
                <a:gd name="connsiteX92" fmla="*/ 463407 w 516735"/>
                <a:gd name="connsiteY92" fmla="*/ 109852 h 761503"/>
                <a:gd name="connsiteX93" fmla="*/ 463407 w 516735"/>
                <a:gd name="connsiteY93" fmla="*/ 120730 h 761503"/>
                <a:gd name="connsiteX94" fmla="*/ 463407 w 516735"/>
                <a:gd name="connsiteY94" fmla="*/ 194161 h 761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</a:cxnLst>
              <a:rect l="l" t="t" r="r" b="b"/>
              <a:pathLst>
                <a:path w="516735" h="761503">
                  <a:moveTo>
                    <a:pt x="463407" y="194161"/>
                  </a:moveTo>
                  <a:cubicBezTo>
                    <a:pt x="463407" y="205040"/>
                    <a:pt x="463407" y="226797"/>
                    <a:pt x="447089" y="226797"/>
                  </a:cubicBezTo>
                  <a:cubicBezTo>
                    <a:pt x="438930" y="226797"/>
                    <a:pt x="436211" y="226797"/>
                    <a:pt x="430771" y="221357"/>
                  </a:cubicBezTo>
                  <a:cubicBezTo>
                    <a:pt x="425332" y="218638"/>
                    <a:pt x="422612" y="210479"/>
                    <a:pt x="422612" y="207759"/>
                  </a:cubicBezTo>
                  <a:cubicBezTo>
                    <a:pt x="419893" y="199600"/>
                    <a:pt x="419893" y="194161"/>
                    <a:pt x="419893" y="188722"/>
                  </a:cubicBezTo>
                  <a:cubicBezTo>
                    <a:pt x="419893" y="183282"/>
                    <a:pt x="419893" y="147927"/>
                    <a:pt x="419893" y="139768"/>
                  </a:cubicBezTo>
                  <a:cubicBezTo>
                    <a:pt x="419893" y="134329"/>
                    <a:pt x="419893" y="128889"/>
                    <a:pt x="419893" y="120730"/>
                  </a:cubicBezTo>
                  <a:cubicBezTo>
                    <a:pt x="411734" y="120730"/>
                    <a:pt x="403574" y="120730"/>
                    <a:pt x="395416" y="120730"/>
                  </a:cubicBezTo>
                  <a:cubicBezTo>
                    <a:pt x="387256" y="120730"/>
                    <a:pt x="379098" y="120730"/>
                    <a:pt x="370939" y="120730"/>
                  </a:cubicBezTo>
                  <a:cubicBezTo>
                    <a:pt x="362780" y="120730"/>
                    <a:pt x="354621" y="123450"/>
                    <a:pt x="346461" y="123450"/>
                  </a:cubicBezTo>
                  <a:cubicBezTo>
                    <a:pt x="343742" y="123450"/>
                    <a:pt x="341023" y="123450"/>
                    <a:pt x="335583" y="123450"/>
                  </a:cubicBezTo>
                  <a:cubicBezTo>
                    <a:pt x="335583" y="123450"/>
                    <a:pt x="335583" y="123450"/>
                    <a:pt x="335583" y="123450"/>
                  </a:cubicBezTo>
                  <a:cubicBezTo>
                    <a:pt x="327424" y="123450"/>
                    <a:pt x="324704" y="126170"/>
                    <a:pt x="324704" y="128889"/>
                  </a:cubicBezTo>
                  <a:cubicBezTo>
                    <a:pt x="324704" y="131609"/>
                    <a:pt x="324704" y="137048"/>
                    <a:pt x="327424" y="139768"/>
                  </a:cubicBezTo>
                  <a:cubicBezTo>
                    <a:pt x="330144" y="147927"/>
                    <a:pt x="330144" y="166964"/>
                    <a:pt x="330144" y="175123"/>
                  </a:cubicBezTo>
                  <a:cubicBezTo>
                    <a:pt x="330144" y="183282"/>
                    <a:pt x="330144" y="191441"/>
                    <a:pt x="330144" y="199600"/>
                  </a:cubicBezTo>
                  <a:cubicBezTo>
                    <a:pt x="330144" y="207759"/>
                    <a:pt x="327424" y="215918"/>
                    <a:pt x="327424" y="224077"/>
                  </a:cubicBezTo>
                  <a:cubicBezTo>
                    <a:pt x="327424" y="232236"/>
                    <a:pt x="330144" y="243115"/>
                    <a:pt x="330144" y="251274"/>
                  </a:cubicBezTo>
                  <a:cubicBezTo>
                    <a:pt x="330144" y="259433"/>
                    <a:pt x="330144" y="267592"/>
                    <a:pt x="327424" y="278470"/>
                  </a:cubicBezTo>
                  <a:cubicBezTo>
                    <a:pt x="327424" y="294788"/>
                    <a:pt x="327424" y="313826"/>
                    <a:pt x="327424" y="332864"/>
                  </a:cubicBezTo>
                  <a:cubicBezTo>
                    <a:pt x="327424" y="341022"/>
                    <a:pt x="327424" y="349181"/>
                    <a:pt x="330144" y="357340"/>
                  </a:cubicBezTo>
                  <a:cubicBezTo>
                    <a:pt x="330144" y="360060"/>
                    <a:pt x="330144" y="365499"/>
                    <a:pt x="330144" y="368219"/>
                  </a:cubicBezTo>
                  <a:cubicBezTo>
                    <a:pt x="330144" y="373658"/>
                    <a:pt x="332863" y="384537"/>
                    <a:pt x="332863" y="387257"/>
                  </a:cubicBezTo>
                  <a:cubicBezTo>
                    <a:pt x="332863" y="406294"/>
                    <a:pt x="332863" y="414453"/>
                    <a:pt x="332863" y="433491"/>
                  </a:cubicBezTo>
                  <a:cubicBezTo>
                    <a:pt x="332863" y="452528"/>
                    <a:pt x="335583" y="468846"/>
                    <a:pt x="332863" y="487884"/>
                  </a:cubicBezTo>
                  <a:cubicBezTo>
                    <a:pt x="332863" y="496043"/>
                    <a:pt x="330144" y="504202"/>
                    <a:pt x="330144" y="512361"/>
                  </a:cubicBezTo>
                  <a:cubicBezTo>
                    <a:pt x="330144" y="520520"/>
                    <a:pt x="330144" y="531398"/>
                    <a:pt x="330144" y="539557"/>
                  </a:cubicBezTo>
                  <a:cubicBezTo>
                    <a:pt x="330144" y="558595"/>
                    <a:pt x="330144" y="574913"/>
                    <a:pt x="332863" y="593950"/>
                  </a:cubicBezTo>
                  <a:cubicBezTo>
                    <a:pt x="332863" y="610268"/>
                    <a:pt x="332863" y="632026"/>
                    <a:pt x="332863" y="648343"/>
                  </a:cubicBezTo>
                  <a:cubicBezTo>
                    <a:pt x="332863" y="651063"/>
                    <a:pt x="332863" y="653783"/>
                    <a:pt x="332863" y="656502"/>
                  </a:cubicBezTo>
                  <a:cubicBezTo>
                    <a:pt x="343742" y="656502"/>
                    <a:pt x="351901" y="656502"/>
                    <a:pt x="357341" y="656502"/>
                  </a:cubicBezTo>
                  <a:cubicBezTo>
                    <a:pt x="370939" y="656502"/>
                    <a:pt x="395416" y="659222"/>
                    <a:pt x="395416" y="675540"/>
                  </a:cubicBezTo>
                  <a:cubicBezTo>
                    <a:pt x="395416" y="683699"/>
                    <a:pt x="392696" y="686419"/>
                    <a:pt x="389976" y="691858"/>
                  </a:cubicBezTo>
                  <a:cubicBezTo>
                    <a:pt x="384537" y="697297"/>
                    <a:pt x="379098" y="700017"/>
                    <a:pt x="373658" y="700017"/>
                  </a:cubicBezTo>
                  <a:cubicBezTo>
                    <a:pt x="365499" y="702737"/>
                    <a:pt x="357341" y="702737"/>
                    <a:pt x="351901" y="702737"/>
                  </a:cubicBezTo>
                  <a:cubicBezTo>
                    <a:pt x="349181" y="702737"/>
                    <a:pt x="335583" y="702737"/>
                    <a:pt x="319265" y="702737"/>
                  </a:cubicBezTo>
                  <a:cubicBezTo>
                    <a:pt x="316546" y="705456"/>
                    <a:pt x="313826" y="705456"/>
                    <a:pt x="311106" y="708176"/>
                  </a:cubicBezTo>
                  <a:cubicBezTo>
                    <a:pt x="302948" y="713615"/>
                    <a:pt x="297508" y="713615"/>
                    <a:pt x="289349" y="713615"/>
                  </a:cubicBezTo>
                  <a:cubicBezTo>
                    <a:pt x="283910" y="713615"/>
                    <a:pt x="278470" y="713615"/>
                    <a:pt x="270311" y="713615"/>
                  </a:cubicBezTo>
                  <a:cubicBezTo>
                    <a:pt x="259433" y="713615"/>
                    <a:pt x="251273" y="710895"/>
                    <a:pt x="243115" y="705456"/>
                  </a:cubicBezTo>
                  <a:cubicBezTo>
                    <a:pt x="240395" y="705456"/>
                    <a:pt x="237675" y="702737"/>
                    <a:pt x="237675" y="702737"/>
                  </a:cubicBezTo>
                  <a:cubicBezTo>
                    <a:pt x="224077" y="702737"/>
                    <a:pt x="213198" y="702737"/>
                    <a:pt x="199600" y="702737"/>
                  </a:cubicBezTo>
                  <a:cubicBezTo>
                    <a:pt x="191441" y="702737"/>
                    <a:pt x="183282" y="702737"/>
                    <a:pt x="175123" y="702737"/>
                  </a:cubicBezTo>
                  <a:cubicBezTo>
                    <a:pt x="166965" y="702737"/>
                    <a:pt x="156085" y="702737"/>
                    <a:pt x="147927" y="697297"/>
                  </a:cubicBezTo>
                  <a:cubicBezTo>
                    <a:pt x="139768" y="694578"/>
                    <a:pt x="131609" y="680979"/>
                    <a:pt x="131609" y="678260"/>
                  </a:cubicBezTo>
                  <a:cubicBezTo>
                    <a:pt x="131609" y="675540"/>
                    <a:pt x="131609" y="672820"/>
                    <a:pt x="137048" y="670101"/>
                  </a:cubicBezTo>
                  <a:cubicBezTo>
                    <a:pt x="142487" y="667381"/>
                    <a:pt x="153366" y="664661"/>
                    <a:pt x="158805" y="661942"/>
                  </a:cubicBezTo>
                  <a:cubicBezTo>
                    <a:pt x="175123" y="659222"/>
                    <a:pt x="191441" y="659222"/>
                    <a:pt x="199600" y="659222"/>
                  </a:cubicBezTo>
                  <a:lnTo>
                    <a:pt x="199600" y="659222"/>
                  </a:lnTo>
                  <a:cubicBezTo>
                    <a:pt x="199600" y="648343"/>
                    <a:pt x="196880" y="640184"/>
                    <a:pt x="196880" y="629306"/>
                  </a:cubicBezTo>
                  <a:cubicBezTo>
                    <a:pt x="196880" y="612988"/>
                    <a:pt x="196880" y="591231"/>
                    <a:pt x="199600" y="574913"/>
                  </a:cubicBezTo>
                  <a:cubicBezTo>
                    <a:pt x="199600" y="558595"/>
                    <a:pt x="199600" y="539557"/>
                    <a:pt x="202320" y="523239"/>
                  </a:cubicBezTo>
                  <a:cubicBezTo>
                    <a:pt x="202320" y="501482"/>
                    <a:pt x="205040" y="482445"/>
                    <a:pt x="205040" y="460687"/>
                  </a:cubicBezTo>
                  <a:cubicBezTo>
                    <a:pt x="205040" y="447089"/>
                    <a:pt x="205040" y="430771"/>
                    <a:pt x="205040" y="417173"/>
                  </a:cubicBezTo>
                  <a:cubicBezTo>
                    <a:pt x="205040" y="409014"/>
                    <a:pt x="207759" y="400855"/>
                    <a:pt x="207759" y="392696"/>
                  </a:cubicBezTo>
                  <a:cubicBezTo>
                    <a:pt x="207759" y="384537"/>
                    <a:pt x="210478" y="376378"/>
                    <a:pt x="210478" y="368219"/>
                  </a:cubicBezTo>
                  <a:cubicBezTo>
                    <a:pt x="210478" y="351901"/>
                    <a:pt x="210478" y="332864"/>
                    <a:pt x="210478" y="313826"/>
                  </a:cubicBezTo>
                  <a:cubicBezTo>
                    <a:pt x="210478" y="294788"/>
                    <a:pt x="210478" y="275751"/>
                    <a:pt x="210478" y="259433"/>
                  </a:cubicBezTo>
                  <a:cubicBezTo>
                    <a:pt x="210478" y="243115"/>
                    <a:pt x="210478" y="226797"/>
                    <a:pt x="210478" y="213199"/>
                  </a:cubicBezTo>
                  <a:cubicBezTo>
                    <a:pt x="210478" y="194161"/>
                    <a:pt x="210478" y="164245"/>
                    <a:pt x="210478" y="145207"/>
                  </a:cubicBezTo>
                  <a:cubicBezTo>
                    <a:pt x="210478" y="139768"/>
                    <a:pt x="213198" y="134329"/>
                    <a:pt x="213198" y="131609"/>
                  </a:cubicBezTo>
                  <a:cubicBezTo>
                    <a:pt x="213198" y="126170"/>
                    <a:pt x="207759" y="123450"/>
                    <a:pt x="205040" y="123450"/>
                  </a:cubicBezTo>
                  <a:cubicBezTo>
                    <a:pt x="199600" y="123450"/>
                    <a:pt x="166965" y="123450"/>
                    <a:pt x="161525" y="123450"/>
                  </a:cubicBezTo>
                  <a:cubicBezTo>
                    <a:pt x="145207" y="123450"/>
                    <a:pt x="128889" y="123450"/>
                    <a:pt x="112571" y="120730"/>
                  </a:cubicBezTo>
                  <a:cubicBezTo>
                    <a:pt x="109852" y="120730"/>
                    <a:pt x="107132" y="120730"/>
                    <a:pt x="104412" y="118011"/>
                  </a:cubicBezTo>
                  <a:cubicBezTo>
                    <a:pt x="107132" y="137048"/>
                    <a:pt x="107132" y="172404"/>
                    <a:pt x="107132" y="191441"/>
                  </a:cubicBezTo>
                  <a:cubicBezTo>
                    <a:pt x="107132" y="202320"/>
                    <a:pt x="107132" y="224077"/>
                    <a:pt x="90814" y="224077"/>
                  </a:cubicBezTo>
                  <a:cubicBezTo>
                    <a:pt x="82655" y="224077"/>
                    <a:pt x="79935" y="221357"/>
                    <a:pt x="74496" y="218638"/>
                  </a:cubicBezTo>
                  <a:cubicBezTo>
                    <a:pt x="69057" y="215918"/>
                    <a:pt x="66337" y="210479"/>
                    <a:pt x="66337" y="205040"/>
                  </a:cubicBezTo>
                  <a:cubicBezTo>
                    <a:pt x="63617" y="196881"/>
                    <a:pt x="63617" y="191441"/>
                    <a:pt x="63617" y="186002"/>
                  </a:cubicBezTo>
                  <a:cubicBezTo>
                    <a:pt x="63617" y="180563"/>
                    <a:pt x="63617" y="153366"/>
                    <a:pt x="63617" y="145207"/>
                  </a:cubicBezTo>
                  <a:cubicBezTo>
                    <a:pt x="63617" y="134329"/>
                    <a:pt x="63617" y="120730"/>
                    <a:pt x="63617" y="109852"/>
                  </a:cubicBezTo>
                  <a:cubicBezTo>
                    <a:pt x="60897" y="104412"/>
                    <a:pt x="58178" y="101693"/>
                    <a:pt x="58178" y="96253"/>
                  </a:cubicBezTo>
                  <a:cubicBezTo>
                    <a:pt x="58178" y="93534"/>
                    <a:pt x="60897" y="88095"/>
                    <a:pt x="66337" y="85375"/>
                  </a:cubicBezTo>
                  <a:cubicBezTo>
                    <a:pt x="74496" y="79936"/>
                    <a:pt x="77215" y="77216"/>
                    <a:pt x="93533" y="77216"/>
                  </a:cubicBezTo>
                  <a:cubicBezTo>
                    <a:pt x="101692" y="77216"/>
                    <a:pt x="109852" y="77216"/>
                    <a:pt x="115290" y="77216"/>
                  </a:cubicBezTo>
                  <a:cubicBezTo>
                    <a:pt x="134328" y="77216"/>
                    <a:pt x="150646" y="77216"/>
                    <a:pt x="169684" y="74496"/>
                  </a:cubicBezTo>
                  <a:cubicBezTo>
                    <a:pt x="177843" y="74496"/>
                    <a:pt x="186002" y="71776"/>
                    <a:pt x="194161" y="71776"/>
                  </a:cubicBezTo>
                  <a:cubicBezTo>
                    <a:pt x="194161" y="71776"/>
                    <a:pt x="196880" y="71776"/>
                    <a:pt x="196880" y="71776"/>
                  </a:cubicBezTo>
                  <a:cubicBezTo>
                    <a:pt x="199600" y="71776"/>
                    <a:pt x="205040" y="71776"/>
                    <a:pt x="210478" y="71776"/>
                  </a:cubicBezTo>
                  <a:cubicBezTo>
                    <a:pt x="213198" y="71776"/>
                    <a:pt x="215918" y="71776"/>
                    <a:pt x="218638" y="71776"/>
                  </a:cubicBezTo>
                  <a:cubicBezTo>
                    <a:pt x="224077" y="69057"/>
                    <a:pt x="229516" y="63618"/>
                    <a:pt x="237675" y="60898"/>
                  </a:cubicBezTo>
                  <a:cubicBezTo>
                    <a:pt x="243115" y="58178"/>
                    <a:pt x="248554" y="58178"/>
                    <a:pt x="253993" y="58178"/>
                  </a:cubicBezTo>
                  <a:cubicBezTo>
                    <a:pt x="264872" y="58178"/>
                    <a:pt x="273031" y="58178"/>
                    <a:pt x="283910" y="60898"/>
                  </a:cubicBezTo>
                  <a:cubicBezTo>
                    <a:pt x="286629" y="60898"/>
                    <a:pt x="292068" y="63618"/>
                    <a:pt x="294788" y="66337"/>
                  </a:cubicBezTo>
                  <a:cubicBezTo>
                    <a:pt x="297508" y="69057"/>
                    <a:pt x="302948" y="71776"/>
                    <a:pt x="305667" y="74496"/>
                  </a:cubicBezTo>
                  <a:cubicBezTo>
                    <a:pt x="308386" y="74496"/>
                    <a:pt x="311106" y="74496"/>
                    <a:pt x="313826" y="74496"/>
                  </a:cubicBezTo>
                  <a:cubicBezTo>
                    <a:pt x="319265" y="74496"/>
                    <a:pt x="321985" y="74496"/>
                    <a:pt x="327424" y="74496"/>
                  </a:cubicBezTo>
                  <a:cubicBezTo>
                    <a:pt x="335583" y="74496"/>
                    <a:pt x="346461" y="74496"/>
                    <a:pt x="354621" y="74496"/>
                  </a:cubicBezTo>
                  <a:cubicBezTo>
                    <a:pt x="376378" y="74496"/>
                    <a:pt x="400855" y="74496"/>
                    <a:pt x="422612" y="74496"/>
                  </a:cubicBezTo>
                  <a:cubicBezTo>
                    <a:pt x="433491" y="74496"/>
                    <a:pt x="447089" y="74496"/>
                    <a:pt x="455248" y="79936"/>
                  </a:cubicBezTo>
                  <a:cubicBezTo>
                    <a:pt x="460687" y="82655"/>
                    <a:pt x="466127" y="90814"/>
                    <a:pt x="466127" y="98973"/>
                  </a:cubicBezTo>
                  <a:cubicBezTo>
                    <a:pt x="466127" y="101693"/>
                    <a:pt x="466127" y="107132"/>
                    <a:pt x="463407" y="109852"/>
                  </a:cubicBezTo>
                  <a:cubicBezTo>
                    <a:pt x="463407" y="112571"/>
                    <a:pt x="463407" y="112571"/>
                    <a:pt x="463407" y="120730"/>
                  </a:cubicBezTo>
                  <a:cubicBezTo>
                    <a:pt x="463407" y="142488"/>
                    <a:pt x="463407" y="172404"/>
                    <a:pt x="463407" y="194161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9" name="Text Placeholder 53">
            <a:extLst>
              <a:ext uri="{FF2B5EF4-FFF2-40B4-BE49-F238E27FC236}">
                <a16:creationId xmlns:a16="http://schemas.microsoft.com/office/drawing/2014/main" id="{5B8EF472-40A4-439A-B62A-2B3D53CEFD5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438400" y="3422650"/>
            <a:ext cx="7315200" cy="640080"/>
          </a:xfrm>
          <a:prstGeom prst="rect">
            <a:avLst/>
          </a:prstGeo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2000">
                <a:solidFill>
                  <a:schemeClr val="tx1"/>
                </a:solidFill>
              </a:defRPr>
            </a:lvl1pPr>
            <a:lvl2pPr marL="0" indent="0" algn="ctr">
              <a:spcBef>
                <a:spcPts val="0"/>
              </a:spcBef>
              <a:buNone/>
              <a:defRPr sz="2000">
                <a:solidFill>
                  <a:schemeClr val="tx1"/>
                </a:solidFill>
              </a:defRPr>
            </a:lvl2pPr>
            <a:lvl3pPr marL="0" indent="0" algn="ctr">
              <a:spcBef>
                <a:spcPts val="0"/>
              </a:spcBef>
              <a:buNone/>
              <a:defRPr sz="2000">
                <a:solidFill>
                  <a:schemeClr val="tx1"/>
                </a:solidFill>
              </a:defRPr>
            </a:lvl3pPr>
            <a:lvl4pPr marL="0" indent="0" algn="ctr">
              <a:spcBef>
                <a:spcPts val="0"/>
              </a:spcBef>
              <a:buNone/>
              <a:defRPr sz="2000">
                <a:solidFill>
                  <a:schemeClr val="tx1"/>
                </a:solidFill>
              </a:defRPr>
            </a:lvl4pPr>
            <a:lvl5pPr marL="0" indent="0" algn="ctr">
              <a:spcBef>
                <a:spcPts val="0"/>
              </a:spcBef>
              <a:buNone/>
              <a:defRPr sz="2000">
                <a:solidFill>
                  <a:schemeClr val="tx1"/>
                </a:solidFill>
              </a:defRPr>
            </a:lvl5pPr>
            <a:lvl6pPr marL="0" indent="0" algn="ctr">
              <a:spcBef>
                <a:spcPts val="0"/>
              </a:spcBef>
              <a:buNone/>
              <a:defRPr sz="2000">
                <a:solidFill>
                  <a:schemeClr val="tx1"/>
                </a:solidFill>
              </a:defRPr>
            </a:lvl6pPr>
            <a:lvl7pPr marL="0" indent="0" algn="ctr">
              <a:spcBef>
                <a:spcPts val="0"/>
              </a:spcBef>
              <a:buNone/>
              <a:defRPr sz="2000">
                <a:solidFill>
                  <a:schemeClr val="tx1"/>
                </a:solidFill>
              </a:defRPr>
            </a:lvl7pPr>
            <a:lvl8pPr marL="0" indent="0" algn="ctr">
              <a:spcBef>
                <a:spcPts val="0"/>
              </a:spcBef>
              <a:buNone/>
              <a:defRPr sz="2000">
                <a:solidFill>
                  <a:schemeClr val="tx1"/>
                </a:solidFill>
              </a:defRPr>
            </a:lvl8pPr>
            <a:lvl9pPr marL="0" indent="0" algn="ctr">
              <a:spcBef>
                <a:spcPts val="0"/>
              </a:spcBef>
              <a:buNone/>
              <a:defRPr sz="20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1592235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D7533635-B1C4-457F-B4C4-D0F7EFBF08C3}"/>
              </a:ext>
            </a:extLst>
          </p:cNvPr>
          <p:cNvSpPr/>
          <p:nvPr/>
        </p:nvSpPr>
        <p:spPr bwMode="ltGray">
          <a:xfrm>
            <a:off x="10462371" y="5974804"/>
            <a:ext cx="1585477" cy="883197"/>
          </a:xfrm>
          <a:custGeom>
            <a:avLst/>
            <a:gdLst>
              <a:gd name="connsiteX0" fmla="*/ 838774 w 1585477"/>
              <a:gd name="connsiteY0" fmla="*/ 14 h 883197"/>
              <a:gd name="connsiteX1" fmla="*/ 996107 w 1585477"/>
              <a:gd name="connsiteY1" fmla="*/ 18377 h 883197"/>
              <a:gd name="connsiteX2" fmla="*/ 1585477 w 1585477"/>
              <a:gd name="connsiteY2" fmla="*/ 746145 h 883197"/>
              <a:gd name="connsiteX3" fmla="*/ 1585202 w 1585477"/>
              <a:gd name="connsiteY3" fmla="*/ 883197 h 883197"/>
              <a:gd name="connsiteX4" fmla="*/ 695 w 1585477"/>
              <a:gd name="connsiteY4" fmla="*/ 883197 h 883197"/>
              <a:gd name="connsiteX5" fmla="*/ 294 w 1585477"/>
              <a:gd name="connsiteY5" fmla="*/ 879328 h 883197"/>
              <a:gd name="connsiteX6" fmla="*/ 20167 w 1585477"/>
              <a:gd name="connsiteY6" fmla="*/ 648487 h 883197"/>
              <a:gd name="connsiteX7" fmla="*/ 838774 w 1585477"/>
              <a:gd name="connsiteY7" fmla="*/ 14 h 8831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585477" h="883197">
                <a:moveTo>
                  <a:pt x="838774" y="14"/>
                </a:moveTo>
                <a:cubicBezTo>
                  <a:pt x="891699" y="335"/>
                  <a:pt x="944452" y="6288"/>
                  <a:pt x="996107" y="18377"/>
                </a:cubicBezTo>
                <a:cubicBezTo>
                  <a:pt x="1344865" y="100437"/>
                  <a:pt x="1558993" y="409128"/>
                  <a:pt x="1585477" y="746145"/>
                </a:cubicBezTo>
                <a:lnTo>
                  <a:pt x="1585202" y="883197"/>
                </a:lnTo>
                <a:lnTo>
                  <a:pt x="695" y="883197"/>
                </a:lnTo>
                <a:lnTo>
                  <a:pt x="294" y="879328"/>
                </a:lnTo>
                <a:cubicBezTo>
                  <a:pt x="-1813" y="797038"/>
                  <a:pt x="7712" y="718092"/>
                  <a:pt x="20167" y="648487"/>
                </a:cubicBezTo>
                <a:cubicBezTo>
                  <a:pt x="89408" y="271519"/>
                  <a:pt x="468297" y="-2229"/>
                  <a:pt x="838774" y="14"/>
                </a:cubicBezTo>
                <a:close/>
              </a:path>
            </a:pathLst>
          </a:custGeom>
          <a:solidFill>
            <a:srgbClr val="4F2170"/>
          </a:solidFill>
          <a:ln w="9525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>
              <a:lnSpc>
                <a:spcPct val="90000"/>
              </a:lnSpc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B813CEC-1B8A-4FB0-9276-0170AED9E37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1" y="322697"/>
            <a:ext cx="11430001" cy="485335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A994A90-D491-44FB-9802-5BF47DE84FD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055389" y="6307159"/>
            <a:ext cx="914400" cy="158954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srgbClr val="666666"/>
              </a:solidFill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07A821A-79DC-41C0-A300-2B368D9926E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32534" y="6307159"/>
            <a:ext cx="7104770" cy="158954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srgbClr val="666666"/>
              </a:solidFill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49FD507-7645-49CA-AA88-72717BAD31E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5A54F4-DB31-4FC5-B748-3F06867349C3}" type="slidenum">
              <a:rPr lang="en-US">
                <a:solidFill>
                  <a:srgbClr val="666666"/>
                </a:solidFill>
              </a:rPr>
              <a:pPr/>
              <a:t>‹N›</a:t>
            </a:fld>
            <a:endParaRPr lang="en-US">
              <a:solidFill>
                <a:srgbClr val="666666"/>
              </a:solidFill>
            </a:endParaRPr>
          </a:p>
        </p:txBody>
      </p:sp>
      <p:sp>
        <p:nvSpPr>
          <p:cNvPr id="8" name="Text Placeholder 53">
            <a:extLst>
              <a:ext uri="{FF2B5EF4-FFF2-40B4-BE49-F238E27FC236}">
                <a16:creationId xmlns:a16="http://schemas.microsoft.com/office/drawing/2014/main" id="{B420C7EB-E753-4F7B-AEA6-BF83E3F3712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1000" y="731530"/>
            <a:ext cx="11429998" cy="365739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2000">
                <a:solidFill>
                  <a:srgbClr val="724D8D"/>
                </a:solidFill>
              </a:defRPr>
            </a:lvl1pPr>
            <a:lvl2pPr marL="0" indent="0">
              <a:spcBef>
                <a:spcPts val="0"/>
              </a:spcBef>
              <a:buNone/>
              <a:defRPr sz="2000">
                <a:solidFill>
                  <a:srgbClr val="724D8D"/>
                </a:solidFill>
              </a:defRPr>
            </a:lvl2pPr>
            <a:lvl3pPr marL="0" indent="0">
              <a:spcBef>
                <a:spcPts val="0"/>
              </a:spcBef>
              <a:buNone/>
              <a:defRPr sz="2000">
                <a:solidFill>
                  <a:srgbClr val="724D8D"/>
                </a:solidFill>
              </a:defRPr>
            </a:lvl3pPr>
            <a:lvl4pPr marL="0" indent="0">
              <a:spcBef>
                <a:spcPts val="0"/>
              </a:spcBef>
              <a:buNone/>
              <a:defRPr sz="2000">
                <a:solidFill>
                  <a:srgbClr val="724D8D"/>
                </a:solidFill>
              </a:defRPr>
            </a:lvl4pPr>
            <a:lvl5pPr marL="0" indent="0">
              <a:spcBef>
                <a:spcPts val="0"/>
              </a:spcBef>
              <a:buNone/>
              <a:defRPr sz="2000">
                <a:solidFill>
                  <a:srgbClr val="724D8D"/>
                </a:solidFill>
              </a:defRPr>
            </a:lvl5pPr>
            <a:lvl6pPr marL="0" indent="0">
              <a:spcBef>
                <a:spcPts val="0"/>
              </a:spcBef>
              <a:buNone/>
              <a:defRPr sz="2000">
                <a:solidFill>
                  <a:srgbClr val="724D8D"/>
                </a:solidFill>
              </a:defRPr>
            </a:lvl6pPr>
            <a:lvl7pPr marL="0" indent="0">
              <a:spcBef>
                <a:spcPts val="0"/>
              </a:spcBef>
              <a:buNone/>
              <a:defRPr sz="2000">
                <a:solidFill>
                  <a:srgbClr val="724D8D"/>
                </a:solidFill>
              </a:defRPr>
            </a:lvl7pPr>
            <a:lvl8pPr marL="0" indent="0">
              <a:spcBef>
                <a:spcPts val="0"/>
              </a:spcBef>
              <a:buNone/>
              <a:defRPr sz="2000">
                <a:solidFill>
                  <a:srgbClr val="724D8D"/>
                </a:solidFill>
              </a:defRPr>
            </a:lvl8pPr>
            <a:lvl9pPr marL="0" indent="0">
              <a:spcBef>
                <a:spcPts val="0"/>
              </a:spcBef>
              <a:buNone/>
              <a:defRPr sz="2000">
                <a:solidFill>
                  <a:srgbClr val="724D8D"/>
                </a:solidFill>
              </a:defRPr>
            </a:lvl9pPr>
          </a:lstStyle>
          <a:p>
            <a:pPr lvl="0"/>
            <a:r>
              <a:rPr lang="en-US"/>
              <a:t>Click to add subtitle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95A0AFF1-9E54-421B-AC34-EAFAF90112DD}"/>
              </a:ext>
            </a:extLst>
          </p:cNvPr>
          <p:cNvGrpSpPr>
            <a:grpSpLocks noChangeAspect="1"/>
          </p:cNvGrpSpPr>
          <p:nvPr/>
        </p:nvGrpSpPr>
        <p:grpSpPr>
          <a:xfrm>
            <a:off x="10676779" y="6205751"/>
            <a:ext cx="1143000" cy="440144"/>
            <a:chOff x="2078951" y="1888610"/>
            <a:chExt cx="8030200" cy="3092248"/>
          </a:xfrm>
          <a:solidFill>
            <a:srgbClr val="FFFFFF"/>
          </a:solidFill>
        </p:grpSpPr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0BFDC3F4-CA3C-4FC2-92DD-3CADF4989447}"/>
                </a:ext>
              </a:extLst>
            </p:cNvPr>
            <p:cNvSpPr/>
            <p:nvPr/>
          </p:nvSpPr>
          <p:spPr>
            <a:xfrm>
              <a:off x="2078951" y="2872694"/>
              <a:ext cx="951880" cy="652717"/>
            </a:xfrm>
            <a:custGeom>
              <a:avLst/>
              <a:gdLst>
                <a:gd name="connsiteX0" fmla="*/ 903041 w 951880"/>
                <a:gd name="connsiteY0" fmla="*/ 330574 h 652717"/>
                <a:gd name="connsiteX1" fmla="*/ 780656 w 951880"/>
                <a:gd name="connsiteY1" fmla="*/ 379528 h 652717"/>
                <a:gd name="connsiteX2" fmla="*/ 598439 w 951880"/>
                <a:gd name="connsiteY2" fmla="*/ 311537 h 652717"/>
                <a:gd name="connsiteX3" fmla="*/ 505970 w 951880"/>
                <a:gd name="connsiteY3" fmla="*/ 164675 h 652717"/>
                <a:gd name="connsiteX4" fmla="*/ 266640 w 951880"/>
                <a:gd name="connsiteY4" fmla="*/ 61329 h 652717"/>
                <a:gd name="connsiteX5" fmla="*/ 103461 w 951880"/>
                <a:gd name="connsiteY5" fmla="*/ 458398 h 652717"/>
                <a:gd name="connsiteX6" fmla="*/ 756179 w 951880"/>
                <a:gd name="connsiteY6" fmla="*/ 485595 h 652717"/>
                <a:gd name="connsiteX7" fmla="*/ 903041 w 951880"/>
                <a:gd name="connsiteY7" fmla="*/ 330574 h 6527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51880" h="652717">
                  <a:moveTo>
                    <a:pt x="903041" y="330574"/>
                  </a:moveTo>
                  <a:cubicBezTo>
                    <a:pt x="867685" y="363210"/>
                    <a:pt x="813292" y="374089"/>
                    <a:pt x="780656" y="379528"/>
                  </a:cubicBezTo>
                  <a:cubicBezTo>
                    <a:pt x="712664" y="387687"/>
                    <a:pt x="641953" y="365930"/>
                    <a:pt x="598439" y="311537"/>
                  </a:cubicBezTo>
                  <a:cubicBezTo>
                    <a:pt x="563083" y="268022"/>
                    <a:pt x="544046" y="210910"/>
                    <a:pt x="505970" y="164675"/>
                  </a:cubicBezTo>
                  <a:cubicBezTo>
                    <a:pt x="448858" y="93964"/>
                    <a:pt x="359109" y="45011"/>
                    <a:pt x="266640" y="61329"/>
                  </a:cubicBezTo>
                  <a:cubicBezTo>
                    <a:pt x="81704" y="93964"/>
                    <a:pt x="114" y="308817"/>
                    <a:pt x="103461" y="458398"/>
                  </a:cubicBezTo>
                  <a:cubicBezTo>
                    <a:pt x="253042" y="670531"/>
                    <a:pt x="584840" y="635176"/>
                    <a:pt x="756179" y="485595"/>
                  </a:cubicBezTo>
                  <a:cubicBezTo>
                    <a:pt x="813292" y="442080"/>
                    <a:pt x="862246" y="390407"/>
                    <a:pt x="903041" y="330574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rgbClr val="666666"/>
                </a:solidFill>
              </a:endParaRPr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637DBEEE-CF7F-4D1F-849D-928BA82EC93B}"/>
                </a:ext>
              </a:extLst>
            </p:cNvPr>
            <p:cNvSpPr/>
            <p:nvPr/>
          </p:nvSpPr>
          <p:spPr>
            <a:xfrm>
              <a:off x="9151831" y="2872694"/>
              <a:ext cx="951880" cy="652717"/>
            </a:xfrm>
            <a:custGeom>
              <a:avLst/>
              <a:gdLst>
                <a:gd name="connsiteX0" fmla="*/ 58178 w 951880"/>
                <a:gd name="connsiteY0" fmla="*/ 330574 h 652717"/>
                <a:gd name="connsiteX1" fmla="*/ 180563 w 951880"/>
                <a:gd name="connsiteY1" fmla="*/ 379528 h 652717"/>
                <a:gd name="connsiteX2" fmla="*/ 362780 w 951880"/>
                <a:gd name="connsiteY2" fmla="*/ 311537 h 652717"/>
                <a:gd name="connsiteX3" fmla="*/ 455249 w 951880"/>
                <a:gd name="connsiteY3" fmla="*/ 164675 h 652717"/>
                <a:gd name="connsiteX4" fmla="*/ 694578 w 951880"/>
                <a:gd name="connsiteY4" fmla="*/ 61329 h 652717"/>
                <a:gd name="connsiteX5" fmla="*/ 857758 w 951880"/>
                <a:gd name="connsiteY5" fmla="*/ 458398 h 652717"/>
                <a:gd name="connsiteX6" fmla="*/ 205040 w 951880"/>
                <a:gd name="connsiteY6" fmla="*/ 485595 h 652717"/>
                <a:gd name="connsiteX7" fmla="*/ 58178 w 951880"/>
                <a:gd name="connsiteY7" fmla="*/ 330574 h 6527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51880" h="652717">
                  <a:moveTo>
                    <a:pt x="58178" y="330574"/>
                  </a:moveTo>
                  <a:cubicBezTo>
                    <a:pt x="96253" y="363210"/>
                    <a:pt x="147927" y="374089"/>
                    <a:pt x="180563" y="379528"/>
                  </a:cubicBezTo>
                  <a:cubicBezTo>
                    <a:pt x="248554" y="387687"/>
                    <a:pt x="319266" y="365930"/>
                    <a:pt x="362780" y="311537"/>
                  </a:cubicBezTo>
                  <a:cubicBezTo>
                    <a:pt x="398136" y="268022"/>
                    <a:pt x="417174" y="210910"/>
                    <a:pt x="455249" y="164675"/>
                  </a:cubicBezTo>
                  <a:cubicBezTo>
                    <a:pt x="512362" y="93964"/>
                    <a:pt x="602110" y="45011"/>
                    <a:pt x="694578" y="61329"/>
                  </a:cubicBezTo>
                  <a:cubicBezTo>
                    <a:pt x="879515" y="93964"/>
                    <a:pt x="961105" y="308817"/>
                    <a:pt x="857758" y="458398"/>
                  </a:cubicBezTo>
                  <a:cubicBezTo>
                    <a:pt x="708176" y="670531"/>
                    <a:pt x="376379" y="635176"/>
                    <a:pt x="205040" y="485595"/>
                  </a:cubicBezTo>
                  <a:cubicBezTo>
                    <a:pt x="150646" y="442080"/>
                    <a:pt x="101693" y="390407"/>
                    <a:pt x="58178" y="330574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rgbClr val="666666"/>
                </a:solidFill>
              </a:endParaRPr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BB2F70EF-E943-4F09-9AF2-6BD9CAD5CB3A}"/>
                </a:ext>
              </a:extLst>
            </p:cNvPr>
            <p:cNvSpPr/>
            <p:nvPr/>
          </p:nvSpPr>
          <p:spPr>
            <a:xfrm>
              <a:off x="8001294" y="2010994"/>
              <a:ext cx="734308" cy="299162"/>
            </a:xfrm>
            <a:custGeom>
              <a:avLst/>
              <a:gdLst>
                <a:gd name="connsiteX0" fmla="*/ 596792 w 734307"/>
                <a:gd name="connsiteY0" fmla="*/ 58178 h 299162"/>
                <a:gd name="connsiteX1" fmla="*/ 148048 w 734307"/>
                <a:gd name="connsiteY1" fmla="*/ 58178 h 299162"/>
                <a:gd name="connsiteX2" fmla="*/ 58299 w 734307"/>
                <a:gd name="connsiteY2" fmla="*/ 150646 h 299162"/>
                <a:gd name="connsiteX3" fmla="*/ 148048 w 734307"/>
                <a:gd name="connsiteY3" fmla="*/ 251274 h 299162"/>
                <a:gd name="connsiteX4" fmla="*/ 596792 w 734307"/>
                <a:gd name="connsiteY4" fmla="*/ 251274 h 299162"/>
                <a:gd name="connsiteX5" fmla="*/ 686541 w 734307"/>
                <a:gd name="connsiteY5" fmla="*/ 158805 h 299162"/>
                <a:gd name="connsiteX6" fmla="*/ 596792 w 734307"/>
                <a:gd name="connsiteY6" fmla="*/ 58178 h 2991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34307" h="299162">
                  <a:moveTo>
                    <a:pt x="596792" y="58178"/>
                  </a:moveTo>
                  <a:cubicBezTo>
                    <a:pt x="591353" y="58178"/>
                    <a:pt x="153487" y="58178"/>
                    <a:pt x="148048" y="58178"/>
                  </a:cubicBezTo>
                  <a:cubicBezTo>
                    <a:pt x="99094" y="60898"/>
                    <a:pt x="61019" y="104412"/>
                    <a:pt x="58299" y="150646"/>
                  </a:cubicBezTo>
                  <a:cubicBezTo>
                    <a:pt x="55580" y="199600"/>
                    <a:pt x="99094" y="248554"/>
                    <a:pt x="148048" y="251274"/>
                  </a:cubicBezTo>
                  <a:cubicBezTo>
                    <a:pt x="153487" y="251274"/>
                    <a:pt x="591353" y="251274"/>
                    <a:pt x="596792" y="251274"/>
                  </a:cubicBezTo>
                  <a:cubicBezTo>
                    <a:pt x="645746" y="248554"/>
                    <a:pt x="683821" y="205040"/>
                    <a:pt x="686541" y="158805"/>
                  </a:cubicBezTo>
                  <a:cubicBezTo>
                    <a:pt x="689260" y="109852"/>
                    <a:pt x="648465" y="60898"/>
                    <a:pt x="596792" y="58178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rgbClr val="666666"/>
                </a:solidFill>
              </a:endParaRPr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87C3E69A-2B35-4A55-B991-C0C039AFB0CE}"/>
                </a:ext>
              </a:extLst>
            </p:cNvPr>
            <p:cNvSpPr/>
            <p:nvPr/>
          </p:nvSpPr>
          <p:spPr>
            <a:xfrm>
              <a:off x="4920042" y="2277520"/>
              <a:ext cx="1006274" cy="951879"/>
            </a:xfrm>
            <a:custGeom>
              <a:avLst/>
              <a:gdLst>
                <a:gd name="connsiteX0" fmla="*/ 884954 w 1006273"/>
                <a:gd name="connsiteY0" fmla="*/ 746251 h 951879"/>
                <a:gd name="connsiteX1" fmla="*/ 874076 w 1006273"/>
                <a:gd name="connsiteY1" fmla="*/ 670101 h 951879"/>
                <a:gd name="connsiteX2" fmla="*/ 874076 w 1006273"/>
                <a:gd name="connsiteY2" fmla="*/ 536837 h 951879"/>
                <a:gd name="connsiteX3" fmla="*/ 689139 w 1006273"/>
                <a:gd name="connsiteY3" fmla="*/ 88094 h 951879"/>
                <a:gd name="connsiteX4" fmla="*/ 428052 w 1006273"/>
                <a:gd name="connsiteY4" fmla="*/ 253993 h 951879"/>
                <a:gd name="connsiteX5" fmla="*/ 196881 w 1006273"/>
                <a:gd name="connsiteY5" fmla="*/ 58178 h 951879"/>
                <a:gd name="connsiteX6" fmla="*/ 58178 w 1006273"/>
                <a:gd name="connsiteY6" fmla="*/ 128889 h 951879"/>
                <a:gd name="connsiteX7" fmla="*/ 142488 w 1006273"/>
                <a:gd name="connsiteY7" fmla="*/ 273031 h 951879"/>
                <a:gd name="connsiteX8" fmla="*/ 142488 w 1006273"/>
                <a:gd name="connsiteY8" fmla="*/ 757130 h 951879"/>
                <a:gd name="connsiteX9" fmla="*/ 283910 w 1006273"/>
                <a:gd name="connsiteY9" fmla="*/ 895832 h 951879"/>
                <a:gd name="connsiteX10" fmla="*/ 428052 w 1006273"/>
                <a:gd name="connsiteY10" fmla="*/ 757130 h 951879"/>
                <a:gd name="connsiteX11" fmla="*/ 428052 w 1006273"/>
                <a:gd name="connsiteY11" fmla="*/ 400855 h 951879"/>
                <a:gd name="connsiteX12" fmla="*/ 523240 w 1006273"/>
                <a:gd name="connsiteY12" fmla="*/ 283910 h 951879"/>
                <a:gd name="connsiteX13" fmla="*/ 591231 w 1006273"/>
                <a:gd name="connsiteY13" fmla="*/ 354621 h 951879"/>
                <a:gd name="connsiteX14" fmla="*/ 591231 w 1006273"/>
                <a:gd name="connsiteY14" fmla="*/ 697297 h 951879"/>
                <a:gd name="connsiteX15" fmla="*/ 593951 w 1006273"/>
                <a:gd name="connsiteY15" fmla="*/ 729933 h 951879"/>
                <a:gd name="connsiteX16" fmla="*/ 610269 w 1006273"/>
                <a:gd name="connsiteY16" fmla="*/ 778887 h 951879"/>
                <a:gd name="connsiteX17" fmla="*/ 822402 w 1006273"/>
                <a:gd name="connsiteY17" fmla="*/ 893112 h 951879"/>
                <a:gd name="connsiteX18" fmla="*/ 961105 w 1006273"/>
                <a:gd name="connsiteY18" fmla="*/ 822401 h 951879"/>
                <a:gd name="connsiteX19" fmla="*/ 884954 w 1006273"/>
                <a:gd name="connsiteY19" fmla="*/ 746251 h 9518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006273" h="951879">
                  <a:moveTo>
                    <a:pt x="884954" y="746251"/>
                  </a:moveTo>
                  <a:cubicBezTo>
                    <a:pt x="879515" y="721774"/>
                    <a:pt x="876795" y="694578"/>
                    <a:pt x="874076" y="670101"/>
                  </a:cubicBezTo>
                  <a:cubicBezTo>
                    <a:pt x="874076" y="634745"/>
                    <a:pt x="874076" y="583072"/>
                    <a:pt x="874076" y="536837"/>
                  </a:cubicBezTo>
                  <a:cubicBezTo>
                    <a:pt x="879515" y="373658"/>
                    <a:pt x="909431" y="88094"/>
                    <a:pt x="689139" y="88094"/>
                  </a:cubicBezTo>
                  <a:cubicBezTo>
                    <a:pt x="539558" y="88094"/>
                    <a:pt x="452529" y="213199"/>
                    <a:pt x="428052" y="253993"/>
                  </a:cubicBezTo>
                  <a:cubicBezTo>
                    <a:pt x="425332" y="139768"/>
                    <a:pt x="335583" y="58178"/>
                    <a:pt x="196881" y="58178"/>
                  </a:cubicBezTo>
                  <a:cubicBezTo>
                    <a:pt x="109852" y="58178"/>
                    <a:pt x="58178" y="128889"/>
                    <a:pt x="58178" y="128889"/>
                  </a:cubicBezTo>
                  <a:cubicBezTo>
                    <a:pt x="58178" y="128889"/>
                    <a:pt x="142488" y="158805"/>
                    <a:pt x="142488" y="273031"/>
                  </a:cubicBezTo>
                  <a:cubicBezTo>
                    <a:pt x="142488" y="354621"/>
                    <a:pt x="142488" y="757130"/>
                    <a:pt x="142488" y="757130"/>
                  </a:cubicBezTo>
                  <a:cubicBezTo>
                    <a:pt x="145207" y="827841"/>
                    <a:pt x="194161" y="895832"/>
                    <a:pt x="283910" y="895832"/>
                  </a:cubicBezTo>
                  <a:cubicBezTo>
                    <a:pt x="373659" y="895832"/>
                    <a:pt x="428052" y="827841"/>
                    <a:pt x="428052" y="757130"/>
                  </a:cubicBezTo>
                  <a:lnTo>
                    <a:pt x="428052" y="400855"/>
                  </a:lnTo>
                  <a:cubicBezTo>
                    <a:pt x="441650" y="343742"/>
                    <a:pt x="474286" y="283910"/>
                    <a:pt x="523240" y="283910"/>
                  </a:cubicBezTo>
                  <a:cubicBezTo>
                    <a:pt x="585792" y="283910"/>
                    <a:pt x="591231" y="354621"/>
                    <a:pt x="591231" y="354621"/>
                  </a:cubicBezTo>
                  <a:lnTo>
                    <a:pt x="591231" y="697297"/>
                  </a:lnTo>
                  <a:cubicBezTo>
                    <a:pt x="591231" y="708176"/>
                    <a:pt x="593951" y="719054"/>
                    <a:pt x="593951" y="729933"/>
                  </a:cubicBezTo>
                  <a:cubicBezTo>
                    <a:pt x="596671" y="748971"/>
                    <a:pt x="602110" y="765289"/>
                    <a:pt x="610269" y="778887"/>
                  </a:cubicBezTo>
                  <a:cubicBezTo>
                    <a:pt x="645624" y="846878"/>
                    <a:pt x="719055" y="893112"/>
                    <a:pt x="822402" y="893112"/>
                  </a:cubicBezTo>
                  <a:cubicBezTo>
                    <a:pt x="909431" y="893112"/>
                    <a:pt x="961105" y="822401"/>
                    <a:pt x="961105" y="822401"/>
                  </a:cubicBezTo>
                  <a:cubicBezTo>
                    <a:pt x="961105" y="822401"/>
                    <a:pt x="909431" y="808803"/>
                    <a:pt x="884954" y="746251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rgbClr val="666666"/>
                </a:solidFill>
              </a:endParaRPr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11AF4A2B-A30E-4897-8EDC-C99DE54C2936}"/>
                </a:ext>
              </a:extLst>
            </p:cNvPr>
            <p:cNvSpPr/>
            <p:nvPr/>
          </p:nvSpPr>
          <p:spPr>
            <a:xfrm>
              <a:off x="7552331" y="1888610"/>
              <a:ext cx="489539" cy="1332631"/>
            </a:xfrm>
            <a:custGeom>
              <a:avLst/>
              <a:gdLst>
                <a:gd name="connsiteX0" fmla="*/ 368560 w 489538"/>
                <a:gd name="connsiteY0" fmla="*/ 1135162 h 1332630"/>
                <a:gd name="connsiteX1" fmla="*/ 357681 w 489538"/>
                <a:gd name="connsiteY1" fmla="*/ 1059011 h 1332630"/>
                <a:gd name="connsiteX2" fmla="*/ 357681 w 489538"/>
                <a:gd name="connsiteY2" fmla="*/ 207759 h 1332630"/>
                <a:gd name="connsiteX3" fmla="*/ 208099 w 489538"/>
                <a:gd name="connsiteY3" fmla="*/ 58178 h 1332630"/>
                <a:gd name="connsiteX4" fmla="*/ 58518 w 489538"/>
                <a:gd name="connsiteY4" fmla="*/ 207759 h 1332630"/>
                <a:gd name="connsiteX5" fmla="*/ 58518 w 489538"/>
                <a:gd name="connsiteY5" fmla="*/ 961104 h 1332630"/>
                <a:gd name="connsiteX6" fmla="*/ 85715 w 489538"/>
                <a:gd name="connsiteY6" fmla="*/ 1159639 h 1332630"/>
                <a:gd name="connsiteX7" fmla="*/ 306007 w 489538"/>
                <a:gd name="connsiteY7" fmla="*/ 1282023 h 1332630"/>
                <a:gd name="connsiteX8" fmla="*/ 444710 w 489538"/>
                <a:gd name="connsiteY8" fmla="*/ 1211312 h 1332630"/>
                <a:gd name="connsiteX9" fmla="*/ 368560 w 489538"/>
                <a:gd name="connsiteY9" fmla="*/ 1135162 h 13326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89538" h="1332630">
                  <a:moveTo>
                    <a:pt x="368560" y="1135162"/>
                  </a:moveTo>
                  <a:cubicBezTo>
                    <a:pt x="363120" y="1110685"/>
                    <a:pt x="357681" y="1083488"/>
                    <a:pt x="357681" y="1059011"/>
                  </a:cubicBezTo>
                  <a:lnTo>
                    <a:pt x="357681" y="207759"/>
                  </a:lnTo>
                  <a:cubicBezTo>
                    <a:pt x="357681" y="126170"/>
                    <a:pt x="289689" y="58178"/>
                    <a:pt x="208099" y="58178"/>
                  </a:cubicBezTo>
                  <a:cubicBezTo>
                    <a:pt x="126510" y="58178"/>
                    <a:pt x="58518" y="126170"/>
                    <a:pt x="58518" y="207759"/>
                  </a:cubicBezTo>
                  <a:lnTo>
                    <a:pt x="58518" y="961104"/>
                  </a:lnTo>
                  <a:cubicBezTo>
                    <a:pt x="58518" y="1029095"/>
                    <a:pt x="53079" y="1097086"/>
                    <a:pt x="85715" y="1159639"/>
                  </a:cubicBezTo>
                  <a:cubicBezTo>
                    <a:pt x="118351" y="1227630"/>
                    <a:pt x="202660" y="1282023"/>
                    <a:pt x="306007" y="1282023"/>
                  </a:cubicBezTo>
                  <a:cubicBezTo>
                    <a:pt x="393036" y="1282023"/>
                    <a:pt x="444710" y="1211312"/>
                    <a:pt x="444710" y="1211312"/>
                  </a:cubicBezTo>
                  <a:cubicBezTo>
                    <a:pt x="444710" y="1211312"/>
                    <a:pt x="393036" y="1197714"/>
                    <a:pt x="368560" y="1135162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rgbClr val="666666"/>
                </a:solidFill>
              </a:endParaRPr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B2DCAE65-6D6D-48D1-B28A-A058E3BC709E}"/>
                </a:ext>
              </a:extLst>
            </p:cNvPr>
            <p:cNvSpPr/>
            <p:nvPr/>
          </p:nvSpPr>
          <p:spPr>
            <a:xfrm>
              <a:off x="4162324" y="2357456"/>
              <a:ext cx="815899" cy="815898"/>
            </a:xfrm>
            <a:custGeom>
              <a:avLst/>
              <a:gdLst>
                <a:gd name="connsiteX0" fmla="*/ 407949 w 815899"/>
                <a:gd name="connsiteY0" fmla="*/ 174058 h 815898"/>
                <a:gd name="connsiteX1" fmla="*/ 293723 w 815899"/>
                <a:gd name="connsiteY1" fmla="*/ 407950 h 815898"/>
                <a:gd name="connsiteX2" fmla="*/ 410669 w 815899"/>
                <a:gd name="connsiteY2" fmla="*/ 641840 h 815898"/>
                <a:gd name="connsiteX3" fmla="*/ 522175 w 815899"/>
                <a:gd name="connsiteY3" fmla="*/ 407950 h 815898"/>
                <a:gd name="connsiteX4" fmla="*/ 407949 w 815899"/>
                <a:gd name="connsiteY4" fmla="*/ 174058 h 815898"/>
                <a:gd name="connsiteX5" fmla="*/ 407950 w 815899"/>
                <a:gd name="connsiteY5" fmla="*/ 0 h 815898"/>
                <a:gd name="connsiteX6" fmla="*/ 815899 w 815899"/>
                <a:gd name="connsiteY6" fmla="*/ 407949 h 815898"/>
                <a:gd name="connsiteX7" fmla="*/ 407950 w 815899"/>
                <a:gd name="connsiteY7" fmla="*/ 815898 h 815898"/>
                <a:gd name="connsiteX8" fmla="*/ 0 w 815899"/>
                <a:gd name="connsiteY8" fmla="*/ 407949 h 815898"/>
                <a:gd name="connsiteX9" fmla="*/ 407950 w 815899"/>
                <a:gd name="connsiteY9" fmla="*/ 0 h 815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15899" h="815898">
                  <a:moveTo>
                    <a:pt x="407949" y="174058"/>
                  </a:moveTo>
                  <a:cubicBezTo>
                    <a:pt x="342677" y="174058"/>
                    <a:pt x="293723" y="263807"/>
                    <a:pt x="293723" y="407950"/>
                  </a:cubicBezTo>
                  <a:cubicBezTo>
                    <a:pt x="293723" y="552091"/>
                    <a:pt x="331799" y="639120"/>
                    <a:pt x="410669" y="641840"/>
                  </a:cubicBezTo>
                  <a:cubicBezTo>
                    <a:pt x="489539" y="641840"/>
                    <a:pt x="527614" y="552091"/>
                    <a:pt x="522175" y="407950"/>
                  </a:cubicBezTo>
                  <a:cubicBezTo>
                    <a:pt x="522175" y="263807"/>
                    <a:pt x="473221" y="176778"/>
                    <a:pt x="407949" y="174058"/>
                  </a:cubicBezTo>
                  <a:close/>
                  <a:moveTo>
                    <a:pt x="407950" y="0"/>
                  </a:moveTo>
                  <a:cubicBezTo>
                    <a:pt x="633682" y="0"/>
                    <a:pt x="815899" y="182217"/>
                    <a:pt x="815899" y="407949"/>
                  </a:cubicBezTo>
                  <a:cubicBezTo>
                    <a:pt x="815899" y="633681"/>
                    <a:pt x="633682" y="815898"/>
                    <a:pt x="407950" y="815898"/>
                  </a:cubicBezTo>
                  <a:cubicBezTo>
                    <a:pt x="182218" y="815898"/>
                    <a:pt x="0" y="633681"/>
                    <a:pt x="0" y="407949"/>
                  </a:cubicBezTo>
                  <a:cubicBezTo>
                    <a:pt x="0" y="182217"/>
                    <a:pt x="182218" y="0"/>
                    <a:pt x="407950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rgbClr val="666666"/>
                </a:solidFill>
              </a:endParaRPr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395AFC10-7312-4BF8-A557-DA8678F962DA}"/>
                </a:ext>
              </a:extLst>
            </p:cNvPr>
            <p:cNvSpPr/>
            <p:nvPr/>
          </p:nvSpPr>
          <p:spPr>
            <a:xfrm>
              <a:off x="5884871" y="1946788"/>
              <a:ext cx="912802" cy="1223846"/>
            </a:xfrm>
            <a:custGeom>
              <a:avLst/>
              <a:gdLst>
                <a:gd name="connsiteX0" fmla="*/ 387907 w 912802"/>
                <a:gd name="connsiteY0" fmla="*/ 620081 h 1223846"/>
                <a:gd name="connsiteX1" fmla="*/ 273681 w 912802"/>
                <a:gd name="connsiteY1" fmla="*/ 824055 h 1223846"/>
                <a:gd name="connsiteX2" fmla="*/ 390627 w 912802"/>
                <a:gd name="connsiteY2" fmla="*/ 1028029 h 1223846"/>
                <a:gd name="connsiteX3" fmla="*/ 502132 w 912802"/>
                <a:gd name="connsiteY3" fmla="*/ 824055 h 1223846"/>
                <a:gd name="connsiteX4" fmla="*/ 387907 w 912802"/>
                <a:gd name="connsiteY4" fmla="*/ 620081 h 1223846"/>
                <a:gd name="connsiteX5" fmla="*/ 676192 w 912802"/>
                <a:gd name="connsiteY5" fmla="*/ 0 h 1223846"/>
                <a:gd name="connsiteX6" fmla="*/ 825773 w 912802"/>
                <a:gd name="connsiteY6" fmla="*/ 149581 h 1223846"/>
                <a:gd name="connsiteX7" fmla="*/ 825773 w 912802"/>
                <a:gd name="connsiteY7" fmla="*/ 1000834 h 1223846"/>
                <a:gd name="connsiteX8" fmla="*/ 836651 w 912802"/>
                <a:gd name="connsiteY8" fmla="*/ 1076985 h 1223846"/>
                <a:gd name="connsiteX9" fmla="*/ 912802 w 912802"/>
                <a:gd name="connsiteY9" fmla="*/ 1150415 h 1223846"/>
                <a:gd name="connsiteX10" fmla="*/ 774099 w 912802"/>
                <a:gd name="connsiteY10" fmla="*/ 1221126 h 1223846"/>
                <a:gd name="connsiteX11" fmla="*/ 553807 w 912802"/>
                <a:gd name="connsiteY11" fmla="*/ 1098742 h 1223846"/>
                <a:gd name="connsiteX12" fmla="*/ 548367 w 912802"/>
                <a:gd name="connsiteY12" fmla="*/ 1085144 h 1223846"/>
                <a:gd name="connsiteX13" fmla="*/ 398786 w 912802"/>
                <a:gd name="connsiteY13" fmla="*/ 1212967 h 1223846"/>
                <a:gd name="connsiteX14" fmla="*/ 156736 w 912802"/>
                <a:gd name="connsiteY14" fmla="*/ 1180332 h 1223846"/>
                <a:gd name="connsiteX15" fmla="*/ 287280 w 912802"/>
                <a:gd name="connsiteY15" fmla="*/ 416107 h 1223846"/>
                <a:gd name="connsiteX16" fmla="*/ 526611 w 912802"/>
                <a:gd name="connsiteY16" fmla="*/ 552091 h 1223846"/>
                <a:gd name="connsiteX17" fmla="*/ 526611 w 912802"/>
                <a:gd name="connsiteY17" fmla="*/ 149581 h 1223846"/>
                <a:gd name="connsiteX18" fmla="*/ 676192 w 912802"/>
                <a:gd name="connsiteY18" fmla="*/ 0 h 1223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912802" h="1223846">
                  <a:moveTo>
                    <a:pt x="387907" y="620081"/>
                  </a:moveTo>
                  <a:cubicBezTo>
                    <a:pt x="322635" y="620081"/>
                    <a:pt x="273681" y="698951"/>
                    <a:pt x="273681" y="824055"/>
                  </a:cubicBezTo>
                  <a:cubicBezTo>
                    <a:pt x="273681" y="949160"/>
                    <a:pt x="311756" y="1028029"/>
                    <a:pt x="390627" y="1028029"/>
                  </a:cubicBezTo>
                  <a:cubicBezTo>
                    <a:pt x="466777" y="1025310"/>
                    <a:pt x="504852" y="949160"/>
                    <a:pt x="502132" y="824055"/>
                  </a:cubicBezTo>
                  <a:cubicBezTo>
                    <a:pt x="502132" y="698951"/>
                    <a:pt x="455898" y="622801"/>
                    <a:pt x="387907" y="620081"/>
                  </a:cubicBezTo>
                  <a:close/>
                  <a:moveTo>
                    <a:pt x="676192" y="0"/>
                  </a:moveTo>
                  <a:cubicBezTo>
                    <a:pt x="757781" y="0"/>
                    <a:pt x="825773" y="67992"/>
                    <a:pt x="825773" y="149581"/>
                  </a:cubicBezTo>
                  <a:lnTo>
                    <a:pt x="825773" y="1000834"/>
                  </a:lnTo>
                  <a:cubicBezTo>
                    <a:pt x="828492" y="1025311"/>
                    <a:pt x="831212" y="1052508"/>
                    <a:pt x="836651" y="1076985"/>
                  </a:cubicBezTo>
                  <a:cubicBezTo>
                    <a:pt x="861128" y="1139537"/>
                    <a:pt x="912802" y="1150415"/>
                    <a:pt x="912802" y="1150415"/>
                  </a:cubicBezTo>
                  <a:cubicBezTo>
                    <a:pt x="912802" y="1150415"/>
                    <a:pt x="861128" y="1221126"/>
                    <a:pt x="774099" y="1221126"/>
                  </a:cubicBezTo>
                  <a:cubicBezTo>
                    <a:pt x="670752" y="1221126"/>
                    <a:pt x="589162" y="1166733"/>
                    <a:pt x="553807" y="1098742"/>
                  </a:cubicBezTo>
                  <a:cubicBezTo>
                    <a:pt x="551087" y="1093303"/>
                    <a:pt x="551087" y="1090583"/>
                    <a:pt x="548367" y="1085144"/>
                  </a:cubicBezTo>
                  <a:cubicBezTo>
                    <a:pt x="534769" y="1147696"/>
                    <a:pt x="450460" y="1199369"/>
                    <a:pt x="398786" y="1212967"/>
                  </a:cubicBezTo>
                  <a:cubicBezTo>
                    <a:pt x="322636" y="1234725"/>
                    <a:pt x="222008" y="1223846"/>
                    <a:pt x="156736" y="1180332"/>
                  </a:cubicBezTo>
                  <a:cubicBezTo>
                    <a:pt x="-79874" y="1028031"/>
                    <a:pt x="-58117" y="416107"/>
                    <a:pt x="287280" y="416107"/>
                  </a:cubicBezTo>
                  <a:cubicBezTo>
                    <a:pt x="412385" y="416107"/>
                    <a:pt x="491255" y="503137"/>
                    <a:pt x="526611" y="552091"/>
                  </a:cubicBezTo>
                  <a:lnTo>
                    <a:pt x="526611" y="149581"/>
                  </a:lnTo>
                  <a:cubicBezTo>
                    <a:pt x="526611" y="67992"/>
                    <a:pt x="594602" y="0"/>
                    <a:pt x="676192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rgbClr val="666666"/>
                </a:solidFill>
              </a:endParaRPr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2F36A6C7-D0EE-46D0-A334-73B13AC9039B}"/>
                </a:ext>
              </a:extLst>
            </p:cNvPr>
            <p:cNvSpPr/>
            <p:nvPr/>
          </p:nvSpPr>
          <p:spPr>
            <a:xfrm>
              <a:off x="6789513" y="2362895"/>
              <a:ext cx="747906" cy="810458"/>
            </a:xfrm>
            <a:custGeom>
              <a:avLst/>
              <a:gdLst>
                <a:gd name="connsiteX0" fmla="*/ 394818 w 747906"/>
                <a:gd name="connsiteY0" fmla="*/ 163222 h 810458"/>
                <a:gd name="connsiteX1" fmla="*/ 356275 w 747906"/>
                <a:gd name="connsiteY1" fmla="*/ 174058 h 810458"/>
                <a:gd name="connsiteX2" fmla="*/ 274685 w 747906"/>
                <a:gd name="connsiteY2" fmla="*/ 356275 h 810458"/>
                <a:gd name="connsiteX3" fmla="*/ 375313 w 747906"/>
                <a:gd name="connsiteY3" fmla="*/ 358994 h 810458"/>
                <a:gd name="connsiteX4" fmla="*/ 473220 w 747906"/>
                <a:gd name="connsiteY4" fmla="*/ 239329 h 810458"/>
                <a:gd name="connsiteX5" fmla="*/ 394818 w 747906"/>
                <a:gd name="connsiteY5" fmla="*/ 163222 h 810458"/>
                <a:gd name="connsiteX6" fmla="*/ 386192 w 747906"/>
                <a:gd name="connsiteY6" fmla="*/ 0 h 810458"/>
                <a:gd name="connsiteX7" fmla="*/ 747906 w 747906"/>
                <a:gd name="connsiteY7" fmla="*/ 266526 h 810458"/>
                <a:gd name="connsiteX8" fmla="*/ 291004 w 747906"/>
                <a:gd name="connsiteY8" fmla="*/ 484100 h 810458"/>
                <a:gd name="connsiteX9" fmla="*/ 497698 w 747906"/>
                <a:gd name="connsiteY9" fmla="*/ 617363 h 810458"/>
                <a:gd name="connsiteX10" fmla="*/ 712551 w 747906"/>
                <a:gd name="connsiteY10" fmla="*/ 557530 h 810458"/>
                <a:gd name="connsiteX11" fmla="*/ 388912 w 747906"/>
                <a:gd name="connsiteY11" fmla="*/ 810458 h 810458"/>
                <a:gd name="connsiteX12" fmla="*/ 0 w 747906"/>
                <a:gd name="connsiteY12" fmla="*/ 413389 h 810458"/>
                <a:gd name="connsiteX13" fmla="*/ 386192 w 747906"/>
                <a:gd name="connsiteY13" fmla="*/ 0 h 8104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747906" h="810458">
                  <a:moveTo>
                    <a:pt x="394818" y="163222"/>
                  </a:moveTo>
                  <a:cubicBezTo>
                    <a:pt x="381772" y="163179"/>
                    <a:pt x="368514" y="166579"/>
                    <a:pt x="356275" y="174058"/>
                  </a:cubicBezTo>
                  <a:cubicBezTo>
                    <a:pt x="299162" y="212133"/>
                    <a:pt x="282844" y="291003"/>
                    <a:pt x="274685" y="356275"/>
                  </a:cubicBezTo>
                  <a:cubicBezTo>
                    <a:pt x="274685" y="364434"/>
                    <a:pt x="369873" y="358994"/>
                    <a:pt x="375313" y="358994"/>
                  </a:cubicBezTo>
                  <a:cubicBezTo>
                    <a:pt x="432425" y="345396"/>
                    <a:pt x="473220" y="301881"/>
                    <a:pt x="473220" y="239329"/>
                  </a:cubicBezTo>
                  <a:cubicBezTo>
                    <a:pt x="471181" y="194455"/>
                    <a:pt x="433956" y="163349"/>
                    <a:pt x="394818" y="163222"/>
                  </a:cubicBezTo>
                  <a:close/>
                  <a:moveTo>
                    <a:pt x="386192" y="0"/>
                  </a:moveTo>
                  <a:cubicBezTo>
                    <a:pt x="519455" y="0"/>
                    <a:pt x="747906" y="65272"/>
                    <a:pt x="747906" y="266526"/>
                  </a:cubicBezTo>
                  <a:cubicBezTo>
                    <a:pt x="747906" y="467782"/>
                    <a:pt x="538493" y="484100"/>
                    <a:pt x="291004" y="484100"/>
                  </a:cubicBezTo>
                  <a:cubicBezTo>
                    <a:pt x="291004" y="484100"/>
                    <a:pt x="326359" y="617363"/>
                    <a:pt x="497698" y="617363"/>
                  </a:cubicBezTo>
                  <a:cubicBezTo>
                    <a:pt x="669036" y="617363"/>
                    <a:pt x="712551" y="557530"/>
                    <a:pt x="712551" y="557530"/>
                  </a:cubicBezTo>
                  <a:cubicBezTo>
                    <a:pt x="712551" y="557530"/>
                    <a:pt x="696233" y="810458"/>
                    <a:pt x="388912" y="810458"/>
                  </a:cubicBezTo>
                  <a:cubicBezTo>
                    <a:pt x="212134" y="810458"/>
                    <a:pt x="0" y="677195"/>
                    <a:pt x="0" y="413389"/>
                  </a:cubicBezTo>
                  <a:cubicBezTo>
                    <a:pt x="0" y="176778"/>
                    <a:pt x="163180" y="0"/>
                    <a:pt x="386192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rgbClr val="666666"/>
                </a:solidFill>
              </a:endParaRPr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CA99400B-701C-434B-A9DF-407DAC516AB5}"/>
                </a:ext>
              </a:extLst>
            </p:cNvPr>
            <p:cNvSpPr/>
            <p:nvPr/>
          </p:nvSpPr>
          <p:spPr>
            <a:xfrm>
              <a:off x="7988882" y="2362895"/>
              <a:ext cx="747906" cy="810458"/>
            </a:xfrm>
            <a:custGeom>
              <a:avLst/>
              <a:gdLst>
                <a:gd name="connsiteX0" fmla="*/ 394818 w 747906"/>
                <a:gd name="connsiteY0" fmla="*/ 163222 h 810458"/>
                <a:gd name="connsiteX1" fmla="*/ 356275 w 747906"/>
                <a:gd name="connsiteY1" fmla="*/ 174058 h 810458"/>
                <a:gd name="connsiteX2" fmla="*/ 274685 w 747906"/>
                <a:gd name="connsiteY2" fmla="*/ 356275 h 810458"/>
                <a:gd name="connsiteX3" fmla="*/ 375313 w 747906"/>
                <a:gd name="connsiteY3" fmla="*/ 358994 h 810458"/>
                <a:gd name="connsiteX4" fmla="*/ 473220 w 747906"/>
                <a:gd name="connsiteY4" fmla="*/ 239329 h 810458"/>
                <a:gd name="connsiteX5" fmla="*/ 394818 w 747906"/>
                <a:gd name="connsiteY5" fmla="*/ 163222 h 810458"/>
                <a:gd name="connsiteX6" fmla="*/ 386192 w 747906"/>
                <a:gd name="connsiteY6" fmla="*/ 0 h 810458"/>
                <a:gd name="connsiteX7" fmla="*/ 747906 w 747906"/>
                <a:gd name="connsiteY7" fmla="*/ 266526 h 810458"/>
                <a:gd name="connsiteX8" fmla="*/ 291004 w 747906"/>
                <a:gd name="connsiteY8" fmla="*/ 484100 h 810458"/>
                <a:gd name="connsiteX9" fmla="*/ 497697 w 747906"/>
                <a:gd name="connsiteY9" fmla="*/ 617363 h 810458"/>
                <a:gd name="connsiteX10" fmla="*/ 712551 w 747906"/>
                <a:gd name="connsiteY10" fmla="*/ 557530 h 810458"/>
                <a:gd name="connsiteX11" fmla="*/ 388911 w 747906"/>
                <a:gd name="connsiteY11" fmla="*/ 810458 h 810458"/>
                <a:gd name="connsiteX12" fmla="*/ 0 w 747906"/>
                <a:gd name="connsiteY12" fmla="*/ 413389 h 810458"/>
                <a:gd name="connsiteX13" fmla="*/ 386192 w 747906"/>
                <a:gd name="connsiteY13" fmla="*/ 0 h 8104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747906" h="810458">
                  <a:moveTo>
                    <a:pt x="394818" y="163222"/>
                  </a:moveTo>
                  <a:cubicBezTo>
                    <a:pt x="381772" y="163179"/>
                    <a:pt x="368514" y="166579"/>
                    <a:pt x="356275" y="174058"/>
                  </a:cubicBezTo>
                  <a:cubicBezTo>
                    <a:pt x="299162" y="212133"/>
                    <a:pt x="282844" y="291003"/>
                    <a:pt x="274685" y="356275"/>
                  </a:cubicBezTo>
                  <a:cubicBezTo>
                    <a:pt x="274685" y="364434"/>
                    <a:pt x="369873" y="358994"/>
                    <a:pt x="375313" y="358994"/>
                  </a:cubicBezTo>
                  <a:cubicBezTo>
                    <a:pt x="432426" y="345396"/>
                    <a:pt x="473220" y="301881"/>
                    <a:pt x="473220" y="239329"/>
                  </a:cubicBezTo>
                  <a:cubicBezTo>
                    <a:pt x="471181" y="194455"/>
                    <a:pt x="433955" y="163349"/>
                    <a:pt x="394818" y="163222"/>
                  </a:cubicBezTo>
                  <a:close/>
                  <a:moveTo>
                    <a:pt x="386192" y="0"/>
                  </a:moveTo>
                  <a:cubicBezTo>
                    <a:pt x="519455" y="0"/>
                    <a:pt x="747906" y="65272"/>
                    <a:pt x="747906" y="266526"/>
                  </a:cubicBezTo>
                  <a:cubicBezTo>
                    <a:pt x="747906" y="467782"/>
                    <a:pt x="538492" y="484100"/>
                    <a:pt x="291004" y="484100"/>
                  </a:cubicBezTo>
                  <a:cubicBezTo>
                    <a:pt x="291004" y="484100"/>
                    <a:pt x="326359" y="617363"/>
                    <a:pt x="497697" y="617363"/>
                  </a:cubicBezTo>
                  <a:cubicBezTo>
                    <a:pt x="669036" y="617363"/>
                    <a:pt x="712551" y="557530"/>
                    <a:pt x="712551" y="557530"/>
                  </a:cubicBezTo>
                  <a:cubicBezTo>
                    <a:pt x="712551" y="557530"/>
                    <a:pt x="696233" y="810458"/>
                    <a:pt x="388911" y="810458"/>
                  </a:cubicBezTo>
                  <a:cubicBezTo>
                    <a:pt x="212133" y="810458"/>
                    <a:pt x="0" y="677195"/>
                    <a:pt x="0" y="413389"/>
                  </a:cubicBezTo>
                  <a:cubicBezTo>
                    <a:pt x="0" y="176778"/>
                    <a:pt x="163180" y="0"/>
                    <a:pt x="386192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rgbClr val="666666"/>
                </a:solidFill>
              </a:endParaRPr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B2D1B86A-33BB-46AB-8000-A26581AE547C}"/>
                </a:ext>
              </a:extLst>
            </p:cNvPr>
            <p:cNvSpPr/>
            <p:nvPr/>
          </p:nvSpPr>
          <p:spPr>
            <a:xfrm>
              <a:off x="8683414" y="2274801"/>
              <a:ext cx="897487" cy="951879"/>
            </a:xfrm>
            <a:custGeom>
              <a:avLst/>
              <a:gdLst>
                <a:gd name="connsiteX0" fmla="*/ 580988 w 897487"/>
                <a:gd name="connsiteY0" fmla="*/ 667381 h 951879"/>
                <a:gd name="connsiteX1" fmla="*/ 409649 w 897487"/>
                <a:gd name="connsiteY1" fmla="*/ 667381 h 951879"/>
                <a:gd name="connsiteX2" fmla="*/ 591866 w 897487"/>
                <a:gd name="connsiteY2" fmla="*/ 525959 h 951879"/>
                <a:gd name="connsiteX3" fmla="*/ 842075 w 897487"/>
                <a:gd name="connsiteY3" fmla="*/ 123450 h 951879"/>
                <a:gd name="connsiteX4" fmla="*/ 842075 w 897487"/>
                <a:gd name="connsiteY4" fmla="*/ 123450 h 951879"/>
                <a:gd name="connsiteX5" fmla="*/ 798560 w 897487"/>
                <a:gd name="connsiteY5" fmla="*/ 58178 h 951879"/>
                <a:gd name="connsiteX6" fmla="*/ 746887 w 897487"/>
                <a:gd name="connsiteY6" fmla="*/ 107132 h 951879"/>
                <a:gd name="connsiteX7" fmla="*/ 697933 w 897487"/>
                <a:gd name="connsiteY7" fmla="*/ 115291 h 951879"/>
                <a:gd name="connsiteX8" fmla="*/ 219273 w 897487"/>
                <a:gd name="connsiteY8" fmla="*/ 115291 h 951879"/>
                <a:gd name="connsiteX9" fmla="*/ 102328 w 897487"/>
                <a:gd name="connsiteY9" fmla="*/ 224077 h 951879"/>
                <a:gd name="connsiteX10" fmla="*/ 213834 w 897487"/>
                <a:gd name="connsiteY10" fmla="*/ 332863 h 951879"/>
                <a:gd name="connsiteX11" fmla="*/ 485800 w 897487"/>
                <a:gd name="connsiteY11" fmla="*/ 335583 h 951879"/>
                <a:gd name="connsiteX12" fmla="*/ 134964 w 897487"/>
                <a:gd name="connsiteY12" fmla="*/ 615708 h 951879"/>
                <a:gd name="connsiteX13" fmla="*/ 61533 w 897487"/>
                <a:gd name="connsiteY13" fmla="*/ 884953 h 951879"/>
                <a:gd name="connsiteX14" fmla="*/ 398771 w 897487"/>
                <a:gd name="connsiteY14" fmla="*/ 806083 h 951879"/>
                <a:gd name="connsiteX15" fmla="*/ 529314 w 897487"/>
                <a:gd name="connsiteY15" fmla="*/ 863196 h 951879"/>
                <a:gd name="connsiteX16" fmla="*/ 782242 w 897487"/>
                <a:gd name="connsiteY16" fmla="*/ 607549 h 951879"/>
                <a:gd name="connsiteX17" fmla="*/ 580988 w 897487"/>
                <a:gd name="connsiteY17" fmla="*/ 667381 h 9518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897487" h="951879">
                  <a:moveTo>
                    <a:pt x="580988" y="667381"/>
                  </a:moveTo>
                  <a:lnTo>
                    <a:pt x="409649" y="667381"/>
                  </a:lnTo>
                  <a:cubicBezTo>
                    <a:pt x="423248" y="667381"/>
                    <a:pt x="548352" y="561314"/>
                    <a:pt x="591866" y="525959"/>
                  </a:cubicBezTo>
                  <a:cubicBezTo>
                    <a:pt x="700653" y="433491"/>
                    <a:pt x="899188" y="297508"/>
                    <a:pt x="842075" y="123450"/>
                  </a:cubicBezTo>
                  <a:lnTo>
                    <a:pt x="842075" y="123450"/>
                  </a:lnTo>
                  <a:cubicBezTo>
                    <a:pt x="831197" y="82655"/>
                    <a:pt x="798560" y="58178"/>
                    <a:pt x="798560" y="58178"/>
                  </a:cubicBezTo>
                  <a:cubicBezTo>
                    <a:pt x="798560" y="58178"/>
                    <a:pt x="787682" y="90814"/>
                    <a:pt x="746887" y="107132"/>
                  </a:cubicBezTo>
                  <a:cubicBezTo>
                    <a:pt x="730569" y="109852"/>
                    <a:pt x="714251" y="115291"/>
                    <a:pt x="697933" y="115291"/>
                  </a:cubicBezTo>
                  <a:cubicBezTo>
                    <a:pt x="684334" y="115291"/>
                    <a:pt x="219273" y="115291"/>
                    <a:pt x="219273" y="115291"/>
                  </a:cubicBezTo>
                  <a:cubicBezTo>
                    <a:pt x="156721" y="115291"/>
                    <a:pt x="105048" y="166964"/>
                    <a:pt x="102328" y="224077"/>
                  </a:cubicBezTo>
                  <a:cubicBezTo>
                    <a:pt x="102328" y="283910"/>
                    <a:pt x="151282" y="332863"/>
                    <a:pt x="213834" y="332863"/>
                  </a:cubicBezTo>
                  <a:lnTo>
                    <a:pt x="485800" y="335583"/>
                  </a:lnTo>
                  <a:cubicBezTo>
                    <a:pt x="360695" y="406294"/>
                    <a:pt x="211114" y="487884"/>
                    <a:pt x="134964" y="615708"/>
                  </a:cubicBezTo>
                  <a:cubicBezTo>
                    <a:pt x="91449" y="689138"/>
                    <a:pt x="45215" y="800644"/>
                    <a:pt x="61533" y="884953"/>
                  </a:cubicBezTo>
                  <a:cubicBezTo>
                    <a:pt x="121366" y="830560"/>
                    <a:pt x="279106" y="778887"/>
                    <a:pt x="398771" y="806083"/>
                  </a:cubicBezTo>
                  <a:cubicBezTo>
                    <a:pt x="445005" y="814242"/>
                    <a:pt x="491239" y="838719"/>
                    <a:pt x="529314" y="863196"/>
                  </a:cubicBezTo>
                  <a:cubicBezTo>
                    <a:pt x="755046" y="1004618"/>
                    <a:pt x="891029" y="727213"/>
                    <a:pt x="782242" y="607549"/>
                  </a:cubicBezTo>
                  <a:cubicBezTo>
                    <a:pt x="784962" y="607549"/>
                    <a:pt x="722410" y="667381"/>
                    <a:pt x="580988" y="667381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rgbClr val="666666"/>
                </a:solidFill>
              </a:endParaRPr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76F0D372-8C1C-4BBA-8C19-5C5D50CB40D3}"/>
                </a:ext>
              </a:extLst>
            </p:cNvPr>
            <p:cNvSpPr/>
            <p:nvPr/>
          </p:nvSpPr>
          <p:spPr>
            <a:xfrm>
              <a:off x="2624650" y="1948442"/>
              <a:ext cx="1903761" cy="1577400"/>
            </a:xfrm>
            <a:custGeom>
              <a:avLst/>
              <a:gdLst>
                <a:gd name="connsiteX0" fmla="*/ 1559430 w 1903760"/>
                <a:gd name="connsiteY0" fmla="*/ 1165078 h 1577399"/>
                <a:gd name="connsiteX1" fmla="*/ 1369054 w 1903760"/>
                <a:gd name="connsiteY1" fmla="*/ 593950 h 1577399"/>
                <a:gd name="connsiteX2" fmla="*/ 1483279 w 1903760"/>
                <a:gd name="connsiteY2" fmla="*/ 126170 h 1577399"/>
                <a:gd name="connsiteX3" fmla="*/ 1311941 w 1903760"/>
                <a:gd name="connsiteY3" fmla="*/ 58178 h 1577399"/>
                <a:gd name="connsiteX4" fmla="*/ 1078050 w 1903760"/>
                <a:gd name="connsiteY4" fmla="*/ 205040 h 1577399"/>
                <a:gd name="connsiteX5" fmla="*/ 846879 w 1903760"/>
                <a:gd name="connsiteY5" fmla="*/ 523239 h 1577399"/>
                <a:gd name="connsiteX6" fmla="*/ 645624 w 1903760"/>
                <a:gd name="connsiteY6" fmla="*/ 210479 h 1577399"/>
                <a:gd name="connsiteX7" fmla="*/ 455248 w 1903760"/>
                <a:gd name="connsiteY7" fmla="*/ 63617 h 1577399"/>
                <a:gd name="connsiteX8" fmla="*/ 234956 w 1903760"/>
                <a:gd name="connsiteY8" fmla="*/ 137048 h 1577399"/>
                <a:gd name="connsiteX9" fmla="*/ 316546 w 1903760"/>
                <a:gd name="connsiteY9" fmla="*/ 588511 h 1577399"/>
                <a:gd name="connsiteX10" fmla="*/ 58178 w 1903760"/>
                <a:gd name="connsiteY10" fmla="*/ 1072610 h 1577399"/>
                <a:gd name="connsiteX11" fmla="*/ 474286 w 1903760"/>
                <a:gd name="connsiteY11" fmla="*/ 1020936 h 1577399"/>
                <a:gd name="connsiteX12" fmla="*/ 555876 w 1903760"/>
                <a:gd name="connsiteY12" fmla="*/ 572193 h 1577399"/>
                <a:gd name="connsiteX13" fmla="*/ 830561 w 1903760"/>
                <a:gd name="connsiteY13" fmla="*/ 993740 h 1577399"/>
                <a:gd name="connsiteX14" fmla="*/ 1140602 w 1903760"/>
                <a:gd name="connsiteY14" fmla="*/ 574913 h 1577399"/>
                <a:gd name="connsiteX15" fmla="*/ 1567589 w 1903760"/>
                <a:gd name="connsiteY15" fmla="*/ 1526792 h 1577399"/>
                <a:gd name="connsiteX16" fmla="*/ 1866751 w 1903760"/>
                <a:gd name="connsiteY16" fmla="*/ 1322818 h 1577399"/>
                <a:gd name="connsiteX17" fmla="*/ 1559430 w 1903760"/>
                <a:gd name="connsiteY17" fmla="*/ 1165078 h 15773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903760" h="1577399">
                  <a:moveTo>
                    <a:pt x="1559430" y="1165078"/>
                  </a:moveTo>
                  <a:cubicBezTo>
                    <a:pt x="1420727" y="1012777"/>
                    <a:pt x="1377213" y="762569"/>
                    <a:pt x="1369054" y="593950"/>
                  </a:cubicBezTo>
                  <a:cubicBezTo>
                    <a:pt x="1360895" y="449809"/>
                    <a:pt x="1369054" y="199600"/>
                    <a:pt x="1483279" y="126170"/>
                  </a:cubicBezTo>
                  <a:cubicBezTo>
                    <a:pt x="1445204" y="77216"/>
                    <a:pt x="1369054" y="58178"/>
                    <a:pt x="1311941" y="58178"/>
                  </a:cubicBezTo>
                  <a:cubicBezTo>
                    <a:pt x="1184117" y="58178"/>
                    <a:pt x="1121565" y="142488"/>
                    <a:pt x="1078050" y="205040"/>
                  </a:cubicBezTo>
                  <a:cubicBezTo>
                    <a:pt x="1064452" y="224077"/>
                    <a:pt x="846879" y="523239"/>
                    <a:pt x="846879" y="523239"/>
                  </a:cubicBezTo>
                  <a:cubicBezTo>
                    <a:pt x="846879" y="523239"/>
                    <a:pt x="667382" y="243115"/>
                    <a:pt x="645624" y="210479"/>
                  </a:cubicBezTo>
                  <a:cubicBezTo>
                    <a:pt x="615708" y="164245"/>
                    <a:pt x="555876" y="77216"/>
                    <a:pt x="455248" y="63617"/>
                  </a:cubicBezTo>
                  <a:cubicBezTo>
                    <a:pt x="411734" y="58178"/>
                    <a:pt x="297508" y="52739"/>
                    <a:pt x="234956" y="137048"/>
                  </a:cubicBezTo>
                  <a:cubicBezTo>
                    <a:pt x="341023" y="221357"/>
                    <a:pt x="338303" y="438930"/>
                    <a:pt x="316546" y="588511"/>
                  </a:cubicBezTo>
                  <a:cubicBezTo>
                    <a:pt x="248554" y="1031815"/>
                    <a:pt x="58178" y="1072610"/>
                    <a:pt x="58178" y="1072610"/>
                  </a:cubicBezTo>
                  <a:cubicBezTo>
                    <a:pt x="156086" y="1333696"/>
                    <a:pt x="403575" y="1230350"/>
                    <a:pt x="474286" y="1020936"/>
                  </a:cubicBezTo>
                  <a:cubicBezTo>
                    <a:pt x="520520" y="884953"/>
                    <a:pt x="550436" y="713615"/>
                    <a:pt x="555876" y="572193"/>
                  </a:cubicBezTo>
                  <a:lnTo>
                    <a:pt x="830561" y="993740"/>
                  </a:lnTo>
                  <a:cubicBezTo>
                    <a:pt x="830561" y="993740"/>
                    <a:pt x="1140602" y="574913"/>
                    <a:pt x="1140602" y="574913"/>
                  </a:cubicBezTo>
                  <a:cubicBezTo>
                    <a:pt x="1088929" y="1314659"/>
                    <a:pt x="1344577" y="1526792"/>
                    <a:pt x="1567589" y="1526792"/>
                  </a:cubicBezTo>
                  <a:cubicBezTo>
                    <a:pt x="1790601" y="1526792"/>
                    <a:pt x="1866751" y="1322818"/>
                    <a:pt x="1866751" y="1322818"/>
                  </a:cubicBezTo>
                  <a:cubicBezTo>
                    <a:pt x="1744367" y="1314659"/>
                    <a:pt x="1641019" y="1252107"/>
                    <a:pt x="1559430" y="1165078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rgbClr val="666666"/>
                </a:solidFill>
              </a:endParaRPr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BEF4B029-DDF1-4096-896A-C4F8417BFF1E}"/>
                </a:ext>
              </a:extLst>
            </p:cNvPr>
            <p:cNvSpPr/>
            <p:nvPr/>
          </p:nvSpPr>
          <p:spPr>
            <a:xfrm>
              <a:off x="4792218" y="3234839"/>
              <a:ext cx="271966" cy="652717"/>
            </a:xfrm>
            <a:custGeom>
              <a:avLst/>
              <a:gdLst>
                <a:gd name="connsiteX0" fmla="*/ 88095 w 271965"/>
                <a:gd name="connsiteY0" fmla="*/ 120730 h 652717"/>
                <a:gd name="connsiteX1" fmla="*/ 93534 w 271965"/>
                <a:gd name="connsiteY1" fmla="*/ 153366 h 652717"/>
                <a:gd name="connsiteX2" fmla="*/ 93534 w 271965"/>
                <a:gd name="connsiteY2" fmla="*/ 544997 h 652717"/>
                <a:gd name="connsiteX3" fmla="*/ 156086 w 271965"/>
                <a:gd name="connsiteY3" fmla="*/ 604829 h 652717"/>
                <a:gd name="connsiteX4" fmla="*/ 221358 w 271965"/>
                <a:gd name="connsiteY4" fmla="*/ 544997 h 652717"/>
                <a:gd name="connsiteX5" fmla="*/ 221358 w 271965"/>
                <a:gd name="connsiteY5" fmla="*/ 194161 h 652717"/>
                <a:gd name="connsiteX6" fmla="*/ 210479 w 271965"/>
                <a:gd name="connsiteY6" fmla="*/ 109852 h 652717"/>
                <a:gd name="connsiteX7" fmla="*/ 118011 w 271965"/>
                <a:gd name="connsiteY7" fmla="*/ 58178 h 652717"/>
                <a:gd name="connsiteX8" fmla="*/ 58178 w 271965"/>
                <a:gd name="connsiteY8" fmla="*/ 88094 h 652717"/>
                <a:gd name="connsiteX9" fmla="*/ 88095 w 271965"/>
                <a:gd name="connsiteY9" fmla="*/ 120730 h 6527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71965" h="652717">
                  <a:moveTo>
                    <a:pt x="88095" y="120730"/>
                  </a:moveTo>
                  <a:cubicBezTo>
                    <a:pt x="90814" y="131609"/>
                    <a:pt x="90814" y="142487"/>
                    <a:pt x="93534" y="153366"/>
                  </a:cubicBezTo>
                  <a:cubicBezTo>
                    <a:pt x="93534" y="156086"/>
                    <a:pt x="93534" y="542277"/>
                    <a:pt x="93534" y="544997"/>
                  </a:cubicBezTo>
                  <a:cubicBezTo>
                    <a:pt x="93534" y="577632"/>
                    <a:pt x="123450" y="604829"/>
                    <a:pt x="156086" y="604829"/>
                  </a:cubicBezTo>
                  <a:cubicBezTo>
                    <a:pt x="188722" y="607548"/>
                    <a:pt x="221358" y="577632"/>
                    <a:pt x="221358" y="544997"/>
                  </a:cubicBezTo>
                  <a:cubicBezTo>
                    <a:pt x="221358" y="539557"/>
                    <a:pt x="221358" y="194161"/>
                    <a:pt x="221358" y="194161"/>
                  </a:cubicBezTo>
                  <a:cubicBezTo>
                    <a:pt x="221358" y="164245"/>
                    <a:pt x="224078" y="134329"/>
                    <a:pt x="210479" y="109852"/>
                  </a:cubicBezTo>
                  <a:cubicBezTo>
                    <a:pt x="196881" y="79935"/>
                    <a:pt x="158806" y="58178"/>
                    <a:pt x="118011" y="58178"/>
                  </a:cubicBezTo>
                  <a:cubicBezTo>
                    <a:pt x="79936" y="58178"/>
                    <a:pt x="58178" y="88094"/>
                    <a:pt x="58178" y="88094"/>
                  </a:cubicBezTo>
                  <a:cubicBezTo>
                    <a:pt x="58178" y="88094"/>
                    <a:pt x="77216" y="93534"/>
                    <a:pt x="88095" y="120730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rgbClr val="666666"/>
                </a:solidFill>
              </a:endParaRPr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E3742297-9C6A-4599-8768-0BDB13B1FCEF}"/>
                </a:ext>
              </a:extLst>
            </p:cNvPr>
            <p:cNvSpPr/>
            <p:nvPr/>
          </p:nvSpPr>
          <p:spPr>
            <a:xfrm>
              <a:off x="8751819" y="3234667"/>
              <a:ext cx="271966" cy="652717"/>
            </a:xfrm>
            <a:custGeom>
              <a:avLst/>
              <a:gdLst>
                <a:gd name="connsiteX0" fmla="*/ 191663 w 271965"/>
                <a:gd name="connsiteY0" fmla="*/ 542449 h 652717"/>
                <a:gd name="connsiteX1" fmla="*/ 186224 w 271965"/>
                <a:gd name="connsiteY1" fmla="*/ 509813 h 652717"/>
                <a:gd name="connsiteX2" fmla="*/ 186224 w 271965"/>
                <a:gd name="connsiteY2" fmla="*/ 118183 h 652717"/>
                <a:gd name="connsiteX3" fmla="*/ 123672 w 271965"/>
                <a:gd name="connsiteY3" fmla="*/ 58350 h 652717"/>
                <a:gd name="connsiteX4" fmla="*/ 58400 w 271965"/>
                <a:gd name="connsiteY4" fmla="*/ 118183 h 652717"/>
                <a:gd name="connsiteX5" fmla="*/ 58400 w 271965"/>
                <a:gd name="connsiteY5" fmla="*/ 469018 h 652717"/>
                <a:gd name="connsiteX6" fmla="*/ 69279 w 271965"/>
                <a:gd name="connsiteY6" fmla="*/ 553328 h 652717"/>
                <a:gd name="connsiteX7" fmla="*/ 161747 w 271965"/>
                <a:gd name="connsiteY7" fmla="*/ 605001 h 652717"/>
                <a:gd name="connsiteX8" fmla="*/ 221580 w 271965"/>
                <a:gd name="connsiteY8" fmla="*/ 575085 h 652717"/>
                <a:gd name="connsiteX9" fmla="*/ 191663 w 271965"/>
                <a:gd name="connsiteY9" fmla="*/ 542449 h 6527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71965" h="652717">
                  <a:moveTo>
                    <a:pt x="191663" y="542449"/>
                  </a:moveTo>
                  <a:cubicBezTo>
                    <a:pt x="188944" y="531570"/>
                    <a:pt x="186224" y="520692"/>
                    <a:pt x="186224" y="509813"/>
                  </a:cubicBezTo>
                  <a:cubicBezTo>
                    <a:pt x="186224" y="507093"/>
                    <a:pt x="186224" y="120902"/>
                    <a:pt x="186224" y="118183"/>
                  </a:cubicBezTo>
                  <a:cubicBezTo>
                    <a:pt x="186224" y="85547"/>
                    <a:pt x="156308" y="58350"/>
                    <a:pt x="123672" y="58350"/>
                  </a:cubicBezTo>
                  <a:cubicBezTo>
                    <a:pt x="91036" y="55631"/>
                    <a:pt x="58400" y="85547"/>
                    <a:pt x="58400" y="118183"/>
                  </a:cubicBezTo>
                  <a:cubicBezTo>
                    <a:pt x="58400" y="123622"/>
                    <a:pt x="58400" y="469018"/>
                    <a:pt x="58400" y="469018"/>
                  </a:cubicBezTo>
                  <a:cubicBezTo>
                    <a:pt x="58400" y="498934"/>
                    <a:pt x="55680" y="528851"/>
                    <a:pt x="69279" y="553328"/>
                  </a:cubicBezTo>
                  <a:cubicBezTo>
                    <a:pt x="82877" y="583244"/>
                    <a:pt x="120953" y="605001"/>
                    <a:pt x="161747" y="605001"/>
                  </a:cubicBezTo>
                  <a:cubicBezTo>
                    <a:pt x="199822" y="605001"/>
                    <a:pt x="221580" y="575085"/>
                    <a:pt x="221580" y="575085"/>
                  </a:cubicBezTo>
                  <a:cubicBezTo>
                    <a:pt x="221580" y="575085"/>
                    <a:pt x="202542" y="566926"/>
                    <a:pt x="191663" y="542449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rgbClr val="666666"/>
                </a:solidFill>
              </a:endParaRPr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0253335F-845B-4DB3-A9A0-46D3B34CD5DB}"/>
                </a:ext>
              </a:extLst>
            </p:cNvPr>
            <p:cNvSpPr/>
            <p:nvPr/>
          </p:nvSpPr>
          <p:spPr>
            <a:xfrm>
              <a:off x="6320666" y="3416868"/>
              <a:ext cx="435145" cy="462341"/>
            </a:xfrm>
            <a:custGeom>
              <a:avLst/>
              <a:gdLst>
                <a:gd name="connsiteX0" fmla="*/ 302948 w 435145"/>
                <a:gd name="connsiteY0" fmla="*/ 74684 h 462341"/>
                <a:gd name="connsiteX1" fmla="*/ 186003 w 435145"/>
                <a:gd name="connsiteY1" fmla="*/ 148115 h 462341"/>
                <a:gd name="connsiteX2" fmla="*/ 186003 w 435145"/>
                <a:gd name="connsiteY2" fmla="*/ 148115 h 462341"/>
                <a:gd name="connsiteX3" fmla="*/ 186003 w 435145"/>
                <a:gd name="connsiteY3" fmla="*/ 115479 h 462341"/>
                <a:gd name="connsiteX4" fmla="*/ 123450 w 435145"/>
                <a:gd name="connsiteY4" fmla="*/ 58366 h 462341"/>
                <a:gd name="connsiteX5" fmla="*/ 58178 w 435145"/>
                <a:gd name="connsiteY5" fmla="*/ 115479 h 462341"/>
                <a:gd name="connsiteX6" fmla="*/ 58178 w 435145"/>
                <a:gd name="connsiteY6" fmla="*/ 362967 h 462341"/>
                <a:gd name="connsiteX7" fmla="*/ 120730 w 435145"/>
                <a:gd name="connsiteY7" fmla="*/ 422800 h 462341"/>
                <a:gd name="connsiteX8" fmla="*/ 186003 w 435145"/>
                <a:gd name="connsiteY8" fmla="*/ 362967 h 462341"/>
                <a:gd name="connsiteX9" fmla="*/ 186003 w 435145"/>
                <a:gd name="connsiteY9" fmla="*/ 213386 h 462341"/>
                <a:gd name="connsiteX10" fmla="*/ 186003 w 435145"/>
                <a:gd name="connsiteY10" fmla="*/ 213386 h 462341"/>
                <a:gd name="connsiteX11" fmla="*/ 229517 w 435145"/>
                <a:gd name="connsiteY11" fmla="*/ 161713 h 462341"/>
                <a:gd name="connsiteX12" fmla="*/ 259433 w 435145"/>
                <a:gd name="connsiteY12" fmla="*/ 194349 h 462341"/>
                <a:gd name="connsiteX13" fmla="*/ 259433 w 435145"/>
                <a:gd name="connsiteY13" fmla="*/ 362967 h 462341"/>
                <a:gd name="connsiteX14" fmla="*/ 321985 w 435145"/>
                <a:gd name="connsiteY14" fmla="*/ 422800 h 462341"/>
                <a:gd name="connsiteX15" fmla="*/ 387257 w 435145"/>
                <a:gd name="connsiteY15" fmla="*/ 362967 h 462341"/>
                <a:gd name="connsiteX16" fmla="*/ 387257 w 435145"/>
                <a:gd name="connsiteY16" fmla="*/ 273219 h 462341"/>
                <a:gd name="connsiteX17" fmla="*/ 302948 w 435145"/>
                <a:gd name="connsiteY17" fmla="*/ 74684 h 4623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435145" h="462341">
                  <a:moveTo>
                    <a:pt x="302948" y="74684"/>
                  </a:moveTo>
                  <a:cubicBezTo>
                    <a:pt x="234956" y="74684"/>
                    <a:pt x="196881" y="131797"/>
                    <a:pt x="186003" y="148115"/>
                  </a:cubicBezTo>
                  <a:lnTo>
                    <a:pt x="186003" y="148115"/>
                  </a:lnTo>
                  <a:cubicBezTo>
                    <a:pt x="186003" y="129077"/>
                    <a:pt x="186003" y="115479"/>
                    <a:pt x="186003" y="115479"/>
                  </a:cubicBezTo>
                  <a:cubicBezTo>
                    <a:pt x="186003" y="82843"/>
                    <a:pt x="156086" y="58366"/>
                    <a:pt x="123450" y="58366"/>
                  </a:cubicBezTo>
                  <a:cubicBezTo>
                    <a:pt x="90814" y="55646"/>
                    <a:pt x="58178" y="82843"/>
                    <a:pt x="58178" y="115479"/>
                  </a:cubicBezTo>
                  <a:cubicBezTo>
                    <a:pt x="58178" y="120918"/>
                    <a:pt x="58178" y="360248"/>
                    <a:pt x="58178" y="362967"/>
                  </a:cubicBezTo>
                  <a:cubicBezTo>
                    <a:pt x="58178" y="395603"/>
                    <a:pt x="88095" y="422800"/>
                    <a:pt x="120730" y="422800"/>
                  </a:cubicBezTo>
                  <a:cubicBezTo>
                    <a:pt x="153366" y="425519"/>
                    <a:pt x="186003" y="395603"/>
                    <a:pt x="186003" y="362967"/>
                  </a:cubicBezTo>
                  <a:cubicBezTo>
                    <a:pt x="186003" y="360248"/>
                    <a:pt x="186003" y="281378"/>
                    <a:pt x="186003" y="213386"/>
                  </a:cubicBezTo>
                  <a:lnTo>
                    <a:pt x="186003" y="213386"/>
                  </a:lnTo>
                  <a:cubicBezTo>
                    <a:pt x="191442" y="186190"/>
                    <a:pt x="205040" y="161713"/>
                    <a:pt x="229517" y="161713"/>
                  </a:cubicBezTo>
                  <a:cubicBezTo>
                    <a:pt x="259433" y="161713"/>
                    <a:pt x="259433" y="194349"/>
                    <a:pt x="259433" y="194349"/>
                  </a:cubicBezTo>
                  <a:lnTo>
                    <a:pt x="259433" y="362967"/>
                  </a:lnTo>
                  <a:cubicBezTo>
                    <a:pt x="259433" y="395603"/>
                    <a:pt x="289349" y="422800"/>
                    <a:pt x="321985" y="422800"/>
                  </a:cubicBezTo>
                  <a:cubicBezTo>
                    <a:pt x="354621" y="425519"/>
                    <a:pt x="387257" y="395603"/>
                    <a:pt x="387257" y="362967"/>
                  </a:cubicBezTo>
                  <a:lnTo>
                    <a:pt x="387257" y="273219"/>
                  </a:lnTo>
                  <a:cubicBezTo>
                    <a:pt x="387257" y="183470"/>
                    <a:pt x="395416" y="71964"/>
                    <a:pt x="302948" y="74684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rgbClr val="666666"/>
                </a:solidFill>
              </a:endParaRPr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599992C4-BDD7-4BA0-95D9-C32B47D580A5}"/>
                </a:ext>
              </a:extLst>
            </p:cNvPr>
            <p:cNvSpPr/>
            <p:nvPr/>
          </p:nvSpPr>
          <p:spPr>
            <a:xfrm>
              <a:off x="7960620" y="3416868"/>
              <a:ext cx="435145" cy="462341"/>
            </a:xfrm>
            <a:custGeom>
              <a:avLst/>
              <a:gdLst>
                <a:gd name="connsiteX0" fmla="*/ 302948 w 435145"/>
                <a:gd name="connsiteY0" fmla="*/ 74684 h 462341"/>
                <a:gd name="connsiteX1" fmla="*/ 186002 w 435145"/>
                <a:gd name="connsiteY1" fmla="*/ 148115 h 462341"/>
                <a:gd name="connsiteX2" fmla="*/ 186002 w 435145"/>
                <a:gd name="connsiteY2" fmla="*/ 148115 h 462341"/>
                <a:gd name="connsiteX3" fmla="*/ 186002 w 435145"/>
                <a:gd name="connsiteY3" fmla="*/ 115479 h 462341"/>
                <a:gd name="connsiteX4" fmla="*/ 123450 w 435145"/>
                <a:gd name="connsiteY4" fmla="*/ 58366 h 462341"/>
                <a:gd name="connsiteX5" fmla="*/ 58178 w 435145"/>
                <a:gd name="connsiteY5" fmla="*/ 115479 h 462341"/>
                <a:gd name="connsiteX6" fmla="*/ 58178 w 435145"/>
                <a:gd name="connsiteY6" fmla="*/ 362967 h 462341"/>
                <a:gd name="connsiteX7" fmla="*/ 120730 w 435145"/>
                <a:gd name="connsiteY7" fmla="*/ 422800 h 462341"/>
                <a:gd name="connsiteX8" fmla="*/ 186002 w 435145"/>
                <a:gd name="connsiteY8" fmla="*/ 362967 h 462341"/>
                <a:gd name="connsiteX9" fmla="*/ 186002 w 435145"/>
                <a:gd name="connsiteY9" fmla="*/ 213386 h 462341"/>
                <a:gd name="connsiteX10" fmla="*/ 186002 w 435145"/>
                <a:gd name="connsiteY10" fmla="*/ 213386 h 462341"/>
                <a:gd name="connsiteX11" fmla="*/ 229517 w 435145"/>
                <a:gd name="connsiteY11" fmla="*/ 161713 h 462341"/>
                <a:gd name="connsiteX12" fmla="*/ 259433 w 435145"/>
                <a:gd name="connsiteY12" fmla="*/ 194349 h 462341"/>
                <a:gd name="connsiteX13" fmla="*/ 259433 w 435145"/>
                <a:gd name="connsiteY13" fmla="*/ 362967 h 462341"/>
                <a:gd name="connsiteX14" fmla="*/ 321985 w 435145"/>
                <a:gd name="connsiteY14" fmla="*/ 422800 h 462341"/>
                <a:gd name="connsiteX15" fmla="*/ 387257 w 435145"/>
                <a:gd name="connsiteY15" fmla="*/ 362967 h 462341"/>
                <a:gd name="connsiteX16" fmla="*/ 387257 w 435145"/>
                <a:gd name="connsiteY16" fmla="*/ 273219 h 462341"/>
                <a:gd name="connsiteX17" fmla="*/ 302948 w 435145"/>
                <a:gd name="connsiteY17" fmla="*/ 74684 h 4623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435145" h="462341">
                  <a:moveTo>
                    <a:pt x="302948" y="74684"/>
                  </a:moveTo>
                  <a:cubicBezTo>
                    <a:pt x="234956" y="74684"/>
                    <a:pt x="196881" y="131797"/>
                    <a:pt x="186002" y="148115"/>
                  </a:cubicBezTo>
                  <a:lnTo>
                    <a:pt x="186002" y="148115"/>
                  </a:lnTo>
                  <a:cubicBezTo>
                    <a:pt x="186002" y="129077"/>
                    <a:pt x="186002" y="115479"/>
                    <a:pt x="186002" y="115479"/>
                  </a:cubicBezTo>
                  <a:cubicBezTo>
                    <a:pt x="186002" y="82843"/>
                    <a:pt x="156086" y="58366"/>
                    <a:pt x="123450" y="58366"/>
                  </a:cubicBezTo>
                  <a:cubicBezTo>
                    <a:pt x="90814" y="55646"/>
                    <a:pt x="58178" y="82843"/>
                    <a:pt x="58178" y="115479"/>
                  </a:cubicBezTo>
                  <a:cubicBezTo>
                    <a:pt x="58178" y="120918"/>
                    <a:pt x="58178" y="360248"/>
                    <a:pt x="58178" y="362967"/>
                  </a:cubicBezTo>
                  <a:cubicBezTo>
                    <a:pt x="58178" y="395603"/>
                    <a:pt x="88095" y="422800"/>
                    <a:pt x="120730" y="422800"/>
                  </a:cubicBezTo>
                  <a:cubicBezTo>
                    <a:pt x="153366" y="425519"/>
                    <a:pt x="186002" y="395603"/>
                    <a:pt x="186002" y="362967"/>
                  </a:cubicBezTo>
                  <a:cubicBezTo>
                    <a:pt x="186002" y="360248"/>
                    <a:pt x="186002" y="281378"/>
                    <a:pt x="186002" y="213386"/>
                  </a:cubicBezTo>
                  <a:lnTo>
                    <a:pt x="186002" y="213386"/>
                  </a:lnTo>
                  <a:cubicBezTo>
                    <a:pt x="191442" y="186190"/>
                    <a:pt x="205040" y="161713"/>
                    <a:pt x="229517" y="161713"/>
                  </a:cubicBezTo>
                  <a:cubicBezTo>
                    <a:pt x="259433" y="161713"/>
                    <a:pt x="259433" y="194349"/>
                    <a:pt x="259433" y="194349"/>
                  </a:cubicBezTo>
                  <a:lnTo>
                    <a:pt x="259433" y="362967"/>
                  </a:lnTo>
                  <a:cubicBezTo>
                    <a:pt x="259433" y="395603"/>
                    <a:pt x="289349" y="422800"/>
                    <a:pt x="321985" y="422800"/>
                  </a:cubicBezTo>
                  <a:cubicBezTo>
                    <a:pt x="354621" y="425519"/>
                    <a:pt x="387257" y="395603"/>
                    <a:pt x="387257" y="362967"/>
                  </a:cubicBezTo>
                  <a:lnTo>
                    <a:pt x="387257" y="273219"/>
                  </a:lnTo>
                  <a:cubicBezTo>
                    <a:pt x="384537" y="183470"/>
                    <a:pt x="395416" y="71964"/>
                    <a:pt x="302948" y="74684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rgbClr val="666666"/>
                </a:solidFill>
              </a:endParaRPr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BBA1C7DC-6309-4E4F-B5A5-1E32C5ABFC1A}"/>
                </a:ext>
              </a:extLst>
            </p:cNvPr>
            <p:cNvSpPr/>
            <p:nvPr/>
          </p:nvSpPr>
          <p:spPr>
            <a:xfrm>
              <a:off x="5020669" y="3416868"/>
              <a:ext cx="435145" cy="462341"/>
            </a:xfrm>
            <a:custGeom>
              <a:avLst/>
              <a:gdLst>
                <a:gd name="connsiteX0" fmla="*/ 302948 w 435145"/>
                <a:gd name="connsiteY0" fmla="*/ 74684 h 462341"/>
                <a:gd name="connsiteX1" fmla="*/ 186002 w 435145"/>
                <a:gd name="connsiteY1" fmla="*/ 148115 h 462341"/>
                <a:gd name="connsiteX2" fmla="*/ 186002 w 435145"/>
                <a:gd name="connsiteY2" fmla="*/ 148115 h 462341"/>
                <a:gd name="connsiteX3" fmla="*/ 186002 w 435145"/>
                <a:gd name="connsiteY3" fmla="*/ 115479 h 462341"/>
                <a:gd name="connsiteX4" fmla="*/ 123450 w 435145"/>
                <a:gd name="connsiteY4" fmla="*/ 58366 h 462341"/>
                <a:gd name="connsiteX5" fmla="*/ 58178 w 435145"/>
                <a:gd name="connsiteY5" fmla="*/ 115479 h 462341"/>
                <a:gd name="connsiteX6" fmla="*/ 58178 w 435145"/>
                <a:gd name="connsiteY6" fmla="*/ 362967 h 462341"/>
                <a:gd name="connsiteX7" fmla="*/ 120730 w 435145"/>
                <a:gd name="connsiteY7" fmla="*/ 422800 h 462341"/>
                <a:gd name="connsiteX8" fmla="*/ 186002 w 435145"/>
                <a:gd name="connsiteY8" fmla="*/ 362967 h 462341"/>
                <a:gd name="connsiteX9" fmla="*/ 186002 w 435145"/>
                <a:gd name="connsiteY9" fmla="*/ 213386 h 462341"/>
                <a:gd name="connsiteX10" fmla="*/ 186002 w 435145"/>
                <a:gd name="connsiteY10" fmla="*/ 213386 h 462341"/>
                <a:gd name="connsiteX11" fmla="*/ 229517 w 435145"/>
                <a:gd name="connsiteY11" fmla="*/ 161713 h 462341"/>
                <a:gd name="connsiteX12" fmla="*/ 259433 w 435145"/>
                <a:gd name="connsiteY12" fmla="*/ 194349 h 462341"/>
                <a:gd name="connsiteX13" fmla="*/ 259433 w 435145"/>
                <a:gd name="connsiteY13" fmla="*/ 362967 h 462341"/>
                <a:gd name="connsiteX14" fmla="*/ 321985 w 435145"/>
                <a:gd name="connsiteY14" fmla="*/ 422800 h 462341"/>
                <a:gd name="connsiteX15" fmla="*/ 387257 w 435145"/>
                <a:gd name="connsiteY15" fmla="*/ 362967 h 462341"/>
                <a:gd name="connsiteX16" fmla="*/ 387257 w 435145"/>
                <a:gd name="connsiteY16" fmla="*/ 273219 h 462341"/>
                <a:gd name="connsiteX17" fmla="*/ 302948 w 435145"/>
                <a:gd name="connsiteY17" fmla="*/ 74684 h 4623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435145" h="462341">
                  <a:moveTo>
                    <a:pt x="302948" y="74684"/>
                  </a:moveTo>
                  <a:cubicBezTo>
                    <a:pt x="234956" y="74684"/>
                    <a:pt x="196881" y="131797"/>
                    <a:pt x="186002" y="148115"/>
                  </a:cubicBezTo>
                  <a:lnTo>
                    <a:pt x="186002" y="148115"/>
                  </a:lnTo>
                  <a:cubicBezTo>
                    <a:pt x="186002" y="129077"/>
                    <a:pt x="186002" y="115479"/>
                    <a:pt x="186002" y="115479"/>
                  </a:cubicBezTo>
                  <a:cubicBezTo>
                    <a:pt x="186002" y="82843"/>
                    <a:pt x="156086" y="58366"/>
                    <a:pt x="123450" y="58366"/>
                  </a:cubicBezTo>
                  <a:cubicBezTo>
                    <a:pt x="90814" y="55646"/>
                    <a:pt x="58178" y="82843"/>
                    <a:pt x="58178" y="115479"/>
                  </a:cubicBezTo>
                  <a:cubicBezTo>
                    <a:pt x="58178" y="120918"/>
                    <a:pt x="58178" y="360248"/>
                    <a:pt x="58178" y="362967"/>
                  </a:cubicBezTo>
                  <a:cubicBezTo>
                    <a:pt x="58178" y="395603"/>
                    <a:pt x="88094" y="422800"/>
                    <a:pt x="120730" y="422800"/>
                  </a:cubicBezTo>
                  <a:cubicBezTo>
                    <a:pt x="153366" y="425519"/>
                    <a:pt x="186002" y="395603"/>
                    <a:pt x="186002" y="362967"/>
                  </a:cubicBezTo>
                  <a:cubicBezTo>
                    <a:pt x="186002" y="360248"/>
                    <a:pt x="186002" y="281378"/>
                    <a:pt x="186002" y="213386"/>
                  </a:cubicBezTo>
                  <a:lnTo>
                    <a:pt x="186002" y="213386"/>
                  </a:lnTo>
                  <a:cubicBezTo>
                    <a:pt x="191442" y="186190"/>
                    <a:pt x="205040" y="161713"/>
                    <a:pt x="229517" y="161713"/>
                  </a:cubicBezTo>
                  <a:cubicBezTo>
                    <a:pt x="259433" y="161713"/>
                    <a:pt x="259433" y="194349"/>
                    <a:pt x="259433" y="194349"/>
                  </a:cubicBezTo>
                  <a:lnTo>
                    <a:pt x="259433" y="362967"/>
                  </a:lnTo>
                  <a:cubicBezTo>
                    <a:pt x="259433" y="395603"/>
                    <a:pt x="289349" y="422800"/>
                    <a:pt x="321985" y="422800"/>
                  </a:cubicBezTo>
                  <a:cubicBezTo>
                    <a:pt x="354621" y="425519"/>
                    <a:pt x="387257" y="395603"/>
                    <a:pt x="387257" y="362967"/>
                  </a:cubicBezTo>
                  <a:lnTo>
                    <a:pt x="387257" y="273219"/>
                  </a:lnTo>
                  <a:cubicBezTo>
                    <a:pt x="384537" y="183470"/>
                    <a:pt x="395416" y="71964"/>
                    <a:pt x="302948" y="74684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rgbClr val="666666"/>
                </a:solidFill>
              </a:endParaRPr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F248CF09-AD3B-4C85-B535-3B9F24457F3F}"/>
                </a:ext>
              </a:extLst>
            </p:cNvPr>
            <p:cNvSpPr/>
            <p:nvPr/>
          </p:nvSpPr>
          <p:spPr>
            <a:xfrm>
              <a:off x="7616289" y="3475234"/>
              <a:ext cx="364436" cy="364434"/>
            </a:xfrm>
            <a:custGeom>
              <a:avLst/>
              <a:gdLst>
                <a:gd name="connsiteX0" fmla="*/ 182218 w 364436"/>
                <a:gd name="connsiteY0" fmla="*/ 73431 h 364434"/>
                <a:gd name="connsiteX1" fmla="*/ 130544 w 364436"/>
                <a:gd name="connsiteY1" fmla="*/ 179499 h 364434"/>
                <a:gd name="connsiteX2" fmla="*/ 182218 w 364436"/>
                <a:gd name="connsiteY2" fmla="*/ 285565 h 364434"/>
                <a:gd name="connsiteX3" fmla="*/ 233891 w 364436"/>
                <a:gd name="connsiteY3" fmla="*/ 179499 h 364434"/>
                <a:gd name="connsiteX4" fmla="*/ 182218 w 364436"/>
                <a:gd name="connsiteY4" fmla="*/ 73431 h 364434"/>
                <a:gd name="connsiteX5" fmla="*/ 182219 w 364436"/>
                <a:gd name="connsiteY5" fmla="*/ 0 h 364434"/>
                <a:gd name="connsiteX6" fmla="*/ 364436 w 364436"/>
                <a:gd name="connsiteY6" fmla="*/ 182217 h 364434"/>
                <a:gd name="connsiteX7" fmla="*/ 182219 w 364436"/>
                <a:gd name="connsiteY7" fmla="*/ 364434 h 364434"/>
                <a:gd name="connsiteX8" fmla="*/ 0 w 364436"/>
                <a:gd name="connsiteY8" fmla="*/ 182217 h 364434"/>
                <a:gd name="connsiteX9" fmla="*/ 182219 w 364436"/>
                <a:gd name="connsiteY9" fmla="*/ 0 h 3644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64436" h="364434">
                  <a:moveTo>
                    <a:pt x="182218" y="73431"/>
                  </a:moveTo>
                  <a:cubicBezTo>
                    <a:pt x="152302" y="76151"/>
                    <a:pt x="130544" y="114226"/>
                    <a:pt x="130544" y="179499"/>
                  </a:cubicBezTo>
                  <a:cubicBezTo>
                    <a:pt x="130544" y="244770"/>
                    <a:pt x="146862" y="285565"/>
                    <a:pt x="182218" y="285565"/>
                  </a:cubicBezTo>
                  <a:cubicBezTo>
                    <a:pt x="217573" y="285565"/>
                    <a:pt x="233891" y="247490"/>
                    <a:pt x="233891" y="179499"/>
                  </a:cubicBezTo>
                  <a:cubicBezTo>
                    <a:pt x="233891" y="114226"/>
                    <a:pt x="212134" y="73431"/>
                    <a:pt x="182218" y="73431"/>
                  </a:cubicBezTo>
                  <a:close/>
                  <a:moveTo>
                    <a:pt x="182219" y="0"/>
                  </a:moveTo>
                  <a:cubicBezTo>
                    <a:pt x="282846" y="0"/>
                    <a:pt x="364436" y="81590"/>
                    <a:pt x="364436" y="182217"/>
                  </a:cubicBezTo>
                  <a:cubicBezTo>
                    <a:pt x="364436" y="282844"/>
                    <a:pt x="282846" y="364434"/>
                    <a:pt x="182219" y="364434"/>
                  </a:cubicBezTo>
                  <a:cubicBezTo>
                    <a:pt x="81591" y="364434"/>
                    <a:pt x="0" y="282844"/>
                    <a:pt x="0" y="182217"/>
                  </a:cubicBezTo>
                  <a:cubicBezTo>
                    <a:pt x="0" y="81590"/>
                    <a:pt x="81591" y="0"/>
                    <a:pt x="182219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rgbClr val="666666"/>
                </a:solidFill>
              </a:endParaRPr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E974E943-15A7-4D05-B2E8-5041FD49AFD8}"/>
                </a:ext>
              </a:extLst>
            </p:cNvPr>
            <p:cNvSpPr/>
            <p:nvPr/>
          </p:nvSpPr>
          <p:spPr>
            <a:xfrm>
              <a:off x="6743101" y="3464184"/>
              <a:ext cx="372773" cy="375657"/>
            </a:xfrm>
            <a:custGeom>
              <a:avLst/>
              <a:gdLst>
                <a:gd name="connsiteX0" fmla="*/ 176958 w 372773"/>
                <a:gd name="connsiteY0" fmla="*/ 98080 h 375657"/>
                <a:gd name="connsiteX1" fmla="*/ 125284 w 372773"/>
                <a:gd name="connsiteY1" fmla="*/ 190548 h 375657"/>
                <a:gd name="connsiteX2" fmla="*/ 176958 w 372773"/>
                <a:gd name="connsiteY2" fmla="*/ 283017 h 375657"/>
                <a:gd name="connsiteX3" fmla="*/ 228631 w 372773"/>
                <a:gd name="connsiteY3" fmla="*/ 190548 h 375657"/>
                <a:gd name="connsiteX4" fmla="*/ 176958 w 372773"/>
                <a:gd name="connsiteY4" fmla="*/ 98080 h 375657"/>
                <a:gd name="connsiteX5" fmla="*/ 307501 w 372773"/>
                <a:gd name="connsiteY5" fmla="*/ 172 h 375657"/>
                <a:gd name="connsiteX6" fmla="*/ 372773 w 372773"/>
                <a:gd name="connsiteY6" fmla="*/ 62724 h 375657"/>
                <a:gd name="connsiteX7" fmla="*/ 372773 w 372773"/>
                <a:gd name="connsiteY7" fmla="*/ 312934 h 375657"/>
                <a:gd name="connsiteX8" fmla="*/ 302061 w 372773"/>
                <a:gd name="connsiteY8" fmla="*/ 375486 h 375657"/>
                <a:gd name="connsiteX9" fmla="*/ 239509 w 372773"/>
                <a:gd name="connsiteY9" fmla="*/ 326532 h 375657"/>
                <a:gd name="connsiteX10" fmla="*/ 179677 w 372773"/>
                <a:gd name="connsiteY10" fmla="*/ 370046 h 375657"/>
                <a:gd name="connsiteX11" fmla="*/ 70890 w 372773"/>
                <a:gd name="connsiteY11" fmla="*/ 353728 h 375657"/>
                <a:gd name="connsiteX12" fmla="*/ 128003 w 372773"/>
                <a:gd name="connsiteY12" fmla="*/ 11051 h 375657"/>
                <a:gd name="connsiteX13" fmla="*/ 236790 w 372773"/>
                <a:gd name="connsiteY13" fmla="*/ 70883 h 375657"/>
                <a:gd name="connsiteX14" fmla="*/ 236790 w 372773"/>
                <a:gd name="connsiteY14" fmla="*/ 62724 h 375657"/>
                <a:gd name="connsiteX15" fmla="*/ 307501 w 372773"/>
                <a:gd name="connsiteY15" fmla="*/ 172 h 3756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72773" h="375657">
                  <a:moveTo>
                    <a:pt x="176958" y="98080"/>
                  </a:moveTo>
                  <a:cubicBezTo>
                    <a:pt x="147042" y="100800"/>
                    <a:pt x="125284" y="133436"/>
                    <a:pt x="125284" y="190548"/>
                  </a:cubicBezTo>
                  <a:cubicBezTo>
                    <a:pt x="125284" y="247661"/>
                    <a:pt x="141602" y="283017"/>
                    <a:pt x="176958" y="283017"/>
                  </a:cubicBezTo>
                  <a:cubicBezTo>
                    <a:pt x="212314" y="283017"/>
                    <a:pt x="228631" y="247661"/>
                    <a:pt x="228631" y="190548"/>
                  </a:cubicBezTo>
                  <a:cubicBezTo>
                    <a:pt x="228631" y="133436"/>
                    <a:pt x="206874" y="98080"/>
                    <a:pt x="176958" y="98080"/>
                  </a:cubicBezTo>
                  <a:close/>
                  <a:moveTo>
                    <a:pt x="307501" y="172"/>
                  </a:moveTo>
                  <a:cubicBezTo>
                    <a:pt x="340137" y="172"/>
                    <a:pt x="372773" y="30088"/>
                    <a:pt x="372773" y="62724"/>
                  </a:cubicBezTo>
                  <a:cubicBezTo>
                    <a:pt x="372773" y="65444"/>
                    <a:pt x="372773" y="307494"/>
                    <a:pt x="372773" y="312934"/>
                  </a:cubicBezTo>
                  <a:cubicBezTo>
                    <a:pt x="370053" y="348289"/>
                    <a:pt x="337417" y="378205"/>
                    <a:pt x="302061" y="375486"/>
                  </a:cubicBezTo>
                  <a:cubicBezTo>
                    <a:pt x="274865" y="372766"/>
                    <a:pt x="247668" y="353728"/>
                    <a:pt x="239509" y="326532"/>
                  </a:cubicBezTo>
                  <a:cubicBezTo>
                    <a:pt x="225911" y="348289"/>
                    <a:pt x="198715" y="364607"/>
                    <a:pt x="179677" y="370046"/>
                  </a:cubicBezTo>
                  <a:cubicBezTo>
                    <a:pt x="147041" y="378205"/>
                    <a:pt x="100807" y="372766"/>
                    <a:pt x="70890" y="353728"/>
                  </a:cubicBezTo>
                  <a:cubicBezTo>
                    <a:pt x="-35177" y="285737"/>
                    <a:pt x="-27018" y="11051"/>
                    <a:pt x="128003" y="11051"/>
                  </a:cubicBezTo>
                  <a:cubicBezTo>
                    <a:pt x="185116" y="11051"/>
                    <a:pt x="220471" y="49126"/>
                    <a:pt x="236790" y="70883"/>
                  </a:cubicBezTo>
                  <a:cubicBezTo>
                    <a:pt x="236790" y="70883"/>
                    <a:pt x="236790" y="65444"/>
                    <a:pt x="236790" y="62724"/>
                  </a:cubicBezTo>
                  <a:cubicBezTo>
                    <a:pt x="239509" y="27369"/>
                    <a:pt x="272145" y="-2547"/>
                    <a:pt x="307501" y="172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rgbClr val="666666"/>
                </a:solidFill>
              </a:endParaRPr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55FFAEB3-1B3E-4C78-9313-BD977A48C24D}"/>
                </a:ext>
              </a:extLst>
            </p:cNvPr>
            <p:cNvSpPr/>
            <p:nvPr/>
          </p:nvSpPr>
          <p:spPr>
            <a:xfrm>
              <a:off x="8380335" y="3464184"/>
              <a:ext cx="372772" cy="375657"/>
            </a:xfrm>
            <a:custGeom>
              <a:avLst/>
              <a:gdLst>
                <a:gd name="connsiteX0" fmla="*/ 176957 w 372772"/>
                <a:gd name="connsiteY0" fmla="*/ 98080 h 375657"/>
                <a:gd name="connsiteX1" fmla="*/ 125282 w 372772"/>
                <a:gd name="connsiteY1" fmla="*/ 190548 h 375657"/>
                <a:gd name="connsiteX2" fmla="*/ 176957 w 372772"/>
                <a:gd name="connsiteY2" fmla="*/ 283017 h 375657"/>
                <a:gd name="connsiteX3" fmla="*/ 228630 w 372772"/>
                <a:gd name="connsiteY3" fmla="*/ 190548 h 375657"/>
                <a:gd name="connsiteX4" fmla="*/ 176957 w 372772"/>
                <a:gd name="connsiteY4" fmla="*/ 98080 h 375657"/>
                <a:gd name="connsiteX5" fmla="*/ 307501 w 372772"/>
                <a:gd name="connsiteY5" fmla="*/ 172 h 375657"/>
                <a:gd name="connsiteX6" fmla="*/ 372772 w 372772"/>
                <a:gd name="connsiteY6" fmla="*/ 62724 h 375657"/>
                <a:gd name="connsiteX7" fmla="*/ 372772 w 372772"/>
                <a:gd name="connsiteY7" fmla="*/ 312934 h 375657"/>
                <a:gd name="connsiteX8" fmla="*/ 302062 w 372772"/>
                <a:gd name="connsiteY8" fmla="*/ 375486 h 375657"/>
                <a:gd name="connsiteX9" fmla="*/ 239509 w 372772"/>
                <a:gd name="connsiteY9" fmla="*/ 326532 h 375657"/>
                <a:gd name="connsiteX10" fmla="*/ 179677 w 372772"/>
                <a:gd name="connsiteY10" fmla="*/ 370046 h 375657"/>
                <a:gd name="connsiteX11" fmla="*/ 70890 w 372772"/>
                <a:gd name="connsiteY11" fmla="*/ 353728 h 375657"/>
                <a:gd name="connsiteX12" fmla="*/ 128002 w 372772"/>
                <a:gd name="connsiteY12" fmla="*/ 11051 h 375657"/>
                <a:gd name="connsiteX13" fmla="*/ 236790 w 372772"/>
                <a:gd name="connsiteY13" fmla="*/ 70883 h 375657"/>
                <a:gd name="connsiteX14" fmla="*/ 236790 w 372772"/>
                <a:gd name="connsiteY14" fmla="*/ 62724 h 375657"/>
                <a:gd name="connsiteX15" fmla="*/ 307501 w 372772"/>
                <a:gd name="connsiteY15" fmla="*/ 172 h 3756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72772" h="375657">
                  <a:moveTo>
                    <a:pt x="176957" y="98080"/>
                  </a:moveTo>
                  <a:cubicBezTo>
                    <a:pt x="147039" y="100800"/>
                    <a:pt x="125282" y="133436"/>
                    <a:pt x="125282" y="190548"/>
                  </a:cubicBezTo>
                  <a:cubicBezTo>
                    <a:pt x="125282" y="247661"/>
                    <a:pt x="141600" y="283017"/>
                    <a:pt x="176957" y="283017"/>
                  </a:cubicBezTo>
                  <a:cubicBezTo>
                    <a:pt x="212312" y="283017"/>
                    <a:pt x="228630" y="247661"/>
                    <a:pt x="228630" y="190548"/>
                  </a:cubicBezTo>
                  <a:cubicBezTo>
                    <a:pt x="228630" y="133436"/>
                    <a:pt x="206873" y="98080"/>
                    <a:pt x="176957" y="98080"/>
                  </a:cubicBezTo>
                  <a:close/>
                  <a:moveTo>
                    <a:pt x="307501" y="172"/>
                  </a:moveTo>
                  <a:cubicBezTo>
                    <a:pt x="340137" y="172"/>
                    <a:pt x="372772" y="30088"/>
                    <a:pt x="372772" y="62724"/>
                  </a:cubicBezTo>
                  <a:cubicBezTo>
                    <a:pt x="372772" y="65444"/>
                    <a:pt x="372772" y="307494"/>
                    <a:pt x="372772" y="312934"/>
                  </a:cubicBezTo>
                  <a:cubicBezTo>
                    <a:pt x="370053" y="348289"/>
                    <a:pt x="337417" y="378205"/>
                    <a:pt x="302062" y="375486"/>
                  </a:cubicBezTo>
                  <a:cubicBezTo>
                    <a:pt x="274865" y="372766"/>
                    <a:pt x="247668" y="353728"/>
                    <a:pt x="239509" y="326532"/>
                  </a:cubicBezTo>
                  <a:cubicBezTo>
                    <a:pt x="228630" y="348289"/>
                    <a:pt x="198714" y="364607"/>
                    <a:pt x="179677" y="370046"/>
                  </a:cubicBezTo>
                  <a:cubicBezTo>
                    <a:pt x="147040" y="378205"/>
                    <a:pt x="100806" y="372766"/>
                    <a:pt x="70890" y="353728"/>
                  </a:cubicBezTo>
                  <a:cubicBezTo>
                    <a:pt x="-35177" y="285737"/>
                    <a:pt x="-27018" y="11051"/>
                    <a:pt x="128002" y="11051"/>
                  </a:cubicBezTo>
                  <a:cubicBezTo>
                    <a:pt x="185116" y="11051"/>
                    <a:pt x="220472" y="49126"/>
                    <a:pt x="236790" y="70883"/>
                  </a:cubicBezTo>
                  <a:cubicBezTo>
                    <a:pt x="236790" y="70883"/>
                    <a:pt x="236790" y="65444"/>
                    <a:pt x="236790" y="62724"/>
                  </a:cubicBezTo>
                  <a:cubicBezTo>
                    <a:pt x="239509" y="27369"/>
                    <a:pt x="272145" y="-2547"/>
                    <a:pt x="307501" y="172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rgbClr val="666666"/>
                </a:solidFill>
              </a:endParaRPr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7013A6C2-7D68-4911-9BB2-76B931A0840C}"/>
                </a:ext>
              </a:extLst>
            </p:cNvPr>
            <p:cNvSpPr/>
            <p:nvPr/>
          </p:nvSpPr>
          <p:spPr>
            <a:xfrm>
              <a:off x="7389492" y="3444253"/>
              <a:ext cx="217573" cy="435145"/>
            </a:xfrm>
            <a:custGeom>
              <a:avLst/>
              <a:gdLst>
                <a:gd name="connsiteX0" fmla="*/ 186002 w 217572"/>
                <a:gd name="connsiteY0" fmla="*/ 118011 h 435144"/>
                <a:gd name="connsiteX1" fmla="*/ 128890 w 217572"/>
                <a:gd name="connsiteY1" fmla="*/ 58178 h 435144"/>
                <a:gd name="connsiteX2" fmla="*/ 123450 w 217572"/>
                <a:gd name="connsiteY2" fmla="*/ 58178 h 435144"/>
                <a:gd name="connsiteX3" fmla="*/ 58178 w 217572"/>
                <a:gd name="connsiteY3" fmla="*/ 115291 h 435144"/>
                <a:gd name="connsiteX4" fmla="*/ 58178 w 217572"/>
                <a:gd name="connsiteY4" fmla="*/ 232236 h 435144"/>
                <a:gd name="connsiteX5" fmla="*/ 58178 w 217572"/>
                <a:gd name="connsiteY5" fmla="*/ 232236 h 435144"/>
                <a:gd name="connsiteX6" fmla="*/ 58178 w 217572"/>
                <a:gd name="connsiteY6" fmla="*/ 335583 h 435144"/>
                <a:gd name="connsiteX7" fmla="*/ 115291 w 217572"/>
                <a:gd name="connsiteY7" fmla="*/ 395415 h 435144"/>
                <a:gd name="connsiteX8" fmla="*/ 120730 w 217572"/>
                <a:gd name="connsiteY8" fmla="*/ 395415 h 435144"/>
                <a:gd name="connsiteX9" fmla="*/ 186002 w 217572"/>
                <a:gd name="connsiteY9" fmla="*/ 338303 h 435144"/>
                <a:gd name="connsiteX10" fmla="*/ 186002 w 217572"/>
                <a:gd name="connsiteY10" fmla="*/ 240395 h 435144"/>
                <a:gd name="connsiteX11" fmla="*/ 186002 w 217572"/>
                <a:gd name="connsiteY11" fmla="*/ 240395 h 435144"/>
                <a:gd name="connsiteX12" fmla="*/ 186002 w 217572"/>
                <a:gd name="connsiteY12" fmla="*/ 118011 h 4351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17572" h="435144">
                  <a:moveTo>
                    <a:pt x="186002" y="118011"/>
                  </a:moveTo>
                  <a:cubicBezTo>
                    <a:pt x="183283" y="85375"/>
                    <a:pt x="158806" y="60898"/>
                    <a:pt x="128890" y="58178"/>
                  </a:cubicBezTo>
                  <a:cubicBezTo>
                    <a:pt x="126170" y="58178"/>
                    <a:pt x="126170" y="58178"/>
                    <a:pt x="123450" y="58178"/>
                  </a:cubicBezTo>
                  <a:cubicBezTo>
                    <a:pt x="96254" y="58178"/>
                    <a:pt x="58178" y="82655"/>
                    <a:pt x="58178" y="115291"/>
                  </a:cubicBezTo>
                  <a:lnTo>
                    <a:pt x="58178" y="232236"/>
                  </a:lnTo>
                  <a:lnTo>
                    <a:pt x="58178" y="232236"/>
                  </a:lnTo>
                  <a:cubicBezTo>
                    <a:pt x="58178" y="270311"/>
                    <a:pt x="58178" y="335583"/>
                    <a:pt x="58178" y="335583"/>
                  </a:cubicBezTo>
                  <a:cubicBezTo>
                    <a:pt x="60898" y="368219"/>
                    <a:pt x="85375" y="392696"/>
                    <a:pt x="115291" y="395415"/>
                  </a:cubicBezTo>
                  <a:cubicBezTo>
                    <a:pt x="118011" y="395415"/>
                    <a:pt x="118011" y="395415"/>
                    <a:pt x="120730" y="395415"/>
                  </a:cubicBezTo>
                  <a:cubicBezTo>
                    <a:pt x="147927" y="395415"/>
                    <a:pt x="186002" y="370938"/>
                    <a:pt x="186002" y="338303"/>
                  </a:cubicBezTo>
                  <a:lnTo>
                    <a:pt x="186002" y="240395"/>
                  </a:lnTo>
                  <a:lnTo>
                    <a:pt x="186002" y="240395"/>
                  </a:lnTo>
                  <a:cubicBezTo>
                    <a:pt x="186002" y="202320"/>
                    <a:pt x="186002" y="118011"/>
                    <a:pt x="186002" y="118011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rgbClr val="666666"/>
                </a:solidFill>
              </a:endParaRPr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43A0FC2E-1696-4E5D-8740-0173FEC0C940}"/>
                </a:ext>
              </a:extLst>
            </p:cNvPr>
            <p:cNvSpPr/>
            <p:nvPr/>
          </p:nvSpPr>
          <p:spPr>
            <a:xfrm>
              <a:off x="7392212" y="3280901"/>
              <a:ext cx="217573" cy="217572"/>
            </a:xfrm>
            <a:custGeom>
              <a:avLst/>
              <a:gdLst>
                <a:gd name="connsiteX0" fmla="*/ 183282 w 217572"/>
                <a:gd name="connsiteY0" fmla="*/ 120902 h 217572"/>
                <a:gd name="connsiteX1" fmla="*/ 120730 w 217572"/>
                <a:gd name="connsiteY1" fmla="*/ 183454 h 217572"/>
                <a:gd name="connsiteX2" fmla="*/ 58178 w 217572"/>
                <a:gd name="connsiteY2" fmla="*/ 120902 h 217572"/>
                <a:gd name="connsiteX3" fmla="*/ 120730 w 217572"/>
                <a:gd name="connsiteY3" fmla="*/ 58350 h 217572"/>
                <a:gd name="connsiteX4" fmla="*/ 183282 w 217572"/>
                <a:gd name="connsiteY4" fmla="*/ 120902 h 2175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17572" h="217572">
                  <a:moveTo>
                    <a:pt x="183282" y="120902"/>
                  </a:moveTo>
                  <a:cubicBezTo>
                    <a:pt x="183282" y="156258"/>
                    <a:pt x="156086" y="183454"/>
                    <a:pt x="120730" y="183454"/>
                  </a:cubicBezTo>
                  <a:cubicBezTo>
                    <a:pt x="85375" y="183454"/>
                    <a:pt x="58178" y="156258"/>
                    <a:pt x="58178" y="120902"/>
                  </a:cubicBezTo>
                  <a:cubicBezTo>
                    <a:pt x="58178" y="85547"/>
                    <a:pt x="85375" y="58350"/>
                    <a:pt x="120730" y="58350"/>
                  </a:cubicBezTo>
                  <a:cubicBezTo>
                    <a:pt x="153366" y="55630"/>
                    <a:pt x="183282" y="85547"/>
                    <a:pt x="183282" y="120902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rgbClr val="666666"/>
                </a:solidFill>
              </a:endParaRPr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FA6C3BEF-B959-4A63-9972-3910916B1FB5}"/>
                </a:ext>
              </a:extLst>
            </p:cNvPr>
            <p:cNvSpPr/>
            <p:nvPr/>
          </p:nvSpPr>
          <p:spPr>
            <a:xfrm>
              <a:off x="6005186" y="3416884"/>
              <a:ext cx="380752" cy="462341"/>
            </a:xfrm>
            <a:custGeom>
              <a:avLst/>
              <a:gdLst>
                <a:gd name="connsiteX0" fmla="*/ 270312 w 380752"/>
                <a:gd name="connsiteY0" fmla="*/ 69229 h 462341"/>
                <a:gd name="connsiteX1" fmla="*/ 188722 w 380752"/>
                <a:gd name="connsiteY1" fmla="*/ 134501 h 462341"/>
                <a:gd name="connsiteX2" fmla="*/ 188722 w 380752"/>
                <a:gd name="connsiteY2" fmla="*/ 118183 h 462341"/>
                <a:gd name="connsiteX3" fmla="*/ 126170 w 380752"/>
                <a:gd name="connsiteY3" fmla="*/ 58350 h 462341"/>
                <a:gd name="connsiteX4" fmla="*/ 58178 w 380752"/>
                <a:gd name="connsiteY4" fmla="*/ 118183 h 462341"/>
                <a:gd name="connsiteX5" fmla="*/ 58178 w 380752"/>
                <a:gd name="connsiteY5" fmla="*/ 210651 h 462341"/>
                <a:gd name="connsiteX6" fmla="*/ 58178 w 380752"/>
                <a:gd name="connsiteY6" fmla="*/ 365671 h 462341"/>
                <a:gd name="connsiteX7" fmla="*/ 58178 w 380752"/>
                <a:gd name="connsiteY7" fmla="*/ 365671 h 462341"/>
                <a:gd name="connsiteX8" fmla="*/ 120730 w 380752"/>
                <a:gd name="connsiteY8" fmla="*/ 425504 h 462341"/>
                <a:gd name="connsiteX9" fmla="*/ 186002 w 380752"/>
                <a:gd name="connsiteY9" fmla="*/ 365671 h 462341"/>
                <a:gd name="connsiteX10" fmla="*/ 186002 w 380752"/>
                <a:gd name="connsiteY10" fmla="*/ 365671 h 462341"/>
                <a:gd name="connsiteX11" fmla="*/ 186002 w 380752"/>
                <a:gd name="connsiteY11" fmla="*/ 210651 h 462341"/>
                <a:gd name="connsiteX12" fmla="*/ 215919 w 380752"/>
                <a:gd name="connsiteY12" fmla="*/ 158978 h 462341"/>
                <a:gd name="connsiteX13" fmla="*/ 275751 w 380752"/>
                <a:gd name="connsiteY13" fmla="*/ 221530 h 462341"/>
                <a:gd name="connsiteX14" fmla="*/ 270312 w 380752"/>
                <a:gd name="connsiteY14" fmla="*/ 69229 h 4623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80752" h="462341">
                  <a:moveTo>
                    <a:pt x="270312" y="69229"/>
                  </a:moveTo>
                  <a:cubicBezTo>
                    <a:pt x="232236" y="71949"/>
                    <a:pt x="213199" y="99145"/>
                    <a:pt x="188722" y="134501"/>
                  </a:cubicBezTo>
                  <a:cubicBezTo>
                    <a:pt x="188722" y="134501"/>
                    <a:pt x="188722" y="118183"/>
                    <a:pt x="188722" y="118183"/>
                  </a:cubicBezTo>
                  <a:cubicBezTo>
                    <a:pt x="188722" y="85547"/>
                    <a:pt x="158806" y="58350"/>
                    <a:pt x="126170" y="58350"/>
                  </a:cubicBezTo>
                  <a:cubicBezTo>
                    <a:pt x="93534" y="55631"/>
                    <a:pt x="60898" y="85547"/>
                    <a:pt x="58178" y="118183"/>
                  </a:cubicBezTo>
                  <a:lnTo>
                    <a:pt x="58178" y="210651"/>
                  </a:lnTo>
                  <a:lnTo>
                    <a:pt x="58178" y="365671"/>
                  </a:lnTo>
                  <a:lnTo>
                    <a:pt x="58178" y="365671"/>
                  </a:lnTo>
                  <a:cubicBezTo>
                    <a:pt x="58178" y="398307"/>
                    <a:pt x="88094" y="425504"/>
                    <a:pt x="120730" y="425504"/>
                  </a:cubicBezTo>
                  <a:cubicBezTo>
                    <a:pt x="153366" y="428224"/>
                    <a:pt x="186002" y="398307"/>
                    <a:pt x="186002" y="365671"/>
                  </a:cubicBezTo>
                  <a:lnTo>
                    <a:pt x="186002" y="365671"/>
                  </a:lnTo>
                  <a:lnTo>
                    <a:pt x="186002" y="210651"/>
                  </a:lnTo>
                  <a:cubicBezTo>
                    <a:pt x="188722" y="188894"/>
                    <a:pt x="196881" y="158978"/>
                    <a:pt x="215919" y="158978"/>
                  </a:cubicBezTo>
                  <a:cubicBezTo>
                    <a:pt x="243115" y="158978"/>
                    <a:pt x="215919" y="221530"/>
                    <a:pt x="275751" y="221530"/>
                  </a:cubicBezTo>
                  <a:cubicBezTo>
                    <a:pt x="362780" y="221530"/>
                    <a:pt x="373658" y="63790"/>
                    <a:pt x="270312" y="69229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rgbClr val="666666"/>
                </a:solidFill>
              </a:endParaRPr>
            </a:p>
          </p:txBody>
        </p:sp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id="{95A684EE-FC6F-42C2-A395-8D903D7DA553}"/>
                </a:ext>
              </a:extLst>
            </p:cNvPr>
            <p:cNvSpPr/>
            <p:nvPr/>
          </p:nvSpPr>
          <p:spPr>
            <a:xfrm>
              <a:off x="5693490" y="3475234"/>
              <a:ext cx="337238" cy="364434"/>
            </a:xfrm>
            <a:custGeom>
              <a:avLst/>
              <a:gdLst>
                <a:gd name="connsiteX0" fmla="*/ 180433 w 337238"/>
                <a:gd name="connsiteY0" fmla="*/ 73984 h 364434"/>
                <a:gd name="connsiteX1" fmla="*/ 163180 w 337238"/>
                <a:gd name="connsiteY1" fmla="*/ 78870 h 364434"/>
                <a:gd name="connsiteX2" fmla="*/ 125105 w 337238"/>
                <a:gd name="connsiteY2" fmla="*/ 160461 h 364434"/>
                <a:gd name="connsiteX3" fmla="*/ 171339 w 337238"/>
                <a:gd name="connsiteY3" fmla="*/ 163180 h 364434"/>
                <a:gd name="connsiteX4" fmla="*/ 214854 w 337238"/>
                <a:gd name="connsiteY4" fmla="*/ 108787 h 364434"/>
                <a:gd name="connsiteX5" fmla="*/ 180433 w 337238"/>
                <a:gd name="connsiteY5" fmla="*/ 73984 h 364434"/>
                <a:gd name="connsiteX6" fmla="*/ 174059 w 337238"/>
                <a:gd name="connsiteY6" fmla="*/ 0 h 364434"/>
                <a:gd name="connsiteX7" fmla="*/ 337238 w 337238"/>
                <a:gd name="connsiteY7" fmla="*/ 119665 h 364434"/>
                <a:gd name="connsiteX8" fmla="*/ 133264 w 337238"/>
                <a:gd name="connsiteY8" fmla="*/ 217573 h 364434"/>
                <a:gd name="connsiteX9" fmla="*/ 225732 w 337238"/>
                <a:gd name="connsiteY9" fmla="*/ 277405 h 364434"/>
                <a:gd name="connsiteX10" fmla="*/ 320920 w 337238"/>
                <a:gd name="connsiteY10" fmla="*/ 250208 h 364434"/>
                <a:gd name="connsiteX11" fmla="*/ 174059 w 337238"/>
                <a:gd name="connsiteY11" fmla="*/ 364434 h 364434"/>
                <a:gd name="connsiteX12" fmla="*/ 0 w 337238"/>
                <a:gd name="connsiteY12" fmla="*/ 184937 h 364434"/>
                <a:gd name="connsiteX13" fmla="*/ 174059 w 337238"/>
                <a:gd name="connsiteY13" fmla="*/ 0 h 3644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37238" h="364434">
                  <a:moveTo>
                    <a:pt x="180433" y="73984"/>
                  </a:moveTo>
                  <a:cubicBezTo>
                    <a:pt x="174569" y="73941"/>
                    <a:pt x="168620" y="75471"/>
                    <a:pt x="163180" y="78870"/>
                  </a:cubicBezTo>
                  <a:cubicBezTo>
                    <a:pt x="135984" y="95189"/>
                    <a:pt x="127825" y="130544"/>
                    <a:pt x="125105" y="160461"/>
                  </a:cubicBezTo>
                  <a:cubicBezTo>
                    <a:pt x="125105" y="163180"/>
                    <a:pt x="168620" y="160461"/>
                    <a:pt x="171339" y="163180"/>
                  </a:cubicBezTo>
                  <a:cubicBezTo>
                    <a:pt x="195816" y="157741"/>
                    <a:pt x="214854" y="135984"/>
                    <a:pt x="214854" y="108787"/>
                  </a:cubicBezTo>
                  <a:cubicBezTo>
                    <a:pt x="214854" y="88389"/>
                    <a:pt x="198026" y="74111"/>
                    <a:pt x="180433" y="73984"/>
                  </a:cubicBezTo>
                  <a:close/>
                  <a:moveTo>
                    <a:pt x="174059" y="0"/>
                  </a:moveTo>
                  <a:cubicBezTo>
                    <a:pt x="233891" y="0"/>
                    <a:pt x="337238" y="29916"/>
                    <a:pt x="337238" y="119665"/>
                  </a:cubicBezTo>
                  <a:cubicBezTo>
                    <a:pt x="337238" y="209414"/>
                    <a:pt x="244770" y="217573"/>
                    <a:pt x="133264" y="217573"/>
                  </a:cubicBezTo>
                  <a:cubicBezTo>
                    <a:pt x="133264" y="217573"/>
                    <a:pt x="149581" y="277405"/>
                    <a:pt x="225732" y="277405"/>
                  </a:cubicBezTo>
                  <a:cubicBezTo>
                    <a:pt x="301883" y="277405"/>
                    <a:pt x="320920" y="250208"/>
                    <a:pt x="320920" y="250208"/>
                  </a:cubicBezTo>
                  <a:cubicBezTo>
                    <a:pt x="320920" y="250208"/>
                    <a:pt x="315481" y="364434"/>
                    <a:pt x="174059" y="364434"/>
                  </a:cubicBezTo>
                  <a:cubicBezTo>
                    <a:pt x="95188" y="364434"/>
                    <a:pt x="0" y="304602"/>
                    <a:pt x="0" y="184937"/>
                  </a:cubicBezTo>
                  <a:cubicBezTo>
                    <a:pt x="0" y="78870"/>
                    <a:pt x="73431" y="0"/>
                    <a:pt x="174059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rgbClr val="666666"/>
                </a:solidFill>
              </a:endParaRPr>
            </a:p>
          </p:txBody>
        </p:sp>
        <p:sp>
          <p:nvSpPr>
            <p:cNvPr id="35" name="Freeform: Shape 34">
              <a:extLst>
                <a:ext uri="{FF2B5EF4-FFF2-40B4-BE49-F238E27FC236}">
                  <a16:creationId xmlns:a16="http://schemas.microsoft.com/office/drawing/2014/main" id="{FFA0438A-6980-45CF-B8F0-FB53943DAB08}"/>
                </a:ext>
              </a:extLst>
            </p:cNvPr>
            <p:cNvSpPr/>
            <p:nvPr/>
          </p:nvSpPr>
          <p:spPr>
            <a:xfrm>
              <a:off x="5376945" y="3338014"/>
              <a:ext cx="353556" cy="543931"/>
            </a:xfrm>
            <a:custGeom>
              <a:avLst/>
              <a:gdLst>
                <a:gd name="connsiteX0" fmla="*/ 311107 w 353555"/>
                <a:gd name="connsiteY0" fmla="*/ 433663 h 543931"/>
                <a:gd name="connsiteX1" fmla="*/ 215919 w 353555"/>
                <a:gd name="connsiteY1" fmla="*/ 501654 h 543931"/>
                <a:gd name="connsiteX2" fmla="*/ 98973 w 353555"/>
                <a:gd name="connsiteY2" fmla="*/ 392868 h 543931"/>
                <a:gd name="connsiteX3" fmla="*/ 98973 w 353555"/>
                <a:gd name="connsiteY3" fmla="*/ 221530 h 543931"/>
                <a:gd name="connsiteX4" fmla="*/ 82655 w 353555"/>
                <a:gd name="connsiteY4" fmla="*/ 221530 h 543931"/>
                <a:gd name="connsiteX5" fmla="*/ 58178 w 353555"/>
                <a:gd name="connsiteY5" fmla="*/ 191614 h 543931"/>
                <a:gd name="connsiteX6" fmla="*/ 85375 w 353555"/>
                <a:gd name="connsiteY6" fmla="*/ 164417 h 543931"/>
                <a:gd name="connsiteX7" fmla="*/ 101693 w 353555"/>
                <a:gd name="connsiteY7" fmla="*/ 164417 h 543931"/>
                <a:gd name="connsiteX8" fmla="*/ 101693 w 353555"/>
                <a:gd name="connsiteY8" fmla="*/ 118183 h 543931"/>
                <a:gd name="connsiteX9" fmla="*/ 166965 w 353555"/>
                <a:gd name="connsiteY9" fmla="*/ 58350 h 543931"/>
                <a:gd name="connsiteX10" fmla="*/ 229517 w 353555"/>
                <a:gd name="connsiteY10" fmla="*/ 118183 h 543931"/>
                <a:gd name="connsiteX11" fmla="*/ 229517 w 353555"/>
                <a:gd name="connsiteY11" fmla="*/ 118183 h 543931"/>
                <a:gd name="connsiteX12" fmla="*/ 229517 w 353555"/>
                <a:gd name="connsiteY12" fmla="*/ 164417 h 543931"/>
                <a:gd name="connsiteX13" fmla="*/ 283910 w 353555"/>
                <a:gd name="connsiteY13" fmla="*/ 164417 h 543931"/>
                <a:gd name="connsiteX14" fmla="*/ 308387 w 353555"/>
                <a:gd name="connsiteY14" fmla="*/ 194333 h 543931"/>
                <a:gd name="connsiteX15" fmla="*/ 281190 w 353555"/>
                <a:gd name="connsiteY15" fmla="*/ 221530 h 543931"/>
                <a:gd name="connsiteX16" fmla="*/ 229517 w 353555"/>
                <a:gd name="connsiteY16" fmla="*/ 221530 h 543931"/>
                <a:gd name="connsiteX17" fmla="*/ 229517 w 353555"/>
                <a:gd name="connsiteY17" fmla="*/ 365671 h 543931"/>
                <a:gd name="connsiteX18" fmla="*/ 311107 w 353555"/>
                <a:gd name="connsiteY18" fmla="*/ 433663 h 5439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353555" h="543931">
                  <a:moveTo>
                    <a:pt x="311107" y="433663"/>
                  </a:moveTo>
                  <a:cubicBezTo>
                    <a:pt x="311107" y="433663"/>
                    <a:pt x="278471" y="501654"/>
                    <a:pt x="215919" y="501654"/>
                  </a:cubicBezTo>
                  <a:cubicBezTo>
                    <a:pt x="164245" y="501654"/>
                    <a:pt x="101693" y="458140"/>
                    <a:pt x="98973" y="392868"/>
                  </a:cubicBezTo>
                  <a:cubicBezTo>
                    <a:pt x="98973" y="392868"/>
                    <a:pt x="98973" y="297680"/>
                    <a:pt x="98973" y="221530"/>
                  </a:cubicBezTo>
                  <a:lnTo>
                    <a:pt x="82655" y="221530"/>
                  </a:lnTo>
                  <a:cubicBezTo>
                    <a:pt x="74496" y="221530"/>
                    <a:pt x="58178" y="216090"/>
                    <a:pt x="58178" y="191614"/>
                  </a:cubicBezTo>
                  <a:cubicBezTo>
                    <a:pt x="58178" y="167137"/>
                    <a:pt x="77216" y="164417"/>
                    <a:pt x="85375" y="164417"/>
                  </a:cubicBezTo>
                  <a:lnTo>
                    <a:pt x="101693" y="164417"/>
                  </a:lnTo>
                  <a:cubicBezTo>
                    <a:pt x="101693" y="137220"/>
                    <a:pt x="101693" y="118183"/>
                    <a:pt x="101693" y="118183"/>
                  </a:cubicBezTo>
                  <a:cubicBezTo>
                    <a:pt x="104413" y="85547"/>
                    <a:pt x="134329" y="55631"/>
                    <a:pt x="166965" y="58350"/>
                  </a:cubicBezTo>
                  <a:cubicBezTo>
                    <a:pt x="196881" y="61070"/>
                    <a:pt x="229517" y="85547"/>
                    <a:pt x="229517" y="118183"/>
                  </a:cubicBezTo>
                  <a:lnTo>
                    <a:pt x="229517" y="118183"/>
                  </a:lnTo>
                  <a:lnTo>
                    <a:pt x="229517" y="164417"/>
                  </a:lnTo>
                  <a:lnTo>
                    <a:pt x="283910" y="164417"/>
                  </a:lnTo>
                  <a:cubicBezTo>
                    <a:pt x="292069" y="164417"/>
                    <a:pt x="308387" y="169856"/>
                    <a:pt x="308387" y="194333"/>
                  </a:cubicBezTo>
                  <a:cubicBezTo>
                    <a:pt x="308387" y="218810"/>
                    <a:pt x="292069" y="221530"/>
                    <a:pt x="281190" y="221530"/>
                  </a:cubicBezTo>
                  <a:lnTo>
                    <a:pt x="229517" y="221530"/>
                  </a:lnTo>
                  <a:lnTo>
                    <a:pt x="229517" y="365671"/>
                  </a:lnTo>
                  <a:cubicBezTo>
                    <a:pt x="226797" y="409186"/>
                    <a:pt x="267592" y="433663"/>
                    <a:pt x="311107" y="433663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rgbClr val="666666"/>
                </a:solidFill>
              </a:endParaRPr>
            </a:p>
          </p:txBody>
        </p:sp>
        <p:sp>
          <p:nvSpPr>
            <p:cNvPr id="36" name="Freeform: Shape 35">
              <a:extLst>
                <a:ext uri="{FF2B5EF4-FFF2-40B4-BE49-F238E27FC236}">
                  <a16:creationId xmlns:a16="http://schemas.microsoft.com/office/drawing/2014/main" id="{1FC20C9B-4BB9-46A9-9696-DAAC441E835C}"/>
                </a:ext>
              </a:extLst>
            </p:cNvPr>
            <p:cNvSpPr/>
            <p:nvPr/>
          </p:nvSpPr>
          <p:spPr>
            <a:xfrm>
              <a:off x="7090329" y="3338014"/>
              <a:ext cx="353556" cy="543931"/>
            </a:xfrm>
            <a:custGeom>
              <a:avLst/>
              <a:gdLst>
                <a:gd name="connsiteX0" fmla="*/ 311107 w 353555"/>
                <a:gd name="connsiteY0" fmla="*/ 433663 h 543931"/>
                <a:gd name="connsiteX1" fmla="*/ 215919 w 353555"/>
                <a:gd name="connsiteY1" fmla="*/ 501654 h 543931"/>
                <a:gd name="connsiteX2" fmla="*/ 98973 w 353555"/>
                <a:gd name="connsiteY2" fmla="*/ 392868 h 543931"/>
                <a:gd name="connsiteX3" fmla="*/ 98973 w 353555"/>
                <a:gd name="connsiteY3" fmla="*/ 221530 h 543931"/>
                <a:gd name="connsiteX4" fmla="*/ 82655 w 353555"/>
                <a:gd name="connsiteY4" fmla="*/ 221530 h 543931"/>
                <a:gd name="connsiteX5" fmla="*/ 58178 w 353555"/>
                <a:gd name="connsiteY5" fmla="*/ 191614 h 543931"/>
                <a:gd name="connsiteX6" fmla="*/ 85375 w 353555"/>
                <a:gd name="connsiteY6" fmla="*/ 164417 h 543931"/>
                <a:gd name="connsiteX7" fmla="*/ 101693 w 353555"/>
                <a:gd name="connsiteY7" fmla="*/ 164417 h 543931"/>
                <a:gd name="connsiteX8" fmla="*/ 101693 w 353555"/>
                <a:gd name="connsiteY8" fmla="*/ 118183 h 543931"/>
                <a:gd name="connsiteX9" fmla="*/ 166965 w 353555"/>
                <a:gd name="connsiteY9" fmla="*/ 58350 h 543931"/>
                <a:gd name="connsiteX10" fmla="*/ 229517 w 353555"/>
                <a:gd name="connsiteY10" fmla="*/ 118183 h 543931"/>
                <a:gd name="connsiteX11" fmla="*/ 229517 w 353555"/>
                <a:gd name="connsiteY11" fmla="*/ 118183 h 543931"/>
                <a:gd name="connsiteX12" fmla="*/ 229517 w 353555"/>
                <a:gd name="connsiteY12" fmla="*/ 164417 h 543931"/>
                <a:gd name="connsiteX13" fmla="*/ 283910 w 353555"/>
                <a:gd name="connsiteY13" fmla="*/ 164417 h 543931"/>
                <a:gd name="connsiteX14" fmla="*/ 308387 w 353555"/>
                <a:gd name="connsiteY14" fmla="*/ 194333 h 543931"/>
                <a:gd name="connsiteX15" fmla="*/ 281190 w 353555"/>
                <a:gd name="connsiteY15" fmla="*/ 221530 h 543931"/>
                <a:gd name="connsiteX16" fmla="*/ 229517 w 353555"/>
                <a:gd name="connsiteY16" fmla="*/ 221530 h 543931"/>
                <a:gd name="connsiteX17" fmla="*/ 229517 w 353555"/>
                <a:gd name="connsiteY17" fmla="*/ 365671 h 543931"/>
                <a:gd name="connsiteX18" fmla="*/ 311107 w 353555"/>
                <a:gd name="connsiteY18" fmla="*/ 433663 h 5439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353555" h="543931">
                  <a:moveTo>
                    <a:pt x="311107" y="433663"/>
                  </a:moveTo>
                  <a:cubicBezTo>
                    <a:pt x="311107" y="433663"/>
                    <a:pt x="278471" y="501654"/>
                    <a:pt x="215919" y="501654"/>
                  </a:cubicBezTo>
                  <a:cubicBezTo>
                    <a:pt x="164245" y="501654"/>
                    <a:pt x="101693" y="458140"/>
                    <a:pt x="98973" y="392868"/>
                  </a:cubicBezTo>
                  <a:cubicBezTo>
                    <a:pt x="98973" y="392868"/>
                    <a:pt x="98973" y="297680"/>
                    <a:pt x="98973" y="221530"/>
                  </a:cubicBezTo>
                  <a:lnTo>
                    <a:pt x="82655" y="221530"/>
                  </a:lnTo>
                  <a:cubicBezTo>
                    <a:pt x="74496" y="221530"/>
                    <a:pt x="58178" y="216090"/>
                    <a:pt x="58178" y="191614"/>
                  </a:cubicBezTo>
                  <a:cubicBezTo>
                    <a:pt x="58178" y="167137"/>
                    <a:pt x="77216" y="164417"/>
                    <a:pt x="85375" y="164417"/>
                  </a:cubicBezTo>
                  <a:lnTo>
                    <a:pt x="101693" y="164417"/>
                  </a:lnTo>
                  <a:cubicBezTo>
                    <a:pt x="101693" y="137220"/>
                    <a:pt x="101693" y="118183"/>
                    <a:pt x="101693" y="118183"/>
                  </a:cubicBezTo>
                  <a:cubicBezTo>
                    <a:pt x="104412" y="85547"/>
                    <a:pt x="134329" y="55631"/>
                    <a:pt x="166965" y="58350"/>
                  </a:cubicBezTo>
                  <a:cubicBezTo>
                    <a:pt x="196881" y="61070"/>
                    <a:pt x="229517" y="85547"/>
                    <a:pt x="229517" y="118183"/>
                  </a:cubicBezTo>
                  <a:lnTo>
                    <a:pt x="229517" y="118183"/>
                  </a:lnTo>
                  <a:lnTo>
                    <a:pt x="229517" y="164417"/>
                  </a:lnTo>
                  <a:lnTo>
                    <a:pt x="283910" y="164417"/>
                  </a:lnTo>
                  <a:cubicBezTo>
                    <a:pt x="292069" y="164417"/>
                    <a:pt x="308387" y="169856"/>
                    <a:pt x="308387" y="194333"/>
                  </a:cubicBezTo>
                  <a:cubicBezTo>
                    <a:pt x="308387" y="218810"/>
                    <a:pt x="292069" y="221530"/>
                    <a:pt x="281190" y="221530"/>
                  </a:cubicBezTo>
                  <a:lnTo>
                    <a:pt x="229517" y="221530"/>
                  </a:lnTo>
                  <a:lnTo>
                    <a:pt x="229517" y="365671"/>
                  </a:lnTo>
                  <a:cubicBezTo>
                    <a:pt x="229517" y="409186"/>
                    <a:pt x="270312" y="433663"/>
                    <a:pt x="311107" y="433663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rgbClr val="666666"/>
                </a:solidFill>
              </a:endParaRPr>
            </a:p>
          </p:txBody>
        </p:sp>
        <p:sp>
          <p:nvSpPr>
            <p:cNvPr id="37" name="Freeform: Shape 36">
              <a:extLst>
                <a:ext uri="{FF2B5EF4-FFF2-40B4-BE49-F238E27FC236}">
                  <a16:creationId xmlns:a16="http://schemas.microsoft.com/office/drawing/2014/main" id="{F19D53DE-A4DA-4AE7-BA92-608B7F6E88D3}"/>
                </a:ext>
              </a:extLst>
            </p:cNvPr>
            <p:cNvSpPr/>
            <p:nvPr/>
          </p:nvSpPr>
          <p:spPr>
            <a:xfrm>
              <a:off x="2080719" y="4178559"/>
              <a:ext cx="462342" cy="788700"/>
            </a:xfrm>
            <a:custGeom>
              <a:avLst/>
              <a:gdLst>
                <a:gd name="connsiteX0" fmla="*/ 403575 w 462341"/>
                <a:gd name="connsiteY0" fmla="*/ 583072 h 788699"/>
                <a:gd name="connsiteX1" fmla="*/ 406295 w 462341"/>
                <a:gd name="connsiteY1" fmla="*/ 596670 h 788699"/>
                <a:gd name="connsiteX2" fmla="*/ 400855 w 462341"/>
                <a:gd name="connsiteY2" fmla="*/ 610268 h 788699"/>
                <a:gd name="connsiteX3" fmla="*/ 389977 w 462341"/>
                <a:gd name="connsiteY3" fmla="*/ 626586 h 788699"/>
                <a:gd name="connsiteX4" fmla="*/ 354621 w 462341"/>
                <a:gd name="connsiteY4" fmla="*/ 675540 h 788699"/>
                <a:gd name="connsiteX5" fmla="*/ 327424 w 462341"/>
                <a:gd name="connsiteY5" fmla="*/ 691858 h 788699"/>
                <a:gd name="connsiteX6" fmla="*/ 292069 w 462341"/>
                <a:gd name="connsiteY6" fmla="*/ 713615 h 788699"/>
                <a:gd name="connsiteX7" fmla="*/ 251274 w 462341"/>
                <a:gd name="connsiteY7" fmla="*/ 724494 h 788699"/>
                <a:gd name="connsiteX8" fmla="*/ 221358 w 462341"/>
                <a:gd name="connsiteY8" fmla="*/ 721774 h 788699"/>
                <a:gd name="connsiteX9" fmla="*/ 191442 w 462341"/>
                <a:gd name="connsiteY9" fmla="*/ 721774 h 788699"/>
                <a:gd name="connsiteX10" fmla="*/ 153366 w 462341"/>
                <a:gd name="connsiteY10" fmla="*/ 713615 h 788699"/>
                <a:gd name="connsiteX11" fmla="*/ 104412 w 462341"/>
                <a:gd name="connsiteY11" fmla="*/ 675540 h 788699"/>
                <a:gd name="connsiteX12" fmla="*/ 104412 w 462341"/>
                <a:gd name="connsiteY12" fmla="*/ 689138 h 788699"/>
                <a:gd name="connsiteX13" fmla="*/ 101693 w 462341"/>
                <a:gd name="connsiteY13" fmla="*/ 710895 h 788699"/>
                <a:gd name="connsiteX14" fmla="*/ 85375 w 462341"/>
                <a:gd name="connsiteY14" fmla="*/ 732653 h 788699"/>
                <a:gd name="connsiteX15" fmla="*/ 69057 w 462341"/>
                <a:gd name="connsiteY15" fmla="*/ 727214 h 788699"/>
                <a:gd name="connsiteX16" fmla="*/ 60898 w 462341"/>
                <a:gd name="connsiteY16" fmla="*/ 710895 h 788699"/>
                <a:gd name="connsiteX17" fmla="*/ 58178 w 462341"/>
                <a:gd name="connsiteY17" fmla="*/ 691858 h 788699"/>
                <a:gd name="connsiteX18" fmla="*/ 60898 w 462341"/>
                <a:gd name="connsiteY18" fmla="*/ 664661 h 788699"/>
                <a:gd name="connsiteX19" fmla="*/ 60898 w 462341"/>
                <a:gd name="connsiteY19" fmla="*/ 607549 h 788699"/>
                <a:gd name="connsiteX20" fmla="*/ 63618 w 462341"/>
                <a:gd name="connsiteY20" fmla="*/ 528679 h 788699"/>
                <a:gd name="connsiteX21" fmla="*/ 69057 w 462341"/>
                <a:gd name="connsiteY21" fmla="*/ 504202 h 788699"/>
                <a:gd name="connsiteX22" fmla="*/ 74496 w 462341"/>
                <a:gd name="connsiteY22" fmla="*/ 493323 h 788699"/>
                <a:gd name="connsiteX23" fmla="*/ 82655 w 462341"/>
                <a:gd name="connsiteY23" fmla="*/ 487884 h 788699"/>
                <a:gd name="connsiteX24" fmla="*/ 90814 w 462341"/>
                <a:gd name="connsiteY24" fmla="*/ 493323 h 788699"/>
                <a:gd name="connsiteX25" fmla="*/ 98973 w 462341"/>
                <a:gd name="connsiteY25" fmla="*/ 512361 h 788699"/>
                <a:gd name="connsiteX26" fmla="*/ 101693 w 462341"/>
                <a:gd name="connsiteY26" fmla="*/ 555875 h 788699"/>
                <a:gd name="connsiteX27" fmla="*/ 101693 w 462341"/>
                <a:gd name="connsiteY27" fmla="*/ 596670 h 788699"/>
                <a:gd name="connsiteX28" fmla="*/ 109852 w 462341"/>
                <a:gd name="connsiteY28" fmla="*/ 626586 h 788699"/>
                <a:gd name="connsiteX29" fmla="*/ 128889 w 462341"/>
                <a:gd name="connsiteY29" fmla="*/ 651063 h 788699"/>
                <a:gd name="connsiteX30" fmla="*/ 153366 w 462341"/>
                <a:gd name="connsiteY30" fmla="*/ 670101 h 788699"/>
                <a:gd name="connsiteX31" fmla="*/ 196881 w 462341"/>
                <a:gd name="connsiteY31" fmla="*/ 678260 h 788699"/>
                <a:gd name="connsiteX32" fmla="*/ 221358 w 462341"/>
                <a:gd name="connsiteY32" fmla="*/ 667381 h 788699"/>
                <a:gd name="connsiteX33" fmla="*/ 253994 w 462341"/>
                <a:gd name="connsiteY33" fmla="*/ 659222 h 788699"/>
                <a:gd name="connsiteX34" fmla="*/ 275751 w 462341"/>
                <a:gd name="connsiteY34" fmla="*/ 637465 h 788699"/>
                <a:gd name="connsiteX35" fmla="*/ 281190 w 462341"/>
                <a:gd name="connsiteY35" fmla="*/ 615708 h 788699"/>
                <a:gd name="connsiteX36" fmla="*/ 278471 w 462341"/>
                <a:gd name="connsiteY36" fmla="*/ 602109 h 788699"/>
                <a:gd name="connsiteX37" fmla="*/ 262153 w 462341"/>
                <a:gd name="connsiteY37" fmla="*/ 572193 h 788699"/>
                <a:gd name="connsiteX38" fmla="*/ 245835 w 462341"/>
                <a:gd name="connsiteY38" fmla="*/ 536838 h 788699"/>
                <a:gd name="connsiteX39" fmla="*/ 196881 w 462341"/>
                <a:gd name="connsiteY39" fmla="*/ 477005 h 788699"/>
                <a:gd name="connsiteX40" fmla="*/ 145207 w 462341"/>
                <a:gd name="connsiteY40" fmla="*/ 419892 h 788699"/>
                <a:gd name="connsiteX41" fmla="*/ 93534 w 462341"/>
                <a:gd name="connsiteY41" fmla="*/ 357340 h 788699"/>
                <a:gd name="connsiteX42" fmla="*/ 66337 w 462341"/>
                <a:gd name="connsiteY42" fmla="*/ 283910 h 788699"/>
                <a:gd name="connsiteX43" fmla="*/ 58178 w 462341"/>
                <a:gd name="connsiteY43" fmla="*/ 224077 h 788699"/>
                <a:gd name="connsiteX44" fmla="*/ 82655 w 462341"/>
                <a:gd name="connsiteY44" fmla="*/ 150647 h 788699"/>
                <a:gd name="connsiteX45" fmla="*/ 137048 w 462341"/>
                <a:gd name="connsiteY45" fmla="*/ 96253 h 788699"/>
                <a:gd name="connsiteX46" fmla="*/ 196881 w 462341"/>
                <a:gd name="connsiteY46" fmla="*/ 77216 h 788699"/>
                <a:gd name="connsiteX47" fmla="*/ 232236 w 462341"/>
                <a:gd name="connsiteY47" fmla="*/ 69057 h 788699"/>
                <a:gd name="connsiteX48" fmla="*/ 262153 w 462341"/>
                <a:gd name="connsiteY48" fmla="*/ 74496 h 788699"/>
                <a:gd name="connsiteX49" fmla="*/ 294789 w 462341"/>
                <a:gd name="connsiteY49" fmla="*/ 85375 h 788699"/>
                <a:gd name="connsiteX50" fmla="*/ 327424 w 462341"/>
                <a:gd name="connsiteY50" fmla="*/ 104412 h 788699"/>
                <a:gd name="connsiteX51" fmla="*/ 332864 w 462341"/>
                <a:gd name="connsiteY51" fmla="*/ 74496 h 788699"/>
                <a:gd name="connsiteX52" fmla="*/ 338303 w 462341"/>
                <a:gd name="connsiteY52" fmla="*/ 63618 h 788699"/>
                <a:gd name="connsiteX53" fmla="*/ 349182 w 462341"/>
                <a:gd name="connsiteY53" fmla="*/ 58178 h 788699"/>
                <a:gd name="connsiteX54" fmla="*/ 357341 w 462341"/>
                <a:gd name="connsiteY54" fmla="*/ 63618 h 788699"/>
                <a:gd name="connsiteX55" fmla="*/ 365500 w 462341"/>
                <a:gd name="connsiteY55" fmla="*/ 82655 h 788699"/>
                <a:gd name="connsiteX56" fmla="*/ 368219 w 462341"/>
                <a:gd name="connsiteY56" fmla="*/ 142488 h 788699"/>
                <a:gd name="connsiteX57" fmla="*/ 368219 w 462341"/>
                <a:gd name="connsiteY57" fmla="*/ 188722 h 788699"/>
                <a:gd name="connsiteX58" fmla="*/ 370939 w 462341"/>
                <a:gd name="connsiteY58" fmla="*/ 245834 h 788699"/>
                <a:gd name="connsiteX59" fmla="*/ 354621 w 462341"/>
                <a:gd name="connsiteY59" fmla="*/ 286629 h 788699"/>
                <a:gd name="connsiteX60" fmla="*/ 338303 w 462341"/>
                <a:gd name="connsiteY60" fmla="*/ 281190 h 788699"/>
                <a:gd name="connsiteX61" fmla="*/ 330144 w 462341"/>
                <a:gd name="connsiteY61" fmla="*/ 264872 h 788699"/>
                <a:gd name="connsiteX62" fmla="*/ 327424 w 462341"/>
                <a:gd name="connsiteY62" fmla="*/ 248554 h 788699"/>
                <a:gd name="connsiteX63" fmla="*/ 330144 w 462341"/>
                <a:gd name="connsiteY63" fmla="*/ 221357 h 788699"/>
                <a:gd name="connsiteX64" fmla="*/ 330144 w 462341"/>
                <a:gd name="connsiteY64" fmla="*/ 188722 h 788699"/>
                <a:gd name="connsiteX65" fmla="*/ 327424 w 462341"/>
                <a:gd name="connsiteY65" fmla="*/ 164245 h 788699"/>
                <a:gd name="connsiteX66" fmla="*/ 311107 w 462341"/>
                <a:gd name="connsiteY66" fmla="*/ 134329 h 788699"/>
                <a:gd name="connsiteX67" fmla="*/ 283910 w 462341"/>
                <a:gd name="connsiteY67" fmla="*/ 118011 h 788699"/>
                <a:gd name="connsiteX68" fmla="*/ 251274 w 462341"/>
                <a:gd name="connsiteY68" fmla="*/ 112571 h 788699"/>
                <a:gd name="connsiteX69" fmla="*/ 215918 w 462341"/>
                <a:gd name="connsiteY69" fmla="*/ 123450 h 788699"/>
                <a:gd name="connsiteX70" fmla="*/ 202320 w 462341"/>
                <a:gd name="connsiteY70" fmla="*/ 147927 h 788699"/>
                <a:gd name="connsiteX71" fmla="*/ 188722 w 462341"/>
                <a:gd name="connsiteY71" fmla="*/ 180563 h 788699"/>
                <a:gd name="connsiteX72" fmla="*/ 183283 w 462341"/>
                <a:gd name="connsiteY72" fmla="*/ 210479 h 788699"/>
                <a:gd name="connsiteX73" fmla="*/ 188722 w 462341"/>
                <a:gd name="connsiteY73" fmla="*/ 226797 h 788699"/>
                <a:gd name="connsiteX74" fmla="*/ 188722 w 462341"/>
                <a:gd name="connsiteY74" fmla="*/ 248554 h 788699"/>
                <a:gd name="connsiteX75" fmla="*/ 210479 w 462341"/>
                <a:gd name="connsiteY75" fmla="*/ 273031 h 788699"/>
                <a:gd name="connsiteX76" fmla="*/ 226797 w 462341"/>
                <a:gd name="connsiteY76" fmla="*/ 300228 h 788699"/>
                <a:gd name="connsiteX77" fmla="*/ 256713 w 462341"/>
                <a:gd name="connsiteY77" fmla="*/ 332864 h 788699"/>
                <a:gd name="connsiteX78" fmla="*/ 275751 w 462341"/>
                <a:gd name="connsiteY78" fmla="*/ 351901 h 788699"/>
                <a:gd name="connsiteX79" fmla="*/ 324705 w 462341"/>
                <a:gd name="connsiteY79" fmla="*/ 400855 h 788699"/>
                <a:gd name="connsiteX80" fmla="*/ 343742 w 462341"/>
                <a:gd name="connsiteY80" fmla="*/ 428051 h 788699"/>
                <a:gd name="connsiteX81" fmla="*/ 351901 w 462341"/>
                <a:gd name="connsiteY81" fmla="*/ 433491 h 788699"/>
                <a:gd name="connsiteX82" fmla="*/ 360060 w 462341"/>
                <a:gd name="connsiteY82" fmla="*/ 447089 h 788699"/>
                <a:gd name="connsiteX83" fmla="*/ 384537 w 462341"/>
                <a:gd name="connsiteY83" fmla="*/ 474286 h 788699"/>
                <a:gd name="connsiteX84" fmla="*/ 395416 w 462341"/>
                <a:gd name="connsiteY84" fmla="*/ 506921 h 788699"/>
                <a:gd name="connsiteX85" fmla="*/ 406295 w 462341"/>
                <a:gd name="connsiteY85" fmla="*/ 536838 h 788699"/>
                <a:gd name="connsiteX86" fmla="*/ 409014 w 462341"/>
                <a:gd name="connsiteY86" fmla="*/ 547716 h 788699"/>
                <a:gd name="connsiteX87" fmla="*/ 406295 w 462341"/>
                <a:gd name="connsiteY87" fmla="*/ 569473 h 788699"/>
                <a:gd name="connsiteX88" fmla="*/ 403575 w 462341"/>
                <a:gd name="connsiteY88" fmla="*/ 583072 h 788699"/>
                <a:gd name="connsiteX89" fmla="*/ 403575 w 462341"/>
                <a:gd name="connsiteY89" fmla="*/ 583072 h 7886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</a:cxnLst>
              <a:rect l="l" t="t" r="r" b="b"/>
              <a:pathLst>
                <a:path w="462341" h="788699">
                  <a:moveTo>
                    <a:pt x="403575" y="583072"/>
                  </a:moveTo>
                  <a:cubicBezTo>
                    <a:pt x="403575" y="588511"/>
                    <a:pt x="406295" y="591231"/>
                    <a:pt x="406295" y="596670"/>
                  </a:cubicBezTo>
                  <a:cubicBezTo>
                    <a:pt x="406295" y="602109"/>
                    <a:pt x="403575" y="604829"/>
                    <a:pt x="400855" y="610268"/>
                  </a:cubicBezTo>
                  <a:cubicBezTo>
                    <a:pt x="398136" y="615708"/>
                    <a:pt x="392696" y="621147"/>
                    <a:pt x="389977" y="626586"/>
                  </a:cubicBezTo>
                  <a:cubicBezTo>
                    <a:pt x="381818" y="645624"/>
                    <a:pt x="368219" y="661942"/>
                    <a:pt x="354621" y="675540"/>
                  </a:cubicBezTo>
                  <a:cubicBezTo>
                    <a:pt x="346462" y="683699"/>
                    <a:pt x="338303" y="686419"/>
                    <a:pt x="327424" y="691858"/>
                  </a:cubicBezTo>
                  <a:cubicBezTo>
                    <a:pt x="316546" y="700017"/>
                    <a:pt x="302948" y="708176"/>
                    <a:pt x="292069" y="713615"/>
                  </a:cubicBezTo>
                  <a:cubicBezTo>
                    <a:pt x="281190" y="719054"/>
                    <a:pt x="264872" y="724494"/>
                    <a:pt x="251274" y="724494"/>
                  </a:cubicBezTo>
                  <a:cubicBezTo>
                    <a:pt x="240395" y="724494"/>
                    <a:pt x="229517" y="721774"/>
                    <a:pt x="221358" y="721774"/>
                  </a:cubicBezTo>
                  <a:cubicBezTo>
                    <a:pt x="213199" y="721774"/>
                    <a:pt x="202320" y="721774"/>
                    <a:pt x="191442" y="721774"/>
                  </a:cubicBezTo>
                  <a:cubicBezTo>
                    <a:pt x="172404" y="721774"/>
                    <a:pt x="172404" y="721774"/>
                    <a:pt x="153366" y="713615"/>
                  </a:cubicBezTo>
                  <a:cubicBezTo>
                    <a:pt x="134329" y="708176"/>
                    <a:pt x="118011" y="691858"/>
                    <a:pt x="104412" y="675540"/>
                  </a:cubicBezTo>
                  <a:cubicBezTo>
                    <a:pt x="104412" y="678260"/>
                    <a:pt x="104412" y="680979"/>
                    <a:pt x="104412" y="689138"/>
                  </a:cubicBezTo>
                  <a:cubicBezTo>
                    <a:pt x="104412" y="694578"/>
                    <a:pt x="104412" y="702737"/>
                    <a:pt x="101693" y="710895"/>
                  </a:cubicBezTo>
                  <a:cubicBezTo>
                    <a:pt x="101693" y="721774"/>
                    <a:pt x="96253" y="732653"/>
                    <a:pt x="85375" y="732653"/>
                  </a:cubicBezTo>
                  <a:cubicBezTo>
                    <a:pt x="77216" y="732653"/>
                    <a:pt x="74496" y="729933"/>
                    <a:pt x="69057" y="727214"/>
                  </a:cubicBezTo>
                  <a:cubicBezTo>
                    <a:pt x="63618" y="724494"/>
                    <a:pt x="60898" y="716335"/>
                    <a:pt x="60898" y="710895"/>
                  </a:cubicBezTo>
                  <a:cubicBezTo>
                    <a:pt x="58178" y="702737"/>
                    <a:pt x="58178" y="697297"/>
                    <a:pt x="58178" y="691858"/>
                  </a:cubicBezTo>
                  <a:cubicBezTo>
                    <a:pt x="58178" y="683699"/>
                    <a:pt x="60898" y="678260"/>
                    <a:pt x="60898" y="664661"/>
                  </a:cubicBezTo>
                  <a:cubicBezTo>
                    <a:pt x="60898" y="656502"/>
                    <a:pt x="60898" y="632026"/>
                    <a:pt x="60898" y="607549"/>
                  </a:cubicBezTo>
                  <a:cubicBezTo>
                    <a:pt x="60898" y="574913"/>
                    <a:pt x="60898" y="542277"/>
                    <a:pt x="63618" y="528679"/>
                  </a:cubicBezTo>
                  <a:cubicBezTo>
                    <a:pt x="63618" y="520520"/>
                    <a:pt x="63618" y="509641"/>
                    <a:pt x="69057" y="504202"/>
                  </a:cubicBezTo>
                  <a:cubicBezTo>
                    <a:pt x="71777" y="501482"/>
                    <a:pt x="71777" y="498762"/>
                    <a:pt x="74496" y="493323"/>
                  </a:cubicBezTo>
                  <a:cubicBezTo>
                    <a:pt x="77216" y="490603"/>
                    <a:pt x="79936" y="487884"/>
                    <a:pt x="82655" y="487884"/>
                  </a:cubicBezTo>
                  <a:cubicBezTo>
                    <a:pt x="85375" y="487884"/>
                    <a:pt x="90814" y="490603"/>
                    <a:pt x="90814" y="493323"/>
                  </a:cubicBezTo>
                  <a:cubicBezTo>
                    <a:pt x="93534" y="498762"/>
                    <a:pt x="98973" y="506921"/>
                    <a:pt x="98973" y="512361"/>
                  </a:cubicBezTo>
                  <a:cubicBezTo>
                    <a:pt x="98973" y="520520"/>
                    <a:pt x="101693" y="536838"/>
                    <a:pt x="101693" y="555875"/>
                  </a:cubicBezTo>
                  <a:cubicBezTo>
                    <a:pt x="101693" y="569473"/>
                    <a:pt x="101693" y="583072"/>
                    <a:pt x="101693" y="596670"/>
                  </a:cubicBezTo>
                  <a:cubicBezTo>
                    <a:pt x="101693" y="607549"/>
                    <a:pt x="104412" y="618427"/>
                    <a:pt x="109852" y="626586"/>
                  </a:cubicBezTo>
                  <a:cubicBezTo>
                    <a:pt x="115291" y="637465"/>
                    <a:pt x="123450" y="642904"/>
                    <a:pt x="128889" y="651063"/>
                  </a:cubicBezTo>
                  <a:cubicBezTo>
                    <a:pt x="137048" y="661942"/>
                    <a:pt x="139768" y="667381"/>
                    <a:pt x="153366" y="670101"/>
                  </a:cubicBezTo>
                  <a:cubicBezTo>
                    <a:pt x="161525" y="670101"/>
                    <a:pt x="183283" y="678260"/>
                    <a:pt x="196881" y="678260"/>
                  </a:cubicBezTo>
                  <a:cubicBezTo>
                    <a:pt x="207759" y="678260"/>
                    <a:pt x="210479" y="672820"/>
                    <a:pt x="221358" y="667381"/>
                  </a:cubicBezTo>
                  <a:cubicBezTo>
                    <a:pt x="232236" y="661942"/>
                    <a:pt x="245835" y="664661"/>
                    <a:pt x="253994" y="659222"/>
                  </a:cubicBezTo>
                  <a:cubicBezTo>
                    <a:pt x="262153" y="653783"/>
                    <a:pt x="273031" y="645624"/>
                    <a:pt x="275751" y="637465"/>
                  </a:cubicBezTo>
                  <a:cubicBezTo>
                    <a:pt x="281190" y="629306"/>
                    <a:pt x="281190" y="621147"/>
                    <a:pt x="281190" y="615708"/>
                  </a:cubicBezTo>
                  <a:cubicBezTo>
                    <a:pt x="281190" y="610268"/>
                    <a:pt x="281190" y="607549"/>
                    <a:pt x="278471" y="602109"/>
                  </a:cubicBezTo>
                  <a:cubicBezTo>
                    <a:pt x="275751" y="591231"/>
                    <a:pt x="267592" y="583072"/>
                    <a:pt x="262153" y="572193"/>
                  </a:cubicBezTo>
                  <a:cubicBezTo>
                    <a:pt x="256713" y="561314"/>
                    <a:pt x="253994" y="547716"/>
                    <a:pt x="245835" y="536838"/>
                  </a:cubicBezTo>
                  <a:cubicBezTo>
                    <a:pt x="232236" y="515080"/>
                    <a:pt x="213199" y="498762"/>
                    <a:pt x="196881" y="477005"/>
                  </a:cubicBezTo>
                  <a:cubicBezTo>
                    <a:pt x="180563" y="457968"/>
                    <a:pt x="164245" y="438930"/>
                    <a:pt x="145207" y="419892"/>
                  </a:cubicBezTo>
                  <a:cubicBezTo>
                    <a:pt x="126170" y="400855"/>
                    <a:pt x="109852" y="379098"/>
                    <a:pt x="93534" y="357340"/>
                  </a:cubicBezTo>
                  <a:cubicBezTo>
                    <a:pt x="77216" y="335583"/>
                    <a:pt x="71777" y="308387"/>
                    <a:pt x="66337" y="283910"/>
                  </a:cubicBezTo>
                  <a:cubicBezTo>
                    <a:pt x="63618" y="267592"/>
                    <a:pt x="58178" y="245834"/>
                    <a:pt x="58178" y="224077"/>
                  </a:cubicBezTo>
                  <a:cubicBezTo>
                    <a:pt x="58178" y="194161"/>
                    <a:pt x="69057" y="175123"/>
                    <a:pt x="82655" y="150647"/>
                  </a:cubicBezTo>
                  <a:cubicBezTo>
                    <a:pt x="96253" y="128889"/>
                    <a:pt x="115291" y="109852"/>
                    <a:pt x="137048" y="96253"/>
                  </a:cubicBezTo>
                  <a:cubicBezTo>
                    <a:pt x="158806" y="82655"/>
                    <a:pt x="172404" y="79936"/>
                    <a:pt x="196881" y="77216"/>
                  </a:cubicBezTo>
                  <a:cubicBezTo>
                    <a:pt x="210479" y="77216"/>
                    <a:pt x="215918" y="69057"/>
                    <a:pt x="232236" y="69057"/>
                  </a:cubicBezTo>
                  <a:cubicBezTo>
                    <a:pt x="243115" y="69057"/>
                    <a:pt x="251274" y="71776"/>
                    <a:pt x="262153" y="74496"/>
                  </a:cubicBezTo>
                  <a:cubicBezTo>
                    <a:pt x="273031" y="77216"/>
                    <a:pt x="283910" y="82655"/>
                    <a:pt x="294789" y="85375"/>
                  </a:cubicBezTo>
                  <a:cubicBezTo>
                    <a:pt x="308387" y="90814"/>
                    <a:pt x="319265" y="96253"/>
                    <a:pt x="327424" y="104412"/>
                  </a:cubicBezTo>
                  <a:cubicBezTo>
                    <a:pt x="327424" y="90814"/>
                    <a:pt x="327424" y="79936"/>
                    <a:pt x="332864" y="74496"/>
                  </a:cubicBezTo>
                  <a:cubicBezTo>
                    <a:pt x="335583" y="71776"/>
                    <a:pt x="335583" y="69057"/>
                    <a:pt x="338303" y="63618"/>
                  </a:cubicBezTo>
                  <a:cubicBezTo>
                    <a:pt x="341023" y="60898"/>
                    <a:pt x="346462" y="58178"/>
                    <a:pt x="349182" y="58178"/>
                  </a:cubicBezTo>
                  <a:cubicBezTo>
                    <a:pt x="351901" y="58178"/>
                    <a:pt x="357341" y="60898"/>
                    <a:pt x="357341" y="63618"/>
                  </a:cubicBezTo>
                  <a:cubicBezTo>
                    <a:pt x="360060" y="69057"/>
                    <a:pt x="365500" y="77216"/>
                    <a:pt x="365500" y="82655"/>
                  </a:cubicBezTo>
                  <a:cubicBezTo>
                    <a:pt x="365500" y="90814"/>
                    <a:pt x="368219" y="123450"/>
                    <a:pt x="368219" y="142488"/>
                  </a:cubicBezTo>
                  <a:cubicBezTo>
                    <a:pt x="368219" y="158806"/>
                    <a:pt x="368219" y="177843"/>
                    <a:pt x="368219" y="188722"/>
                  </a:cubicBezTo>
                  <a:cubicBezTo>
                    <a:pt x="368219" y="213199"/>
                    <a:pt x="370939" y="224077"/>
                    <a:pt x="370939" y="245834"/>
                  </a:cubicBezTo>
                  <a:cubicBezTo>
                    <a:pt x="370939" y="256713"/>
                    <a:pt x="370939" y="286629"/>
                    <a:pt x="354621" y="286629"/>
                  </a:cubicBezTo>
                  <a:cubicBezTo>
                    <a:pt x="346462" y="286629"/>
                    <a:pt x="343742" y="283910"/>
                    <a:pt x="338303" y="281190"/>
                  </a:cubicBezTo>
                  <a:cubicBezTo>
                    <a:pt x="332864" y="278470"/>
                    <a:pt x="330144" y="270311"/>
                    <a:pt x="330144" y="264872"/>
                  </a:cubicBezTo>
                  <a:cubicBezTo>
                    <a:pt x="327424" y="256713"/>
                    <a:pt x="327424" y="251274"/>
                    <a:pt x="327424" y="248554"/>
                  </a:cubicBezTo>
                  <a:cubicBezTo>
                    <a:pt x="327424" y="240395"/>
                    <a:pt x="330144" y="234956"/>
                    <a:pt x="330144" y="221357"/>
                  </a:cubicBezTo>
                  <a:cubicBezTo>
                    <a:pt x="330144" y="213199"/>
                    <a:pt x="330144" y="202320"/>
                    <a:pt x="330144" y="188722"/>
                  </a:cubicBezTo>
                  <a:cubicBezTo>
                    <a:pt x="330144" y="180563"/>
                    <a:pt x="327424" y="172404"/>
                    <a:pt x="327424" y="164245"/>
                  </a:cubicBezTo>
                  <a:cubicBezTo>
                    <a:pt x="324705" y="153366"/>
                    <a:pt x="319265" y="142488"/>
                    <a:pt x="311107" y="134329"/>
                  </a:cubicBezTo>
                  <a:cubicBezTo>
                    <a:pt x="302948" y="126170"/>
                    <a:pt x="294789" y="120730"/>
                    <a:pt x="283910" y="118011"/>
                  </a:cubicBezTo>
                  <a:cubicBezTo>
                    <a:pt x="275751" y="115291"/>
                    <a:pt x="262153" y="112571"/>
                    <a:pt x="251274" y="112571"/>
                  </a:cubicBezTo>
                  <a:cubicBezTo>
                    <a:pt x="237676" y="112571"/>
                    <a:pt x="224077" y="115291"/>
                    <a:pt x="215918" y="123450"/>
                  </a:cubicBezTo>
                  <a:cubicBezTo>
                    <a:pt x="207759" y="128889"/>
                    <a:pt x="205040" y="139768"/>
                    <a:pt x="202320" y="147927"/>
                  </a:cubicBezTo>
                  <a:cubicBezTo>
                    <a:pt x="196881" y="158806"/>
                    <a:pt x="191442" y="166964"/>
                    <a:pt x="188722" y="180563"/>
                  </a:cubicBezTo>
                  <a:cubicBezTo>
                    <a:pt x="186002" y="191441"/>
                    <a:pt x="183283" y="199600"/>
                    <a:pt x="183283" y="210479"/>
                  </a:cubicBezTo>
                  <a:cubicBezTo>
                    <a:pt x="183283" y="215918"/>
                    <a:pt x="186002" y="221357"/>
                    <a:pt x="188722" y="226797"/>
                  </a:cubicBezTo>
                  <a:cubicBezTo>
                    <a:pt x="191442" y="234956"/>
                    <a:pt x="188722" y="243115"/>
                    <a:pt x="188722" y="248554"/>
                  </a:cubicBezTo>
                  <a:cubicBezTo>
                    <a:pt x="191442" y="259433"/>
                    <a:pt x="202320" y="264872"/>
                    <a:pt x="210479" y="273031"/>
                  </a:cubicBezTo>
                  <a:cubicBezTo>
                    <a:pt x="218638" y="281190"/>
                    <a:pt x="221358" y="292069"/>
                    <a:pt x="226797" y="300228"/>
                  </a:cubicBezTo>
                  <a:cubicBezTo>
                    <a:pt x="234956" y="311106"/>
                    <a:pt x="245835" y="321985"/>
                    <a:pt x="256713" y="332864"/>
                  </a:cubicBezTo>
                  <a:cubicBezTo>
                    <a:pt x="259433" y="338303"/>
                    <a:pt x="267592" y="343742"/>
                    <a:pt x="275751" y="351901"/>
                  </a:cubicBezTo>
                  <a:cubicBezTo>
                    <a:pt x="292069" y="368219"/>
                    <a:pt x="311107" y="384537"/>
                    <a:pt x="324705" y="400855"/>
                  </a:cubicBezTo>
                  <a:cubicBezTo>
                    <a:pt x="332864" y="409014"/>
                    <a:pt x="335583" y="419892"/>
                    <a:pt x="343742" y="428051"/>
                  </a:cubicBezTo>
                  <a:cubicBezTo>
                    <a:pt x="346462" y="430771"/>
                    <a:pt x="349182" y="430771"/>
                    <a:pt x="351901" y="433491"/>
                  </a:cubicBezTo>
                  <a:cubicBezTo>
                    <a:pt x="354621" y="436210"/>
                    <a:pt x="357341" y="441650"/>
                    <a:pt x="360060" y="447089"/>
                  </a:cubicBezTo>
                  <a:cubicBezTo>
                    <a:pt x="368219" y="455248"/>
                    <a:pt x="376378" y="463407"/>
                    <a:pt x="384537" y="474286"/>
                  </a:cubicBezTo>
                  <a:cubicBezTo>
                    <a:pt x="389977" y="482445"/>
                    <a:pt x="392696" y="496043"/>
                    <a:pt x="395416" y="506921"/>
                  </a:cubicBezTo>
                  <a:cubicBezTo>
                    <a:pt x="400855" y="517800"/>
                    <a:pt x="400855" y="528679"/>
                    <a:pt x="406295" y="536838"/>
                  </a:cubicBezTo>
                  <a:cubicBezTo>
                    <a:pt x="409014" y="539557"/>
                    <a:pt x="409014" y="544997"/>
                    <a:pt x="409014" y="547716"/>
                  </a:cubicBezTo>
                  <a:cubicBezTo>
                    <a:pt x="409014" y="555875"/>
                    <a:pt x="406295" y="561314"/>
                    <a:pt x="406295" y="569473"/>
                  </a:cubicBezTo>
                  <a:cubicBezTo>
                    <a:pt x="406295" y="574913"/>
                    <a:pt x="403575" y="577632"/>
                    <a:pt x="403575" y="583072"/>
                  </a:cubicBezTo>
                  <a:lnTo>
                    <a:pt x="403575" y="583072"/>
                  </a:ln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rgbClr val="666666"/>
                </a:solidFill>
              </a:endParaRPr>
            </a:p>
          </p:txBody>
        </p:sp>
        <p:sp>
          <p:nvSpPr>
            <p:cNvPr id="38" name="Freeform: Shape 37">
              <a:extLst>
                <a:ext uri="{FF2B5EF4-FFF2-40B4-BE49-F238E27FC236}">
                  <a16:creationId xmlns:a16="http://schemas.microsoft.com/office/drawing/2014/main" id="{B625ED8A-D3D4-4154-B0B3-EF43EBC3C6D3}"/>
                </a:ext>
              </a:extLst>
            </p:cNvPr>
            <p:cNvSpPr/>
            <p:nvPr/>
          </p:nvSpPr>
          <p:spPr>
            <a:xfrm>
              <a:off x="2456032" y="4192158"/>
              <a:ext cx="571128" cy="761503"/>
            </a:xfrm>
            <a:custGeom>
              <a:avLst/>
              <a:gdLst>
                <a:gd name="connsiteX0" fmla="*/ 512361 w 571128"/>
                <a:gd name="connsiteY0" fmla="*/ 79936 h 761503"/>
                <a:gd name="connsiteX1" fmla="*/ 539558 w 571128"/>
                <a:gd name="connsiteY1" fmla="*/ 96253 h 761503"/>
                <a:gd name="connsiteX2" fmla="*/ 534118 w 571128"/>
                <a:gd name="connsiteY2" fmla="*/ 112571 h 761503"/>
                <a:gd name="connsiteX3" fmla="*/ 523240 w 571128"/>
                <a:gd name="connsiteY3" fmla="*/ 120730 h 761503"/>
                <a:gd name="connsiteX4" fmla="*/ 506922 w 571128"/>
                <a:gd name="connsiteY4" fmla="*/ 123450 h 761503"/>
                <a:gd name="connsiteX5" fmla="*/ 477006 w 571128"/>
                <a:gd name="connsiteY5" fmla="*/ 123450 h 761503"/>
                <a:gd name="connsiteX6" fmla="*/ 479725 w 571128"/>
                <a:gd name="connsiteY6" fmla="*/ 145207 h 761503"/>
                <a:gd name="connsiteX7" fmla="*/ 477006 w 571128"/>
                <a:gd name="connsiteY7" fmla="*/ 180563 h 761503"/>
                <a:gd name="connsiteX8" fmla="*/ 482445 w 571128"/>
                <a:gd name="connsiteY8" fmla="*/ 232236 h 761503"/>
                <a:gd name="connsiteX9" fmla="*/ 485165 w 571128"/>
                <a:gd name="connsiteY9" fmla="*/ 283910 h 761503"/>
                <a:gd name="connsiteX10" fmla="*/ 485165 w 571128"/>
                <a:gd name="connsiteY10" fmla="*/ 327424 h 761503"/>
                <a:gd name="connsiteX11" fmla="*/ 487884 w 571128"/>
                <a:gd name="connsiteY11" fmla="*/ 373658 h 761503"/>
                <a:gd name="connsiteX12" fmla="*/ 485165 w 571128"/>
                <a:gd name="connsiteY12" fmla="*/ 419892 h 761503"/>
                <a:gd name="connsiteX13" fmla="*/ 485165 w 571128"/>
                <a:gd name="connsiteY13" fmla="*/ 463407 h 761503"/>
                <a:gd name="connsiteX14" fmla="*/ 482445 w 571128"/>
                <a:gd name="connsiteY14" fmla="*/ 515080 h 761503"/>
                <a:gd name="connsiteX15" fmla="*/ 482445 w 571128"/>
                <a:gd name="connsiteY15" fmla="*/ 558595 h 761503"/>
                <a:gd name="connsiteX16" fmla="*/ 479725 w 571128"/>
                <a:gd name="connsiteY16" fmla="*/ 602109 h 761503"/>
                <a:gd name="connsiteX17" fmla="*/ 485165 w 571128"/>
                <a:gd name="connsiteY17" fmla="*/ 648343 h 761503"/>
                <a:gd name="connsiteX18" fmla="*/ 474286 w 571128"/>
                <a:gd name="connsiteY18" fmla="*/ 675540 h 761503"/>
                <a:gd name="connsiteX19" fmla="*/ 428052 w 571128"/>
                <a:gd name="connsiteY19" fmla="*/ 691858 h 761503"/>
                <a:gd name="connsiteX20" fmla="*/ 387257 w 571128"/>
                <a:gd name="connsiteY20" fmla="*/ 683699 h 761503"/>
                <a:gd name="connsiteX21" fmla="*/ 351901 w 571128"/>
                <a:gd name="connsiteY21" fmla="*/ 664661 h 761503"/>
                <a:gd name="connsiteX22" fmla="*/ 305667 w 571128"/>
                <a:gd name="connsiteY22" fmla="*/ 596670 h 761503"/>
                <a:gd name="connsiteX23" fmla="*/ 270312 w 571128"/>
                <a:gd name="connsiteY23" fmla="*/ 509641 h 761503"/>
                <a:gd name="connsiteX24" fmla="*/ 251274 w 571128"/>
                <a:gd name="connsiteY24" fmla="*/ 460687 h 761503"/>
                <a:gd name="connsiteX25" fmla="*/ 224077 w 571128"/>
                <a:gd name="connsiteY25" fmla="*/ 381817 h 761503"/>
                <a:gd name="connsiteX26" fmla="*/ 207759 w 571128"/>
                <a:gd name="connsiteY26" fmla="*/ 330144 h 761503"/>
                <a:gd name="connsiteX27" fmla="*/ 191442 w 571128"/>
                <a:gd name="connsiteY27" fmla="*/ 286629 h 761503"/>
                <a:gd name="connsiteX28" fmla="*/ 183283 w 571128"/>
                <a:gd name="connsiteY28" fmla="*/ 278470 h 761503"/>
                <a:gd name="connsiteX29" fmla="*/ 180563 w 571128"/>
                <a:gd name="connsiteY29" fmla="*/ 292069 h 761503"/>
                <a:gd name="connsiteX30" fmla="*/ 180563 w 571128"/>
                <a:gd name="connsiteY30" fmla="*/ 305667 h 761503"/>
                <a:gd name="connsiteX31" fmla="*/ 183283 w 571128"/>
                <a:gd name="connsiteY31" fmla="*/ 354621 h 761503"/>
                <a:gd name="connsiteX32" fmla="*/ 188722 w 571128"/>
                <a:gd name="connsiteY32" fmla="*/ 449809 h 761503"/>
                <a:gd name="connsiteX33" fmla="*/ 188722 w 571128"/>
                <a:gd name="connsiteY33" fmla="*/ 479725 h 761503"/>
                <a:gd name="connsiteX34" fmla="*/ 188722 w 571128"/>
                <a:gd name="connsiteY34" fmla="*/ 542277 h 761503"/>
                <a:gd name="connsiteX35" fmla="*/ 186002 w 571128"/>
                <a:gd name="connsiteY35" fmla="*/ 615708 h 761503"/>
                <a:gd name="connsiteX36" fmla="*/ 186002 w 571128"/>
                <a:gd name="connsiteY36" fmla="*/ 637465 h 761503"/>
                <a:gd name="connsiteX37" fmla="*/ 183283 w 571128"/>
                <a:gd name="connsiteY37" fmla="*/ 664661 h 761503"/>
                <a:gd name="connsiteX38" fmla="*/ 226797 w 571128"/>
                <a:gd name="connsiteY38" fmla="*/ 664661 h 761503"/>
                <a:gd name="connsiteX39" fmla="*/ 253994 w 571128"/>
                <a:gd name="connsiteY39" fmla="*/ 680979 h 761503"/>
                <a:gd name="connsiteX40" fmla="*/ 248554 w 571128"/>
                <a:gd name="connsiteY40" fmla="*/ 697297 h 761503"/>
                <a:gd name="connsiteX41" fmla="*/ 234956 w 571128"/>
                <a:gd name="connsiteY41" fmla="*/ 705456 h 761503"/>
                <a:gd name="connsiteX42" fmla="*/ 218638 w 571128"/>
                <a:gd name="connsiteY42" fmla="*/ 708176 h 761503"/>
                <a:gd name="connsiteX43" fmla="*/ 183283 w 571128"/>
                <a:gd name="connsiteY43" fmla="*/ 708176 h 761503"/>
                <a:gd name="connsiteX44" fmla="*/ 150647 w 571128"/>
                <a:gd name="connsiteY44" fmla="*/ 708176 h 761503"/>
                <a:gd name="connsiteX45" fmla="*/ 107132 w 571128"/>
                <a:gd name="connsiteY45" fmla="*/ 708176 h 761503"/>
                <a:gd name="connsiteX46" fmla="*/ 88094 w 571128"/>
                <a:gd name="connsiteY46" fmla="*/ 708176 h 761503"/>
                <a:gd name="connsiteX47" fmla="*/ 69057 w 571128"/>
                <a:gd name="connsiteY47" fmla="*/ 702737 h 761503"/>
                <a:gd name="connsiteX48" fmla="*/ 58178 w 571128"/>
                <a:gd name="connsiteY48" fmla="*/ 686419 h 761503"/>
                <a:gd name="connsiteX49" fmla="*/ 60898 w 571128"/>
                <a:gd name="connsiteY49" fmla="*/ 678260 h 761503"/>
                <a:gd name="connsiteX50" fmla="*/ 77216 w 571128"/>
                <a:gd name="connsiteY50" fmla="*/ 670101 h 761503"/>
                <a:gd name="connsiteX51" fmla="*/ 120730 w 571128"/>
                <a:gd name="connsiteY51" fmla="*/ 664661 h 761503"/>
                <a:gd name="connsiteX52" fmla="*/ 131609 w 571128"/>
                <a:gd name="connsiteY52" fmla="*/ 664661 h 761503"/>
                <a:gd name="connsiteX53" fmla="*/ 134329 w 571128"/>
                <a:gd name="connsiteY53" fmla="*/ 539557 h 761503"/>
                <a:gd name="connsiteX54" fmla="*/ 134329 w 571128"/>
                <a:gd name="connsiteY54" fmla="*/ 504202 h 761503"/>
                <a:gd name="connsiteX55" fmla="*/ 131609 w 571128"/>
                <a:gd name="connsiteY55" fmla="*/ 376378 h 761503"/>
                <a:gd name="connsiteX56" fmla="*/ 131609 w 571128"/>
                <a:gd name="connsiteY56" fmla="*/ 302947 h 761503"/>
                <a:gd name="connsiteX57" fmla="*/ 134329 w 571128"/>
                <a:gd name="connsiteY57" fmla="*/ 221357 h 761503"/>
                <a:gd name="connsiteX58" fmla="*/ 137048 w 571128"/>
                <a:gd name="connsiteY58" fmla="*/ 123450 h 761503"/>
                <a:gd name="connsiteX59" fmla="*/ 107132 w 571128"/>
                <a:gd name="connsiteY59" fmla="*/ 123450 h 761503"/>
                <a:gd name="connsiteX60" fmla="*/ 88094 w 571128"/>
                <a:gd name="connsiteY60" fmla="*/ 123450 h 761503"/>
                <a:gd name="connsiteX61" fmla="*/ 69057 w 571128"/>
                <a:gd name="connsiteY61" fmla="*/ 118011 h 761503"/>
                <a:gd name="connsiteX62" fmla="*/ 58178 w 571128"/>
                <a:gd name="connsiteY62" fmla="*/ 101693 h 761503"/>
                <a:gd name="connsiteX63" fmla="*/ 60898 w 571128"/>
                <a:gd name="connsiteY63" fmla="*/ 93534 h 761503"/>
                <a:gd name="connsiteX64" fmla="*/ 77216 w 571128"/>
                <a:gd name="connsiteY64" fmla="*/ 85375 h 761503"/>
                <a:gd name="connsiteX65" fmla="*/ 131609 w 571128"/>
                <a:gd name="connsiteY65" fmla="*/ 79936 h 761503"/>
                <a:gd name="connsiteX66" fmla="*/ 161525 w 571128"/>
                <a:gd name="connsiteY66" fmla="*/ 79936 h 761503"/>
                <a:gd name="connsiteX67" fmla="*/ 177843 w 571128"/>
                <a:gd name="connsiteY67" fmla="*/ 66337 h 761503"/>
                <a:gd name="connsiteX68" fmla="*/ 202320 w 571128"/>
                <a:gd name="connsiteY68" fmla="*/ 58178 h 761503"/>
                <a:gd name="connsiteX69" fmla="*/ 234956 w 571128"/>
                <a:gd name="connsiteY69" fmla="*/ 77216 h 761503"/>
                <a:gd name="connsiteX70" fmla="*/ 251274 w 571128"/>
                <a:gd name="connsiteY70" fmla="*/ 107132 h 761503"/>
                <a:gd name="connsiteX71" fmla="*/ 267592 w 571128"/>
                <a:gd name="connsiteY71" fmla="*/ 147927 h 761503"/>
                <a:gd name="connsiteX72" fmla="*/ 281190 w 571128"/>
                <a:gd name="connsiteY72" fmla="*/ 183282 h 761503"/>
                <a:gd name="connsiteX73" fmla="*/ 297508 w 571128"/>
                <a:gd name="connsiteY73" fmla="*/ 224077 h 761503"/>
                <a:gd name="connsiteX74" fmla="*/ 308387 w 571128"/>
                <a:gd name="connsiteY74" fmla="*/ 264872 h 761503"/>
                <a:gd name="connsiteX75" fmla="*/ 319265 w 571128"/>
                <a:gd name="connsiteY75" fmla="*/ 300228 h 761503"/>
                <a:gd name="connsiteX76" fmla="*/ 351901 w 571128"/>
                <a:gd name="connsiteY76" fmla="*/ 379098 h 761503"/>
                <a:gd name="connsiteX77" fmla="*/ 365500 w 571128"/>
                <a:gd name="connsiteY77" fmla="*/ 417173 h 761503"/>
                <a:gd name="connsiteX78" fmla="*/ 379098 w 571128"/>
                <a:gd name="connsiteY78" fmla="*/ 457968 h 761503"/>
                <a:gd name="connsiteX79" fmla="*/ 395416 w 571128"/>
                <a:gd name="connsiteY79" fmla="*/ 496043 h 761503"/>
                <a:gd name="connsiteX80" fmla="*/ 406295 w 571128"/>
                <a:gd name="connsiteY80" fmla="*/ 512361 h 761503"/>
                <a:gd name="connsiteX81" fmla="*/ 411734 w 571128"/>
                <a:gd name="connsiteY81" fmla="*/ 531398 h 761503"/>
                <a:gd name="connsiteX82" fmla="*/ 419893 w 571128"/>
                <a:gd name="connsiteY82" fmla="*/ 558595 h 761503"/>
                <a:gd name="connsiteX83" fmla="*/ 425332 w 571128"/>
                <a:gd name="connsiteY83" fmla="*/ 564034 h 761503"/>
                <a:gd name="connsiteX84" fmla="*/ 430771 w 571128"/>
                <a:gd name="connsiteY84" fmla="*/ 558595 h 761503"/>
                <a:gd name="connsiteX85" fmla="*/ 430771 w 571128"/>
                <a:gd name="connsiteY85" fmla="*/ 550436 h 761503"/>
                <a:gd name="connsiteX86" fmla="*/ 430771 w 571128"/>
                <a:gd name="connsiteY86" fmla="*/ 501482 h 761503"/>
                <a:gd name="connsiteX87" fmla="*/ 430771 w 571128"/>
                <a:gd name="connsiteY87" fmla="*/ 403575 h 761503"/>
                <a:gd name="connsiteX88" fmla="*/ 425332 w 571128"/>
                <a:gd name="connsiteY88" fmla="*/ 313826 h 761503"/>
                <a:gd name="connsiteX89" fmla="*/ 425332 w 571128"/>
                <a:gd name="connsiteY89" fmla="*/ 248554 h 761503"/>
                <a:gd name="connsiteX90" fmla="*/ 425332 w 571128"/>
                <a:gd name="connsiteY90" fmla="*/ 210479 h 761503"/>
                <a:gd name="connsiteX91" fmla="*/ 422613 w 571128"/>
                <a:gd name="connsiteY91" fmla="*/ 153366 h 761503"/>
                <a:gd name="connsiteX92" fmla="*/ 425332 w 571128"/>
                <a:gd name="connsiteY92" fmla="*/ 123450 h 761503"/>
                <a:gd name="connsiteX93" fmla="*/ 398136 w 571128"/>
                <a:gd name="connsiteY93" fmla="*/ 123450 h 761503"/>
                <a:gd name="connsiteX94" fmla="*/ 379098 w 571128"/>
                <a:gd name="connsiteY94" fmla="*/ 123450 h 761503"/>
                <a:gd name="connsiteX95" fmla="*/ 360060 w 571128"/>
                <a:gd name="connsiteY95" fmla="*/ 118011 h 761503"/>
                <a:gd name="connsiteX96" fmla="*/ 349182 w 571128"/>
                <a:gd name="connsiteY96" fmla="*/ 101693 h 761503"/>
                <a:gd name="connsiteX97" fmla="*/ 351901 w 571128"/>
                <a:gd name="connsiteY97" fmla="*/ 93534 h 761503"/>
                <a:gd name="connsiteX98" fmla="*/ 368219 w 571128"/>
                <a:gd name="connsiteY98" fmla="*/ 85375 h 761503"/>
                <a:gd name="connsiteX99" fmla="*/ 422613 w 571128"/>
                <a:gd name="connsiteY99" fmla="*/ 79936 h 761503"/>
                <a:gd name="connsiteX100" fmla="*/ 444370 w 571128"/>
                <a:gd name="connsiteY100" fmla="*/ 79936 h 761503"/>
                <a:gd name="connsiteX101" fmla="*/ 463407 w 571128"/>
                <a:gd name="connsiteY101" fmla="*/ 71776 h 761503"/>
                <a:gd name="connsiteX102" fmla="*/ 477006 w 571128"/>
                <a:gd name="connsiteY102" fmla="*/ 79936 h 761503"/>
                <a:gd name="connsiteX103" fmla="*/ 512361 w 571128"/>
                <a:gd name="connsiteY103" fmla="*/ 79936 h 761503"/>
                <a:gd name="connsiteX104" fmla="*/ 512361 w 571128"/>
                <a:gd name="connsiteY104" fmla="*/ 79936 h 761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</a:cxnLst>
              <a:rect l="l" t="t" r="r" b="b"/>
              <a:pathLst>
                <a:path w="571128" h="761503">
                  <a:moveTo>
                    <a:pt x="512361" y="79936"/>
                  </a:moveTo>
                  <a:cubicBezTo>
                    <a:pt x="520520" y="79936"/>
                    <a:pt x="539558" y="79936"/>
                    <a:pt x="539558" y="96253"/>
                  </a:cubicBezTo>
                  <a:cubicBezTo>
                    <a:pt x="539558" y="104412"/>
                    <a:pt x="539558" y="107132"/>
                    <a:pt x="534118" y="112571"/>
                  </a:cubicBezTo>
                  <a:cubicBezTo>
                    <a:pt x="531399" y="118011"/>
                    <a:pt x="525960" y="120730"/>
                    <a:pt x="523240" y="120730"/>
                  </a:cubicBezTo>
                  <a:cubicBezTo>
                    <a:pt x="515081" y="123450"/>
                    <a:pt x="512361" y="123450"/>
                    <a:pt x="506922" y="123450"/>
                  </a:cubicBezTo>
                  <a:cubicBezTo>
                    <a:pt x="504202" y="123450"/>
                    <a:pt x="490604" y="123450"/>
                    <a:pt x="477006" y="123450"/>
                  </a:cubicBezTo>
                  <a:cubicBezTo>
                    <a:pt x="477006" y="131609"/>
                    <a:pt x="479725" y="137048"/>
                    <a:pt x="479725" y="145207"/>
                  </a:cubicBezTo>
                  <a:cubicBezTo>
                    <a:pt x="479725" y="156086"/>
                    <a:pt x="477006" y="166964"/>
                    <a:pt x="477006" y="180563"/>
                  </a:cubicBezTo>
                  <a:cubicBezTo>
                    <a:pt x="477006" y="196881"/>
                    <a:pt x="479725" y="215918"/>
                    <a:pt x="482445" y="232236"/>
                  </a:cubicBezTo>
                  <a:cubicBezTo>
                    <a:pt x="485165" y="248554"/>
                    <a:pt x="485165" y="267592"/>
                    <a:pt x="485165" y="283910"/>
                  </a:cubicBezTo>
                  <a:cubicBezTo>
                    <a:pt x="485165" y="297508"/>
                    <a:pt x="485165" y="313826"/>
                    <a:pt x="485165" y="327424"/>
                  </a:cubicBezTo>
                  <a:cubicBezTo>
                    <a:pt x="485165" y="343742"/>
                    <a:pt x="487884" y="357340"/>
                    <a:pt x="487884" y="373658"/>
                  </a:cubicBezTo>
                  <a:cubicBezTo>
                    <a:pt x="487884" y="389976"/>
                    <a:pt x="485165" y="403575"/>
                    <a:pt x="485165" y="419892"/>
                  </a:cubicBezTo>
                  <a:cubicBezTo>
                    <a:pt x="485165" y="436210"/>
                    <a:pt x="485165" y="449809"/>
                    <a:pt x="485165" y="463407"/>
                  </a:cubicBezTo>
                  <a:cubicBezTo>
                    <a:pt x="485165" y="479725"/>
                    <a:pt x="485165" y="498762"/>
                    <a:pt x="482445" y="515080"/>
                  </a:cubicBezTo>
                  <a:cubicBezTo>
                    <a:pt x="482445" y="528679"/>
                    <a:pt x="482445" y="542277"/>
                    <a:pt x="482445" y="558595"/>
                  </a:cubicBezTo>
                  <a:cubicBezTo>
                    <a:pt x="482445" y="572193"/>
                    <a:pt x="479725" y="588511"/>
                    <a:pt x="479725" y="602109"/>
                  </a:cubicBezTo>
                  <a:cubicBezTo>
                    <a:pt x="479725" y="615708"/>
                    <a:pt x="485165" y="632026"/>
                    <a:pt x="485165" y="648343"/>
                  </a:cubicBezTo>
                  <a:cubicBezTo>
                    <a:pt x="485165" y="659222"/>
                    <a:pt x="482445" y="670101"/>
                    <a:pt x="474286" y="675540"/>
                  </a:cubicBezTo>
                  <a:cubicBezTo>
                    <a:pt x="460688" y="686419"/>
                    <a:pt x="444370" y="691858"/>
                    <a:pt x="428052" y="691858"/>
                  </a:cubicBezTo>
                  <a:cubicBezTo>
                    <a:pt x="414454" y="691858"/>
                    <a:pt x="400855" y="689138"/>
                    <a:pt x="387257" y="683699"/>
                  </a:cubicBezTo>
                  <a:cubicBezTo>
                    <a:pt x="373659" y="678260"/>
                    <a:pt x="360060" y="672820"/>
                    <a:pt x="351901" y="664661"/>
                  </a:cubicBezTo>
                  <a:cubicBezTo>
                    <a:pt x="330144" y="645624"/>
                    <a:pt x="316546" y="621147"/>
                    <a:pt x="305667" y="596670"/>
                  </a:cubicBezTo>
                  <a:cubicBezTo>
                    <a:pt x="292069" y="569473"/>
                    <a:pt x="281190" y="539557"/>
                    <a:pt x="270312" y="509641"/>
                  </a:cubicBezTo>
                  <a:cubicBezTo>
                    <a:pt x="264872" y="493323"/>
                    <a:pt x="256713" y="477005"/>
                    <a:pt x="251274" y="460687"/>
                  </a:cubicBezTo>
                  <a:cubicBezTo>
                    <a:pt x="240395" y="433491"/>
                    <a:pt x="232236" y="409014"/>
                    <a:pt x="224077" y="381817"/>
                  </a:cubicBezTo>
                  <a:cubicBezTo>
                    <a:pt x="218638" y="365499"/>
                    <a:pt x="213199" y="346462"/>
                    <a:pt x="207759" y="330144"/>
                  </a:cubicBezTo>
                  <a:cubicBezTo>
                    <a:pt x="202320" y="316545"/>
                    <a:pt x="196881" y="300228"/>
                    <a:pt x="191442" y="286629"/>
                  </a:cubicBezTo>
                  <a:cubicBezTo>
                    <a:pt x="188722" y="281190"/>
                    <a:pt x="186002" y="278470"/>
                    <a:pt x="183283" y="278470"/>
                  </a:cubicBezTo>
                  <a:cubicBezTo>
                    <a:pt x="180563" y="278470"/>
                    <a:pt x="180563" y="286629"/>
                    <a:pt x="180563" y="292069"/>
                  </a:cubicBezTo>
                  <a:cubicBezTo>
                    <a:pt x="180563" y="297508"/>
                    <a:pt x="180563" y="302947"/>
                    <a:pt x="180563" y="305667"/>
                  </a:cubicBezTo>
                  <a:cubicBezTo>
                    <a:pt x="180563" y="321985"/>
                    <a:pt x="183283" y="338303"/>
                    <a:pt x="183283" y="354621"/>
                  </a:cubicBezTo>
                  <a:cubicBezTo>
                    <a:pt x="183283" y="387257"/>
                    <a:pt x="186002" y="417173"/>
                    <a:pt x="188722" y="449809"/>
                  </a:cubicBezTo>
                  <a:cubicBezTo>
                    <a:pt x="188722" y="460687"/>
                    <a:pt x="188722" y="468846"/>
                    <a:pt x="188722" y="479725"/>
                  </a:cubicBezTo>
                  <a:cubicBezTo>
                    <a:pt x="188722" y="501482"/>
                    <a:pt x="188722" y="523239"/>
                    <a:pt x="188722" y="542277"/>
                  </a:cubicBezTo>
                  <a:cubicBezTo>
                    <a:pt x="188722" y="566754"/>
                    <a:pt x="186002" y="591231"/>
                    <a:pt x="186002" y="615708"/>
                  </a:cubicBezTo>
                  <a:cubicBezTo>
                    <a:pt x="186002" y="623867"/>
                    <a:pt x="186002" y="632026"/>
                    <a:pt x="186002" y="637465"/>
                  </a:cubicBezTo>
                  <a:cubicBezTo>
                    <a:pt x="186002" y="645624"/>
                    <a:pt x="183283" y="656502"/>
                    <a:pt x="183283" y="664661"/>
                  </a:cubicBezTo>
                  <a:cubicBezTo>
                    <a:pt x="202320" y="664661"/>
                    <a:pt x="218638" y="664661"/>
                    <a:pt x="226797" y="664661"/>
                  </a:cubicBezTo>
                  <a:cubicBezTo>
                    <a:pt x="234956" y="664661"/>
                    <a:pt x="253994" y="664661"/>
                    <a:pt x="253994" y="680979"/>
                  </a:cubicBezTo>
                  <a:cubicBezTo>
                    <a:pt x="253994" y="689138"/>
                    <a:pt x="253994" y="691858"/>
                    <a:pt x="248554" y="697297"/>
                  </a:cubicBezTo>
                  <a:cubicBezTo>
                    <a:pt x="245835" y="702737"/>
                    <a:pt x="240395" y="705456"/>
                    <a:pt x="234956" y="705456"/>
                  </a:cubicBezTo>
                  <a:cubicBezTo>
                    <a:pt x="226797" y="708176"/>
                    <a:pt x="224077" y="708176"/>
                    <a:pt x="218638" y="708176"/>
                  </a:cubicBezTo>
                  <a:cubicBezTo>
                    <a:pt x="215918" y="708176"/>
                    <a:pt x="199600" y="708176"/>
                    <a:pt x="183283" y="708176"/>
                  </a:cubicBezTo>
                  <a:cubicBezTo>
                    <a:pt x="166965" y="708176"/>
                    <a:pt x="153366" y="708176"/>
                    <a:pt x="150647" y="708176"/>
                  </a:cubicBezTo>
                  <a:cubicBezTo>
                    <a:pt x="139768" y="708176"/>
                    <a:pt x="120730" y="708176"/>
                    <a:pt x="107132" y="708176"/>
                  </a:cubicBezTo>
                  <a:cubicBezTo>
                    <a:pt x="101693" y="708176"/>
                    <a:pt x="96253" y="708176"/>
                    <a:pt x="88094" y="708176"/>
                  </a:cubicBezTo>
                  <a:cubicBezTo>
                    <a:pt x="82655" y="708176"/>
                    <a:pt x="74496" y="708176"/>
                    <a:pt x="69057" y="702737"/>
                  </a:cubicBezTo>
                  <a:cubicBezTo>
                    <a:pt x="63618" y="700017"/>
                    <a:pt x="58178" y="691858"/>
                    <a:pt x="58178" y="686419"/>
                  </a:cubicBezTo>
                  <a:cubicBezTo>
                    <a:pt x="58178" y="683699"/>
                    <a:pt x="58178" y="680979"/>
                    <a:pt x="60898" y="678260"/>
                  </a:cubicBezTo>
                  <a:cubicBezTo>
                    <a:pt x="63618" y="675540"/>
                    <a:pt x="71777" y="672820"/>
                    <a:pt x="77216" y="670101"/>
                  </a:cubicBezTo>
                  <a:cubicBezTo>
                    <a:pt x="90814" y="667381"/>
                    <a:pt x="115291" y="664661"/>
                    <a:pt x="120730" y="664661"/>
                  </a:cubicBezTo>
                  <a:cubicBezTo>
                    <a:pt x="123450" y="664661"/>
                    <a:pt x="126170" y="664661"/>
                    <a:pt x="131609" y="664661"/>
                  </a:cubicBezTo>
                  <a:cubicBezTo>
                    <a:pt x="131609" y="623867"/>
                    <a:pt x="134329" y="583072"/>
                    <a:pt x="134329" y="539557"/>
                  </a:cubicBezTo>
                  <a:cubicBezTo>
                    <a:pt x="134329" y="528679"/>
                    <a:pt x="134329" y="515080"/>
                    <a:pt x="134329" y="504202"/>
                  </a:cubicBezTo>
                  <a:cubicBezTo>
                    <a:pt x="131609" y="460687"/>
                    <a:pt x="131609" y="417173"/>
                    <a:pt x="131609" y="376378"/>
                  </a:cubicBezTo>
                  <a:cubicBezTo>
                    <a:pt x="131609" y="351901"/>
                    <a:pt x="131609" y="327424"/>
                    <a:pt x="131609" y="302947"/>
                  </a:cubicBezTo>
                  <a:cubicBezTo>
                    <a:pt x="131609" y="275751"/>
                    <a:pt x="131609" y="248554"/>
                    <a:pt x="134329" y="221357"/>
                  </a:cubicBezTo>
                  <a:cubicBezTo>
                    <a:pt x="134329" y="188722"/>
                    <a:pt x="137048" y="156086"/>
                    <a:pt x="137048" y="123450"/>
                  </a:cubicBezTo>
                  <a:cubicBezTo>
                    <a:pt x="126170" y="123450"/>
                    <a:pt x="115291" y="123450"/>
                    <a:pt x="107132" y="123450"/>
                  </a:cubicBezTo>
                  <a:cubicBezTo>
                    <a:pt x="101693" y="123450"/>
                    <a:pt x="96253" y="123450"/>
                    <a:pt x="88094" y="123450"/>
                  </a:cubicBezTo>
                  <a:cubicBezTo>
                    <a:pt x="82655" y="123450"/>
                    <a:pt x="74496" y="120730"/>
                    <a:pt x="69057" y="118011"/>
                  </a:cubicBezTo>
                  <a:cubicBezTo>
                    <a:pt x="63618" y="115291"/>
                    <a:pt x="58178" y="107132"/>
                    <a:pt x="58178" y="101693"/>
                  </a:cubicBezTo>
                  <a:cubicBezTo>
                    <a:pt x="58178" y="98973"/>
                    <a:pt x="58178" y="96253"/>
                    <a:pt x="60898" y="93534"/>
                  </a:cubicBezTo>
                  <a:cubicBezTo>
                    <a:pt x="63618" y="90814"/>
                    <a:pt x="71777" y="88095"/>
                    <a:pt x="77216" y="85375"/>
                  </a:cubicBezTo>
                  <a:cubicBezTo>
                    <a:pt x="90814" y="82655"/>
                    <a:pt x="126170" y="79936"/>
                    <a:pt x="131609" y="79936"/>
                  </a:cubicBezTo>
                  <a:cubicBezTo>
                    <a:pt x="137048" y="79936"/>
                    <a:pt x="147927" y="79936"/>
                    <a:pt x="161525" y="79936"/>
                  </a:cubicBezTo>
                  <a:cubicBezTo>
                    <a:pt x="166965" y="74496"/>
                    <a:pt x="172404" y="71776"/>
                    <a:pt x="177843" y="66337"/>
                  </a:cubicBezTo>
                  <a:cubicBezTo>
                    <a:pt x="186002" y="60898"/>
                    <a:pt x="194161" y="58178"/>
                    <a:pt x="202320" y="58178"/>
                  </a:cubicBezTo>
                  <a:cubicBezTo>
                    <a:pt x="215918" y="58178"/>
                    <a:pt x="226797" y="63618"/>
                    <a:pt x="234956" y="77216"/>
                  </a:cubicBezTo>
                  <a:cubicBezTo>
                    <a:pt x="240395" y="88095"/>
                    <a:pt x="248554" y="96253"/>
                    <a:pt x="251274" y="107132"/>
                  </a:cubicBezTo>
                  <a:cubicBezTo>
                    <a:pt x="256713" y="120730"/>
                    <a:pt x="259433" y="134329"/>
                    <a:pt x="267592" y="147927"/>
                  </a:cubicBezTo>
                  <a:cubicBezTo>
                    <a:pt x="273031" y="158806"/>
                    <a:pt x="275751" y="172404"/>
                    <a:pt x="281190" y="183282"/>
                  </a:cubicBezTo>
                  <a:cubicBezTo>
                    <a:pt x="286630" y="196881"/>
                    <a:pt x="292069" y="210479"/>
                    <a:pt x="297508" y="224077"/>
                  </a:cubicBezTo>
                  <a:cubicBezTo>
                    <a:pt x="300228" y="237676"/>
                    <a:pt x="305667" y="251274"/>
                    <a:pt x="308387" y="264872"/>
                  </a:cubicBezTo>
                  <a:cubicBezTo>
                    <a:pt x="311107" y="278470"/>
                    <a:pt x="311107" y="289349"/>
                    <a:pt x="319265" y="300228"/>
                  </a:cubicBezTo>
                  <a:cubicBezTo>
                    <a:pt x="332864" y="324704"/>
                    <a:pt x="346462" y="351901"/>
                    <a:pt x="351901" y="379098"/>
                  </a:cubicBezTo>
                  <a:cubicBezTo>
                    <a:pt x="354621" y="392696"/>
                    <a:pt x="360060" y="403575"/>
                    <a:pt x="365500" y="417173"/>
                  </a:cubicBezTo>
                  <a:cubicBezTo>
                    <a:pt x="373659" y="430771"/>
                    <a:pt x="373659" y="444369"/>
                    <a:pt x="379098" y="457968"/>
                  </a:cubicBezTo>
                  <a:cubicBezTo>
                    <a:pt x="381818" y="471566"/>
                    <a:pt x="387257" y="482445"/>
                    <a:pt x="395416" y="496043"/>
                  </a:cubicBezTo>
                  <a:cubicBezTo>
                    <a:pt x="398136" y="501482"/>
                    <a:pt x="403575" y="506921"/>
                    <a:pt x="406295" y="512361"/>
                  </a:cubicBezTo>
                  <a:cubicBezTo>
                    <a:pt x="409014" y="517800"/>
                    <a:pt x="409014" y="525959"/>
                    <a:pt x="411734" y="531398"/>
                  </a:cubicBezTo>
                  <a:cubicBezTo>
                    <a:pt x="414454" y="539557"/>
                    <a:pt x="417173" y="550436"/>
                    <a:pt x="419893" y="558595"/>
                  </a:cubicBezTo>
                  <a:cubicBezTo>
                    <a:pt x="422613" y="561314"/>
                    <a:pt x="422613" y="564034"/>
                    <a:pt x="425332" y="564034"/>
                  </a:cubicBezTo>
                  <a:cubicBezTo>
                    <a:pt x="428052" y="564034"/>
                    <a:pt x="428052" y="561314"/>
                    <a:pt x="430771" y="558595"/>
                  </a:cubicBezTo>
                  <a:cubicBezTo>
                    <a:pt x="430771" y="555875"/>
                    <a:pt x="430771" y="553156"/>
                    <a:pt x="430771" y="550436"/>
                  </a:cubicBezTo>
                  <a:cubicBezTo>
                    <a:pt x="430771" y="534118"/>
                    <a:pt x="430771" y="517800"/>
                    <a:pt x="430771" y="501482"/>
                  </a:cubicBezTo>
                  <a:cubicBezTo>
                    <a:pt x="430771" y="468846"/>
                    <a:pt x="433491" y="436210"/>
                    <a:pt x="430771" y="403575"/>
                  </a:cubicBezTo>
                  <a:cubicBezTo>
                    <a:pt x="430771" y="373658"/>
                    <a:pt x="425332" y="343742"/>
                    <a:pt x="425332" y="313826"/>
                  </a:cubicBezTo>
                  <a:cubicBezTo>
                    <a:pt x="425332" y="292069"/>
                    <a:pt x="425332" y="270311"/>
                    <a:pt x="425332" y="248554"/>
                  </a:cubicBezTo>
                  <a:cubicBezTo>
                    <a:pt x="425332" y="234956"/>
                    <a:pt x="425332" y="224077"/>
                    <a:pt x="425332" y="210479"/>
                  </a:cubicBezTo>
                  <a:cubicBezTo>
                    <a:pt x="425332" y="191441"/>
                    <a:pt x="422613" y="172404"/>
                    <a:pt x="422613" y="153366"/>
                  </a:cubicBezTo>
                  <a:cubicBezTo>
                    <a:pt x="422613" y="142488"/>
                    <a:pt x="422613" y="134329"/>
                    <a:pt x="425332" y="123450"/>
                  </a:cubicBezTo>
                  <a:cubicBezTo>
                    <a:pt x="417173" y="123450"/>
                    <a:pt x="406295" y="123450"/>
                    <a:pt x="398136" y="123450"/>
                  </a:cubicBezTo>
                  <a:cubicBezTo>
                    <a:pt x="392696" y="123450"/>
                    <a:pt x="387257" y="123450"/>
                    <a:pt x="379098" y="123450"/>
                  </a:cubicBezTo>
                  <a:cubicBezTo>
                    <a:pt x="373659" y="123450"/>
                    <a:pt x="365500" y="120730"/>
                    <a:pt x="360060" y="118011"/>
                  </a:cubicBezTo>
                  <a:cubicBezTo>
                    <a:pt x="354621" y="115291"/>
                    <a:pt x="349182" y="107132"/>
                    <a:pt x="349182" y="101693"/>
                  </a:cubicBezTo>
                  <a:cubicBezTo>
                    <a:pt x="349182" y="98973"/>
                    <a:pt x="349182" y="96253"/>
                    <a:pt x="351901" y="93534"/>
                  </a:cubicBezTo>
                  <a:cubicBezTo>
                    <a:pt x="354621" y="90814"/>
                    <a:pt x="362780" y="88095"/>
                    <a:pt x="368219" y="85375"/>
                  </a:cubicBezTo>
                  <a:cubicBezTo>
                    <a:pt x="381818" y="82655"/>
                    <a:pt x="417173" y="79936"/>
                    <a:pt x="422613" y="79936"/>
                  </a:cubicBezTo>
                  <a:cubicBezTo>
                    <a:pt x="428052" y="79936"/>
                    <a:pt x="433491" y="79936"/>
                    <a:pt x="444370" y="79936"/>
                  </a:cubicBezTo>
                  <a:cubicBezTo>
                    <a:pt x="449809" y="74496"/>
                    <a:pt x="455248" y="71776"/>
                    <a:pt x="463407" y="71776"/>
                  </a:cubicBezTo>
                  <a:cubicBezTo>
                    <a:pt x="471566" y="71776"/>
                    <a:pt x="477006" y="74496"/>
                    <a:pt x="477006" y="79936"/>
                  </a:cubicBezTo>
                  <a:cubicBezTo>
                    <a:pt x="490604" y="82655"/>
                    <a:pt x="504202" y="79936"/>
                    <a:pt x="512361" y="79936"/>
                  </a:cubicBezTo>
                  <a:lnTo>
                    <a:pt x="512361" y="79936"/>
                  </a:ln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rgbClr val="666666"/>
                </a:solidFill>
              </a:endParaRPr>
            </a:p>
          </p:txBody>
        </p:sp>
        <p:sp>
          <p:nvSpPr>
            <p:cNvPr id="39" name="Freeform: Shape 38">
              <a:extLst>
                <a:ext uri="{FF2B5EF4-FFF2-40B4-BE49-F238E27FC236}">
                  <a16:creationId xmlns:a16="http://schemas.microsoft.com/office/drawing/2014/main" id="{9B1C02FF-90CC-4831-BAE5-A86D10791FC1}"/>
                </a:ext>
              </a:extLst>
            </p:cNvPr>
            <p:cNvSpPr/>
            <p:nvPr/>
          </p:nvSpPr>
          <p:spPr>
            <a:xfrm>
              <a:off x="2987430" y="4242177"/>
              <a:ext cx="494979" cy="674476"/>
            </a:xfrm>
            <a:custGeom>
              <a:avLst/>
              <a:gdLst>
                <a:gd name="connsiteX0" fmla="*/ 228453 w 494979"/>
                <a:gd name="connsiteY0" fmla="*/ 97907 h 674476"/>
                <a:gd name="connsiteX1" fmla="*/ 212135 w 494979"/>
                <a:gd name="connsiteY1" fmla="*/ 119665 h 674476"/>
                <a:gd name="connsiteX2" fmla="*/ 203976 w 494979"/>
                <a:gd name="connsiteY2" fmla="*/ 152300 h 674476"/>
                <a:gd name="connsiteX3" fmla="*/ 201256 w 494979"/>
                <a:gd name="connsiteY3" fmla="*/ 168618 h 674476"/>
                <a:gd name="connsiteX4" fmla="*/ 198537 w 494979"/>
                <a:gd name="connsiteY4" fmla="*/ 184936 h 674476"/>
                <a:gd name="connsiteX5" fmla="*/ 190378 w 494979"/>
                <a:gd name="connsiteY5" fmla="*/ 220292 h 674476"/>
                <a:gd name="connsiteX6" fmla="*/ 171340 w 494979"/>
                <a:gd name="connsiteY6" fmla="*/ 291003 h 674476"/>
                <a:gd name="connsiteX7" fmla="*/ 163180 w 494979"/>
                <a:gd name="connsiteY7" fmla="*/ 323639 h 674476"/>
                <a:gd name="connsiteX8" fmla="*/ 152302 w 494979"/>
                <a:gd name="connsiteY8" fmla="*/ 361714 h 674476"/>
                <a:gd name="connsiteX9" fmla="*/ 146862 w 494979"/>
                <a:gd name="connsiteY9" fmla="*/ 388910 h 674476"/>
                <a:gd name="connsiteX10" fmla="*/ 152302 w 494979"/>
                <a:gd name="connsiteY10" fmla="*/ 391630 h 674476"/>
                <a:gd name="connsiteX11" fmla="*/ 174060 w 494979"/>
                <a:gd name="connsiteY11" fmla="*/ 391630 h 674476"/>
                <a:gd name="connsiteX12" fmla="*/ 195817 w 494979"/>
                <a:gd name="connsiteY12" fmla="*/ 388910 h 674476"/>
                <a:gd name="connsiteX13" fmla="*/ 214855 w 494979"/>
                <a:gd name="connsiteY13" fmla="*/ 388910 h 674476"/>
                <a:gd name="connsiteX14" fmla="*/ 239332 w 494979"/>
                <a:gd name="connsiteY14" fmla="*/ 388910 h 674476"/>
                <a:gd name="connsiteX15" fmla="*/ 252930 w 494979"/>
                <a:gd name="connsiteY15" fmla="*/ 386191 h 674476"/>
                <a:gd name="connsiteX16" fmla="*/ 261089 w 494979"/>
                <a:gd name="connsiteY16" fmla="*/ 386191 h 674476"/>
                <a:gd name="connsiteX17" fmla="*/ 258369 w 494979"/>
                <a:gd name="connsiteY17" fmla="*/ 367153 h 674476"/>
                <a:gd name="connsiteX18" fmla="*/ 252930 w 494979"/>
                <a:gd name="connsiteY18" fmla="*/ 331797 h 674476"/>
                <a:gd name="connsiteX19" fmla="*/ 250210 w 494979"/>
                <a:gd name="connsiteY19" fmla="*/ 244769 h 674476"/>
                <a:gd name="connsiteX20" fmla="*/ 244771 w 494979"/>
                <a:gd name="connsiteY20" fmla="*/ 203974 h 674476"/>
                <a:gd name="connsiteX21" fmla="*/ 239332 w 494979"/>
                <a:gd name="connsiteY21" fmla="*/ 157740 h 674476"/>
                <a:gd name="connsiteX22" fmla="*/ 236612 w 494979"/>
                <a:gd name="connsiteY22" fmla="*/ 119665 h 674476"/>
                <a:gd name="connsiteX23" fmla="*/ 228453 w 494979"/>
                <a:gd name="connsiteY23" fmla="*/ 97907 h 674476"/>
                <a:gd name="connsiteX24" fmla="*/ 274687 w 494979"/>
                <a:gd name="connsiteY24" fmla="*/ 0 h 674476"/>
                <a:gd name="connsiteX25" fmla="*/ 304603 w 494979"/>
                <a:gd name="connsiteY25" fmla="*/ 5439 h 674476"/>
                <a:gd name="connsiteX26" fmla="*/ 320921 w 494979"/>
                <a:gd name="connsiteY26" fmla="*/ 24477 h 674476"/>
                <a:gd name="connsiteX27" fmla="*/ 334519 w 494979"/>
                <a:gd name="connsiteY27" fmla="*/ 43515 h 674476"/>
                <a:gd name="connsiteX28" fmla="*/ 339959 w 494979"/>
                <a:gd name="connsiteY28" fmla="*/ 65272 h 674476"/>
                <a:gd name="connsiteX29" fmla="*/ 348118 w 494979"/>
                <a:gd name="connsiteY29" fmla="*/ 114226 h 674476"/>
                <a:gd name="connsiteX30" fmla="*/ 361716 w 494979"/>
                <a:gd name="connsiteY30" fmla="*/ 163180 h 674476"/>
                <a:gd name="connsiteX31" fmla="*/ 369875 w 494979"/>
                <a:gd name="connsiteY31" fmla="*/ 220293 h 674476"/>
                <a:gd name="connsiteX32" fmla="*/ 378034 w 494979"/>
                <a:gd name="connsiteY32" fmla="*/ 274686 h 674476"/>
                <a:gd name="connsiteX33" fmla="*/ 383473 w 494979"/>
                <a:gd name="connsiteY33" fmla="*/ 301883 h 674476"/>
                <a:gd name="connsiteX34" fmla="*/ 391632 w 494979"/>
                <a:gd name="connsiteY34" fmla="*/ 337238 h 674476"/>
                <a:gd name="connsiteX35" fmla="*/ 397071 w 494979"/>
                <a:gd name="connsiteY35" fmla="*/ 364435 h 674476"/>
                <a:gd name="connsiteX36" fmla="*/ 405230 w 494979"/>
                <a:gd name="connsiteY36" fmla="*/ 383473 h 674476"/>
                <a:gd name="connsiteX37" fmla="*/ 416109 w 494979"/>
                <a:gd name="connsiteY37" fmla="*/ 386192 h 674476"/>
                <a:gd name="connsiteX38" fmla="*/ 426988 w 494979"/>
                <a:gd name="connsiteY38" fmla="*/ 386192 h 674476"/>
                <a:gd name="connsiteX39" fmla="*/ 454184 w 494979"/>
                <a:gd name="connsiteY39" fmla="*/ 397071 h 674476"/>
                <a:gd name="connsiteX40" fmla="*/ 456904 w 494979"/>
                <a:gd name="connsiteY40" fmla="*/ 405230 h 674476"/>
                <a:gd name="connsiteX41" fmla="*/ 451465 w 494979"/>
                <a:gd name="connsiteY41" fmla="*/ 416108 h 674476"/>
                <a:gd name="connsiteX42" fmla="*/ 432427 w 494979"/>
                <a:gd name="connsiteY42" fmla="*/ 429707 h 674476"/>
                <a:gd name="connsiteX43" fmla="*/ 421548 w 494979"/>
                <a:gd name="connsiteY43" fmla="*/ 432426 h 674476"/>
                <a:gd name="connsiteX44" fmla="*/ 413389 w 494979"/>
                <a:gd name="connsiteY44" fmla="*/ 435146 h 674476"/>
                <a:gd name="connsiteX45" fmla="*/ 413389 w 494979"/>
                <a:gd name="connsiteY45" fmla="*/ 440585 h 674476"/>
                <a:gd name="connsiteX46" fmla="*/ 416109 w 494979"/>
                <a:gd name="connsiteY46" fmla="*/ 451464 h 674476"/>
                <a:gd name="connsiteX47" fmla="*/ 418829 w 494979"/>
                <a:gd name="connsiteY47" fmla="*/ 465062 h 674476"/>
                <a:gd name="connsiteX48" fmla="*/ 418829 w 494979"/>
                <a:gd name="connsiteY48" fmla="*/ 475941 h 674476"/>
                <a:gd name="connsiteX49" fmla="*/ 418829 w 494979"/>
                <a:gd name="connsiteY49" fmla="*/ 486820 h 674476"/>
                <a:gd name="connsiteX50" fmla="*/ 426988 w 494979"/>
                <a:gd name="connsiteY50" fmla="*/ 516736 h 674476"/>
                <a:gd name="connsiteX51" fmla="*/ 432427 w 494979"/>
                <a:gd name="connsiteY51" fmla="*/ 543932 h 674476"/>
                <a:gd name="connsiteX52" fmla="*/ 437866 w 494979"/>
                <a:gd name="connsiteY52" fmla="*/ 573848 h 674476"/>
                <a:gd name="connsiteX53" fmla="*/ 443306 w 494979"/>
                <a:gd name="connsiteY53" fmla="*/ 606484 h 674476"/>
                <a:gd name="connsiteX54" fmla="*/ 446025 w 494979"/>
                <a:gd name="connsiteY54" fmla="*/ 617363 h 674476"/>
                <a:gd name="connsiteX55" fmla="*/ 470502 w 494979"/>
                <a:gd name="connsiteY55" fmla="*/ 617363 h 674476"/>
                <a:gd name="connsiteX56" fmla="*/ 494979 w 494979"/>
                <a:gd name="connsiteY56" fmla="*/ 641840 h 674476"/>
                <a:gd name="connsiteX57" fmla="*/ 486820 w 494979"/>
                <a:gd name="connsiteY57" fmla="*/ 655438 h 674476"/>
                <a:gd name="connsiteX58" fmla="*/ 470502 w 494979"/>
                <a:gd name="connsiteY58" fmla="*/ 663597 h 674476"/>
                <a:gd name="connsiteX59" fmla="*/ 446025 w 494979"/>
                <a:gd name="connsiteY59" fmla="*/ 666317 h 674476"/>
                <a:gd name="connsiteX60" fmla="*/ 424268 w 494979"/>
                <a:gd name="connsiteY60" fmla="*/ 666317 h 674476"/>
                <a:gd name="connsiteX61" fmla="*/ 416109 w 494979"/>
                <a:gd name="connsiteY61" fmla="*/ 666317 h 674476"/>
                <a:gd name="connsiteX62" fmla="*/ 402511 w 494979"/>
                <a:gd name="connsiteY62" fmla="*/ 671756 h 674476"/>
                <a:gd name="connsiteX63" fmla="*/ 386193 w 494979"/>
                <a:gd name="connsiteY63" fmla="*/ 674476 h 674476"/>
                <a:gd name="connsiteX64" fmla="*/ 350837 w 494979"/>
                <a:gd name="connsiteY64" fmla="*/ 669036 h 674476"/>
                <a:gd name="connsiteX65" fmla="*/ 329080 w 494979"/>
                <a:gd name="connsiteY65" fmla="*/ 669036 h 674476"/>
                <a:gd name="connsiteX66" fmla="*/ 280126 w 494979"/>
                <a:gd name="connsiteY66" fmla="*/ 669036 h 674476"/>
                <a:gd name="connsiteX67" fmla="*/ 255649 w 494979"/>
                <a:gd name="connsiteY67" fmla="*/ 663597 h 674476"/>
                <a:gd name="connsiteX68" fmla="*/ 239331 w 494979"/>
                <a:gd name="connsiteY68" fmla="*/ 647279 h 674476"/>
                <a:gd name="connsiteX69" fmla="*/ 263808 w 494979"/>
                <a:gd name="connsiteY69" fmla="*/ 630961 h 674476"/>
                <a:gd name="connsiteX70" fmla="*/ 291005 w 494979"/>
                <a:gd name="connsiteY70" fmla="*/ 628241 h 674476"/>
                <a:gd name="connsiteX71" fmla="*/ 288285 w 494979"/>
                <a:gd name="connsiteY71" fmla="*/ 609204 h 674476"/>
                <a:gd name="connsiteX72" fmla="*/ 285565 w 494979"/>
                <a:gd name="connsiteY72" fmla="*/ 582007 h 674476"/>
                <a:gd name="connsiteX73" fmla="*/ 282846 w 494979"/>
                <a:gd name="connsiteY73" fmla="*/ 568409 h 674476"/>
                <a:gd name="connsiteX74" fmla="*/ 285565 w 494979"/>
                <a:gd name="connsiteY74" fmla="*/ 554811 h 674476"/>
                <a:gd name="connsiteX75" fmla="*/ 280126 w 494979"/>
                <a:gd name="connsiteY75" fmla="*/ 538493 h 674476"/>
                <a:gd name="connsiteX76" fmla="*/ 274687 w 494979"/>
                <a:gd name="connsiteY76" fmla="*/ 505857 h 674476"/>
                <a:gd name="connsiteX77" fmla="*/ 271967 w 494979"/>
                <a:gd name="connsiteY77" fmla="*/ 478660 h 674476"/>
                <a:gd name="connsiteX78" fmla="*/ 269247 w 494979"/>
                <a:gd name="connsiteY78" fmla="*/ 446025 h 674476"/>
                <a:gd name="connsiteX79" fmla="*/ 263808 w 494979"/>
                <a:gd name="connsiteY79" fmla="*/ 437866 h 674476"/>
                <a:gd name="connsiteX80" fmla="*/ 252929 w 494979"/>
                <a:gd name="connsiteY80" fmla="*/ 437866 h 674476"/>
                <a:gd name="connsiteX81" fmla="*/ 223013 w 494979"/>
                <a:gd name="connsiteY81" fmla="*/ 440585 h 674476"/>
                <a:gd name="connsiteX82" fmla="*/ 193097 w 494979"/>
                <a:gd name="connsiteY82" fmla="*/ 443305 h 674476"/>
                <a:gd name="connsiteX83" fmla="*/ 168620 w 494979"/>
                <a:gd name="connsiteY83" fmla="*/ 443305 h 674476"/>
                <a:gd name="connsiteX84" fmla="*/ 146862 w 494979"/>
                <a:gd name="connsiteY84" fmla="*/ 440585 h 674476"/>
                <a:gd name="connsiteX85" fmla="*/ 138703 w 494979"/>
                <a:gd name="connsiteY85" fmla="*/ 454184 h 674476"/>
                <a:gd name="connsiteX86" fmla="*/ 133263 w 494979"/>
                <a:gd name="connsiteY86" fmla="*/ 486820 h 674476"/>
                <a:gd name="connsiteX87" fmla="*/ 122385 w 494979"/>
                <a:gd name="connsiteY87" fmla="*/ 541213 h 674476"/>
                <a:gd name="connsiteX88" fmla="*/ 106067 w 494979"/>
                <a:gd name="connsiteY88" fmla="*/ 614643 h 674476"/>
                <a:gd name="connsiteX89" fmla="*/ 135983 w 494979"/>
                <a:gd name="connsiteY89" fmla="*/ 614643 h 674476"/>
                <a:gd name="connsiteX90" fmla="*/ 171340 w 494979"/>
                <a:gd name="connsiteY90" fmla="*/ 630961 h 674476"/>
                <a:gd name="connsiteX91" fmla="*/ 165900 w 494979"/>
                <a:gd name="connsiteY91" fmla="*/ 647279 h 674476"/>
                <a:gd name="connsiteX92" fmla="*/ 149581 w 494979"/>
                <a:gd name="connsiteY92" fmla="*/ 655438 h 674476"/>
                <a:gd name="connsiteX93" fmla="*/ 127824 w 494979"/>
                <a:gd name="connsiteY93" fmla="*/ 658158 h 674476"/>
                <a:gd name="connsiteX94" fmla="*/ 106067 w 494979"/>
                <a:gd name="connsiteY94" fmla="*/ 658158 h 674476"/>
                <a:gd name="connsiteX95" fmla="*/ 62552 w 494979"/>
                <a:gd name="connsiteY95" fmla="*/ 658158 h 674476"/>
                <a:gd name="connsiteX96" fmla="*/ 40795 w 494979"/>
                <a:gd name="connsiteY96" fmla="*/ 658158 h 674476"/>
                <a:gd name="connsiteX97" fmla="*/ 16318 w 494979"/>
                <a:gd name="connsiteY97" fmla="*/ 652718 h 674476"/>
                <a:gd name="connsiteX98" fmla="*/ 0 w 494979"/>
                <a:gd name="connsiteY98" fmla="*/ 636401 h 674476"/>
                <a:gd name="connsiteX99" fmla="*/ 2720 w 494979"/>
                <a:gd name="connsiteY99" fmla="*/ 628241 h 674476"/>
                <a:gd name="connsiteX100" fmla="*/ 24477 w 494979"/>
                <a:gd name="connsiteY100" fmla="*/ 620082 h 674476"/>
                <a:gd name="connsiteX101" fmla="*/ 62552 w 494979"/>
                <a:gd name="connsiteY101" fmla="*/ 617363 h 674476"/>
                <a:gd name="connsiteX102" fmla="*/ 62552 w 494979"/>
                <a:gd name="connsiteY102" fmla="*/ 614643 h 674476"/>
                <a:gd name="connsiteX103" fmla="*/ 65272 w 494979"/>
                <a:gd name="connsiteY103" fmla="*/ 587447 h 674476"/>
                <a:gd name="connsiteX104" fmla="*/ 76151 w 494979"/>
                <a:gd name="connsiteY104" fmla="*/ 522175 h 674476"/>
                <a:gd name="connsiteX105" fmla="*/ 87029 w 494979"/>
                <a:gd name="connsiteY105" fmla="*/ 470501 h 674476"/>
                <a:gd name="connsiteX106" fmla="*/ 92469 w 494979"/>
                <a:gd name="connsiteY106" fmla="*/ 446025 h 674476"/>
                <a:gd name="connsiteX107" fmla="*/ 65272 w 494979"/>
                <a:gd name="connsiteY107" fmla="*/ 432426 h 674476"/>
                <a:gd name="connsiteX108" fmla="*/ 54393 w 494979"/>
                <a:gd name="connsiteY108" fmla="*/ 421548 h 674476"/>
                <a:gd name="connsiteX109" fmla="*/ 73431 w 494979"/>
                <a:gd name="connsiteY109" fmla="*/ 407949 h 674476"/>
                <a:gd name="connsiteX110" fmla="*/ 100628 w 494979"/>
                <a:gd name="connsiteY110" fmla="*/ 399790 h 674476"/>
                <a:gd name="connsiteX111" fmla="*/ 108787 w 494979"/>
                <a:gd name="connsiteY111" fmla="*/ 369874 h 674476"/>
                <a:gd name="connsiteX112" fmla="*/ 125105 w 494979"/>
                <a:gd name="connsiteY112" fmla="*/ 307322 h 674476"/>
                <a:gd name="connsiteX113" fmla="*/ 141423 w 494979"/>
                <a:gd name="connsiteY113" fmla="*/ 242051 h 674476"/>
                <a:gd name="connsiteX114" fmla="*/ 155021 w 494979"/>
                <a:gd name="connsiteY114" fmla="*/ 179498 h 674476"/>
                <a:gd name="connsiteX115" fmla="*/ 168620 w 494979"/>
                <a:gd name="connsiteY115" fmla="*/ 119665 h 674476"/>
                <a:gd name="connsiteX116" fmla="*/ 193097 w 494979"/>
                <a:gd name="connsiteY116" fmla="*/ 57113 h 674476"/>
                <a:gd name="connsiteX117" fmla="*/ 201256 w 494979"/>
                <a:gd name="connsiteY117" fmla="*/ 38075 h 674476"/>
                <a:gd name="connsiteX118" fmla="*/ 217574 w 494979"/>
                <a:gd name="connsiteY118" fmla="*/ 13598 h 674476"/>
                <a:gd name="connsiteX119" fmla="*/ 274687 w 494979"/>
                <a:gd name="connsiteY119" fmla="*/ 0 h 6744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</a:cxnLst>
              <a:rect l="l" t="t" r="r" b="b"/>
              <a:pathLst>
                <a:path w="494979" h="674476">
                  <a:moveTo>
                    <a:pt x="228453" y="97907"/>
                  </a:moveTo>
                  <a:cubicBezTo>
                    <a:pt x="220294" y="97907"/>
                    <a:pt x="212135" y="114225"/>
                    <a:pt x="212135" y="119665"/>
                  </a:cubicBezTo>
                  <a:cubicBezTo>
                    <a:pt x="209415" y="130543"/>
                    <a:pt x="206696" y="144141"/>
                    <a:pt x="203976" y="152300"/>
                  </a:cubicBezTo>
                  <a:cubicBezTo>
                    <a:pt x="201256" y="157740"/>
                    <a:pt x="201256" y="163179"/>
                    <a:pt x="201256" y="168618"/>
                  </a:cubicBezTo>
                  <a:cubicBezTo>
                    <a:pt x="201256" y="174058"/>
                    <a:pt x="198537" y="179497"/>
                    <a:pt x="198537" y="184936"/>
                  </a:cubicBezTo>
                  <a:cubicBezTo>
                    <a:pt x="195817" y="195815"/>
                    <a:pt x="193097" y="209413"/>
                    <a:pt x="190378" y="220292"/>
                  </a:cubicBezTo>
                  <a:cubicBezTo>
                    <a:pt x="187658" y="244769"/>
                    <a:pt x="179499" y="269246"/>
                    <a:pt x="171340" y="291003"/>
                  </a:cubicBezTo>
                  <a:cubicBezTo>
                    <a:pt x="168620" y="301881"/>
                    <a:pt x="165900" y="312760"/>
                    <a:pt x="163180" y="323639"/>
                  </a:cubicBezTo>
                  <a:cubicBezTo>
                    <a:pt x="160461" y="337237"/>
                    <a:pt x="157741" y="348115"/>
                    <a:pt x="152302" y="361714"/>
                  </a:cubicBezTo>
                  <a:cubicBezTo>
                    <a:pt x="149582" y="367153"/>
                    <a:pt x="146862" y="383471"/>
                    <a:pt x="146862" y="388910"/>
                  </a:cubicBezTo>
                  <a:cubicBezTo>
                    <a:pt x="146862" y="391630"/>
                    <a:pt x="149582" y="391630"/>
                    <a:pt x="152302" y="391630"/>
                  </a:cubicBezTo>
                  <a:cubicBezTo>
                    <a:pt x="157741" y="391630"/>
                    <a:pt x="171340" y="391630"/>
                    <a:pt x="174060" y="391630"/>
                  </a:cubicBezTo>
                  <a:cubicBezTo>
                    <a:pt x="182219" y="391630"/>
                    <a:pt x="190378" y="391630"/>
                    <a:pt x="195817" y="388910"/>
                  </a:cubicBezTo>
                  <a:cubicBezTo>
                    <a:pt x="201256" y="388910"/>
                    <a:pt x="206696" y="388910"/>
                    <a:pt x="214855" y="388910"/>
                  </a:cubicBezTo>
                  <a:cubicBezTo>
                    <a:pt x="220294" y="388910"/>
                    <a:pt x="228453" y="388910"/>
                    <a:pt x="239332" y="388910"/>
                  </a:cubicBezTo>
                  <a:cubicBezTo>
                    <a:pt x="244771" y="388910"/>
                    <a:pt x="250210" y="388910"/>
                    <a:pt x="252930" y="386191"/>
                  </a:cubicBezTo>
                  <a:cubicBezTo>
                    <a:pt x="258369" y="391630"/>
                    <a:pt x="261089" y="388910"/>
                    <a:pt x="261089" y="386191"/>
                  </a:cubicBezTo>
                  <a:cubicBezTo>
                    <a:pt x="261089" y="380751"/>
                    <a:pt x="258369" y="372592"/>
                    <a:pt x="258369" y="367153"/>
                  </a:cubicBezTo>
                  <a:cubicBezTo>
                    <a:pt x="255650" y="353555"/>
                    <a:pt x="252930" y="342676"/>
                    <a:pt x="252930" y="331797"/>
                  </a:cubicBezTo>
                  <a:cubicBezTo>
                    <a:pt x="252930" y="301881"/>
                    <a:pt x="252930" y="274685"/>
                    <a:pt x="250210" y="244769"/>
                  </a:cubicBezTo>
                  <a:cubicBezTo>
                    <a:pt x="250210" y="231170"/>
                    <a:pt x="247491" y="217572"/>
                    <a:pt x="244771" y="203974"/>
                  </a:cubicBezTo>
                  <a:cubicBezTo>
                    <a:pt x="242051" y="187656"/>
                    <a:pt x="239332" y="174058"/>
                    <a:pt x="239332" y="157740"/>
                  </a:cubicBezTo>
                  <a:cubicBezTo>
                    <a:pt x="239332" y="152300"/>
                    <a:pt x="239332" y="133263"/>
                    <a:pt x="236612" y="119665"/>
                  </a:cubicBezTo>
                  <a:cubicBezTo>
                    <a:pt x="236612" y="106066"/>
                    <a:pt x="233892" y="97907"/>
                    <a:pt x="228453" y="97907"/>
                  </a:cubicBezTo>
                  <a:close/>
                  <a:moveTo>
                    <a:pt x="274687" y="0"/>
                  </a:moveTo>
                  <a:cubicBezTo>
                    <a:pt x="288285" y="0"/>
                    <a:pt x="293724" y="2720"/>
                    <a:pt x="304603" y="5439"/>
                  </a:cubicBezTo>
                  <a:cubicBezTo>
                    <a:pt x="315482" y="10879"/>
                    <a:pt x="315482" y="16318"/>
                    <a:pt x="320921" y="24477"/>
                  </a:cubicBezTo>
                  <a:cubicBezTo>
                    <a:pt x="326360" y="29916"/>
                    <a:pt x="331800" y="35356"/>
                    <a:pt x="334519" y="43515"/>
                  </a:cubicBezTo>
                  <a:cubicBezTo>
                    <a:pt x="337239" y="51674"/>
                    <a:pt x="337239" y="57113"/>
                    <a:pt x="339959" y="65272"/>
                  </a:cubicBezTo>
                  <a:cubicBezTo>
                    <a:pt x="345398" y="78870"/>
                    <a:pt x="342678" y="97908"/>
                    <a:pt x="348118" y="114226"/>
                  </a:cubicBezTo>
                  <a:cubicBezTo>
                    <a:pt x="350837" y="130544"/>
                    <a:pt x="358996" y="146863"/>
                    <a:pt x="361716" y="163180"/>
                  </a:cubicBezTo>
                  <a:cubicBezTo>
                    <a:pt x="364435" y="182218"/>
                    <a:pt x="364435" y="201256"/>
                    <a:pt x="369875" y="220293"/>
                  </a:cubicBezTo>
                  <a:cubicBezTo>
                    <a:pt x="375314" y="239331"/>
                    <a:pt x="378034" y="255649"/>
                    <a:pt x="378034" y="274686"/>
                  </a:cubicBezTo>
                  <a:cubicBezTo>
                    <a:pt x="378034" y="282845"/>
                    <a:pt x="380753" y="293724"/>
                    <a:pt x="383473" y="301883"/>
                  </a:cubicBezTo>
                  <a:cubicBezTo>
                    <a:pt x="386193" y="312762"/>
                    <a:pt x="388912" y="326360"/>
                    <a:pt x="391632" y="337238"/>
                  </a:cubicBezTo>
                  <a:cubicBezTo>
                    <a:pt x="391632" y="342678"/>
                    <a:pt x="394352" y="353556"/>
                    <a:pt x="397071" y="364435"/>
                  </a:cubicBezTo>
                  <a:cubicBezTo>
                    <a:pt x="399791" y="372594"/>
                    <a:pt x="402511" y="380753"/>
                    <a:pt x="405230" y="383473"/>
                  </a:cubicBezTo>
                  <a:cubicBezTo>
                    <a:pt x="407950" y="386192"/>
                    <a:pt x="413389" y="386192"/>
                    <a:pt x="416109" y="386192"/>
                  </a:cubicBezTo>
                  <a:cubicBezTo>
                    <a:pt x="418829" y="386192"/>
                    <a:pt x="424268" y="386192"/>
                    <a:pt x="426988" y="386192"/>
                  </a:cubicBezTo>
                  <a:cubicBezTo>
                    <a:pt x="437866" y="386192"/>
                    <a:pt x="448745" y="388912"/>
                    <a:pt x="454184" y="397071"/>
                  </a:cubicBezTo>
                  <a:cubicBezTo>
                    <a:pt x="456904" y="399790"/>
                    <a:pt x="456904" y="402510"/>
                    <a:pt x="456904" y="405230"/>
                  </a:cubicBezTo>
                  <a:cubicBezTo>
                    <a:pt x="456904" y="407949"/>
                    <a:pt x="454184" y="410669"/>
                    <a:pt x="451465" y="416108"/>
                  </a:cubicBezTo>
                  <a:cubicBezTo>
                    <a:pt x="446025" y="421548"/>
                    <a:pt x="440586" y="426987"/>
                    <a:pt x="432427" y="429707"/>
                  </a:cubicBezTo>
                  <a:cubicBezTo>
                    <a:pt x="429707" y="429707"/>
                    <a:pt x="426988" y="432426"/>
                    <a:pt x="421548" y="432426"/>
                  </a:cubicBezTo>
                  <a:cubicBezTo>
                    <a:pt x="418829" y="432426"/>
                    <a:pt x="416109" y="432426"/>
                    <a:pt x="413389" y="435146"/>
                  </a:cubicBezTo>
                  <a:cubicBezTo>
                    <a:pt x="413389" y="435146"/>
                    <a:pt x="413389" y="437866"/>
                    <a:pt x="413389" y="440585"/>
                  </a:cubicBezTo>
                  <a:cubicBezTo>
                    <a:pt x="413389" y="443305"/>
                    <a:pt x="413389" y="448744"/>
                    <a:pt x="416109" y="451464"/>
                  </a:cubicBezTo>
                  <a:cubicBezTo>
                    <a:pt x="416109" y="456903"/>
                    <a:pt x="418829" y="462343"/>
                    <a:pt x="418829" y="465062"/>
                  </a:cubicBezTo>
                  <a:lnTo>
                    <a:pt x="418829" y="475941"/>
                  </a:lnTo>
                  <a:cubicBezTo>
                    <a:pt x="418829" y="481380"/>
                    <a:pt x="418829" y="484100"/>
                    <a:pt x="418829" y="486820"/>
                  </a:cubicBezTo>
                  <a:cubicBezTo>
                    <a:pt x="421548" y="497698"/>
                    <a:pt x="424268" y="505857"/>
                    <a:pt x="426988" y="516736"/>
                  </a:cubicBezTo>
                  <a:cubicBezTo>
                    <a:pt x="426988" y="524895"/>
                    <a:pt x="429707" y="535773"/>
                    <a:pt x="432427" y="543932"/>
                  </a:cubicBezTo>
                  <a:cubicBezTo>
                    <a:pt x="435147" y="554811"/>
                    <a:pt x="437866" y="562970"/>
                    <a:pt x="437866" y="573848"/>
                  </a:cubicBezTo>
                  <a:cubicBezTo>
                    <a:pt x="437866" y="587447"/>
                    <a:pt x="440586" y="595606"/>
                    <a:pt x="443306" y="606484"/>
                  </a:cubicBezTo>
                  <a:cubicBezTo>
                    <a:pt x="443306" y="609204"/>
                    <a:pt x="446025" y="614643"/>
                    <a:pt x="446025" y="617363"/>
                  </a:cubicBezTo>
                  <a:cubicBezTo>
                    <a:pt x="454184" y="617363"/>
                    <a:pt x="462343" y="617363"/>
                    <a:pt x="470502" y="617363"/>
                  </a:cubicBezTo>
                  <a:cubicBezTo>
                    <a:pt x="478661" y="625522"/>
                    <a:pt x="492259" y="630961"/>
                    <a:pt x="494979" y="641840"/>
                  </a:cubicBezTo>
                  <a:cubicBezTo>
                    <a:pt x="494979" y="647279"/>
                    <a:pt x="489540" y="649999"/>
                    <a:pt x="486820" y="655438"/>
                  </a:cubicBezTo>
                  <a:cubicBezTo>
                    <a:pt x="484100" y="660877"/>
                    <a:pt x="475942" y="663597"/>
                    <a:pt x="470502" y="663597"/>
                  </a:cubicBezTo>
                  <a:cubicBezTo>
                    <a:pt x="459623" y="666317"/>
                    <a:pt x="454184" y="666317"/>
                    <a:pt x="446025" y="666317"/>
                  </a:cubicBezTo>
                  <a:cubicBezTo>
                    <a:pt x="440586" y="666317"/>
                    <a:pt x="432427" y="666317"/>
                    <a:pt x="424268" y="666317"/>
                  </a:cubicBezTo>
                  <a:cubicBezTo>
                    <a:pt x="421548" y="666317"/>
                    <a:pt x="418829" y="666317"/>
                    <a:pt x="416109" y="666317"/>
                  </a:cubicBezTo>
                  <a:cubicBezTo>
                    <a:pt x="410670" y="669036"/>
                    <a:pt x="407950" y="669036"/>
                    <a:pt x="402511" y="671756"/>
                  </a:cubicBezTo>
                  <a:cubicBezTo>
                    <a:pt x="397071" y="671756"/>
                    <a:pt x="391632" y="674476"/>
                    <a:pt x="386193" y="674476"/>
                  </a:cubicBezTo>
                  <a:cubicBezTo>
                    <a:pt x="375314" y="674476"/>
                    <a:pt x="361716" y="671756"/>
                    <a:pt x="350837" y="669036"/>
                  </a:cubicBezTo>
                  <a:cubicBezTo>
                    <a:pt x="342678" y="669036"/>
                    <a:pt x="334519" y="669036"/>
                    <a:pt x="329080" y="669036"/>
                  </a:cubicBezTo>
                  <a:cubicBezTo>
                    <a:pt x="307323" y="669036"/>
                    <a:pt x="288285" y="669036"/>
                    <a:pt x="280126" y="669036"/>
                  </a:cubicBezTo>
                  <a:cubicBezTo>
                    <a:pt x="271967" y="669036"/>
                    <a:pt x="261088" y="669036"/>
                    <a:pt x="255649" y="663597"/>
                  </a:cubicBezTo>
                  <a:cubicBezTo>
                    <a:pt x="250210" y="660877"/>
                    <a:pt x="239331" y="655438"/>
                    <a:pt x="239331" y="647279"/>
                  </a:cubicBezTo>
                  <a:cubicBezTo>
                    <a:pt x="239331" y="636401"/>
                    <a:pt x="255649" y="633681"/>
                    <a:pt x="263808" y="630961"/>
                  </a:cubicBezTo>
                  <a:cubicBezTo>
                    <a:pt x="269247" y="630961"/>
                    <a:pt x="277406" y="630961"/>
                    <a:pt x="291005" y="628241"/>
                  </a:cubicBezTo>
                  <a:cubicBezTo>
                    <a:pt x="291005" y="620082"/>
                    <a:pt x="291005" y="614643"/>
                    <a:pt x="288285" y="609204"/>
                  </a:cubicBezTo>
                  <a:cubicBezTo>
                    <a:pt x="288285" y="601045"/>
                    <a:pt x="285565" y="590166"/>
                    <a:pt x="285565" y="582007"/>
                  </a:cubicBezTo>
                  <a:cubicBezTo>
                    <a:pt x="285565" y="576568"/>
                    <a:pt x="282846" y="573848"/>
                    <a:pt x="282846" y="568409"/>
                  </a:cubicBezTo>
                  <a:cubicBezTo>
                    <a:pt x="282846" y="562970"/>
                    <a:pt x="285565" y="557531"/>
                    <a:pt x="285565" y="554811"/>
                  </a:cubicBezTo>
                  <a:cubicBezTo>
                    <a:pt x="285565" y="549371"/>
                    <a:pt x="282846" y="546652"/>
                    <a:pt x="280126" y="538493"/>
                  </a:cubicBezTo>
                  <a:cubicBezTo>
                    <a:pt x="280126" y="527614"/>
                    <a:pt x="274687" y="516736"/>
                    <a:pt x="274687" y="505857"/>
                  </a:cubicBezTo>
                  <a:cubicBezTo>
                    <a:pt x="274687" y="494978"/>
                    <a:pt x="274687" y="486820"/>
                    <a:pt x="271967" y="478660"/>
                  </a:cubicBezTo>
                  <a:cubicBezTo>
                    <a:pt x="269247" y="467782"/>
                    <a:pt x="269247" y="456903"/>
                    <a:pt x="269247" y="446025"/>
                  </a:cubicBezTo>
                  <a:cubicBezTo>
                    <a:pt x="269247" y="440585"/>
                    <a:pt x="266528" y="437866"/>
                    <a:pt x="263808" y="437866"/>
                  </a:cubicBezTo>
                  <a:cubicBezTo>
                    <a:pt x="261088" y="437866"/>
                    <a:pt x="258369" y="437866"/>
                    <a:pt x="252929" y="437866"/>
                  </a:cubicBezTo>
                  <a:cubicBezTo>
                    <a:pt x="242051" y="437866"/>
                    <a:pt x="231172" y="437866"/>
                    <a:pt x="223013" y="440585"/>
                  </a:cubicBezTo>
                  <a:cubicBezTo>
                    <a:pt x="212135" y="440585"/>
                    <a:pt x="203976" y="443305"/>
                    <a:pt x="193097" y="443305"/>
                  </a:cubicBezTo>
                  <a:cubicBezTo>
                    <a:pt x="184938" y="443305"/>
                    <a:pt x="176779" y="443305"/>
                    <a:pt x="168620" y="443305"/>
                  </a:cubicBezTo>
                  <a:cubicBezTo>
                    <a:pt x="165900" y="443305"/>
                    <a:pt x="155021" y="440585"/>
                    <a:pt x="146862" y="440585"/>
                  </a:cubicBezTo>
                  <a:cubicBezTo>
                    <a:pt x="138703" y="440585"/>
                    <a:pt x="138703" y="448744"/>
                    <a:pt x="138703" y="454184"/>
                  </a:cubicBezTo>
                  <a:cubicBezTo>
                    <a:pt x="138703" y="465062"/>
                    <a:pt x="135983" y="475941"/>
                    <a:pt x="133263" y="486820"/>
                  </a:cubicBezTo>
                  <a:cubicBezTo>
                    <a:pt x="130544" y="505857"/>
                    <a:pt x="125105" y="522175"/>
                    <a:pt x="122385" y="541213"/>
                  </a:cubicBezTo>
                  <a:cubicBezTo>
                    <a:pt x="119665" y="560250"/>
                    <a:pt x="111506" y="595606"/>
                    <a:pt x="106067" y="614643"/>
                  </a:cubicBezTo>
                  <a:cubicBezTo>
                    <a:pt x="114226" y="614643"/>
                    <a:pt x="125105" y="614643"/>
                    <a:pt x="135983" y="614643"/>
                  </a:cubicBezTo>
                  <a:cubicBezTo>
                    <a:pt x="149581" y="614643"/>
                    <a:pt x="171340" y="614643"/>
                    <a:pt x="171340" y="630961"/>
                  </a:cubicBezTo>
                  <a:cubicBezTo>
                    <a:pt x="171340" y="639120"/>
                    <a:pt x="168620" y="639120"/>
                    <a:pt x="165900" y="647279"/>
                  </a:cubicBezTo>
                  <a:cubicBezTo>
                    <a:pt x="163181" y="652718"/>
                    <a:pt x="155021" y="655438"/>
                    <a:pt x="149581" y="655438"/>
                  </a:cubicBezTo>
                  <a:cubicBezTo>
                    <a:pt x="141423" y="658158"/>
                    <a:pt x="135983" y="658158"/>
                    <a:pt x="127824" y="658158"/>
                  </a:cubicBezTo>
                  <a:cubicBezTo>
                    <a:pt x="122385" y="658158"/>
                    <a:pt x="116946" y="658158"/>
                    <a:pt x="106067" y="658158"/>
                  </a:cubicBezTo>
                  <a:cubicBezTo>
                    <a:pt x="92469" y="658158"/>
                    <a:pt x="78870" y="658158"/>
                    <a:pt x="62552" y="658158"/>
                  </a:cubicBezTo>
                  <a:cubicBezTo>
                    <a:pt x="54393" y="658158"/>
                    <a:pt x="46234" y="658158"/>
                    <a:pt x="40795" y="658158"/>
                  </a:cubicBezTo>
                  <a:cubicBezTo>
                    <a:pt x="32636" y="658158"/>
                    <a:pt x="21758" y="658158"/>
                    <a:pt x="16318" y="652718"/>
                  </a:cubicBezTo>
                  <a:cubicBezTo>
                    <a:pt x="8159" y="649999"/>
                    <a:pt x="0" y="641840"/>
                    <a:pt x="0" y="636401"/>
                  </a:cubicBezTo>
                  <a:cubicBezTo>
                    <a:pt x="0" y="633681"/>
                    <a:pt x="0" y="630961"/>
                    <a:pt x="2720" y="628241"/>
                  </a:cubicBezTo>
                  <a:cubicBezTo>
                    <a:pt x="8159" y="625522"/>
                    <a:pt x="16318" y="622802"/>
                    <a:pt x="24477" y="620082"/>
                  </a:cubicBezTo>
                  <a:cubicBezTo>
                    <a:pt x="38075" y="617363"/>
                    <a:pt x="48954" y="617363"/>
                    <a:pt x="62552" y="617363"/>
                  </a:cubicBezTo>
                  <a:cubicBezTo>
                    <a:pt x="62552" y="617363"/>
                    <a:pt x="62552" y="614643"/>
                    <a:pt x="62552" y="614643"/>
                  </a:cubicBezTo>
                  <a:cubicBezTo>
                    <a:pt x="62552" y="603765"/>
                    <a:pt x="65272" y="590166"/>
                    <a:pt x="65272" y="587447"/>
                  </a:cubicBezTo>
                  <a:cubicBezTo>
                    <a:pt x="67992" y="565689"/>
                    <a:pt x="73431" y="543932"/>
                    <a:pt x="76151" y="522175"/>
                  </a:cubicBezTo>
                  <a:cubicBezTo>
                    <a:pt x="78870" y="505857"/>
                    <a:pt x="81590" y="486820"/>
                    <a:pt x="87029" y="470501"/>
                  </a:cubicBezTo>
                  <a:cubicBezTo>
                    <a:pt x="87029" y="465062"/>
                    <a:pt x="92469" y="451464"/>
                    <a:pt x="92469" y="446025"/>
                  </a:cubicBezTo>
                  <a:cubicBezTo>
                    <a:pt x="92469" y="437866"/>
                    <a:pt x="73431" y="437866"/>
                    <a:pt x="65272" y="432426"/>
                  </a:cubicBezTo>
                  <a:cubicBezTo>
                    <a:pt x="59833" y="429707"/>
                    <a:pt x="54393" y="426987"/>
                    <a:pt x="54393" y="421548"/>
                  </a:cubicBezTo>
                  <a:cubicBezTo>
                    <a:pt x="54393" y="413389"/>
                    <a:pt x="62552" y="410669"/>
                    <a:pt x="73431" y="407949"/>
                  </a:cubicBezTo>
                  <a:cubicBezTo>
                    <a:pt x="78870" y="407949"/>
                    <a:pt x="92469" y="405230"/>
                    <a:pt x="100628" y="399790"/>
                  </a:cubicBezTo>
                  <a:cubicBezTo>
                    <a:pt x="106067" y="394351"/>
                    <a:pt x="106067" y="378033"/>
                    <a:pt x="108787" y="369874"/>
                  </a:cubicBezTo>
                  <a:cubicBezTo>
                    <a:pt x="114226" y="348117"/>
                    <a:pt x="119665" y="326360"/>
                    <a:pt x="125105" y="307322"/>
                  </a:cubicBezTo>
                  <a:cubicBezTo>
                    <a:pt x="130544" y="285565"/>
                    <a:pt x="135983" y="263808"/>
                    <a:pt x="141423" y="242051"/>
                  </a:cubicBezTo>
                  <a:cubicBezTo>
                    <a:pt x="146862" y="220293"/>
                    <a:pt x="152301" y="198536"/>
                    <a:pt x="155021" y="179498"/>
                  </a:cubicBezTo>
                  <a:cubicBezTo>
                    <a:pt x="157740" y="160461"/>
                    <a:pt x="163181" y="138703"/>
                    <a:pt x="168620" y="119665"/>
                  </a:cubicBezTo>
                  <a:cubicBezTo>
                    <a:pt x="176779" y="100627"/>
                    <a:pt x="182218" y="76150"/>
                    <a:pt x="193097" y="57113"/>
                  </a:cubicBezTo>
                  <a:lnTo>
                    <a:pt x="201256" y="38075"/>
                  </a:lnTo>
                  <a:cubicBezTo>
                    <a:pt x="206695" y="29916"/>
                    <a:pt x="209415" y="19038"/>
                    <a:pt x="217574" y="13598"/>
                  </a:cubicBezTo>
                  <a:cubicBezTo>
                    <a:pt x="231172" y="2720"/>
                    <a:pt x="255649" y="0"/>
                    <a:pt x="274687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rgbClr val="666666"/>
                </a:solidFill>
              </a:endParaRPr>
            </a:p>
          </p:txBody>
        </p:sp>
        <p:sp>
          <p:nvSpPr>
            <p:cNvPr id="40" name="Freeform: Shape 39">
              <a:extLst>
                <a:ext uri="{FF2B5EF4-FFF2-40B4-BE49-F238E27FC236}">
                  <a16:creationId xmlns:a16="http://schemas.microsoft.com/office/drawing/2014/main" id="{F82A0DB8-0ECB-4944-9468-4B85E60D809E}"/>
                </a:ext>
              </a:extLst>
            </p:cNvPr>
            <p:cNvSpPr/>
            <p:nvPr/>
          </p:nvSpPr>
          <p:spPr>
            <a:xfrm>
              <a:off x="3443268" y="4186718"/>
              <a:ext cx="435145" cy="761503"/>
            </a:xfrm>
            <a:custGeom>
              <a:avLst/>
              <a:gdLst>
                <a:gd name="connsiteX0" fmla="*/ 400855 w 435145"/>
                <a:gd name="connsiteY0" fmla="*/ 678260 h 761503"/>
                <a:gd name="connsiteX1" fmla="*/ 384537 w 435145"/>
                <a:gd name="connsiteY1" fmla="*/ 719054 h 761503"/>
                <a:gd name="connsiteX2" fmla="*/ 368219 w 435145"/>
                <a:gd name="connsiteY2" fmla="*/ 713615 h 761503"/>
                <a:gd name="connsiteX3" fmla="*/ 360060 w 435145"/>
                <a:gd name="connsiteY3" fmla="*/ 697297 h 761503"/>
                <a:gd name="connsiteX4" fmla="*/ 360060 w 435145"/>
                <a:gd name="connsiteY4" fmla="*/ 651063 h 761503"/>
                <a:gd name="connsiteX5" fmla="*/ 332864 w 435145"/>
                <a:gd name="connsiteY5" fmla="*/ 686418 h 761503"/>
                <a:gd name="connsiteX6" fmla="*/ 251274 w 435145"/>
                <a:gd name="connsiteY6" fmla="*/ 721774 h 761503"/>
                <a:gd name="connsiteX7" fmla="*/ 229517 w 435145"/>
                <a:gd name="connsiteY7" fmla="*/ 719054 h 761503"/>
                <a:gd name="connsiteX8" fmla="*/ 158806 w 435145"/>
                <a:gd name="connsiteY8" fmla="*/ 694578 h 761503"/>
                <a:gd name="connsiteX9" fmla="*/ 112571 w 435145"/>
                <a:gd name="connsiteY9" fmla="*/ 659222 h 761503"/>
                <a:gd name="connsiteX10" fmla="*/ 79936 w 435145"/>
                <a:gd name="connsiteY10" fmla="*/ 607548 h 761503"/>
                <a:gd name="connsiteX11" fmla="*/ 63618 w 435145"/>
                <a:gd name="connsiteY11" fmla="*/ 542277 h 761503"/>
                <a:gd name="connsiteX12" fmla="*/ 58178 w 435145"/>
                <a:gd name="connsiteY12" fmla="*/ 471566 h 761503"/>
                <a:gd name="connsiteX13" fmla="*/ 60898 w 435145"/>
                <a:gd name="connsiteY13" fmla="*/ 400855 h 761503"/>
                <a:gd name="connsiteX14" fmla="*/ 66337 w 435145"/>
                <a:gd name="connsiteY14" fmla="*/ 335583 h 761503"/>
                <a:gd name="connsiteX15" fmla="*/ 85375 w 435145"/>
                <a:gd name="connsiteY15" fmla="*/ 267592 h 761503"/>
                <a:gd name="connsiteX16" fmla="*/ 109852 w 435145"/>
                <a:gd name="connsiteY16" fmla="*/ 199600 h 761503"/>
                <a:gd name="connsiteX17" fmla="*/ 145207 w 435145"/>
                <a:gd name="connsiteY17" fmla="*/ 145207 h 761503"/>
                <a:gd name="connsiteX18" fmla="*/ 188722 w 435145"/>
                <a:gd name="connsiteY18" fmla="*/ 96253 h 761503"/>
                <a:gd name="connsiteX19" fmla="*/ 243115 w 435145"/>
                <a:gd name="connsiteY19" fmla="*/ 71776 h 761503"/>
                <a:gd name="connsiteX20" fmla="*/ 286630 w 435145"/>
                <a:gd name="connsiteY20" fmla="*/ 63617 h 761503"/>
                <a:gd name="connsiteX21" fmla="*/ 305667 w 435145"/>
                <a:gd name="connsiteY21" fmla="*/ 66337 h 761503"/>
                <a:gd name="connsiteX22" fmla="*/ 324705 w 435145"/>
                <a:gd name="connsiteY22" fmla="*/ 79936 h 761503"/>
                <a:gd name="connsiteX23" fmla="*/ 341023 w 435145"/>
                <a:gd name="connsiteY23" fmla="*/ 101693 h 761503"/>
                <a:gd name="connsiteX24" fmla="*/ 354621 w 435145"/>
                <a:gd name="connsiteY24" fmla="*/ 123450 h 761503"/>
                <a:gd name="connsiteX25" fmla="*/ 354621 w 435145"/>
                <a:gd name="connsiteY25" fmla="*/ 98973 h 761503"/>
                <a:gd name="connsiteX26" fmla="*/ 360060 w 435145"/>
                <a:gd name="connsiteY26" fmla="*/ 74496 h 761503"/>
                <a:gd name="connsiteX27" fmla="*/ 365500 w 435145"/>
                <a:gd name="connsiteY27" fmla="*/ 63617 h 761503"/>
                <a:gd name="connsiteX28" fmla="*/ 373659 w 435145"/>
                <a:gd name="connsiteY28" fmla="*/ 58178 h 761503"/>
                <a:gd name="connsiteX29" fmla="*/ 381818 w 435145"/>
                <a:gd name="connsiteY29" fmla="*/ 63617 h 761503"/>
                <a:gd name="connsiteX30" fmla="*/ 389977 w 435145"/>
                <a:gd name="connsiteY30" fmla="*/ 82655 h 761503"/>
                <a:gd name="connsiteX31" fmla="*/ 392696 w 435145"/>
                <a:gd name="connsiteY31" fmla="*/ 126170 h 761503"/>
                <a:gd name="connsiteX32" fmla="*/ 395416 w 435145"/>
                <a:gd name="connsiteY32" fmla="*/ 186002 h 761503"/>
                <a:gd name="connsiteX33" fmla="*/ 398136 w 435145"/>
                <a:gd name="connsiteY33" fmla="*/ 237675 h 761503"/>
                <a:gd name="connsiteX34" fmla="*/ 398136 w 435145"/>
                <a:gd name="connsiteY34" fmla="*/ 243115 h 761503"/>
                <a:gd name="connsiteX35" fmla="*/ 395416 w 435145"/>
                <a:gd name="connsiteY35" fmla="*/ 256713 h 761503"/>
                <a:gd name="connsiteX36" fmla="*/ 379098 w 435145"/>
                <a:gd name="connsiteY36" fmla="*/ 278470 h 761503"/>
                <a:gd name="connsiteX37" fmla="*/ 362780 w 435145"/>
                <a:gd name="connsiteY37" fmla="*/ 273031 h 761503"/>
                <a:gd name="connsiteX38" fmla="*/ 354621 w 435145"/>
                <a:gd name="connsiteY38" fmla="*/ 256713 h 761503"/>
                <a:gd name="connsiteX39" fmla="*/ 354621 w 435145"/>
                <a:gd name="connsiteY39" fmla="*/ 213198 h 761503"/>
                <a:gd name="connsiteX40" fmla="*/ 354621 w 435145"/>
                <a:gd name="connsiteY40" fmla="*/ 205040 h 761503"/>
                <a:gd name="connsiteX41" fmla="*/ 338303 w 435145"/>
                <a:gd name="connsiteY41" fmla="*/ 147927 h 761503"/>
                <a:gd name="connsiteX42" fmla="*/ 292069 w 435145"/>
                <a:gd name="connsiteY42" fmla="*/ 107132 h 761503"/>
                <a:gd name="connsiteX43" fmla="*/ 262153 w 435145"/>
                <a:gd name="connsiteY43" fmla="*/ 120730 h 761503"/>
                <a:gd name="connsiteX44" fmla="*/ 251274 w 435145"/>
                <a:gd name="connsiteY44" fmla="*/ 131609 h 761503"/>
                <a:gd name="connsiteX45" fmla="*/ 240395 w 435145"/>
                <a:gd name="connsiteY45" fmla="*/ 139768 h 761503"/>
                <a:gd name="connsiteX46" fmla="*/ 237676 w 435145"/>
                <a:gd name="connsiteY46" fmla="*/ 164245 h 761503"/>
                <a:gd name="connsiteX47" fmla="*/ 226797 w 435145"/>
                <a:gd name="connsiteY47" fmla="*/ 196881 h 761503"/>
                <a:gd name="connsiteX48" fmla="*/ 213199 w 435145"/>
                <a:gd name="connsiteY48" fmla="*/ 259433 h 761503"/>
                <a:gd name="connsiteX49" fmla="*/ 207759 w 435145"/>
                <a:gd name="connsiteY49" fmla="*/ 324704 h 761503"/>
                <a:gd name="connsiteX50" fmla="*/ 207759 w 435145"/>
                <a:gd name="connsiteY50" fmla="*/ 335583 h 761503"/>
                <a:gd name="connsiteX51" fmla="*/ 205040 w 435145"/>
                <a:gd name="connsiteY51" fmla="*/ 349181 h 761503"/>
                <a:gd name="connsiteX52" fmla="*/ 207759 w 435145"/>
                <a:gd name="connsiteY52" fmla="*/ 368219 h 761503"/>
                <a:gd name="connsiteX53" fmla="*/ 207759 w 435145"/>
                <a:gd name="connsiteY53" fmla="*/ 376378 h 761503"/>
                <a:gd name="connsiteX54" fmla="*/ 205040 w 435145"/>
                <a:gd name="connsiteY54" fmla="*/ 387256 h 761503"/>
                <a:gd name="connsiteX55" fmla="*/ 205040 w 435145"/>
                <a:gd name="connsiteY55" fmla="*/ 395415 h 761503"/>
                <a:gd name="connsiteX56" fmla="*/ 205040 w 435145"/>
                <a:gd name="connsiteY56" fmla="*/ 406294 h 761503"/>
                <a:gd name="connsiteX57" fmla="*/ 205040 w 435145"/>
                <a:gd name="connsiteY57" fmla="*/ 425332 h 761503"/>
                <a:gd name="connsiteX58" fmla="*/ 213199 w 435145"/>
                <a:gd name="connsiteY58" fmla="*/ 493323 h 761503"/>
                <a:gd name="connsiteX59" fmla="*/ 221358 w 435145"/>
                <a:gd name="connsiteY59" fmla="*/ 561314 h 761503"/>
                <a:gd name="connsiteX60" fmla="*/ 226797 w 435145"/>
                <a:gd name="connsiteY60" fmla="*/ 591231 h 761503"/>
                <a:gd name="connsiteX61" fmla="*/ 240395 w 435145"/>
                <a:gd name="connsiteY61" fmla="*/ 618427 h 761503"/>
                <a:gd name="connsiteX62" fmla="*/ 283910 w 435145"/>
                <a:gd name="connsiteY62" fmla="*/ 651063 h 761503"/>
                <a:gd name="connsiteX63" fmla="*/ 338303 w 435145"/>
                <a:gd name="connsiteY63" fmla="*/ 612988 h 761503"/>
                <a:gd name="connsiteX64" fmla="*/ 354621 w 435145"/>
                <a:gd name="connsiteY64" fmla="*/ 577632 h 761503"/>
                <a:gd name="connsiteX65" fmla="*/ 357341 w 435145"/>
                <a:gd name="connsiteY65" fmla="*/ 509641 h 761503"/>
                <a:gd name="connsiteX66" fmla="*/ 362780 w 435145"/>
                <a:gd name="connsiteY66" fmla="*/ 485164 h 761503"/>
                <a:gd name="connsiteX67" fmla="*/ 368219 w 435145"/>
                <a:gd name="connsiteY67" fmla="*/ 474286 h 761503"/>
                <a:gd name="connsiteX68" fmla="*/ 376378 w 435145"/>
                <a:gd name="connsiteY68" fmla="*/ 468846 h 761503"/>
                <a:gd name="connsiteX69" fmla="*/ 384537 w 435145"/>
                <a:gd name="connsiteY69" fmla="*/ 474286 h 761503"/>
                <a:gd name="connsiteX70" fmla="*/ 392696 w 435145"/>
                <a:gd name="connsiteY70" fmla="*/ 493323 h 761503"/>
                <a:gd name="connsiteX71" fmla="*/ 395416 w 435145"/>
                <a:gd name="connsiteY71" fmla="*/ 558595 h 761503"/>
                <a:gd name="connsiteX72" fmla="*/ 398136 w 435145"/>
                <a:gd name="connsiteY72" fmla="*/ 618427 h 761503"/>
                <a:gd name="connsiteX73" fmla="*/ 400855 w 435145"/>
                <a:gd name="connsiteY73" fmla="*/ 678260 h 761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</a:cxnLst>
              <a:rect l="l" t="t" r="r" b="b"/>
              <a:pathLst>
                <a:path w="435145" h="761503">
                  <a:moveTo>
                    <a:pt x="400855" y="678260"/>
                  </a:moveTo>
                  <a:cubicBezTo>
                    <a:pt x="400855" y="689138"/>
                    <a:pt x="400855" y="719054"/>
                    <a:pt x="384537" y="719054"/>
                  </a:cubicBezTo>
                  <a:cubicBezTo>
                    <a:pt x="376378" y="719054"/>
                    <a:pt x="373659" y="716335"/>
                    <a:pt x="368219" y="713615"/>
                  </a:cubicBezTo>
                  <a:cubicBezTo>
                    <a:pt x="362780" y="710895"/>
                    <a:pt x="360060" y="702736"/>
                    <a:pt x="360060" y="697297"/>
                  </a:cubicBezTo>
                  <a:cubicBezTo>
                    <a:pt x="357341" y="680979"/>
                    <a:pt x="357341" y="664661"/>
                    <a:pt x="360060" y="651063"/>
                  </a:cubicBezTo>
                  <a:cubicBezTo>
                    <a:pt x="354621" y="659222"/>
                    <a:pt x="341023" y="678260"/>
                    <a:pt x="332864" y="686418"/>
                  </a:cubicBezTo>
                  <a:cubicBezTo>
                    <a:pt x="311107" y="708176"/>
                    <a:pt x="283910" y="721774"/>
                    <a:pt x="251274" y="721774"/>
                  </a:cubicBezTo>
                  <a:cubicBezTo>
                    <a:pt x="243115" y="721774"/>
                    <a:pt x="237676" y="721774"/>
                    <a:pt x="229517" y="719054"/>
                  </a:cubicBezTo>
                  <a:cubicBezTo>
                    <a:pt x="207759" y="716335"/>
                    <a:pt x="183283" y="708176"/>
                    <a:pt x="158806" y="694578"/>
                  </a:cubicBezTo>
                  <a:cubicBezTo>
                    <a:pt x="142488" y="686418"/>
                    <a:pt x="126170" y="672820"/>
                    <a:pt x="112571" y="659222"/>
                  </a:cubicBezTo>
                  <a:cubicBezTo>
                    <a:pt x="98973" y="642904"/>
                    <a:pt x="88095" y="626586"/>
                    <a:pt x="79936" y="607548"/>
                  </a:cubicBezTo>
                  <a:cubicBezTo>
                    <a:pt x="71777" y="585791"/>
                    <a:pt x="66337" y="566754"/>
                    <a:pt x="63618" y="542277"/>
                  </a:cubicBezTo>
                  <a:cubicBezTo>
                    <a:pt x="60898" y="517800"/>
                    <a:pt x="58178" y="493323"/>
                    <a:pt x="58178" y="471566"/>
                  </a:cubicBezTo>
                  <a:cubicBezTo>
                    <a:pt x="58178" y="447089"/>
                    <a:pt x="58178" y="425332"/>
                    <a:pt x="60898" y="400855"/>
                  </a:cubicBezTo>
                  <a:cubicBezTo>
                    <a:pt x="63618" y="379098"/>
                    <a:pt x="60898" y="357340"/>
                    <a:pt x="66337" y="335583"/>
                  </a:cubicBezTo>
                  <a:cubicBezTo>
                    <a:pt x="69057" y="313826"/>
                    <a:pt x="77216" y="289349"/>
                    <a:pt x="85375" y="267592"/>
                  </a:cubicBezTo>
                  <a:cubicBezTo>
                    <a:pt x="93534" y="243115"/>
                    <a:pt x="98973" y="221357"/>
                    <a:pt x="109852" y="199600"/>
                  </a:cubicBezTo>
                  <a:cubicBezTo>
                    <a:pt x="118011" y="177843"/>
                    <a:pt x="131609" y="161525"/>
                    <a:pt x="145207" y="145207"/>
                  </a:cubicBezTo>
                  <a:cubicBezTo>
                    <a:pt x="158806" y="128889"/>
                    <a:pt x="172404" y="109852"/>
                    <a:pt x="188722" y="96253"/>
                  </a:cubicBezTo>
                  <a:cubicBezTo>
                    <a:pt x="205040" y="82655"/>
                    <a:pt x="224077" y="77216"/>
                    <a:pt x="243115" y="71776"/>
                  </a:cubicBezTo>
                  <a:cubicBezTo>
                    <a:pt x="256713" y="69057"/>
                    <a:pt x="273031" y="63617"/>
                    <a:pt x="286630" y="63617"/>
                  </a:cubicBezTo>
                  <a:cubicBezTo>
                    <a:pt x="292069" y="63617"/>
                    <a:pt x="297508" y="63617"/>
                    <a:pt x="305667" y="66337"/>
                  </a:cubicBezTo>
                  <a:cubicBezTo>
                    <a:pt x="313826" y="69057"/>
                    <a:pt x="319266" y="74496"/>
                    <a:pt x="324705" y="79936"/>
                  </a:cubicBezTo>
                  <a:cubicBezTo>
                    <a:pt x="332864" y="85375"/>
                    <a:pt x="332864" y="93534"/>
                    <a:pt x="341023" y="101693"/>
                  </a:cubicBezTo>
                  <a:cubicBezTo>
                    <a:pt x="346462" y="107132"/>
                    <a:pt x="349182" y="118011"/>
                    <a:pt x="354621" y="123450"/>
                  </a:cubicBezTo>
                  <a:cubicBezTo>
                    <a:pt x="354621" y="115291"/>
                    <a:pt x="354621" y="101693"/>
                    <a:pt x="354621" y="98973"/>
                  </a:cubicBezTo>
                  <a:cubicBezTo>
                    <a:pt x="354621" y="90814"/>
                    <a:pt x="354621" y="79936"/>
                    <a:pt x="360060" y="74496"/>
                  </a:cubicBezTo>
                  <a:cubicBezTo>
                    <a:pt x="362780" y="71776"/>
                    <a:pt x="362780" y="69057"/>
                    <a:pt x="365500" y="63617"/>
                  </a:cubicBezTo>
                  <a:cubicBezTo>
                    <a:pt x="368219" y="60898"/>
                    <a:pt x="370939" y="58178"/>
                    <a:pt x="373659" y="58178"/>
                  </a:cubicBezTo>
                  <a:cubicBezTo>
                    <a:pt x="376378" y="58178"/>
                    <a:pt x="379098" y="60898"/>
                    <a:pt x="381818" y="63617"/>
                  </a:cubicBezTo>
                  <a:cubicBezTo>
                    <a:pt x="384537" y="69057"/>
                    <a:pt x="387257" y="77216"/>
                    <a:pt x="389977" y="82655"/>
                  </a:cubicBezTo>
                  <a:cubicBezTo>
                    <a:pt x="389977" y="90814"/>
                    <a:pt x="392696" y="107132"/>
                    <a:pt x="392696" y="126170"/>
                  </a:cubicBezTo>
                  <a:cubicBezTo>
                    <a:pt x="392696" y="150647"/>
                    <a:pt x="392696" y="177843"/>
                    <a:pt x="395416" y="186002"/>
                  </a:cubicBezTo>
                  <a:cubicBezTo>
                    <a:pt x="398136" y="205040"/>
                    <a:pt x="398136" y="215918"/>
                    <a:pt x="398136" y="237675"/>
                  </a:cubicBezTo>
                  <a:cubicBezTo>
                    <a:pt x="398136" y="240395"/>
                    <a:pt x="398136" y="243115"/>
                    <a:pt x="398136" y="243115"/>
                  </a:cubicBezTo>
                  <a:cubicBezTo>
                    <a:pt x="398136" y="248554"/>
                    <a:pt x="398136" y="251274"/>
                    <a:pt x="395416" y="256713"/>
                  </a:cubicBezTo>
                  <a:cubicBezTo>
                    <a:pt x="392696" y="267592"/>
                    <a:pt x="389977" y="278470"/>
                    <a:pt x="379098" y="278470"/>
                  </a:cubicBezTo>
                  <a:cubicBezTo>
                    <a:pt x="370939" y="278470"/>
                    <a:pt x="368219" y="275751"/>
                    <a:pt x="362780" y="273031"/>
                  </a:cubicBezTo>
                  <a:cubicBezTo>
                    <a:pt x="357341" y="270311"/>
                    <a:pt x="354621" y="262152"/>
                    <a:pt x="354621" y="256713"/>
                  </a:cubicBezTo>
                  <a:cubicBezTo>
                    <a:pt x="349182" y="237675"/>
                    <a:pt x="354621" y="232236"/>
                    <a:pt x="354621" y="213198"/>
                  </a:cubicBezTo>
                  <a:cubicBezTo>
                    <a:pt x="354621" y="210479"/>
                    <a:pt x="354621" y="207759"/>
                    <a:pt x="354621" y="205040"/>
                  </a:cubicBezTo>
                  <a:cubicBezTo>
                    <a:pt x="349182" y="186002"/>
                    <a:pt x="343742" y="169684"/>
                    <a:pt x="338303" y="147927"/>
                  </a:cubicBezTo>
                  <a:cubicBezTo>
                    <a:pt x="332864" y="131609"/>
                    <a:pt x="311107" y="107132"/>
                    <a:pt x="292069" y="107132"/>
                  </a:cubicBezTo>
                  <a:cubicBezTo>
                    <a:pt x="281190" y="107132"/>
                    <a:pt x="270312" y="115291"/>
                    <a:pt x="262153" y="120730"/>
                  </a:cubicBezTo>
                  <a:cubicBezTo>
                    <a:pt x="259433" y="123450"/>
                    <a:pt x="256713" y="126170"/>
                    <a:pt x="251274" y="131609"/>
                  </a:cubicBezTo>
                  <a:cubicBezTo>
                    <a:pt x="248554" y="134329"/>
                    <a:pt x="243115" y="137048"/>
                    <a:pt x="240395" y="139768"/>
                  </a:cubicBezTo>
                  <a:cubicBezTo>
                    <a:pt x="237676" y="145207"/>
                    <a:pt x="240395" y="156086"/>
                    <a:pt x="237676" y="164245"/>
                  </a:cubicBezTo>
                  <a:cubicBezTo>
                    <a:pt x="232236" y="175123"/>
                    <a:pt x="229517" y="186002"/>
                    <a:pt x="226797" y="196881"/>
                  </a:cubicBezTo>
                  <a:cubicBezTo>
                    <a:pt x="221358" y="218638"/>
                    <a:pt x="218638" y="237675"/>
                    <a:pt x="213199" y="259433"/>
                  </a:cubicBezTo>
                  <a:cubicBezTo>
                    <a:pt x="210479" y="281190"/>
                    <a:pt x="207759" y="302947"/>
                    <a:pt x="207759" y="324704"/>
                  </a:cubicBezTo>
                  <a:cubicBezTo>
                    <a:pt x="207759" y="327424"/>
                    <a:pt x="207759" y="332863"/>
                    <a:pt x="207759" y="335583"/>
                  </a:cubicBezTo>
                  <a:cubicBezTo>
                    <a:pt x="207759" y="341022"/>
                    <a:pt x="205040" y="343742"/>
                    <a:pt x="205040" y="349181"/>
                  </a:cubicBezTo>
                  <a:cubicBezTo>
                    <a:pt x="205040" y="354621"/>
                    <a:pt x="207759" y="362779"/>
                    <a:pt x="207759" y="368219"/>
                  </a:cubicBezTo>
                  <a:cubicBezTo>
                    <a:pt x="207759" y="370939"/>
                    <a:pt x="207759" y="373658"/>
                    <a:pt x="207759" y="376378"/>
                  </a:cubicBezTo>
                  <a:cubicBezTo>
                    <a:pt x="205040" y="381817"/>
                    <a:pt x="205040" y="384537"/>
                    <a:pt x="205040" y="387256"/>
                  </a:cubicBezTo>
                  <a:cubicBezTo>
                    <a:pt x="205040" y="389976"/>
                    <a:pt x="205040" y="392696"/>
                    <a:pt x="205040" y="395415"/>
                  </a:cubicBezTo>
                  <a:cubicBezTo>
                    <a:pt x="205040" y="398135"/>
                    <a:pt x="205040" y="403574"/>
                    <a:pt x="205040" y="406294"/>
                  </a:cubicBezTo>
                  <a:cubicBezTo>
                    <a:pt x="205040" y="411733"/>
                    <a:pt x="205040" y="417173"/>
                    <a:pt x="205040" y="425332"/>
                  </a:cubicBezTo>
                  <a:cubicBezTo>
                    <a:pt x="205040" y="449809"/>
                    <a:pt x="213199" y="471566"/>
                    <a:pt x="213199" y="493323"/>
                  </a:cubicBezTo>
                  <a:cubicBezTo>
                    <a:pt x="213199" y="517800"/>
                    <a:pt x="215919" y="539557"/>
                    <a:pt x="221358" y="561314"/>
                  </a:cubicBezTo>
                  <a:cubicBezTo>
                    <a:pt x="224077" y="572193"/>
                    <a:pt x="224077" y="580352"/>
                    <a:pt x="226797" y="591231"/>
                  </a:cubicBezTo>
                  <a:cubicBezTo>
                    <a:pt x="229517" y="599390"/>
                    <a:pt x="237676" y="607548"/>
                    <a:pt x="240395" y="618427"/>
                  </a:cubicBezTo>
                  <a:cubicBezTo>
                    <a:pt x="248554" y="637465"/>
                    <a:pt x="262153" y="651063"/>
                    <a:pt x="283910" y="651063"/>
                  </a:cubicBezTo>
                  <a:cubicBezTo>
                    <a:pt x="302948" y="651063"/>
                    <a:pt x="330144" y="629306"/>
                    <a:pt x="338303" y="612988"/>
                  </a:cubicBezTo>
                  <a:cubicBezTo>
                    <a:pt x="346462" y="599390"/>
                    <a:pt x="351901" y="591231"/>
                    <a:pt x="354621" y="577632"/>
                  </a:cubicBezTo>
                  <a:cubicBezTo>
                    <a:pt x="354621" y="550436"/>
                    <a:pt x="354621" y="517800"/>
                    <a:pt x="357341" y="509641"/>
                  </a:cubicBezTo>
                  <a:cubicBezTo>
                    <a:pt x="357341" y="501482"/>
                    <a:pt x="357341" y="490603"/>
                    <a:pt x="362780" y="485164"/>
                  </a:cubicBezTo>
                  <a:cubicBezTo>
                    <a:pt x="365500" y="482444"/>
                    <a:pt x="365500" y="479725"/>
                    <a:pt x="368219" y="474286"/>
                  </a:cubicBezTo>
                  <a:cubicBezTo>
                    <a:pt x="370939" y="471566"/>
                    <a:pt x="373659" y="468846"/>
                    <a:pt x="376378" y="468846"/>
                  </a:cubicBezTo>
                  <a:cubicBezTo>
                    <a:pt x="379098" y="468846"/>
                    <a:pt x="381818" y="471566"/>
                    <a:pt x="384537" y="474286"/>
                  </a:cubicBezTo>
                  <a:cubicBezTo>
                    <a:pt x="387257" y="479725"/>
                    <a:pt x="389977" y="487884"/>
                    <a:pt x="392696" y="493323"/>
                  </a:cubicBezTo>
                  <a:cubicBezTo>
                    <a:pt x="392696" y="501482"/>
                    <a:pt x="395416" y="539557"/>
                    <a:pt x="395416" y="558595"/>
                  </a:cubicBezTo>
                  <a:cubicBezTo>
                    <a:pt x="395416" y="583072"/>
                    <a:pt x="395416" y="610268"/>
                    <a:pt x="398136" y="618427"/>
                  </a:cubicBezTo>
                  <a:cubicBezTo>
                    <a:pt x="398136" y="648343"/>
                    <a:pt x="400855" y="659222"/>
                    <a:pt x="400855" y="678260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rgbClr val="666666"/>
                </a:solidFill>
              </a:endParaRPr>
            </a:p>
          </p:txBody>
        </p:sp>
        <p:sp>
          <p:nvSpPr>
            <p:cNvPr id="41" name="Freeform: Shape 40">
              <a:extLst>
                <a:ext uri="{FF2B5EF4-FFF2-40B4-BE49-F238E27FC236}">
                  <a16:creationId xmlns:a16="http://schemas.microsoft.com/office/drawing/2014/main" id="{DA4A0440-EB6E-4064-A01C-1781BC03A876}"/>
                </a:ext>
              </a:extLst>
            </p:cNvPr>
            <p:cNvSpPr/>
            <p:nvPr/>
          </p:nvSpPr>
          <p:spPr>
            <a:xfrm>
              <a:off x="3829459" y="4200317"/>
              <a:ext cx="598325" cy="761503"/>
            </a:xfrm>
            <a:custGeom>
              <a:avLst/>
              <a:gdLst>
                <a:gd name="connsiteX0" fmla="*/ 360060 w 598324"/>
                <a:gd name="connsiteY0" fmla="*/ 332863 h 761503"/>
                <a:gd name="connsiteX1" fmla="*/ 341023 w 598324"/>
                <a:gd name="connsiteY1" fmla="*/ 370939 h 761503"/>
                <a:gd name="connsiteX2" fmla="*/ 376378 w 598324"/>
                <a:gd name="connsiteY2" fmla="*/ 389976 h 761503"/>
                <a:gd name="connsiteX3" fmla="*/ 425332 w 598324"/>
                <a:gd name="connsiteY3" fmla="*/ 433491 h 761503"/>
                <a:gd name="connsiteX4" fmla="*/ 438930 w 598324"/>
                <a:gd name="connsiteY4" fmla="*/ 463407 h 761503"/>
                <a:gd name="connsiteX5" fmla="*/ 449809 w 598324"/>
                <a:gd name="connsiteY5" fmla="*/ 498762 h 761503"/>
                <a:gd name="connsiteX6" fmla="*/ 457968 w 598324"/>
                <a:gd name="connsiteY6" fmla="*/ 528679 h 761503"/>
                <a:gd name="connsiteX7" fmla="*/ 466127 w 598324"/>
                <a:gd name="connsiteY7" fmla="*/ 564034 h 761503"/>
                <a:gd name="connsiteX8" fmla="*/ 471566 w 598324"/>
                <a:gd name="connsiteY8" fmla="*/ 593950 h 761503"/>
                <a:gd name="connsiteX9" fmla="*/ 479725 w 598324"/>
                <a:gd name="connsiteY9" fmla="*/ 607548 h 761503"/>
                <a:gd name="connsiteX10" fmla="*/ 487884 w 598324"/>
                <a:gd name="connsiteY10" fmla="*/ 623867 h 761503"/>
                <a:gd name="connsiteX11" fmla="*/ 501482 w 598324"/>
                <a:gd name="connsiteY11" fmla="*/ 651063 h 761503"/>
                <a:gd name="connsiteX12" fmla="*/ 523240 w 598324"/>
                <a:gd name="connsiteY12" fmla="*/ 670101 h 761503"/>
                <a:gd name="connsiteX13" fmla="*/ 534119 w 598324"/>
                <a:gd name="connsiteY13" fmla="*/ 686418 h 761503"/>
                <a:gd name="connsiteX14" fmla="*/ 531399 w 598324"/>
                <a:gd name="connsiteY14" fmla="*/ 694578 h 761503"/>
                <a:gd name="connsiteX15" fmla="*/ 498763 w 598324"/>
                <a:gd name="connsiteY15" fmla="*/ 708176 h 761503"/>
                <a:gd name="connsiteX16" fmla="*/ 449809 w 598324"/>
                <a:gd name="connsiteY16" fmla="*/ 700017 h 761503"/>
                <a:gd name="connsiteX17" fmla="*/ 400855 w 598324"/>
                <a:gd name="connsiteY17" fmla="*/ 667381 h 761503"/>
                <a:gd name="connsiteX18" fmla="*/ 381817 w 598324"/>
                <a:gd name="connsiteY18" fmla="*/ 642904 h 761503"/>
                <a:gd name="connsiteX19" fmla="*/ 368219 w 598324"/>
                <a:gd name="connsiteY19" fmla="*/ 610268 h 761503"/>
                <a:gd name="connsiteX20" fmla="*/ 349182 w 598324"/>
                <a:gd name="connsiteY20" fmla="*/ 550436 h 761503"/>
                <a:gd name="connsiteX21" fmla="*/ 338303 w 598324"/>
                <a:gd name="connsiteY21" fmla="*/ 504202 h 761503"/>
                <a:gd name="connsiteX22" fmla="*/ 330144 w 598324"/>
                <a:gd name="connsiteY22" fmla="*/ 477005 h 761503"/>
                <a:gd name="connsiteX23" fmla="*/ 321985 w 598324"/>
                <a:gd name="connsiteY23" fmla="*/ 455248 h 761503"/>
                <a:gd name="connsiteX24" fmla="*/ 305667 w 598324"/>
                <a:gd name="connsiteY24" fmla="*/ 436210 h 761503"/>
                <a:gd name="connsiteX25" fmla="*/ 294788 w 598324"/>
                <a:gd name="connsiteY25" fmla="*/ 441650 h 761503"/>
                <a:gd name="connsiteX26" fmla="*/ 278471 w 598324"/>
                <a:gd name="connsiteY26" fmla="*/ 463407 h 761503"/>
                <a:gd name="connsiteX27" fmla="*/ 264872 w 598324"/>
                <a:gd name="connsiteY27" fmla="*/ 496043 h 761503"/>
                <a:gd name="connsiteX28" fmla="*/ 262153 w 598324"/>
                <a:gd name="connsiteY28" fmla="*/ 517800 h 761503"/>
                <a:gd name="connsiteX29" fmla="*/ 262153 w 598324"/>
                <a:gd name="connsiteY29" fmla="*/ 523239 h 761503"/>
                <a:gd name="connsiteX30" fmla="*/ 262153 w 598324"/>
                <a:gd name="connsiteY30" fmla="*/ 553155 h 761503"/>
                <a:gd name="connsiteX31" fmla="*/ 262153 w 598324"/>
                <a:gd name="connsiteY31" fmla="*/ 629306 h 761503"/>
                <a:gd name="connsiteX32" fmla="*/ 259433 w 598324"/>
                <a:gd name="connsiteY32" fmla="*/ 659222 h 761503"/>
                <a:gd name="connsiteX33" fmla="*/ 283910 w 598324"/>
                <a:gd name="connsiteY33" fmla="*/ 659222 h 761503"/>
                <a:gd name="connsiteX34" fmla="*/ 321985 w 598324"/>
                <a:gd name="connsiteY34" fmla="*/ 675540 h 761503"/>
                <a:gd name="connsiteX35" fmla="*/ 316546 w 598324"/>
                <a:gd name="connsiteY35" fmla="*/ 691858 h 761503"/>
                <a:gd name="connsiteX36" fmla="*/ 300228 w 598324"/>
                <a:gd name="connsiteY36" fmla="*/ 700017 h 761503"/>
                <a:gd name="connsiteX37" fmla="*/ 278471 w 598324"/>
                <a:gd name="connsiteY37" fmla="*/ 702736 h 761503"/>
                <a:gd name="connsiteX38" fmla="*/ 243115 w 598324"/>
                <a:gd name="connsiteY38" fmla="*/ 702736 h 761503"/>
                <a:gd name="connsiteX39" fmla="*/ 221358 w 598324"/>
                <a:gd name="connsiteY39" fmla="*/ 710895 h 761503"/>
                <a:gd name="connsiteX40" fmla="*/ 194161 w 598324"/>
                <a:gd name="connsiteY40" fmla="*/ 702736 h 761503"/>
                <a:gd name="connsiteX41" fmla="*/ 177843 w 598324"/>
                <a:gd name="connsiteY41" fmla="*/ 702736 h 761503"/>
                <a:gd name="connsiteX42" fmla="*/ 126170 w 598324"/>
                <a:gd name="connsiteY42" fmla="*/ 702736 h 761503"/>
                <a:gd name="connsiteX43" fmla="*/ 101693 w 598324"/>
                <a:gd name="connsiteY43" fmla="*/ 702736 h 761503"/>
                <a:gd name="connsiteX44" fmla="*/ 74496 w 598324"/>
                <a:gd name="connsiteY44" fmla="*/ 697297 h 761503"/>
                <a:gd name="connsiteX45" fmla="*/ 58178 w 598324"/>
                <a:gd name="connsiteY45" fmla="*/ 680979 h 761503"/>
                <a:gd name="connsiteX46" fmla="*/ 63617 w 598324"/>
                <a:gd name="connsiteY46" fmla="*/ 672820 h 761503"/>
                <a:gd name="connsiteX47" fmla="*/ 85375 w 598324"/>
                <a:gd name="connsiteY47" fmla="*/ 664661 h 761503"/>
                <a:gd name="connsiteX48" fmla="*/ 128889 w 598324"/>
                <a:gd name="connsiteY48" fmla="*/ 659222 h 761503"/>
                <a:gd name="connsiteX49" fmla="*/ 147927 w 598324"/>
                <a:gd name="connsiteY49" fmla="*/ 659222 h 761503"/>
                <a:gd name="connsiteX50" fmla="*/ 145207 w 598324"/>
                <a:gd name="connsiteY50" fmla="*/ 653783 h 761503"/>
                <a:gd name="connsiteX51" fmla="*/ 131609 w 598324"/>
                <a:gd name="connsiteY51" fmla="*/ 585791 h 761503"/>
                <a:gd name="connsiteX52" fmla="*/ 134329 w 598324"/>
                <a:gd name="connsiteY52" fmla="*/ 498762 h 761503"/>
                <a:gd name="connsiteX53" fmla="*/ 137048 w 598324"/>
                <a:gd name="connsiteY53" fmla="*/ 406294 h 761503"/>
                <a:gd name="connsiteX54" fmla="*/ 134329 w 598324"/>
                <a:gd name="connsiteY54" fmla="*/ 327424 h 761503"/>
                <a:gd name="connsiteX55" fmla="*/ 137048 w 598324"/>
                <a:gd name="connsiteY55" fmla="*/ 253993 h 761503"/>
                <a:gd name="connsiteX56" fmla="*/ 139768 w 598324"/>
                <a:gd name="connsiteY56" fmla="*/ 207759 h 761503"/>
                <a:gd name="connsiteX57" fmla="*/ 137048 w 598324"/>
                <a:gd name="connsiteY57" fmla="*/ 172404 h 761503"/>
                <a:gd name="connsiteX58" fmla="*/ 137048 w 598324"/>
                <a:gd name="connsiteY58" fmla="*/ 112571 h 761503"/>
                <a:gd name="connsiteX59" fmla="*/ 126170 w 598324"/>
                <a:gd name="connsiteY59" fmla="*/ 112571 h 761503"/>
                <a:gd name="connsiteX60" fmla="*/ 101693 w 598324"/>
                <a:gd name="connsiteY60" fmla="*/ 112571 h 761503"/>
                <a:gd name="connsiteX61" fmla="*/ 74496 w 598324"/>
                <a:gd name="connsiteY61" fmla="*/ 107132 h 761503"/>
                <a:gd name="connsiteX62" fmla="*/ 58178 w 598324"/>
                <a:gd name="connsiteY62" fmla="*/ 90814 h 761503"/>
                <a:gd name="connsiteX63" fmla="*/ 63617 w 598324"/>
                <a:gd name="connsiteY63" fmla="*/ 82655 h 761503"/>
                <a:gd name="connsiteX64" fmla="*/ 85375 w 598324"/>
                <a:gd name="connsiteY64" fmla="*/ 74496 h 761503"/>
                <a:gd name="connsiteX65" fmla="*/ 137048 w 598324"/>
                <a:gd name="connsiteY65" fmla="*/ 69057 h 761503"/>
                <a:gd name="connsiteX66" fmla="*/ 145207 w 598324"/>
                <a:gd name="connsiteY66" fmla="*/ 69057 h 761503"/>
                <a:gd name="connsiteX67" fmla="*/ 169684 w 598324"/>
                <a:gd name="connsiteY67" fmla="*/ 58178 h 761503"/>
                <a:gd name="connsiteX68" fmla="*/ 177843 w 598324"/>
                <a:gd name="connsiteY68" fmla="*/ 58178 h 761503"/>
                <a:gd name="connsiteX69" fmla="*/ 205040 w 598324"/>
                <a:gd name="connsiteY69" fmla="*/ 66337 h 761503"/>
                <a:gd name="connsiteX70" fmla="*/ 286629 w 598324"/>
                <a:gd name="connsiteY70" fmla="*/ 63617 h 761503"/>
                <a:gd name="connsiteX71" fmla="*/ 324705 w 598324"/>
                <a:gd name="connsiteY71" fmla="*/ 79936 h 761503"/>
                <a:gd name="connsiteX72" fmla="*/ 319265 w 598324"/>
                <a:gd name="connsiteY72" fmla="*/ 96253 h 761503"/>
                <a:gd name="connsiteX73" fmla="*/ 302948 w 598324"/>
                <a:gd name="connsiteY73" fmla="*/ 104412 h 761503"/>
                <a:gd name="connsiteX74" fmla="*/ 278471 w 598324"/>
                <a:gd name="connsiteY74" fmla="*/ 112571 h 761503"/>
                <a:gd name="connsiteX75" fmla="*/ 232236 w 598324"/>
                <a:gd name="connsiteY75" fmla="*/ 112571 h 761503"/>
                <a:gd name="connsiteX76" fmla="*/ 240395 w 598324"/>
                <a:gd name="connsiteY76" fmla="*/ 137048 h 761503"/>
                <a:gd name="connsiteX77" fmla="*/ 240395 w 598324"/>
                <a:gd name="connsiteY77" fmla="*/ 150647 h 761503"/>
                <a:gd name="connsiteX78" fmla="*/ 243115 w 598324"/>
                <a:gd name="connsiteY78" fmla="*/ 158805 h 761503"/>
                <a:gd name="connsiteX79" fmla="*/ 248554 w 598324"/>
                <a:gd name="connsiteY79" fmla="*/ 188722 h 761503"/>
                <a:gd name="connsiteX80" fmla="*/ 248554 w 598324"/>
                <a:gd name="connsiteY80" fmla="*/ 199600 h 761503"/>
                <a:gd name="connsiteX81" fmla="*/ 248554 w 598324"/>
                <a:gd name="connsiteY81" fmla="*/ 221357 h 761503"/>
                <a:gd name="connsiteX82" fmla="*/ 253994 w 598324"/>
                <a:gd name="connsiteY82" fmla="*/ 264872 h 761503"/>
                <a:gd name="connsiteX83" fmla="*/ 262153 w 598324"/>
                <a:gd name="connsiteY83" fmla="*/ 297508 h 761503"/>
                <a:gd name="connsiteX84" fmla="*/ 264872 w 598324"/>
                <a:gd name="connsiteY84" fmla="*/ 324704 h 761503"/>
                <a:gd name="connsiteX85" fmla="*/ 264872 w 598324"/>
                <a:gd name="connsiteY85" fmla="*/ 332863 h 761503"/>
                <a:gd name="connsiteX86" fmla="*/ 264872 w 598324"/>
                <a:gd name="connsiteY86" fmla="*/ 351901 h 761503"/>
                <a:gd name="connsiteX87" fmla="*/ 262153 w 598324"/>
                <a:gd name="connsiteY87" fmla="*/ 370939 h 761503"/>
                <a:gd name="connsiteX88" fmla="*/ 267592 w 598324"/>
                <a:gd name="connsiteY88" fmla="*/ 384537 h 761503"/>
                <a:gd name="connsiteX89" fmla="*/ 278471 w 598324"/>
                <a:gd name="connsiteY89" fmla="*/ 370939 h 761503"/>
                <a:gd name="connsiteX90" fmla="*/ 297508 w 598324"/>
                <a:gd name="connsiteY90" fmla="*/ 332863 h 761503"/>
                <a:gd name="connsiteX91" fmla="*/ 311106 w 598324"/>
                <a:gd name="connsiteY91" fmla="*/ 305667 h 761503"/>
                <a:gd name="connsiteX92" fmla="*/ 335583 w 598324"/>
                <a:gd name="connsiteY92" fmla="*/ 259433 h 761503"/>
                <a:gd name="connsiteX93" fmla="*/ 354621 w 598324"/>
                <a:gd name="connsiteY93" fmla="*/ 224077 h 761503"/>
                <a:gd name="connsiteX94" fmla="*/ 381817 w 598324"/>
                <a:gd name="connsiteY94" fmla="*/ 172404 h 761503"/>
                <a:gd name="connsiteX95" fmla="*/ 409014 w 598324"/>
                <a:gd name="connsiteY95" fmla="*/ 118011 h 761503"/>
                <a:gd name="connsiteX96" fmla="*/ 411734 w 598324"/>
                <a:gd name="connsiteY96" fmla="*/ 115291 h 761503"/>
                <a:gd name="connsiteX97" fmla="*/ 398136 w 598324"/>
                <a:gd name="connsiteY97" fmla="*/ 115291 h 761503"/>
                <a:gd name="connsiteX98" fmla="*/ 379098 w 598324"/>
                <a:gd name="connsiteY98" fmla="*/ 109852 h 761503"/>
                <a:gd name="connsiteX99" fmla="*/ 368219 w 598324"/>
                <a:gd name="connsiteY99" fmla="*/ 93534 h 761503"/>
                <a:gd name="connsiteX100" fmla="*/ 370939 w 598324"/>
                <a:gd name="connsiteY100" fmla="*/ 85375 h 761503"/>
                <a:gd name="connsiteX101" fmla="*/ 387257 w 598324"/>
                <a:gd name="connsiteY101" fmla="*/ 77216 h 761503"/>
                <a:gd name="connsiteX102" fmla="*/ 422612 w 598324"/>
                <a:gd name="connsiteY102" fmla="*/ 71776 h 761503"/>
                <a:gd name="connsiteX103" fmla="*/ 436211 w 598324"/>
                <a:gd name="connsiteY103" fmla="*/ 71776 h 761503"/>
                <a:gd name="connsiteX104" fmla="*/ 438930 w 598324"/>
                <a:gd name="connsiteY104" fmla="*/ 69057 h 761503"/>
                <a:gd name="connsiteX105" fmla="*/ 452529 w 598324"/>
                <a:gd name="connsiteY105" fmla="*/ 66337 h 761503"/>
                <a:gd name="connsiteX106" fmla="*/ 466127 w 598324"/>
                <a:gd name="connsiteY106" fmla="*/ 69057 h 761503"/>
                <a:gd name="connsiteX107" fmla="*/ 471566 w 598324"/>
                <a:gd name="connsiteY107" fmla="*/ 71776 h 761503"/>
                <a:gd name="connsiteX108" fmla="*/ 515081 w 598324"/>
                <a:gd name="connsiteY108" fmla="*/ 71776 h 761503"/>
                <a:gd name="connsiteX109" fmla="*/ 542277 w 598324"/>
                <a:gd name="connsiteY109" fmla="*/ 88094 h 761503"/>
                <a:gd name="connsiteX110" fmla="*/ 536838 w 598324"/>
                <a:gd name="connsiteY110" fmla="*/ 104412 h 761503"/>
                <a:gd name="connsiteX111" fmla="*/ 525959 w 598324"/>
                <a:gd name="connsiteY111" fmla="*/ 112571 h 761503"/>
                <a:gd name="connsiteX112" fmla="*/ 509642 w 598324"/>
                <a:gd name="connsiteY112" fmla="*/ 115291 h 761503"/>
                <a:gd name="connsiteX113" fmla="*/ 468847 w 598324"/>
                <a:gd name="connsiteY113" fmla="*/ 115291 h 761503"/>
                <a:gd name="connsiteX114" fmla="*/ 457968 w 598324"/>
                <a:gd name="connsiteY114" fmla="*/ 137048 h 761503"/>
                <a:gd name="connsiteX115" fmla="*/ 430771 w 598324"/>
                <a:gd name="connsiteY115" fmla="*/ 194161 h 761503"/>
                <a:gd name="connsiteX116" fmla="*/ 400855 w 598324"/>
                <a:gd name="connsiteY116" fmla="*/ 262152 h 761503"/>
                <a:gd name="connsiteX117" fmla="*/ 360060 w 598324"/>
                <a:gd name="connsiteY117" fmla="*/ 332863 h 761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</a:cxnLst>
              <a:rect l="l" t="t" r="r" b="b"/>
              <a:pathLst>
                <a:path w="598324" h="761503">
                  <a:moveTo>
                    <a:pt x="360060" y="332863"/>
                  </a:moveTo>
                  <a:cubicBezTo>
                    <a:pt x="351901" y="343742"/>
                    <a:pt x="341023" y="357340"/>
                    <a:pt x="341023" y="370939"/>
                  </a:cubicBezTo>
                  <a:cubicBezTo>
                    <a:pt x="341023" y="379098"/>
                    <a:pt x="357341" y="381817"/>
                    <a:pt x="376378" y="389976"/>
                  </a:cubicBezTo>
                  <a:cubicBezTo>
                    <a:pt x="395416" y="398135"/>
                    <a:pt x="417173" y="417173"/>
                    <a:pt x="425332" y="433491"/>
                  </a:cubicBezTo>
                  <a:cubicBezTo>
                    <a:pt x="430771" y="444369"/>
                    <a:pt x="436211" y="452528"/>
                    <a:pt x="438930" y="463407"/>
                  </a:cubicBezTo>
                  <a:cubicBezTo>
                    <a:pt x="444370" y="474286"/>
                    <a:pt x="447089" y="487884"/>
                    <a:pt x="449809" y="498762"/>
                  </a:cubicBezTo>
                  <a:cubicBezTo>
                    <a:pt x="452529" y="512361"/>
                    <a:pt x="452529" y="517800"/>
                    <a:pt x="457968" y="528679"/>
                  </a:cubicBezTo>
                  <a:cubicBezTo>
                    <a:pt x="463407" y="539557"/>
                    <a:pt x="463407" y="553155"/>
                    <a:pt x="466127" y="564034"/>
                  </a:cubicBezTo>
                  <a:cubicBezTo>
                    <a:pt x="468847" y="572193"/>
                    <a:pt x="468847" y="585791"/>
                    <a:pt x="471566" y="593950"/>
                  </a:cubicBezTo>
                  <a:cubicBezTo>
                    <a:pt x="474286" y="599390"/>
                    <a:pt x="477006" y="602109"/>
                    <a:pt x="479725" y="607548"/>
                  </a:cubicBezTo>
                  <a:cubicBezTo>
                    <a:pt x="482445" y="612988"/>
                    <a:pt x="487884" y="618427"/>
                    <a:pt x="487884" y="623867"/>
                  </a:cubicBezTo>
                  <a:cubicBezTo>
                    <a:pt x="490604" y="634745"/>
                    <a:pt x="496043" y="642904"/>
                    <a:pt x="501482" y="651063"/>
                  </a:cubicBezTo>
                  <a:cubicBezTo>
                    <a:pt x="506922" y="661942"/>
                    <a:pt x="512361" y="664661"/>
                    <a:pt x="523240" y="670101"/>
                  </a:cubicBezTo>
                  <a:cubicBezTo>
                    <a:pt x="528679" y="672820"/>
                    <a:pt x="534119" y="680979"/>
                    <a:pt x="534119" y="686418"/>
                  </a:cubicBezTo>
                  <a:cubicBezTo>
                    <a:pt x="534119" y="689138"/>
                    <a:pt x="534119" y="691858"/>
                    <a:pt x="531399" y="694578"/>
                  </a:cubicBezTo>
                  <a:cubicBezTo>
                    <a:pt x="525959" y="702736"/>
                    <a:pt x="512361" y="708176"/>
                    <a:pt x="498763" y="708176"/>
                  </a:cubicBezTo>
                  <a:cubicBezTo>
                    <a:pt x="485165" y="708176"/>
                    <a:pt x="466127" y="705456"/>
                    <a:pt x="449809" y="700017"/>
                  </a:cubicBezTo>
                  <a:cubicBezTo>
                    <a:pt x="430771" y="694578"/>
                    <a:pt x="409014" y="675540"/>
                    <a:pt x="400855" y="667381"/>
                  </a:cubicBezTo>
                  <a:cubicBezTo>
                    <a:pt x="392696" y="659222"/>
                    <a:pt x="387257" y="651063"/>
                    <a:pt x="381817" y="642904"/>
                  </a:cubicBezTo>
                  <a:cubicBezTo>
                    <a:pt x="376378" y="632025"/>
                    <a:pt x="370939" y="623867"/>
                    <a:pt x="368219" y="610268"/>
                  </a:cubicBezTo>
                  <a:cubicBezTo>
                    <a:pt x="360060" y="588511"/>
                    <a:pt x="357341" y="574913"/>
                    <a:pt x="349182" y="550436"/>
                  </a:cubicBezTo>
                  <a:cubicBezTo>
                    <a:pt x="343742" y="534118"/>
                    <a:pt x="341023" y="520520"/>
                    <a:pt x="338303" y="504202"/>
                  </a:cubicBezTo>
                  <a:cubicBezTo>
                    <a:pt x="335583" y="493323"/>
                    <a:pt x="332864" y="485164"/>
                    <a:pt x="330144" y="477005"/>
                  </a:cubicBezTo>
                  <a:cubicBezTo>
                    <a:pt x="327424" y="471566"/>
                    <a:pt x="324705" y="463407"/>
                    <a:pt x="321985" y="455248"/>
                  </a:cubicBezTo>
                  <a:cubicBezTo>
                    <a:pt x="316546" y="444369"/>
                    <a:pt x="311106" y="436210"/>
                    <a:pt x="305667" y="436210"/>
                  </a:cubicBezTo>
                  <a:cubicBezTo>
                    <a:pt x="302948" y="436210"/>
                    <a:pt x="300228" y="438930"/>
                    <a:pt x="294788" y="441650"/>
                  </a:cubicBezTo>
                  <a:cubicBezTo>
                    <a:pt x="289349" y="447089"/>
                    <a:pt x="283910" y="455248"/>
                    <a:pt x="278471" y="463407"/>
                  </a:cubicBezTo>
                  <a:cubicBezTo>
                    <a:pt x="270312" y="474286"/>
                    <a:pt x="267592" y="485164"/>
                    <a:pt x="264872" y="496043"/>
                  </a:cubicBezTo>
                  <a:cubicBezTo>
                    <a:pt x="264872" y="504202"/>
                    <a:pt x="262153" y="512361"/>
                    <a:pt x="262153" y="517800"/>
                  </a:cubicBezTo>
                  <a:cubicBezTo>
                    <a:pt x="262153" y="520520"/>
                    <a:pt x="262153" y="520520"/>
                    <a:pt x="262153" y="523239"/>
                  </a:cubicBezTo>
                  <a:cubicBezTo>
                    <a:pt x="262153" y="528679"/>
                    <a:pt x="262153" y="544997"/>
                    <a:pt x="262153" y="553155"/>
                  </a:cubicBezTo>
                  <a:cubicBezTo>
                    <a:pt x="262153" y="583072"/>
                    <a:pt x="264872" y="599390"/>
                    <a:pt x="262153" y="629306"/>
                  </a:cubicBezTo>
                  <a:cubicBezTo>
                    <a:pt x="262153" y="640184"/>
                    <a:pt x="262153" y="648343"/>
                    <a:pt x="259433" y="659222"/>
                  </a:cubicBezTo>
                  <a:cubicBezTo>
                    <a:pt x="270312" y="659222"/>
                    <a:pt x="278471" y="659222"/>
                    <a:pt x="283910" y="659222"/>
                  </a:cubicBezTo>
                  <a:cubicBezTo>
                    <a:pt x="297508" y="659222"/>
                    <a:pt x="321985" y="659222"/>
                    <a:pt x="321985" y="675540"/>
                  </a:cubicBezTo>
                  <a:cubicBezTo>
                    <a:pt x="321985" y="683699"/>
                    <a:pt x="319265" y="686418"/>
                    <a:pt x="316546" y="691858"/>
                  </a:cubicBezTo>
                  <a:cubicBezTo>
                    <a:pt x="311106" y="697297"/>
                    <a:pt x="305667" y="700017"/>
                    <a:pt x="300228" y="700017"/>
                  </a:cubicBezTo>
                  <a:cubicBezTo>
                    <a:pt x="292069" y="702736"/>
                    <a:pt x="283910" y="702736"/>
                    <a:pt x="278471" y="702736"/>
                  </a:cubicBezTo>
                  <a:cubicBezTo>
                    <a:pt x="275751" y="702736"/>
                    <a:pt x="259433" y="702736"/>
                    <a:pt x="243115" y="702736"/>
                  </a:cubicBezTo>
                  <a:cubicBezTo>
                    <a:pt x="237676" y="708176"/>
                    <a:pt x="229517" y="710895"/>
                    <a:pt x="221358" y="710895"/>
                  </a:cubicBezTo>
                  <a:cubicBezTo>
                    <a:pt x="213199" y="710895"/>
                    <a:pt x="202320" y="708176"/>
                    <a:pt x="194161" y="702736"/>
                  </a:cubicBezTo>
                  <a:cubicBezTo>
                    <a:pt x="186002" y="702736"/>
                    <a:pt x="180563" y="702736"/>
                    <a:pt x="177843" y="702736"/>
                  </a:cubicBezTo>
                  <a:cubicBezTo>
                    <a:pt x="164245" y="702736"/>
                    <a:pt x="139768" y="702736"/>
                    <a:pt x="126170" y="702736"/>
                  </a:cubicBezTo>
                  <a:cubicBezTo>
                    <a:pt x="118011" y="702736"/>
                    <a:pt x="109852" y="702736"/>
                    <a:pt x="101693" y="702736"/>
                  </a:cubicBezTo>
                  <a:cubicBezTo>
                    <a:pt x="93534" y="702736"/>
                    <a:pt x="82655" y="702736"/>
                    <a:pt x="74496" y="697297"/>
                  </a:cubicBezTo>
                  <a:cubicBezTo>
                    <a:pt x="66337" y="694578"/>
                    <a:pt x="58178" y="686418"/>
                    <a:pt x="58178" y="680979"/>
                  </a:cubicBezTo>
                  <a:cubicBezTo>
                    <a:pt x="58178" y="678260"/>
                    <a:pt x="58178" y="675540"/>
                    <a:pt x="63617" y="672820"/>
                  </a:cubicBezTo>
                  <a:cubicBezTo>
                    <a:pt x="69057" y="670101"/>
                    <a:pt x="79935" y="667381"/>
                    <a:pt x="85375" y="664661"/>
                  </a:cubicBezTo>
                  <a:cubicBezTo>
                    <a:pt x="104412" y="661942"/>
                    <a:pt x="123450" y="659222"/>
                    <a:pt x="128889" y="659222"/>
                  </a:cubicBezTo>
                  <a:cubicBezTo>
                    <a:pt x="134329" y="659222"/>
                    <a:pt x="139768" y="659222"/>
                    <a:pt x="147927" y="659222"/>
                  </a:cubicBezTo>
                  <a:cubicBezTo>
                    <a:pt x="147927" y="656502"/>
                    <a:pt x="145207" y="653783"/>
                    <a:pt x="145207" y="653783"/>
                  </a:cubicBezTo>
                  <a:cubicBezTo>
                    <a:pt x="131609" y="632025"/>
                    <a:pt x="131609" y="610268"/>
                    <a:pt x="131609" y="585791"/>
                  </a:cubicBezTo>
                  <a:cubicBezTo>
                    <a:pt x="131609" y="555875"/>
                    <a:pt x="131609" y="528679"/>
                    <a:pt x="134329" y="498762"/>
                  </a:cubicBezTo>
                  <a:cubicBezTo>
                    <a:pt x="134329" y="468846"/>
                    <a:pt x="137048" y="436210"/>
                    <a:pt x="137048" y="406294"/>
                  </a:cubicBezTo>
                  <a:cubicBezTo>
                    <a:pt x="137048" y="379098"/>
                    <a:pt x="134329" y="354621"/>
                    <a:pt x="134329" y="327424"/>
                  </a:cubicBezTo>
                  <a:cubicBezTo>
                    <a:pt x="134329" y="302947"/>
                    <a:pt x="137048" y="278470"/>
                    <a:pt x="137048" y="253993"/>
                  </a:cubicBezTo>
                  <a:cubicBezTo>
                    <a:pt x="137048" y="237675"/>
                    <a:pt x="139768" y="224077"/>
                    <a:pt x="139768" y="207759"/>
                  </a:cubicBezTo>
                  <a:cubicBezTo>
                    <a:pt x="139768" y="196881"/>
                    <a:pt x="137048" y="183282"/>
                    <a:pt x="137048" y="172404"/>
                  </a:cubicBezTo>
                  <a:cubicBezTo>
                    <a:pt x="137048" y="150647"/>
                    <a:pt x="137048" y="131609"/>
                    <a:pt x="137048" y="112571"/>
                  </a:cubicBezTo>
                  <a:cubicBezTo>
                    <a:pt x="134329" y="112571"/>
                    <a:pt x="137048" y="112571"/>
                    <a:pt x="126170" y="112571"/>
                  </a:cubicBezTo>
                  <a:cubicBezTo>
                    <a:pt x="118011" y="112571"/>
                    <a:pt x="109852" y="112571"/>
                    <a:pt x="101693" y="112571"/>
                  </a:cubicBezTo>
                  <a:cubicBezTo>
                    <a:pt x="93534" y="112571"/>
                    <a:pt x="82655" y="109852"/>
                    <a:pt x="74496" y="107132"/>
                  </a:cubicBezTo>
                  <a:cubicBezTo>
                    <a:pt x="66337" y="104412"/>
                    <a:pt x="58178" y="96253"/>
                    <a:pt x="58178" y="90814"/>
                  </a:cubicBezTo>
                  <a:cubicBezTo>
                    <a:pt x="58178" y="88094"/>
                    <a:pt x="58178" y="85375"/>
                    <a:pt x="63617" y="82655"/>
                  </a:cubicBezTo>
                  <a:cubicBezTo>
                    <a:pt x="69057" y="79936"/>
                    <a:pt x="79935" y="77216"/>
                    <a:pt x="85375" y="74496"/>
                  </a:cubicBezTo>
                  <a:cubicBezTo>
                    <a:pt x="104412" y="71776"/>
                    <a:pt x="128889" y="69057"/>
                    <a:pt x="137048" y="69057"/>
                  </a:cubicBezTo>
                  <a:cubicBezTo>
                    <a:pt x="137048" y="69057"/>
                    <a:pt x="139768" y="69057"/>
                    <a:pt x="145207" y="69057"/>
                  </a:cubicBezTo>
                  <a:cubicBezTo>
                    <a:pt x="150646" y="60898"/>
                    <a:pt x="158806" y="58178"/>
                    <a:pt x="169684" y="58178"/>
                  </a:cubicBezTo>
                  <a:cubicBezTo>
                    <a:pt x="172404" y="58178"/>
                    <a:pt x="175123" y="58178"/>
                    <a:pt x="177843" y="58178"/>
                  </a:cubicBezTo>
                  <a:cubicBezTo>
                    <a:pt x="186002" y="58178"/>
                    <a:pt x="196881" y="63617"/>
                    <a:pt x="205040" y="66337"/>
                  </a:cubicBezTo>
                  <a:cubicBezTo>
                    <a:pt x="237676" y="66337"/>
                    <a:pt x="273031" y="63617"/>
                    <a:pt x="286629" y="63617"/>
                  </a:cubicBezTo>
                  <a:cubicBezTo>
                    <a:pt x="300228" y="63617"/>
                    <a:pt x="324705" y="63617"/>
                    <a:pt x="324705" y="79936"/>
                  </a:cubicBezTo>
                  <a:cubicBezTo>
                    <a:pt x="324705" y="88094"/>
                    <a:pt x="321985" y="90814"/>
                    <a:pt x="319265" y="96253"/>
                  </a:cubicBezTo>
                  <a:cubicBezTo>
                    <a:pt x="313826" y="101693"/>
                    <a:pt x="308387" y="104412"/>
                    <a:pt x="302948" y="104412"/>
                  </a:cubicBezTo>
                  <a:cubicBezTo>
                    <a:pt x="289349" y="112571"/>
                    <a:pt x="283910" y="112571"/>
                    <a:pt x="278471" y="112571"/>
                  </a:cubicBezTo>
                  <a:cubicBezTo>
                    <a:pt x="273031" y="112571"/>
                    <a:pt x="253994" y="112571"/>
                    <a:pt x="232236" y="112571"/>
                  </a:cubicBezTo>
                  <a:cubicBezTo>
                    <a:pt x="237676" y="120730"/>
                    <a:pt x="240395" y="128889"/>
                    <a:pt x="240395" y="137048"/>
                  </a:cubicBezTo>
                  <a:cubicBezTo>
                    <a:pt x="240395" y="142487"/>
                    <a:pt x="240395" y="145207"/>
                    <a:pt x="240395" y="150647"/>
                  </a:cubicBezTo>
                  <a:cubicBezTo>
                    <a:pt x="240395" y="153366"/>
                    <a:pt x="240395" y="156086"/>
                    <a:pt x="243115" y="158805"/>
                  </a:cubicBezTo>
                  <a:cubicBezTo>
                    <a:pt x="245835" y="169684"/>
                    <a:pt x="245835" y="180563"/>
                    <a:pt x="248554" y="188722"/>
                  </a:cubicBezTo>
                  <a:cubicBezTo>
                    <a:pt x="248554" y="191441"/>
                    <a:pt x="248554" y="194161"/>
                    <a:pt x="248554" y="199600"/>
                  </a:cubicBezTo>
                  <a:cubicBezTo>
                    <a:pt x="248554" y="207759"/>
                    <a:pt x="248554" y="213198"/>
                    <a:pt x="248554" y="221357"/>
                  </a:cubicBezTo>
                  <a:cubicBezTo>
                    <a:pt x="248554" y="234956"/>
                    <a:pt x="251274" y="248554"/>
                    <a:pt x="253994" y="264872"/>
                  </a:cubicBezTo>
                  <a:cubicBezTo>
                    <a:pt x="256713" y="275751"/>
                    <a:pt x="259433" y="286629"/>
                    <a:pt x="262153" y="297508"/>
                  </a:cubicBezTo>
                  <a:cubicBezTo>
                    <a:pt x="264872" y="305667"/>
                    <a:pt x="264872" y="313826"/>
                    <a:pt x="264872" y="324704"/>
                  </a:cubicBezTo>
                  <a:cubicBezTo>
                    <a:pt x="264872" y="327424"/>
                    <a:pt x="264872" y="330144"/>
                    <a:pt x="264872" y="332863"/>
                  </a:cubicBezTo>
                  <a:cubicBezTo>
                    <a:pt x="264872" y="338303"/>
                    <a:pt x="264872" y="346462"/>
                    <a:pt x="264872" y="351901"/>
                  </a:cubicBezTo>
                  <a:cubicBezTo>
                    <a:pt x="264872" y="357340"/>
                    <a:pt x="262153" y="365499"/>
                    <a:pt x="262153" y="370939"/>
                  </a:cubicBezTo>
                  <a:cubicBezTo>
                    <a:pt x="262153" y="376378"/>
                    <a:pt x="264872" y="384537"/>
                    <a:pt x="267592" y="384537"/>
                  </a:cubicBezTo>
                  <a:cubicBezTo>
                    <a:pt x="273031" y="384537"/>
                    <a:pt x="275751" y="376378"/>
                    <a:pt x="278471" y="370939"/>
                  </a:cubicBezTo>
                  <a:cubicBezTo>
                    <a:pt x="283910" y="360060"/>
                    <a:pt x="289349" y="346462"/>
                    <a:pt x="297508" y="332863"/>
                  </a:cubicBezTo>
                  <a:cubicBezTo>
                    <a:pt x="302948" y="324704"/>
                    <a:pt x="305667" y="313826"/>
                    <a:pt x="311106" y="305667"/>
                  </a:cubicBezTo>
                  <a:cubicBezTo>
                    <a:pt x="319265" y="289349"/>
                    <a:pt x="327424" y="275751"/>
                    <a:pt x="335583" y="259433"/>
                  </a:cubicBezTo>
                  <a:cubicBezTo>
                    <a:pt x="341023" y="248554"/>
                    <a:pt x="349182" y="234956"/>
                    <a:pt x="354621" y="224077"/>
                  </a:cubicBezTo>
                  <a:cubicBezTo>
                    <a:pt x="362780" y="207759"/>
                    <a:pt x="370939" y="191441"/>
                    <a:pt x="381817" y="172404"/>
                  </a:cubicBezTo>
                  <a:cubicBezTo>
                    <a:pt x="389977" y="153366"/>
                    <a:pt x="400855" y="134329"/>
                    <a:pt x="409014" y="118011"/>
                  </a:cubicBezTo>
                  <a:cubicBezTo>
                    <a:pt x="409014" y="115291"/>
                    <a:pt x="409014" y="115291"/>
                    <a:pt x="411734" y="115291"/>
                  </a:cubicBezTo>
                  <a:cubicBezTo>
                    <a:pt x="406294" y="115291"/>
                    <a:pt x="400855" y="115291"/>
                    <a:pt x="398136" y="115291"/>
                  </a:cubicBezTo>
                  <a:cubicBezTo>
                    <a:pt x="392696" y="115291"/>
                    <a:pt x="384537" y="115291"/>
                    <a:pt x="379098" y="109852"/>
                  </a:cubicBezTo>
                  <a:cubicBezTo>
                    <a:pt x="373659" y="107132"/>
                    <a:pt x="368219" y="98973"/>
                    <a:pt x="368219" y="93534"/>
                  </a:cubicBezTo>
                  <a:cubicBezTo>
                    <a:pt x="368219" y="90814"/>
                    <a:pt x="368219" y="88094"/>
                    <a:pt x="370939" y="85375"/>
                  </a:cubicBezTo>
                  <a:cubicBezTo>
                    <a:pt x="373659" y="82655"/>
                    <a:pt x="381817" y="79936"/>
                    <a:pt x="387257" y="77216"/>
                  </a:cubicBezTo>
                  <a:cubicBezTo>
                    <a:pt x="400855" y="74496"/>
                    <a:pt x="414453" y="71776"/>
                    <a:pt x="422612" y="71776"/>
                  </a:cubicBezTo>
                  <a:cubicBezTo>
                    <a:pt x="425332" y="71776"/>
                    <a:pt x="430771" y="71776"/>
                    <a:pt x="436211" y="71776"/>
                  </a:cubicBezTo>
                  <a:cubicBezTo>
                    <a:pt x="436211" y="71776"/>
                    <a:pt x="438930" y="69057"/>
                    <a:pt x="438930" y="69057"/>
                  </a:cubicBezTo>
                  <a:cubicBezTo>
                    <a:pt x="444370" y="66337"/>
                    <a:pt x="447089" y="66337"/>
                    <a:pt x="452529" y="66337"/>
                  </a:cubicBezTo>
                  <a:cubicBezTo>
                    <a:pt x="457968" y="66337"/>
                    <a:pt x="460688" y="66337"/>
                    <a:pt x="466127" y="69057"/>
                  </a:cubicBezTo>
                  <a:cubicBezTo>
                    <a:pt x="468847" y="69057"/>
                    <a:pt x="471566" y="71776"/>
                    <a:pt x="471566" y="71776"/>
                  </a:cubicBezTo>
                  <a:cubicBezTo>
                    <a:pt x="490604" y="71776"/>
                    <a:pt x="506922" y="71776"/>
                    <a:pt x="515081" y="71776"/>
                  </a:cubicBezTo>
                  <a:cubicBezTo>
                    <a:pt x="523240" y="71776"/>
                    <a:pt x="542277" y="71776"/>
                    <a:pt x="542277" y="88094"/>
                  </a:cubicBezTo>
                  <a:cubicBezTo>
                    <a:pt x="542277" y="96253"/>
                    <a:pt x="542277" y="98973"/>
                    <a:pt x="536838" y="104412"/>
                  </a:cubicBezTo>
                  <a:cubicBezTo>
                    <a:pt x="534119" y="109852"/>
                    <a:pt x="528679" y="112571"/>
                    <a:pt x="525959" y="112571"/>
                  </a:cubicBezTo>
                  <a:cubicBezTo>
                    <a:pt x="520520" y="115291"/>
                    <a:pt x="515081" y="115291"/>
                    <a:pt x="509642" y="115291"/>
                  </a:cubicBezTo>
                  <a:cubicBezTo>
                    <a:pt x="506922" y="115291"/>
                    <a:pt x="487884" y="115291"/>
                    <a:pt x="468847" y="115291"/>
                  </a:cubicBezTo>
                  <a:cubicBezTo>
                    <a:pt x="466127" y="123450"/>
                    <a:pt x="460688" y="128889"/>
                    <a:pt x="457968" y="137048"/>
                  </a:cubicBezTo>
                  <a:cubicBezTo>
                    <a:pt x="447089" y="156086"/>
                    <a:pt x="438930" y="175123"/>
                    <a:pt x="430771" y="194161"/>
                  </a:cubicBezTo>
                  <a:cubicBezTo>
                    <a:pt x="419893" y="215918"/>
                    <a:pt x="411734" y="240395"/>
                    <a:pt x="400855" y="262152"/>
                  </a:cubicBezTo>
                  <a:cubicBezTo>
                    <a:pt x="387257" y="289349"/>
                    <a:pt x="373659" y="311106"/>
                    <a:pt x="360060" y="332863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rgbClr val="666666"/>
                </a:solidFill>
              </a:endParaRPr>
            </a:p>
          </p:txBody>
        </p:sp>
        <p:sp>
          <p:nvSpPr>
            <p:cNvPr id="42" name="Freeform: Shape 41">
              <a:extLst>
                <a:ext uri="{FF2B5EF4-FFF2-40B4-BE49-F238E27FC236}">
                  <a16:creationId xmlns:a16="http://schemas.microsoft.com/office/drawing/2014/main" id="{49007CFA-4CB6-4475-8DC1-AE2D8D316015}"/>
                </a:ext>
              </a:extLst>
            </p:cNvPr>
            <p:cNvSpPr/>
            <p:nvPr/>
          </p:nvSpPr>
          <p:spPr>
            <a:xfrm>
              <a:off x="4335316" y="4186718"/>
              <a:ext cx="353556" cy="761503"/>
            </a:xfrm>
            <a:custGeom>
              <a:avLst/>
              <a:gdLst>
                <a:gd name="connsiteX0" fmla="*/ 283910 w 353555"/>
                <a:gd name="connsiteY0" fmla="*/ 672820 h 761503"/>
                <a:gd name="connsiteX1" fmla="*/ 321985 w 353555"/>
                <a:gd name="connsiteY1" fmla="*/ 689138 h 761503"/>
                <a:gd name="connsiteX2" fmla="*/ 316546 w 353555"/>
                <a:gd name="connsiteY2" fmla="*/ 705456 h 761503"/>
                <a:gd name="connsiteX3" fmla="*/ 300228 w 353555"/>
                <a:gd name="connsiteY3" fmla="*/ 713615 h 761503"/>
                <a:gd name="connsiteX4" fmla="*/ 278471 w 353555"/>
                <a:gd name="connsiteY4" fmla="*/ 716335 h 761503"/>
                <a:gd name="connsiteX5" fmla="*/ 237676 w 353555"/>
                <a:gd name="connsiteY5" fmla="*/ 716335 h 761503"/>
                <a:gd name="connsiteX6" fmla="*/ 180563 w 353555"/>
                <a:gd name="connsiteY6" fmla="*/ 719054 h 761503"/>
                <a:gd name="connsiteX7" fmla="*/ 126170 w 353555"/>
                <a:gd name="connsiteY7" fmla="*/ 719054 h 761503"/>
                <a:gd name="connsiteX8" fmla="*/ 101693 w 353555"/>
                <a:gd name="connsiteY8" fmla="*/ 719054 h 761503"/>
                <a:gd name="connsiteX9" fmla="*/ 74496 w 353555"/>
                <a:gd name="connsiteY9" fmla="*/ 713615 h 761503"/>
                <a:gd name="connsiteX10" fmla="*/ 58178 w 353555"/>
                <a:gd name="connsiteY10" fmla="*/ 697297 h 761503"/>
                <a:gd name="connsiteX11" fmla="*/ 63617 w 353555"/>
                <a:gd name="connsiteY11" fmla="*/ 689138 h 761503"/>
                <a:gd name="connsiteX12" fmla="*/ 85375 w 353555"/>
                <a:gd name="connsiteY12" fmla="*/ 680979 h 761503"/>
                <a:gd name="connsiteX13" fmla="*/ 131609 w 353555"/>
                <a:gd name="connsiteY13" fmla="*/ 675540 h 761503"/>
                <a:gd name="connsiteX14" fmla="*/ 142488 w 353555"/>
                <a:gd name="connsiteY14" fmla="*/ 675540 h 761503"/>
                <a:gd name="connsiteX15" fmla="*/ 131609 w 353555"/>
                <a:gd name="connsiteY15" fmla="*/ 653783 h 761503"/>
                <a:gd name="connsiteX16" fmla="*/ 128889 w 353555"/>
                <a:gd name="connsiteY16" fmla="*/ 640184 h 761503"/>
                <a:gd name="connsiteX17" fmla="*/ 128889 w 353555"/>
                <a:gd name="connsiteY17" fmla="*/ 629306 h 761503"/>
                <a:gd name="connsiteX18" fmla="*/ 128889 w 353555"/>
                <a:gd name="connsiteY18" fmla="*/ 621147 h 761503"/>
                <a:gd name="connsiteX19" fmla="*/ 128889 w 353555"/>
                <a:gd name="connsiteY19" fmla="*/ 593950 h 761503"/>
                <a:gd name="connsiteX20" fmla="*/ 128889 w 353555"/>
                <a:gd name="connsiteY20" fmla="*/ 583072 h 761503"/>
                <a:gd name="connsiteX21" fmla="*/ 128889 w 353555"/>
                <a:gd name="connsiteY21" fmla="*/ 436210 h 761503"/>
                <a:gd name="connsiteX22" fmla="*/ 128889 w 353555"/>
                <a:gd name="connsiteY22" fmla="*/ 357340 h 761503"/>
                <a:gd name="connsiteX23" fmla="*/ 131609 w 353555"/>
                <a:gd name="connsiteY23" fmla="*/ 289349 h 761503"/>
                <a:gd name="connsiteX24" fmla="*/ 131609 w 353555"/>
                <a:gd name="connsiteY24" fmla="*/ 251274 h 761503"/>
                <a:gd name="connsiteX25" fmla="*/ 131609 w 353555"/>
                <a:gd name="connsiteY25" fmla="*/ 205040 h 761503"/>
                <a:gd name="connsiteX26" fmla="*/ 131609 w 353555"/>
                <a:gd name="connsiteY26" fmla="*/ 139768 h 761503"/>
                <a:gd name="connsiteX27" fmla="*/ 131609 w 353555"/>
                <a:gd name="connsiteY27" fmla="*/ 128889 h 761503"/>
                <a:gd name="connsiteX28" fmla="*/ 126170 w 353555"/>
                <a:gd name="connsiteY28" fmla="*/ 128889 h 761503"/>
                <a:gd name="connsiteX29" fmla="*/ 101693 w 353555"/>
                <a:gd name="connsiteY29" fmla="*/ 128889 h 761503"/>
                <a:gd name="connsiteX30" fmla="*/ 74496 w 353555"/>
                <a:gd name="connsiteY30" fmla="*/ 123450 h 761503"/>
                <a:gd name="connsiteX31" fmla="*/ 58178 w 353555"/>
                <a:gd name="connsiteY31" fmla="*/ 107132 h 761503"/>
                <a:gd name="connsiteX32" fmla="*/ 60898 w 353555"/>
                <a:gd name="connsiteY32" fmla="*/ 98973 h 761503"/>
                <a:gd name="connsiteX33" fmla="*/ 82655 w 353555"/>
                <a:gd name="connsiteY33" fmla="*/ 93534 h 761503"/>
                <a:gd name="connsiteX34" fmla="*/ 131609 w 353555"/>
                <a:gd name="connsiteY34" fmla="*/ 88094 h 761503"/>
                <a:gd name="connsiteX35" fmla="*/ 131609 w 353555"/>
                <a:gd name="connsiteY35" fmla="*/ 82655 h 761503"/>
                <a:gd name="connsiteX36" fmla="*/ 134329 w 353555"/>
                <a:gd name="connsiteY36" fmla="*/ 71776 h 761503"/>
                <a:gd name="connsiteX37" fmla="*/ 147927 w 353555"/>
                <a:gd name="connsiteY37" fmla="*/ 63617 h 761503"/>
                <a:gd name="connsiteX38" fmla="*/ 164245 w 353555"/>
                <a:gd name="connsiteY38" fmla="*/ 58178 h 761503"/>
                <a:gd name="connsiteX39" fmla="*/ 177843 w 353555"/>
                <a:gd name="connsiteY39" fmla="*/ 58178 h 761503"/>
                <a:gd name="connsiteX40" fmla="*/ 196881 w 353555"/>
                <a:gd name="connsiteY40" fmla="*/ 60898 h 761503"/>
                <a:gd name="connsiteX41" fmla="*/ 232236 w 353555"/>
                <a:gd name="connsiteY41" fmla="*/ 88094 h 761503"/>
                <a:gd name="connsiteX42" fmla="*/ 278471 w 353555"/>
                <a:gd name="connsiteY42" fmla="*/ 88094 h 761503"/>
                <a:gd name="connsiteX43" fmla="*/ 316546 w 353555"/>
                <a:gd name="connsiteY43" fmla="*/ 104412 h 761503"/>
                <a:gd name="connsiteX44" fmla="*/ 311106 w 353555"/>
                <a:gd name="connsiteY44" fmla="*/ 120730 h 761503"/>
                <a:gd name="connsiteX45" fmla="*/ 294788 w 353555"/>
                <a:gd name="connsiteY45" fmla="*/ 128889 h 761503"/>
                <a:gd name="connsiteX46" fmla="*/ 273031 w 353555"/>
                <a:gd name="connsiteY46" fmla="*/ 131609 h 761503"/>
                <a:gd name="connsiteX47" fmla="*/ 243115 w 353555"/>
                <a:gd name="connsiteY47" fmla="*/ 131609 h 761503"/>
                <a:gd name="connsiteX48" fmla="*/ 243115 w 353555"/>
                <a:gd name="connsiteY48" fmla="*/ 134329 h 761503"/>
                <a:gd name="connsiteX49" fmla="*/ 248554 w 353555"/>
                <a:gd name="connsiteY49" fmla="*/ 169684 h 761503"/>
                <a:gd name="connsiteX50" fmla="*/ 251274 w 353555"/>
                <a:gd name="connsiteY50" fmla="*/ 205040 h 761503"/>
                <a:gd name="connsiteX51" fmla="*/ 251274 w 353555"/>
                <a:gd name="connsiteY51" fmla="*/ 240395 h 761503"/>
                <a:gd name="connsiteX52" fmla="*/ 251274 w 353555"/>
                <a:gd name="connsiteY52" fmla="*/ 256713 h 761503"/>
                <a:gd name="connsiteX53" fmla="*/ 253994 w 353555"/>
                <a:gd name="connsiteY53" fmla="*/ 270311 h 761503"/>
                <a:gd name="connsiteX54" fmla="*/ 259433 w 353555"/>
                <a:gd name="connsiteY54" fmla="*/ 343742 h 761503"/>
                <a:gd name="connsiteX55" fmla="*/ 262153 w 353555"/>
                <a:gd name="connsiteY55" fmla="*/ 425332 h 761503"/>
                <a:gd name="connsiteX56" fmla="*/ 264872 w 353555"/>
                <a:gd name="connsiteY56" fmla="*/ 490603 h 761503"/>
                <a:gd name="connsiteX57" fmla="*/ 270312 w 353555"/>
                <a:gd name="connsiteY57" fmla="*/ 564034 h 761503"/>
                <a:gd name="connsiteX58" fmla="*/ 270312 w 353555"/>
                <a:gd name="connsiteY58" fmla="*/ 599390 h 761503"/>
                <a:gd name="connsiteX59" fmla="*/ 270312 w 353555"/>
                <a:gd name="connsiteY59" fmla="*/ 637465 h 761503"/>
                <a:gd name="connsiteX60" fmla="*/ 264872 w 353555"/>
                <a:gd name="connsiteY60" fmla="*/ 670101 h 761503"/>
                <a:gd name="connsiteX61" fmla="*/ 283910 w 353555"/>
                <a:gd name="connsiteY61" fmla="*/ 672820 h 761503"/>
                <a:gd name="connsiteX62" fmla="*/ 283910 w 353555"/>
                <a:gd name="connsiteY62" fmla="*/ 672820 h 761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</a:cxnLst>
              <a:rect l="l" t="t" r="r" b="b"/>
              <a:pathLst>
                <a:path w="353555" h="761503">
                  <a:moveTo>
                    <a:pt x="283910" y="672820"/>
                  </a:moveTo>
                  <a:cubicBezTo>
                    <a:pt x="297508" y="672820"/>
                    <a:pt x="321985" y="672820"/>
                    <a:pt x="321985" y="689138"/>
                  </a:cubicBezTo>
                  <a:cubicBezTo>
                    <a:pt x="321985" y="697297"/>
                    <a:pt x="319265" y="697297"/>
                    <a:pt x="316546" y="705456"/>
                  </a:cubicBezTo>
                  <a:cubicBezTo>
                    <a:pt x="311106" y="710895"/>
                    <a:pt x="305667" y="713615"/>
                    <a:pt x="300228" y="713615"/>
                  </a:cubicBezTo>
                  <a:cubicBezTo>
                    <a:pt x="292069" y="716335"/>
                    <a:pt x="283910" y="716335"/>
                    <a:pt x="278471" y="716335"/>
                  </a:cubicBezTo>
                  <a:cubicBezTo>
                    <a:pt x="275751" y="716335"/>
                    <a:pt x="256713" y="716335"/>
                    <a:pt x="237676" y="716335"/>
                  </a:cubicBezTo>
                  <a:cubicBezTo>
                    <a:pt x="213199" y="716335"/>
                    <a:pt x="186002" y="719054"/>
                    <a:pt x="180563" y="719054"/>
                  </a:cubicBezTo>
                  <a:cubicBezTo>
                    <a:pt x="166965" y="719054"/>
                    <a:pt x="142488" y="719054"/>
                    <a:pt x="126170" y="719054"/>
                  </a:cubicBezTo>
                  <a:cubicBezTo>
                    <a:pt x="118011" y="719054"/>
                    <a:pt x="109852" y="719054"/>
                    <a:pt x="101693" y="719054"/>
                  </a:cubicBezTo>
                  <a:cubicBezTo>
                    <a:pt x="93534" y="719054"/>
                    <a:pt x="82655" y="719054"/>
                    <a:pt x="74496" y="713615"/>
                  </a:cubicBezTo>
                  <a:cubicBezTo>
                    <a:pt x="66337" y="710895"/>
                    <a:pt x="58178" y="702736"/>
                    <a:pt x="58178" y="697297"/>
                  </a:cubicBezTo>
                  <a:cubicBezTo>
                    <a:pt x="58178" y="694578"/>
                    <a:pt x="58178" y="691858"/>
                    <a:pt x="63617" y="689138"/>
                  </a:cubicBezTo>
                  <a:cubicBezTo>
                    <a:pt x="69057" y="686418"/>
                    <a:pt x="79935" y="683699"/>
                    <a:pt x="85375" y="680979"/>
                  </a:cubicBezTo>
                  <a:cubicBezTo>
                    <a:pt x="104412" y="678260"/>
                    <a:pt x="123450" y="675540"/>
                    <a:pt x="131609" y="675540"/>
                  </a:cubicBezTo>
                  <a:cubicBezTo>
                    <a:pt x="134329" y="675540"/>
                    <a:pt x="137048" y="675540"/>
                    <a:pt x="142488" y="675540"/>
                  </a:cubicBezTo>
                  <a:cubicBezTo>
                    <a:pt x="134329" y="670101"/>
                    <a:pt x="131609" y="661942"/>
                    <a:pt x="131609" y="653783"/>
                  </a:cubicBezTo>
                  <a:cubicBezTo>
                    <a:pt x="131609" y="648343"/>
                    <a:pt x="131609" y="642904"/>
                    <a:pt x="128889" y="640184"/>
                  </a:cubicBezTo>
                  <a:cubicBezTo>
                    <a:pt x="128889" y="637465"/>
                    <a:pt x="128889" y="634745"/>
                    <a:pt x="128889" y="629306"/>
                  </a:cubicBezTo>
                  <a:cubicBezTo>
                    <a:pt x="128889" y="626586"/>
                    <a:pt x="128889" y="623867"/>
                    <a:pt x="128889" y="621147"/>
                  </a:cubicBezTo>
                  <a:cubicBezTo>
                    <a:pt x="128889" y="612988"/>
                    <a:pt x="128889" y="604829"/>
                    <a:pt x="128889" y="593950"/>
                  </a:cubicBezTo>
                  <a:cubicBezTo>
                    <a:pt x="128889" y="591231"/>
                    <a:pt x="128889" y="585791"/>
                    <a:pt x="128889" y="583072"/>
                  </a:cubicBezTo>
                  <a:cubicBezTo>
                    <a:pt x="128889" y="534118"/>
                    <a:pt x="131609" y="485164"/>
                    <a:pt x="128889" y="436210"/>
                  </a:cubicBezTo>
                  <a:cubicBezTo>
                    <a:pt x="128889" y="409014"/>
                    <a:pt x="128889" y="384537"/>
                    <a:pt x="128889" y="357340"/>
                  </a:cubicBezTo>
                  <a:cubicBezTo>
                    <a:pt x="128889" y="335583"/>
                    <a:pt x="131609" y="313826"/>
                    <a:pt x="131609" y="289349"/>
                  </a:cubicBezTo>
                  <a:cubicBezTo>
                    <a:pt x="131609" y="275751"/>
                    <a:pt x="131609" y="264872"/>
                    <a:pt x="131609" y="251274"/>
                  </a:cubicBezTo>
                  <a:cubicBezTo>
                    <a:pt x="131609" y="234956"/>
                    <a:pt x="131609" y="221357"/>
                    <a:pt x="131609" y="205040"/>
                  </a:cubicBezTo>
                  <a:cubicBezTo>
                    <a:pt x="131609" y="183282"/>
                    <a:pt x="131609" y="161525"/>
                    <a:pt x="131609" y="139768"/>
                  </a:cubicBezTo>
                  <a:cubicBezTo>
                    <a:pt x="131609" y="137048"/>
                    <a:pt x="131609" y="134329"/>
                    <a:pt x="131609" y="128889"/>
                  </a:cubicBezTo>
                  <a:cubicBezTo>
                    <a:pt x="128889" y="128889"/>
                    <a:pt x="126170" y="128889"/>
                    <a:pt x="126170" y="128889"/>
                  </a:cubicBezTo>
                  <a:cubicBezTo>
                    <a:pt x="118011" y="128889"/>
                    <a:pt x="109852" y="128889"/>
                    <a:pt x="101693" y="128889"/>
                  </a:cubicBezTo>
                  <a:cubicBezTo>
                    <a:pt x="93534" y="128889"/>
                    <a:pt x="82655" y="128889"/>
                    <a:pt x="74496" y="123450"/>
                  </a:cubicBezTo>
                  <a:cubicBezTo>
                    <a:pt x="66337" y="120730"/>
                    <a:pt x="58178" y="112571"/>
                    <a:pt x="58178" y="107132"/>
                  </a:cubicBezTo>
                  <a:cubicBezTo>
                    <a:pt x="58178" y="104412"/>
                    <a:pt x="58178" y="101693"/>
                    <a:pt x="60898" y="98973"/>
                  </a:cubicBezTo>
                  <a:cubicBezTo>
                    <a:pt x="63617" y="96253"/>
                    <a:pt x="77216" y="93534"/>
                    <a:pt x="82655" y="93534"/>
                  </a:cubicBezTo>
                  <a:cubicBezTo>
                    <a:pt x="98973" y="90814"/>
                    <a:pt x="123450" y="88094"/>
                    <a:pt x="131609" y="88094"/>
                  </a:cubicBezTo>
                  <a:cubicBezTo>
                    <a:pt x="131609" y="85375"/>
                    <a:pt x="131609" y="85375"/>
                    <a:pt x="131609" y="82655"/>
                  </a:cubicBezTo>
                  <a:cubicBezTo>
                    <a:pt x="131609" y="77216"/>
                    <a:pt x="131609" y="74496"/>
                    <a:pt x="134329" y="71776"/>
                  </a:cubicBezTo>
                  <a:cubicBezTo>
                    <a:pt x="137048" y="69057"/>
                    <a:pt x="145207" y="66337"/>
                    <a:pt x="147927" y="63617"/>
                  </a:cubicBezTo>
                  <a:cubicBezTo>
                    <a:pt x="153366" y="60898"/>
                    <a:pt x="158806" y="58178"/>
                    <a:pt x="164245" y="58178"/>
                  </a:cubicBezTo>
                  <a:cubicBezTo>
                    <a:pt x="169684" y="58178"/>
                    <a:pt x="175123" y="58178"/>
                    <a:pt x="177843" y="58178"/>
                  </a:cubicBezTo>
                  <a:cubicBezTo>
                    <a:pt x="183283" y="58178"/>
                    <a:pt x="191442" y="58178"/>
                    <a:pt x="196881" y="60898"/>
                  </a:cubicBezTo>
                  <a:cubicBezTo>
                    <a:pt x="213199" y="63617"/>
                    <a:pt x="224077" y="74496"/>
                    <a:pt x="232236" y="88094"/>
                  </a:cubicBezTo>
                  <a:cubicBezTo>
                    <a:pt x="253994" y="88094"/>
                    <a:pt x="270312" y="88094"/>
                    <a:pt x="278471" y="88094"/>
                  </a:cubicBezTo>
                  <a:cubicBezTo>
                    <a:pt x="292069" y="88094"/>
                    <a:pt x="316546" y="88094"/>
                    <a:pt x="316546" y="104412"/>
                  </a:cubicBezTo>
                  <a:cubicBezTo>
                    <a:pt x="316546" y="112571"/>
                    <a:pt x="313826" y="112571"/>
                    <a:pt x="311106" y="120730"/>
                  </a:cubicBezTo>
                  <a:cubicBezTo>
                    <a:pt x="305667" y="126170"/>
                    <a:pt x="300228" y="128889"/>
                    <a:pt x="294788" y="128889"/>
                  </a:cubicBezTo>
                  <a:cubicBezTo>
                    <a:pt x="286630" y="131609"/>
                    <a:pt x="278471" y="131609"/>
                    <a:pt x="273031" y="131609"/>
                  </a:cubicBezTo>
                  <a:cubicBezTo>
                    <a:pt x="270312" y="131609"/>
                    <a:pt x="259433" y="131609"/>
                    <a:pt x="243115" y="131609"/>
                  </a:cubicBezTo>
                  <a:lnTo>
                    <a:pt x="243115" y="134329"/>
                  </a:lnTo>
                  <a:cubicBezTo>
                    <a:pt x="245835" y="145207"/>
                    <a:pt x="245835" y="158805"/>
                    <a:pt x="248554" y="169684"/>
                  </a:cubicBezTo>
                  <a:cubicBezTo>
                    <a:pt x="251274" y="180563"/>
                    <a:pt x="251274" y="194161"/>
                    <a:pt x="251274" y="205040"/>
                  </a:cubicBezTo>
                  <a:cubicBezTo>
                    <a:pt x="251274" y="215918"/>
                    <a:pt x="251274" y="226797"/>
                    <a:pt x="251274" y="240395"/>
                  </a:cubicBezTo>
                  <a:cubicBezTo>
                    <a:pt x="251274" y="245834"/>
                    <a:pt x="251274" y="251274"/>
                    <a:pt x="251274" y="256713"/>
                  </a:cubicBezTo>
                  <a:cubicBezTo>
                    <a:pt x="251274" y="262152"/>
                    <a:pt x="251274" y="267592"/>
                    <a:pt x="253994" y="270311"/>
                  </a:cubicBezTo>
                  <a:cubicBezTo>
                    <a:pt x="256713" y="294788"/>
                    <a:pt x="256713" y="319265"/>
                    <a:pt x="259433" y="343742"/>
                  </a:cubicBezTo>
                  <a:cubicBezTo>
                    <a:pt x="259433" y="370939"/>
                    <a:pt x="262153" y="398135"/>
                    <a:pt x="262153" y="425332"/>
                  </a:cubicBezTo>
                  <a:cubicBezTo>
                    <a:pt x="262153" y="447089"/>
                    <a:pt x="262153" y="468846"/>
                    <a:pt x="264872" y="490603"/>
                  </a:cubicBezTo>
                  <a:cubicBezTo>
                    <a:pt x="264872" y="515080"/>
                    <a:pt x="270312" y="539557"/>
                    <a:pt x="270312" y="564034"/>
                  </a:cubicBezTo>
                  <a:cubicBezTo>
                    <a:pt x="270312" y="574913"/>
                    <a:pt x="270312" y="588511"/>
                    <a:pt x="270312" y="599390"/>
                  </a:cubicBezTo>
                  <a:cubicBezTo>
                    <a:pt x="270312" y="612988"/>
                    <a:pt x="270312" y="623867"/>
                    <a:pt x="270312" y="637465"/>
                  </a:cubicBezTo>
                  <a:cubicBezTo>
                    <a:pt x="270312" y="648343"/>
                    <a:pt x="270312" y="661942"/>
                    <a:pt x="264872" y="670101"/>
                  </a:cubicBezTo>
                  <a:cubicBezTo>
                    <a:pt x="273031" y="672820"/>
                    <a:pt x="278471" y="672820"/>
                    <a:pt x="283910" y="672820"/>
                  </a:cubicBezTo>
                  <a:lnTo>
                    <a:pt x="283910" y="672820"/>
                  </a:ln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rgbClr val="666666"/>
                </a:solidFill>
              </a:endParaRPr>
            </a:p>
          </p:txBody>
        </p:sp>
        <p:sp>
          <p:nvSpPr>
            <p:cNvPr id="43" name="Freeform: Shape 42">
              <a:extLst>
                <a:ext uri="{FF2B5EF4-FFF2-40B4-BE49-F238E27FC236}">
                  <a16:creationId xmlns:a16="http://schemas.microsoft.com/office/drawing/2014/main" id="{862B4178-3CD4-4F75-9B25-C23D707C377A}"/>
                </a:ext>
              </a:extLst>
            </p:cNvPr>
            <p:cNvSpPr/>
            <p:nvPr/>
          </p:nvSpPr>
          <p:spPr>
            <a:xfrm>
              <a:off x="4620880" y="4194877"/>
              <a:ext cx="598325" cy="761503"/>
            </a:xfrm>
            <a:custGeom>
              <a:avLst/>
              <a:gdLst>
                <a:gd name="connsiteX0" fmla="*/ 515081 w 598324"/>
                <a:gd name="connsiteY0" fmla="*/ 79935 h 761503"/>
                <a:gd name="connsiteX1" fmla="*/ 542277 w 598324"/>
                <a:gd name="connsiteY1" fmla="*/ 96253 h 761503"/>
                <a:gd name="connsiteX2" fmla="*/ 536838 w 598324"/>
                <a:gd name="connsiteY2" fmla="*/ 112571 h 761503"/>
                <a:gd name="connsiteX3" fmla="*/ 523240 w 598324"/>
                <a:gd name="connsiteY3" fmla="*/ 120730 h 761503"/>
                <a:gd name="connsiteX4" fmla="*/ 506922 w 598324"/>
                <a:gd name="connsiteY4" fmla="*/ 123450 h 761503"/>
                <a:gd name="connsiteX5" fmla="*/ 477006 w 598324"/>
                <a:gd name="connsiteY5" fmla="*/ 123450 h 761503"/>
                <a:gd name="connsiteX6" fmla="*/ 479725 w 598324"/>
                <a:gd name="connsiteY6" fmla="*/ 145207 h 761503"/>
                <a:gd name="connsiteX7" fmla="*/ 477006 w 598324"/>
                <a:gd name="connsiteY7" fmla="*/ 180563 h 761503"/>
                <a:gd name="connsiteX8" fmla="*/ 482445 w 598324"/>
                <a:gd name="connsiteY8" fmla="*/ 232236 h 761503"/>
                <a:gd name="connsiteX9" fmla="*/ 485165 w 598324"/>
                <a:gd name="connsiteY9" fmla="*/ 283909 h 761503"/>
                <a:gd name="connsiteX10" fmla="*/ 485165 w 598324"/>
                <a:gd name="connsiteY10" fmla="*/ 327424 h 761503"/>
                <a:gd name="connsiteX11" fmla="*/ 487884 w 598324"/>
                <a:gd name="connsiteY11" fmla="*/ 373658 h 761503"/>
                <a:gd name="connsiteX12" fmla="*/ 485165 w 598324"/>
                <a:gd name="connsiteY12" fmla="*/ 419892 h 761503"/>
                <a:gd name="connsiteX13" fmla="*/ 485165 w 598324"/>
                <a:gd name="connsiteY13" fmla="*/ 463407 h 761503"/>
                <a:gd name="connsiteX14" fmla="*/ 482445 w 598324"/>
                <a:gd name="connsiteY14" fmla="*/ 515080 h 761503"/>
                <a:gd name="connsiteX15" fmla="*/ 482445 w 598324"/>
                <a:gd name="connsiteY15" fmla="*/ 558595 h 761503"/>
                <a:gd name="connsiteX16" fmla="*/ 479725 w 598324"/>
                <a:gd name="connsiteY16" fmla="*/ 602109 h 761503"/>
                <a:gd name="connsiteX17" fmla="*/ 485165 w 598324"/>
                <a:gd name="connsiteY17" fmla="*/ 648343 h 761503"/>
                <a:gd name="connsiteX18" fmla="*/ 474286 w 598324"/>
                <a:gd name="connsiteY18" fmla="*/ 675540 h 761503"/>
                <a:gd name="connsiteX19" fmla="*/ 428052 w 598324"/>
                <a:gd name="connsiteY19" fmla="*/ 691858 h 761503"/>
                <a:gd name="connsiteX20" fmla="*/ 387257 w 598324"/>
                <a:gd name="connsiteY20" fmla="*/ 683699 h 761503"/>
                <a:gd name="connsiteX21" fmla="*/ 351901 w 598324"/>
                <a:gd name="connsiteY21" fmla="*/ 664661 h 761503"/>
                <a:gd name="connsiteX22" fmla="*/ 305667 w 598324"/>
                <a:gd name="connsiteY22" fmla="*/ 596670 h 761503"/>
                <a:gd name="connsiteX23" fmla="*/ 270312 w 598324"/>
                <a:gd name="connsiteY23" fmla="*/ 509641 h 761503"/>
                <a:gd name="connsiteX24" fmla="*/ 251274 w 598324"/>
                <a:gd name="connsiteY24" fmla="*/ 460687 h 761503"/>
                <a:gd name="connsiteX25" fmla="*/ 224077 w 598324"/>
                <a:gd name="connsiteY25" fmla="*/ 381817 h 761503"/>
                <a:gd name="connsiteX26" fmla="*/ 207759 w 598324"/>
                <a:gd name="connsiteY26" fmla="*/ 330144 h 761503"/>
                <a:gd name="connsiteX27" fmla="*/ 191442 w 598324"/>
                <a:gd name="connsiteY27" fmla="*/ 286629 h 761503"/>
                <a:gd name="connsiteX28" fmla="*/ 183283 w 598324"/>
                <a:gd name="connsiteY28" fmla="*/ 278470 h 761503"/>
                <a:gd name="connsiteX29" fmla="*/ 180563 w 598324"/>
                <a:gd name="connsiteY29" fmla="*/ 292068 h 761503"/>
                <a:gd name="connsiteX30" fmla="*/ 180563 w 598324"/>
                <a:gd name="connsiteY30" fmla="*/ 305667 h 761503"/>
                <a:gd name="connsiteX31" fmla="*/ 183283 w 598324"/>
                <a:gd name="connsiteY31" fmla="*/ 354620 h 761503"/>
                <a:gd name="connsiteX32" fmla="*/ 188722 w 598324"/>
                <a:gd name="connsiteY32" fmla="*/ 449808 h 761503"/>
                <a:gd name="connsiteX33" fmla="*/ 188722 w 598324"/>
                <a:gd name="connsiteY33" fmla="*/ 479725 h 761503"/>
                <a:gd name="connsiteX34" fmla="*/ 188722 w 598324"/>
                <a:gd name="connsiteY34" fmla="*/ 542277 h 761503"/>
                <a:gd name="connsiteX35" fmla="*/ 186002 w 598324"/>
                <a:gd name="connsiteY35" fmla="*/ 615708 h 761503"/>
                <a:gd name="connsiteX36" fmla="*/ 186002 w 598324"/>
                <a:gd name="connsiteY36" fmla="*/ 637465 h 761503"/>
                <a:gd name="connsiteX37" fmla="*/ 183283 w 598324"/>
                <a:gd name="connsiteY37" fmla="*/ 664661 h 761503"/>
                <a:gd name="connsiteX38" fmla="*/ 226797 w 598324"/>
                <a:gd name="connsiteY38" fmla="*/ 664661 h 761503"/>
                <a:gd name="connsiteX39" fmla="*/ 253994 w 598324"/>
                <a:gd name="connsiteY39" fmla="*/ 680979 h 761503"/>
                <a:gd name="connsiteX40" fmla="*/ 248554 w 598324"/>
                <a:gd name="connsiteY40" fmla="*/ 697297 h 761503"/>
                <a:gd name="connsiteX41" fmla="*/ 234956 w 598324"/>
                <a:gd name="connsiteY41" fmla="*/ 705456 h 761503"/>
                <a:gd name="connsiteX42" fmla="*/ 218638 w 598324"/>
                <a:gd name="connsiteY42" fmla="*/ 708176 h 761503"/>
                <a:gd name="connsiteX43" fmla="*/ 183283 w 598324"/>
                <a:gd name="connsiteY43" fmla="*/ 708176 h 761503"/>
                <a:gd name="connsiteX44" fmla="*/ 150647 w 598324"/>
                <a:gd name="connsiteY44" fmla="*/ 708176 h 761503"/>
                <a:gd name="connsiteX45" fmla="*/ 107132 w 598324"/>
                <a:gd name="connsiteY45" fmla="*/ 708176 h 761503"/>
                <a:gd name="connsiteX46" fmla="*/ 88094 w 598324"/>
                <a:gd name="connsiteY46" fmla="*/ 708176 h 761503"/>
                <a:gd name="connsiteX47" fmla="*/ 69057 w 598324"/>
                <a:gd name="connsiteY47" fmla="*/ 702736 h 761503"/>
                <a:gd name="connsiteX48" fmla="*/ 58178 w 598324"/>
                <a:gd name="connsiteY48" fmla="*/ 686418 h 761503"/>
                <a:gd name="connsiteX49" fmla="*/ 60898 w 598324"/>
                <a:gd name="connsiteY49" fmla="*/ 678259 h 761503"/>
                <a:gd name="connsiteX50" fmla="*/ 77216 w 598324"/>
                <a:gd name="connsiteY50" fmla="*/ 670101 h 761503"/>
                <a:gd name="connsiteX51" fmla="*/ 120730 w 598324"/>
                <a:gd name="connsiteY51" fmla="*/ 664661 h 761503"/>
                <a:gd name="connsiteX52" fmla="*/ 131609 w 598324"/>
                <a:gd name="connsiteY52" fmla="*/ 664661 h 761503"/>
                <a:gd name="connsiteX53" fmla="*/ 134329 w 598324"/>
                <a:gd name="connsiteY53" fmla="*/ 539557 h 761503"/>
                <a:gd name="connsiteX54" fmla="*/ 134329 w 598324"/>
                <a:gd name="connsiteY54" fmla="*/ 504201 h 761503"/>
                <a:gd name="connsiteX55" fmla="*/ 131609 w 598324"/>
                <a:gd name="connsiteY55" fmla="*/ 376378 h 761503"/>
                <a:gd name="connsiteX56" fmla="*/ 131609 w 598324"/>
                <a:gd name="connsiteY56" fmla="*/ 302947 h 761503"/>
                <a:gd name="connsiteX57" fmla="*/ 134329 w 598324"/>
                <a:gd name="connsiteY57" fmla="*/ 221357 h 761503"/>
                <a:gd name="connsiteX58" fmla="*/ 137048 w 598324"/>
                <a:gd name="connsiteY58" fmla="*/ 123450 h 761503"/>
                <a:gd name="connsiteX59" fmla="*/ 107132 w 598324"/>
                <a:gd name="connsiteY59" fmla="*/ 123450 h 761503"/>
                <a:gd name="connsiteX60" fmla="*/ 88094 w 598324"/>
                <a:gd name="connsiteY60" fmla="*/ 123450 h 761503"/>
                <a:gd name="connsiteX61" fmla="*/ 69057 w 598324"/>
                <a:gd name="connsiteY61" fmla="*/ 118011 h 761503"/>
                <a:gd name="connsiteX62" fmla="*/ 58178 w 598324"/>
                <a:gd name="connsiteY62" fmla="*/ 101693 h 761503"/>
                <a:gd name="connsiteX63" fmla="*/ 60898 w 598324"/>
                <a:gd name="connsiteY63" fmla="*/ 93534 h 761503"/>
                <a:gd name="connsiteX64" fmla="*/ 77216 w 598324"/>
                <a:gd name="connsiteY64" fmla="*/ 85375 h 761503"/>
                <a:gd name="connsiteX65" fmla="*/ 131609 w 598324"/>
                <a:gd name="connsiteY65" fmla="*/ 79935 h 761503"/>
                <a:gd name="connsiteX66" fmla="*/ 161525 w 598324"/>
                <a:gd name="connsiteY66" fmla="*/ 79935 h 761503"/>
                <a:gd name="connsiteX67" fmla="*/ 177843 w 598324"/>
                <a:gd name="connsiteY67" fmla="*/ 66337 h 761503"/>
                <a:gd name="connsiteX68" fmla="*/ 202320 w 598324"/>
                <a:gd name="connsiteY68" fmla="*/ 58178 h 761503"/>
                <a:gd name="connsiteX69" fmla="*/ 234956 w 598324"/>
                <a:gd name="connsiteY69" fmla="*/ 77216 h 761503"/>
                <a:gd name="connsiteX70" fmla="*/ 251274 w 598324"/>
                <a:gd name="connsiteY70" fmla="*/ 107132 h 761503"/>
                <a:gd name="connsiteX71" fmla="*/ 267592 w 598324"/>
                <a:gd name="connsiteY71" fmla="*/ 147927 h 761503"/>
                <a:gd name="connsiteX72" fmla="*/ 281190 w 598324"/>
                <a:gd name="connsiteY72" fmla="*/ 183282 h 761503"/>
                <a:gd name="connsiteX73" fmla="*/ 297508 w 598324"/>
                <a:gd name="connsiteY73" fmla="*/ 224077 h 761503"/>
                <a:gd name="connsiteX74" fmla="*/ 308387 w 598324"/>
                <a:gd name="connsiteY74" fmla="*/ 264872 h 761503"/>
                <a:gd name="connsiteX75" fmla="*/ 319265 w 598324"/>
                <a:gd name="connsiteY75" fmla="*/ 300227 h 761503"/>
                <a:gd name="connsiteX76" fmla="*/ 351901 w 598324"/>
                <a:gd name="connsiteY76" fmla="*/ 379097 h 761503"/>
                <a:gd name="connsiteX77" fmla="*/ 365500 w 598324"/>
                <a:gd name="connsiteY77" fmla="*/ 417173 h 761503"/>
                <a:gd name="connsiteX78" fmla="*/ 379098 w 598324"/>
                <a:gd name="connsiteY78" fmla="*/ 457967 h 761503"/>
                <a:gd name="connsiteX79" fmla="*/ 395416 w 598324"/>
                <a:gd name="connsiteY79" fmla="*/ 496043 h 761503"/>
                <a:gd name="connsiteX80" fmla="*/ 406294 w 598324"/>
                <a:gd name="connsiteY80" fmla="*/ 512361 h 761503"/>
                <a:gd name="connsiteX81" fmla="*/ 411734 w 598324"/>
                <a:gd name="connsiteY81" fmla="*/ 531398 h 761503"/>
                <a:gd name="connsiteX82" fmla="*/ 419893 w 598324"/>
                <a:gd name="connsiteY82" fmla="*/ 558595 h 761503"/>
                <a:gd name="connsiteX83" fmla="*/ 425332 w 598324"/>
                <a:gd name="connsiteY83" fmla="*/ 564034 h 761503"/>
                <a:gd name="connsiteX84" fmla="*/ 430771 w 598324"/>
                <a:gd name="connsiteY84" fmla="*/ 558595 h 761503"/>
                <a:gd name="connsiteX85" fmla="*/ 430771 w 598324"/>
                <a:gd name="connsiteY85" fmla="*/ 550436 h 761503"/>
                <a:gd name="connsiteX86" fmla="*/ 430771 w 598324"/>
                <a:gd name="connsiteY86" fmla="*/ 501482 h 761503"/>
                <a:gd name="connsiteX87" fmla="*/ 430771 w 598324"/>
                <a:gd name="connsiteY87" fmla="*/ 403574 h 761503"/>
                <a:gd name="connsiteX88" fmla="*/ 425332 w 598324"/>
                <a:gd name="connsiteY88" fmla="*/ 313826 h 761503"/>
                <a:gd name="connsiteX89" fmla="*/ 425332 w 598324"/>
                <a:gd name="connsiteY89" fmla="*/ 248554 h 761503"/>
                <a:gd name="connsiteX90" fmla="*/ 425332 w 598324"/>
                <a:gd name="connsiteY90" fmla="*/ 210479 h 761503"/>
                <a:gd name="connsiteX91" fmla="*/ 422613 w 598324"/>
                <a:gd name="connsiteY91" fmla="*/ 153366 h 761503"/>
                <a:gd name="connsiteX92" fmla="*/ 425332 w 598324"/>
                <a:gd name="connsiteY92" fmla="*/ 123450 h 761503"/>
                <a:gd name="connsiteX93" fmla="*/ 398136 w 598324"/>
                <a:gd name="connsiteY93" fmla="*/ 123450 h 761503"/>
                <a:gd name="connsiteX94" fmla="*/ 379098 w 598324"/>
                <a:gd name="connsiteY94" fmla="*/ 123450 h 761503"/>
                <a:gd name="connsiteX95" fmla="*/ 360060 w 598324"/>
                <a:gd name="connsiteY95" fmla="*/ 118011 h 761503"/>
                <a:gd name="connsiteX96" fmla="*/ 349182 w 598324"/>
                <a:gd name="connsiteY96" fmla="*/ 101693 h 761503"/>
                <a:gd name="connsiteX97" fmla="*/ 351901 w 598324"/>
                <a:gd name="connsiteY97" fmla="*/ 93534 h 761503"/>
                <a:gd name="connsiteX98" fmla="*/ 368219 w 598324"/>
                <a:gd name="connsiteY98" fmla="*/ 85375 h 761503"/>
                <a:gd name="connsiteX99" fmla="*/ 422613 w 598324"/>
                <a:gd name="connsiteY99" fmla="*/ 79935 h 761503"/>
                <a:gd name="connsiteX100" fmla="*/ 444370 w 598324"/>
                <a:gd name="connsiteY100" fmla="*/ 79935 h 761503"/>
                <a:gd name="connsiteX101" fmla="*/ 463407 w 598324"/>
                <a:gd name="connsiteY101" fmla="*/ 71776 h 761503"/>
                <a:gd name="connsiteX102" fmla="*/ 477006 w 598324"/>
                <a:gd name="connsiteY102" fmla="*/ 79935 h 761503"/>
                <a:gd name="connsiteX103" fmla="*/ 515081 w 598324"/>
                <a:gd name="connsiteY103" fmla="*/ 79935 h 761503"/>
                <a:gd name="connsiteX104" fmla="*/ 515081 w 598324"/>
                <a:gd name="connsiteY104" fmla="*/ 79935 h 761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</a:cxnLst>
              <a:rect l="l" t="t" r="r" b="b"/>
              <a:pathLst>
                <a:path w="598324" h="761503">
                  <a:moveTo>
                    <a:pt x="515081" y="79935"/>
                  </a:moveTo>
                  <a:cubicBezTo>
                    <a:pt x="523240" y="79935"/>
                    <a:pt x="542277" y="79935"/>
                    <a:pt x="542277" y="96253"/>
                  </a:cubicBezTo>
                  <a:cubicBezTo>
                    <a:pt x="542277" y="104412"/>
                    <a:pt x="542277" y="107132"/>
                    <a:pt x="536838" y="112571"/>
                  </a:cubicBezTo>
                  <a:cubicBezTo>
                    <a:pt x="534119" y="118011"/>
                    <a:pt x="528679" y="120730"/>
                    <a:pt x="523240" y="120730"/>
                  </a:cubicBezTo>
                  <a:cubicBezTo>
                    <a:pt x="515081" y="123450"/>
                    <a:pt x="512361" y="123450"/>
                    <a:pt x="506922" y="123450"/>
                  </a:cubicBezTo>
                  <a:cubicBezTo>
                    <a:pt x="504202" y="123450"/>
                    <a:pt x="490604" y="123450"/>
                    <a:pt x="477006" y="123450"/>
                  </a:cubicBezTo>
                  <a:cubicBezTo>
                    <a:pt x="477006" y="131609"/>
                    <a:pt x="479725" y="137048"/>
                    <a:pt x="479725" y="145207"/>
                  </a:cubicBezTo>
                  <a:cubicBezTo>
                    <a:pt x="479725" y="156086"/>
                    <a:pt x="477006" y="166964"/>
                    <a:pt x="477006" y="180563"/>
                  </a:cubicBezTo>
                  <a:cubicBezTo>
                    <a:pt x="477006" y="196881"/>
                    <a:pt x="479725" y="215918"/>
                    <a:pt x="482445" y="232236"/>
                  </a:cubicBezTo>
                  <a:cubicBezTo>
                    <a:pt x="485165" y="248554"/>
                    <a:pt x="485165" y="267592"/>
                    <a:pt x="485165" y="283909"/>
                  </a:cubicBezTo>
                  <a:cubicBezTo>
                    <a:pt x="485165" y="297508"/>
                    <a:pt x="485165" y="313826"/>
                    <a:pt x="485165" y="327424"/>
                  </a:cubicBezTo>
                  <a:cubicBezTo>
                    <a:pt x="485165" y="343742"/>
                    <a:pt x="487884" y="357340"/>
                    <a:pt x="487884" y="373658"/>
                  </a:cubicBezTo>
                  <a:cubicBezTo>
                    <a:pt x="487884" y="389976"/>
                    <a:pt x="485165" y="403574"/>
                    <a:pt x="485165" y="419892"/>
                  </a:cubicBezTo>
                  <a:cubicBezTo>
                    <a:pt x="485165" y="436210"/>
                    <a:pt x="485165" y="449808"/>
                    <a:pt x="485165" y="463407"/>
                  </a:cubicBezTo>
                  <a:cubicBezTo>
                    <a:pt x="485165" y="479725"/>
                    <a:pt x="485165" y="498762"/>
                    <a:pt x="482445" y="515080"/>
                  </a:cubicBezTo>
                  <a:cubicBezTo>
                    <a:pt x="482445" y="528678"/>
                    <a:pt x="482445" y="542277"/>
                    <a:pt x="482445" y="558595"/>
                  </a:cubicBezTo>
                  <a:cubicBezTo>
                    <a:pt x="482445" y="572193"/>
                    <a:pt x="479725" y="588511"/>
                    <a:pt x="479725" y="602109"/>
                  </a:cubicBezTo>
                  <a:cubicBezTo>
                    <a:pt x="479725" y="615708"/>
                    <a:pt x="485165" y="632025"/>
                    <a:pt x="485165" y="648343"/>
                  </a:cubicBezTo>
                  <a:cubicBezTo>
                    <a:pt x="485165" y="659222"/>
                    <a:pt x="482445" y="670101"/>
                    <a:pt x="474286" y="675540"/>
                  </a:cubicBezTo>
                  <a:cubicBezTo>
                    <a:pt x="460688" y="686418"/>
                    <a:pt x="444370" y="691858"/>
                    <a:pt x="428052" y="691858"/>
                  </a:cubicBezTo>
                  <a:cubicBezTo>
                    <a:pt x="414453" y="691858"/>
                    <a:pt x="400855" y="689138"/>
                    <a:pt x="387257" y="683699"/>
                  </a:cubicBezTo>
                  <a:cubicBezTo>
                    <a:pt x="373659" y="678259"/>
                    <a:pt x="360060" y="672820"/>
                    <a:pt x="351901" y="664661"/>
                  </a:cubicBezTo>
                  <a:cubicBezTo>
                    <a:pt x="330144" y="645624"/>
                    <a:pt x="316546" y="621147"/>
                    <a:pt x="305667" y="596670"/>
                  </a:cubicBezTo>
                  <a:cubicBezTo>
                    <a:pt x="292069" y="569473"/>
                    <a:pt x="281190" y="539557"/>
                    <a:pt x="270312" y="509641"/>
                  </a:cubicBezTo>
                  <a:cubicBezTo>
                    <a:pt x="264872" y="493323"/>
                    <a:pt x="256713" y="477005"/>
                    <a:pt x="251274" y="460687"/>
                  </a:cubicBezTo>
                  <a:cubicBezTo>
                    <a:pt x="240395" y="433490"/>
                    <a:pt x="232236" y="409014"/>
                    <a:pt x="224077" y="381817"/>
                  </a:cubicBezTo>
                  <a:cubicBezTo>
                    <a:pt x="218638" y="365499"/>
                    <a:pt x="213199" y="346462"/>
                    <a:pt x="207759" y="330144"/>
                  </a:cubicBezTo>
                  <a:cubicBezTo>
                    <a:pt x="202320" y="316545"/>
                    <a:pt x="196881" y="300227"/>
                    <a:pt x="191442" y="286629"/>
                  </a:cubicBezTo>
                  <a:cubicBezTo>
                    <a:pt x="188722" y="281190"/>
                    <a:pt x="186002" y="278470"/>
                    <a:pt x="183283" y="278470"/>
                  </a:cubicBezTo>
                  <a:cubicBezTo>
                    <a:pt x="180563" y="278470"/>
                    <a:pt x="180563" y="286629"/>
                    <a:pt x="180563" y="292068"/>
                  </a:cubicBezTo>
                  <a:cubicBezTo>
                    <a:pt x="180563" y="297508"/>
                    <a:pt x="180563" y="302947"/>
                    <a:pt x="180563" y="305667"/>
                  </a:cubicBezTo>
                  <a:cubicBezTo>
                    <a:pt x="180563" y="321985"/>
                    <a:pt x="183283" y="338303"/>
                    <a:pt x="183283" y="354620"/>
                  </a:cubicBezTo>
                  <a:cubicBezTo>
                    <a:pt x="183283" y="387256"/>
                    <a:pt x="186002" y="417173"/>
                    <a:pt x="188722" y="449808"/>
                  </a:cubicBezTo>
                  <a:cubicBezTo>
                    <a:pt x="188722" y="460687"/>
                    <a:pt x="188722" y="468846"/>
                    <a:pt x="188722" y="479725"/>
                  </a:cubicBezTo>
                  <a:cubicBezTo>
                    <a:pt x="188722" y="501482"/>
                    <a:pt x="188722" y="523239"/>
                    <a:pt x="188722" y="542277"/>
                  </a:cubicBezTo>
                  <a:cubicBezTo>
                    <a:pt x="188722" y="566754"/>
                    <a:pt x="186002" y="591231"/>
                    <a:pt x="186002" y="615708"/>
                  </a:cubicBezTo>
                  <a:cubicBezTo>
                    <a:pt x="186002" y="623866"/>
                    <a:pt x="186002" y="632025"/>
                    <a:pt x="186002" y="637465"/>
                  </a:cubicBezTo>
                  <a:cubicBezTo>
                    <a:pt x="186002" y="645624"/>
                    <a:pt x="183283" y="656502"/>
                    <a:pt x="183283" y="664661"/>
                  </a:cubicBezTo>
                  <a:cubicBezTo>
                    <a:pt x="202320" y="664661"/>
                    <a:pt x="218638" y="664661"/>
                    <a:pt x="226797" y="664661"/>
                  </a:cubicBezTo>
                  <a:cubicBezTo>
                    <a:pt x="234956" y="664661"/>
                    <a:pt x="253994" y="664661"/>
                    <a:pt x="253994" y="680979"/>
                  </a:cubicBezTo>
                  <a:cubicBezTo>
                    <a:pt x="253994" y="689138"/>
                    <a:pt x="253994" y="691858"/>
                    <a:pt x="248554" y="697297"/>
                  </a:cubicBezTo>
                  <a:cubicBezTo>
                    <a:pt x="245835" y="702736"/>
                    <a:pt x="240395" y="705456"/>
                    <a:pt x="234956" y="705456"/>
                  </a:cubicBezTo>
                  <a:cubicBezTo>
                    <a:pt x="226797" y="708176"/>
                    <a:pt x="224077" y="708176"/>
                    <a:pt x="218638" y="708176"/>
                  </a:cubicBezTo>
                  <a:cubicBezTo>
                    <a:pt x="215918" y="708176"/>
                    <a:pt x="199600" y="708176"/>
                    <a:pt x="183283" y="708176"/>
                  </a:cubicBezTo>
                  <a:cubicBezTo>
                    <a:pt x="166965" y="708176"/>
                    <a:pt x="153366" y="708176"/>
                    <a:pt x="150647" y="708176"/>
                  </a:cubicBezTo>
                  <a:cubicBezTo>
                    <a:pt x="139768" y="708176"/>
                    <a:pt x="120730" y="708176"/>
                    <a:pt x="107132" y="708176"/>
                  </a:cubicBezTo>
                  <a:cubicBezTo>
                    <a:pt x="101693" y="708176"/>
                    <a:pt x="96254" y="708176"/>
                    <a:pt x="88094" y="708176"/>
                  </a:cubicBezTo>
                  <a:cubicBezTo>
                    <a:pt x="82655" y="708176"/>
                    <a:pt x="74496" y="708176"/>
                    <a:pt x="69057" y="702736"/>
                  </a:cubicBezTo>
                  <a:cubicBezTo>
                    <a:pt x="63617" y="700017"/>
                    <a:pt x="58178" y="691858"/>
                    <a:pt x="58178" y="686418"/>
                  </a:cubicBezTo>
                  <a:cubicBezTo>
                    <a:pt x="58178" y="683699"/>
                    <a:pt x="58178" y="680979"/>
                    <a:pt x="60898" y="678259"/>
                  </a:cubicBezTo>
                  <a:cubicBezTo>
                    <a:pt x="63617" y="675540"/>
                    <a:pt x="71777" y="672820"/>
                    <a:pt x="77216" y="670101"/>
                  </a:cubicBezTo>
                  <a:cubicBezTo>
                    <a:pt x="90814" y="667381"/>
                    <a:pt x="115291" y="664661"/>
                    <a:pt x="120730" y="664661"/>
                  </a:cubicBezTo>
                  <a:cubicBezTo>
                    <a:pt x="123450" y="664661"/>
                    <a:pt x="126170" y="664661"/>
                    <a:pt x="131609" y="664661"/>
                  </a:cubicBezTo>
                  <a:cubicBezTo>
                    <a:pt x="131609" y="623866"/>
                    <a:pt x="134329" y="583072"/>
                    <a:pt x="134329" y="539557"/>
                  </a:cubicBezTo>
                  <a:cubicBezTo>
                    <a:pt x="134329" y="528678"/>
                    <a:pt x="134329" y="515080"/>
                    <a:pt x="134329" y="504201"/>
                  </a:cubicBezTo>
                  <a:cubicBezTo>
                    <a:pt x="131609" y="460687"/>
                    <a:pt x="131609" y="417173"/>
                    <a:pt x="131609" y="376378"/>
                  </a:cubicBezTo>
                  <a:cubicBezTo>
                    <a:pt x="131609" y="351901"/>
                    <a:pt x="131609" y="327424"/>
                    <a:pt x="131609" y="302947"/>
                  </a:cubicBezTo>
                  <a:cubicBezTo>
                    <a:pt x="131609" y="275751"/>
                    <a:pt x="131609" y="248554"/>
                    <a:pt x="134329" y="221357"/>
                  </a:cubicBezTo>
                  <a:cubicBezTo>
                    <a:pt x="134329" y="188722"/>
                    <a:pt x="137048" y="156086"/>
                    <a:pt x="137048" y="123450"/>
                  </a:cubicBezTo>
                  <a:cubicBezTo>
                    <a:pt x="126170" y="123450"/>
                    <a:pt x="115291" y="123450"/>
                    <a:pt x="107132" y="123450"/>
                  </a:cubicBezTo>
                  <a:cubicBezTo>
                    <a:pt x="101693" y="123450"/>
                    <a:pt x="96254" y="123450"/>
                    <a:pt x="88094" y="123450"/>
                  </a:cubicBezTo>
                  <a:cubicBezTo>
                    <a:pt x="82655" y="123450"/>
                    <a:pt x="74496" y="120730"/>
                    <a:pt x="69057" y="118011"/>
                  </a:cubicBezTo>
                  <a:cubicBezTo>
                    <a:pt x="63617" y="115291"/>
                    <a:pt x="58178" y="107132"/>
                    <a:pt x="58178" y="101693"/>
                  </a:cubicBezTo>
                  <a:cubicBezTo>
                    <a:pt x="58178" y="98973"/>
                    <a:pt x="58178" y="96253"/>
                    <a:pt x="60898" y="93534"/>
                  </a:cubicBezTo>
                  <a:cubicBezTo>
                    <a:pt x="63617" y="90814"/>
                    <a:pt x="71777" y="88094"/>
                    <a:pt x="77216" y="85375"/>
                  </a:cubicBezTo>
                  <a:cubicBezTo>
                    <a:pt x="90814" y="82655"/>
                    <a:pt x="126170" y="79935"/>
                    <a:pt x="131609" y="79935"/>
                  </a:cubicBezTo>
                  <a:cubicBezTo>
                    <a:pt x="137048" y="79935"/>
                    <a:pt x="147927" y="79935"/>
                    <a:pt x="161525" y="79935"/>
                  </a:cubicBezTo>
                  <a:cubicBezTo>
                    <a:pt x="166965" y="74496"/>
                    <a:pt x="172404" y="71776"/>
                    <a:pt x="177843" y="66337"/>
                  </a:cubicBezTo>
                  <a:cubicBezTo>
                    <a:pt x="186002" y="60898"/>
                    <a:pt x="194161" y="58178"/>
                    <a:pt x="202320" y="58178"/>
                  </a:cubicBezTo>
                  <a:cubicBezTo>
                    <a:pt x="215918" y="58178"/>
                    <a:pt x="226797" y="63617"/>
                    <a:pt x="234956" y="77216"/>
                  </a:cubicBezTo>
                  <a:cubicBezTo>
                    <a:pt x="240395" y="88094"/>
                    <a:pt x="248554" y="96253"/>
                    <a:pt x="251274" y="107132"/>
                  </a:cubicBezTo>
                  <a:cubicBezTo>
                    <a:pt x="256713" y="120730"/>
                    <a:pt x="259433" y="134328"/>
                    <a:pt x="267592" y="147927"/>
                  </a:cubicBezTo>
                  <a:cubicBezTo>
                    <a:pt x="273031" y="158805"/>
                    <a:pt x="275751" y="172404"/>
                    <a:pt x="281190" y="183282"/>
                  </a:cubicBezTo>
                  <a:cubicBezTo>
                    <a:pt x="286630" y="196881"/>
                    <a:pt x="292069" y="210479"/>
                    <a:pt x="297508" y="224077"/>
                  </a:cubicBezTo>
                  <a:cubicBezTo>
                    <a:pt x="300228" y="237675"/>
                    <a:pt x="305667" y="251274"/>
                    <a:pt x="308387" y="264872"/>
                  </a:cubicBezTo>
                  <a:cubicBezTo>
                    <a:pt x="311106" y="278470"/>
                    <a:pt x="311106" y="289349"/>
                    <a:pt x="319265" y="300227"/>
                  </a:cubicBezTo>
                  <a:cubicBezTo>
                    <a:pt x="332864" y="324704"/>
                    <a:pt x="346462" y="351901"/>
                    <a:pt x="351901" y="379097"/>
                  </a:cubicBezTo>
                  <a:cubicBezTo>
                    <a:pt x="354621" y="392696"/>
                    <a:pt x="360060" y="403574"/>
                    <a:pt x="365500" y="417173"/>
                  </a:cubicBezTo>
                  <a:cubicBezTo>
                    <a:pt x="373659" y="430771"/>
                    <a:pt x="373659" y="444369"/>
                    <a:pt x="379098" y="457967"/>
                  </a:cubicBezTo>
                  <a:cubicBezTo>
                    <a:pt x="381818" y="471566"/>
                    <a:pt x="387257" y="482444"/>
                    <a:pt x="395416" y="496043"/>
                  </a:cubicBezTo>
                  <a:cubicBezTo>
                    <a:pt x="398136" y="501482"/>
                    <a:pt x="403575" y="506921"/>
                    <a:pt x="406294" y="512361"/>
                  </a:cubicBezTo>
                  <a:cubicBezTo>
                    <a:pt x="409014" y="517800"/>
                    <a:pt x="409014" y="525959"/>
                    <a:pt x="411734" y="531398"/>
                  </a:cubicBezTo>
                  <a:cubicBezTo>
                    <a:pt x="414453" y="539557"/>
                    <a:pt x="417173" y="550436"/>
                    <a:pt x="419893" y="558595"/>
                  </a:cubicBezTo>
                  <a:cubicBezTo>
                    <a:pt x="422613" y="561314"/>
                    <a:pt x="422613" y="564034"/>
                    <a:pt x="425332" y="564034"/>
                  </a:cubicBezTo>
                  <a:cubicBezTo>
                    <a:pt x="428052" y="564034"/>
                    <a:pt x="428052" y="561314"/>
                    <a:pt x="430771" y="558595"/>
                  </a:cubicBezTo>
                  <a:cubicBezTo>
                    <a:pt x="430771" y="555875"/>
                    <a:pt x="430771" y="553155"/>
                    <a:pt x="430771" y="550436"/>
                  </a:cubicBezTo>
                  <a:cubicBezTo>
                    <a:pt x="430771" y="534118"/>
                    <a:pt x="430771" y="517800"/>
                    <a:pt x="430771" y="501482"/>
                  </a:cubicBezTo>
                  <a:cubicBezTo>
                    <a:pt x="430771" y="468846"/>
                    <a:pt x="433491" y="436210"/>
                    <a:pt x="430771" y="403574"/>
                  </a:cubicBezTo>
                  <a:cubicBezTo>
                    <a:pt x="430771" y="373658"/>
                    <a:pt x="425332" y="343742"/>
                    <a:pt x="425332" y="313826"/>
                  </a:cubicBezTo>
                  <a:cubicBezTo>
                    <a:pt x="425332" y="292068"/>
                    <a:pt x="425332" y="270311"/>
                    <a:pt x="425332" y="248554"/>
                  </a:cubicBezTo>
                  <a:cubicBezTo>
                    <a:pt x="425332" y="234956"/>
                    <a:pt x="425332" y="224077"/>
                    <a:pt x="425332" y="210479"/>
                  </a:cubicBezTo>
                  <a:cubicBezTo>
                    <a:pt x="425332" y="191441"/>
                    <a:pt x="422613" y="172404"/>
                    <a:pt x="422613" y="153366"/>
                  </a:cubicBezTo>
                  <a:cubicBezTo>
                    <a:pt x="422613" y="142487"/>
                    <a:pt x="422613" y="134328"/>
                    <a:pt x="425332" y="123450"/>
                  </a:cubicBezTo>
                  <a:cubicBezTo>
                    <a:pt x="417173" y="123450"/>
                    <a:pt x="406294" y="123450"/>
                    <a:pt x="398136" y="123450"/>
                  </a:cubicBezTo>
                  <a:cubicBezTo>
                    <a:pt x="392696" y="123450"/>
                    <a:pt x="387257" y="123450"/>
                    <a:pt x="379098" y="123450"/>
                  </a:cubicBezTo>
                  <a:cubicBezTo>
                    <a:pt x="373659" y="123450"/>
                    <a:pt x="365500" y="120730"/>
                    <a:pt x="360060" y="118011"/>
                  </a:cubicBezTo>
                  <a:cubicBezTo>
                    <a:pt x="354621" y="115291"/>
                    <a:pt x="349182" y="107132"/>
                    <a:pt x="349182" y="101693"/>
                  </a:cubicBezTo>
                  <a:cubicBezTo>
                    <a:pt x="349182" y="98973"/>
                    <a:pt x="349182" y="96253"/>
                    <a:pt x="351901" y="93534"/>
                  </a:cubicBezTo>
                  <a:cubicBezTo>
                    <a:pt x="354621" y="90814"/>
                    <a:pt x="362780" y="88094"/>
                    <a:pt x="368219" y="85375"/>
                  </a:cubicBezTo>
                  <a:cubicBezTo>
                    <a:pt x="381818" y="82655"/>
                    <a:pt x="417173" y="79935"/>
                    <a:pt x="422613" y="79935"/>
                  </a:cubicBezTo>
                  <a:cubicBezTo>
                    <a:pt x="428052" y="79935"/>
                    <a:pt x="433491" y="79935"/>
                    <a:pt x="444370" y="79935"/>
                  </a:cubicBezTo>
                  <a:cubicBezTo>
                    <a:pt x="449809" y="74496"/>
                    <a:pt x="455248" y="71776"/>
                    <a:pt x="463407" y="71776"/>
                  </a:cubicBezTo>
                  <a:cubicBezTo>
                    <a:pt x="471566" y="71776"/>
                    <a:pt x="477006" y="74496"/>
                    <a:pt x="477006" y="79935"/>
                  </a:cubicBezTo>
                  <a:cubicBezTo>
                    <a:pt x="493324" y="79935"/>
                    <a:pt x="506922" y="79935"/>
                    <a:pt x="515081" y="79935"/>
                  </a:cubicBezTo>
                  <a:lnTo>
                    <a:pt x="515081" y="79935"/>
                  </a:ln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rgbClr val="666666"/>
                </a:solidFill>
              </a:endParaRPr>
            </a:p>
          </p:txBody>
        </p:sp>
        <p:sp>
          <p:nvSpPr>
            <p:cNvPr id="44" name="Freeform: Shape 43">
              <a:extLst>
                <a:ext uri="{FF2B5EF4-FFF2-40B4-BE49-F238E27FC236}">
                  <a16:creationId xmlns:a16="http://schemas.microsoft.com/office/drawing/2014/main" id="{558B1006-CC1F-40DD-BD7B-99C832704287}"/>
                </a:ext>
              </a:extLst>
            </p:cNvPr>
            <p:cNvSpPr/>
            <p:nvPr/>
          </p:nvSpPr>
          <p:spPr>
            <a:xfrm>
              <a:off x="5139126" y="4192158"/>
              <a:ext cx="516735" cy="788700"/>
            </a:xfrm>
            <a:custGeom>
              <a:avLst/>
              <a:gdLst>
                <a:gd name="connsiteX0" fmla="*/ 464616 w 516735"/>
                <a:gd name="connsiteY0" fmla="*/ 436210 h 788699"/>
                <a:gd name="connsiteX1" fmla="*/ 445578 w 516735"/>
                <a:gd name="connsiteY1" fmla="*/ 455248 h 788699"/>
                <a:gd name="connsiteX2" fmla="*/ 404784 w 516735"/>
                <a:gd name="connsiteY2" fmla="*/ 466126 h 788699"/>
                <a:gd name="connsiteX3" fmla="*/ 385746 w 516735"/>
                <a:gd name="connsiteY3" fmla="*/ 479725 h 788699"/>
                <a:gd name="connsiteX4" fmla="*/ 388466 w 516735"/>
                <a:gd name="connsiteY4" fmla="*/ 512361 h 788699"/>
                <a:gd name="connsiteX5" fmla="*/ 388466 w 516735"/>
                <a:gd name="connsiteY5" fmla="*/ 544997 h 788699"/>
                <a:gd name="connsiteX6" fmla="*/ 388466 w 516735"/>
                <a:gd name="connsiteY6" fmla="*/ 566754 h 788699"/>
                <a:gd name="connsiteX7" fmla="*/ 391185 w 516735"/>
                <a:gd name="connsiteY7" fmla="*/ 632026 h 788699"/>
                <a:gd name="connsiteX8" fmla="*/ 393905 w 516735"/>
                <a:gd name="connsiteY8" fmla="*/ 683699 h 788699"/>
                <a:gd name="connsiteX9" fmla="*/ 377587 w 516735"/>
                <a:gd name="connsiteY9" fmla="*/ 724494 h 788699"/>
                <a:gd name="connsiteX10" fmla="*/ 361269 w 516735"/>
                <a:gd name="connsiteY10" fmla="*/ 719054 h 788699"/>
                <a:gd name="connsiteX11" fmla="*/ 353110 w 516735"/>
                <a:gd name="connsiteY11" fmla="*/ 702737 h 788699"/>
                <a:gd name="connsiteX12" fmla="*/ 350390 w 516735"/>
                <a:gd name="connsiteY12" fmla="*/ 686419 h 788699"/>
                <a:gd name="connsiteX13" fmla="*/ 353110 w 516735"/>
                <a:gd name="connsiteY13" fmla="*/ 659222 h 788699"/>
                <a:gd name="connsiteX14" fmla="*/ 353110 w 516735"/>
                <a:gd name="connsiteY14" fmla="*/ 656502 h 788699"/>
                <a:gd name="connsiteX15" fmla="*/ 317755 w 516735"/>
                <a:gd name="connsiteY15" fmla="*/ 708176 h 788699"/>
                <a:gd name="connsiteX16" fmla="*/ 241604 w 516735"/>
                <a:gd name="connsiteY16" fmla="*/ 735372 h 788699"/>
                <a:gd name="connsiteX17" fmla="*/ 187211 w 516735"/>
                <a:gd name="connsiteY17" fmla="*/ 727214 h 788699"/>
                <a:gd name="connsiteX18" fmla="*/ 135538 w 516735"/>
                <a:gd name="connsiteY18" fmla="*/ 694578 h 788699"/>
                <a:gd name="connsiteX19" fmla="*/ 86584 w 516735"/>
                <a:gd name="connsiteY19" fmla="*/ 621147 h 788699"/>
                <a:gd name="connsiteX20" fmla="*/ 67546 w 516735"/>
                <a:gd name="connsiteY20" fmla="*/ 555875 h 788699"/>
                <a:gd name="connsiteX21" fmla="*/ 59387 w 516735"/>
                <a:gd name="connsiteY21" fmla="*/ 509641 h 788699"/>
                <a:gd name="connsiteX22" fmla="*/ 59387 w 516735"/>
                <a:gd name="connsiteY22" fmla="*/ 468846 h 788699"/>
                <a:gd name="connsiteX23" fmla="*/ 86584 w 516735"/>
                <a:gd name="connsiteY23" fmla="*/ 302947 h 788699"/>
                <a:gd name="connsiteX24" fmla="*/ 108341 w 516735"/>
                <a:gd name="connsiteY24" fmla="*/ 224077 h 788699"/>
                <a:gd name="connsiteX25" fmla="*/ 146416 w 516735"/>
                <a:gd name="connsiteY25" fmla="*/ 145207 h 788699"/>
                <a:gd name="connsiteX26" fmla="*/ 198090 w 516735"/>
                <a:gd name="connsiteY26" fmla="*/ 85375 h 788699"/>
                <a:gd name="connsiteX27" fmla="*/ 228006 w 516735"/>
                <a:gd name="connsiteY27" fmla="*/ 69057 h 788699"/>
                <a:gd name="connsiteX28" fmla="*/ 268801 w 516735"/>
                <a:gd name="connsiteY28" fmla="*/ 58178 h 788699"/>
                <a:gd name="connsiteX29" fmla="*/ 274240 w 516735"/>
                <a:gd name="connsiteY29" fmla="*/ 58178 h 788699"/>
                <a:gd name="connsiteX30" fmla="*/ 295997 w 516735"/>
                <a:gd name="connsiteY30" fmla="*/ 60898 h 788699"/>
                <a:gd name="connsiteX31" fmla="*/ 331353 w 516735"/>
                <a:gd name="connsiteY31" fmla="*/ 71776 h 788699"/>
                <a:gd name="connsiteX32" fmla="*/ 350390 w 516735"/>
                <a:gd name="connsiteY32" fmla="*/ 93534 h 788699"/>
                <a:gd name="connsiteX33" fmla="*/ 353110 w 516735"/>
                <a:gd name="connsiteY33" fmla="*/ 74496 h 788699"/>
                <a:gd name="connsiteX34" fmla="*/ 358549 w 516735"/>
                <a:gd name="connsiteY34" fmla="*/ 63618 h 788699"/>
                <a:gd name="connsiteX35" fmla="*/ 366708 w 516735"/>
                <a:gd name="connsiteY35" fmla="*/ 58178 h 788699"/>
                <a:gd name="connsiteX36" fmla="*/ 374867 w 516735"/>
                <a:gd name="connsiteY36" fmla="*/ 63618 h 788699"/>
                <a:gd name="connsiteX37" fmla="*/ 383026 w 516735"/>
                <a:gd name="connsiteY37" fmla="*/ 82655 h 788699"/>
                <a:gd name="connsiteX38" fmla="*/ 385746 w 516735"/>
                <a:gd name="connsiteY38" fmla="*/ 126170 h 788699"/>
                <a:gd name="connsiteX39" fmla="*/ 388466 w 516735"/>
                <a:gd name="connsiteY39" fmla="*/ 186002 h 788699"/>
                <a:gd name="connsiteX40" fmla="*/ 391185 w 516735"/>
                <a:gd name="connsiteY40" fmla="*/ 237676 h 788699"/>
                <a:gd name="connsiteX41" fmla="*/ 374867 w 516735"/>
                <a:gd name="connsiteY41" fmla="*/ 278470 h 788699"/>
                <a:gd name="connsiteX42" fmla="*/ 358549 w 516735"/>
                <a:gd name="connsiteY42" fmla="*/ 273031 h 788699"/>
                <a:gd name="connsiteX43" fmla="*/ 350390 w 516735"/>
                <a:gd name="connsiteY43" fmla="*/ 256713 h 788699"/>
                <a:gd name="connsiteX44" fmla="*/ 347671 w 516735"/>
                <a:gd name="connsiteY44" fmla="*/ 240395 h 788699"/>
                <a:gd name="connsiteX45" fmla="*/ 347671 w 516735"/>
                <a:gd name="connsiteY45" fmla="*/ 213199 h 788699"/>
                <a:gd name="connsiteX46" fmla="*/ 344951 w 516735"/>
                <a:gd name="connsiteY46" fmla="*/ 194161 h 788699"/>
                <a:gd name="connsiteX47" fmla="*/ 339512 w 516735"/>
                <a:gd name="connsiteY47" fmla="*/ 150647 h 788699"/>
                <a:gd name="connsiteX48" fmla="*/ 323194 w 516735"/>
                <a:gd name="connsiteY48" fmla="*/ 112571 h 788699"/>
                <a:gd name="connsiteX49" fmla="*/ 293278 w 516735"/>
                <a:gd name="connsiteY49" fmla="*/ 101693 h 788699"/>
                <a:gd name="connsiteX50" fmla="*/ 263361 w 516735"/>
                <a:gd name="connsiteY50" fmla="*/ 120730 h 788699"/>
                <a:gd name="connsiteX51" fmla="*/ 241604 w 516735"/>
                <a:gd name="connsiteY51" fmla="*/ 153366 h 788699"/>
                <a:gd name="connsiteX52" fmla="*/ 233445 w 516735"/>
                <a:gd name="connsiteY52" fmla="*/ 194161 h 788699"/>
                <a:gd name="connsiteX53" fmla="*/ 225286 w 516735"/>
                <a:gd name="connsiteY53" fmla="*/ 232236 h 788699"/>
                <a:gd name="connsiteX54" fmla="*/ 217127 w 516735"/>
                <a:gd name="connsiteY54" fmla="*/ 275751 h 788699"/>
                <a:gd name="connsiteX55" fmla="*/ 211688 w 516735"/>
                <a:gd name="connsiteY55" fmla="*/ 316545 h 788699"/>
                <a:gd name="connsiteX56" fmla="*/ 206249 w 516735"/>
                <a:gd name="connsiteY56" fmla="*/ 354621 h 788699"/>
                <a:gd name="connsiteX57" fmla="*/ 200809 w 516735"/>
                <a:gd name="connsiteY57" fmla="*/ 398135 h 788699"/>
                <a:gd name="connsiteX58" fmla="*/ 195370 w 516735"/>
                <a:gd name="connsiteY58" fmla="*/ 438930 h 788699"/>
                <a:gd name="connsiteX59" fmla="*/ 192650 w 516735"/>
                <a:gd name="connsiteY59" fmla="*/ 474286 h 788699"/>
                <a:gd name="connsiteX60" fmla="*/ 195370 w 516735"/>
                <a:gd name="connsiteY60" fmla="*/ 525959 h 788699"/>
                <a:gd name="connsiteX61" fmla="*/ 208968 w 516735"/>
                <a:gd name="connsiteY61" fmla="*/ 596670 h 788699"/>
                <a:gd name="connsiteX62" fmla="*/ 214407 w 516735"/>
                <a:gd name="connsiteY62" fmla="*/ 623867 h 788699"/>
                <a:gd name="connsiteX63" fmla="*/ 228006 w 516735"/>
                <a:gd name="connsiteY63" fmla="*/ 656502 h 788699"/>
                <a:gd name="connsiteX64" fmla="*/ 271520 w 516735"/>
                <a:gd name="connsiteY64" fmla="*/ 689138 h 788699"/>
                <a:gd name="connsiteX65" fmla="*/ 306876 w 516735"/>
                <a:gd name="connsiteY65" fmla="*/ 664661 h 788699"/>
                <a:gd name="connsiteX66" fmla="*/ 331353 w 516735"/>
                <a:gd name="connsiteY66" fmla="*/ 602109 h 788699"/>
                <a:gd name="connsiteX67" fmla="*/ 336792 w 516735"/>
                <a:gd name="connsiteY67" fmla="*/ 544997 h 788699"/>
                <a:gd name="connsiteX68" fmla="*/ 336792 w 516735"/>
                <a:gd name="connsiteY68" fmla="*/ 498762 h 788699"/>
                <a:gd name="connsiteX69" fmla="*/ 336792 w 516735"/>
                <a:gd name="connsiteY69" fmla="*/ 490603 h 788699"/>
                <a:gd name="connsiteX70" fmla="*/ 320474 w 516735"/>
                <a:gd name="connsiteY70" fmla="*/ 477005 h 788699"/>
                <a:gd name="connsiteX71" fmla="*/ 282399 w 516735"/>
                <a:gd name="connsiteY71" fmla="*/ 479725 h 788699"/>
                <a:gd name="connsiteX72" fmla="*/ 252483 w 516735"/>
                <a:gd name="connsiteY72" fmla="*/ 474286 h 788699"/>
                <a:gd name="connsiteX73" fmla="*/ 247043 w 516735"/>
                <a:gd name="connsiteY73" fmla="*/ 466126 h 788699"/>
                <a:gd name="connsiteX74" fmla="*/ 249763 w 516735"/>
                <a:gd name="connsiteY74" fmla="*/ 457968 h 788699"/>
                <a:gd name="connsiteX75" fmla="*/ 268801 w 516735"/>
                <a:gd name="connsiteY75" fmla="*/ 447089 h 788699"/>
                <a:gd name="connsiteX76" fmla="*/ 312315 w 516735"/>
                <a:gd name="connsiteY76" fmla="*/ 436210 h 788699"/>
                <a:gd name="connsiteX77" fmla="*/ 353110 w 516735"/>
                <a:gd name="connsiteY77" fmla="*/ 430771 h 788699"/>
                <a:gd name="connsiteX78" fmla="*/ 385746 w 516735"/>
                <a:gd name="connsiteY78" fmla="*/ 430771 h 788699"/>
                <a:gd name="connsiteX79" fmla="*/ 437420 w 516735"/>
                <a:gd name="connsiteY79" fmla="*/ 428051 h 788699"/>
                <a:gd name="connsiteX80" fmla="*/ 464616 w 516735"/>
                <a:gd name="connsiteY80" fmla="*/ 436210 h 7886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</a:cxnLst>
              <a:rect l="l" t="t" r="r" b="b"/>
              <a:pathLst>
                <a:path w="516735" h="788699">
                  <a:moveTo>
                    <a:pt x="464616" y="436210"/>
                  </a:moveTo>
                  <a:cubicBezTo>
                    <a:pt x="464616" y="447089"/>
                    <a:pt x="453737" y="452528"/>
                    <a:pt x="445578" y="455248"/>
                  </a:cubicBezTo>
                  <a:cubicBezTo>
                    <a:pt x="434700" y="460687"/>
                    <a:pt x="415662" y="463407"/>
                    <a:pt x="404784" y="466126"/>
                  </a:cubicBezTo>
                  <a:cubicBezTo>
                    <a:pt x="393905" y="466126"/>
                    <a:pt x="385746" y="468846"/>
                    <a:pt x="385746" y="479725"/>
                  </a:cubicBezTo>
                  <a:cubicBezTo>
                    <a:pt x="385746" y="487884"/>
                    <a:pt x="388466" y="506921"/>
                    <a:pt x="388466" y="512361"/>
                  </a:cubicBezTo>
                  <a:cubicBezTo>
                    <a:pt x="388466" y="515080"/>
                    <a:pt x="388466" y="539557"/>
                    <a:pt x="388466" y="544997"/>
                  </a:cubicBezTo>
                  <a:cubicBezTo>
                    <a:pt x="388466" y="550436"/>
                    <a:pt x="388466" y="558595"/>
                    <a:pt x="388466" y="566754"/>
                  </a:cubicBezTo>
                  <a:cubicBezTo>
                    <a:pt x="388466" y="591231"/>
                    <a:pt x="388466" y="621147"/>
                    <a:pt x="391185" y="632026"/>
                  </a:cubicBezTo>
                  <a:cubicBezTo>
                    <a:pt x="393905" y="653783"/>
                    <a:pt x="393905" y="661942"/>
                    <a:pt x="393905" y="683699"/>
                  </a:cubicBezTo>
                  <a:cubicBezTo>
                    <a:pt x="393905" y="694578"/>
                    <a:pt x="393905" y="724494"/>
                    <a:pt x="377587" y="724494"/>
                  </a:cubicBezTo>
                  <a:cubicBezTo>
                    <a:pt x="369428" y="724494"/>
                    <a:pt x="366708" y="721774"/>
                    <a:pt x="361269" y="719054"/>
                  </a:cubicBezTo>
                  <a:cubicBezTo>
                    <a:pt x="355830" y="716335"/>
                    <a:pt x="353110" y="708176"/>
                    <a:pt x="353110" y="702737"/>
                  </a:cubicBezTo>
                  <a:cubicBezTo>
                    <a:pt x="350390" y="694578"/>
                    <a:pt x="350390" y="689138"/>
                    <a:pt x="350390" y="686419"/>
                  </a:cubicBezTo>
                  <a:cubicBezTo>
                    <a:pt x="350390" y="678260"/>
                    <a:pt x="353110" y="672820"/>
                    <a:pt x="353110" y="659222"/>
                  </a:cubicBezTo>
                  <a:lnTo>
                    <a:pt x="353110" y="656502"/>
                  </a:lnTo>
                  <a:cubicBezTo>
                    <a:pt x="347671" y="675540"/>
                    <a:pt x="334072" y="694578"/>
                    <a:pt x="317755" y="708176"/>
                  </a:cubicBezTo>
                  <a:cubicBezTo>
                    <a:pt x="293278" y="727214"/>
                    <a:pt x="274240" y="735372"/>
                    <a:pt x="241604" y="735372"/>
                  </a:cubicBezTo>
                  <a:cubicBezTo>
                    <a:pt x="222566" y="735372"/>
                    <a:pt x="203529" y="732653"/>
                    <a:pt x="187211" y="727214"/>
                  </a:cubicBezTo>
                  <a:cubicBezTo>
                    <a:pt x="165454" y="719054"/>
                    <a:pt x="149136" y="708176"/>
                    <a:pt x="135538" y="694578"/>
                  </a:cubicBezTo>
                  <a:cubicBezTo>
                    <a:pt x="113780" y="672820"/>
                    <a:pt x="100182" y="648343"/>
                    <a:pt x="86584" y="621147"/>
                  </a:cubicBezTo>
                  <a:cubicBezTo>
                    <a:pt x="75705" y="599390"/>
                    <a:pt x="70266" y="580352"/>
                    <a:pt x="67546" y="555875"/>
                  </a:cubicBezTo>
                  <a:cubicBezTo>
                    <a:pt x="64826" y="539557"/>
                    <a:pt x="62107" y="525959"/>
                    <a:pt x="59387" y="509641"/>
                  </a:cubicBezTo>
                  <a:cubicBezTo>
                    <a:pt x="56667" y="493323"/>
                    <a:pt x="59387" y="485164"/>
                    <a:pt x="59387" y="468846"/>
                  </a:cubicBezTo>
                  <a:cubicBezTo>
                    <a:pt x="59387" y="414453"/>
                    <a:pt x="72985" y="362780"/>
                    <a:pt x="86584" y="302947"/>
                  </a:cubicBezTo>
                  <a:cubicBezTo>
                    <a:pt x="92023" y="275751"/>
                    <a:pt x="100182" y="248554"/>
                    <a:pt x="108341" y="224077"/>
                  </a:cubicBezTo>
                  <a:cubicBezTo>
                    <a:pt x="116500" y="196881"/>
                    <a:pt x="130098" y="169684"/>
                    <a:pt x="146416" y="145207"/>
                  </a:cubicBezTo>
                  <a:cubicBezTo>
                    <a:pt x="160014" y="123450"/>
                    <a:pt x="176332" y="101693"/>
                    <a:pt x="198090" y="85375"/>
                  </a:cubicBezTo>
                  <a:cubicBezTo>
                    <a:pt x="206249" y="77216"/>
                    <a:pt x="217127" y="71776"/>
                    <a:pt x="228006" y="69057"/>
                  </a:cubicBezTo>
                  <a:cubicBezTo>
                    <a:pt x="241604" y="63618"/>
                    <a:pt x="255202" y="58178"/>
                    <a:pt x="268801" y="58178"/>
                  </a:cubicBezTo>
                  <a:cubicBezTo>
                    <a:pt x="271520" y="58178"/>
                    <a:pt x="274240" y="58178"/>
                    <a:pt x="274240" y="58178"/>
                  </a:cubicBezTo>
                  <a:cubicBezTo>
                    <a:pt x="279679" y="58178"/>
                    <a:pt x="285119" y="58178"/>
                    <a:pt x="295997" y="60898"/>
                  </a:cubicBezTo>
                  <a:cubicBezTo>
                    <a:pt x="309595" y="63618"/>
                    <a:pt x="320474" y="66337"/>
                    <a:pt x="331353" y="71776"/>
                  </a:cubicBezTo>
                  <a:cubicBezTo>
                    <a:pt x="339512" y="77216"/>
                    <a:pt x="347671" y="85375"/>
                    <a:pt x="350390" y="93534"/>
                  </a:cubicBezTo>
                  <a:cubicBezTo>
                    <a:pt x="350390" y="88095"/>
                    <a:pt x="353110" y="79936"/>
                    <a:pt x="353110" y="74496"/>
                  </a:cubicBezTo>
                  <a:cubicBezTo>
                    <a:pt x="355830" y="71776"/>
                    <a:pt x="355830" y="69057"/>
                    <a:pt x="358549" y="63618"/>
                  </a:cubicBezTo>
                  <a:cubicBezTo>
                    <a:pt x="361269" y="60898"/>
                    <a:pt x="363989" y="58178"/>
                    <a:pt x="366708" y="58178"/>
                  </a:cubicBezTo>
                  <a:cubicBezTo>
                    <a:pt x="369428" y="58178"/>
                    <a:pt x="372148" y="60898"/>
                    <a:pt x="374867" y="63618"/>
                  </a:cubicBezTo>
                  <a:cubicBezTo>
                    <a:pt x="377587" y="69057"/>
                    <a:pt x="380307" y="77216"/>
                    <a:pt x="383026" y="82655"/>
                  </a:cubicBezTo>
                  <a:cubicBezTo>
                    <a:pt x="383026" y="90814"/>
                    <a:pt x="385746" y="107132"/>
                    <a:pt x="385746" y="126170"/>
                  </a:cubicBezTo>
                  <a:cubicBezTo>
                    <a:pt x="385746" y="150647"/>
                    <a:pt x="385746" y="177843"/>
                    <a:pt x="388466" y="186002"/>
                  </a:cubicBezTo>
                  <a:cubicBezTo>
                    <a:pt x="391185" y="207759"/>
                    <a:pt x="391185" y="215918"/>
                    <a:pt x="391185" y="237676"/>
                  </a:cubicBezTo>
                  <a:cubicBezTo>
                    <a:pt x="391185" y="248554"/>
                    <a:pt x="391185" y="278470"/>
                    <a:pt x="374867" y="278470"/>
                  </a:cubicBezTo>
                  <a:cubicBezTo>
                    <a:pt x="366708" y="278470"/>
                    <a:pt x="363989" y="275751"/>
                    <a:pt x="358549" y="273031"/>
                  </a:cubicBezTo>
                  <a:cubicBezTo>
                    <a:pt x="353110" y="270311"/>
                    <a:pt x="350390" y="262152"/>
                    <a:pt x="350390" y="256713"/>
                  </a:cubicBezTo>
                  <a:cubicBezTo>
                    <a:pt x="350390" y="251274"/>
                    <a:pt x="347671" y="245834"/>
                    <a:pt x="347671" y="240395"/>
                  </a:cubicBezTo>
                  <a:cubicBezTo>
                    <a:pt x="347671" y="232236"/>
                    <a:pt x="347671" y="224077"/>
                    <a:pt x="347671" y="213199"/>
                  </a:cubicBezTo>
                  <a:cubicBezTo>
                    <a:pt x="347671" y="207759"/>
                    <a:pt x="347671" y="199600"/>
                    <a:pt x="344951" y="194161"/>
                  </a:cubicBezTo>
                  <a:cubicBezTo>
                    <a:pt x="342232" y="180563"/>
                    <a:pt x="342232" y="164245"/>
                    <a:pt x="339512" y="150647"/>
                  </a:cubicBezTo>
                  <a:cubicBezTo>
                    <a:pt x="336792" y="137048"/>
                    <a:pt x="331353" y="123450"/>
                    <a:pt x="323194" y="112571"/>
                  </a:cubicBezTo>
                  <a:cubicBezTo>
                    <a:pt x="317755" y="104412"/>
                    <a:pt x="304156" y="101693"/>
                    <a:pt x="293278" y="101693"/>
                  </a:cubicBezTo>
                  <a:cubicBezTo>
                    <a:pt x="279679" y="101693"/>
                    <a:pt x="271520" y="109852"/>
                    <a:pt x="263361" y="120730"/>
                  </a:cubicBezTo>
                  <a:cubicBezTo>
                    <a:pt x="257922" y="131609"/>
                    <a:pt x="247043" y="139768"/>
                    <a:pt x="241604" y="153366"/>
                  </a:cubicBezTo>
                  <a:cubicBezTo>
                    <a:pt x="236165" y="166964"/>
                    <a:pt x="233445" y="180563"/>
                    <a:pt x="233445" y="194161"/>
                  </a:cubicBezTo>
                  <a:cubicBezTo>
                    <a:pt x="233445" y="207759"/>
                    <a:pt x="230726" y="218638"/>
                    <a:pt x="225286" y="232236"/>
                  </a:cubicBezTo>
                  <a:cubicBezTo>
                    <a:pt x="219847" y="245834"/>
                    <a:pt x="219847" y="262152"/>
                    <a:pt x="217127" y="275751"/>
                  </a:cubicBezTo>
                  <a:cubicBezTo>
                    <a:pt x="214407" y="289349"/>
                    <a:pt x="214407" y="302947"/>
                    <a:pt x="211688" y="316545"/>
                  </a:cubicBezTo>
                  <a:cubicBezTo>
                    <a:pt x="211688" y="330144"/>
                    <a:pt x="206249" y="341022"/>
                    <a:pt x="206249" y="354621"/>
                  </a:cubicBezTo>
                  <a:cubicBezTo>
                    <a:pt x="203529" y="368219"/>
                    <a:pt x="203529" y="381817"/>
                    <a:pt x="200809" y="398135"/>
                  </a:cubicBezTo>
                  <a:cubicBezTo>
                    <a:pt x="198090" y="411733"/>
                    <a:pt x="198090" y="425332"/>
                    <a:pt x="195370" y="438930"/>
                  </a:cubicBezTo>
                  <a:cubicBezTo>
                    <a:pt x="195370" y="449809"/>
                    <a:pt x="192650" y="463407"/>
                    <a:pt x="192650" y="474286"/>
                  </a:cubicBezTo>
                  <a:cubicBezTo>
                    <a:pt x="192650" y="490603"/>
                    <a:pt x="195370" y="509641"/>
                    <a:pt x="195370" y="525959"/>
                  </a:cubicBezTo>
                  <a:cubicBezTo>
                    <a:pt x="195370" y="550436"/>
                    <a:pt x="203529" y="572193"/>
                    <a:pt x="208968" y="596670"/>
                  </a:cubicBezTo>
                  <a:cubicBezTo>
                    <a:pt x="211688" y="604829"/>
                    <a:pt x="211688" y="615708"/>
                    <a:pt x="214407" y="623867"/>
                  </a:cubicBezTo>
                  <a:cubicBezTo>
                    <a:pt x="217127" y="634745"/>
                    <a:pt x="222566" y="645624"/>
                    <a:pt x="228006" y="656502"/>
                  </a:cubicBezTo>
                  <a:cubicBezTo>
                    <a:pt x="236165" y="670101"/>
                    <a:pt x="252483" y="689138"/>
                    <a:pt x="271520" y="689138"/>
                  </a:cubicBezTo>
                  <a:cubicBezTo>
                    <a:pt x="287838" y="689138"/>
                    <a:pt x="298717" y="675540"/>
                    <a:pt x="306876" y="664661"/>
                  </a:cubicBezTo>
                  <a:cubicBezTo>
                    <a:pt x="320474" y="645624"/>
                    <a:pt x="325914" y="623867"/>
                    <a:pt x="331353" y="602109"/>
                  </a:cubicBezTo>
                  <a:cubicBezTo>
                    <a:pt x="334072" y="583072"/>
                    <a:pt x="336792" y="564034"/>
                    <a:pt x="336792" y="544997"/>
                  </a:cubicBezTo>
                  <a:cubicBezTo>
                    <a:pt x="336792" y="531398"/>
                    <a:pt x="336792" y="512361"/>
                    <a:pt x="336792" y="498762"/>
                  </a:cubicBezTo>
                  <a:cubicBezTo>
                    <a:pt x="336792" y="496043"/>
                    <a:pt x="336792" y="493323"/>
                    <a:pt x="336792" y="490603"/>
                  </a:cubicBezTo>
                  <a:cubicBezTo>
                    <a:pt x="336792" y="479725"/>
                    <a:pt x="336792" y="477005"/>
                    <a:pt x="320474" y="477005"/>
                  </a:cubicBezTo>
                  <a:cubicBezTo>
                    <a:pt x="309595" y="477005"/>
                    <a:pt x="295997" y="479725"/>
                    <a:pt x="282399" y="479725"/>
                  </a:cubicBezTo>
                  <a:cubicBezTo>
                    <a:pt x="271520" y="479725"/>
                    <a:pt x="260642" y="479725"/>
                    <a:pt x="252483" y="474286"/>
                  </a:cubicBezTo>
                  <a:cubicBezTo>
                    <a:pt x="249763" y="471566"/>
                    <a:pt x="247043" y="468846"/>
                    <a:pt x="247043" y="466126"/>
                  </a:cubicBezTo>
                  <a:cubicBezTo>
                    <a:pt x="247043" y="463407"/>
                    <a:pt x="247043" y="460687"/>
                    <a:pt x="249763" y="457968"/>
                  </a:cubicBezTo>
                  <a:cubicBezTo>
                    <a:pt x="255202" y="452528"/>
                    <a:pt x="260642" y="449809"/>
                    <a:pt x="268801" y="447089"/>
                  </a:cubicBezTo>
                  <a:cubicBezTo>
                    <a:pt x="282399" y="441650"/>
                    <a:pt x="295997" y="438930"/>
                    <a:pt x="312315" y="436210"/>
                  </a:cubicBezTo>
                  <a:cubicBezTo>
                    <a:pt x="325914" y="433491"/>
                    <a:pt x="339512" y="433491"/>
                    <a:pt x="353110" y="430771"/>
                  </a:cubicBezTo>
                  <a:cubicBezTo>
                    <a:pt x="363989" y="430771"/>
                    <a:pt x="374867" y="430771"/>
                    <a:pt x="385746" y="430771"/>
                  </a:cubicBezTo>
                  <a:cubicBezTo>
                    <a:pt x="402064" y="430771"/>
                    <a:pt x="426541" y="428051"/>
                    <a:pt x="437420" y="428051"/>
                  </a:cubicBezTo>
                  <a:cubicBezTo>
                    <a:pt x="451018" y="419892"/>
                    <a:pt x="464616" y="425332"/>
                    <a:pt x="464616" y="436210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rgbClr val="666666"/>
                </a:solidFill>
              </a:endParaRPr>
            </a:p>
          </p:txBody>
        </p:sp>
        <p:sp>
          <p:nvSpPr>
            <p:cNvPr id="45" name="Freeform: Shape 44">
              <a:extLst>
                <a:ext uri="{FF2B5EF4-FFF2-40B4-BE49-F238E27FC236}">
                  <a16:creationId xmlns:a16="http://schemas.microsoft.com/office/drawing/2014/main" id="{E3A64DEA-4098-4ADC-9CD1-9687FE43DC93}"/>
                </a:ext>
              </a:extLst>
            </p:cNvPr>
            <p:cNvSpPr/>
            <p:nvPr/>
          </p:nvSpPr>
          <p:spPr>
            <a:xfrm>
              <a:off x="5651630" y="4181279"/>
              <a:ext cx="734308" cy="788700"/>
            </a:xfrm>
            <a:custGeom>
              <a:avLst/>
              <a:gdLst>
                <a:gd name="connsiteX0" fmla="*/ 653783 w 734307"/>
                <a:gd name="connsiteY0" fmla="*/ 678259 h 788699"/>
                <a:gd name="connsiteX1" fmla="*/ 691859 w 734307"/>
                <a:gd name="connsiteY1" fmla="*/ 694577 h 788699"/>
                <a:gd name="connsiteX2" fmla="*/ 686419 w 734307"/>
                <a:gd name="connsiteY2" fmla="*/ 710895 h 788699"/>
                <a:gd name="connsiteX3" fmla="*/ 670101 w 734307"/>
                <a:gd name="connsiteY3" fmla="*/ 719054 h 788699"/>
                <a:gd name="connsiteX4" fmla="*/ 648344 w 734307"/>
                <a:gd name="connsiteY4" fmla="*/ 721774 h 788699"/>
                <a:gd name="connsiteX5" fmla="*/ 618428 w 734307"/>
                <a:gd name="connsiteY5" fmla="*/ 721774 h 788699"/>
                <a:gd name="connsiteX6" fmla="*/ 572194 w 734307"/>
                <a:gd name="connsiteY6" fmla="*/ 735372 h 788699"/>
                <a:gd name="connsiteX7" fmla="*/ 544997 w 734307"/>
                <a:gd name="connsiteY7" fmla="*/ 729933 h 788699"/>
                <a:gd name="connsiteX8" fmla="*/ 534119 w 734307"/>
                <a:gd name="connsiteY8" fmla="*/ 721774 h 788699"/>
                <a:gd name="connsiteX9" fmla="*/ 496043 w 734307"/>
                <a:gd name="connsiteY9" fmla="*/ 721774 h 788699"/>
                <a:gd name="connsiteX10" fmla="*/ 471566 w 734307"/>
                <a:gd name="connsiteY10" fmla="*/ 721774 h 788699"/>
                <a:gd name="connsiteX11" fmla="*/ 444370 w 734307"/>
                <a:gd name="connsiteY11" fmla="*/ 716335 h 788699"/>
                <a:gd name="connsiteX12" fmla="*/ 428052 w 734307"/>
                <a:gd name="connsiteY12" fmla="*/ 700017 h 788699"/>
                <a:gd name="connsiteX13" fmla="*/ 433491 w 734307"/>
                <a:gd name="connsiteY13" fmla="*/ 691858 h 788699"/>
                <a:gd name="connsiteX14" fmla="*/ 455248 w 734307"/>
                <a:gd name="connsiteY14" fmla="*/ 683699 h 788699"/>
                <a:gd name="connsiteX15" fmla="*/ 506922 w 734307"/>
                <a:gd name="connsiteY15" fmla="*/ 678259 h 788699"/>
                <a:gd name="connsiteX16" fmla="*/ 509641 w 734307"/>
                <a:gd name="connsiteY16" fmla="*/ 678259 h 788699"/>
                <a:gd name="connsiteX17" fmla="*/ 506922 w 734307"/>
                <a:gd name="connsiteY17" fmla="*/ 664661 h 788699"/>
                <a:gd name="connsiteX18" fmla="*/ 498763 w 734307"/>
                <a:gd name="connsiteY18" fmla="*/ 580352 h 788699"/>
                <a:gd name="connsiteX19" fmla="*/ 496043 w 734307"/>
                <a:gd name="connsiteY19" fmla="*/ 479725 h 788699"/>
                <a:gd name="connsiteX20" fmla="*/ 493324 w 734307"/>
                <a:gd name="connsiteY20" fmla="*/ 389976 h 788699"/>
                <a:gd name="connsiteX21" fmla="*/ 490604 w 734307"/>
                <a:gd name="connsiteY21" fmla="*/ 302947 h 788699"/>
                <a:gd name="connsiteX22" fmla="*/ 487884 w 734307"/>
                <a:gd name="connsiteY22" fmla="*/ 229516 h 788699"/>
                <a:gd name="connsiteX23" fmla="*/ 485165 w 734307"/>
                <a:gd name="connsiteY23" fmla="*/ 221357 h 788699"/>
                <a:gd name="connsiteX24" fmla="*/ 482445 w 734307"/>
                <a:gd name="connsiteY24" fmla="*/ 226797 h 788699"/>
                <a:gd name="connsiteX25" fmla="*/ 477006 w 734307"/>
                <a:gd name="connsiteY25" fmla="*/ 262152 h 788699"/>
                <a:gd name="connsiteX26" fmla="*/ 460688 w 734307"/>
                <a:gd name="connsiteY26" fmla="*/ 341022 h 788699"/>
                <a:gd name="connsiteX27" fmla="*/ 444370 w 734307"/>
                <a:gd name="connsiteY27" fmla="*/ 417173 h 788699"/>
                <a:gd name="connsiteX28" fmla="*/ 436211 w 734307"/>
                <a:gd name="connsiteY28" fmla="*/ 455248 h 788699"/>
                <a:gd name="connsiteX29" fmla="*/ 425332 w 734307"/>
                <a:gd name="connsiteY29" fmla="*/ 493323 h 788699"/>
                <a:gd name="connsiteX30" fmla="*/ 411734 w 734307"/>
                <a:gd name="connsiteY30" fmla="*/ 531398 h 788699"/>
                <a:gd name="connsiteX31" fmla="*/ 376378 w 734307"/>
                <a:gd name="connsiteY31" fmla="*/ 547716 h 788699"/>
                <a:gd name="connsiteX32" fmla="*/ 319265 w 734307"/>
                <a:gd name="connsiteY32" fmla="*/ 525959 h 788699"/>
                <a:gd name="connsiteX33" fmla="*/ 289349 w 734307"/>
                <a:gd name="connsiteY33" fmla="*/ 455248 h 788699"/>
                <a:gd name="connsiteX34" fmla="*/ 273031 w 734307"/>
                <a:gd name="connsiteY34" fmla="*/ 373658 h 788699"/>
                <a:gd name="connsiteX35" fmla="*/ 262153 w 734307"/>
                <a:gd name="connsiteY35" fmla="*/ 316545 h 788699"/>
                <a:gd name="connsiteX36" fmla="*/ 245835 w 734307"/>
                <a:gd name="connsiteY36" fmla="*/ 237675 h 788699"/>
                <a:gd name="connsiteX37" fmla="*/ 234956 w 734307"/>
                <a:gd name="connsiteY37" fmla="*/ 196881 h 788699"/>
                <a:gd name="connsiteX38" fmla="*/ 232236 w 734307"/>
                <a:gd name="connsiteY38" fmla="*/ 191441 h 788699"/>
                <a:gd name="connsiteX39" fmla="*/ 226797 w 734307"/>
                <a:gd name="connsiteY39" fmla="*/ 207759 h 788699"/>
                <a:gd name="connsiteX40" fmla="*/ 226797 w 734307"/>
                <a:gd name="connsiteY40" fmla="*/ 232236 h 788699"/>
                <a:gd name="connsiteX41" fmla="*/ 224077 w 734307"/>
                <a:gd name="connsiteY41" fmla="*/ 267592 h 788699"/>
                <a:gd name="connsiteX42" fmla="*/ 221358 w 734307"/>
                <a:gd name="connsiteY42" fmla="*/ 311106 h 788699"/>
                <a:gd name="connsiteX43" fmla="*/ 218638 w 734307"/>
                <a:gd name="connsiteY43" fmla="*/ 360060 h 788699"/>
                <a:gd name="connsiteX44" fmla="*/ 215919 w 734307"/>
                <a:gd name="connsiteY44" fmla="*/ 398135 h 788699"/>
                <a:gd name="connsiteX45" fmla="*/ 213199 w 734307"/>
                <a:gd name="connsiteY45" fmla="*/ 430771 h 788699"/>
                <a:gd name="connsiteX46" fmla="*/ 213199 w 734307"/>
                <a:gd name="connsiteY46" fmla="*/ 455248 h 788699"/>
                <a:gd name="connsiteX47" fmla="*/ 213199 w 734307"/>
                <a:gd name="connsiteY47" fmla="*/ 477005 h 788699"/>
                <a:gd name="connsiteX48" fmla="*/ 207759 w 734307"/>
                <a:gd name="connsiteY48" fmla="*/ 520520 h 788699"/>
                <a:gd name="connsiteX49" fmla="*/ 196881 w 734307"/>
                <a:gd name="connsiteY49" fmla="*/ 610268 h 788699"/>
                <a:gd name="connsiteX50" fmla="*/ 194161 w 734307"/>
                <a:gd name="connsiteY50" fmla="*/ 653783 h 788699"/>
                <a:gd name="connsiteX51" fmla="*/ 191441 w 734307"/>
                <a:gd name="connsiteY51" fmla="*/ 667381 h 788699"/>
                <a:gd name="connsiteX52" fmla="*/ 243115 w 734307"/>
                <a:gd name="connsiteY52" fmla="*/ 667381 h 788699"/>
                <a:gd name="connsiteX53" fmla="*/ 273031 w 734307"/>
                <a:gd name="connsiteY53" fmla="*/ 683699 h 788699"/>
                <a:gd name="connsiteX54" fmla="*/ 262153 w 734307"/>
                <a:gd name="connsiteY54" fmla="*/ 697297 h 788699"/>
                <a:gd name="connsiteX55" fmla="*/ 248554 w 734307"/>
                <a:gd name="connsiteY55" fmla="*/ 705456 h 788699"/>
                <a:gd name="connsiteX56" fmla="*/ 232236 w 734307"/>
                <a:gd name="connsiteY56" fmla="*/ 708176 h 788699"/>
                <a:gd name="connsiteX57" fmla="*/ 166965 w 734307"/>
                <a:gd name="connsiteY57" fmla="*/ 708176 h 788699"/>
                <a:gd name="connsiteX58" fmla="*/ 109852 w 734307"/>
                <a:gd name="connsiteY58" fmla="*/ 708176 h 788699"/>
                <a:gd name="connsiteX59" fmla="*/ 90814 w 734307"/>
                <a:gd name="connsiteY59" fmla="*/ 708176 h 788699"/>
                <a:gd name="connsiteX60" fmla="*/ 69057 w 734307"/>
                <a:gd name="connsiteY60" fmla="*/ 702736 h 788699"/>
                <a:gd name="connsiteX61" fmla="*/ 58178 w 734307"/>
                <a:gd name="connsiteY61" fmla="*/ 686418 h 788699"/>
                <a:gd name="connsiteX62" fmla="*/ 60898 w 734307"/>
                <a:gd name="connsiteY62" fmla="*/ 678259 h 788699"/>
                <a:gd name="connsiteX63" fmla="*/ 77216 w 734307"/>
                <a:gd name="connsiteY63" fmla="*/ 670101 h 788699"/>
                <a:gd name="connsiteX64" fmla="*/ 126170 w 734307"/>
                <a:gd name="connsiteY64" fmla="*/ 664661 h 788699"/>
                <a:gd name="connsiteX65" fmla="*/ 142487 w 734307"/>
                <a:gd name="connsiteY65" fmla="*/ 664661 h 788699"/>
                <a:gd name="connsiteX66" fmla="*/ 147927 w 734307"/>
                <a:gd name="connsiteY66" fmla="*/ 588511 h 788699"/>
                <a:gd name="connsiteX67" fmla="*/ 153366 w 734307"/>
                <a:gd name="connsiteY67" fmla="*/ 493323 h 788699"/>
                <a:gd name="connsiteX68" fmla="*/ 156086 w 734307"/>
                <a:gd name="connsiteY68" fmla="*/ 411733 h 788699"/>
                <a:gd name="connsiteX69" fmla="*/ 161525 w 734307"/>
                <a:gd name="connsiteY69" fmla="*/ 297508 h 788699"/>
                <a:gd name="connsiteX70" fmla="*/ 166965 w 734307"/>
                <a:gd name="connsiteY70" fmla="*/ 240395 h 788699"/>
                <a:gd name="connsiteX71" fmla="*/ 177843 w 734307"/>
                <a:gd name="connsiteY71" fmla="*/ 161525 h 788699"/>
                <a:gd name="connsiteX72" fmla="*/ 183282 w 734307"/>
                <a:gd name="connsiteY72" fmla="*/ 118011 h 788699"/>
                <a:gd name="connsiteX73" fmla="*/ 183282 w 734307"/>
                <a:gd name="connsiteY73" fmla="*/ 115291 h 788699"/>
                <a:gd name="connsiteX74" fmla="*/ 161525 w 734307"/>
                <a:gd name="connsiteY74" fmla="*/ 115291 h 788699"/>
                <a:gd name="connsiteX75" fmla="*/ 137048 w 734307"/>
                <a:gd name="connsiteY75" fmla="*/ 115291 h 788699"/>
                <a:gd name="connsiteX76" fmla="*/ 109852 w 734307"/>
                <a:gd name="connsiteY76" fmla="*/ 109851 h 788699"/>
                <a:gd name="connsiteX77" fmla="*/ 93534 w 734307"/>
                <a:gd name="connsiteY77" fmla="*/ 93534 h 788699"/>
                <a:gd name="connsiteX78" fmla="*/ 98973 w 734307"/>
                <a:gd name="connsiteY78" fmla="*/ 85375 h 788699"/>
                <a:gd name="connsiteX79" fmla="*/ 120730 w 734307"/>
                <a:gd name="connsiteY79" fmla="*/ 77216 h 788699"/>
                <a:gd name="connsiteX80" fmla="*/ 172404 w 734307"/>
                <a:gd name="connsiteY80" fmla="*/ 71776 h 788699"/>
                <a:gd name="connsiteX81" fmla="*/ 234956 w 734307"/>
                <a:gd name="connsiteY81" fmla="*/ 69057 h 788699"/>
                <a:gd name="connsiteX82" fmla="*/ 243115 w 734307"/>
                <a:gd name="connsiteY82" fmla="*/ 69057 h 788699"/>
                <a:gd name="connsiteX83" fmla="*/ 270312 w 734307"/>
                <a:gd name="connsiteY83" fmla="*/ 74496 h 788699"/>
                <a:gd name="connsiteX84" fmla="*/ 308387 w 734307"/>
                <a:gd name="connsiteY84" fmla="*/ 123450 h 788699"/>
                <a:gd name="connsiteX85" fmla="*/ 332864 w 734307"/>
                <a:gd name="connsiteY85" fmla="*/ 202320 h 788699"/>
                <a:gd name="connsiteX86" fmla="*/ 338303 w 734307"/>
                <a:gd name="connsiteY86" fmla="*/ 237675 h 788699"/>
                <a:gd name="connsiteX87" fmla="*/ 349182 w 734307"/>
                <a:gd name="connsiteY87" fmla="*/ 281190 h 788699"/>
                <a:gd name="connsiteX88" fmla="*/ 357341 w 734307"/>
                <a:gd name="connsiteY88" fmla="*/ 316545 h 788699"/>
                <a:gd name="connsiteX89" fmla="*/ 365500 w 734307"/>
                <a:gd name="connsiteY89" fmla="*/ 351901 h 788699"/>
                <a:gd name="connsiteX90" fmla="*/ 376378 w 734307"/>
                <a:gd name="connsiteY90" fmla="*/ 389976 h 788699"/>
                <a:gd name="connsiteX91" fmla="*/ 387257 w 734307"/>
                <a:gd name="connsiteY91" fmla="*/ 414453 h 788699"/>
                <a:gd name="connsiteX92" fmla="*/ 398136 w 734307"/>
                <a:gd name="connsiteY92" fmla="*/ 376378 h 788699"/>
                <a:gd name="connsiteX93" fmla="*/ 406295 w 734307"/>
                <a:gd name="connsiteY93" fmla="*/ 332863 h 788699"/>
                <a:gd name="connsiteX94" fmla="*/ 425332 w 734307"/>
                <a:gd name="connsiteY94" fmla="*/ 243115 h 788699"/>
                <a:gd name="connsiteX95" fmla="*/ 444370 w 734307"/>
                <a:gd name="connsiteY95" fmla="*/ 150646 h 788699"/>
                <a:gd name="connsiteX96" fmla="*/ 477006 w 734307"/>
                <a:gd name="connsiteY96" fmla="*/ 79935 h 788699"/>
                <a:gd name="connsiteX97" fmla="*/ 523240 w 734307"/>
                <a:gd name="connsiteY97" fmla="*/ 58178 h 788699"/>
                <a:gd name="connsiteX98" fmla="*/ 544997 w 734307"/>
                <a:gd name="connsiteY98" fmla="*/ 63617 h 788699"/>
                <a:gd name="connsiteX99" fmla="*/ 612988 w 734307"/>
                <a:gd name="connsiteY99" fmla="*/ 63617 h 788699"/>
                <a:gd name="connsiteX100" fmla="*/ 651064 w 734307"/>
                <a:gd name="connsiteY100" fmla="*/ 79935 h 788699"/>
                <a:gd name="connsiteX101" fmla="*/ 645624 w 734307"/>
                <a:gd name="connsiteY101" fmla="*/ 96253 h 788699"/>
                <a:gd name="connsiteX102" fmla="*/ 629307 w 734307"/>
                <a:gd name="connsiteY102" fmla="*/ 104412 h 788699"/>
                <a:gd name="connsiteX103" fmla="*/ 607549 w 734307"/>
                <a:gd name="connsiteY103" fmla="*/ 107132 h 788699"/>
                <a:gd name="connsiteX104" fmla="*/ 580353 w 734307"/>
                <a:gd name="connsiteY104" fmla="*/ 107132 h 788699"/>
                <a:gd name="connsiteX105" fmla="*/ 583072 w 734307"/>
                <a:gd name="connsiteY105" fmla="*/ 115291 h 788699"/>
                <a:gd name="connsiteX106" fmla="*/ 588512 w 734307"/>
                <a:gd name="connsiteY106" fmla="*/ 156086 h 788699"/>
                <a:gd name="connsiteX107" fmla="*/ 593951 w 734307"/>
                <a:gd name="connsiteY107" fmla="*/ 196881 h 788699"/>
                <a:gd name="connsiteX108" fmla="*/ 599390 w 734307"/>
                <a:gd name="connsiteY108" fmla="*/ 226797 h 788699"/>
                <a:gd name="connsiteX109" fmla="*/ 599390 w 734307"/>
                <a:gd name="connsiteY109" fmla="*/ 232236 h 788699"/>
                <a:gd name="connsiteX110" fmla="*/ 599390 w 734307"/>
                <a:gd name="connsiteY110" fmla="*/ 240395 h 788699"/>
                <a:gd name="connsiteX111" fmla="*/ 602110 w 734307"/>
                <a:gd name="connsiteY111" fmla="*/ 270311 h 788699"/>
                <a:gd name="connsiteX112" fmla="*/ 607549 w 734307"/>
                <a:gd name="connsiteY112" fmla="*/ 308386 h 788699"/>
                <a:gd name="connsiteX113" fmla="*/ 607549 w 734307"/>
                <a:gd name="connsiteY113" fmla="*/ 319265 h 788699"/>
                <a:gd name="connsiteX114" fmla="*/ 612988 w 734307"/>
                <a:gd name="connsiteY114" fmla="*/ 335583 h 788699"/>
                <a:gd name="connsiteX115" fmla="*/ 612988 w 734307"/>
                <a:gd name="connsiteY115" fmla="*/ 346462 h 788699"/>
                <a:gd name="connsiteX116" fmla="*/ 612988 w 734307"/>
                <a:gd name="connsiteY116" fmla="*/ 370939 h 788699"/>
                <a:gd name="connsiteX117" fmla="*/ 612988 w 734307"/>
                <a:gd name="connsiteY117" fmla="*/ 395415 h 788699"/>
                <a:gd name="connsiteX118" fmla="*/ 615708 w 734307"/>
                <a:gd name="connsiteY118" fmla="*/ 422612 h 788699"/>
                <a:gd name="connsiteX119" fmla="*/ 618428 w 734307"/>
                <a:gd name="connsiteY119" fmla="*/ 441650 h 788699"/>
                <a:gd name="connsiteX120" fmla="*/ 618428 w 734307"/>
                <a:gd name="connsiteY120" fmla="*/ 455248 h 788699"/>
                <a:gd name="connsiteX121" fmla="*/ 621147 w 734307"/>
                <a:gd name="connsiteY121" fmla="*/ 463407 h 788699"/>
                <a:gd name="connsiteX122" fmla="*/ 626587 w 734307"/>
                <a:gd name="connsiteY122" fmla="*/ 482444 h 788699"/>
                <a:gd name="connsiteX123" fmla="*/ 629307 w 734307"/>
                <a:gd name="connsiteY123" fmla="*/ 517800 h 788699"/>
                <a:gd name="connsiteX124" fmla="*/ 634746 w 734307"/>
                <a:gd name="connsiteY124" fmla="*/ 561314 h 788699"/>
                <a:gd name="connsiteX125" fmla="*/ 634746 w 734307"/>
                <a:gd name="connsiteY125" fmla="*/ 566754 h 788699"/>
                <a:gd name="connsiteX126" fmla="*/ 634746 w 734307"/>
                <a:gd name="connsiteY126" fmla="*/ 583072 h 788699"/>
                <a:gd name="connsiteX127" fmla="*/ 637466 w 734307"/>
                <a:gd name="connsiteY127" fmla="*/ 607548 h 788699"/>
                <a:gd name="connsiteX128" fmla="*/ 640185 w 734307"/>
                <a:gd name="connsiteY128" fmla="*/ 618427 h 788699"/>
                <a:gd name="connsiteX129" fmla="*/ 640185 w 734307"/>
                <a:gd name="connsiteY129" fmla="*/ 632025 h 788699"/>
                <a:gd name="connsiteX130" fmla="*/ 640185 w 734307"/>
                <a:gd name="connsiteY130" fmla="*/ 640184 h 788699"/>
                <a:gd name="connsiteX131" fmla="*/ 642905 w 734307"/>
                <a:gd name="connsiteY131" fmla="*/ 659222 h 788699"/>
                <a:gd name="connsiteX132" fmla="*/ 642905 w 734307"/>
                <a:gd name="connsiteY132" fmla="*/ 664661 h 788699"/>
                <a:gd name="connsiteX133" fmla="*/ 653783 w 734307"/>
                <a:gd name="connsiteY133" fmla="*/ 678259 h 788699"/>
                <a:gd name="connsiteX134" fmla="*/ 653783 w 734307"/>
                <a:gd name="connsiteY134" fmla="*/ 678259 h 7886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</a:cxnLst>
              <a:rect l="l" t="t" r="r" b="b"/>
              <a:pathLst>
                <a:path w="734307" h="788699">
                  <a:moveTo>
                    <a:pt x="653783" y="678259"/>
                  </a:moveTo>
                  <a:cubicBezTo>
                    <a:pt x="667382" y="678259"/>
                    <a:pt x="691859" y="678259"/>
                    <a:pt x="691859" y="694577"/>
                  </a:cubicBezTo>
                  <a:cubicBezTo>
                    <a:pt x="691859" y="702736"/>
                    <a:pt x="689139" y="705456"/>
                    <a:pt x="686419" y="710895"/>
                  </a:cubicBezTo>
                  <a:cubicBezTo>
                    <a:pt x="683700" y="716335"/>
                    <a:pt x="675541" y="719054"/>
                    <a:pt x="670101" y="719054"/>
                  </a:cubicBezTo>
                  <a:cubicBezTo>
                    <a:pt x="661942" y="721774"/>
                    <a:pt x="653783" y="721774"/>
                    <a:pt x="648344" y="721774"/>
                  </a:cubicBezTo>
                  <a:cubicBezTo>
                    <a:pt x="645624" y="721774"/>
                    <a:pt x="634746" y="721774"/>
                    <a:pt x="618428" y="721774"/>
                  </a:cubicBezTo>
                  <a:cubicBezTo>
                    <a:pt x="604829" y="729933"/>
                    <a:pt x="588512" y="735372"/>
                    <a:pt x="572194" y="735372"/>
                  </a:cubicBezTo>
                  <a:cubicBezTo>
                    <a:pt x="564035" y="735372"/>
                    <a:pt x="553156" y="732653"/>
                    <a:pt x="544997" y="729933"/>
                  </a:cubicBezTo>
                  <a:cubicBezTo>
                    <a:pt x="539558" y="727213"/>
                    <a:pt x="536838" y="724494"/>
                    <a:pt x="534119" y="721774"/>
                  </a:cubicBezTo>
                  <a:cubicBezTo>
                    <a:pt x="520520" y="721774"/>
                    <a:pt x="509641" y="721774"/>
                    <a:pt x="496043" y="721774"/>
                  </a:cubicBezTo>
                  <a:cubicBezTo>
                    <a:pt x="487884" y="721774"/>
                    <a:pt x="479725" y="721774"/>
                    <a:pt x="471566" y="721774"/>
                  </a:cubicBezTo>
                  <a:cubicBezTo>
                    <a:pt x="463407" y="721774"/>
                    <a:pt x="452529" y="721774"/>
                    <a:pt x="444370" y="716335"/>
                  </a:cubicBezTo>
                  <a:cubicBezTo>
                    <a:pt x="436211" y="713615"/>
                    <a:pt x="428052" y="705456"/>
                    <a:pt x="428052" y="700017"/>
                  </a:cubicBezTo>
                  <a:cubicBezTo>
                    <a:pt x="428052" y="697297"/>
                    <a:pt x="428052" y="694577"/>
                    <a:pt x="433491" y="691858"/>
                  </a:cubicBezTo>
                  <a:cubicBezTo>
                    <a:pt x="438930" y="689138"/>
                    <a:pt x="449809" y="686418"/>
                    <a:pt x="455248" y="683699"/>
                  </a:cubicBezTo>
                  <a:cubicBezTo>
                    <a:pt x="474286" y="680979"/>
                    <a:pt x="498763" y="678259"/>
                    <a:pt x="506922" y="678259"/>
                  </a:cubicBezTo>
                  <a:cubicBezTo>
                    <a:pt x="506922" y="678259"/>
                    <a:pt x="509641" y="678259"/>
                    <a:pt x="509641" y="678259"/>
                  </a:cubicBezTo>
                  <a:cubicBezTo>
                    <a:pt x="509641" y="672820"/>
                    <a:pt x="506922" y="670101"/>
                    <a:pt x="506922" y="664661"/>
                  </a:cubicBezTo>
                  <a:cubicBezTo>
                    <a:pt x="501483" y="640184"/>
                    <a:pt x="501483" y="612988"/>
                    <a:pt x="498763" y="580352"/>
                  </a:cubicBezTo>
                  <a:cubicBezTo>
                    <a:pt x="496043" y="547716"/>
                    <a:pt x="498763" y="512361"/>
                    <a:pt x="496043" y="479725"/>
                  </a:cubicBezTo>
                  <a:cubicBezTo>
                    <a:pt x="493324" y="449808"/>
                    <a:pt x="493324" y="419892"/>
                    <a:pt x="493324" y="389976"/>
                  </a:cubicBezTo>
                  <a:cubicBezTo>
                    <a:pt x="493324" y="360060"/>
                    <a:pt x="490604" y="332863"/>
                    <a:pt x="490604" y="302947"/>
                  </a:cubicBezTo>
                  <a:cubicBezTo>
                    <a:pt x="487884" y="275751"/>
                    <a:pt x="487884" y="240395"/>
                    <a:pt x="487884" y="229516"/>
                  </a:cubicBezTo>
                  <a:cubicBezTo>
                    <a:pt x="487884" y="224077"/>
                    <a:pt x="487884" y="221357"/>
                    <a:pt x="485165" y="221357"/>
                  </a:cubicBezTo>
                  <a:cubicBezTo>
                    <a:pt x="485165" y="221357"/>
                    <a:pt x="482445" y="224077"/>
                    <a:pt x="482445" y="226797"/>
                  </a:cubicBezTo>
                  <a:cubicBezTo>
                    <a:pt x="479725" y="237675"/>
                    <a:pt x="479725" y="251274"/>
                    <a:pt x="477006" y="262152"/>
                  </a:cubicBezTo>
                  <a:cubicBezTo>
                    <a:pt x="471566" y="289349"/>
                    <a:pt x="466127" y="316545"/>
                    <a:pt x="460688" y="341022"/>
                  </a:cubicBezTo>
                  <a:cubicBezTo>
                    <a:pt x="455248" y="365499"/>
                    <a:pt x="447090" y="392696"/>
                    <a:pt x="444370" y="417173"/>
                  </a:cubicBezTo>
                  <a:cubicBezTo>
                    <a:pt x="441650" y="430771"/>
                    <a:pt x="438930" y="441650"/>
                    <a:pt x="436211" y="455248"/>
                  </a:cubicBezTo>
                  <a:cubicBezTo>
                    <a:pt x="433491" y="468846"/>
                    <a:pt x="428052" y="479725"/>
                    <a:pt x="425332" y="493323"/>
                  </a:cubicBezTo>
                  <a:cubicBezTo>
                    <a:pt x="422612" y="506921"/>
                    <a:pt x="419893" y="520520"/>
                    <a:pt x="411734" y="531398"/>
                  </a:cubicBezTo>
                  <a:cubicBezTo>
                    <a:pt x="406295" y="539557"/>
                    <a:pt x="395416" y="547716"/>
                    <a:pt x="376378" y="547716"/>
                  </a:cubicBezTo>
                  <a:cubicBezTo>
                    <a:pt x="357341" y="547716"/>
                    <a:pt x="335583" y="539557"/>
                    <a:pt x="319265" y="525959"/>
                  </a:cubicBezTo>
                  <a:cubicBezTo>
                    <a:pt x="300228" y="506921"/>
                    <a:pt x="294788" y="479725"/>
                    <a:pt x="289349" y="455248"/>
                  </a:cubicBezTo>
                  <a:cubicBezTo>
                    <a:pt x="283910" y="428051"/>
                    <a:pt x="278470" y="400855"/>
                    <a:pt x="273031" y="373658"/>
                  </a:cubicBezTo>
                  <a:cubicBezTo>
                    <a:pt x="273031" y="368219"/>
                    <a:pt x="267592" y="346462"/>
                    <a:pt x="262153" y="316545"/>
                  </a:cubicBezTo>
                  <a:cubicBezTo>
                    <a:pt x="256713" y="292068"/>
                    <a:pt x="251274" y="262152"/>
                    <a:pt x="245835" y="237675"/>
                  </a:cubicBezTo>
                  <a:cubicBezTo>
                    <a:pt x="240395" y="218638"/>
                    <a:pt x="237675" y="205039"/>
                    <a:pt x="234956" y="196881"/>
                  </a:cubicBezTo>
                  <a:cubicBezTo>
                    <a:pt x="232236" y="191441"/>
                    <a:pt x="232236" y="191441"/>
                    <a:pt x="232236" y="191441"/>
                  </a:cubicBezTo>
                  <a:cubicBezTo>
                    <a:pt x="229517" y="191441"/>
                    <a:pt x="229517" y="196881"/>
                    <a:pt x="226797" y="207759"/>
                  </a:cubicBezTo>
                  <a:cubicBezTo>
                    <a:pt x="226797" y="215918"/>
                    <a:pt x="226797" y="229516"/>
                    <a:pt x="226797" y="232236"/>
                  </a:cubicBezTo>
                  <a:cubicBezTo>
                    <a:pt x="226797" y="243115"/>
                    <a:pt x="224077" y="256713"/>
                    <a:pt x="224077" y="267592"/>
                  </a:cubicBezTo>
                  <a:cubicBezTo>
                    <a:pt x="224077" y="278470"/>
                    <a:pt x="224077" y="294788"/>
                    <a:pt x="221358" y="311106"/>
                  </a:cubicBezTo>
                  <a:cubicBezTo>
                    <a:pt x="221358" y="327424"/>
                    <a:pt x="218638" y="343742"/>
                    <a:pt x="218638" y="360060"/>
                  </a:cubicBezTo>
                  <a:cubicBezTo>
                    <a:pt x="218638" y="373658"/>
                    <a:pt x="215919" y="384537"/>
                    <a:pt x="215919" y="398135"/>
                  </a:cubicBezTo>
                  <a:cubicBezTo>
                    <a:pt x="215919" y="409014"/>
                    <a:pt x="213199" y="419892"/>
                    <a:pt x="213199" y="430771"/>
                  </a:cubicBezTo>
                  <a:cubicBezTo>
                    <a:pt x="213199" y="438930"/>
                    <a:pt x="213199" y="447089"/>
                    <a:pt x="213199" y="455248"/>
                  </a:cubicBezTo>
                  <a:cubicBezTo>
                    <a:pt x="213199" y="463407"/>
                    <a:pt x="213199" y="471566"/>
                    <a:pt x="213199" y="477005"/>
                  </a:cubicBezTo>
                  <a:cubicBezTo>
                    <a:pt x="210479" y="490603"/>
                    <a:pt x="207759" y="506921"/>
                    <a:pt x="207759" y="520520"/>
                  </a:cubicBezTo>
                  <a:cubicBezTo>
                    <a:pt x="202320" y="550436"/>
                    <a:pt x="199600" y="580352"/>
                    <a:pt x="196881" y="610268"/>
                  </a:cubicBezTo>
                  <a:cubicBezTo>
                    <a:pt x="196881" y="623866"/>
                    <a:pt x="196881" y="640184"/>
                    <a:pt x="194161" y="653783"/>
                  </a:cubicBezTo>
                  <a:cubicBezTo>
                    <a:pt x="194161" y="659222"/>
                    <a:pt x="194161" y="661942"/>
                    <a:pt x="191441" y="667381"/>
                  </a:cubicBezTo>
                  <a:cubicBezTo>
                    <a:pt x="213199" y="667381"/>
                    <a:pt x="232236" y="667381"/>
                    <a:pt x="243115" y="667381"/>
                  </a:cubicBezTo>
                  <a:cubicBezTo>
                    <a:pt x="253994" y="667381"/>
                    <a:pt x="273031" y="670101"/>
                    <a:pt x="273031" y="683699"/>
                  </a:cubicBezTo>
                  <a:cubicBezTo>
                    <a:pt x="273031" y="691858"/>
                    <a:pt x="267592" y="691858"/>
                    <a:pt x="262153" y="697297"/>
                  </a:cubicBezTo>
                  <a:cubicBezTo>
                    <a:pt x="259433" y="702736"/>
                    <a:pt x="253994" y="705456"/>
                    <a:pt x="248554" y="705456"/>
                  </a:cubicBezTo>
                  <a:cubicBezTo>
                    <a:pt x="240395" y="708176"/>
                    <a:pt x="234956" y="708176"/>
                    <a:pt x="232236" y="708176"/>
                  </a:cubicBezTo>
                  <a:cubicBezTo>
                    <a:pt x="226797" y="708176"/>
                    <a:pt x="175124" y="708176"/>
                    <a:pt x="166965" y="708176"/>
                  </a:cubicBezTo>
                  <a:cubicBezTo>
                    <a:pt x="156086" y="708176"/>
                    <a:pt x="120730" y="708176"/>
                    <a:pt x="109852" y="708176"/>
                  </a:cubicBezTo>
                  <a:cubicBezTo>
                    <a:pt x="104412" y="708176"/>
                    <a:pt x="96253" y="708176"/>
                    <a:pt x="90814" y="708176"/>
                  </a:cubicBezTo>
                  <a:cubicBezTo>
                    <a:pt x="85375" y="708176"/>
                    <a:pt x="77216" y="705456"/>
                    <a:pt x="69057" y="702736"/>
                  </a:cubicBezTo>
                  <a:cubicBezTo>
                    <a:pt x="63617" y="700017"/>
                    <a:pt x="58178" y="691858"/>
                    <a:pt x="58178" y="686418"/>
                  </a:cubicBezTo>
                  <a:cubicBezTo>
                    <a:pt x="58178" y="683699"/>
                    <a:pt x="58178" y="680979"/>
                    <a:pt x="60898" y="678259"/>
                  </a:cubicBezTo>
                  <a:cubicBezTo>
                    <a:pt x="63617" y="675540"/>
                    <a:pt x="71777" y="672820"/>
                    <a:pt x="77216" y="670101"/>
                  </a:cubicBezTo>
                  <a:cubicBezTo>
                    <a:pt x="90814" y="667381"/>
                    <a:pt x="120730" y="664661"/>
                    <a:pt x="126170" y="664661"/>
                  </a:cubicBezTo>
                  <a:cubicBezTo>
                    <a:pt x="128889" y="664661"/>
                    <a:pt x="134329" y="664661"/>
                    <a:pt x="142487" y="664661"/>
                  </a:cubicBezTo>
                  <a:cubicBezTo>
                    <a:pt x="142487" y="640184"/>
                    <a:pt x="147927" y="612988"/>
                    <a:pt x="147927" y="588511"/>
                  </a:cubicBezTo>
                  <a:cubicBezTo>
                    <a:pt x="150646" y="555875"/>
                    <a:pt x="153366" y="523239"/>
                    <a:pt x="153366" y="493323"/>
                  </a:cubicBezTo>
                  <a:cubicBezTo>
                    <a:pt x="153366" y="466126"/>
                    <a:pt x="156086" y="438930"/>
                    <a:pt x="156086" y="411733"/>
                  </a:cubicBezTo>
                  <a:cubicBezTo>
                    <a:pt x="158806" y="373658"/>
                    <a:pt x="158806" y="335583"/>
                    <a:pt x="161525" y="297508"/>
                  </a:cubicBezTo>
                  <a:cubicBezTo>
                    <a:pt x="161525" y="278470"/>
                    <a:pt x="164245" y="259433"/>
                    <a:pt x="166965" y="240395"/>
                  </a:cubicBezTo>
                  <a:cubicBezTo>
                    <a:pt x="169684" y="210479"/>
                    <a:pt x="172404" y="191441"/>
                    <a:pt x="177843" y="161525"/>
                  </a:cubicBezTo>
                  <a:cubicBezTo>
                    <a:pt x="180563" y="147927"/>
                    <a:pt x="180563" y="131609"/>
                    <a:pt x="183282" y="118011"/>
                  </a:cubicBezTo>
                  <a:cubicBezTo>
                    <a:pt x="183282" y="118011"/>
                    <a:pt x="183282" y="115291"/>
                    <a:pt x="183282" y="115291"/>
                  </a:cubicBezTo>
                  <a:cubicBezTo>
                    <a:pt x="177843" y="115291"/>
                    <a:pt x="172404" y="115291"/>
                    <a:pt x="161525" y="115291"/>
                  </a:cubicBezTo>
                  <a:cubicBezTo>
                    <a:pt x="153366" y="115291"/>
                    <a:pt x="145207" y="115291"/>
                    <a:pt x="137048" y="115291"/>
                  </a:cubicBezTo>
                  <a:cubicBezTo>
                    <a:pt x="128889" y="115291"/>
                    <a:pt x="118011" y="115291"/>
                    <a:pt x="109852" y="109851"/>
                  </a:cubicBezTo>
                  <a:cubicBezTo>
                    <a:pt x="101693" y="107132"/>
                    <a:pt x="93534" y="98973"/>
                    <a:pt x="93534" y="93534"/>
                  </a:cubicBezTo>
                  <a:cubicBezTo>
                    <a:pt x="93534" y="90814"/>
                    <a:pt x="93534" y="88094"/>
                    <a:pt x="98973" y="85375"/>
                  </a:cubicBezTo>
                  <a:cubicBezTo>
                    <a:pt x="104412" y="82655"/>
                    <a:pt x="115291" y="79935"/>
                    <a:pt x="120730" y="77216"/>
                  </a:cubicBezTo>
                  <a:cubicBezTo>
                    <a:pt x="139768" y="74496"/>
                    <a:pt x="164245" y="71776"/>
                    <a:pt x="172404" y="71776"/>
                  </a:cubicBezTo>
                  <a:cubicBezTo>
                    <a:pt x="194161" y="71776"/>
                    <a:pt x="210479" y="69057"/>
                    <a:pt x="234956" y="69057"/>
                  </a:cubicBezTo>
                  <a:cubicBezTo>
                    <a:pt x="237675" y="69057"/>
                    <a:pt x="240395" y="69057"/>
                    <a:pt x="243115" y="69057"/>
                  </a:cubicBezTo>
                  <a:cubicBezTo>
                    <a:pt x="251274" y="69057"/>
                    <a:pt x="262153" y="69057"/>
                    <a:pt x="270312" y="74496"/>
                  </a:cubicBezTo>
                  <a:cubicBezTo>
                    <a:pt x="283910" y="82655"/>
                    <a:pt x="300228" y="96253"/>
                    <a:pt x="308387" y="123450"/>
                  </a:cubicBezTo>
                  <a:cubicBezTo>
                    <a:pt x="316546" y="147927"/>
                    <a:pt x="327424" y="175123"/>
                    <a:pt x="332864" y="202320"/>
                  </a:cubicBezTo>
                  <a:cubicBezTo>
                    <a:pt x="335583" y="213198"/>
                    <a:pt x="335583" y="226797"/>
                    <a:pt x="338303" y="237675"/>
                  </a:cubicBezTo>
                  <a:cubicBezTo>
                    <a:pt x="343742" y="251274"/>
                    <a:pt x="346462" y="264872"/>
                    <a:pt x="349182" y="281190"/>
                  </a:cubicBezTo>
                  <a:cubicBezTo>
                    <a:pt x="351901" y="292068"/>
                    <a:pt x="351901" y="305667"/>
                    <a:pt x="357341" y="316545"/>
                  </a:cubicBezTo>
                  <a:cubicBezTo>
                    <a:pt x="362780" y="327424"/>
                    <a:pt x="362780" y="338303"/>
                    <a:pt x="365500" y="351901"/>
                  </a:cubicBezTo>
                  <a:cubicBezTo>
                    <a:pt x="365500" y="357340"/>
                    <a:pt x="373658" y="373658"/>
                    <a:pt x="376378" y="389976"/>
                  </a:cubicBezTo>
                  <a:cubicBezTo>
                    <a:pt x="381817" y="403574"/>
                    <a:pt x="384537" y="414453"/>
                    <a:pt x="387257" y="414453"/>
                  </a:cubicBezTo>
                  <a:cubicBezTo>
                    <a:pt x="392696" y="414453"/>
                    <a:pt x="395416" y="381817"/>
                    <a:pt x="398136" y="376378"/>
                  </a:cubicBezTo>
                  <a:cubicBezTo>
                    <a:pt x="400855" y="362779"/>
                    <a:pt x="403575" y="346462"/>
                    <a:pt x="406295" y="332863"/>
                  </a:cubicBezTo>
                  <a:cubicBezTo>
                    <a:pt x="411734" y="302947"/>
                    <a:pt x="417173" y="273031"/>
                    <a:pt x="425332" y="243115"/>
                  </a:cubicBezTo>
                  <a:cubicBezTo>
                    <a:pt x="430771" y="213198"/>
                    <a:pt x="436211" y="180563"/>
                    <a:pt x="444370" y="150646"/>
                  </a:cubicBezTo>
                  <a:cubicBezTo>
                    <a:pt x="449809" y="126170"/>
                    <a:pt x="460688" y="98973"/>
                    <a:pt x="477006" y="79935"/>
                  </a:cubicBezTo>
                  <a:cubicBezTo>
                    <a:pt x="487884" y="66337"/>
                    <a:pt x="506922" y="58178"/>
                    <a:pt x="523240" y="58178"/>
                  </a:cubicBezTo>
                  <a:cubicBezTo>
                    <a:pt x="528679" y="58178"/>
                    <a:pt x="539558" y="58178"/>
                    <a:pt x="544997" y="63617"/>
                  </a:cubicBezTo>
                  <a:lnTo>
                    <a:pt x="612988" y="63617"/>
                  </a:lnTo>
                  <a:cubicBezTo>
                    <a:pt x="626587" y="63617"/>
                    <a:pt x="651064" y="63617"/>
                    <a:pt x="651064" y="79935"/>
                  </a:cubicBezTo>
                  <a:cubicBezTo>
                    <a:pt x="651064" y="88094"/>
                    <a:pt x="648344" y="88094"/>
                    <a:pt x="645624" y="96253"/>
                  </a:cubicBezTo>
                  <a:cubicBezTo>
                    <a:pt x="640185" y="101693"/>
                    <a:pt x="634746" y="104412"/>
                    <a:pt x="629307" y="104412"/>
                  </a:cubicBezTo>
                  <a:cubicBezTo>
                    <a:pt x="621147" y="107132"/>
                    <a:pt x="612988" y="107132"/>
                    <a:pt x="607549" y="107132"/>
                  </a:cubicBezTo>
                  <a:cubicBezTo>
                    <a:pt x="604829" y="107132"/>
                    <a:pt x="591231" y="107132"/>
                    <a:pt x="580353" y="107132"/>
                  </a:cubicBezTo>
                  <a:cubicBezTo>
                    <a:pt x="580353" y="109851"/>
                    <a:pt x="583072" y="112571"/>
                    <a:pt x="583072" y="115291"/>
                  </a:cubicBezTo>
                  <a:cubicBezTo>
                    <a:pt x="585792" y="128889"/>
                    <a:pt x="585792" y="142487"/>
                    <a:pt x="588512" y="156086"/>
                  </a:cubicBezTo>
                  <a:cubicBezTo>
                    <a:pt x="591231" y="169684"/>
                    <a:pt x="591231" y="183282"/>
                    <a:pt x="593951" y="196881"/>
                  </a:cubicBezTo>
                  <a:cubicBezTo>
                    <a:pt x="593951" y="207759"/>
                    <a:pt x="599390" y="215918"/>
                    <a:pt x="599390" y="226797"/>
                  </a:cubicBezTo>
                  <a:cubicBezTo>
                    <a:pt x="599390" y="229516"/>
                    <a:pt x="599390" y="229516"/>
                    <a:pt x="599390" y="232236"/>
                  </a:cubicBezTo>
                  <a:cubicBezTo>
                    <a:pt x="599390" y="234956"/>
                    <a:pt x="599390" y="237675"/>
                    <a:pt x="599390" y="240395"/>
                  </a:cubicBezTo>
                  <a:cubicBezTo>
                    <a:pt x="599390" y="251274"/>
                    <a:pt x="599390" y="259433"/>
                    <a:pt x="602110" y="270311"/>
                  </a:cubicBezTo>
                  <a:cubicBezTo>
                    <a:pt x="604829" y="283909"/>
                    <a:pt x="607549" y="294788"/>
                    <a:pt x="607549" y="308386"/>
                  </a:cubicBezTo>
                  <a:cubicBezTo>
                    <a:pt x="607549" y="311106"/>
                    <a:pt x="607549" y="316545"/>
                    <a:pt x="607549" y="319265"/>
                  </a:cubicBezTo>
                  <a:cubicBezTo>
                    <a:pt x="607549" y="324704"/>
                    <a:pt x="610269" y="330144"/>
                    <a:pt x="612988" y="335583"/>
                  </a:cubicBezTo>
                  <a:cubicBezTo>
                    <a:pt x="612988" y="338303"/>
                    <a:pt x="612988" y="343742"/>
                    <a:pt x="612988" y="346462"/>
                  </a:cubicBezTo>
                  <a:cubicBezTo>
                    <a:pt x="612988" y="354620"/>
                    <a:pt x="612988" y="362779"/>
                    <a:pt x="612988" y="370939"/>
                  </a:cubicBezTo>
                  <a:cubicBezTo>
                    <a:pt x="612988" y="379097"/>
                    <a:pt x="612988" y="387256"/>
                    <a:pt x="612988" y="395415"/>
                  </a:cubicBezTo>
                  <a:cubicBezTo>
                    <a:pt x="612988" y="403574"/>
                    <a:pt x="615708" y="414453"/>
                    <a:pt x="615708" y="422612"/>
                  </a:cubicBezTo>
                  <a:cubicBezTo>
                    <a:pt x="618428" y="430771"/>
                    <a:pt x="618428" y="436210"/>
                    <a:pt x="618428" y="441650"/>
                  </a:cubicBezTo>
                  <a:cubicBezTo>
                    <a:pt x="618428" y="444369"/>
                    <a:pt x="618428" y="449808"/>
                    <a:pt x="618428" y="455248"/>
                  </a:cubicBezTo>
                  <a:cubicBezTo>
                    <a:pt x="618428" y="460687"/>
                    <a:pt x="618428" y="460687"/>
                    <a:pt x="621147" y="463407"/>
                  </a:cubicBezTo>
                  <a:cubicBezTo>
                    <a:pt x="623867" y="471566"/>
                    <a:pt x="623867" y="477005"/>
                    <a:pt x="626587" y="482444"/>
                  </a:cubicBezTo>
                  <a:cubicBezTo>
                    <a:pt x="629307" y="493323"/>
                    <a:pt x="629307" y="506921"/>
                    <a:pt x="629307" y="517800"/>
                  </a:cubicBezTo>
                  <a:cubicBezTo>
                    <a:pt x="632026" y="534118"/>
                    <a:pt x="632026" y="547716"/>
                    <a:pt x="634746" y="561314"/>
                  </a:cubicBezTo>
                  <a:cubicBezTo>
                    <a:pt x="634746" y="564034"/>
                    <a:pt x="634746" y="564034"/>
                    <a:pt x="634746" y="566754"/>
                  </a:cubicBezTo>
                  <a:cubicBezTo>
                    <a:pt x="634746" y="572193"/>
                    <a:pt x="634746" y="577632"/>
                    <a:pt x="634746" y="583072"/>
                  </a:cubicBezTo>
                  <a:cubicBezTo>
                    <a:pt x="634746" y="596670"/>
                    <a:pt x="637466" y="602109"/>
                    <a:pt x="637466" y="607548"/>
                  </a:cubicBezTo>
                  <a:cubicBezTo>
                    <a:pt x="637466" y="610268"/>
                    <a:pt x="640185" y="615708"/>
                    <a:pt x="640185" y="618427"/>
                  </a:cubicBezTo>
                  <a:cubicBezTo>
                    <a:pt x="640185" y="623866"/>
                    <a:pt x="640185" y="629306"/>
                    <a:pt x="640185" y="632025"/>
                  </a:cubicBezTo>
                  <a:cubicBezTo>
                    <a:pt x="640185" y="634745"/>
                    <a:pt x="640185" y="637465"/>
                    <a:pt x="640185" y="640184"/>
                  </a:cubicBezTo>
                  <a:cubicBezTo>
                    <a:pt x="640185" y="645624"/>
                    <a:pt x="642905" y="653783"/>
                    <a:pt x="642905" y="659222"/>
                  </a:cubicBezTo>
                  <a:cubicBezTo>
                    <a:pt x="642905" y="661942"/>
                    <a:pt x="642905" y="661942"/>
                    <a:pt x="642905" y="664661"/>
                  </a:cubicBezTo>
                  <a:cubicBezTo>
                    <a:pt x="645624" y="678259"/>
                    <a:pt x="651064" y="678259"/>
                    <a:pt x="653783" y="678259"/>
                  </a:cubicBezTo>
                  <a:lnTo>
                    <a:pt x="653783" y="678259"/>
                  </a:ln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rgbClr val="666666"/>
                </a:solidFill>
              </a:endParaRPr>
            </a:p>
          </p:txBody>
        </p:sp>
        <p:sp>
          <p:nvSpPr>
            <p:cNvPr id="46" name="Freeform: Shape 45">
              <a:extLst>
                <a:ext uri="{FF2B5EF4-FFF2-40B4-BE49-F238E27FC236}">
                  <a16:creationId xmlns:a16="http://schemas.microsoft.com/office/drawing/2014/main" id="{A832BAE0-D017-4A44-B1FD-B27B15799420}"/>
                </a:ext>
              </a:extLst>
            </p:cNvPr>
            <p:cNvSpPr/>
            <p:nvPr/>
          </p:nvSpPr>
          <p:spPr>
            <a:xfrm>
              <a:off x="6362526" y="4242177"/>
              <a:ext cx="492259" cy="674476"/>
            </a:xfrm>
            <a:custGeom>
              <a:avLst/>
              <a:gdLst>
                <a:gd name="connsiteX0" fmla="*/ 225733 w 492259"/>
                <a:gd name="connsiteY0" fmla="*/ 97907 h 674476"/>
                <a:gd name="connsiteX1" fmla="*/ 209415 w 492259"/>
                <a:gd name="connsiteY1" fmla="*/ 119665 h 674476"/>
                <a:gd name="connsiteX2" fmla="*/ 201256 w 492259"/>
                <a:gd name="connsiteY2" fmla="*/ 152300 h 674476"/>
                <a:gd name="connsiteX3" fmla="*/ 198536 w 492259"/>
                <a:gd name="connsiteY3" fmla="*/ 168618 h 674476"/>
                <a:gd name="connsiteX4" fmla="*/ 195817 w 492259"/>
                <a:gd name="connsiteY4" fmla="*/ 184936 h 674476"/>
                <a:gd name="connsiteX5" fmla="*/ 187658 w 492259"/>
                <a:gd name="connsiteY5" fmla="*/ 220292 h 674476"/>
                <a:gd name="connsiteX6" fmla="*/ 168620 w 492259"/>
                <a:gd name="connsiteY6" fmla="*/ 291003 h 674476"/>
                <a:gd name="connsiteX7" fmla="*/ 160461 w 492259"/>
                <a:gd name="connsiteY7" fmla="*/ 323639 h 674476"/>
                <a:gd name="connsiteX8" fmla="*/ 149582 w 492259"/>
                <a:gd name="connsiteY8" fmla="*/ 361714 h 674476"/>
                <a:gd name="connsiteX9" fmla="*/ 144143 w 492259"/>
                <a:gd name="connsiteY9" fmla="*/ 388910 h 674476"/>
                <a:gd name="connsiteX10" fmla="*/ 149582 w 492259"/>
                <a:gd name="connsiteY10" fmla="*/ 391630 h 674476"/>
                <a:gd name="connsiteX11" fmla="*/ 171340 w 492259"/>
                <a:gd name="connsiteY11" fmla="*/ 391630 h 674476"/>
                <a:gd name="connsiteX12" fmla="*/ 193097 w 492259"/>
                <a:gd name="connsiteY12" fmla="*/ 388910 h 674476"/>
                <a:gd name="connsiteX13" fmla="*/ 212135 w 492259"/>
                <a:gd name="connsiteY13" fmla="*/ 388910 h 674476"/>
                <a:gd name="connsiteX14" fmla="*/ 236611 w 492259"/>
                <a:gd name="connsiteY14" fmla="*/ 388910 h 674476"/>
                <a:gd name="connsiteX15" fmla="*/ 250210 w 492259"/>
                <a:gd name="connsiteY15" fmla="*/ 386191 h 674476"/>
                <a:gd name="connsiteX16" fmla="*/ 258369 w 492259"/>
                <a:gd name="connsiteY16" fmla="*/ 386191 h 674476"/>
                <a:gd name="connsiteX17" fmla="*/ 255649 w 492259"/>
                <a:gd name="connsiteY17" fmla="*/ 367153 h 674476"/>
                <a:gd name="connsiteX18" fmla="*/ 250210 w 492259"/>
                <a:gd name="connsiteY18" fmla="*/ 331797 h 674476"/>
                <a:gd name="connsiteX19" fmla="*/ 247490 w 492259"/>
                <a:gd name="connsiteY19" fmla="*/ 244769 h 674476"/>
                <a:gd name="connsiteX20" fmla="*/ 242051 w 492259"/>
                <a:gd name="connsiteY20" fmla="*/ 203974 h 674476"/>
                <a:gd name="connsiteX21" fmla="*/ 236611 w 492259"/>
                <a:gd name="connsiteY21" fmla="*/ 157740 h 674476"/>
                <a:gd name="connsiteX22" fmla="*/ 233892 w 492259"/>
                <a:gd name="connsiteY22" fmla="*/ 119665 h 674476"/>
                <a:gd name="connsiteX23" fmla="*/ 225733 w 492259"/>
                <a:gd name="connsiteY23" fmla="*/ 97907 h 674476"/>
                <a:gd name="connsiteX24" fmla="*/ 274687 w 492259"/>
                <a:gd name="connsiteY24" fmla="*/ 0 h 674476"/>
                <a:gd name="connsiteX25" fmla="*/ 304603 w 492259"/>
                <a:gd name="connsiteY25" fmla="*/ 5439 h 674476"/>
                <a:gd name="connsiteX26" fmla="*/ 320921 w 492259"/>
                <a:gd name="connsiteY26" fmla="*/ 24477 h 674476"/>
                <a:gd name="connsiteX27" fmla="*/ 334519 w 492259"/>
                <a:gd name="connsiteY27" fmla="*/ 43515 h 674476"/>
                <a:gd name="connsiteX28" fmla="*/ 339959 w 492259"/>
                <a:gd name="connsiteY28" fmla="*/ 65272 h 674476"/>
                <a:gd name="connsiteX29" fmla="*/ 348118 w 492259"/>
                <a:gd name="connsiteY29" fmla="*/ 114226 h 674476"/>
                <a:gd name="connsiteX30" fmla="*/ 361716 w 492259"/>
                <a:gd name="connsiteY30" fmla="*/ 163180 h 674476"/>
                <a:gd name="connsiteX31" fmla="*/ 369875 w 492259"/>
                <a:gd name="connsiteY31" fmla="*/ 220293 h 674476"/>
                <a:gd name="connsiteX32" fmla="*/ 378034 w 492259"/>
                <a:gd name="connsiteY32" fmla="*/ 274686 h 674476"/>
                <a:gd name="connsiteX33" fmla="*/ 383473 w 492259"/>
                <a:gd name="connsiteY33" fmla="*/ 301883 h 674476"/>
                <a:gd name="connsiteX34" fmla="*/ 391632 w 492259"/>
                <a:gd name="connsiteY34" fmla="*/ 337238 h 674476"/>
                <a:gd name="connsiteX35" fmla="*/ 397071 w 492259"/>
                <a:gd name="connsiteY35" fmla="*/ 364435 h 674476"/>
                <a:gd name="connsiteX36" fmla="*/ 405230 w 492259"/>
                <a:gd name="connsiteY36" fmla="*/ 383473 h 674476"/>
                <a:gd name="connsiteX37" fmla="*/ 416109 w 492259"/>
                <a:gd name="connsiteY37" fmla="*/ 386192 h 674476"/>
                <a:gd name="connsiteX38" fmla="*/ 426988 w 492259"/>
                <a:gd name="connsiteY38" fmla="*/ 386192 h 674476"/>
                <a:gd name="connsiteX39" fmla="*/ 454184 w 492259"/>
                <a:gd name="connsiteY39" fmla="*/ 397071 h 674476"/>
                <a:gd name="connsiteX40" fmla="*/ 456904 w 492259"/>
                <a:gd name="connsiteY40" fmla="*/ 405230 h 674476"/>
                <a:gd name="connsiteX41" fmla="*/ 451464 w 492259"/>
                <a:gd name="connsiteY41" fmla="*/ 416108 h 674476"/>
                <a:gd name="connsiteX42" fmla="*/ 432427 w 492259"/>
                <a:gd name="connsiteY42" fmla="*/ 429707 h 674476"/>
                <a:gd name="connsiteX43" fmla="*/ 421548 w 492259"/>
                <a:gd name="connsiteY43" fmla="*/ 432426 h 674476"/>
                <a:gd name="connsiteX44" fmla="*/ 413389 w 492259"/>
                <a:gd name="connsiteY44" fmla="*/ 435146 h 674476"/>
                <a:gd name="connsiteX45" fmla="*/ 413389 w 492259"/>
                <a:gd name="connsiteY45" fmla="*/ 440585 h 674476"/>
                <a:gd name="connsiteX46" fmla="*/ 416109 w 492259"/>
                <a:gd name="connsiteY46" fmla="*/ 451464 h 674476"/>
                <a:gd name="connsiteX47" fmla="*/ 418829 w 492259"/>
                <a:gd name="connsiteY47" fmla="*/ 465062 h 674476"/>
                <a:gd name="connsiteX48" fmla="*/ 418829 w 492259"/>
                <a:gd name="connsiteY48" fmla="*/ 475941 h 674476"/>
                <a:gd name="connsiteX49" fmla="*/ 418829 w 492259"/>
                <a:gd name="connsiteY49" fmla="*/ 486820 h 674476"/>
                <a:gd name="connsiteX50" fmla="*/ 426988 w 492259"/>
                <a:gd name="connsiteY50" fmla="*/ 516736 h 674476"/>
                <a:gd name="connsiteX51" fmla="*/ 432427 w 492259"/>
                <a:gd name="connsiteY51" fmla="*/ 543932 h 674476"/>
                <a:gd name="connsiteX52" fmla="*/ 437866 w 492259"/>
                <a:gd name="connsiteY52" fmla="*/ 573848 h 674476"/>
                <a:gd name="connsiteX53" fmla="*/ 443306 w 492259"/>
                <a:gd name="connsiteY53" fmla="*/ 606484 h 674476"/>
                <a:gd name="connsiteX54" fmla="*/ 446025 w 492259"/>
                <a:gd name="connsiteY54" fmla="*/ 617363 h 674476"/>
                <a:gd name="connsiteX55" fmla="*/ 470502 w 492259"/>
                <a:gd name="connsiteY55" fmla="*/ 617363 h 674476"/>
                <a:gd name="connsiteX56" fmla="*/ 492259 w 492259"/>
                <a:gd name="connsiteY56" fmla="*/ 641840 h 674476"/>
                <a:gd name="connsiteX57" fmla="*/ 484101 w 492259"/>
                <a:gd name="connsiteY57" fmla="*/ 655438 h 674476"/>
                <a:gd name="connsiteX58" fmla="*/ 467782 w 492259"/>
                <a:gd name="connsiteY58" fmla="*/ 663597 h 674476"/>
                <a:gd name="connsiteX59" fmla="*/ 443306 w 492259"/>
                <a:gd name="connsiteY59" fmla="*/ 666317 h 674476"/>
                <a:gd name="connsiteX60" fmla="*/ 421548 w 492259"/>
                <a:gd name="connsiteY60" fmla="*/ 666317 h 674476"/>
                <a:gd name="connsiteX61" fmla="*/ 413389 w 492259"/>
                <a:gd name="connsiteY61" fmla="*/ 666317 h 674476"/>
                <a:gd name="connsiteX62" fmla="*/ 399791 w 492259"/>
                <a:gd name="connsiteY62" fmla="*/ 671756 h 674476"/>
                <a:gd name="connsiteX63" fmla="*/ 383473 w 492259"/>
                <a:gd name="connsiteY63" fmla="*/ 674476 h 674476"/>
                <a:gd name="connsiteX64" fmla="*/ 348118 w 492259"/>
                <a:gd name="connsiteY64" fmla="*/ 669036 h 674476"/>
                <a:gd name="connsiteX65" fmla="*/ 326360 w 492259"/>
                <a:gd name="connsiteY65" fmla="*/ 669036 h 674476"/>
                <a:gd name="connsiteX66" fmla="*/ 277406 w 492259"/>
                <a:gd name="connsiteY66" fmla="*/ 669036 h 674476"/>
                <a:gd name="connsiteX67" fmla="*/ 252930 w 492259"/>
                <a:gd name="connsiteY67" fmla="*/ 663597 h 674476"/>
                <a:gd name="connsiteX68" fmla="*/ 236611 w 492259"/>
                <a:gd name="connsiteY68" fmla="*/ 647279 h 674476"/>
                <a:gd name="connsiteX69" fmla="*/ 261088 w 492259"/>
                <a:gd name="connsiteY69" fmla="*/ 630961 h 674476"/>
                <a:gd name="connsiteX70" fmla="*/ 288285 w 492259"/>
                <a:gd name="connsiteY70" fmla="*/ 628241 h 674476"/>
                <a:gd name="connsiteX71" fmla="*/ 285565 w 492259"/>
                <a:gd name="connsiteY71" fmla="*/ 609204 h 674476"/>
                <a:gd name="connsiteX72" fmla="*/ 282846 w 492259"/>
                <a:gd name="connsiteY72" fmla="*/ 582007 h 674476"/>
                <a:gd name="connsiteX73" fmla="*/ 280126 w 492259"/>
                <a:gd name="connsiteY73" fmla="*/ 568409 h 674476"/>
                <a:gd name="connsiteX74" fmla="*/ 282846 w 492259"/>
                <a:gd name="connsiteY74" fmla="*/ 554811 h 674476"/>
                <a:gd name="connsiteX75" fmla="*/ 277406 w 492259"/>
                <a:gd name="connsiteY75" fmla="*/ 538493 h 674476"/>
                <a:gd name="connsiteX76" fmla="*/ 271967 w 492259"/>
                <a:gd name="connsiteY76" fmla="*/ 505857 h 674476"/>
                <a:gd name="connsiteX77" fmla="*/ 269247 w 492259"/>
                <a:gd name="connsiteY77" fmla="*/ 478660 h 674476"/>
                <a:gd name="connsiteX78" fmla="*/ 266528 w 492259"/>
                <a:gd name="connsiteY78" fmla="*/ 446025 h 674476"/>
                <a:gd name="connsiteX79" fmla="*/ 261088 w 492259"/>
                <a:gd name="connsiteY79" fmla="*/ 437866 h 674476"/>
                <a:gd name="connsiteX80" fmla="*/ 250210 w 492259"/>
                <a:gd name="connsiteY80" fmla="*/ 437866 h 674476"/>
                <a:gd name="connsiteX81" fmla="*/ 220293 w 492259"/>
                <a:gd name="connsiteY81" fmla="*/ 440585 h 674476"/>
                <a:gd name="connsiteX82" fmla="*/ 190377 w 492259"/>
                <a:gd name="connsiteY82" fmla="*/ 443305 h 674476"/>
                <a:gd name="connsiteX83" fmla="*/ 165900 w 492259"/>
                <a:gd name="connsiteY83" fmla="*/ 443305 h 674476"/>
                <a:gd name="connsiteX84" fmla="*/ 144143 w 492259"/>
                <a:gd name="connsiteY84" fmla="*/ 440585 h 674476"/>
                <a:gd name="connsiteX85" fmla="*/ 135984 w 492259"/>
                <a:gd name="connsiteY85" fmla="*/ 454184 h 674476"/>
                <a:gd name="connsiteX86" fmla="*/ 130545 w 492259"/>
                <a:gd name="connsiteY86" fmla="*/ 486820 h 674476"/>
                <a:gd name="connsiteX87" fmla="*/ 119666 w 492259"/>
                <a:gd name="connsiteY87" fmla="*/ 541213 h 674476"/>
                <a:gd name="connsiteX88" fmla="*/ 103348 w 492259"/>
                <a:gd name="connsiteY88" fmla="*/ 614643 h 674476"/>
                <a:gd name="connsiteX89" fmla="*/ 133264 w 492259"/>
                <a:gd name="connsiteY89" fmla="*/ 614643 h 674476"/>
                <a:gd name="connsiteX90" fmla="*/ 168620 w 492259"/>
                <a:gd name="connsiteY90" fmla="*/ 630961 h 674476"/>
                <a:gd name="connsiteX91" fmla="*/ 163181 w 492259"/>
                <a:gd name="connsiteY91" fmla="*/ 647279 h 674476"/>
                <a:gd name="connsiteX92" fmla="*/ 146863 w 492259"/>
                <a:gd name="connsiteY92" fmla="*/ 655438 h 674476"/>
                <a:gd name="connsiteX93" fmla="*/ 127825 w 492259"/>
                <a:gd name="connsiteY93" fmla="*/ 658158 h 674476"/>
                <a:gd name="connsiteX94" fmla="*/ 106068 w 492259"/>
                <a:gd name="connsiteY94" fmla="*/ 658158 h 674476"/>
                <a:gd name="connsiteX95" fmla="*/ 62552 w 492259"/>
                <a:gd name="connsiteY95" fmla="*/ 658158 h 674476"/>
                <a:gd name="connsiteX96" fmla="*/ 40795 w 492259"/>
                <a:gd name="connsiteY96" fmla="*/ 658158 h 674476"/>
                <a:gd name="connsiteX97" fmla="*/ 16318 w 492259"/>
                <a:gd name="connsiteY97" fmla="*/ 652718 h 674476"/>
                <a:gd name="connsiteX98" fmla="*/ 0 w 492259"/>
                <a:gd name="connsiteY98" fmla="*/ 636401 h 674476"/>
                <a:gd name="connsiteX99" fmla="*/ 2720 w 492259"/>
                <a:gd name="connsiteY99" fmla="*/ 628241 h 674476"/>
                <a:gd name="connsiteX100" fmla="*/ 24477 w 492259"/>
                <a:gd name="connsiteY100" fmla="*/ 620082 h 674476"/>
                <a:gd name="connsiteX101" fmla="*/ 62552 w 492259"/>
                <a:gd name="connsiteY101" fmla="*/ 617363 h 674476"/>
                <a:gd name="connsiteX102" fmla="*/ 62552 w 492259"/>
                <a:gd name="connsiteY102" fmla="*/ 614643 h 674476"/>
                <a:gd name="connsiteX103" fmla="*/ 65272 w 492259"/>
                <a:gd name="connsiteY103" fmla="*/ 587447 h 674476"/>
                <a:gd name="connsiteX104" fmla="*/ 76151 w 492259"/>
                <a:gd name="connsiteY104" fmla="*/ 522175 h 674476"/>
                <a:gd name="connsiteX105" fmla="*/ 87029 w 492259"/>
                <a:gd name="connsiteY105" fmla="*/ 470501 h 674476"/>
                <a:gd name="connsiteX106" fmla="*/ 92468 w 492259"/>
                <a:gd name="connsiteY106" fmla="*/ 446025 h 674476"/>
                <a:gd name="connsiteX107" fmla="*/ 65272 w 492259"/>
                <a:gd name="connsiteY107" fmla="*/ 432426 h 674476"/>
                <a:gd name="connsiteX108" fmla="*/ 54393 w 492259"/>
                <a:gd name="connsiteY108" fmla="*/ 421548 h 674476"/>
                <a:gd name="connsiteX109" fmla="*/ 73431 w 492259"/>
                <a:gd name="connsiteY109" fmla="*/ 407949 h 674476"/>
                <a:gd name="connsiteX110" fmla="*/ 100629 w 492259"/>
                <a:gd name="connsiteY110" fmla="*/ 399790 h 674476"/>
                <a:gd name="connsiteX111" fmla="*/ 108788 w 492259"/>
                <a:gd name="connsiteY111" fmla="*/ 369874 h 674476"/>
                <a:gd name="connsiteX112" fmla="*/ 125105 w 492259"/>
                <a:gd name="connsiteY112" fmla="*/ 307322 h 674476"/>
                <a:gd name="connsiteX113" fmla="*/ 141423 w 492259"/>
                <a:gd name="connsiteY113" fmla="*/ 242051 h 674476"/>
                <a:gd name="connsiteX114" fmla="*/ 155022 w 492259"/>
                <a:gd name="connsiteY114" fmla="*/ 179498 h 674476"/>
                <a:gd name="connsiteX115" fmla="*/ 168620 w 492259"/>
                <a:gd name="connsiteY115" fmla="*/ 119665 h 674476"/>
                <a:gd name="connsiteX116" fmla="*/ 193097 w 492259"/>
                <a:gd name="connsiteY116" fmla="*/ 57113 h 674476"/>
                <a:gd name="connsiteX117" fmla="*/ 201256 w 492259"/>
                <a:gd name="connsiteY117" fmla="*/ 38075 h 674476"/>
                <a:gd name="connsiteX118" fmla="*/ 217574 w 492259"/>
                <a:gd name="connsiteY118" fmla="*/ 13598 h 674476"/>
                <a:gd name="connsiteX119" fmla="*/ 274687 w 492259"/>
                <a:gd name="connsiteY119" fmla="*/ 0 h 6744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</a:cxnLst>
              <a:rect l="l" t="t" r="r" b="b"/>
              <a:pathLst>
                <a:path w="492259" h="674476">
                  <a:moveTo>
                    <a:pt x="225733" y="97907"/>
                  </a:moveTo>
                  <a:cubicBezTo>
                    <a:pt x="217574" y="97907"/>
                    <a:pt x="209415" y="114225"/>
                    <a:pt x="209415" y="119665"/>
                  </a:cubicBezTo>
                  <a:cubicBezTo>
                    <a:pt x="206695" y="130543"/>
                    <a:pt x="203976" y="144141"/>
                    <a:pt x="201256" y="152300"/>
                  </a:cubicBezTo>
                  <a:cubicBezTo>
                    <a:pt x="198536" y="157740"/>
                    <a:pt x="198536" y="163179"/>
                    <a:pt x="198536" y="168618"/>
                  </a:cubicBezTo>
                  <a:cubicBezTo>
                    <a:pt x="198536" y="174058"/>
                    <a:pt x="195817" y="179497"/>
                    <a:pt x="195817" y="184936"/>
                  </a:cubicBezTo>
                  <a:cubicBezTo>
                    <a:pt x="193097" y="195815"/>
                    <a:pt x="190377" y="209413"/>
                    <a:pt x="187658" y="220292"/>
                  </a:cubicBezTo>
                  <a:cubicBezTo>
                    <a:pt x="184938" y="244769"/>
                    <a:pt x="176779" y="269246"/>
                    <a:pt x="168620" y="291003"/>
                  </a:cubicBezTo>
                  <a:cubicBezTo>
                    <a:pt x="165900" y="301881"/>
                    <a:pt x="163181" y="312760"/>
                    <a:pt x="160461" y="323639"/>
                  </a:cubicBezTo>
                  <a:cubicBezTo>
                    <a:pt x="157742" y="337237"/>
                    <a:pt x="155022" y="348115"/>
                    <a:pt x="149582" y="361714"/>
                  </a:cubicBezTo>
                  <a:cubicBezTo>
                    <a:pt x="146863" y="367153"/>
                    <a:pt x="144143" y="383471"/>
                    <a:pt x="144143" y="388910"/>
                  </a:cubicBezTo>
                  <a:cubicBezTo>
                    <a:pt x="144143" y="391630"/>
                    <a:pt x="146863" y="391630"/>
                    <a:pt x="149582" y="391630"/>
                  </a:cubicBezTo>
                  <a:cubicBezTo>
                    <a:pt x="155022" y="391630"/>
                    <a:pt x="168620" y="391630"/>
                    <a:pt x="171340" y="391630"/>
                  </a:cubicBezTo>
                  <a:cubicBezTo>
                    <a:pt x="179498" y="391630"/>
                    <a:pt x="187658" y="391630"/>
                    <a:pt x="193097" y="388910"/>
                  </a:cubicBezTo>
                  <a:cubicBezTo>
                    <a:pt x="198536" y="388910"/>
                    <a:pt x="203976" y="388910"/>
                    <a:pt x="212135" y="388910"/>
                  </a:cubicBezTo>
                  <a:cubicBezTo>
                    <a:pt x="217574" y="388910"/>
                    <a:pt x="225733" y="388910"/>
                    <a:pt x="236611" y="388910"/>
                  </a:cubicBezTo>
                  <a:cubicBezTo>
                    <a:pt x="242051" y="388910"/>
                    <a:pt x="247490" y="388910"/>
                    <a:pt x="250210" y="386191"/>
                  </a:cubicBezTo>
                  <a:cubicBezTo>
                    <a:pt x="255649" y="391630"/>
                    <a:pt x="258369" y="388910"/>
                    <a:pt x="258369" y="386191"/>
                  </a:cubicBezTo>
                  <a:cubicBezTo>
                    <a:pt x="258369" y="380751"/>
                    <a:pt x="255649" y="372592"/>
                    <a:pt x="255649" y="367153"/>
                  </a:cubicBezTo>
                  <a:cubicBezTo>
                    <a:pt x="252930" y="353555"/>
                    <a:pt x="250210" y="342676"/>
                    <a:pt x="250210" y="331797"/>
                  </a:cubicBezTo>
                  <a:cubicBezTo>
                    <a:pt x="250210" y="301881"/>
                    <a:pt x="250210" y="274685"/>
                    <a:pt x="247490" y="244769"/>
                  </a:cubicBezTo>
                  <a:cubicBezTo>
                    <a:pt x="247490" y="231170"/>
                    <a:pt x="244771" y="217572"/>
                    <a:pt x="242051" y="203974"/>
                  </a:cubicBezTo>
                  <a:cubicBezTo>
                    <a:pt x="239331" y="187656"/>
                    <a:pt x="236611" y="174058"/>
                    <a:pt x="236611" y="157740"/>
                  </a:cubicBezTo>
                  <a:cubicBezTo>
                    <a:pt x="236611" y="152300"/>
                    <a:pt x="236611" y="133263"/>
                    <a:pt x="233892" y="119665"/>
                  </a:cubicBezTo>
                  <a:cubicBezTo>
                    <a:pt x="233892" y="106066"/>
                    <a:pt x="231172" y="97907"/>
                    <a:pt x="225733" y="97907"/>
                  </a:cubicBezTo>
                  <a:close/>
                  <a:moveTo>
                    <a:pt x="274687" y="0"/>
                  </a:moveTo>
                  <a:cubicBezTo>
                    <a:pt x="288285" y="0"/>
                    <a:pt x="293724" y="2720"/>
                    <a:pt x="304603" y="5439"/>
                  </a:cubicBezTo>
                  <a:cubicBezTo>
                    <a:pt x="315481" y="10879"/>
                    <a:pt x="315481" y="16318"/>
                    <a:pt x="320921" y="24477"/>
                  </a:cubicBezTo>
                  <a:cubicBezTo>
                    <a:pt x="326360" y="29916"/>
                    <a:pt x="331800" y="35356"/>
                    <a:pt x="334519" y="43515"/>
                  </a:cubicBezTo>
                  <a:cubicBezTo>
                    <a:pt x="337239" y="51674"/>
                    <a:pt x="337239" y="57113"/>
                    <a:pt x="339959" y="65272"/>
                  </a:cubicBezTo>
                  <a:cubicBezTo>
                    <a:pt x="345398" y="78870"/>
                    <a:pt x="342678" y="97908"/>
                    <a:pt x="348118" y="114226"/>
                  </a:cubicBezTo>
                  <a:cubicBezTo>
                    <a:pt x="350837" y="130544"/>
                    <a:pt x="358996" y="146863"/>
                    <a:pt x="361716" y="163180"/>
                  </a:cubicBezTo>
                  <a:cubicBezTo>
                    <a:pt x="364435" y="182218"/>
                    <a:pt x="364435" y="201256"/>
                    <a:pt x="369875" y="220293"/>
                  </a:cubicBezTo>
                  <a:cubicBezTo>
                    <a:pt x="375314" y="239331"/>
                    <a:pt x="378034" y="255649"/>
                    <a:pt x="378034" y="274686"/>
                  </a:cubicBezTo>
                  <a:cubicBezTo>
                    <a:pt x="378034" y="282845"/>
                    <a:pt x="380753" y="293724"/>
                    <a:pt x="383473" y="301883"/>
                  </a:cubicBezTo>
                  <a:cubicBezTo>
                    <a:pt x="386193" y="312762"/>
                    <a:pt x="388913" y="326360"/>
                    <a:pt x="391632" y="337238"/>
                  </a:cubicBezTo>
                  <a:cubicBezTo>
                    <a:pt x="391632" y="342678"/>
                    <a:pt x="394352" y="353556"/>
                    <a:pt x="397071" y="364435"/>
                  </a:cubicBezTo>
                  <a:cubicBezTo>
                    <a:pt x="399791" y="372594"/>
                    <a:pt x="402511" y="380753"/>
                    <a:pt x="405230" y="383473"/>
                  </a:cubicBezTo>
                  <a:cubicBezTo>
                    <a:pt x="407950" y="386192"/>
                    <a:pt x="413389" y="386192"/>
                    <a:pt x="416109" y="386192"/>
                  </a:cubicBezTo>
                  <a:cubicBezTo>
                    <a:pt x="418829" y="386192"/>
                    <a:pt x="424268" y="386192"/>
                    <a:pt x="426988" y="386192"/>
                  </a:cubicBezTo>
                  <a:cubicBezTo>
                    <a:pt x="437866" y="386192"/>
                    <a:pt x="448745" y="388912"/>
                    <a:pt x="454184" y="397071"/>
                  </a:cubicBezTo>
                  <a:cubicBezTo>
                    <a:pt x="456904" y="399790"/>
                    <a:pt x="456904" y="402510"/>
                    <a:pt x="456904" y="405230"/>
                  </a:cubicBezTo>
                  <a:cubicBezTo>
                    <a:pt x="456904" y="407949"/>
                    <a:pt x="454184" y="410669"/>
                    <a:pt x="451464" y="416108"/>
                  </a:cubicBezTo>
                  <a:cubicBezTo>
                    <a:pt x="446025" y="421548"/>
                    <a:pt x="440586" y="426987"/>
                    <a:pt x="432427" y="429707"/>
                  </a:cubicBezTo>
                  <a:cubicBezTo>
                    <a:pt x="429707" y="429707"/>
                    <a:pt x="426988" y="432426"/>
                    <a:pt x="421548" y="432426"/>
                  </a:cubicBezTo>
                  <a:cubicBezTo>
                    <a:pt x="418829" y="432426"/>
                    <a:pt x="416109" y="432426"/>
                    <a:pt x="413389" y="435146"/>
                  </a:cubicBezTo>
                  <a:cubicBezTo>
                    <a:pt x="413389" y="435146"/>
                    <a:pt x="413389" y="437866"/>
                    <a:pt x="413389" y="440585"/>
                  </a:cubicBezTo>
                  <a:cubicBezTo>
                    <a:pt x="413389" y="443305"/>
                    <a:pt x="413389" y="448744"/>
                    <a:pt x="416109" y="451464"/>
                  </a:cubicBezTo>
                  <a:cubicBezTo>
                    <a:pt x="416109" y="456903"/>
                    <a:pt x="418829" y="462343"/>
                    <a:pt x="418829" y="465062"/>
                  </a:cubicBezTo>
                  <a:lnTo>
                    <a:pt x="418829" y="475941"/>
                  </a:lnTo>
                  <a:cubicBezTo>
                    <a:pt x="418829" y="481380"/>
                    <a:pt x="418829" y="484100"/>
                    <a:pt x="418829" y="486820"/>
                  </a:cubicBezTo>
                  <a:cubicBezTo>
                    <a:pt x="421548" y="497698"/>
                    <a:pt x="424268" y="505857"/>
                    <a:pt x="426988" y="516736"/>
                  </a:cubicBezTo>
                  <a:cubicBezTo>
                    <a:pt x="426988" y="524895"/>
                    <a:pt x="429707" y="535773"/>
                    <a:pt x="432427" y="543932"/>
                  </a:cubicBezTo>
                  <a:cubicBezTo>
                    <a:pt x="435147" y="554811"/>
                    <a:pt x="437866" y="562970"/>
                    <a:pt x="437866" y="573848"/>
                  </a:cubicBezTo>
                  <a:cubicBezTo>
                    <a:pt x="437866" y="587447"/>
                    <a:pt x="440586" y="595606"/>
                    <a:pt x="443306" y="606484"/>
                  </a:cubicBezTo>
                  <a:cubicBezTo>
                    <a:pt x="443306" y="609204"/>
                    <a:pt x="446025" y="614643"/>
                    <a:pt x="446025" y="617363"/>
                  </a:cubicBezTo>
                  <a:cubicBezTo>
                    <a:pt x="454184" y="617363"/>
                    <a:pt x="462343" y="617363"/>
                    <a:pt x="470502" y="617363"/>
                  </a:cubicBezTo>
                  <a:cubicBezTo>
                    <a:pt x="475942" y="625522"/>
                    <a:pt x="492259" y="630961"/>
                    <a:pt x="492259" y="641840"/>
                  </a:cubicBezTo>
                  <a:cubicBezTo>
                    <a:pt x="492259" y="647279"/>
                    <a:pt x="486820" y="649999"/>
                    <a:pt x="484101" y="655438"/>
                  </a:cubicBezTo>
                  <a:cubicBezTo>
                    <a:pt x="481381" y="660877"/>
                    <a:pt x="473222" y="663597"/>
                    <a:pt x="467782" y="663597"/>
                  </a:cubicBezTo>
                  <a:cubicBezTo>
                    <a:pt x="456904" y="666317"/>
                    <a:pt x="451464" y="666317"/>
                    <a:pt x="443306" y="666317"/>
                  </a:cubicBezTo>
                  <a:cubicBezTo>
                    <a:pt x="437866" y="666317"/>
                    <a:pt x="429707" y="666317"/>
                    <a:pt x="421548" y="666317"/>
                  </a:cubicBezTo>
                  <a:cubicBezTo>
                    <a:pt x="418829" y="666317"/>
                    <a:pt x="416109" y="666317"/>
                    <a:pt x="413389" y="666317"/>
                  </a:cubicBezTo>
                  <a:cubicBezTo>
                    <a:pt x="407950" y="669036"/>
                    <a:pt x="405230" y="669036"/>
                    <a:pt x="399791" y="671756"/>
                  </a:cubicBezTo>
                  <a:cubicBezTo>
                    <a:pt x="394352" y="671756"/>
                    <a:pt x="388913" y="674476"/>
                    <a:pt x="383473" y="674476"/>
                  </a:cubicBezTo>
                  <a:cubicBezTo>
                    <a:pt x="372594" y="674476"/>
                    <a:pt x="358996" y="671756"/>
                    <a:pt x="348118" y="669036"/>
                  </a:cubicBezTo>
                  <a:cubicBezTo>
                    <a:pt x="339959" y="669036"/>
                    <a:pt x="331800" y="669036"/>
                    <a:pt x="326360" y="669036"/>
                  </a:cubicBezTo>
                  <a:cubicBezTo>
                    <a:pt x="304603" y="669036"/>
                    <a:pt x="285565" y="669036"/>
                    <a:pt x="277406" y="669036"/>
                  </a:cubicBezTo>
                  <a:cubicBezTo>
                    <a:pt x="269247" y="669036"/>
                    <a:pt x="258369" y="669036"/>
                    <a:pt x="252930" y="663597"/>
                  </a:cubicBezTo>
                  <a:cubicBezTo>
                    <a:pt x="247490" y="660877"/>
                    <a:pt x="236611" y="655438"/>
                    <a:pt x="236611" y="647279"/>
                  </a:cubicBezTo>
                  <a:cubicBezTo>
                    <a:pt x="236611" y="636401"/>
                    <a:pt x="252930" y="633681"/>
                    <a:pt x="261088" y="630961"/>
                  </a:cubicBezTo>
                  <a:cubicBezTo>
                    <a:pt x="266528" y="630961"/>
                    <a:pt x="274687" y="630961"/>
                    <a:pt x="288285" y="628241"/>
                  </a:cubicBezTo>
                  <a:cubicBezTo>
                    <a:pt x="288285" y="620082"/>
                    <a:pt x="288285" y="614643"/>
                    <a:pt x="285565" y="609204"/>
                  </a:cubicBezTo>
                  <a:cubicBezTo>
                    <a:pt x="285565" y="601045"/>
                    <a:pt x="282846" y="590166"/>
                    <a:pt x="282846" y="582007"/>
                  </a:cubicBezTo>
                  <a:cubicBezTo>
                    <a:pt x="282846" y="576568"/>
                    <a:pt x="280126" y="573848"/>
                    <a:pt x="280126" y="568409"/>
                  </a:cubicBezTo>
                  <a:cubicBezTo>
                    <a:pt x="280126" y="562970"/>
                    <a:pt x="282846" y="557531"/>
                    <a:pt x="282846" y="554811"/>
                  </a:cubicBezTo>
                  <a:cubicBezTo>
                    <a:pt x="282846" y="549371"/>
                    <a:pt x="280126" y="546652"/>
                    <a:pt x="277406" y="538493"/>
                  </a:cubicBezTo>
                  <a:cubicBezTo>
                    <a:pt x="277406" y="527614"/>
                    <a:pt x="271967" y="516736"/>
                    <a:pt x="271967" y="505857"/>
                  </a:cubicBezTo>
                  <a:cubicBezTo>
                    <a:pt x="271967" y="494978"/>
                    <a:pt x="271967" y="486820"/>
                    <a:pt x="269247" y="478660"/>
                  </a:cubicBezTo>
                  <a:cubicBezTo>
                    <a:pt x="266528" y="467782"/>
                    <a:pt x="266528" y="456903"/>
                    <a:pt x="266528" y="446025"/>
                  </a:cubicBezTo>
                  <a:cubicBezTo>
                    <a:pt x="266528" y="440585"/>
                    <a:pt x="263808" y="437866"/>
                    <a:pt x="261088" y="437866"/>
                  </a:cubicBezTo>
                  <a:cubicBezTo>
                    <a:pt x="258369" y="437866"/>
                    <a:pt x="255649" y="437866"/>
                    <a:pt x="250210" y="437866"/>
                  </a:cubicBezTo>
                  <a:cubicBezTo>
                    <a:pt x="239331" y="437866"/>
                    <a:pt x="228452" y="437866"/>
                    <a:pt x="220293" y="440585"/>
                  </a:cubicBezTo>
                  <a:cubicBezTo>
                    <a:pt x="209415" y="440585"/>
                    <a:pt x="201256" y="443305"/>
                    <a:pt x="190377" y="443305"/>
                  </a:cubicBezTo>
                  <a:cubicBezTo>
                    <a:pt x="182218" y="443305"/>
                    <a:pt x="174059" y="443305"/>
                    <a:pt x="165900" y="443305"/>
                  </a:cubicBezTo>
                  <a:cubicBezTo>
                    <a:pt x="163181" y="443305"/>
                    <a:pt x="152302" y="440585"/>
                    <a:pt x="144143" y="440585"/>
                  </a:cubicBezTo>
                  <a:cubicBezTo>
                    <a:pt x="135984" y="440585"/>
                    <a:pt x="135984" y="448744"/>
                    <a:pt x="135984" y="454184"/>
                  </a:cubicBezTo>
                  <a:cubicBezTo>
                    <a:pt x="135984" y="465062"/>
                    <a:pt x="133264" y="475941"/>
                    <a:pt x="130545" y="486820"/>
                  </a:cubicBezTo>
                  <a:cubicBezTo>
                    <a:pt x="127825" y="505857"/>
                    <a:pt x="122386" y="522175"/>
                    <a:pt x="119666" y="541213"/>
                  </a:cubicBezTo>
                  <a:cubicBezTo>
                    <a:pt x="116947" y="560250"/>
                    <a:pt x="108788" y="595606"/>
                    <a:pt x="103348" y="614643"/>
                  </a:cubicBezTo>
                  <a:cubicBezTo>
                    <a:pt x="111507" y="614643"/>
                    <a:pt x="122386" y="614643"/>
                    <a:pt x="133264" y="614643"/>
                  </a:cubicBezTo>
                  <a:cubicBezTo>
                    <a:pt x="146863" y="614643"/>
                    <a:pt x="168620" y="614643"/>
                    <a:pt x="168620" y="630961"/>
                  </a:cubicBezTo>
                  <a:cubicBezTo>
                    <a:pt x="168620" y="639120"/>
                    <a:pt x="165900" y="639120"/>
                    <a:pt x="163181" y="647279"/>
                  </a:cubicBezTo>
                  <a:cubicBezTo>
                    <a:pt x="160461" y="652718"/>
                    <a:pt x="152302" y="655438"/>
                    <a:pt x="146863" y="655438"/>
                  </a:cubicBezTo>
                  <a:cubicBezTo>
                    <a:pt x="138704" y="658158"/>
                    <a:pt x="133264" y="658158"/>
                    <a:pt x="127825" y="658158"/>
                  </a:cubicBezTo>
                  <a:cubicBezTo>
                    <a:pt x="122386" y="658158"/>
                    <a:pt x="116947" y="658158"/>
                    <a:pt x="106068" y="658158"/>
                  </a:cubicBezTo>
                  <a:cubicBezTo>
                    <a:pt x="92468" y="658158"/>
                    <a:pt x="78870" y="658158"/>
                    <a:pt x="62552" y="658158"/>
                  </a:cubicBezTo>
                  <a:cubicBezTo>
                    <a:pt x="54393" y="658158"/>
                    <a:pt x="46234" y="658158"/>
                    <a:pt x="40795" y="658158"/>
                  </a:cubicBezTo>
                  <a:cubicBezTo>
                    <a:pt x="32636" y="658158"/>
                    <a:pt x="21758" y="658158"/>
                    <a:pt x="16318" y="652718"/>
                  </a:cubicBezTo>
                  <a:cubicBezTo>
                    <a:pt x="8159" y="649999"/>
                    <a:pt x="0" y="641840"/>
                    <a:pt x="0" y="636401"/>
                  </a:cubicBezTo>
                  <a:cubicBezTo>
                    <a:pt x="0" y="633681"/>
                    <a:pt x="0" y="630961"/>
                    <a:pt x="2720" y="628241"/>
                  </a:cubicBezTo>
                  <a:cubicBezTo>
                    <a:pt x="8159" y="625522"/>
                    <a:pt x="16318" y="622802"/>
                    <a:pt x="24477" y="620082"/>
                  </a:cubicBezTo>
                  <a:cubicBezTo>
                    <a:pt x="38075" y="617363"/>
                    <a:pt x="48954" y="617363"/>
                    <a:pt x="62552" y="617363"/>
                  </a:cubicBezTo>
                  <a:cubicBezTo>
                    <a:pt x="62552" y="617363"/>
                    <a:pt x="62552" y="614643"/>
                    <a:pt x="62552" y="614643"/>
                  </a:cubicBezTo>
                  <a:cubicBezTo>
                    <a:pt x="62552" y="603765"/>
                    <a:pt x="65272" y="590166"/>
                    <a:pt x="65272" y="587447"/>
                  </a:cubicBezTo>
                  <a:cubicBezTo>
                    <a:pt x="67992" y="565689"/>
                    <a:pt x="73431" y="543932"/>
                    <a:pt x="76151" y="522175"/>
                  </a:cubicBezTo>
                  <a:cubicBezTo>
                    <a:pt x="78870" y="505857"/>
                    <a:pt x="81590" y="486820"/>
                    <a:pt x="87029" y="470501"/>
                  </a:cubicBezTo>
                  <a:cubicBezTo>
                    <a:pt x="87029" y="465062"/>
                    <a:pt x="92468" y="451464"/>
                    <a:pt x="92468" y="446025"/>
                  </a:cubicBezTo>
                  <a:cubicBezTo>
                    <a:pt x="92468" y="437866"/>
                    <a:pt x="73431" y="437866"/>
                    <a:pt x="65272" y="432426"/>
                  </a:cubicBezTo>
                  <a:cubicBezTo>
                    <a:pt x="59833" y="429707"/>
                    <a:pt x="54393" y="426987"/>
                    <a:pt x="54393" y="421548"/>
                  </a:cubicBezTo>
                  <a:cubicBezTo>
                    <a:pt x="54393" y="413389"/>
                    <a:pt x="62552" y="410669"/>
                    <a:pt x="73431" y="407949"/>
                  </a:cubicBezTo>
                  <a:cubicBezTo>
                    <a:pt x="78870" y="407949"/>
                    <a:pt x="92468" y="405230"/>
                    <a:pt x="100629" y="399790"/>
                  </a:cubicBezTo>
                  <a:cubicBezTo>
                    <a:pt x="106068" y="394351"/>
                    <a:pt x="106068" y="378033"/>
                    <a:pt x="108788" y="369874"/>
                  </a:cubicBezTo>
                  <a:cubicBezTo>
                    <a:pt x="114227" y="348117"/>
                    <a:pt x="119666" y="326360"/>
                    <a:pt x="125105" y="307322"/>
                  </a:cubicBezTo>
                  <a:cubicBezTo>
                    <a:pt x="130545" y="285565"/>
                    <a:pt x="135984" y="263808"/>
                    <a:pt x="141423" y="242051"/>
                  </a:cubicBezTo>
                  <a:cubicBezTo>
                    <a:pt x="146863" y="220293"/>
                    <a:pt x="152302" y="198536"/>
                    <a:pt x="155022" y="179498"/>
                  </a:cubicBezTo>
                  <a:cubicBezTo>
                    <a:pt x="157742" y="160461"/>
                    <a:pt x="163181" y="138703"/>
                    <a:pt x="168620" y="119665"/>
                  </a:cubicBezTo>
                  <a:cubicBezTo>
                    <a:pt x="176779" y="100627"/>
                    <a:pt x="182218" y="76150"/>
                    <a:pt x="193097" y="57113"/>
                  </a:cubicBezTo>
                  <a:lnTo>
                    <a:pt x="201256" y="38075"/>
                  </a:lnTo>
                  <a:cubicBezTo>
                    <a:pt x="206695" y="29916"/>
                    <a:pt x="209415" y="19038"/>
                    <a:pt x="217574" y="13598"/>
                  </a:cubicBezTo>
                  <a:cubicBezTo>
                    <a:pt x="231172" y="2720"/>
                    <a:pt x="255649" y="0"/>
                    <a:pt x="274687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rgbClr val="666666"/>
                </a:solidFill>
              </a:endParaRPr>
            </a:p>
          </p:txBody>
        </p:sp>
        <p:sp>
          <p:nvSpPr>
            <p:cNvPr id="47" name="Freeform: Shape 46">
              <a:extLst>
                <a:ext uri="{FF2B5EF4-FFF2-40B4-BE49-F238E27FC236}">
                  <a16:creationId xmlns:a16="http://schemas.microsoft.com/office/drawing/2014/main" id="{95C4E59D-A8AD-4910-AF39-8DEEF44A00F1}"/>
                </a:ext>
              </a:extLst>
            </p:cNvPr>
            <p:cNvSpPr/>
            <p:nvPr/>
          </p:nvSpPr>
          <p:spPr>
            <a:xfrm>
              <a:off x="6876542" y="4244897"/>
              <a:ext cx="462342" cy="677195"/>
            </a:xfrm>
            <a:custGeom>
              <a:avLst/>
              <a:gdLst>
                <a:gd name="connsiteX0" fmla="*/ 214853 w 462342"/>
                <a:gd name="connsiteY0" fmla="*/ 65272 h 677195"/>
                <a:gd name="connsiteX1" fmla="*/ 195815 w 462342"/>
                <a:gd name="connsiteY1" fmla="*/ 73431 h 677195"/>
                <a:gd name="connsiteX2" fmla="*/ 193096 w 462342"/>
                <a:gd name="connsiteY2" fmla="*/ 125105 h 677195"/>
                <a:gd name="connsiteX3" fmla="*/ 190376 w 462342"/>
                <a:gd name="connsiteY3" fmla="*/ 280125 h 677195"/>
                <a:gd name="connsiteX4" fmla="*/ 190376 w 462342"/>
                <a:gd name="connsiteY4" fmla="*/ 301882 h 677195"/>
                <a:gd name="connsiteX5" fmla="*/ 193096 w 462342"/>
                <a:gd name="connsiteY5" fmla="*/ 342677 h 677195"/>
                <a:gd name="connsiteX6" fmla="*/ 195815 w 462342"/>
                <a:gd name="connsiteY6" fmla="*/ 397070 h 677195"/>
                <a:gd name="connsiteX7" fmla="*/ 195815 w 462342"/>
                <a:gd name="connsiteY7" fmla="*/ 443304 h 677195"/>
                <a:gd name="connsiteX8" fmla="*/ 195815 w 462342"/>
                <a:gd name="connsiteY8" fmla="*/ 530333 h 677195"/>
                <a:gd name="connsiteX9" fmla="*/ 193096 w 462342"/>
                <a:gd name="connsiteY9" fmla="*/ 554810 h 677195"/>
                <a:gd name="connsiteX10" fmla="*/ 190376 w 462342"/>
                <a:gd name="connsiteY10" fmla="*/ 603764 h 677195"/>
                <a:gd name="connsiteX11" fmla="*/ 198535 w 462342"/>
                <a:gd name="connsiteY11" fmla="*/ 611923 h 677195"/>
                <a:gd name="connsiteX12" fmla="*/ 214853 w 462342"/>
                <a:gd name="connsiteY12" fmla="*/ 611923 h 677195"/>
                <a:gd name="connsiteX13" fmla="*/ 236610 w 462342"/>
                <a:gd name="connsiteY13" fmla="*/ 611923 h 677195"/>
                <a:gd name="connsiteX14" fmla="*/ 263807 w 462342"/>
                <a:gd name="connsiteY14" fmla="*/ 598325 h 677195"/>
                <a:gd name="connsiteX15" fmla="*/ 277405 w 462342"/>
                <a:gd name="connsiteY15" fmla="*/ 592885 h 677195"/>
                <a:gd name="connsiteX16" fmla="*/ 291004 w 462342"/>
                <a:gd name="connsiteY16" fmla="*/ 573848 h 677195"/>
                <a:gd name="connsiteX17" fmla="*/ 307322 w 462342"/>
                <a:gd name="connsiteY17" fmla="*/ 543931 h 677195"/>
                <a:gd name="connsiteX18" fmla="*/ 326359 w 462342"/>
                <a:gd name="connsiteY18" fmla="*/ 481379 h 677195"/>
                <a:gd name="connsiteX19" fmla="*/ 337238 w 462342"/>
                <a:gd name="connsiteY19" fmla="*/ 413388 h 677195"/>
                <a:gd name="connsiteX20" fmla="*/ 337238 w 462342"/>
                <a:gd name="connsiteY20" fmla="*/ 350836 h 677195"/>
                <a:gd name="connsiteX21" fmla="*/ 334518 w 462342"/>
                <a:gd name="connsiteY21" fmla="*/ 296443 h 677195"/>
                <a:gd name="connsiteX22" fmla="*/ 329079 w 462342"/>
                <a:gd name="connsiteY22" fmla="*/ 244769 h 677195"/>
                <a:gd name="connsiteX23" fmla="*/ 307322 w 462342"/>
                <a:gd name="connsiteY23" fmla="*/ 135983 h 677195"/>
                <a:gd name="connsiteX24" fmla="*/ 271966 w 462342"/>
                <a:gd name="connsiteY24" fmla="*/ 78870 h 677195"/>
                <a:gd name="connsiteX25" fmla="*/ 214853 w 462342"/>
                <a:gd name="connsiteY25" fmla="*/ 65272 h 677195"/>
                <a:gd name="connsiteX26" fmla="*/ 114226 w 462342"/>
                <a:gd name="connsiteY26" fmla="*/ 0 h 677195"/>
                <a:gd name="connsiteX27" fmla="*/ 127824 w 462342"/>
                <a:gd name="connsiteY27" fmla="*/ 0 h 677195"/>
                <a:gd name="connsiteX28" fmla="*/ 146862 w 462342"/>
                <a:gd name="connsiteY28" fmla="*/ 2720 h 677195"/>
                <a:gd name="connsiteX29" fmla="*/ 174059 w 462342"/>
                <a:gd name="connsiteY29" fmla="*/ 21758 h 677195"/>
                <a:gd name="connsiteX30" fmla="*/ 193096 w 462342"/>
                <a:gd name="connsiteY30" fmla="*/ 21758 h 677195"/>
                <a:gd name="connsiteX31" fmla="*/ 261088 w 462342"/>
                <a:gd name="connsiteY31" fmla="*/ 27197 h 677195"/>
                <a:gd name="connsiteX32" fmla="*/ 310042 w 462342"/>
                <a:gd name="connsiteY32" fmla="*/ 35356 h 677195"/>
                <a:gd name="connsiteX33" fmla="*/ 334518 w 462342"/>
                <a:gd name="connsiteY33" fmla="*/ 40795 h 677195"/>
                <a:gd name="connsiteX34" fmla="*/ 356276 w 462342"/>
                <a:gd name="connsiteY34" fmla="*/ 59833 h 677195"/>
                <a:gd name="connsiteX35" fmla="*/ 372593 w 462342"/>
                <a:gd name="connsiteY35" fmla="*/ 76151 h 677195"/>
                <a:gd name="connsiteX36" fmla="*/ 380752 w 462342"/>
                <a:gd name="connsiteY36" fmla="*/ 95188 h 677195"/>
                <a:gd name="connsiteX37" fmla="*/ 405230 w 462342"/>
                <a:gd name="connsiteY37" fmla="*/ 114226 h 677195"/>
                <a:gd name="connsiteX38" fmla="*/ 416108 w 462342"/>
                <a:gd name="connsiteY38" fmla="*/ 141422 h 677195"/>
                <a:gd name="connsiteX39" fmla="*/ 451464 w 462342"/>
                <a:gd name="connsiteY39" fmla="*/ 201256 h 677195"/>
                <a:gd name="connsiteX40" fmla="*/ 456903 w 462342"/>
                <a:gd name="connsiteY40" fmla="*/ 252929 h 677195"/>
                <a:gd name="connsiteX41" fmla="*/ 456903 w 462342"/>
                <a:gd name="connsiteY41" fmla="*/ 291004 h 677195"/>
                <a:gd name="connsiteX42" fmla="*/ 459623 w 462342"/>
                <a:gd name="connsiteY42" fmla="*/ 318201 h 677195"/>
                <a:gd name="connsiteX43" fmla="*/ 459623 w 462342"/>
                <a:gd name="connsiteY43" fmla="*/ 326360 h 677195"/>
                <a:gd name="connsiteX44" fmla="*/ 459623 w 462342"/>
                <a:gd name="connsiteY44" fmla="*/ 348117 h 677195"/>
                <a:gd name="connsiteX45" fmla="*/ 462342 w 462342"/>
                <a:gd name="connsiteY45" fmla="*/ 367155 h 677195"/>
                <a:gd name="connsiteX46" fmla="*/ 456903 w 462342"/>
                <a:gd name="connsiteY46" fmla="*/ 391632 h 677195"/>
                <a:gd name="connsiteX47" fmla="*/ 456903 w 462342"/>
                <a:gd name="connsiteY47" fmla="*/ 418828 h 677195"/>
                <a:gd name="connsiteX48" fmla="*/ 451464 w 462342"/>
                <a:gd name="connsiteY48" fmla="*/ 437866 h 677195"/>
                <a:gd name="connsiteX49" fmla="*/ 446025 w 462342"/>
                <a:gd name="connsiteY49" fmla="*/ 454184 h 677195"/>
                <a:gd name="connsiteX50" fmla="*/ 440585 w 462342"/>
                <a:gd name="connsiteY50" fmla="*/ 481380 h 677195"/>
                <a:gd name="connsiteX51" fmla="*/ 432426 w 462342"/>
                <a:gd name="connsiteY51" fmla="*/ 508577 h 677195"/>
                <a:gd name="connsiteX52" fmla="*/ 418828 w 462342"/>
                <a:gd name="connsiteY52" fmla="*/ 530334 h 677195"/>
                <a:gd name="connsiteX53" fmla="*/ 410669 w 462342"/>
                <a:gd name="connsiteY53" fmla="*/ 549371 h 677195"/>
                <a:gd name="connsiteX54" fmla="*/ 391631 w 462342"/>
                <a:gd name="connsiteY54" fmla="*/ 579288 h 677195"/>
                <a:gd name="connsiteX55" fmla="*/ 337238 w 462342"/>
                <a:gd name="connsiteY55" fmla="*/ 630961 h 677195"/>
                <a:gd name="connsiteX56" fmla="*/ 301883 w 462342"/>
                <a:gd name="connsiteY56" fmla="*/ 647279 h 677195"/>
                <a:gd name="connsiteX57" fmla="*/ 263807 w 462342"/>
                <a:gd name="connsiteY57" fmla="*/ 652718 h 677195"/>
                <a:gd name="connsiteX58" fmla="*/ 233891 w 462342"/>
                <a:gd name="connsiteY58" fmla="*/ 649999 h 677195"/>
                <a:gd name="connsiteX59" fmla="*/ 187657 w 462342"/>
                <a:gd name="connsiteY59" fmla="*/ 652718 h 677195"/>
                <a:gd name="connsiteX60" fmla="*/ 171339 w 462342"/>
                <a:gd name="connsiteY60" fmla="*/ 669036 h 677195"/>
                <a:gd name="connsiteX61" fmla="*/ 155021 w 462342"/>
                <a:gd name="connsiteY61" fmla="*/ 671756 h 677195"/>
                <a:gd name="connsiteX62" fmla="*/ 138703 w 462342"/>
                <a:gd name="connsiteY62" fmla="*/ 674476 h 677195"/>
                <a:gd name="connsiteX63" fmla="*/ 125105 w 462342"/>
                <a:gd name="connsiteY63" fmla="*/ 677195 h 677195"/>
                <a:gd name="connsiteX64" fmla="*/ 106067 w 462342"/>
                <a:gd name="connsiteY64" fmla="*/ 671756 h 677195"/>
                <a:gd name="connsiteX65" fmla="*/ 87029 w 462342"/>
                <a:gd name="connsiteY65" fmla="*/ 658158 h 677195"/>
                <a:gd name="connsiteX66" fmla="*/ 81590 w 462342"/>
                <a:gd name="connsiteY66" fmla="*/ 652718 h 677195"/>
                <a:gd name="connsiteX67" fmla="*/ 67992 w 462342"/>
                <a:gd name="connsiteY67" fmla="*/ 652718 h 677195"/>
                <a:gd name="connsiteX68" fmla="*/ 43515 w 462342"/>
                <a:gd name="connsiteY68" fmla="*/ 652718 h 677195"/>
                <a:gd name="connsiteX69" fmla="*/ 16318 w 462342"/>
                <a:gd name="connsiteY69" fmla="*/ 647279 h 677195"/>
                <a:gd name="connsiteX70" fmla="*/ 0 w 462342"/>
                <a:gd name="connsiteY70" fmla="*/ 630961 h 677195"/>
                <a:gd name="connsiteX71" fmla="*/ 5439 w 462342"/>
                <a:gd name="connsiteY71" fmla="*/ 620083 h 677195"/>
                <a:gd name="connsiteX72" fmla="*/ 27197 w 462342"/>
                <a:gd name="connsiteY72" fmla="*/ 611924 h 677195"/>
                <a:gd name="connsiteX73" fmla="*/ 65272 w 462342"/>
                <a:gd name="connsiteY73" fmla="*/ 609204 h 677195"/>
                <a:gd name="connsiteX74" fmla="*/ 65272 w 462342"/>
                <a:gd name="connsiteY74" fmla="*/ 584727 h 677195"/>
                <a:gd name="connsiteX75" fmla="*/ 62552 w 462342"/>
                <a:gd name="connsiteY75" fmla="*/ 456903 h 677195"/>
                <a:gd name="connsiteX76" fmla="*/ 65272 w 462342"/>
                <a:gd name="connsiteY76" fmla="*/ 337238 h 677195"/>
                <a:gd name="connsiteX77" fmla="*/ 67992 w 462342"/>
                <a:gd name="connsiteY77" fmla="*/ 203975 h 677195"/>
                <a:gd name="connsiteX78" fmla="*/ 70712 w 462342"/>
                <a:gd name="connsiteY78" fmla="*/ 119665 h 677195"/>
                <a:gd name="connsiteX79" fmla="*/ 73431 w 462342"/>
                <a:gd name="connsiteY79" fmla="*/ 67992 h 677195"/>
                <a:gd name="connsiteX80" fmla="*/ 67992 w 462342"/>
                <a:gd name="connsiteY80" fmla="*/ 67992 h 677195"/>
                <a:gd name="connsiteX81" fmla="*/ 43515 w 462342"/>
                <a:gd name="connsiteY81" fmla="*/ 67992 h 677195"/>
                <a:gd name="connsiteX82" fmla="*/ 16318 w 462342"/>
                <a:gd name="connsiteY82" fmla="*/ 62552 h 677195"/>
                <a:gd name="connsiteX83" fmla="*/ 0 w 462342"/>
                <a:gd name="connsiteY83" fmla="*/ 46234 h 677195"/>
                <a:gd name="connsiteX84" fmla="*/ 5439 w 462342"/>
                <a:gd name="connsiteY84" fmla="*/ 35356 h 677195"/>
                <a:gd name="connsiteX85" fmla="*/ 27197 w 462342"/>
                <a:gd name="connsiteY85" fmla="*/ 27197 h 677195"/>
                <a:gd name="connsiteX86" fmla="*/ 76151 w 462342"/>
                <a:gd name="connsiteY86" fmla="*/ 21758 h 677195"/>
                <a:gd name="connsiteX87" fmla="*/ 81590 w 462342"/>
                <a:gd name="connsiteY87" fmla="*/ 13598 h 677195"/>
                <a:gd name="connsiteX88" fmla="*/ 97908 w 462342"/>
                <a:gd name="connsiteY88" fmla="*/ 5439 h 677195"/>
                <a:gd name="connsiteX89" fmla="*/ 114226 w 462342"/>
                <a:gd name="connsiteY89" fmla="*/ 0 h 6771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</a:cxnLst>
              <a:rect l="l" t="t" r="r" b="b"/>
              <a:pathLst>
                <a:path w="462342" h="677195">
                  <a:moveTo>
                    <a:pt x="214853" y="65272"/>
                  </a:moveTo>
                  <a:cubicBezTo>
                    <a:pt x="203975" y="65272"/>
                    <a:pt x="195815" y="67992"/>
                    <a:pt x="195815" y="73431"/>
                  </a:cubicBezTo>
                  <a:cubicBezTo>
                    <a:pt x="193096" y="78870"/>
                    <a:pt x="193096" y="100628"/>
                    <a:pt x="193096" y="125105"/>
                  </a:cubicBezTo>
                  <a:cubicBezTo>
                    <a:pt x="193096" y="182217"/>
                    <a:pt x="193096" y="266527"/>
                    <a:pt x="190376" y="280125"/>
                  </a:cubicBezTo>
                  <a:cubicBezTo>
                    <a:pt x="190376" y="288284"/>
                    <a:pt x="190376" y="293723"/>
                    <a:pt x="190376" y="301882"/>
                  </a:cubicBezTo>
                  <a:cubicBezTo>
                    <a:pt x="190376" y="315480"/>
                    <a:pt x="190376" y="329079"/>
                    <a:pt x="193096" y="342677"/>
                  </a:cubicBezTo>
                  <a:cubicBezTo>
                    <a:pt x="193096" y="361715"/>
                    <a:pt x="193096" y="378033"/>
                    <a:pt x="195815" y="397070"/>
                  </a:cubicBezTo>
                  <a:cubicBezTo>
                    <a:pt x="195815" y="413388"/>
                    <a:pt x="195815" y="426986"/>
                    <a:pt x="195815" y="443304"/>
                  </a:cubicBezTo>
                  <a:cubicBezTo>
                    <a:pt x="195815" y="465061"/>
                    <a:pt x="198535" y="508576"/>
                    <a:pt x="195815" y="530333"/>
                  </a:cubicBezTo>
                  <a:cubicBezTo>
                    <a:pt x="195815" y="538492"/>
                    <a:pt x="193096" y="546651"/>
                    <a:pt x="193096" y="554810"/>
                  </a:cubicBezTo>
                  <a:cubicBezTo>
                    <a:pt x="193096" y="560249"/>
                    <a:pt x="190376" y="590166"/>
                    <a:pt x="190376" y="603764"/>
                  </a:cubicBezTo>
                  <a:cubicBezTo>
                    <a:pt x="190376" y="609203"/>
                    <a:pt x="190376" y="611923"/>
                    <a:pt x="198535" y="611923"/>
                  </a:cubicBezTo>
                  <a:cubicBezTo>
                    <a:pt x="206694" y="611923"/>
                    <a:pt x="209414" y="611923"/>
                    <a:pt x="214853" y="611923"/>
                  </a:cubicBezTo>
                  <a:cubicBezTo>
                    <a:pt x="223012" y="611923"/>
                    <a:pt x="220293" y="611923"/>
                    <a:pt x="236610" y="611923"/>
                  </a:cubicBezTo>
                  <a:cubicBezTo>
                    <a:pt x="242050" y="611923"/>
                    <a:pt x="258368" y="601044"/>
                    <a:pt x="263807" y="598325"/>
                  </a:cubicBezTo>
                  <a:cubicBezTo>
                    <a:pt x="266527" y="598325"/>
                    <a:pt x="274686" y="592885"/>
                    <a:pt x="277405" y="592885"/>
                  </a:cubicBezTo>
                  <a:cubicBezTo>
                    <a:pt x="285564" y="587446"/>
                    <a:pt x="288284" y="579287"/>
                    <a:pt x="291004" y="573848"/>
                  </a:cubicBezTo>
                  <a:cubicBezTo>
                    <a:pt x="296443" y="562969"/>
                    <a:pt x="301882" y="554810"/>
                    <a:pt x="307322" y="543931"/>
                  </a:cubicBezTo>
                  <a:cubicBezTo>
                    <a:pt x="315481" y="524894"/>
                    <a:pt x="320920" y="524894"/>
                    <a:pt x="326359" y="481379"/>
                  </a:cubicBezTo>
                  <a:cubicBezTo>
                    <a:pt x="329079" y="456903"/>
                    <a:pt x="334518" y="435145"/>
                    <a:pt x="337238" y="413388"/>
                  </a:cubicBezTo>
                  <a:cubicBezTo>
                    <a:pt x="337238" y="391631"/>
                    <a:pt x="337238" y="369873"/>
                    <a:pt x="337238" y="350836"/>
                  </a:cubicBezTo>
                  <a:cubicBezTo>
                    <a:pt x="337238" y="339957"/>
                    <a:pt x="337238" y="320920"/>
                    <a:pt x="334518" y="296443"/>
                  </a:cubicBezTo>
                  <a:cubicBezTo>
                    <a:pt x="331798" y="269246"/>
                    <a:pt x="329079" y="250209"/>
                    <a:pt x="329079" y="244769"/>
                  </a:cubicBezTo>
                  <a:cubicBezTo>
                    <a:pt x="323640" y="206694"/>
                    <a:pt x="318200" y="174058"/>
                    <a:pt x="307322" y="135983"/>
                  </a:cubicBezTo>
                  <a:cubicBezTo>
                    <a:pt x="304602" y="125105"/>
                    <a:pt x="304602" y="108787"/>
                    <a:pt x="271966" y="78870"/>
                  </a:cubicBezTo>
                  <a:cubicBezTo>
                    <a:pt x="263807" y="73431"/>
                    <a:pt x="233891" y="65272"/>
                    <a:pt x="214853" y="65272"/>
                  </a:cubicBezTo>
                  <a:close/>
                  <a:moveTo>
                    <a:pt x="114226" y="0"/>
                  </a:moveTo>
                  <a:cubicBezTo>
                    <a:pt x="119665" y="0"/>
                    <a:pt x="125105" y="0"/>
                    <a:pt x="127824" y="0"/>
                  </a:cubicBezTo>
                  <a:cubicBezTo>
                    <a:pt x="133264" y="0"/>
                    <a:pt x="141422" y="0"/>
                    <a:pt x="146862" y="2720"/>
                  </a:cubicBezTo>
                  <a:cubicBezTo>
                    <a:pt x="157741" y="5439"/>
                    <a:pt x="165900" y="13598"/>
                    <a:pt x="174059" y="21758"/>
                  </a:cubicBezTo>
                  <a:cubicBezTo>
                    <a:pt x="179498" y="21758"/>
                    <a:pt x="187657" y="21758"/>
                    <a:pt x="193096" y="21758"/>
                  </a:cubicBezTo>
                  <a:cubicBezTo>
                    <a:pt x="212134" y="21758"/>
                    <a:pt x="228452" y="27197"/>
                    <a:pt x="261088" y="27197"/>
                  </a:cubicBezTo>
                  <a:cubicBezTo>
                    <a:pt x="277405" y="27197"/>
                    <a:pt x="293723" y="35356"/>
                    <a:pt x="310042" y="35356"/>
                  </a:cubicBezTo>
                  <a:cubicBezTo>
                    <a:pt x="318200" y="35356"/>
                    <a:pt x="329079" y="35356"/>
                    <a:pt x="334518" y="40795"/>
                  </a:cubicBezTo>
                  <a:cubicBezTo>
                    <a:pt x="342677" y="46234"/>
                    <a:pt x="348117" y="54393"/>
                    <a:pt x="356276" y="59833"/>
                  </a:cubicBezTo>
                  <a:cubicBezTo>
                    <a:pt x="361715" y="65272"/>
                    <a:pt x="369874" y="67992"/>
                    <a:pt x="372593" y="76151"/>
                  </a:cubicBezTo>
                  <a:cubicBezTo>
                    <a:pt x="375313" y="81590"/>
                    <a:pt x="378033" y="89749"/>
                    <a:pt x="380752" y="95188"/>
                  </a:cubicBezTo>
                  <a:cubicBezTo>
                    <a:pt x="386192" y="103347"/>
                    <a:pt x="391631" y="106067"/>
                    <a:pt x="405230" y="114226"/>
                  </a:cubicBezTo>
                  <a:cubicBezTo>
                    <a:pt x="413388" y="119665"/>
                    <a:pt x="410669" y="133263"/>
                    <a:pt x="416108" y="141422"/>
                  </a:cubicBezTo>
                  <a:cubicBezTo>
                    <a:pt x="426987" y="160461"/>
                    <a:pt x="446025" y="182218"/>
                    <a:pt x="451464" y="201256"/>
                  </a:cubicBezTo>
                  <a:cubicBezTo>
                    <a:pt x="456903" y="220293"/>
                    <a:pt x="456903" y="236611"/>
                    <a:pt x="456903" y="252929"/>
                  </a:cubicBezTo>
                  <a:cubicBezTo>
                    <a:pt x="456903" y="266527"/>
                    <a:pt x="456903" y="277406"/>
                    <a:pt x="456903" y="291004"/>
                  </a:cubicBezTo>
                  <a:cubicBezTo>
                    <a:pt x="456903" y="299163"/>
                    <a:pt x="456903" y="307322"/>
                    <a:pt x="459623" y="318201"/>
                  </a:cubicBezTo>
                  <a:cubicBezTo>
                    <a:pt x="459623" y="320921"/>
                    <a:pt x="459623" y="323640"/>
                    <a:pt x="459623" y="326360"/>
                  </a:cubicBezTo>
                  <a:cubicBezTo>
                    <a:pt x="462342" y="331799"/>
                    <a:pt x="459623" y="337238"/>
                    <a:pt x="459623" y="348117"/>
                  </a:cubicBezTo>
                  <a:cubicBezTo>
                    <a:pt x="459623" y="350837"/>
                    <a:pt x="462342" y="361715"/>
                    <a:pt x="462342" y="367155"/>
                  </a:cubicBezTo>
                  <a:cubicBezTo>
                    <a:pt x="462342" y="375314"/>
                    <a:pt x="456903" y="383473"/>
                    <a:pt x="456903" y="391632"/>
                  </a:cubicBezTo>
                  <a:cubicBezTo>
                    <a:pt x="456903" y="399790"/>
                    <a:pt x="456903" y="410669"/>
                    <a:pt x="456903" y="418828"/>
                  </a:cubicBezTo>
                  <a:cubicBezTo>
                    <a:pt x="456903" y="421548"/>
                    <a:pt x="454183" y="429707"/>
                    <a:pt x="451464" y="437866"/>
                  </a:cubicBezTo>
                  <a:cubicBezTo>
                    <a:pt x="448744" y="443305"/>
                    <a:pt x="448744" y="451464"/>
                    <a:pt x="446025" y="454184"/>
                  </a:cubicBezTo>
                  <a:cubicBezTo>
                    <a:pt x="443305" y="462343"/>
                    <a:pt x="440585" y="473221"/>
                    <a:pt x="440585" y="481380"/>
                  </a:cubicBezTo>
                  <a:cubicBezTo>
                    <a:pt x="437865" y="489539"/>
                    <a:pt x="437865" y="500418"/>
                    <a:pt x="432426" y="508577"/>
                  </a:cubicBezTo>
                  <a:cubicBezTo>
                    <a:pt x="429706" y="516736"/>
                    <a:pt x="424267" y="522175"/>
                    <a:pt x="418828" y="530334"/>
                  </a:cubicBezTo>
                  <a:cubicBezTo>
                    <a:pt x="416108" y="535773"/>
                    <a:pt x="413388" y="543932"/>
                    <a:pt x="410669" y="549371"/>
                  </a:cubicBezTo>
                  <a:cubicBezTo>
                    <a:pt x="405230" y="557531"/>
                    <a:pt x="397071" y="573848"/>
                    <a:pt x="391631" y="579288"/>
                  </a:cubicBezTo>
                  <a:cubicBezTo>
                    <a:pt x="369874" y="609204"/>
                    <a:pt x="350836" y="620083"/>
                    <a:pt x="337238" y="630961"/>
                  </a:cubicBezTo>
                  <a:cubicBezTo>
                    <a:pt x="326359" y="639120"/>
                    <a:pt x="315481" y="641840"/>
                    <a:pt x="301883" y="647279"/>
                  </a:cubicBezTo>
                  <a:cubicBezTo>
                    <a:pt x="291004" y="649999"/>
                    <a:pt x="277405" y="652718"/>
                    <a:pt x="263807" y="652718"/>
                  </a:cubicBezTo>
                  <a:cubicBezTo>
                    <a:pt x="252929" y="652718"/>
                    <a:pt x="244770" y="649999"/>
                    <a:pt x="233891" y="649999"/>
                  </a:cubicBezTo>
                  <a:cubicBezTo>
                    <a:pt x="206694" y="649999"/>
                    <a:pt x="217573" y="652718"/>
                    <a:pt x="187657" y="652718"/>
                  </a:cubicBezTo>
                  <a:cubicBezTo>
                    <a:pt x="184937" y="660877"/>
                    <a:pt x="179498" y="666317"/>
                    <a:pt x="171339" y="669036"/>
                  </a:cubicBezTo>
                  <a:cubicBezTo>
                    <a:pt x="165900" y="671756"/>
                    <a:pt x="160460" y="671756"/>
                    <a:pt x="155021" y="671756"/>
                  </a:cubicBezTo>
                  <a:cubicBezTo>
                    <a:pt x="149581" y="671756"/>
                    <a:pt x="144142" y="674476"/>
                    <a:pt x="138703" y="674476"/>
                  </a:cubicBezTo>
                  <a:cubicBezTo>
                    <a:pt x="135983" y="674476"/>
                    <a:pt x="127824" y="677195"/>
                    <a:pt x="125105" y="677195"/>
                  </a:cubicBezTo>
                  <a:cubicBezTo>
                    <a:pt x="116946" y="677195"/>
                    <a:pt x="108787" y="671756"/>
                    <a:pt x="106067" y="671756"/>
                  </a:cubicBezTo>
                  <a:cubicBezTo>
                    <a:pt x="100628" y="669036"/>
                    <a:pt x="95188" y="663597"/>
                    <a:pt x="87029" y="658158"/>
                  </a:cubicBezTo>
                  <a:cubicBezTo>
                    <a:pt x="84310" y="655438"/>
                    <a:pt x="81590" y="655438"/>
                    <a:pt x="81590" y="652718"/>
                  </a:cubicBezTo>
                  <a:cubicBezTo>
                    <a:pt x="73431" y="652718"/>
                    <a:pt x="81590" y="652718"/>
                    <a:pt x="67992" y="652718"/>
                  </a:cubicBezTo>
                  <a:cubicBezTo>
                    <a:pt x="59833" y="652718"/>
                    <a:pt x="51674" y="652718"/>
                    <a:pt x="43515" y="652718"/>
                  </a:cubicBezTo>
                  <a:cubicBezTo>
                    <a:pt x="35356" y="652718"/>
                    <a:pt x="24477" y="652718"/>
                    <a:pt x="16318" y="647279"/>
                  </a:cubicBezTo>
                  <a:cubicBezTo>
                    <a:pt x="8159" y="644559"/>
                    <a:pt x="0" y="636401"/>
                    <a:pt x="0" y="630961"/>
                  </a:cubicBezTo>
                  <a:cubicBezTo>
                    <a:pt x="0" y="625522"/>
                    <a:pt x="0" y="622802"/>
                    <a:pt x="5439" y="620083"/>
                  </a:cubicBezTo>
                  <a:cubicBezTo>
                    <a:pt x="10879" y="617363"/>
                    <a:pt x="21758" y="614643"/>
                    <a:pt x="27197" y="611924"/>
                  </a:cubicBezTo>
                  <a:cubicBezTo>
                    <a:pt x="38076" y="609204"/>
                    <a:pt x="54393" y="609204"/>
                    <a:pt x="65272" y="609204"/>
                  </a:cubicBezTo>
                  <a:cubicBezTo>
                    <a:pt x="65272" y="601045"/>
                    <a:pt x="65272" y="592886"/>
                    <a:pt x="65272" y="584727"/>
                  </a:cubicBezTo>
                  <a:cubicBezTo>
                    <a:pt x="65272" y="541213"/>
                    <a:pt x="62552" y="500418"/>
                    <a:pt x="62552" y="456903"/>
                  </a:cubicBezTo>
                  <a:cubicBezTo>
                    <a:pt x="62552" y="440585"/>
                    <a:pt x="65272" y="397071"/>
                    <a:pt x="65272" y="337238"/>
                  </a:cubicBezTo>
                  <a:cubicBezTo>
                    <a:pt x="65272" y="293724"/>
                    <a:pt x="67992" y="247490"/>
                    <a:pt x="67992" y="203975"/>
                  </a:cubicBezTo>
                  <a:cubicBezTo>
                    <a:pt x="67992" y="179498"/>
                    <a:pt x="67992" y="149582"/>
                    <a:pt x="70712" y="119665"/>
                  </a:cubicBezTo>
                  <a:cubicBezTo>
                    <a:pt x="70712" y="103347"/>
                    <a:pt x="73431" y="84309"/>
                    <a:pt x="73431" y="67992"/>
                  </a:cubicBezTo>
                  <a:cubicBezTo>
                    <a:pt x="73431" y="67992"/>
                    <a:pt x="70712" y="67992"/>
                    <a:pt x="67992" y="67992"/>
                  </a:cubicBezTo>
                  <a:cubicBezTo>
                    <a:pt x="59833" y="67992"/>
                    <a:pt x="51674" y="67992"/>
                    <a:pt x="43515" y="67992"/>
                  </a:cubicBezTo>
                  <a:cubicBezTo>
                    <a:pt x="35356" y="67992"/>
                    <a:pt x="24477" y="67992"/>
                    <a:pt x="16318" y="62552"/>
                  </a:cubicBezTo>
                  <a:cubicBezTo>
                    <a:pt x="8159" y="59833"/>
                    <a:pt x="0" y="51674"/>
                    <a:pt x="0" y="46234"/>
                  </a:cubicBezTo>
                  <a:cubicBezTo>
                    <a:pt x="0" y="43515"/>
                    <a:pt x="0" y="38075"/>
                    <a:pt x="5439" y="35356"/>
                  </a:cubicBezTo>
                  <a:cubicBezTo>
                    <a:pt x="10879" y="32636"/>
                    <a:pt x="21758" y="29916"/>
                    <a:pt x="27197" y="27197"/>
                  </a:cubicBezTo>
                  <a:cubicBezTo>
                    <a:pt x="46234" y="24477"/>
                    <a:pt x="65272" y="21758"/>
                    <a:pt x="76151" y="21758"/>
                  </a:cubicBezTo>
                  <a:cubicBezTo>
                    <a:pt x="76151" y="19038"/>
                    <a:pt x="78871" y="16318"/>
                    <a:pt x="81590" y="13598"/>
                  </a:cubicBezTo>
                  <a:cubicBezTo>
                    <a:pt x="84310" y="10879"/>
                    <a:pt x="92469" y="5439"/>
                    <a:pt x="97908" y="5439"/>
                  </a:cubicBezTo>
                  <a:cubicBezTo>
                    <a:pt x="103347" y="2720"/>
                    <a:pt x="108787" y="0"/>
                    <a:pt x="114226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rgbClr val="666666"/>
                </a:solidFill>
              </a:endParaRPr>
            </a:p>
          </p:txBody>
        </p:sp>
        <p:sp>
          <p:nvSpPr>
            <p:cNvPr id="48" name="Freeform: Shape 47">
              <a:extLst>
                <a:ext uri="{FF2B5EF4-FFF2-40B4-BE49-F238E27FC236}">
                  <a16:creationId xmlns:a16="http://schemas.microsoft.com/office/drawing/2014/main" id="{A81B5D9D-89FB-4D2F-A78D-73AF9AEC196D}"/>
                </a:ext>
              </a:extLst>
            </p:cNvPr>
            <p:cNvSpPr/>
            <p:nvPr/>
          </p:nvSpPr>
          <p:spPr>
            <a:xfrm>
              <a:off x="7310622" y="4197597"/>
              <a:ext cx="489539" cy="761503"/>
            </a:xfrm>
            <a:custGeom>
              <a:avLst/>
              <a:gdLst>
                <a:gd name="connsiteX0" fmla="*/ 433491 w 489538"/>
                <a:gd name="connsiteY0" fmla="*/ 651063 h 761503"/>
                <a:gd name="connsiteX1" fmla="*/ 438930 w 489538"/>
                <a:gd name="connsiteY1" fmla="*/ 661942 h 761503"/>
                <a:gd name="connsiteX2" fmla="*/ 425332 w 489538"/>
                <a:gd name="connsiteY2" fmla="*/ 683699 h 761503"/>
                <a:gd name="connsiteX3" fmla="*/ 400855 w 489538"/>
                <a:gd name="connsiteY3" fmla="*/ 691858 h 761503"/>
                <a:gd name="connsiteX4" fmla="*/ 343742 w 489538"/>
                <a:gd name="connsiteY4" fmla="*/ 700017 h 761503"/>
                <a:gd name="connsiteX5" fmla="*/ 316546 w 489538"/>
                <a:gd name="connsiteY5" fmla="*/ 705456 h 761503"/>
                <a:gd name="connsiteX6" fmla="*/ 275751 w 489538"/>
                <a:gd name="connsiteY6" fmla="*/ 705456 h 761503"/>
                <a:gd name="connsiteX7" fmla="*/ 264872 w 489538"/>
                <a:gd name="connsiteY7" fmla="*/ 708176 h 761503"/>
                <a:gd name="connsiteX8" fmla="*/ 253994 w 489538"/>
                <a:gd name="connsiteY8" fmla="*/ 708176 h 761503"/>
                <a:gd name="connsiteX9" fmla="*/ 240395 w 489538"/>
                <a:gd name="connsiteY9" fmla="*/ 719054 h 761503"/>
                <a:gd name="connsiteX10" fmla="*/ 224077 w 489538"/>
                <a:gd name="connsiteY10" fmla="*/ 721774 h 761503"/>
                <a:gd name="connsiteX11" fmla="*/ 205040 w 489538"/>
                <a:gd name="connsiteY11" fmla="*/ 724494 h 761503"/>
                <a:gd name="connsiteX12" fmla="*/ 191441 w 489538"/>
                <a:gd name="connsiteY12" fmla="*/ 727213 h 761503"/>
                <a:gd name="connsiteX13" fmla="*/ 169684 w 489538"/>
                <a:gd name="connsiteY13" fmla="*/ 721774 h 761503"/>
                <a:gd name="connsiteX14" fmla="*/ 150646 w 489538"/>
                <a:gd name="connsiteY14" fmla="*/ 708176 h 761503"/>
                <a:gd name="connsiteX15" fmla="*/ 139768 w 489538"/>
                <a:gd name="connsiteY15" fmla="*/ 708176 h 761503"/>
                <a:gd name="connsiteX16" fmla="*/ 120730 w 489538"/>
                <a:gd name="connsiteY16" fmla="*/ 708176 h 761503"/>
                <a:gd name="connsiteX17" fmla="*/ 98973 w 489538"/>
                <a:gd name="connsiteY17" fmla="*/ 708176 h 761503"/>
                <a:gd name="connsiteX18" fmla="*/ 74496 w 489538"/>
                <a:gd name="connsiteY18" fmla="*/ 702736 h 761503"/>
                <a:gd name="connsiteX19" fmla="*/ 58178 w 489538"/>
                <a:gd name="connsiteY19" fmla="*/ 683699 h 761503"/>
                <a:gd name="connsiteX20" fmla="*/ 63617 w 489538"/>
                <a:gd name="connsiteY20" fmla="*/ 675540 h 761503"/>
                <a:gd name="connsiteX21" fmla="*/ 85375 w 489538"/>
                <a:gd name="connsiteY21" fmla="*/ 667381 h 761503"/>
                <a:gd name="connsiteX22" fmla="*/ 128889 w 489538"/>
                <a:gd name="connsiteY22" fmla="*/ 661942 h 761503"/>
                <a:gd name="connsiteX23" fmla="*/ 128889 w 489538"/>
                <a:gd name="connsiteY23" fmla="*/ 602109 h 761503"/>
                <a:gd name="connsiteX24" fmla="*/ 126170 w 489538"/>
                <a:gd name="connsiteY24" fmla="*/ 523239 h 761503"/>
                <a:gd name="connsiteX25" fmla="*/ 126170 w 489538"/>
                <a:gd name="connsiteY25" fmla="*/ 468846 h 761503"/>
                <a:gd name="connsiteX26" fmla="*/ 123450 w 489538"/>
                <a:gd name="connsiteY26" fmla="*/ 409014 h 761503"/>
                <a:gd name="connsiteX27" fmla="*/ 123450 w 489538"/>
                <a:gd name="connsiteY27" fmla="*/ 384537 h 761503"/>
                <a:gd name="connsiteX28" fmla="*/ 126170 w 489538"/>
                <a:gd name="connsiteY28" fmla="*/ 349181 h 761503"/>
                <a:gd name="connsiteX29" fmla="*/ 126170 w 489538"/>
                <a:gd name="connsiteY29" fmla="*/ 324704 h 761503"/>
                <a:gd name="connsiteX30" fmla="*/ 128889 w 489538"/>
                <a:gd name="connsiteY30" fmla="*/ 292068 h 761503"/>
                <a:gd name="connsiteX31" fmla="*/ 134329 w 489538"/>
                <a:gd name="connsiteY31" fmla="*/ 234956 h 761503"/>
                <a:gd name="connsiteX32" fmla="*/ 134329 w 489538"/>
                <a:gd name="connsiteY32" fmla="*/ 172404 h 761503"/>
                <a:gd name="connsiteX33" fmla="*/ 137048 w 489538"/>
                <a:gd name="connsiteY33" fmla="*/ 123450 h 761503"/>
                <a:gd name="connsiteX34" fmla="*/ 123450 w 489538"/>
                <a:gd name="connsiteY34" fmla="*/ 123450 h 761503"/>
                <a:gd name="connsiteX35" fmla="*/ 101693 w 489538"/>
                <a:gd name="connsiteY35" fmla="*/ 123450 h 761503"/>
                <a:gd name="connsiteX36" fmla="*/ 77216 w 489538"/>
                <a:gd name="connsiteY36" fmla="*/ 118011 h 761503"/>
                <a:gd name="connsiteX37" fmla="*/ 60898 w 489538"/>
                <a:gd name="connsiteY37" fmla="*/ 98973 h 761503"/>
                <a:gd name="connsiteX38" fmla="*/ 66337 w 489538"/>
                <a:gd name="connsiteY38" fmla="*/ 90814 h 761503"/>
                <a:gd name="connsiteX39" fmla="*/ 88094 w 489538"/>
                <a:gd name="connsiteY39" fmla="*/ 82655 h 761503"/>
                <a:gd name="connsiteX40" fmla="*/ 145207 w 489538"/>
                <a:gd name="connsiteY40" fmla="*/ 77216 h 761503"/>
                <a:gd name="connsiteX41" fmla="*/ 145207 w 489538"/>
                <a:gd name="connsiteY41" fmla="*/ 77216 h 761503"/>
                <a:gd name="connsiteX42" fmla="*/ 153366 w 489538"/>
                <a:gd name="connsiteY42" fmla="*/ 69057 h 761503"/>
                <a:gd name="connsiteX43" fmla="*/ 177843 w 489538"/>
                <a:gd name="connsiteY43" fmla="*/ 60898 h 761503"/>
                <a:gd name="connsiteX44" fmla="*/ 196881 w 489538"/>
                <a:gd name="connsiteY44" fmla="*/ 58178 h 761503"/>
                <a:gd name="connsiteX45" fmla="*/ 205040 w 489538"/>
                <a:gd name="connsiteY45" fmla="*/ 58178 h 761503"/>
                <a:gd name="connsiteX46" fmla="*/ 215919 w 489538"/>
                <a:gd name="connsiteY46" fmla="*/ 63617 h 761503"/>
                <a:gd name="connsiteX47" fmla="*/ 229517 w 489538"/>
                <a:gd name="connsiteY47" fmla="*/ 69057 h 761503"/>
                <a:gd name="connsiteX48" fmla="*/ 256713 w 489538"/>
                <a:gd name="connsiteY48" fmla="*/ 77216 h 761503"/>
                <a:gd name="connsiteX49" fmla="*/ 264872 w 489538"/>
                <a:gd name="connsiteY49" fmla="*/ 77216 h 761503"/>
                <a:gd name="connsiteX50" fmla="*/ 281190 w 489538"/>
                <a:gd name="connsiteY50" fmla="*/ 77216 h 761503"/>
                <a:gd name="connsiteX51" fmla="*/ 330144 w 489538"/>
                <a:gd name="connsiteY51" fmla="*/ 77216 h 761503"/>
                <a:gd name="connsiteX52" fmla="*/ 357341 w 489538"/>
                <a:gd name="connsiteY52" fmla="*/ 79935 h 761503"/>
                <a:gd name="connsiteX53" fmla="*/ 387257 w 489538"/>
                <a:gd name="connsiteY53" fmla="*/ 82655 h 761503"/>
                <a:gd name="connsiteX54" fmla="*/ 406295 w 489538"/>
                <a:gd name="connsiteY54" fmla="*/ 85375 h 761503"/>
                <a:gd name="connsiteX55" fmla="*/ 417173 w 489538"/>
                <a:gd name="connsiteY55" fmla="*/ 79935 h 761503"/>
                <a:gd name="connsiteX56" fmla="*/ 425332 w 489538"/>
                <a:gd name="connsiteY56" fmla="*/ 85375 h 761503"/>
                <a:gd name="connsiteX57" fmla="*/ 433491 w 489538"/>
                <a:gd name="connsiteY57" fmla="*/ 104412 h 761503"/>
                <a:gd name="connsiteX58" fmla="*/ 436211 w 489538"/>
                <a:gd name="connsiteY58" fmla="*/ 137048 h 761503"/>
                <a:gd name="connsiteX59" fmla="*/ 438930 w 489538"/>
                <a:gd name="connsiteY59" fmla="*/ 183282 h 761503"/>
                <a:gd name="connsiteX60" fmla="*/ 422612 w 489538"/>
                <a:gd name="connsiteY60" fmla="*/ 218638 h 761503"/>
                <a:gd name="connsiteX61" fmla="*/ 406295 w 489538"/>
                <a:gd name="connsiteY61" fmla="*/ 213198 h 761503"/>
                <a:gd name="connsiteX62" fmla="*/ 398136 w 489538"/>
                <a:gd name="connsiteY62" fmla="*/ 196881 h 761503"/>
                <a:gd name="connsiteX63" fmla="*/ 395416 w 489538"/>
                <a:gd name="connsiteY63" fmla="*/ 175123 h 761503"/>
                <a:gd name="connsiteX64" fmla="*/ 395416 w 489538"/>
                <a:gd name="connsiteY64" fmla="*/ 153366 h 761503"/>
                <a:gd name="connsiteX65" fmla="*/ 395416 w 489538"/>
                <a:gd name="connsiteY65" fmla="*/ 126170 h 761503"/>
                <a:gd name="connsiteX66" fmla="*/ 370939 w 489538"/>
                <a:gd name="connsiteY66" fmla="*/ 128889 h 761503"/>
                <a:gd name="connsiteX67" fmla="*/ 338303 w 489538"/>
                <a:gd name="connsiteY67" fmla="*/ 131609 h 761503"/>
                <a:gd name="connsiteX68" fmla="*/ 286629 w 489538"/>
                <a:gd name="connsiteY68" fmla="*/ 134328 h 761503"/>
                <a:gd name="connsiteX69" fmla="*/ 273031 w 489538"/>
                <a:gd name="connsiteY69" fmla="*/ 137048 h 761503"/>
                <a:gd name="connsiteX70" fmla="*/ 262153 w 489538"/>
                <a:gd name="connsiteY70" fmla="*/ 142487 h 761503"/>
                <a:gd name="connsiteX71" fmla="*/ 259433 w 489538"/>
                <a:gd name="connsiteY71" fmla="*/ 153366 h 761503"/>
                <a:gd name="connsiteX72" fmla="*/ 262153 w 489538"/>
                <a:gd name="connsiteY72" fmla="*/ 166964 h 761503"/>
                <a:gd name="connsiteX73" fmla="*/ 262153 w 489538"/>
                <a:gd name="connsiteY73" fmla="*/ 196881 h 761503"/>
                <a:gd name="connsiteX74" fmla="*/ 262153 w 489538"/>
                <a:gd name="connsiteY74" fmla="*/ 215918 h 761503"/>
                <a:gd name="connsiteX75" fmla="*/ 262153 w 489538"/>
                <a:gd name="connsiteY75" fmla="*/ 251274 h 761503"/>
                <a:gd name="connsiteX76" fmla="*/ 259433 w 489538"/>
                <a:gd name="connsiteY76" fmla="*/ 278470 h 761503"/>
                <a:gd name="connsiteX77" fmla="*/ 259433 w 489538"/>
                <a:gd name="connsiteY77" fmla="*/ 308386 h 761503"/>
                <a:gd name="connsiteX78" fmla="*/ 259433 w 489538"/>
                <a:gd name="connsiteY78" fmla="*/ 321985 h 761503"/>
                <a:gd name="connsiteX79" fmla="*/ 259433 w 489538"/>
                <a:gd name="connsiteY79" fmla="*/ 332863 h 761503"/>
                <a:gd name="connsiteX80" fmla="*/ 267592 w 489538"/>
                <a:gd name="connsiteY80" fmla="*/ 335583 h 761503"/>
                <a:gd name="connsiteX81" fmla="*/ 281190 w 489538"/>
                <a:gd name="connsiteY81" fmla="*/ 335583 h 761503"/>
                <a:gd name="connsiteX82" fmla="*/ 327424 w 489538"/>
                <a:gd name="connsiteY82" fmla="*/ 338303 h 761503"/>
                <a:gd name="connsiteX83" fmla="*/ 351901 w 489538"/>
                <a:gd name="connsiteY83" fmla="*/ 341022 h 761503"/>
                <a:gd name="connsiteX84" fmla="*/ 351901 w 489538"/>
                <a:gd name="connsiteY84" fmla="*/ 335583 h 761503"/>
                <a:gd name="connsiteX85" fmla="*/ 351901 w 489538"/>
                <a:gd name="connsiteY85" fmla="*/ 313826 h 761503"/>
                <a:gd name="connsiteX86" fmla="*/ 357341 w 489538"/>
                <a:gd name="connsiteY86" fmla="*/ 289349 h 761503"/>
                <a:gd name="connsiteX87" fmla="*/ 373658 w 489538"/>
                <a:gd name="connsiteY87" fmla="*/ 273031 h 761503"/>
                <a:gd name="connsiteX88" fmla="*/ 381817 w 489538"/>
                <a:gd name="connsiteY88" fmla="*/ 278470 h 761503"/>
                <a:gd name="connsiteX89" fmla="*/ 389977 w 489538"/>
                <a:gd name="connsiteY89" fmla="*/ 300228 h 761503"/>
                <a:gd name="connsiteX90" fmla="*/ 395416 w 489538"/>
                <a:gd name="connsiteY90" fmla="*/ 351901 h 761503"/>
                <a:gd name="connsiteX91" fmla="*/ 398136 w 489538"/>
                <a:gd name="connsiteY91" fmla="*/ 409014 h 761503"/>
                <a:gd name="connsiteX92" fmla="*/ 381817 w 489538"/>
                <a:gd name="connsiteY92" fmla="*/ 444369 h 761503"/>
                <a:gd name="connsiteX93" fmla="*/ 365500 w 489538"/>
                <a:gd name="connsiteY93" fmla="*/ 438930 h 761503"/>
                <a:gd name="connsiteX94" fmla="*/ 357341 w 489538"/>
                <a:gd name="connsiteY94" fmla="*/ 422612 h 761503"/>
                <a:gd name="connsiteX95" fmla="*/ 354621 w 489538"/>
                <a:gd name="connsiteY95" fmla="*/ 400855 h 761503"/>
                <a:gd name="connsiteX96" fmla="*/ 354621 w 489538"/>
                <a:gd name="connsiteY96" fmla="*/ 381817 h 761503"/>
                <a:gd name="connsiteX97" fmla="*/ 270312 w 489538"/>
                <a:gd name="connsiteY97" fmla="*/ 381817 h 761503"/>
                <a:gd name="connsiteX98" fmla="*/ 256713 w 489538"/>
                <a:gd name="connsiteY98" fmla="*/ 395415 h 761503"/>
                <a:gd name="connsiteX99" fmla="*/ 253994 w 489538"/>
                <a:gd name="connsiteY99" fmla="*/ 422612 h 761503"/>
                <a:gd name="connsiteX100" fmla="*/ 253994 w 489538"/>
                <a:gd name="connsiteY100" fmla="*/ 433490 h 761503"/>
                <a:gd name="connsiteX101" fmla="*/ 253994 w 489538"/>
                <a:gd name="connsiteY101" fmla="*/ 449809 h 761503"/>
                <a:gd name="connsiteX102" fmla="*/ 256713 w 489538"/>
                <a:gd name="connsiteY102" fmla="*/ 474285 h 761503"/>
                <a:gd name="connsiteX103" fmla="*/ 256713 w 489538"/>
                <a:gd name="connsiteY103" fmla="*/ 496043 h 761503"/>
                <a:gd name="connsiteX104" fmla="*/ 259433 w 489538"/>
                <a:gd name="connsiteY104" fmla="*/ 534118 h 761503"/>
                <a:gd name="connsiteX105" fmla="*/ 259433 w 489538"/>
                <a:gd name="connsiteY105" fmla="*/ 591231 h 761503"/>
                <a:gd name="connsiteX106" fmla="*/ 262153 w 489538"/>
                <a:gd name="connsiteY106" fmla="*/ 618427 h 761503"/>
                <a:gd name="connsiteX107" fmla="*/ 267592 w 489538"/>
                <a:gd name="connsiteY107" fmla="*/ 648343 h 761503"/>
                <a:gd name="connsiteX108" fmla="*/ 292069 w 489538"/>
                <a:gd name="connsiteY108" fmla="*/ 651063 h 761503"/>
                <a:gd name="connsiteX109" fmla="*/ 327424 w 489538"/>
                <a:gd name="connsiteY109" fmla="*/ 651063 h 761503"/>
                <a:gd name="connsiteX110" fmla="*/ 362780 w 489538"/>
                <a:gd name="connsiteY110" fmla="*/ 653783 h 761503"/>
                <a:gd name="connsiteX111" fmla="*/ 395416 w 489538"/>
                <a:gd name="connsiteY111" fmla="*/ 648343 h 761503"/>
                <a:gd name="connsiteX112" fmla="*/ 395416 w 489538"/>
                <a:gd name="connsiteY112" fmla="*/ 618427 h 761503"/>
                <a:gd name="connsiteX113" fmla="*/ 395416 w 489538"/>
                <a:gd name="connsiteY113" fmla="*/ 596670 h 761503"/>
                <a:gd name="connsiteX114" fmla="*/ 398136 w 489538"/>
                <a:gd name="connsiteY114" fmla="*/ 574913 h 761503"/>
                <a:gd name="connsiteX115" fmla="*/ 406295 w 489538"/>
                <a:gd name="connsiteY115" fmla="*/ 558595 h 761503"/>
                <a:gd name="connsiteX116" fmla="*/ 422612 w 489538"/>
                <a:gd name="connsiteY116" fmla="*/ 553155 h 761503"/>
                <a:gd name="connsiteX117" fmla="*/ 438930 w 489538"/>
                <a:gd name="connsiteY117" fmla="*/ 588511 h 761503"/>
                <a:gd name="connsiteX118" fmla="*/ 436211 w 489538"/>
                <a:gd name="connsiteY118" fmla="*/ 645624 h 761503"/>
                <a:gd name="connsiteX119" fmla="*/ 433491 w 489538"/>
                <a:gd name="connsiteY119" fmla="*/ 651063 h 761503"/>
                <a:gd name="connsiteX120" fmla="*/ 433491 w 489538"/>
                <a:gd name="connsiteY120" fmla="*/ 651063 h 761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</a:cxnLst>
              <a:rect l="l" t="t" r="r" b="b"/>
              <a:pathLst>
                <a:path w="489538" h="761503">
                  <a:moveTo>
                    <a:pt x="433491" y="651063"/>
                  </a:moveTo>
                  <a:cubicBezTo>
                    <a:pt x="436211" y="653783"/>
                    <a:pt x="438930" y="656502"/>
                    <a:pt x="438930" y="661942"/>
                  </a:cubicBezTo>
                  <a:cubicBezTo>
                    <a:pt x="438930" y="670101"/>
                    <a:pt x="433491" y="678259"/>
                    <a:pt x="425332" y="683699"/>
                  </a:cubicBezTo>
                  <a:cubicBezTo>
                    <a:pt x="417173" y="689138"/>
                    <a:pt x="409014" y="689138"/>
                    <a:pt x="400855" y="691858"/>
                  </a:cubicBezTo>
                  <a:cubicBezTo>
                    <a:pt x="381817" y="694578"/>
                    <a:pt x="362780" y="694578"/>
                    <a:pt x="343742" y="700017"/>
                  </a:cubicBezTo>
                  <a:cubicBezTo>
                    <a:pt x="335583" y="702736"/>
                    <a:pt x="324705" y="702736"/>
                    <a:pt x="316546" y="705456"/>
                  </a:cubicBezTo>
                  <a:cubicBezTo>
                    <a:pt x="308387" y="705456"/>
                    <a:pt x="289349" y="705456"/>
                    <a:pt x="275751" y="705456"/>
                  </a:cubicBezTo>
                  <a:cubicBezTo>
                    <a:pt x="270312" y="705456"/>
                    <a:pt x="267592" y="708176"/>
                    <a:pt x="264872" y="708176"/>
                  </a:cubicBezTo>
                  <a:cubicBezTo>
                    <a:pt x="264872" y="708176"/>
                    <a:pt x="259433" y="708176"/>
                    <a:pt x="253994" y="708176"/>
                  </a:cubicBezTo>
                  <a:cubicBezTo>
                    <a:pt x="251274" y="713615"/>
                    <a:pt x="245835" y="716335"/>
                    <a:pt x="240395" y="719054"/>
                  </a:cubicBezTo>
                  <a:cubicBezTo>
                    <a:pt x="234956" y="721774"/>
                    <a:pt x="229517" y="721774"/>
                    <a:pt x="224077" y="721774"/>
                  </a:cubicBezTo>
                  <a:cubicBezTo>
                    <a:pt x="218638" y="721774"/>
                    <a:pt x="213199" y="724494"/>
                    <a:pt x="205040" y="724494"/>
                  </a:cubicBezTo>
                  <a:cubicBezTo>
                    <a:pt x="202320" y="724494"/>
                    <a:pt x="194161" y="727213"/>
                    <a:pt x="191441" y="727213"/>
                  </a:cubicBezTo>
                  <a:cubicBezTo>
                    <a:pt x="183282" y="727213"/>
                    <a:pt x="172404" y="721774"/>
                    <a:pt x="169684" y="721774"/>
                  </a:cubicBezTo>
                  <a:cubicBezTo>
                    <a:pt x="164245" y="719054"/>
                    <a:pt x="156086" y="713615"/>
                    <a:pt x="150646" y="708176"/>
                  </a:cubicBezTo>
                  <a:cubicBezTo>
                    <a:pt x="145207" y="708176"/>
                    <a:pt x="139768" y="708176"/>
                    <a:pt x="139768" y="708176"/>
                  </a:cubicBezTo>
                  <a:cubicBezTo>
                    <a:pt x="126170" y="708176"/>
                    <a:pt x="137048" y="708176"/>
                    <a:pt x="120730" y="708176"/>
                  </a:cubicBezTo>
                  <a:cubicBezTo>
                    <a:pt x="112571" y="708176"/>
                    <a:pt x="104412" y="708176"/>
                    <a:pt x="98973" y="708176"/>
                  </a:cubicBezTo>
                  <a:cubicBezTo>
                    <a:pt x="90814" y="708176"/>
                    <a:pt x="79936" y="708176"/>
                    <a:pt x="74496" y="702736"/>
                  </a:cubicBezTo>
                  <a:cubicBezTo>
                    <a:pt x="66337" y="700017"/>
                    <a:pt x="58178" y="689138"/>
                    <a:pt x="58178" y="683699"/>
                  </a:cubicBezTo>
                  <a:cubicBezTo>
                    <a:pt x="58178" y="680979"/>
                    <a:pt x="58178" y="678259"/>
                    <a:pt x="63617" y="675540"/>
                  </a:cubicBezTo>
                  <a:cubicBezTo>
                    <a:pt x="69057" y="672820"/>
                    <a:pt x="77216" y="670101"/>
                    <a:pt x="85375" y="667381"/>
                  </a:cubicBezTo>
                  <a:cubicBezTo>
                    <a:pt x="98973" y="664661"/>
                    <a:pt x="115291" y="664661"/>
                    <a:pt x="128889" y="661942"/>
                  </a:cubicBezTo>
                  <a:cubicBezTo>
                    <a:pt x="128889" y="645624"/>
                    <a:pt x="128889" y="623866"/>
                    <a:pt x="128889" y="602109"/>
                  </a:cubicBezTo>
                  <a:cubicBezTo>
                    <a:pt x="128889" y="566754"/>
                    <a:pt x="128889" y="531398"/>
                    <a:pt x="126170" y="523239"/>
                  </a:cubicBezTo>
                  <a:cubicBezTo>
                    <a:pt x="126170" y="517800"/>
                    <a:pt x="126170" y="487884"/>
                    <a:pt x="126170" y="468846"/>
                  </a:cubicBezTo>
                  <a:cubicBezTo>
                    <a:pt x="126170" y="449809"/>
                    <a:pt x="123450" y="430771"/>
                    <a:pt x="123450" y="409014"/>
                  </a:cubicBezTo>
                  <a:cubicBezTo>
                    <a:pt x="123450" y="400855"/>
                    <a:pt x="123450" y="392696"/>
                    <a:pt x="123450" y="384537"/>
                  </a:cubicBezTo>
                  <a:cubicBezTo>
                    <a:pt x="123450" y="373658"/>
                    <a:pt x="126170" y="360060"/>
                    <a:pt x="126170" y="349181"/>
                  </a:cubicBezTo>
                  <a:cubicBezTo>
                    <a:pt x="126170" y="341022"/>
                    <a:pt x="126170" y="332863"/>
                    <a:pt x="126170" y="324704"/>
                  </a:cubicBezTo>
                  <a:cubicBezTo>
                    <a:pt x="126170" y="313826"/>
                    <a:pt x="126170" y="302947"/>
                    <a:pt x="128889" y="292068"/>
                  </a:cubicBezTo>
                  <a:cubicBezTo>
                    <a:pt x="131609" y="273031"/>
                    <a:pt x="134329" y="253993"/>
                    <a:pt x="134329" y="234956"/>
                  </a:cubicBezTo>
                  <a:cubicBezTo>
                    <a:pt x="134329" y="213198"/>
                    <a:pt x="134329" y="191441"/>
                    <a:pt x="134329" y="172404"/>
                  </a:cubicBezTo>
                  <a:cubicBezTo>
                    <a:pt x="134329" y="156086"/>
                    <a:pt x="134329" y="139768"/>
                    <a:pt x="137048" y="123450"/>
                  </a:cubicBezTo>
                  <a:cubicBezTo>
                    <a:pt x="131609" y="123450"/>
                    <a:pt x="134329" y="123450"/>
                    <a:pt x="123450" y="123450"/>
                  </a:cubicBezTo>
                  <a:cubicBezTo>
                    <a:pt x="115291" y="123450"/>
                    <a:pt x="107132" y="123450"/>
                    <a:pt x="101693" y="123450"/>
                  </a:cubicBezTo>
                  <a:cubicBezTo>
                    <a:pt x="93534" y="123450"/>
                    <a:pt x="82655" y="123450"/>
                    <a:pt x="77216" y="118011"/>
                  </a:cubicBezTo>
                  <a:cubicBezTo>
                    <a:pt x="69057" y="115291"/>
                    <a:pt x="60898" y="101693"/>
                    <a:pt x="60898" y="98973"/>
                  </a:cubicBezTo>
                  <a:cubicBezTo>
                    <a:pt x="60898" y="96253"/>
                    <a:pt x="60898" y="93534"/>
                    <a:pt x="66337" y="90814"/>
                  </a:cubicBezTo>
                  <a:cubicBezTo>
                    <a:pt x="71777" y="88094"/>
                    <a:pt x="79936" y="85375"/>
                    <a:pt x="88094" y="82655"/>
                  </a:cubicBezTo>
                  <a:cubicBezTo>
                    <a:pt x="104412" y="79935"/>
                    <a:pt x="131609" y="77216"/>
                    <a:pt x="145207" y="77216"/>
                  </a:cubicBezTo>
                  <a:cubicBezTo>
                    <a:pt x="145207" y="77216"/>
                    <a:pt x="145207" y="77216"/>
                    <a:pt x="145207" y="77216"/>
                  </a:cubicBezTo>
                  <a:cubicBezTo>
                    <a:pt x="145207" y="74496"/>
                    <a:pt x="150646" y="71776"/>
                    <a:pt x="153366" y="69057"/>
                  </a:cubicBezTo>
                  <a:cubicBezTo>
                    <a:pt x="161525" y="63617"/>
                    <a:pt x="169684" y="63617"/>
                    <a:pt x="177843" y="60898"/>
                  </a:cubicBezTo>
                  <a:cubicBezTo>
                    <a:pt x="183282" y="58178"/>
                    <a:pt x="191441" y="58178"/>
                    <a:pt x="196881" y="58178"/>
                  </a:cubicBezTo>
                  <a:cubicBezTo>
                    <a:pt x="199600" y="58178"/>
                    <a:pt x="202320" y="58178"/>
                    <a:pt x="205040" y="58178"/>
                  </a:cubicBezTo>
                  <a:cubicBezTo>
                    <a:pt x="207759" y="58178"/>
                    <a:pt x="213199" y="60898"/>
                    <a:pt x="215919" y="63617"/>
                  </a:cubicBezTo>
                  <a:cubicBezTo>
                    <a:pt x="221358" y="66337"/>
                    <a:pt x="224077" y="66337"/>
                    <a:pt x="229517" y="69057"/>
                  </a:cubicBezTo>
                  <a:cubicBezTo>
                    <a:pt x="237675" y="71776"/>
                    <a:pt x="245835" y="77216"/>
                    <a:pt x="256713" y="77216"/>
                  </a:cubicBezTo>
                  <a:cubicBezTo>
                    <a:pt x="259433" y="77216"/>
                    <a:pt x="262153" y="77216"/>
                    <a:pt x="264872" y="77216"/>
                  </a:cubicBezTo>
                  <a:cubicBezTo>
                    <a:pt x="270312" y="77216"/>
                    <a:pt x="275751" y="77216"/>
                    <a:pt x="281190" y="77216"/>
                  </a:cubicBezTo>
                  <a:cubicBezTo>
                    <a:pt x="292069" y="77216"/>
                    <a:pt x="321985" y="77216"/>
                    <a:pt x="330144" y="77216"/>
                  </a:cubicBezTo>
                  <a:cubicBezTo>
                    <a:pt x="338303" y="77216"/>
                    <a:pt x="349182" y="77216"/>
                    <a:pt x="357341" y="79935"/>
                  </a:cubicBezTo>
                  <a:cubicBezTo>
                    <a:pt x="368219" y="79935"/>
                    <a:pt x="379098" y="82655"/>
                    <a:pt x="387257" y="82655"/>
                  </a:cubicBezTo>
                  <a:cubicBezTo>
                    <a:pt x="392696" y="82655"/>
                    <a:pt x="400855" y="85375"/>
                    <a:pt x="406295" y="85375"/>
                  </a:cubicBezTo>
                  <a:cubicBezTo>
                    <a:pt x="409014" y="82655"/>
                    <a:pt x="414453" y="79935"/>
                    <a:pt x="417173" y="79935"/>
                  </a:cubicBezTo>
                  <a:cubicBezTo>
                    <a:pt x="419893" y="79935"/>
                    <a:pt x="422612" y="79935"/>
                    <a:pt x="425332" y="85375"/>
                  </a:cubicBezTo>
                  <a:cubicBezTo>
                    <a:pt x="428052" y="90814"/>
                    <a:pt x="433491" y="98973"/>
                    <a:pt x="433491" y="104412"/>
                  </a:cubicBezTo>
                  <a:cubicBezTo>
                    <a:pt x="436211" y="131609"/>
                    <a:pt x="436211" y="120730"/>
                    <a:pt x="436211" y="137048"/>
                  </a:cubicBezTo>
                  <a:cubicBezTo>
                    <a:pt x="438930" y="158805"/>
                    <a:pt x="438930" y="158805"/>
                    <a:pt x="438930" y="183282"/>
                  </a:cubicBezTo>
                  <a:cubicBezTo>
                    <a:pt x="438930" y="194161"/>
                    <a:pt x="438930" y="218638"/>
                    <a:pt x="422612" y="218638"/>
                  </a:cubicBezTo>
                  <a:cubicBezTo>
                    <a:pt x="414453" y="218638"/>
                    <a:pt x="411734" y="215918"/>
                    <a:pt x="406295" y="213198"/>
                  </a:cubicBezTo>
                  <a:cubicBezTo>
                    <a:pt x="400855" y="210479"/>
                    <a:pt x="398136" y="202320"/>
                    <a:pt x="398136" y="196881"/>
                  </a:cubicBezTo>
                  <a:cubicBezTo>
                    <a:pt x="395416" y="188722"/>
                    <a:pt x="395416" y="183282"/>
                    <a:pt x="395416" y="175123"/>
                  </a:cubicBezTo>
                  <a:cubicBezTo>
                    <a:pt x="395416" y="169684"/>
                    <a:pt x="395416" y="164245"/>
                    <a:pt x="395416" y="153366"/>
                  </a:cubicBezTo>
                  <a:cubicBezTo>
                    <a:pt x="395416" y="145207"/>
                    <a:pt x="395416" y="134328"/>
                    <a:pt x="395416" y="126170"/>
                  </a:cubicBezTo>
                  <a:cubicBezTo>
                    <a:pt x="387257" y="128889"/>
                    <a:pt x="379098" y="128889"/>
                    <a:pt x="370939" y="128889"/>
                  </a:cubicBezTo>
                  <a:cubicBezTo>
                    <a:pt x="360060" y="128889"/>
                    <a:pt x="349182" y="128889"/>
                    <a:pt x="338303" y="131609"/>
                  </a:cubicBezTo>
                  <a:cubicBezTo>
                    <a:pt x="327424" y="131609"/>
                    <a:pt x="319265" y="134328"/>
                    <a:pt x="286629" y="134328"/>
                  </a:cubicBezTo>
                  <a:cubicBezTo>
                    <a:pt x="281190" y="134328"/>
                    <a:pt x="278470" y="134328"/>
                    <a:pt x="273031" y="137048"/>
                  </a:cubicBezTo>
                  <a:cubicBezTo>
                    <a:pt x="270312" y="137048"/>
                    <a:pt x="264872" y="137048"/>
                    <a:pt x="262153" y="142487"/>
                  </a:cubicBezTo>
                  <a:cubicBezTo>
                    <a:pt x="259433" y="145207"/>
                    <a:pt x="259433" y="150647"/>
                    <a:pt x="259433" y="153366"/>
                  </a:cubicBezTo>
                  <a:cubicBezTo>
                    <a:pt x="259433" y="158805"/>
                    <a:pt x="259433" y="164245"/>
                    <a:pt x="262153" y="166964"/>
                  </a:cubicBezTo>
                  <a:cubicBezTo>
                    <a:pt x="262153" y="177843"/>
                    <a:pt x="262153" y="186002"/>
                    <a:pt x="262153" y="196881"/>
                  </a:cubicBezTo>
                  <a:cubicBezTo>
                    <a:pt x="262153" y="202320"/>
                    <a:pt x="262153" y="210479"/>
                    <a:pt x="262153" y="215918"/>
                  </a:cubicBezTo>
                  <a:cubicBezTo>
                    <a:pt x="262153" y="229516"/>
                    <a:pt x="262153" y="240395"/>
                    <a:pt x="262153" y="251274"/>
                  </a:cubicBezTo>
                  <a:cubicBezTo>
                    <a:pt x="262153" y="259433"/>
                    <a:pt x="259433" y="270311"/>
                    <a:pt x="259433" y="278470"/>
                  </a:cubicBezTo>
                  <a:cubicBezTo>
                    <a:pt x="259433" y="289349"/>
                    <a:pt x="259433" y="297508"/>
                    <a:pt x="259433" y="308386"/>
                  </a:cubicBezTo>
                  <a:cubicBezTo>
                    <a:pt x="259433" y="313826"/>
                    <a:pt x="259433" y="319265"/>
                    <a:pt x="259433" y="321985"/>
                  </a:cubicBezTo>
                  <a:cubicBezTo>
                    <a:pt x="259433" y="324704"/>
                    <a:pt x="259433" y="330144"/>
                    <a:pt x="259433" y="332863"/>
                  </a:cubicBezTo>
                  <a:cubicBezTo>
                    <a:pt x="262153" y="335583"/>
                    <a:pt x="264872" y="335583"/>
                    <a:pt x="267592" y="335583"/>
                  </a:cubicBezTo>
                  <a:cubicBezTo>
                    <a:pt x="273031" y="335583"/>
                    <a:pt x="275751" y="335583"/>
                    <a:pt x="281190" y="335583"/>
                  </a:cubicBezTo>
                  <a:cubicBezTo>
                    <a:pt x="311107" y="335583"/>
                    <a:pt x="319265" y="335583"/>
                    <a:pt x="327424" y="338303"/>
                  </a:cubicBezTo>
                  <a:cubicBezTo>
                    <a:pt x="335583" y="341022"/>
                    <a:pt x="343742" y="341022"/>
                    <a:pt x="351901" y="341022"/>
                  </a:cubicBezTo>
                  <a:cubicBezTo>
                    <a:pt x="351901" y="338303"/>
                    <a:pt x="351901" y="338303"/>
                    <a:pt x="351901" y="335583"/>
                  </a:cubicBezTo>
                  <a:cubicBezTo>
                    <a:pt x="351901" y="327424"/>
                    <a:pt x="351901" y="319265"/>
                    <a:pt x="351901" y="313826"/>
                  </a:cubicBezTo>
                  <a:cubicBezTo>
                    <a:pt x="351901" y="305667"/>
                    <a:pt x="351901" y="294788"/>
                    <a:pt x="357341" y="289349"/>
                  </a:cubicBezTo>
                  <a:cubicBezTo>
                    <a:pt x="360060" y="281190"/>
                    <a:pt x="368219" y="273031"/>
                    <a:pt x="373658" y="273031"/>
                  </a:cubicBezTo>
                  <a:cubicBezTo>
                    <a:pt x="376378" y="273031"/>
                    <a:pt x="379098" y="273031"/>
                    <a:pt x="381817" y="278470"/>
                  </a:cubicBezTo>
                  <a:cubicBezTo>
                    <a:pt x="384537" y="283909"/>
                    <a:pt x="387257" y="292068"/>
                    <a:pt x="389977" y="300228"/>
                  </a:cubicBezTo>
                  <a:cubicBezTo>
                    <a:pt x="392696" y="316545"/>
                    <a:pt x="392696" y="335583"/>
                    <a:pt x="395416" y="351901"/>
                  </a:cubicBezTo>
                  <a:cubicBezTo>
                    <a:pt x="398136" y="373658"/>
                    <a:pt x="398136" y="384537"/>
                    <a:pt x="398136" y="409014"/>
                  </a:cubicBezTo>
                  <a:cubicBezTo>
                    <a:pt x="398136" y="422612"/>
                    <a:pt x="398136" y="444369"/>
                    <a:pt x="381817" y="444369"/>
                  </a:cubicBezTo>
                  <a:cubicBezTo>
                    <a:pt x="373658" y="444369"/>
                    <a:pt x="370939" y="441650"/>
                    <a:pt x="365500" y="438930"/>
                  </a:cubicBezTo>
                  <a:cubicBezTo>
                    <a:pt x="360060" y="436210"/>
                    <a:pt x="357341" y="428051"/>
                    <a:pt x="357341" y="422612"/>
                  </a:cubicBezTo>
                  <a:cubicBezTo>
                    <a:pt x="354621" y="414453"/>
                    <a:pt x="354621" y="409014"/>
                    <a:pt x="354621" y="400855"/>
                  </a:cubicBezTo>
                  <a:cubicBezTo>
                    <a:pt x="354621" y="395415"/>
                    <a:pt x="354621" y="389976"/>
                    <a:pt x="354621" y="381817"/>
                  </a:cubicBezTo>
                  <a:cubicBezTo>
                    <a:pt x="335583" y="381817"/>
                    <a:pt x="308387" y="384537"/>
                    <a:pt x="270312" y="381817"/>
                  </a:cubicBezTo>
                  <a:cubicBezTo>
                    <a:pt x="262153" y="381817"/>
                    <a:pt x="256713" y="387256"/>
                    <a:pt x="256713" y="395415"/>
                  </a:cubicBezTo>
                  <a:cubicBezTo>
                    <a:pt x="256713" y="403574"/>
                    <a:pt x="256713" y="414453"/>
                    <a:pt x="253994" y="422612"/>
                  </a:cubicBezTo>
                  <a:cubicBezTo>
                    <a:pt x="253994" y="425332"/>
                    <a:pt x="253994" y="430771"/>
                    <a:pt x="253994" y="433490"/>
                  </a:cubicBezTo>
                  <a:cubicBezTo>
                    <a:pt x="253994" y="438930"/>
                    <a:pt x="253994" y="444369"/>
                    <a:pt x="253994" y="449809"/>
                  </a:cubicBezTo>
                  <a:cubicBezTo>
                    <a:pt x="253994" y="457967"/>
                    <a:pt x="256713" y="466126"/>
                    <a:pt x="256713" y="474285"/>
                  </a:cubicBezTo>
                  <a:cubicBezTo>
                    <a:pt x="256713" y="482444"/>
                    <a:pt x="256713" y="490603"/>
                    <a:pt x="256713" y="496043"/>
                  </a:cubicBezTo>
                  <a:cubicBezTo>
                    <a:pt x="256713" y="509641"/>
                    <a:pt x="259433" y="520520"/>
                    <a:pt x="259433" y="534118"/>
                  </a:cubicBezTo>
                  <a:cubicBezTo>
                    <a:pt x="259433" y="553155"/>
                    <a:pt x="259433" y="572193"/>
                    <a:pt x="259433" y="591231"/>
                  </a:cubicBezTo>
                  <a:cubicBezTo>
                    <a:pt x="259433" y="602109"/>
                    <a:pt x="262153" y="610268"/>
                    <a:pt x="262153" y="618427"/>
                  </a:cubicBezTo>
                  <a:cubicBezTo>
                    <a:pt x="264872" y="626586"/>
                    <a:pt x="262153" y="642904"/>
                    <a:pt x="267592" y="648343"/>
                  </a:cubicBezTo>
                  <a:cubicBezTo>
                    <a:pt x="270312" y="651063"/>
                    <a:pt x="275751" y="651063"/>
                    <a:pt x="292069" y="651063"/>
                  </a:cubicBezTo>
                  <a:cubicBezTo>
                    <a:pt x="305667" y="651063"/>
                    <a:pt x="319265" y="651063"/>
                    <a:pt x="327424" y="651063"/>
                  </a:cubicBezTo>
                  <a:cubicBezTo>
                    <a:pt x="338303" y="651063"/>
                    <a:pt x="351901" y="653783"/>
                    <a:pt x="362780" y="653783"/>
                  </a:cubicBezTo>
                  <a:cubicBezTo>
                    <a:pt x="376378" y="653783"/>
                    <a:pt x="384537" y="651063"/>
                    <a:pt x="395416" y="648343"/>
                  </a:cubicBezTo>
                  <a:cubicBezTo>
                    <a:pt x="395416" y="637465"/>
                    <a:pt x="395416" y="629306"/>
                    <a:pt x="395416" y="618427"/>
                  </a:cubicBezTo>
                  <a:cubicBezTo>
                    <a:pt x="395416" y="610268"/>
                    <a:pt x="395416" y="602109"/>
                    <a:pt x="395416" y="596670"/>
                  </a:cubicBezTo>
                  <a:cubicBezTo>
                    <a:pt x="395416" y="591231"/>
                    <a:pt x="395416" y="585791"/>
                    <a:pt x="398136" y="574913"/>
                  </a:cubicBezTo>
                  <a:cubicBezTo>
                    <a:pt x="400855" y="569473"/>
                    <a:pt x="400855" y="564034"/>
                    <a:pt x="406295" y="558595"/>
                  </a:cubicBezTo>
                  <a:cubicBezTo>
                    <a:pt x="411734" y="553155"/>
                    <a:pt x="414453" y="553155"/>
                    <a:pt x="422612" y="553155"/>
                  </a:cubicBezTo>
                  <a:cubicBezTo>
                    <a:pt x="436211" y="553155"/>
                    <a:pt x="438930" y="577632"/>
                    <a:pt x="438930" y="588511"/>
                  </a:cubicBezTo>
                  <a:cubicBezTo>
                    <a:pt x="438930" y="612988"/>
                    <a:pt x="438930" y="623866"/>
                    <a:pt x="436211" y="645624"/>
                  </a:cubicBezTo>
                  <a:cubicBezTo>
                    <a:pt x="433491" y="648343"/>
                    <a:pt x="433491" y="648343"/>
                    <a:pt x="433491" y="651063"/>
                  </a:cubicBezTo>
                  <a:lnTo>
                    <a:pt x="433491" y="651063"/>
                  </a:ln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rgbClr val="666666"/>
                </a:solidFill>
              </a:endParaRPr>
            </a:p>
          </p:txBody>
        </p:sp>
        <p:sp>
          <p:nvSpPr>
            <p:cNvPr id="49" name="Freeform: Shape 48">
              <a:extLst>
                <a:ext uri="{FF2B5EF4-FFF2-40B4-BE49-F238E27FC236}">
                  <a16:creationId xmlns:a16="http://schemas.microsoft.com/office/drawing/2014/main" id="{DBFAFEDA-92A7-430B-864D-95B664E05370}"/>
                </a:ext>
              </a:extLst>
            </p:cNvPr>
            <p:cNvSpPr/>
            <p:nvPr/>
          </p:nvSpPr>
          <p:spPr>
            <a:xfrm>
              <a:off x="7912732" y="4250336"/>
              <a:ext cx="465062" cy="658157"/>
            </a:xfrm>
            <a:custGeom>
              <a:avLst/>
              <a:gdLst>
                <a:gd name="connsiteX0" fmla="*/ 193096 w 465062"/>
                <a:gd name="connsiteY0" fmla="*/ 59832 h 658157"/>
                <a:gd name="connsiteX1" fmla="*/ 193096 w 465062"/>
                <a:gd name="connsiteY1" fmla="*/ 114226 h 658157"/>
                <a:gd name="connsiteX2" fmla="*/ 198536 w 465062"/>
                <a:gd name="connsiteY2" fmla="*/ 209414 h 658157"/>
                <a:gd name="connsiteX3" fmla="*/ 201255 w 465062"/>
                <a:gd name="connsiteY3" fmla="*/ 282845 h 658157"/>
                <a:gd name="connsiteX4" fmla="*/ 203975 w 465062"/>
                <a:gd name="connsiteY4" fmla="*/ 315481 h 658157"/>
                <a:gd name="connsiteX5" fmla="*/ 203975 w 465062"/>
                <a:gd name="connsiteY5" fmla="*/ 320920 h 658157"/>
                <a:gd name="connsiteX6" fmla="*/ 212134 w 465062"/>
                <a:gd name="connsiteY6" fmla="*/ 329079 h 658157"/>
                <a:gd name="connsiteX7" fmla="*/ 223013 w 465062"/>
                <a:gd name="connsiteY7" fmla="*/ 329079 h 658157"/>
                <a:gd name="connsiteX8" fmla="*/ 239331 w 465062"/>
                <a:gd name="connsiteY8" fmla="*/ 329079 h 658157"/>
                <a:gd name="connsiteX9" fmla="*/ 280126 w 465062"/>
                <a:gd name="connsiteY9" fmla="*/ 312761 h 658157"/>
                <a:gd name="connsiteX10" fmla="*/ 296443 w 465062"/>
                <a:gd name="connsiteY10" fmla="*/ 288284 h 658157"/>
                <a:gd name="connsiteX11" fmla="*/ 304602 w 465062"/>
                <a:gd name="connsiteY11" fmla="*/ 258368 h 658157"/>
                <a:gd name="connsiteX12" fmla="*/ 312761 w 465062"/>
                <a:gd name="connsiteY12" fmla="*/ 225732 h 658157"/>
                <a:gd name="connsiteX13" fmla="*/ 315481 w 465062"/>
                <a:gd name="connsiteY13" fmla="*/ 195816 h 658157"/>
                <a:gd name="connsiteX14" fmla="*/ 318201 w 465062"/>
                <a:gd name="connsiteY14" fmla="*/ 168619 h 658157"/>
                <a:gd name="connsiteX15" fmla="*/ 312761 w 465062"/>
                <a:gd name="connsiteY15" fmla="*/ 135983 h 658157"/>
                <a:gd name="connsiteX16" fmla="*/ 312761 w 465062"/>
                <a:gd name="connsiteY16" fmla="*/ 122385 h 658157"/>
                <a:gd name="connsiteX17" fmla="*/ 293724 w 465062"/>
                <a:gd name="connsiteY17" fmla="*/ 84309 h 658157"/>
                <a:gd name="connsiteX18" fmla="*/ 280126 w 465062"/>
                <a:gd name="connsiteY18" fmla="*/ 73430 h 658157"/>
                <a:gd name="connsiteX19" fmla="*/ 258368 w 465062"/>
                <a:gd name="connsiteY19" fmla="*/ 62552 h 658157"/>
                <a:gd name="connsiteX20" fmla="*/ 217573 w 465062"/>
                <a:gd name="connsiteY20" fmla="*/ 59832 h 658157"/>
                <a:gd name="connsiteX21" fmla="*/ 111506 w 465062"/>
                <a:gd name="connsiteY21" fmla="*/ 0 h 658157"/>
                <a:gd name="connsiteX22" fmla="*/ 127824 w 465062"/>
                <a:gd name="connsiteY22" fmla="*/ 0 h 658157"/>
                <a:gd name="connsiteX23" fmla="*/ 157741 w 465062"/>
                <a:gd name="connsiteY23" fmla="*/ 5440 h 658157"/>
                <a:gd name="connsiteX24" fmla="*/ 179497 w 465062"/>
                <a:gd name="connsiteY24" fmla="*/ 16318 h 658157"/>
                <a:gd name="connsiteX25" fmla="*/ 209414 w 465062"/>
                <a:gd name="connsiteY25" fmla="*/ 16318 h 658157"/>
                <a:gd name="connsiteX26" fmla="*/ 247489 w 465062"/>
                <a:gd name="connsiteY26" fmla="*/ 16318 h 658157"/>
                <a:gd name="connsiteX27" fmla="*/ 266527 w 465062"/>
                <a:gd name="connsiteY27" fmla="*/ 16318 h 658157"/>
                <a:gd name="connsiteX28" fmla="*/ 312761 w 465062"/>
                <a:gd name="connsiteY28" fmla="*/ 27197 h 658157"/>
                <a:gd name="connsiteX29" fmla="*/ 337238 w 465062"/>
                <a:gd name="connsiteY29" fmla="*/ 38075 h 658157"/>
                <a:gd name="connsiteX30" fmla="*/ 364434 w 465062"/>
                <a:gd name="connsiteY30" fmla="*/ 54393 h 658157"/>
                <a:gd name="connsiteX31" fmla="*/ 386192 w 465062"/>
                <a:gd name="connsiteY31" fmla="*/ 73431 h 658157"/>
                <a:gd name="connsiteX32" fmla="*/ 407949 w 465062"/>
                <a:gd name="connsiteY32" fmla="*/ 103347 h 658157"/>
                <a:gd name="connsiteX33" fmla="*/ 416108 w 465062"/>
                <a:gd name="connsiteY33" fmla="*/ 141422 h 658157"/>
                <a:gd name="connsiteX34" fmla="*/ 418828 w 465062"/>
                <a:gd name="connsiteY34" fmla="*/ 163179 h 658157"/>
                <a:gd name="connsiteX35" fmla="*/ 418828 w 465062"/>
                <a:gd name="connsiteY35" fmla="*/ 171339 h 658157"/>
                <a:gd name="connsiteX36" fmla="*/ 421547 w 465062"/>
                <a:gd name="connsiteY36" fmla="*/ 187656 h 658157"/>
                <a:gd name="connsiteX37" fmla="*/ 418828 w 465062"/>
                <a:gd name="connsiteY37" fmla="*/ 206694 h 658157"/>
                <a:gd name="connsiteX38" fmla="*/ 416108 w 465062"/>
                <a:gd name="connsiteY38" fmla="*/ 233891 h 658157"/>
                <a:gd name="connsiteX39" fmla="*/ 405229 w 465062"/>
                <a:gd name="connsiteY39" fmla="*/ 263807 h 658157"/>
                <a:gd name="connsiteX40" fmla="*/ 394351 w 465062"/>
                <a:gd name="connsiteY40" fmla="*/ 274686 h 658157"/>
                <a:gd name="connsiteX41" fmla="*/ 388912 w 465062"/>
                <a:gd name="connsiteY41" fmla="*/ 285564 h 658157"/>
                <a:gd name="connsiteX42" fmla="*/ 369874 w 465062"/>
                <a:gd name="connsiteY42" fmla="*/ 304602 h 658157"/>
                <a:gd name="connsiteX43" fmla="*/ 358995 w 465062"/>
                <a:gd name="connsiteY43" fmla="*/ 310041 h 658157"/>
                <a:gd name="connsiteX44" fmla="*/ 348117 w 465062"/>
                <a:gd name="connsiteY44" fmla="*/ 320920 h 658157"/>
                <a:gd name="connsiteX45" fmla="*/ 326359 w 465062"/>
                <a:gd name="connsiteY45" fmla="*/ 339957 h 658157"/>
                <a:gd name="connsiteX46" fmla="*/ 312761 w 465062"/>
                <a:gd name="connsiteY46" fmla="*/ 353555 h 658157"/>
                <a:gd name="connsiteX47" fmla="*/ 337238 w 465062"/>
                <a:gd name="connsiteY47" fmla="*/ 380752 h 658157"/>
                <a:gd name="connsiteX48" fmla="*/ 358995 w 465062"/>
                <a:gd name="connsiteY48" fmla="*/ 421547 h 658157"/>
                <a:gd name="connsiteX49" fmla="*/ 372593 w 465062"/>
                <a:gd name="connsiteY49" fmla="*/ 459622 h 658157"/>
                <a:gd name="connsiteX50" fmla="*/ 386192 w 465062"/>
                <a:gd name="connsiteY50" fmla="*/ 514015 h 658157"/>
                <a:gd name="connsiteX51" fmla="*/ 407949 w 465062"/>
                <a:gd name="connsiteY51" fmla="*/ 568408 h 658157"/>
                <a:gd name="connsiteX52" fmla="*/ 421547 w 465062"/>
                <a:gd name="connsiteY52" fmla="*/ 598324 h 658157"/>
                <a:gd name="connsiteX53" fmla="*/ 451463 w 465062"/>
                <a:gd name="connsiteY53" fmla="*/ 628241 h 658157"/>
                <a:gd name="connsiteX54" fmla="*/ 465062 w 465062"/>
                <a:gd name="connsiteY54" fmla="*/ 644559 h 658157"/>
                <a:gd name="connsiteX55" fmla="*/ 462342 w 465062"/>
                <a:gd name="connsiteY55" fmla="*/ 649998 h 658157"/>
                <a:gd name="connsiteX56" fmla="*/ 437865 w 465062"/>
                <a:gd name="connsiteY56" fmla="*/ 658157 h 658157"/>
                <a:gd name="connsiteX57" fmla="*/ 361715 w 465062"/>
                <a:gd name="connsiteY57" fmla="*/ 622801 h 658157"/>
                <a:gd name="connsiteX58" fmla="*/ 320920 w 465062"/>
                <a:gd name="connsiteY58" fmla="*/ 565689 h 658157"/>
                <a:gd name="connsiteX59" fmla="*/ 304602 w 465062"/>
                <a:gd name="connsiteY59" fmla="*/ 530333 h 658157"/>
                <a:gd name="connsiteX60" fmla="*/ 293723 w 465062"/>
                <a:gd name="connsiteY60" fmla="*/ 497697 h 658157"/>
                <a:gd name="connsiteX61" fmla="*/ 282845 w 465062"/>
                <a:gd name="connsiteY61" fmla="*/ 462342 h 658157"/>
                <a:gd name="connsiteX62" fmla="*/ 269246 w 465062"/>
                <a:gd name="connsiteY62" fmla="*/ 424267 h 658157"/>
                <a:gd name="connsiteX63" fmla="*/ 255648 w 465062"/>
                <a:gd name="connsiteY63" fmla="*/ 391631 h 658157"/>
                <a:gd name="connsiteX64" fmla="*/ 236610 w 465062"/>
                <a:gd name="connsiteY64" fmla="*/ 367154 h 658157"/>
                <a:gd name="connsiteX65" fmla="*/ 217573 w 465062"/>
                <a:gd name="connsiteY65" fmla="*/ 361714 h 658157"/>
                <a:gd name="connsiteX66" fmla="*/ 201255 w 465062"/>
                <a:gd name="connsiteY66" fmla="*/ 361714 h 658157"/>
                <a:gd name="connsiteX67" fmla="*/ 198535 w 465062"/>
                <a:gd name="connsiteY67" fmla="*/ 367154 h 658157"/>
                <a:gd name="connsiteX68" fmla="*/ 201255 w 465062"/>
                <a:gd name="connsiteY68" fmla="*/ 388911 h 658157"/>
                <a:gd name="connsiteX69" fmla="*/ 198535 w 465062"/>
                <a:gd name="connsiteY69" fmla="*/ 426986 h 658157"/>
                <a:gd name="connsiteX70" fmla="*/ 203975 w 465062"/>
                <a:gd name="connsiteY70" fmla="*/ 478660 h 658157"/>
                <a:gd name="connsiteX71" fmla="*/ 198535 w 465062"/>
                <a:gd name="connsiteY71" fmla="*/ 552090 h 658157"/>
                <a:gd name="connsiteX72" fmla="*/ 195816 w 465062"/>
                <a:gd name="connsiteY72" fmla="*/ 576567 h 658157"/>
                <a:gd name="connsiteX73" fmla="*/ 198535 w 465062"/>
                <a:gd name="connsiteY73" fmla="*/ 592885 h 658157"/>
                <a:gd name="connsiteX74" fmla="*/ 233891 w 465062"/>
                <a:gd name="connsiteY74" fmla="*/ 592885 h 658157"/>
                <a:gd name="connsiteX75" fmla="*/ 271966 w 465062"/>
                <a:gd name="connsiteY75" fmla="*/ 611923 h 658157"/>
                <a:gd name="connsiteX76" fmla="*/ 266527 w 465062"/>
                <a:gd name="connsiteY76" fmla="*/ 628241 h 658157"/>
                <a:gd name="connsiteX77" fmla="*/ 250209 w 465062"/>
                <a:gd name="connsiteY77" fmla="*/ 636400 h 658157"/>
                <a:gd name="connsiteX78" fmla="*/ 228451 w 465062"/>
                <a:gd name="connsiteY78" fmla="*/ 639119 h 658157"/>
                <a:gd name="connsiteX79" fmla="*/ 187657 w 465062"/>
                <a:gd name="connsiteY79" fmla="*/ 639119 h 658157"/>
                <a:gd name="connsiteX80" fmla="*/ 152301 w 465062"/>
                <a:gd name="connsiteY80" fmla="*/ 652717 h 658157"/>
                <a:gd name="connsiteX81" fmla="*/ 133263 w 465062"/>
                <a:gd name="connsiteY81" fmla="*/ 655437 h 658157"/>
                <a:gd name="connsiteX82" fmla="*/ 122385 w 465062"/>
                <a:gd name="connsiteY82" fmla="*/ 652717 h 658157"/>
                <a:gd name="connsiteX83" fmla="*/ 97908 w 465062"/>
                <a:gd name="connsiteY83" fmla="*/ 639119 h 658157"/>
                <a:gd name="connsiteX84" fmla="*/ 70711 w 465062"/>
                <a:gd name="connsiteY84" fmla="*/ 639119 h 658157"/>
                <a:gd name="connsiteX85" fmla="*/ 46234 w 465062"/>
                <a:gd name="connsiteY85" fmla="*/ 639119 h 658157"/>
                <a:gd name="connsiteX86" fmla="*/ 19038 w 465062"/>
                <a:gd name="connsiteY86" fmla="*/ 630960 h 658157"/>
                <a:gd name="connsiteX87" fmla="*/ 2720 w 465062"/>
                <a:gd name="connsiteY87" fmla="*/ 614642 h 658157"/>
                <a:gd name="connsiteX88" fmla="*/ 8159 w 465062"/>
                <a:gd name="connsiteY88" fmla="*/ 606483 h 658157"/>
                <a:gd name="connsiteX89" fmla="*/ 29916 w 465062"/>
                <a:gd name="connsiteY89" fmla="*/ 598324 h 658157"/>
                <a:gd name="connsiteX90" fmla="*/ 76151 w 465062"/>
                <a:gd name="connsiteY90" fmla="*/ 592885 h 658157"/>
                <a:gd name="connsiteX91" fmla="*/ 73431 w 465062"/>
                <a:gd name="connsiteY91" fmla="*/ 573848 h 658157"/>
                <a:gd name="connsiteX92" fmla="*/ 70711 w 465062"/>
                <a:gd name="connsiteY92" fmla="*/ 500417 h 658157"/>
                <a:gd name="connsiteX93" fmla="*/ 73431 w 465062"/>
                <a:gd name="connsiteY93" fmla="*/ 437865 h 658157"/>
                <a:gd name="connsiteX94" fmla="*/ 70711 w 465062"/>
                <a:gd name="connsiteY94" fmla="*/ 369873 h 658157"/>
                <a:gd name="connsiteX95" fmla="*/ 70711 w 465062"/>
                <a:gd name="connsiteY95" fmla="*/ 293723 h 658157"/>
                <a:gd name="connsiteX96" fmla="*/ 73431 w 465062"/>
                <a:gd name="connsiteY96" fmla="*/ 212133 h 658157"/>
                <a:gd name="connsiteX97" fmla="*/ 76151 w 465062"/>
                <a:gd name="connsiteY97" fmla="*/ 155021 h 658157"/>
                <a:gd name="connsiteX98" fmla="*/ 76151 w 465062"/>
                <a:gd name="connsiteY98" fmla="*/ 119665 h 658157"/>
                <a:gd name="connsiteX99" fmla="*/ 78870 w 465062"/>
                <a:gd name="connsiteY99" fmla="*/ 84310 h 658157"/>
                <a:gd name="connsiteX100" fmla="*/ 76151 w 465062"/>
                <a:gd name="connsiteY100" fmla="*/ 62552 h 658157"/>
                <a:gd name="connsiteX101" fmla="*/ 67992 w 465062"/>
                <a:gd name="connsiteY101" fmla="*/ 62552 h 658157"/>
                <a:gd name="connsiteX102" fmla="*/ 43515 w 465062"/>
                <a:gd name="connsiteY102" fmla="*/ 62552 h 658157"/>
                <a:gd name="connsiteX103" fmla="*/ 16318 w 465062"/>
                <a:gd name="connsiteY103" fmla="*/ 57113 h 658157"/>
                <a:gd name="connsiteX104" fmla="*/ 0 w 465062"/>
                <a:gd name="connsiteY104" fmla="*/ 40795 h 658157"/>
                <a:gd name="connsiteX105" fmla="*/ 5439 w 465062"/>
                <a:gd name="connsiteY105" fmla="*/ 32636 h 658157"/>
                <a:gd name="connsiteX106" fmla="*/ 27197 w 465062"/>
                <a:gd name="connsiteY106" fmla="*/ 24477 h 658157"/>
                <a:gd name="connsiteX107" fmla="*/ 76151 w 465062"/>
                <a:gd name="connsiteY107" fmla="*/ 19038 h 658157"/>
                <a:gd name="connsiteX108" fmla="*/ 78870 w 465062"/>
                <a:gd name="connsiteY108" fmla="*/ 13598 h 658157"/>
                <a:gd name="connsiteX109" fmla="*/ 95188 w 465062"/>
                <a:gd name="connsiteY109" fmla="*/ 5440 h 658157"/>
                <a:gd name="connsiteX110" fmla="*/ 111506 w 465062"/>
                <a:gd name="connsiteY110" fmla="*/ 0 h 6581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</a:cxnLst>
              <a:rect l="l" t="t" r="r" b="b"/>
              <a:pathLst>
                <a:path w="465062" h="658157">
                  <a:moveTo>
                    <a:pt x="193096" y="59832"/>
                  </a:moveTo>
                  <a:cubicBezTo>
                    <a:pt x="193096" y="73430"/>
                    <a:pt x="193096" y="89748"/>
                    <a:pt x="193096" y="114226"/>
                  </a:cubicBezTo>
                  <a:cubicBezTo>
                    <a:pt x="193096" y="144142"/>
                    <a:pt x="195816" y="176778"/>
                    <a:pt x="198536" y="209414"/>
                  </a:cubicBezTo>
                  <a:cubicBezTo>
                    <a:pt x="198536" y="247489"/>
                    <a:pt x="201255" y="277406"/>
                    <a:pt x="201255" y="282845"/>
                  </a:cubicBezTo>
                  <a:cubicBezTo>
                    <a:pt x="201255" y="293723"/>
                    <a:pt x="203975" y="304602"/>
                    <a:pt x="203975" y="315481"/>
                  </a:cubicBezTo>
                  <a:cubicBezTo>
                    <a:pt x="203975" y="318200"/>
                    <a:pt x="203975" y="318200"/>
                    <a:pt x="203975" y="320920"/>
                  </a:cubicBezTo>
                  <a:cubicBezTo>
                    <a:pt x="203975" y="326359"/>
                    <a:pt x="206695" y="329079"/>
                    <a:pt x="212134" y="329079"/>
                  </a:cubicBezTo>
                  <a:cubicBezTo>
                    <a:pt x="214854" y="329079"/>
                    <a:pt x="220293" y="329079"/>
                    <a:pt x="223013" y="329079"/>
                  </a:cubicBezTo>
                  <a:cubicBezTo>
                    <a:pt x="228452" y="329079"/>
                    <a:pt x="233891" y="329079"/>
                    <a:pt x="239331" y="329079"/>
                  </a:cubicBezTo>
                  <a:cubicBezTo>
                    <a:pt x="252929" y="329079"/>
                    <a:pt x="271967" y="323640"/>
                    <a:pt x="280126" y="312761"/>
                  </a:cubicBezTo>
                  <a:cubicBezTo>
                    <a:pt x="288284" y="304602"/>
                    <a:pt x="291004" y="299163"/>
                    <a:pt x="296443" y="288284"/>
                  </a:cubicBezTo>
                  <a:cubicBezTo>
                    <a:pt x="299163" y="277406"/>
                    <a:pt x="301883" y="269247"/>
                    <a:pt x="304602" y="258368"/>
                  </a:cubicBezTo>
                  <a:cubicBezTo>
                    <a:pt x="307322" y="244770"/>
                    <a:pt x="310042" y="239330"/>
                    <a:pt x="312761" y="225732"/>
                  </a:cubicBezTo>
                  <a:cubicBezTo>
                    <a:pt x="315481" y="212134"/>
                    <a:pt x="315481" y="209414"/>
                    <a:pt x="315481" y="195816"/>
                  </a:cubicBezTo>
                  <a:cubicBezTo>
                    <a:pt x="315481" y="179498"/>
                    <a:pt x="315481" y="184937"/>
                    <a:pt x="318201" y="168619"/>
                  </a:cubicBezTo>
                  <a:cubicBezTo>
                    <a:pt x="312761" y="152302"/>
                    <a:pt x="312761" y="149582"/>
                    <a:pt x="312761" y="135983"/>
                  </a:cubicBezTo>
                  <a:cubicBezTo>
                    <a:pt x="312761" y="133264"/>
                    <a:pt x="312761" y="127825"/>
                    <a:pt x="312761" y="122385"/>
                  </a:cubicBezTo>
                  <a:cubicBezTo>
                    <a:pt x="312761" y="111507"/>
                    <a:pt x="301883" y="95188"/>
                    <a:pt x="293724" y="84309"/>
                  </a:cubicBezTo>
                  <a:cubicBezTo>
                    <a:pt x="288284" y="78870"/>
                    <a:pt x="285565" y="76150"/>
                    <a:pt x="280126" y="73430"/>
                  </a:cubicBezTo>
                  <a:cubicBezTo>
                    <a:pt x="271967" y="67991"/>
                    <a:pt x="266527" y="65271"/>
                    <a:pt x="258368" y="62552"/>
                  </a:cubicBezTo>
                  <a:cubicBezTo>
                    <a:pt x="244770" y="59832"/>
                    <a:pt x="228452" y="59832"/>
                    <a:pt x="217573" y="59832"/>
                  </a:cubicBezTo>
                  <a:close/>
                  <a:moveTo>
                    <a:pt x="111506" y="0"/>
                  </a:moveTo>
                  <a:cubicBezTo>
                    <a:pt x="114226" y="0"/>
                    <a:pt x="122385" y="0"/>
                    <a:pt x="127824" y="0"/>
                  </a:cubicBezTo>
                  <a:cubicBezTo>
                    <a:pt x="135983" y="0"/>
                    <a:pt x="146862" y="2720"/>
                    <a:pt x="157741" y="5440"/>
                  </a:cubicBezTo>
                  <a:cubicBezTo>
                    <a:pt x="168619" y="8159"/>
                    <a:pt x="176778" y="10879"/>
                    <a:pt x="179497" y="16318"/>
                  </a:cubicBezTo>
                  <a:cubicBezTo>
                    <a:pt x="193096" y="16318"/>
                    <a:pt x="201255" y="16318"/>
                    <a:pt x="209414" y="16318"/>
                  </a:cubicBezTo>
                  <a:cubicBezTo>
                    <a:pt x="220292" y="16318"/>
                    <a:pt x="231171" y="16318"/>
                    <a:pt x="247489" y="16318"/>
                  </a:cubicBezTo>
                  <a:cubicBezTo>
                    <a:pt x="250209" y="16318"/>
                    <a:pt x="258368" y="16318"/>
                    <a:pt x="266527" y="16318"/>
                  </a:cubicBezTo>
                  <a:cubicBezTo>
                    <a:pt x="277405" y="16318"/>
                    <a:pt x="291004" y="21758"/>
                    <a:pt x="312761" y="27197"/>
                  </a:cubicBezTo>
                  <a:cubicBezTo>
                    <a:pt x="320920" y="29917"/>
                    <a:pt x="329079" y="35356"/>
                    <a:pt x="337238" y="38075"/>
                  </a:cubicBezTo>
                  <a:cubicBezTo>
                    <a:pt x="342677" y="40795"/>
                    <a:pt x="353556" y="48954"/>
                    <a:pt x="364434" y="54393"/>
                  </a:cubicBezTo>
                  <a:cubicBezTo>
                    <a:pt x="375313" y="62552"/>
                    <a:pt x="386192" y="67992"/>
                    <a:pt x="386192" y="73431"/>
                  </a:cubicBezTo>
                  <a:cubicBezTo>
                    <a:pt x="391631" y="84310"/>
                    <a:pt x="402510" y="92469"/>
                    <a:pt x="407949" y="103347"/>
                  </a:cubicBezTo>
                  <a:cubicBezTo>
                    <a:pt x="413388" y="116945"/>
                    <a:pt x="416108" y="130544"/>
                    <a:pt x="416108" y="141422"/>
                  </a:cubicBezTo>
                  <a:cubicBezTo>
                    <a:pt x="416108" y="152301"/>
                    <a:pt x="418828" y="157740"/>
                    <a:pt x="418828" y="163179"/>
                  </a:cubicBezTo>
                  <a:cubicBezTo>
                    <a:pt x="418828" y="165899"/>
                    <a:pt x="418828" y="168619"/>
                    <a:pt x="418828" y="171339"/>
                  </a:cubicBezTo>
                  <a:cubicBezTo>
                    <a:pt x="418828" y="174058"/>
                    <a:pt x="421547" y="182217"/>
                    <a:pt x="421547" y="187656"/>
                  </a:cubicBezTo>
                  <a:cubicBezTo>
                    <a:pt x="421547" y="193096"/>
                    <a:pt x="418828" y="201255"/>
                    <a:pt x="418828" y="206694"/>
                  </a:cubicBezTo>
                  <a:cubicBezTo>
                    <a:pt x="418828" y="217573"/>
                    <a:pt x="418828" y="223012"/>
                    <a:pt x="416108" y="233891"/>
                  </a:cubicBezTo>
                  <a:cubicBezTo>
                    <a:pt x="413388" y="244769"/>
                    <a:pt x="410668" y="255648"/>
                    <a:pt x="405229" y="263807"/>
                  </a:cubicBezTo>
                  <a:cubicBezTo>
                    <a:pt x="402510" y="269246"/>
                    <a:pt x="397070" y="269246"/>
                    <a:pt x="394351" y="274686"/>
                  </a:cubicBezTo>
                  <a:cubicBezTo>
                    <a:pt x="391631" y="277405"/>
                    <a:pt x="391631" y="282844"/>
                    <a:pt x="388912" y="285564"/>
                  </a:cubicBezTo>
                  <a:cubicBezTo>
                    <a:pt x="383472" y="291003"/>
                    <a:pt x="375313" y="301882"/>
                    <a:pt x="369874" y="304602"/>
                  </a:cubicBezTo>
                  <a:cubicBezTo>
                    <a:pt x="367154" y="307321"/>
                    <a:pt x="361715" y="307321"/>
                    <a:pt x="358995" y="310041"/>
                  </a:cubicBezTo>
                  <a:cubicBezTo>
                    <a:pt x="356275" y="312761"/>
                    <a:pt x="350836" y="318200"/>
                    <a:pt x="348117" y="320920"/>
                  </a:cubicBezTo>
                  <a:cubicBezTo>
                    <a:pt x="339958" y="326359"/>
                    <a:pt x="334518" y="334518"/>
                    <a:pt x="326359" y="339957"/>
                  </a:cubicBezTo>
                  <a:cubicBezTo>
                    <a:pt x="320920" y="342677"/>
                    <a:pt x="312761" y="342677"/>
                    <a:pt x="312761" y="353555"/>
                  </a:cubicBezTo>
                  <a:cubicBezTo>
                    <a:pt x="312761" y="361714"/>
                    <a:pt x="334518" y="372593"/>
                    <a:pt x="337238" y="380752"/>
                  </a:cubicBezTo>
                  <a:cubicBezTo>
                    <a:pt x="345397" y="394350"/>
                    <a:pt x="353556" y="407948"/>
                    <a:pt x="358995" y="421547"/>
                  </a:cubicBezTo>
                  <a:cubicBezTo>
                    <a:pt x="364434" y="435145"/>
                    <a:pt x="367154" y="446024"/>
                    <a:pt x="372593" y="459622"/>
                  </a:cubicBezTo>
                  <a:cubicBezTo>
                    <a:pt x="378033" y="478660"/>
                    <a:pt x="383472" y="494978"/>
                    <a:pt x="386192" y="514015"/>
                  </a:cubicBezTo>
                  <a:cubicBezTo>
                    <a:pt x="391631" y="533053"/>
                    <a:pt x="402510" y="549371"/>
                    <a:pt x="407949" y="568408"/>
                  </a:cubicBezTo>
                  <a:cubicBezTo>
                    <a:pt x="410668" y="579287"/>
                    <a:pt x="416108" y="590165"/>
                    <a:pt x="421547" y="598324"/>
                  </a:cubicBezTo>
                  <a:cubicBezTo>
                    <a:pt x="435146" y="614642"/>
                    <a:pt x="443305" y="622801"/>
                    <a:pt x="451463" y="628241"/>
                  </a:cubicBezTo>
                  <a:cubicBezTo>
                    <a:pt x="456903" y="630960"/>
                    <a:pt x="465062" y="636400"/>
                    <a:pt x="465062" y="644559"/>
                  </a:cubicBezTo>
                  <a:cubicBezTo>
                    <a:pt x="465062" y="647278"/>
                    <a:pt x="465062" y="647278"/>
                    <a:pt x="462342" y="649998"/>
                  </a:cubicBezTo>
                  <a:cubicBezTo>
                    <a:pt x="456903" y="655437"/>
                    <a:pt x="446024" y="658157"/>
                    <a:pt x="437865" y="658157"/>
                  </a:cubicBezTo>
                  <a:cubicBezTo>
                    <a:pt x="413388" y="658157"/>
                    <a:pt x="378033" y="641839"/>
                    <a:pt x="361715" y="622801"/>
                  </a:cubicBezTo>
                  <a:cubicBezTo>
                    <a:pt x="345397" y="606483"/>
                    <a:pt x="334518" y="584726"/>
                    <a:pt x="320920" y="565689"/>
                  </a:cubicBezTo>
                  <a:cubicBezTo>
                    <a:pt x="315480" y="554810"/>
                    <a:pt x="310041" y="543931"/>
                    <a:pt x="304602" y="530333"/>
                  </a:cubicBezTo>
                  <a:cubicBezTo>
                    <a:pt x="299163" y="519454"/>
                    <a:pt x="296443" y="508576"/>
                    <a:pt x="293723" y="497697"/>
                  </a:cubicBezTo>
                  <a:cubicBezTo>
                    <a:pt x="291004" y="486819"/>
                    <a:pt x="288284" y="473220"/>
                    <a:pt x="282845" y="462342"/>
                  </a:cubicBezTo>
                  <a:cubicBezTo>
                    <a:pt x="280125" y="448743"/>
                    <a:pt x="274686" y="437865"/>
                    <a:pt x="269246" y="424267"/>
                  </a:cubicBezTo>
                  <a:cubicBezTo>
                    <a:pt x="266527" y="416108"/>
                    <a:pt x="261087" y="402509"/>
                    <a:pt x="255648" y="391631"/>
                  </a:cubicBezTo>
                  <a:cubicBezTo>
                    <a:pt x="250209" y="380752"/>
                    <a:pt x="244770" y="375313"/>
                    <a:pt x="236610" y="367154"/>
                  </a:cubicBezTo>
                  <a:cubicBezTo>
                    <a:pt x="231171" y="361714"/>
                    <a:pt x="223012" y="361714"/>
                    <a:pt x="217573" y="361714"/>
                  </a:cubicBezTo>
                  <a:cubicBezTo>
                    <a:pt x="212134" y="361714"/>
                    <a:pt x="206694" y="361714"/>
                    <a:pt x="201255" y="361714"/>
                  </a:cubicBezTo>
                  <a:cubicBezTo>
                    <a:pt x="198535" y="361714"/>
                    <a:pt x="198535" y="364434"/>
                    <a:pt x="198535" y="367154"/>
                  </a:cubicBezTo>
                  <a:cubicBezTo>
                    <a:pt x="198535" y="375313"/>
                    <a:pt x="201255" y="386191"/>
                    <a:pt x="201255" y="388911"/>
                  </a:cubicBezTo>
                  <a:cubicBezTo>
                    <a:pt x="201255" y="402509"/>
                    <a:pt x="198535" y="413388"/>
                    <a:pt x="198535" y="426986"/>
                  </a:cubicBezTo>
                  <a:cubicBezTo>
                    <a:pt x="198535" y="446024"/>
                    <a:pt x="203975" y="456902"/>
                    <a:pt x="203975" y="478660"/>
                  </a:cubicBezTo>
                  <a:cubicBezTo>
                    <a:pt x="203975" y="503136"/>
                    <a:pt x="201255" y="527613"/>
                    <a:pt x="198535" y="552090"/>
                  </a:cubicBezTo>
                  <a:cubicBezTo>
                    <a:pt x="198535" y="560249"/>
                    <a:pt x="195816" y="568408"/>
                    <a:pt x="195816" y="576567"/>
                  </a:cubicBezTo>
                  <a:cubicBezTo>
                    <a:pt x="195816" y="582006"/>
                    <a:pt x="195816" y="587446"/>
                    <a:pt x="198535" y="592885"/>
                  </a:cubicBezTo>
                  <a:cubicBezTo>
                    <a:pt x="212134" y="592885"/>
                    <a:pt x="225732" y="592885"/>
                    <a:pt x="233891" y="592885"/>
                  </a:cubicBezTo>
                  <a:cubicBezTo>
                    <a:pt x="247489" y="592885"/>
                    <a:pt x="271966" y="592885"/>
                    <a:pt x="271966" y="611923"/>
                  </a:cubicBezTo>
                  <a:cubicBezTo>
                    <a:pt x="271966" y="620082"/>
                    <a:pt x="269246" y="622801"/>
                    <a:pt x="266527" y="628241"/>
                  </a:cubicBezTo>
                  <a:cubicBezTo>
                    <a:pt x="261087" y="633680"/>
                    <a:pt x="255648" y="636400"/>
                    <a:pt x="250209" y="636400"/>
                  </a:cubicBezTo>
                  <a:cubicBezTo>
                    <a:pt x="239330" y="639119"/>
                    <a:pt x="233891" y="639119"/>
                    <a:pt x="228451" y="639119"/>
                  </a:cubicBezTo>
                  <a:cubicBezTo>
                    <a:pt x="223012" y="639119"/>
                    <a:pt x="206694" y="639119"/>
                    <a:pt x="187657" y="639119"/>
                  </a:cubicBezTo>
                  <a:cubicBezTo>
                    <a:pt x="176778" y="647278"/>
                    <a:pt x="163180" y="649998"/>
                    <a:pt x="152301" y="652717"/>
                  </a:cubicBezTo>
                  <a:cubicBezTo>
                    <a:pt x="146862" y="652717"/>
                    <a:pt x="138703" y="655437"/>
                    <a:pt x="133263" y="655437"/>
                  </a:cubicBezTo>
                  <a:cubicBezTo>
                    <a:pt x="130544" y="655437"/>
                    <a:pt x="125104" y="655437"/>
                    <a:pt x="122385" y="652717"/>
                  </a:cubicBezTo>
                  <a:cubicBezTo>
                    <a:pt x="114226" y="649998"/>
                    <a:pt x="103347" y="644559"/>
                    <a:pt x="97908" y="639119"/>
                  </a:cubicBezTo>
                  <a:cubicBezTo>
                    <a:pt x="87029" y="639119"/>
                    <a:pt x="78870" y="639119"/>
                    <a:pt x="70711" y="639119"/>
                  </a:cubicBezTo>
                  <a:cubicBezTo>
                    <a:pt x="62552" y="639119"/>
                    <a:pt x="54393" y="639119"/>
                    <a:pt x="46234" y="639119"/>
                  </a:cubicBezTo>
                  <a:cubicBezTo>
                    <a:pt x="38075" y="639119"/>
                    <a:pt x="27197" y="633680"/>
                    <a:pt x="19038" y="630960"/>
                  </a:cubicBezTo>
                  <a:cubicBezTo>
                    <a:pt x="10879" y="628241"/>
                    <a:pt x="2720" y="620082"/>
                    <a:pt x="2720" y="614642"/>
                  </a:cubicBezTo>
                  <a:cubicBezTo>
                    <a:pt x="2720" y="611923"/>
                    <a:pt x="2720" y="609203"/>
                    <a:pt x="8159" y="606483"/>
                  </a:cubicBezTo>
                  <a:cubicBezTo>
                    <a:pt x="13599" y="603764"/>
                    <a:pt x="24477" y="601044"/>
                    <a:pt x="29916" y="598324"/>
                  </a:cubicBezTo>
                  <a:cubicBezTo>
                    <a:pt x="43515" y="595605"/>
                    <a:pt x="62552" y="595605"/>
                    <a:pt x="76151" y="592885"/>
                  </a:cubicBezTo>
                  <a:cubicBezTo>
                    <a:pt x="76151" y="587446"/>
                    <a:pt x="73431" y="582006"/>
                    <a:pt x="73431" y="573848"/>
                  </a:cubicBezTo>
                  <a:cubicBezTo>
                    <a:pt x="73431" y="565689"/>
                    <a:pt x="70711" y="516735"/>
                    <a:pt x="70711" y="500417"/>
                  </a:cubicBezTo>
                  <a:cubicBezTo>
                    <a:pt x="70711" y="481379"/>
                    <a:pt x="73431" y="456902"/>
                    <a:pt x="73431" y="437865"/>
                  </a:cubicBezTo>
                  <a:cubicBezTo>
                    <a:pt x="73431" y="416108"/>
                    <a:pt x="70711" y="391631"/>
                    <a:pt x="70711" y="369873"/>
                  </a:cubicBezTo>
                  <a:cubicBezTo>
                    <a:pt x="70711" y="345397"/>
                    <a:pt x="70711" y="318200"/>
                    <a:pt x="70711" y="293723"/>
                  </a:cubicBezTo>
                  <a:cubicBezTo>
                    <a:pt x="70711" y="266526"/>
                    <a:pt x="73431" y="239330"/>
                    <a:pt x="73431" y="212133"/>
                  </a:cubicBezTo>
                  <a:cubicBezTo>
                    <a:pt x="73431" y="187656"/>
                    <a:pt x="76151" y="179498"/>
                    <a:pt x="76151" y="155021"/>
                  </a:cubicBezTo>
                  <a:cubicBezTo>
                    <a:pt x="76151" y="144142"/>
                    <a:pt x="76151" y="130544"/>
                    <a:pt x="76151" y="119665"/>
                  </a:cubicBezTo>
                  <a:cubicBezTo>
                    <a:pt x="76151" y="106067"/>
                    <a:pt x="78870" y="95188"/>
                    <a:pt x="78870" y="84310"/>
                  </a:cubicBezTo>
                  <a:cubicBezTo>
                    <a:pt x="78870" y="78870"/>
                    <a:pt x="78870" y="70711"/>
                    <a:pt x="76151" y="62552"/>
                  </a:cubicBezTo>
                  <a:cubicBezTo>
                    <a:pt x="76151" y="62552"/>
                    <a:pt x="73431" y="62552"/>
                    <a:pt x="67992" y="62552"/>
                  </a:cubicBezTo>
                  <a:cubicBezTo>
                    <a:pt x="59833" y="62552"/>
                    <a:pt x="51674" y="62552"/>
                    <a:pt x="43515" y="62552"/>
                  </a:cubicBezTo>
                  <a:cubicBezTo>
                    <a:pt x="35356" y="62552"/>
                    <a:pt x="24477" y="59833"/>
                    <a:pt x="16318" y="57113"/>
                  </a:cubicBezTo>
                  <a:cubicBezTo>
                    <a:pt x="8159" y="54393"/>
                    <a:pt x="0" y="43515"/>
                    <a:pt x="0" y="40795"/>
                  </a:cubicBezTo>
                  <a:cubicBezTo>
                    <a:pt x="0" y="38075"/>
                    <a:pt x="0" y="35356"/>
                    <a:pt x="5439" y="32636"/>
                  </a:cubicBezTo>
                  <a:cubicBezTo>
                    <a:pt x="10879" y="29917"/>
                    <a:pt x="21758" y="27197"/>
                    <a:pt x="27197" y="24477"/>
                  </a:cubicBezTo>
                  <a:cubicBezTo>
                    <a:pt x="46234" y="21758"/>
                    <a:pt x="62552" y="19038"/>
                    <a:pt x="76151" y="19038"/>
                  </a:cubicBezTo>
                  <a:cubicBezTo>
                    <a:pt x="76151" y="16318"/>
                    <a:pt x="78870" y="16318"/>
                    <a:pt x="78870" y="13598"/>
                  </a:cubicBezTo>
                  <a:cubicBezTo>
                    <a:pt x="84309" y="10879"/>
                    <a:pt x="89749" y="8159"/>
                    <a:pt x="95188" y="5440"/>
                  </a:cubicBezTo>
                  <a:cubicBezTo>
                    <a:pt x="100628" y="2720"/>
                    <a:pt x="106067" y="0"/>
                    <a:pt x="111506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rgbClr val="666666"/>
                </a:solidFill>
              </a:endParaRPr>
            </a:p>
          </p:txBody>
        </p:sp>
        <p:sp>
          <p:nvSpPr>
            <p:cNvPr id="50" name="Freeform: Shape 49">
              <a:extLst>
                <a:ext uri="{FF2B5EF4-FFF2-40B4-BE49-F238E27FC236}">
                  <a16:creationId xmlns:a16="http://schemas.microsoft.com/office/drawing/2014/main" id="{74C54477-D660-4214-9D6F-AF9A7F0C3099}"/>
                </a:ext>
              </a:extLst>
            </p:cNvPr>
            <p:cNvSpPr/>
            <p:nvPr/>
          </p:nvSpPr>
          <p:spPr>
            <a:xfrm>
              <a:off x="8346812" y="4186718"/>
              <a:ext cx="353556" cy="761503"/>
            </a:xfrm>
            <a:custGeom>
              <a:avLst/>
              <a:gdLst>
                <a:gd name="connsiteX0" fmla="*/ 283910 w 353555"/>
                <a:gd name="connsiteY0" fmla="*/ 672820 h 761503"/>
                <a:gd name="connsiteX1" fmla="*/ 321985 w 353555"/>
                <a:gd name="connsiteY1" fmla="*/ 689138 h 761503"/>
                <a:gd name="connsiteX2" fmla="*/ 316546 w 353555"/>
                <a:gd name="connsiteY2" fmla="*/ 705456 h 761503"/>
                <a:gd name="connsiteX3" fmla="*/ 300228 w 353555"/>
                <a:gd name="connsiteY3" fmla="*/ 713615 h 761503"/>
                <a:gd name="connsiteX4" fmla="*/ 278471 w 353555"/>
                <a:gd name="connsiteY4" fmla="*/ 716335 h 761503"/>
                <a:gd name="connsiteX5" fmla="*/ 237676 w 353555"/>
                <a:gd name="connsiteY5" fmla="*/ 716335 h 761503"/>
                <a:gd name="connsiteX6" fmla="*/ 180563 w 353555"/>
                <a:gd name="connsiteY6" fmla="*/ 719054 h 761503"/>
                <a:gd name="connsiteX7" fmla="*/ 126170 w 353555"/>
                <a:gd name="connsiteY7" fmla="*/ 719054 h 761503"/>
                <a:gd name="connsiteX8" fmla="*/ 101693 w 353555"/>
                <a:gd name="connsiteY8" fmla="*/ 719054 h 761503"/>
                <a:gd name="connsiteX9" fmla="*/ 74496 w 353555"/>
                <a:gd name="connsiteY9" fmla="*/ 713615 h 761503"/>
                <a:gd name="connsiteX10" fmla="*/ 58178 w 353555"/>
                <a:gd name="connsiteY10" fmla="*/ 697297 h 761503"/>
                <a:gd name="connsiteX11" fmla="*/ 63618 w 353555"/>
                <a:gd name="connsiteY11" fmla="*/ 689138 h 761503"/>
                <a:gd name="connsiteX12" fmla="*/ 85375 w 353555"/>
                <a:gd name="connsiteY12" fmla="*/ 680979 h 761503"/>
                <a:gd name="connsiteX13" fmla="*/ 131609 w 353555"/>
                <a:gd name="connsiteY13" fmla="*/ 675540 h 761503"/>
                <a:gd name="connsiteX14" fmla="*/ 142488 w 353555"/>
                <a:gd name="connsiteY14" fmla="*/ 675540 h 761503"/>
                <a:gd name="connsiteX15" fmla="*/ 131609 w 353555"/>
                <a:gd name="connsiteY15" fmla="*/ 653783 h 761503"/>
                <a:gd name="connsiteX16" fmla="*/ 128890 w 353555"/>
                <a:gd name="connsiteY16" fmla="*/ 640184 h 761503"/>
                <a:gd name="connsiteX17" fmla="*/ 128890 w 353555"/>
                <a:gd name="connsiteY17" fmla="*/ 629306 h 761503"/>
                <a:gd name="connsiteX18" fmla="*/ 128890 w 353555"/>
                <a:gd name="connsiteY18" fmla="*/ 621147 h 761503"/>
                <a:gd name="connsiteX19" fmla="*/ 128890 w 353555"/>
                <a:gd name="connsiteY19" fmla="*/ 593950 h 761503"/>
                <a:gd name="connsiteX20" fmla="*/ 128890 w 353555"/>
                <a:gd name="connsiteY20" fmla="*/ 583072 h 761503"/>
                <a:gd name="connsiteX21" fmla="*/ 128890 w 353555"/>
                <a:gd name="connsiteY21" fmla="*/ 436210 h 761503"/>
                <a:gd name="connsiteX22" fmla="*/ 128890 w 353555"/>
                <a:gd name="connsiteY22" fmla="*/ 357340 h 761503"/>
                <a:gd name="connsiteX23" fmla="*/ 131609 w 353555"/>
                <a:gd name="connsiteY23" fmla="*/ 289349 h 761503"/>
                <a:gd name="connsiteX24" fmla="*/ 131609 w 353555"/>
                <a:gd name="connsiteY24" fmla="*/ 251274 h 761503"/>
                <a:gd name="connsiteX25" fmla="*/ 131609 w 353555"/>
                <a:gd name="connsiteY25" fmla="*/ 205040 h 761503"/>
                <a:gd name="connsiteX26" fmla="*/ 131609 w 353555"/>
                <a:gd name="connsiteY26" fmla="*/ 139768 h 761503"/>
                <a:gd name="connsiteX27" fmla="*/ 131609 w 353555"/>
                <a:gd name="connsiteY27" fmla="*/ 128889 h 761503"/>
                <a:gd name="connsiteX28" fmla="*/ 126170 w 353555"/>
                <a:gd name="connsiteY28" fmla="*/ 128889 h 761503"/>
                <a:gd name="connsiteX29" fmla="*/ 101693 w 353555"/>
                <a:gd name="connsiteY29" fmla="*/ 128889 h 761503"/>
                <a:gd name="connsiteX30" fmla="*/ 74496 w 353555"/>
                <a:gd name="connsiteY30" fmla="*/ 123450 h 761503"/>
                <a:gd name="connsiteX31" fmla="*/ 58178 w 353555"/>
                <a:gd name="connsiteY31" fmla="*/ 107132 h 761503"/>
                <a:gd name="connsiteX32" fmla="*/ 60898 w 353555"/>
                <a:gd name="connsiteY32" fmla="*/ 98973 h 761503"/>
                <a:gd name="connsiteX33" fmla="*/ 82655 w 353555"/>
                <a:gd name="connsiteY33" fmla="*/ 93534 h 761503"/>
                <a:gd name="connsiteX34" fmla="*/ 131609 w 353555"/>
                <a:gd name="connsiteY34" fmla="*/ 88094 h 761503"/>
                <a:gd name="connsiteX35" fmla="*/ 131609 w 353555"/>
                <a:gd name="connsiteY35" fmla="*/ 82655 h 761503"/>
                <a:gd name="connsiteX36" fmla="*/ 134329 w 353555"/>
                <a:gd name="connsiteY36" fmla="*/ 71776 h 761503"/>
                <a:gd name="connsiteX37" fmla="*/ 147927 w 353555"/>
                <a:gd name="connsiteY37" fmla="*/ 63617 h 761503"/>
                <a:gd name="connsiteX38" fmla="*/ 164245 w 353555"/>
                <a:gd name="connsiteY38" fmla="*/ 58178 h 761503"/>
                <a:gd name="connsiteX39" fmla="*/ 177843 w 353555"/>
                <a:gd name="connsiteY39" fmla="*/ 58178 h 761503"/>
                <a:gd name="connsiteX40" fmla="*/ 196881 w 353555"/>
                <a:gd name="connsiteY40" fmla="*/ 60898 h 761503"/>
                <a:gd name="connsiteX41" fmla="*/ 232237 w 353555"/>
                <a:gd name="connsiteY41" fmla="*/ 88094 h 761503"/>
                <a:gd name="connsiteX42" fmla="*/ 278471 w 353555"/>
                <a:gd name="connsiteY42" fmla="*/ 88094 h 761503"/>
                <a:gd name="connsiteX43" fmla="*/ 316546 w 353555"/>
                <a:gd name="connsiteY43" fmla="*/ 104412 h 761503"/>
                <a:gd name="connsiteX44" fmla="*/ 311107 w 353555"/>
                <a:gd name="connsiteY44" fmla="*/ 120730 h 761503"/>
                <a:gd name="connsiteX45" fmla="*/ 294789 w 353555"/>
                <a:gd name="connsiteY45" fmla="*/ 128889 h 761503"/>
                <a:gd name="connsiteX46" fmla="*/ 273032 w 353555"/>
                <a:gd name="connsiteY46" fmla="*/ 131609 h 761503"/>
                <a:gd name="connsiteX47" fmla="*/ 243115 w 353555"/>
                <a:gd name="connsiteY47" fmla="*/ 131609 h 761503"/>
                <a:gd name="connsiteX48" fmla="*/ 243115 w 353555"/>
                <a:gd name="connsiteY48" fmla="*/ 134329 h 761503"/>
                <a:gd name="connsiteX49" fmla="*/ 248554 w 353555"/>
                <a:gd name="connsiteY49" fmla="*/ 169684 h 761503"/>
                <a:gd name="connsiteX50" fmla="*/ 251274 w 353555"/>
                <a:gd name="connsiteY50" fmla="*/ 205040 h 761503"/>
                <a:gd name="connsiteX51" fmla="*/ 251274 w 353555"/>
                <a:gd name="connsiteY51" fmla="*/ 240395 h 761503"/>
                <a:gd name="connsiteX52" fmla="*/ 251274 w 353555"/>
                <a:gd name="connsiteY52" fmla="*/ 256713 h 761503"/>
                <a:gd name="connsiteX53" fmla="*/ 253994 w 353555"/>
                <a:gd name="connsiteY53" fmla="*/ 270311 h 761503"/>
                <a:gd name="connsiteX54" fmla="*/ 259433 w 353555"/>
                <a:gd name="connsiteY54" fmla="*/ 343742 h 761503"/>
                <a:gd name="connsiteX55" fmla="*/ 262153 w 353555"/>
                <a:gd name="connsiteY55" fmla="*/ 425332 h 761503"/>
                <a:gd name="connsiteX56" fmla="*/ 264872 w 353555"/>
                <a:gd name="connsiteY56" fmla="*/ 490603 h 761503"/>
                <a:gd name="connsiteX57" fmla="*/ 270312 w 353555"/>
                <a:gd name="connsiteY57" fmla="*/ 564034 h 761503"/>
                <a:gd name="connsiteX58" fmla="*/ 270312 w 353555"/>
                <a:gd name="connsiteY58" fmla="*/ 599390 h 761503"/>
                <a:gd name="connsiteX59" fmla="*/ 270312 w 353555"/>
                <a:gd name="connsiteY59" fmla="*/ 637465 h 761503"/>
                <a:gd name="connsiteX60" fmla="*/ 264872 w 353555"/>
                <a:gd name="connsiteY60" fmla="*/ 670101 h 761503"/>
                <a:gd name="connsiteX61" fmla="*/ 283910 w 353555"/>
                <a:gd name="connsiteY61" fmla="*/ 672820 h 761503"/>
                <a:gd name="connsiteX62" fmla="*/ 283910 w 353555"/>
                <a:gd name="connsiteY62" fmla="*/ 672820 h 761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</a:cxnLst>
              <a:rect l="l" t="t" r="r" b="b"/>
              <a:pathLst>
                <a:path w="353555" h="761503">
                  <a:moveTo>
                    <a:pt x="283910" y="672820"/>
                  </a:moveTo>
                  <a:cubicBezTo>
                    <a:pt x="297508" y="672820"/>
                    <a:pt x="321985" y="672820"/>
                    <a:pt x="321985" y="689138"/>
                  </a:cubicBezTo>
                  <a:cubicBezTo>
                    <a:pt x="321985" y="697297"/>
                    <a:pt x="319266" y="697297"/>
                    <a:pt x="316546" y="705456"/>
                  </a:cubicBezTo>
                  <a:cubicBezTo>
                    <a:pt x="311107" y="710895"/>
                    <a:pt x="305667" y="713615"/>
                    <a:pt x="300228" y="713615"/>
                  </a:cubicBezTo>
                  <a:cubicBezTo>
                    <a:pt x="292069" y="716335"/>
                    <a:pt x="283910" y="716335"/>
                    <a:pt x="278471" y="716335"/>
                  </a:cubicBezTo>
                  <a:cubicBezTo>
                    <a:pt x="275751" y="716335"/>
                    <a:pt x="256713" y="716335"/>
                    <a:pt x="237676" y="716335"/>
                  </a:cubicBezTo>
                  <a:cubicBezTo>
                    <a:pt x="213199" y="716335"/>
                    <a:pt x="186003" y="719054"/>
                    <a:pt x="180563" y="719054"/>
                  </a:cubicBezTo>
                  <a:cubicBezTo>
                    <a:pt x="166965" y="719054"/>
                    <a:pt x="142488" y="719054"/>
                    <a:pt x="126170" y="719054"/>
                  </a:cubicBezTo>
                  <a:cubicBezTo>
                    <a:pt x="118011" y="719054"/>
                    <a:pt x="109852" y="719054"/>
                    <a:pt x="101693" y="719054"/>
                  </a:cubicBezTo>
                  <a:cubicBezTo>
                    <a:pt x="93534" y="719054"/>
                    <a:pt x="82655" y="719054"/>
                    <a:pt x="74496" y="713615"/>
                  </a:cubicBezTo>
                  <a:cubicBezTo>
                    <a:pt x="66337" y="710895"/>
                    <a:pt x="58178" y="702736"/>
                    <a:pt x="58178" y="697297"/>
                  </a:cubicBezTo>
                  <a:cubicBezTo>
                    <a:pt x="58178" y="694578"/>
                    <a:pt x="58178" y="691858"/>
                    <a:pt x="63618" y="689138"/>
                  </a:cubicBezTo>
                  <a:cubicBezTo>
                    <a:pt x="69057" y="686418"/>
                    <a:pt x="79936" y="683699"/>
                    <a:pt x="85375" y="680979"/>
                  </a:cubicBezTo>
                  <a:cubicBezTo>
                    <a:pt x="104413" y="678260"/>
                    <a:pt x="123450" y="675540"/>
                    <a:pt x="131609" y="675540"/>
                  </a:cubicBezTo>
                  <a:cubicBezTo>
                    <a:pt x="134329" y="675540"/>
                    <a:pt x="137049" y="675540"/>
                    <a:pt x="142488" y="675540"/>
                  </a:cubicBezTo>
                  <a:cubicBezTo>
                    <a:pt x="134329" y="670101"/>
                    <a:pt x="131609" y="661942"/>
                    <a:pt x="131609" y="653783"/>
                  </a:cubicBezTo>
                  <a:cubicBezTo>
                    <a:pt x="131609" y="648343"/>
                    <a:pt x="131609" y="642904"/>
                    <a:pt x="128890" y="640184"/>
                  </a:cubicBezTo>
                  <a:cubicBezTo>
                    <a:pt x="128890" y="637465"/>
                    <a:pt x="128890" y="634745"/>
                    <a:pt x="128890" y="629306"/>
                  </a:cubicBezTo>
                  <a:cubicBezTo>
                    <a:pt x="128890" y="626586"/>
                    <a:pt x="128890" y="623867"/>
                    <a:pt x="128890" y="621147"/>
                  </a:cubicBezTo>
                  <a:cubicBezTo>
                    <a:pt x="128890" y="612988"/>
                    <a:pt x="128890" y="604829"/>
                    <a:pt x="128890" y="593950"/>
                  </a:cubicBezTo>
                  <a:cubicBezTo>
                    <a:pt x="128890" y="591231"/>
                    <a:pt x="128890" y="585791"/>
                    <a:pt x="128890" y="583072"/>
                  </a:cubicBezTo>
                  <a:cubicBezTo>
                    <a:pt x="128890" y="534118"/>
                    <a:pt x="131609" y="485164"/>
                    <a:pt x="128890" y="436210"/>
                  </a:cubicBezTo>
                  <a:cubicBezTo>
                    <a:pt x="128890" y="409014"/>
                    <a:pt x="128890" y="384537"/>
                    <a:pt x="128890" y="357340"/>
                  </a:cubicBezTo>
                  <a:cubicBezTo>
                    <a:pt x="128890" y="335583"/>
                    <a:pt x="131609" y="313826"/>
                    <a:pt x="131609" y="289349"/>
                  </a:cubicBezTo>
                  <a:cubicBezTo>
                    <a:pt x="131609" y="275751"/>
                    <a:pt x="131609" y="264872"/>
                    <a:pt x="131609" y="251274"/>
                  </a:cubicBezTo>
                  <a:cubicBezTo>
                    <a:pt x="131609" y="234956"/>
                    <a:pt x="131609" y="221357"/>
                    <a:pt x="131609" y="205040"/>
                  </a:cubicBezTo>
                  <a:cubicBezTo>
                    <a:pt x="131609" y="183282"/>
                    <a:pt x="131609" y="161525"/>
                    <a:pt x="131609" y="139768"/>
                  </a:cubicBezTo>
                  <a:cubicBezTo>
                    <a:pt x="131609" y="137048"/>
                    <a:pt x="131609" y="134329"/>
                    <a:pt x="131609" y="128889"/>
                  </a:cubicBezTo>
                  <a:cubicBezTo>
                    <a:pt x="128890" y="128889"/>
                    <a:pt x="126170" y="128889"/>
                    <a:pt x="126170" y="128889"/>
                  </a:cubicBezTo>
                  <a:cubicBezTo>
                    <a:pt x="118011" y="128889"/>
                    <a:pt x="109852" y="128889"/>
                    <a:pt x="101693" y="128889"/>
                  </a:cubicBezTo>
                  <a:cubicBezTo>
                    <a:pt x="93534" y="128889"/>
                    <a:pt x="82655" y="128889"/>
                    <a:pt x="74496" y="123450"/>
                  </a:cubicBezTo>
                  <a:cubicBezTo>
                    <a:pt x="66337" y="120730"/>
                    <a:pt x="58178" y="112571"/>
                    <a:pt x="58178" y="107132"/>
                  </a:cubicBezTo>
                  <a:cubicBezTo>
                    <a:pt x="58178" y="104412"/>
                    <a:pt x="58178" y="101693"/>
                    <a:pt x="60898" y="98973"/>
                  </a:cubicBezTo>
                  <a:cubicBezTo>
                    <a:pt x="63618" y="96253"/>
                    <a:pt x="77216" y="93534"/>
                    <a:pt x="82655" y="93534"/>
                  </a:cubicBezTo>
                  <a:cubicBezTo>
                    <a:pt x="98973" y="90814"/>
                    <a:pt x="123450" y="88094"/>
                    <a:pt x="131609" y="88094"/>
                  </a:cubicBezTo>
                  <a:cubicBezTo>
                    <a:pt x="131609" y="85375"/>
                    <a:pt x="131609" y="85375"/>
                    <a:pt x="131609" y="82655"/>
                  </a:cubicBezTo>
                  <a:cubicBezTo>
                    <a:pt x="131609" y="77216"/>
                    <a:pt x="131609" y="74496"/>
                    <a:pt x="134329" y="71776"/>
                  </a:cubicBezTo>
                  <a:cubicBezTo>
                    <a:pt x="137049" y="69057"/>
                    <a:pt x="145208" y="66337"/>
                    <a:pt x="147927" y="63617"/>
                  </a:cubicBezTo>
                  <a:cubicBezTo>
                    <a:pt x="153366" y="60898"/>
                    <a:pt x="158806" y="58178"/>
                    <a:pt x="164245" y="58178"/>
                  </a:cubicBezTo>
                  <a:cubicBezTo>
                    <a:pt x="169684" y="58178"/>
                    <a:pt x="175124" y="58178"/>
                    <a:pt x="177843" y="58178"/>
                  </a:cubicBezTo>
                  <a:cubicBezTo>
                    <a:pt x="183283" y="58178"/>
                    <a:pt x="191442" y="58178"/>
                    <a:pt x="196881" y="60898"/>
                  </a:cubicBezTo>
                  <a:cubicBezTo>
                    <a:pt x="213199" y="63617"/>
                    <a:pt x="224078" y="74496"/>
                    <a:pt x="232237" y="88094"/>
                  </a:cubicBezTo>
                  <a:cubicBezTo>
                    <a:pt x="253994" y="88094"/>
                    <a:pt x="270312" y="88094"/>
                    <a:pt x="278471" y="88094"/>
                  </a:cubicBezTo>
                  <a:cubicBezTo>
                    <a:pt x="292069" y="88094"/>
                    <a:pt x="316546" y="88094"/>
                    <a:pt x="316546" y="104412"/>
                  </a:cubicBezTo>
                  <a:cubicBezTo>
                    <a:pt x="316546" y="112571"/>
                    <a:pt x="313826" y="112571"/>
                    <a:pt x="311107" y="120730"/>
                  </a:cubicBezTo>
                  <a:cubicBezTo>
                    <a:pt x="305667" y="126170"/>
                    <a:pt x="300228" y="128889"/>
                    <a:pt x="294789" y="128889"/>
                  </a:cubicBezTo>
                  <a:cubicBezTo>
                    <a:pt x="286630" y="131609"/>
                    <a:pt x="278471" y="131609"/>
                    <a:pt x="273032" y="131609"/>
                  </a:cubicBezTo>
                  <a:cubicBezTo>
                    <a:pt x="270312" y="131609"/>
                    <a:pt x="259433" y="131609"/>
                    <a:pt x="243115" y="131609"/>
                  </a:cubicBezTo>
                  <a:lnTo>
                    <a:pt x="243115" y="134329"/>
                  </a:lnTo>
                  <a:cubicBezTo>
                    <a:pt x="245835" y="145207"/>
                    <a:pt x="245835" y="158805"/>
                    <a:pt x="248554" y="169684"/>
                  </a:cubicBezTo>
                  <a:cubicBezTo>
                    <a:pt x="251274" y="180563"/>
                    <a:pt x="251274" y="194161"/>
                    <a:pt x="251274" y="205040"/>
                  </a:cubicBezTo>
                  <a:cubicBezTo>
                    <a:pt x="251274" y="215918"/>
                    <a:pt x="251274" y="226797"/>
                    <a:pt x="251274" y="240395"/>
                  </a:cubicBezTo>
                  <a:cubicBezTo>
                    <a:pt x="251274" y="245834"/>
                    <a:pt x="251274" y="251274"/>
                    <a:pt x="251274" y="256713"/>
                  </a:cubicBezTo>
                  <a:cubicBezTo>
                    <a:pt x="251274" y="262152"/>
                    <a:pt x="251274" y="267592"/>
                    <a:pt x="253994" y="270311"/>
                  </a:cubicBezTo>
                  <a:cubicBezTo>
                    <a:pt x="256713" y="294788"/>
                    <a:pt x="256713" y="319265"/>
                    <a:pt x="259433" y="343742"/>
                  </a:cubicBezTo>
                  <a:cubicBezTo>
                    <a:pt x="259433" y="370939"/>
                    <a:pt x="262153" y="398135"/>
                    <a:pt x="262153" y="425332"/>
                  </a:cubicBezTo>
                  <a:cubicBezTo>
                    <a:pt x="262153" y="447089"/>
                    <a:pt x="262153" y="468846"/>
                    <a:pt x="264872" y="490603"/>
                  </a:cubicBezTo>
                  <a:cubicBezTo>
                    <a:pt x="264872" y="515080"/>
                    <a:pt x="270312" y="539557"/>
                    <a:pt x="270312" y="564034"/>
                  </a:cubicBezTo>
                  <a:cubicBezTo>
                    <a:pt x="270312" y="574913"/>
                    <a:pt x="270312" y="588511"/>
                    <a:pt x="270312" y="599390"/>
                  </a:cubicBezTo>
                  <a:cubicBezTo>
                    <a:pt x="270312" y="612988"/>
                    <a:pt x="270312" y="623867"/>
                    <a:pt x="270312" y="637465"/>
                  </a:cubicBezTo>
                  <a:cubicBezTo>
                    <a:pt x="270312" y="648343"/>
                    <a:pt x="270312" y="661942"/>
                    <a:pt x="264872" y="670101"/>
                  </a:cubicBezTo>
                  <a:cubicBezTo>
                    <a:pt x="273032" y="672820"/>
                    <a:pt x="278471" y="672820"/>
                    <a:pt x="283910" y="672820"/>
                  </a:cubicBezTo>
                  <a:lnTo>
                    <a:pt x="283910" y="672820"/>
                  </a:ln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rgbClr val="666666"/>
                </a:solidFill>
              </a:endParaRPr>
            </a:p>
          </p:txBody>
        </p:sp>
        <p:sp>
          <p:nvSpPr>
            <p:cNvPr id="51" name="Freeform: Shape 50">
              <a:extLst>
                <a:ext uri="{FF2B5EF4-FFF2-40B4-BE49-F238E27FC236}">
                  <a16:creationId xmlns:a16="http://schemas.microsoft.com/office/drawing/2014/main" id="{7AB18A07-F054-4F36-97CA-4DBDC6B271F5}"/>
                </a:ext>
              </a:extLst>
            </p:cNvPr>
            <p:cNvSpPr/>
            <p:nvPr/>
          </p:nvSpPr>
          <p:spPr>
            <a:xfrm>
              <a:off x="8652924" y="4192158"/>
              <a:ext cx="516735" cy="788700"/>
            </a:xfrm>
            <a:custGeom>
              <a:avLst/>
              <a:gdLst>
                <a:gd name="connsiteX0" fmla="*/ 464616 w 516735"/>
                <a:gd name="connsiteY0" fmla="*/ 436210 h 788699"/>
                <a:gd name="connsiteX1" fmla="*/ 445578 w 516735"/>
                <a:gd name="connsiteY1" fmla="*/ 455248 h 788699"/>
                <a:gd name="connsiteX2" fmla="*/ 404783 w 516735"/>
                <a:gd name="connsiteY2" fmla="*/ 466126 h 788699"/>
                <a:gd name="connsiteX3" fmla="*/ 385746 w 516735"/>
                <a:gd name="connsiteY3" fmla="*/ 479725 h 788699"/>
                <a:gd name="connsiteX4" fmla="*/ 388466 w 516735"/>
                <a:gd name="connsiteY4" fmla="*/ 512361 h 788699"/>
                <a:gd name="connsiteX5" fmla="*/ 388466 w 516735"/>
                <a:gd name="connsiteY5" fmla="*/ 544997 h 788699"/>
                <a:gd name="connsiteX6" fmla="*/ 388466 w 516735"/>
                <a:gd name="connsiteY6" fmla="*/ 566754 h 788699"/>
                <a:gd name="connsiteX7" fmla="*/ 391185 w 516735"/>
                <a:gd name="connsiteY7" fmla="*/ 632026 h 788699"/>
                <a:gd name="connsiteX8" fmla="*/ 393905 w 516735"/>
                <a:gd name="connsiteY8" fmla="*/ 683699 h 788699"/>
                <a:gd name="connsiteX9" fmla="*/ 377587 w 516735"/>
                <a:gd name="connsiteY9" fmla="*/ 724494 h 788699"/>
                <a:gd name="connsiteX10" fmla="*/ 361269 w 516735"/>
                <a:gd name="connsiteY10" fmla="*/ 719054 h 788699"/>
                <a:gd name="connsiteX11" fmla="*/ 353110 w 516735"/>
                <a:gd name="connsiteY11" fmla="*/ 702737 h 788699"/>
                <a:gd name="connsiteX12" fmla="*/ 350390 w 516735"/>
                <a:gd name="connsiteY12" fmla="*/ 686419 h 788699"/>
                <a:gd name="connsiteX13" fmla="*/ 353110 w 516735"/>
                <a:gd name="connsiteY13" fmla="*/ 659222 h 788699"/>
                <a:gd name="connsiteX14" fmla="*/ 353110 w 516735"/>
                <a:gd name="connsiteY14" fmla="*/ 656502 h 788699"/>
                <a:gd name="connsiteX15" fmla="*/ 317754 w 516735"/>
                <a:gd name="connsiteY15" fmla="*/ 708176 h 788699"/>
                <a:gd name="connsiteX16" fmla="*/ 241604 w 516735"/>
                <a:gd name="connsiteY16" fmla="*/ 735372 h 788699"/>
                <a:gd name="connsiteX17" fmla="*/ 187211 w 516735"/>
                <a:gd name="connsiteY17" fmla="*/ 727214 h 788699"/>
                <a:gd name="connsiteX18" fmla="*/ 135537 w 516735"/>
                <a:gd name="connsiteY18" fmla="*/ 694578 h 788699"/>
                <a:gd name="connsiteX19" fmla="*/ 86583 w 516735"/>
                <a:gd name="connsiteY19" fmla="*/ 621147 h 788699"/>
                <a:gd name="connsiteX20" fmla="*/ 67546 w 516735"/>
                <a:gd name="connsiteY20" fmla="*/ 555875 h 788699"/>
                <a:gd name="connsiteX21" fmla="*/ 59387 w 516735"/>
                <a:gd name="connsiteY21" fmla="*/ 509641 h 788699"/>
                <a:gd name="connsiteX22" fmla="*/ 59387 w 516735"/>
                <a:gd name="connsiteY22" fmla="*/ 468846 h 788699"/>
                <a:gd name="connsiteX23" fmla="*/ 86583 w 516735"/>
                <a:gd name="connsiteY23" fmla="*/ 302947 h 788699"/>
                <a:gd name="connsiteX24" fmla="*/ 108341 w 516735"/>
                <a:gd name="connsiteY24" fmla="*/ 224077 h 788699"/>
                <a:gd name="connsiteX25" fmla="*/ 146416 w 516735"/>
                <a:gd name="connsiteY25" fmla="*/ 145207 h 788699"/>
                <a:gd name="connsiteX26" fmla="*/ 198090 w 516735"/>
                <a:gd name="connsiteY26" fmla="*/ 85375 h 788699"/>
                <a:gd name="connsiteX27" fmla="*/ 228006 w 516735"/>
                <a:gd name="connsiteY27" fmla="*/ 69057 h 788699"/>
                <a:gd name="connsiteX28" fmla="*/ 268801 w 516735"/>
                <a:gd name="connsiteY28" fmla="*/ 58178 h 788699"/>
                <a:gd name="connsiteX29" fmla="*/ 274240 w 516735"/>
                <a:gd name="connsiteY29" fmla="*/ 58178 h 788699"/>
                <a:gd name="connsiteX30" fmla="*/ 295997 w 516735"/>
                <a:gd name="connsiteY30" fmla="*/ 60898 h 788699"/>
                <a:gd name="connsiteX31" fmla="*/ 331353 w 516735"/>
                <a:gd name="connsiteY31" fmla="*/ 71776 h 788699"/>
                <a:gd name="connsiteX32" fmla="*/ 350390 w 516735"/>
                <a:gd name="connsiteY32" fmla="*/ 93534 h 788699"/>
                <a:gd name="connsiteX33" fmla="*/ 353110 w 516735"/>
                <a:gd name="connsiteY33" fmla="*/ 74496 h 788699"/>
                <a:gd name="connsiteX34" fmla="*/ 358549 w 516735"/>
                <a:gd name="connsiteY34" fmla="*/ 63618 h 788699"/>
                <a:gd name="connsiteX35" fmla="*/ 366708 w 516735"/>
                <a:gd name="connsiteY35" fmla="*/ 58178 h 788699"/>
                <a:gd name="connsiteX36" fmla="*/ 374867 w 516735"/>
                <a:gd name="connsiteY36" fmla="*/ 63618 h 788699"/>
                <a:gd name="connsiteX37" fmla="*/ 383027 w 516735"/>
                <a:gd name="connsiteY37" fmla="*/ 82655 h 788699"/>
                <a:gd name="connsiteX38" fmla="*/ 385746 w 516735"/>
                <a:gd name="connsiteY38" fmla="*/ 126170 h 788699"/>
                <a:gd name="connsiteX39" fmla="*/ 388466 w 516735"/>
                <a:gd name="connsiteY39" fmla="*/ 186002 h 788699"/>
                <a:gd name="connsiteX40" fmla="*/ 391185 w 516735"/>
                <a:gd name="connsiteY40" fmla="*/ 237676 h 788699"/>
                <a:gd name="connsiteX41" fmla="*/ 374867 w 516735"/>
                <a:gd name="connsiteY41" fmla="*/ 278470 h 788699"/>
                <a:gd name="connsiteX42" fmla="*/ 358549 w 516735"/>
                <a:gd name="connsiteY42" fmla="*/ 273031 h 788699"/>
                <a:gd name="connsiteX43" fmla="*/ 350390 w 516735"/>
                <a:gd name="connsiteY43" fmla="*/ 256713 h 788699"/>
                <a:gd name="connsiteX44" fmla="*/ 347671 w 516735"/>
                <a:gd name="connsiteY44" fmla="*/ 240395 h 788699"/>
                <a:gd name="connsiteX45" fmla="*/ 347671 w 516735"/>
                <a:gd name="connsiteY45" fmla="*/ 213199 h 788699"/>
                <a:gd name="connsiteX46" fmla="*/ 344951 w 516735"/>
                <a:gd name="connsiteY46" fmla="*/ 194161 h 788699"/>
                <a:gd name="connsiteX47" fmla="*/ 339512 w 516735"/>
                <a:gd name="connsiteY47" fmla="*/ 150647 h 788699"/>
                <a:gd name="connsiteX48" fmla="*/ 323194 w 516735"/>
                <a:gd name="connsiteY48" fmla="*/ 112571 h 788699"/>
                <a:gd name="connsiteX49" fmla="*/ 293278 w 516735"/>
                <a:gd name="connsiteY49" fmla="*/ 101693 h 788699"/>
                <a:gd name="connsiteX50" fmla="*/ 263361 w 516735"/>
                <a:gd name="connsiteY50" fmla="*/ 120730 h 788699"/>
                <a:gd name="connsiteX51" fmla="*/ 241604 w 516735"/>
                <a:gd name="connsiteY51" fmla="*/ 153366 h 788699"/>
                <a:gd name="connsiteX52" fmla="*/ 233445 w 516735"/>
                <a:gd name="connsiteY52" fmla="*/ 194161 h 788699"/>
                <a:gd name="connsiteX53" fmla="*/ 225286 w 516735"/>
                <a:gd name="connsiteY53" fmla="*/ 232236 h 788699"/>
                <a:gd name="connsiteX54" fmla="*/ 217127 w 516735"/>
                <a:gd name="connsiteY54" fmla="*/ 275751 h 788699"/>
                <a:gd name="connsiteX55" fmla="*/ 211688 w 516735"/>
                <a:gd name="connsiteY55" fmla="*/ 316545 h 788699"/>
                <a:gd name="connsiteX56" fmla="*/ 206249 w 516735"/>
                <a:gd name="connsiteY56" fmla="*/ 354621 h 788699"/>
                <a:gd name="connsiteX57" fmla="*/ 200809 w 516735"/>
                <a:gd name="connsiteY57" fmla="*/ 398135 h 788699"/>
                <a:gd name="connsiteX58" fmla="*/ 195370 w 516735"/>
                <a:gd name="connsiteY58" fmla="*/ 438930 h 788699"/>
                <a:gd name="connsiteX59" fmla="*/ 192650 w 516735"/>
                <a:gd name="connsiteY59" fmla="*/ 474286 h 788699"/>
                <a:gd name="connsiteX60" fmla="*/ 195370 w 516735"/>
                <a:gd name="connsiteY60" fmla="*/ 525959 h 788699"/>
                <a:gd name="connsiteX61" fmla="*/ 208968 w 516735"/>
                <a:gd name="connsiteY61" fmla="*/ 596670 h 788699"/>
                <a:gd name="connsiteX62" fmla="*/ 214407 w 516735"/>
                <a:gd name="connsiteY62" fmla="*/ 623867 h 788699"/>
                <a:gd name="connsiteX63" fmla="*/ 228006 w 516735"/>
                <a:gd name="connsiteY63" fmla="*/ 656502 h 788699"/>
                <a:gd name="connsiteX64" fmla="*/ 271520 w 516735"/>
                <a:gd name="connsiteY64" fmla="*/ 689138 h 788699"/>
                <a:gd name="connsiteX65" fmla="*/ 306876 w 516735"/>
                <a:gd name="connsiteY65" fmla="*/ 664661 h 788699"/>
                <a:gd name="connsiteX66" fmla="*/ 331353 w 516735"/>
                <a:gd name="connsiteY66" fmla="*/ 602109 h 788699"/>
                <a:gd name="connsiteX67" fmla="*/ 336792 w 516735"/>
                <a:gd name="connsiteY67" fmla="*/ 544997 h 788699"/>
                <a:gd name="connsiteX68" fmla="*/ 336792 w 516735"/>
                <a:gd name="connsiteY68" fmla="*/ 498762 h 788699"/>
                <a:gd name="connsiteX69" fmla="*/ 336792 w 516735"/>
                <a:gd name="connsiteY69" fmla="*/ 490603 h 788699"/>
                <a:gd name="connsiteX70" fmla="*/ 320474 w 516735"/>
                <a:gd name="connsiteY70" fmla="*/ 477005 h 788699"/>
                <a:gd name="connsiteX71" fmla="*/ 282399 w 516735"/>
                <a:gd name="connsiteY71" fmla="*/ 479725 h 788699"/>
                <a:gd name="connsiteX72" fmla="*/ 252483 w 516735"/>
                <a:gd name="connsiteY72" fmla="*/ 474286 h 788699"/>
                <a:gd name="connsiteX73" fmla="*/ 247044 w 516735"/>
                <a:gd name="connsiteY73" fmla="*/ 466126 h 788699"/>
                <a:gd name="connsiteX74" fmla="*/ 249763 w 516735"/>
                <a:gd name="connsiteY74" fmla="*/ 457968 h 788699"/>
                <a:gd name="connsiteX75" fmla="*/ 268801 w 516735"/>
                <a:gd name="connsiteY75" fmla="*/ 447089 h 788699"/>
                <a:gd name="connsiteX76" fmla="*/ 312315 w 516735"/>
                <a:gd name="connsiteY76" fmla="*/ 436210 h 788699"/>
                <a:gd name="connsiteX77" fmla="*/ 353110 w 516735"/>
                <a:gd name="connsiteY77" fmla="*/ 430771 h 788699"/>
                <a:gd name="connsiteX78" fmla="*/ 385746 w 516735"/>
                <a:gd name="connsiteY78" fmla="*/ 430771 h 788699"/>
                <a:gd name="connsiteX79" fmla="*/ 437420 w 516735"/>
                <a:gd name="connsiteY79" fmla="*/ 428051 h 788699"/>
                <a:gd name="connsiteX80" fmla="*/ 464616 w 516735"/>
                <a:gd name="connsiteY80" fmla="*/ 436210 h 7886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</a:cxnLst>
              <a:rect l="l" t="t" r="r" b="b"/>
              <a:pathLst>
                <a:path w="516735" h="788699">
                  <a:moveTo>
                    <a:pt x="464616" y="436210"/>
                  </a:moveTo>
                  <a:cubicBezTo>
                    <a:pt x="464616" y="447089"/>
                    <a:pt x="453738" y="452528"/>
                    <a:pt x="445578" y="455248"/>
                  </a:cubicBezTo>
                  <a:cubicBezTo>
                    <a:pt x="434700" y="460687"/>
                    <a:pt x="415662" y="463407"/>
                    <a:pt x="404783" y="466126"/>
                  </a:cubicBezTo>
                  <a:cubicBezTo>
                    <a:pt x="393905" y="466126"/>
                    <a:pt x="385746" y="468846"/>
                    <a:pt x="385746" y="479725"/>
                  </a:cubicBezTo>
                  <a:cubicBezTo>
                    <a:pt x="385746" y="487884"/>
                    <a:pt x="388466" y="506921"/>
                    <a:pt x="388466" y="512361"/>
                  </a:cubicBezTo>
                  <a:cubicBezTo>
                    <a:pt x="388466" y="515080"/>
                    <a:pt x="388466" y="539557"/>
                    <a:pt x="388466" y="544997"/>
                  </a:cubicBezTo>
                  <a:cubicBezTo>
                    <a:pt x="388466" y="550436"/>
                    <a:pt x="388466" y="558595"/>
                    <a:pt x="388466" y="566754"/>
                  </a:cubicBezTo>
                  <a:cubicBezTo>
                    <a:pt x="388466" y="591231"/>
                    <a:pt x="388466" y="621147"/>
                    <a:pt x="391185" y="632026"/>
                  </a:cubicBezTo>
                  <a:cubicBezTo>
                    <a:pt x="393905" y="653783"/>
                    <a:pt x="393905" y="661942"/>
                    <a:pt x="393905" y="683699"/>
                  </a:cubicBezTo>
                  <a:cubicBezTo>
                    <a:pt x="393905" y="694578"/>
                    <a:pt x="393905" y="724494"/>
                    <a:pt x="377587" y="724494"/>
                  </a:cubicBezTo>
                  <a:cubicBezTo>
                    <a:pt x="369428" y="724494"/>
                    <a:pt x="366708" y="721774"/>
                    <a:pt x="361269" y="719054"/>
                  </a:cubicBezTo>
                  <a:cubicBezTo>
                    <a:pt x="355830" y="716335"/>
                    <a:pt x="353110" y="708176"/>
                    <a:pt x="353110" y="702737"/>
                  </a:cubicBezTo>
                  <a:cubicBezTo>
                    <a:pt x="350390" y="694578"/>
                    <a:pt x="350390" y="689138"/>
                    <a:pt x="350390" y="686419"/>
                  </a:cubicBezTo>
                  <a:cubicBezTo>
                    <a:pt x="350390" y="678260"/>
                    <a:pt x="353110" y="672820"/>
                    <a:pt x="353110" y="659222"/>
                  </a:cubicBezTo>
                  <a:lnTo>
                    <a:pt x="353110" y="656502"/>
                  </a:lnTo>
                  <a:cubicBezTo>
                    <a:pt x="347671" y="675540"/>
                    <a:pt x="334073" y="694578"/>
                    <a:pt x="317754" y="708176"/>
                  </a:cubicBezTo>
                  <a:cubicBezTo>
                    <a:pt x="293278" y="727214"/>
                    <a:pt x="274240" y="735372"/>
                    <a:pt x="241604" y="735372"/>
                  </a:cubicBezTo>
                  <a:cubicBezTo>
                    <a:pt x="222566" y="735372"/>
                    <a:pt x="203529" y="732653"/>
                    <a:pt x="187211" y="727214"/>
                  </a:cubicBezTo>
                  <a:cubicBezTo>
                    <a:pt x="165454" y="719054"/>
                    <a:pt x="149136" y="708176"/>
                    <a:pt x="135537" y="694578"/>
                  </a:cubicBezTo>
                  <a:cubicBezTo>
                    <a:pt x="113780" y="672820"/>
                    <a:pt x="100182" y="648343"/>
                    <a:pt x="86583" y="621147"/>
                  </a:cubicBezTo>
                  <a:cubicBezTo>
                    <a:pt x="75705" y="599390"/>
                    <a:pt x="70266" y="580352"/>
                    <a:pt x="67546" y="555875"/>
                  </a:cubicBezTo>
                  <a:cubicBezTo>
                    <a:pt x="64826" y="539557"/>
                    <a:pt x="62107" y="525959"/>
                    <a:pt x="59387" y="509641"/>
                  </a:cubicBezTo>
                  <a:cubicBezTo>
                    <a:pt x="56667" y="493323"/>
                    <a:pt x="59387" y="485164"/>
                    <a:pt x="59387" y="468846"/>
                  </a:cubicBezTo>
                  <a:cubicBezTo>
                    <a:pt x="59387" y="414453"/>
                    <a:pt x="72985" y="362780"/>
                    <a:pt x="86583" y="302947"/>
                  </a:cubicBezTo>
                  <a:cubicBezTo>
                    <a:pt x="92023" y="275751"/>
                    <a:pt x="100182" y="248554"/>
                    <a:pt x="108341" y="224077"/>
                  </a:cubicBezTo>
                  <a:cubicBezTo>
                    <a:pt x="116500" y="196881"/>
                    <a:pt x="130098" y="169684"/>
                    <a:pt x="146416" y="145207"/>
                  </a:cubicBezTo>
                  <a:cubicBezTo>
                    <a:pt x="160014" y="123450"/>
                    <a:pt x="176332" y="101693"/>
                    <a:pt x="198090" y="85375"/>
                  </a:cubicBezTo>
                  <a:cubicBezTo>
                    <a:pt x="206249" y="77216"/>
                    <a:pt x="217127" y="71776"/>
                    <a:pt x="228006" y="69057"/>
                  </a:cubicBezTo>
                  <a:cubicBezTo>
                    <a:pt x="241604" y="63618"/>
                    <a:pt x="255202" y="58178"/>
                    <a:pt x="268801" y="58178"/>
                  </a:cubicBezTo>
                  <a:cubicBezTo>
                    <a:pt x="271520" y="58178"/>
                    <a:pt x="274240" y="58178"/>
                    <a:pt x="274240" y="58178"/>
                  </a:cubicBezTo>
                  <a:cubicBezTo>
                    <a:pt x="279679" y="58178"/>
                    <a:pt x="285119" y="58178"/>
                    <a:pt x="295997" y="60898"/>
                  </a:cubicBezTo>
                  <a:cubicBezTo>
                    <a:pt x="309595" y="63618"/>
                    <a:pt x="320474" y="66337"/>
                    <a:pt x="331353" y="71776"/>
                  </a:cubicBezTo>
                  <a:cubicBezTo>
                    <a:pt x="339512" y="77216"/>
                    <a:pt x="347671" y="85375"/>
                    <a:pt x="350390" y="93534"/>
                  </a:cubicBezTo>
                  <a:cubicBezTo>
                    <a:pt x="350390" y="88095"/>
                    <a:pt x="353110" y="79936"/>
                    <a:pt x="353110" y="74496"/>
                  </a:cubicBezTo>
                  <a:cubicBezTo>
                    <a:pt x="355830" y="71776"/>
                    <a:pt x="355830" y="69057"/>
                    <a:pt x="358549" y="63618"/>
                  </a:cubicBezTo>
                  <a:cubicBezTo>
                    <a:pt x="361269" y="60898"/>
                    <a:pt x="363989" y="58178"/>
                    <a:pt x="366708" y="58178"/>
                  </a:cubicBezTo>
                  <a:cubicBezTo>
                    <a:pt x="369428" y="58178"/>
                    <a:pt x="372148" y="60898"/>
                    <a:pt x="374867" y="63618"/>
                  </a:cubicBezTo>
                  <a:cubicBezTo>
                    <a:pt x="377587" y="69057"/>
                    <a:pt x="380307" y="77216"/>
                    <a:pt x="383027" y="82655"/>
                  </a:cubicBezTo>
                  <a:cubicBezTo>
                    <a:pt x="383027" y="90814"/>
                    <a:pt x="385746" y="107132"/>
                    <a:pt x="385746" y="126170"/>
                  </a:cubicBezTo>
                  <a:cubicBezTo>
                    <a:pt x="385746" y="150647"/>
                    <a:pt x="385746" y="177843"/>
                    <a:pt x="388466" y="186002"/>
                  </a:cubicBezTo>
                  <a:cubicBezTo>
                    <a:pt x="391185" y="207759"/>
                    <a:pt x="391185" y="215918"/>
                    <a:pt x="391185" y="237676"/>
                  </a:cubicBezTo>
                  <a:cubicBezTo>
                    <a:pt x="391185" y="248554"/>
                    <a:pt x="391185" y="278470"/>
                    <a:pt x="374867" y="278470"/>
                  </a:cubicBezTo>
                  <a:cubicBezTo>
                    <a:pt x="366708" y="278470"/>
                    <a:pt x="363989" y="275751"/>
                    <a:pt x="358549" y="273031"/>
                  </a:cubicBezTo>
                  <a:cubicBezTo>
                    <a:pt x="353110" y="270311"/>
                    <a:pt x="350390" y="262152"/>
                    <a:pt x="350390" y="256713"/>
                  </a:cubicBezTo>
                  <a:cubicBezTo>
                    <a:pt x="350390" y="251274"/>
                    <a:pt x="347671" y="245834"/>
                    <a:pt x="347671" y="240395"/>
                  </a:cubicBezTo>
                  <a:cubicBezTo>
                    <a:pt x="347671" y="232236"/>
                    <a:pt x="347671" y="224077"/>
                    <a:pt x="347671" y="213199"/>
                  </a:cubicBezTo>
                  <a:cubicBezTo>
                    <a:pt x="347671" y="207759"/>
                    <a:pt x="347671" y="199600"/>
                    <a:pt x="344951" y="194161"/>
                  </a:cubicBezTo>
                  <a:cubicBezTo>
                    <a:pt x="342232" y="180563"/>
                    <a:pt x="342232" y="164245"/>
                    <a:pt x="339512" y="150647"/>
                  </a:cubicBezTo>
                  <a:cubicBezTo>
                    <a:pt x="336792" y="137048"/>
                    <a:pt x="331353" y="123450"/>
                    <a:pt x="323194" y="112571"/>
                  </a:cubicBezTo>
                  <a:cubicBezTo>
                    <a:pt x="317754" y="104412"/>
                    <a:pt x="304156" y="101693"/>
                    <a:pt x="293278" y="101693"/>
                  </a:cubicBezTo>
                  <a:cubicBezTo>
                    <a:pt x="279679" y="101693"/>
                    <a:pt x="271520" y="109852"/>
                    <a:pt x="263361" y="120730"/>
                  </a:cubicBezTo>
                  <a:cubicBezTo>
                    <a:pt x="257922" y="131609"/>
                    <a:pt x="247044" y="139768"/>
                    <a:pt x="241604" y="153366"/>
                  </a:cubicBezTo>
                  <a:cubicBezTo>
                    <a:pt x="236165" y="166964"/>
                    <a:pt x="233445" y="180563"/>
                    <a:pt x="233445" y="194161"/>
                  </a:cubicBezTo>
                  <a:cubicBezTo>
                    <a:pt x="233445" y="207759"/>
                    <a:pt x="230725" y="218638"/>
                    <a:pt x="225286" y="232236"/>
                  </a:cubicBezTo>
                  <a:cubicBezTo>
                    <a:pt x="219847" y="245834"/>
                    <a:pt x="219847" y="262152"/>
                    <a:pt x="217127" y="275751"/>
                  </a:cubicBezTo>
                  <a:cubicBezTo>
                    <a:pt x="214407" y="289349"/>
                    <a:pt x="214407" y="302947"/>
                    <a:pt x="211688" y="316545"/>
                  </a:cubicBezTo>
                  <a:cubicBezTo>
                    <a:pt x="211688" y="330144"/>
                    <a:pt x="206249" y="341022"/>
                    <a:pt x="206249" y="354621"/>
                  </a:cubicBezTo>
                  <a:cubicBezTo>
                    <a:pt x="203529" y="368219"/>
                    <a:pt x="203529" y="381817"/>
                    <a:pt x="200809" y="398135"/>
                  </a:cubicBezTo>
                  <a:cubicBezTo>
                    <a:pt x="198090" y="411733"/>
                    <a:pt x="198090" y="425332"/>
                    <a:pt x="195370" y="438930"/>
                  </a:cubicBezTo>
                  <a:cubicBezTo>
                    <a:pt x="195370" y="449809"/>
                    <a:pt x="192650" y="463407"/>
                    <a:pt x="192650" y="474286"/>
                  </a:cubicBezTo>
                  <a:cubicBezTo>
                    <a:pt x="192650" y="490603"/>
                    <a:pt x="195370" y="509641"/>
                    <a:pt x="195370" y="525959"/>
                  </a:cubicBezTo>
                  <a:cubicBezTo>
                    <a:pt x="195370" y="550436"/>
                    <a:pt x="203529" y="572193"/>
                    <a:pt x="208968" y="596670"/>
                  </a:cubicBezTo>
                  <a:cubicBezTo>
                    <a:pt x="211688" y="604829"/>
                    <a:pt x="211688" y="615708"/>
                    <a:pt x="214407" y="623867"/>
                  </a:cubicBezTo>
                  <a:cubicBezTo>
                    <a:pt x="217127" y="634745"/>
                    <a:pt x="222566" y="645624"/>
                    <a:pt x="228006" y="656502"/>
                  </a:cubicBezTo>
                  <a:cubicBezTo>
                    <a:pt x="236165" y="670101"/>
                    <a:pt x="252483" y="689138"/>
                    <a:pt x="271520" y="689138"/>
                  </a:cubicBezTo>
                  <a:cubicBezTo>
                    <a:pt x="287838" y="689138"/>
                    <a:pt x="298717" y="675540"/>
                    <a:pt x="306876" y="664661"/>
                  </a:cubicBezTo>
                  <a:cubicBezTo>
                    <a:pt x="320474" y="645624"/>
                    <a:pt x="325914" y="623867"/>
                    <a:pt x="331353" y="602109"/>
                  </a:cubicBezTo>
                  <a:cubicBezTo>
                    <a:pt x="334073" y="583072"/>
                    <a:pt x="336792" y="564034"/>
                    <a:pt x="336792" y="544997"/>
                  </a:cubicBezTo>
                  <a:cubicBezTo>
                    <a:pt x="336792" y="531398"/>
                    <a:pt x="336792" y="512361"/>
                    <a:pt x="336792" y="498762"/>
                  </a:cubicBezTo>
                  <a:cubicBezTo>
                    <a:pt x="336792" y="496043"/>
                    <a:pt x="336792" y="493323"/>
                    <a:pt x="336792" y="490603"/>
                  </a:cubicBezTo>
                  <a:cubicBezTo>
                    <a:pt x="336792" y="479725"/>
                    <a:pt x="336792" y="477005"/>
                    <a:pt x="320474" y="477005"/>
                  </a:cubicBezTo>
                  <a:cubicBezTo>
                    <a:pt x="309595" y="477005"/>
                    <a:pt x="295997" y="479725"/>
                    <a:pt x="282399" y="479725"/>
                  </a:cubicBezTo>
                  <a:cubicBezTo>
                    <a:pt x="271520" y="479725"/>
                    <a:pt x="260642" y="479725"/>
                    <a:pt x="252483" y="474286"/>
                  </a:cubicBezTo>
                  <a:cubicBezTo>
                    <a:pt x="249763" y="471566"/>
                    <a:pt x="247044" y="468846"/>
                    <a:pt x="247044" y="466126"/>
                  </a:cubicBezTo>
                  <a:cubicBezTo>
                    <a:pt x="247044" y="463407"/>
                    <a:pt x="247044" y="460687"/>
                    <a:pt x="249763" y="457968"/>
                  </a:cubicBezTo>
                  <a:cubicBezTo>
                    <a:pt x="255202" y="452528"/>
                    <a:pt x="260642" y="449809"/>
                    <a:pt x="268801" y="447089"/>
                  </a:cubicBezTo>
                  <a:cubicBezTo>
                    <a:pt x="282399" y="441650"/>
                    <a:pt x="295997" y="438930"/>
                    <a:pt x="312315" y="436210"/>
                  </a:cubicBezTo>
                  <a:cubicBezTo>
                    <a:pt x="325914" y="433491"/>
                    <a:pt x="339512" y="433491"/>
                    <a:pt x="353110" y="430771"/>
                  </a:cubicBezTo>
                  <a:cubicBezTo>
                    <a:pt x="363989" y="430771"/>
                    <a:pt x="374867" y="430771"/>
                    <a:pt x="385746" y="430771"/>
                  </a:cubicBezTo>
                  <a:cubicBezTo>
                    <a:pt x="402064" y="430771"/>
                    <a:pt x="426541" y="428051"/>
                    <a:pt x="437420" y="428051"/>
                  </a:cubicBezTo>
                  <a:cubicBezTo>
                    <a:pt x="451018" y="422612"/>
                    <a:pt x="464616" y="425332"/>
                    <a:pt x="464616" y="436210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rgbClr val="666666"/>
                </a:solidFill>
              </a:endParaRPr>
            </a:p>
          </p:txBody>
        </p:sp>
        <p:sp>
          <p:nvSpPr>
            <p:cNvPr id="52" name="Freeform: Shape 51">
              <a:extLst>
                <a:ext uri="{FF2B5EF4-FFF2-40B4-BE49-F238E27FC236}">
                  <a16:creationId xmlns:a16="http://schemas.microsoft.com/office/drawing/2014/main" id="{FD1E386E-E3EA-4515-B634-C0D94651C931}"/>
                </a:ext>
              </a:extLst>
            </p:cNvPr>
            <p:cNvSpPr/>
            <p:nvPr/>
          </p:nvSpPr>
          <p:spPr>
            <a:xfrm>
              <a:off x="9053923" y="4178559"/>
              <a:ext cx="625521" cy="788700"/>
            </a:xfrm>
            <a:custGeom>
              <a:avLst/>
              <a:gdLst>
                <a:gd name="connsiteX0" fmla="*/ 536838 w 625521"/>
                <a:gd name="connsiteY0" fmla="*/ 680979 h 788699"/>
                <a:gd name="connsiteX1" fmla="*/ 574913 w 625521"/>
                <a:gd name="connsiteY1" fmla="*/ 697297 h 788699"/>
                <a:gd name="connsiteX2" fmla="*/ 566755 w 625521"/>
                <a:gd name="connsiteY2" fmla="*/ 713615 h 788699"/>
                <a:gd name="connsiteX3" fmla="*/ 550437 w 625521"/>
                <a:gd name="connsiteY3" fmla="*/ 721774 h 788699"/>
                <a:gd name="connsiteX4" fmla="*/ 528680 w 625521"/>
                <a:gd name="connsiteY4" fmla="*/ 724494 h 788699"/>
                <a:gd name="connsiteX5" fmla="*/ 417174 w 625521"/>
                <a:gd name="connsiteY5" fmla="*/ 724494 h 788699"/>
                <a:gd name="connsiteX6" fmla="*/ 398136 w 625521"/>
                <a:gd name="connsiteY6" fmla="*/ 724494 h 788699"/>
                <a:gd name="connsiteX7" fmla="*/ 373659 w 625521"/>
                <a:gd name="connsiteY7" fmla="*/ 724494 h 788699"/>
                <a:gd name="connsiteX8" fmla="*/ 346462 w 625521"/>
                <a:gd name="connsiteY8" fmla="*/ 719054 h 788699"/>
                <a:gd name="connsiteX9" fmla="*/ 330144 w 625521"/>
                <a:gd name="connsiteY9" fmla="*/ 702737 h 788699"/>
                <a:gd name="connsiteX10" fmla="*/ 335584 w 625521"/>
                <a:gd name="connsiteY10" fmla="*/ 694578 h 788699"/>
                <a:gd name="connsiteX11" fmla="*/ 357341 w 625521"/>
                <a:gd name="connsiteY11" fmla="*/ 686419 h 788699"/>
                <a:gd name="connsiteX12" fmla="*/ 395416 w 625521"/>
                <a:gd name="connsiteY12" fmla="*/ 680979 h 788699"/>
                <a:gd name="connsiteX13" fmla="*/ 381817 w 625521"/>
                <a:gd name="connsiteY13" fmla="*/ 656502 h 788699"/>
                <a:gd name="connsiteX14" fmla="*/ 379098 w 625521"/>
                <a:gd name="connsiteY14" fmla="*/ 585791 h 788699"/>
                <a:gd name="connsiteX15" fmla="*/ 379098 w 625521"/>
                <a:gd name="connsiteY15" fmla="*/ 517800 h 788699"/>
                <a:gd name="connsiteX16" fmla="*/ 379098 w 625521"/>
                <a:gd name="connsiteY16" fmla="*/ 474286 h 788699"/>
                <a:gd name="connsiteX17" fmla="*/ 379098 w 625521"/>
                <a:gd name="connsiteY17" fmla="*/ 430771 h 788699"/>
                <a:gd name="connsiteX18" fmla="*/ 381817 w 625521"/>
                <a:gd name="connsiteY18" fmla="*/ 411733 h 788699"/>
                <a:gd name="connsiteX19" fmla="*/ 379098 w 625521"/>
                <a:gd name="connsiteY19" fmla="*/ 400855 h 788699"/>
                <a:gd name="connsiteX20" fmla="*/ 370939 w 625521"/>
                <a:gd name="connsiteY20" fmla="*/ 398135 h 788699"/>
                <a:gd name="connsiteX21" fmla="*/ 338304 w 625521"/>
                <a:gd name="connsiteY21" fmla="*/ 400855 h 788699"/>
                <a:gd name="connsiteX22" fmla="*/ 289349 w 625521"/>
                <a:gd name="connsiteY22" fmla="*/ 403575 h 788699"/>
                <a:gd name="connsiteX23" fmla="*/ 264872 w 625521"/>
                <a:gd name="connsiteY23" fmla="*/ 400855 h 788699"/>
                <a:gd name="connsiteX24" fmla="*/ 259433 w 625521"/>
                <a:gd name="connsiteY24" fmla="*/ 406294 h 788699"/>
                <a:gd name="connsiteX25" fmla="*/ 259433 w 625521"/>
                <a:gd name="connsiteY25" fmla="*/ 425332 h 788699"/>
                <a:gd name="connsiteX26" fmla="*/ 259433 w 625521"/>
                <a:gd name="connsiteY26" fmla="*/ 449809 h 788699"/>
                <a:gd name="connsiteX27" fmla="*/ 259433 w 625521"/>
                <a:gd name="connsiteY27" fmla="*/ 471566 h 788699"/>
                <a:gd name="connsiteX28" fmla="*/ 259433 w 625521"/>
                <a:gd name="connsiteY28" fmla="*/ 504202 h 788699"/>
                <a:gd name="connsiteX29" fmla="*/ 259433 w 625521"/>
                <a:gd name="connsiteY29" fmla="*/ 509641 h 788699"/>
                <a:gd name="connsiteX30" fmla="*/ 256714 w 625521"/>
                <a:gd name="connsiteY30" fmla="*/ 542277 h 788699"/>
                <a:gd name="connsiteX31" fmla="*/ 256714 w 625521"/>
                <a:gd name="connsiteY31" fmla="*/ 577632 h 788699"/>
                <a:gd name="connsiteX32" fmla="*/ 256714 w 625521"/>
                <a:gd name="connsiteY32" fmla="*/ 612988 h 788699"/>
                <a:gd name="connsiteX33" fmla="*/ 253994 w 625521"/>
                <a:gd name="connsiteY33" fmla="*/ 656502 h 788699"/>
                <a:gd name="connsiteX34" fmla="*/ 256714 w 625521"/>
                <a:gd name="connsiteY34" fmla="*/ 678260 h 788699"/>
                <a:gd name="connsiteX35" fmla="*/ 286629 w 625521"/>
                <a:gd name="connsiteY35" fmla="*/ 694578 h 788699"/>
                <a:gd name="connsiteX36" fmla="*/ 281191 w 625521"/>
                <a:gd name="connsiteY36" fmla="*/ 710895 h 788699"/>
                <a:gd name="connsiteX37" fmla="*/ 264872 w 625521"/>
                <a:gd name="connsiteY37" fmla="*/ 719054 h 788699"/>
                <a:gd name="connsiteX38" fmla="*/ 243116 w 625521"/>
                <a:gd name="connsiteY38" fmla="*/ 721774 h 788699"/>
                <a:gd name="connsiteX39" fmla="*/ 243116 w 625521"/>
                <a:gd name="connsiteY39" fmla="*/ 721774 h 788699"/>
                <a:gd name="connsiteX40" fmla="*/ 232236 w 625521"/>
                <a:gd name="connsiteY40" fmla="*/ 727214 h 788699"/>
                <a:gd name="connsiteX41" fmla="*/ 224078 w 625521"/>
                <a:gd name="connsiteY41" fmla="*/ 735372 h 788699"/>
                <a:gd name="connsiteX42" fmla="*/ 213199 w 625521"/>
                <a:gd name="connsiteY42" fmla="*/ 738092 h 788699"/>
                <a:gd name="connsiteX43" fmla="*/ 183283 w 625521"/>
                <a:gd name="connsiteY43" fmla="*/ 727214 h 788699"/>
                <a:gd name="connsiteX44" fmla="*/ 175124 w 625521"/>
                <a:gd name="connsiteY44" fmla="*/ 719054 h 788699"/>
                <a:gd name="connsiteX45" fmla="*/ 145208 w 625521"/>
                <a:gd name="connsiteY45" fmla="*/ 719054 h 788699"/>
                <a:gd name="connsiteX46" fmla="*/ 126170 w 625521"/>
                <a:gd name="connsiteY46" fmla="*/ 719054 h 788699"/>
                <a:gd name="connsiteX47" fmla="*/ 101693 w 625521"/>
                <a:gd name="connsiteY47" fmla="*/ 719054 h 788699"/>
                <a:gd name="connsiteX48" fmla="*/ 74496 w 625521"/>
                <a:gd name="connsiteY48" fmla="*/ 713615 h 788699"/>
                <a:gd name="connsiteX49" fmla="*/ 58178 w 625521"/>
                <a:gd name="connsiteY49" fmla="*/ 697297 h 788699"/>
                <a:gd name="connsiteX50" fmla="*/ 63618 w 625521"/>
                <a:gd name="connsiteY50" fmla="*/ 689138 h 788699"/>
                <a:gd name="connsiteX51" fmla="*/ 85375 w 625521"/>
                <a:gd name="connsiteY51" fmla="*/ 680979 h 788699"/>
                <a:gd name="connsiteX52" fmla="*/ 131609 w 625521"/>
                <a:gd name="connsiteY52" fmla="*/ 675540 h 788699"/>
                <a:gd name="connsiteX53" fmla="*/ 131609 w 625521"/>
                <a:gd name="connsiteY53" fmla="*/ 667381 h 788699"/>
                <a:gd name="connsiteX54" fmla="*/ 131609 w 625521"/>
                <a:gd name="connsiteY54" fmla="*/ 651063 h 788699"/>
                <a:gd name="connsiteX55" fmla="*/ 131609 w 625521"/>
                <a:gd name="connsiteY55" fmla="*/ 618427 h 788699"/>
                <a:gd name="connsiteX56" fmla="*/ 131609 w 625521"/>
                <a:gd name="connsiteY56" fmla="*/ 580352 h 788699"/>
                <a:gd name="connsiteX57" fmla="*/ 131609 w 625521"/>
                <a:gd name="connsiteY57" fmla="*/ 531398 h 788699"/>
                <a:gd name="connsiteX58" fmla="*/ 131609 w 625521"/>
                <a:gd name="connsiteY58" fmla="*/ 466126 h 788699"/>
                <a:gd name="connsiteX59" fmla="*/ 131609 w 625521"/>
                <a:gd name="connsiteY59" fmla="*/ 422612 h 788699"/>
                <a:gd name="connsiteX60" fmla="*/ 131609 w 625521"/>
                <a:gd name="connsiteY60" fmla="*/ 411733 h 788699"/>
                <a:gd name="connsiteX61" fmla="*/ 131609 w 625521"/>
                <a:gd name="connsiteY61" fmla="*/ 398135 h 788699"/>
                <a:gd name="connsiteX62" fmla="*/ 126170 w 625521"/>
                <a:gd name="connsiteY62" fmla="*/ 389976 h 788699"/>
                <a:gd name="connsiteX63" fmla="*/ 101693 w 625521"/>
                <a:gd name="connsiteY63" fmla="*/ 387257 h 788699"/>
                <a:gd name="connsiteX64" fmla="*/ 77216 w 625521"/>
                <a:gd name="connsiteY64" fmla="*/ 376378 h 788699"/>
                <a:gd name="connsiteX65" fmla="*/ 82655 w 625521"/>
                <a:gd name="connsiteY65" fmla="*/ 368219 h 788699"/>
                <a:gd name="connsiteX66" fmla="*/ 98973 w 625521"/>
                <a:gd name="connsiteY66" fmla="*/ 360060 h 788699"/>
                <a:gd name="connsiteX67" fmla="*/ 118011 w 625521"/>
                <a:gd name="connsiteY67" fmla="*/ 357340 h 788699"/>
                <a:gd name="connsiteX68" fmla="*/ 131609 w 625521"/>
                <a:gd name="connsiteY68" fmla="*/ 351901 h 788699"/>
                <a:gd name="connsiteX69" fmla="*/ 131609 w 625521"/>
                <a:gd name="connsiteY69" fmla="*/ 343742 h 788699"/>
                <a:gd name="connsiteX70" fmla="*/ 131609 w 625521"/>
                <a:gd name="connsiteY70" fmla="*/ 270311 h 788699"/>
                <a:gd name="connsiteX71" fmla="*/ 137048 w 625521"/>
                <a:gd name="connsiteY71" fmla="*/ 145207 h 788699"/>
                <a:gd name="connsiteX72" fmla="*/ 139768 w 625521"/>
                <a:gd name="connsiteY72" fmla="*/ 123450 h 788699"/>
                <a:gd name="connsiteX73" fmla="*/ 123450 w 625521"/>
                <a:gd name="connsiteY73" fmla="*/ 123450 h 788699"/>
                <a:gd name="connsiteX74" fmla="*/ 118011 w 625521"/>
                <a:gd name="connsiteY74" fmla="*/ 123450 h 788699"/>
                <a:gd name="connsiteX75" fmla="*/ 101693 w 625521"/>
                <a:gd name="connsiteY75" fmla="*/ 123450 h 788699"/>
                <a:gd name="connsiteX76" fmla="*/ 74496 w 625521"/>
                <a:gd name="connsiteY76" fmla="*/ 118011 h 788699"/>
                <a:gd name="connsiteX77" fmla="*/ 58178 w 625521"/>
                <a:gd name="connsiteY77" fmla="*/ 101693 h 788699"/>
                <a:gd name="connsiteX78" fmla="*/ 63618 w 625521"/>
                <a:gd name="connsiteY78" fmla="*/ 93534 h 788699"/>
                <a:gd name="connsiteX79" fmla="*/ 85375 w 625521"/>
                <a:gd name="connsiteY79" fmla="*/ 85375 h 788699"/>
                <a:gd name="connsiteX80" fmla="*/ 137048 w 625521"/>
                <a:gd name="connsiteY80" fmla="*/ 82655 h 788699"/>
                <a:gd name="connsiteX81" fmla="*/ 147927 w 625521"/>
                <a:gd name="connsiteY81" fmla="*/ 82655 h 788699"/>
                <a:gd name="connsiteX82" fmla="*/ 186003 w 625521"/>
                <a:gd name="connsiteY82" fmla="*/ 58178 h 788699"/>
                <a:gd name="connsiteX83" fmla="*/ 226797 w 625521"/>
                <a:gd name="connsiteY83" fmla="*/ 79936 h 788699"/>
                <a:gd name="connsiteX84" fmla="*/ 253994 w 625521"/>
                <a:gd name="connsiteY84" fmla="*/ 79936 h 788699"/>
                <a:gd name="connsiteX85" fmla="*/ 294789 w 625521"/>
                <a:gd name="connsiteY85" fmla="*/ 96253 h 788699"/>
                <a:gd name="connsiteX86" fmla="*/ 283910 w 625521"/>
                <a:gd name="connsiteY86" fmla="*/ 112571 h 788699"/>
                <a:gd name="connsiteX87" fmla="*/ 267592 w 625521"/>
                <a:gd name="connsiteY87" fmla="*/ 120730 h 788699"/>
                <a:gd name="connsiteX88" fmla="*/ 245835 w 625521"/>
                <a:gd name="connsiteY88" fmla="*/ 123450 h 788699"/>
                <a:gd name="connsiteX89" fmla="*/ 237676 w 625521"/>
                <a:gd name="connsiteY89" fmla="*/ 123450 h 788699"/>
                <a:gd name="connsiteX90" fmla="*/ 240396 w 625521"/>
                <a:gd name="connsiteY90" fmla="*/ 128889 h 788699"/>
                <a:gd name="connsiteX91" fmla="*/ 251274 w 625521"/>
                <a:gd name="connsiteY91" fmla="*/ 177843 h 788699"/>
                <a:gd name="connsiteX92" fmla="*/ 256714 w 625521"/>
                <a:gd name="connsiteY92" fmla="*/ 226797 h 788699"/>
                <a:gd name="connsiteX93" fmla="*/ 262153 w 625521"/>
                <a:gd name="connsiteY93" fmla="*/ 273031 h 788699"/>
                <a:gd name="connsiteX94" fmla="*/ 262153 w 625521"/>
                <a:gd name="connsiteY94" fmla="*/ 289349 h 788699"/>
                <a:gd name="connsiteX95" fmla="*/ 262153 w 625521"/>
                <a:gd name="connsiteY95" fmla="*/ 297508 h 788699"/>
                <a:gd name="connsiteX96" fmla="*/ 264872 w 625521"/>
                <a:gd name="connsiteY96" fmla="*/ 321985 h 788699"/>
                <a:gd name="connsiteX97" fmla="*/ 270312 w 625521"/>
                <a:gd name="connsiteY97" fmla="*/ 335583 h 788699"/>
                <a:gd name="connsiteX98" fmla="*/ 270312 w 625521"/>
                <a:gd name="connsiteY98" fmla="*/ 338303 h 788699"/>
                <a:gd name="connsiteX99" fmla="*/ 270312 w 625521"/>
                <a:gd name="connsiteY99" fmla="*/ 346462 h 788699"/>
                <a:gd name="connsiteX100" fmla="*/ 278471 w 625521"/>
                <a:gd name="connsiteY100" fmla="*/ 354621 h 788699"/>
                <a:gd name="connsiteX101" fmla="*/ 338304 w 625521"/>
                <a:gd name="connsiteY101" fmla="*/ 349181 h 788699"/>
                <a:gd name="connsiteX102" fmla="*/ 365500 w 625521"/>
                <a:gd name="connsiteY102" fmla="*/ 349181 h 788699"/>
                <a:gd name="connsiteX103" fmla="*/ 381817 w 625521"/>
                <a:gd name="connsiteY103" fmla="*/ 349181 h 788699"/>
                <a:gd name="connsiteX104" fmla="*/ 392697 w 625521"/>
                <a:gd name="connsiteY104" fmla="*/ 338303 h 788699"/>
                <a:gd name="connsiteX105" fmla="*/ 389977 w 625521"/>
                <a:gd name="connsiteY105" fmla="*/ 313826 h 788699"/>
                <a:gd name="connsiteX106" fmla="*/ 392697 w 625521"/>
                <a:gd name="connsiteY106" fmla="*/ 262152 h 788699"/>
                <a:gd name="connsiteX107" fmla="*/ 395416 w 625521"/>
                <a:gd name="connsiteY107" fmla="*/ 224077 h 788699"/>
                <a:gd name="connsiteX108" fmla="*/ 398136 w 625521"/>
                <a:gd name="connsiteY108" fmla="*/ 177843 h 788699"/>
                <a:gd name="connsiteX109" fmla="*/ 395416 w 625521"/>
                <a:gd name="connsiteY109" fmla="*/ 153366 h 788699"/>
                <a:gd name="connsiteX110" fmla="*/ 395416 w 625521"/>
                <a:gd name="connsiteY110" fmla="*/ 137048 h 788699"/>
                <a:gd name="connsiteX111" fmla="*/ 379098 w 625521"/>
                <a:gd name="connsiteY111" fmla="*/ 137048 h 788699"/>
                <a:gd name="connsiteX112" fmla="*/ 351902 w 625521"/>
                <a:gd name="connsiteY112" fmla="*/ 131609 h 788699"/>
                <a:gd name="connsiteX113" fmla="*/ 338304 w 625521"/>
                <a:gd name="connsiteY113" fmla="*/ 115291 h 788699"/>
                <a:gd name="connsiteX114" fmla="*/ 343742 w 625521"/>
                <a:gd name="connsiteY114" fmla="*/ 107132 h 788699"/>
                <a:gd name="connsiteX115" fmla="*/ 362780 w 625521"/>
                <a:gd name="connsiteY115" fmla="*/ 98973 h 788699"/>
                <a:gd name="connsiteX116" fmla="*/ 395416 w 625521"/>
                <a:gd name="connsiteY116" fmla="*/ 96253 h 788699"/>
                <a:gd name="connsiteX117" fmla="*/ 403575 w 625521"/>
                <a:gd name="connsiteY117" fmla="*/ 90814 h 788699"/>
                <a:gd name="connsiteX118" fmla="*/ 422612 w 625521"/>
                <a:gd name="connsiteY118" fmla="*/ 88095 h 788699"/>
                <a:gd name="connsiteX119" fmla="*/ 428052 w 625521"/>
                <a:gd name="connsiteY119" fmla="*/ 88095 h 788699"/>
                <a:gd name="connsiteX120" fmla="*/ 447090 w 625521"/>
                <a:gd name="connsiteY120" fmla="*/ 90814 h 788699"/>
                <a:gd name="connsiteX121" fmla="*/ 455249 w 625521"/>
                <a:gd name="connsiteY121" fmla="*/ 96253 h 788699"/>
                <a:gd name="connsiteX122" fmla="*/ 525960 w 625521"/>
                <a:gd name="connsiteY122" fmla="*/ 93534 h 788699"/>
                <a:gd name="connsiteX123" fmla="*/ 561315 w 625521"/>
                <a:gd name="connsiteY123" fmla="*/ 109852 h 788699"/>
                <a:gd name="connsiteX124" fmla="*/ 555876 w 625521"/>
                <a:gd name="connsiteY124" fmla="*/ 126170 h 788699"/>
                <a:gd name="connsiteX125" fmla="*/ 539558 w 625521"/>
                <a:gd name="connsiteY125" fmla="*/ 134329 h 788699"/>
                <a:gd name="connsiteX126" fmla="*/ 517800 w 625521"/>
                <a:gd name="connsiteY126" fmla="*/ 137048 h 788699"/>
                <a:gd name="connsiteX127" fmla="*/ 477006 w 625521"/>
                <a:gd name="connsiteY127" fmla="*/ 137048 h 788699"/>
                <a:gd name="connsiteX128" fmla="*/ 485165 w 625521"/>
                <a:gd name="connsiteY128" fmla="*/ 161525 h 788699"/>
                <a:gd name="connsiteX129" fmla="*/ 496043 w 625521"/>
                <a:gd name="connsiteY129" fmla="*/ 210479 h 788699"/>
                <a:gd name="connsiteX130" fmla="*/ 501483 w 625521"/>
                <a:gd name="connsiteY130" fmla="*/ 251274 h 788699"/>
                <a:gd name="connsiteX131" fmla="*/ 506922 w 625521"/>
                <a:gd name="connsiteY131" fmla="*/ 292069 h 788699"/>
                <a:gd name="connsiteX132" fmla="*/ 506922 w 625521"/>
                <a:gd name="connsiteY132" fmla="*/ 321985 h 788699"/>
                <a:gd name="connsiteX133" fmla="*/ 509642 w 625521"/>
                <a:gd name="connsiteY133" fmla="*/ 341022 h 788699"/>
                <a:gd name="connsiteX134" fmla="*/ 509642 w 625521"/>
                <a:gd name="connsiteY134" fmla="*/ 343742 h 788699"/>
                <a:gd name="connsiteX135" fmla="*/ 517800 w 625521"/>
                <a:gd name="connsiteY135" fmla="*/ 349181 h 788699"/>
                <a:gd name="connsiteX136" fmla="*/ 528680 w 625521"/>
                <a:gd name="connsiteY136" fmla="*/ 349181 h 788699"/>
                <a:gd name="connsiteX137" fmla="*/ 550437 w 625521"/>
                <a:gd name="connsiteY137" fmla="*/ 357340 h 788699"/>
                <a:gd name="connsiteX138" fmla="*/ 550437 w 625521"/>
                <a:gd name="connsiteY138" fmla="*/ 362780 h 788699"/>
                <a:gd name="connsiteX139" fmla="*/ 534119 w 625521"/>
                <a:gd name="connsiteY139" fmla="*/ 384537 h 788699"/>
                <a:gd name="connsiteX140" fmla="*/ 520520 w 625521"/>
                <a:gd name="connsiteY140" fmla="*/ 389976 h 788699"/>
                <a:gd name="connsiteX141" fmla="*/ 512362 w 625521"/>
                <a:gd name="connsiteY141" fmla="*/ 395415 h 788699"/>
                <a:gd name="connsiteX142" fmla="*/ 512362 w 625521"/>
                <a:gd name="connsiteY142" fmla="*/ 398135 h 788699"/>
                <a:gd name="connsiteX143" fmla="*/ 512362 w 625521"/>
                <a:gd name="connsiteY143" fmla="*/ 409014 h 788699"/>
                <a:gd name="connsiteX144" fmla="*/ 512362 w 625521"/>
                <a:gd name="connsiteY144" fmla="*/ 414453 h 788699"/>
                <a:gd name="connsiteX145" fmla="*/ 512362 w 625521"/>
                <a:gd name="connsiteY145" fmla="*/ 438930 h 788699"/>
                <a:gd name="connsiteX146" fmla="*/ 515081 w 625521"/>
                <a:gd name="connsiteY146" fmla="*/ 504202 h 788699"/>
                <a:gd name="connsiteX147" fmla="*/ 520520 w 625521"/>
                <a:gd name="connsiteY147" fmla="*/ 572193 h 788699"/>
                <a:gd name="connsiteX148" fmla="*/ 517800 w 625521"/>
                <a:gd name="connsiteY148" fmla="*/ 604829 h 788699"/>
                <a:gd name="connsiteX149" fmla="*/ 512362 w 625521"/>
                <a:gd name="connsiteY149" fmla="*/ 661942 h 788699"/>
                <a:gd name="connsiteX150" fmla="*/ 509642 w 625521"/>
                <a:gd name="connsiteY150" fmla="*/ 670101 h 788699"/>
                <a:gd name="connsiteX151" fmla="*/ 512362 w 625521"/>
                <a:gd name="connsiteY151" fmla="*/ 680979 h 788699"/>
                <a:gd name="connsiteX152" fmla="*/ 512362 w 625521"/>
                <a:gd name="connsiteY152" fmla="*/ 686419 h 788699"/>
                <a:gd name="connsiteX153" fmla="*/ 536838 w 625521"/>
                <a:gd name="connsiteY153" fmla="*/ 680979 h 788699"/>
                <a:gd name="connsiteX154" fmla="*/ 536838 w 625521"/>
                <a:gd name="connsiteY154" fmla="*/ 680979 h 7886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</a:cxnLst>
              <a:rect l="l" t="t" r="r" b="b"/>
              <a:pathLst>
                <a:path w="625521" h="788699">
                  <a:moveTo>
                    <a:pt x="536838" y="680979"/>
                  </a:moveTo>
                  <a:cubicBezTo>
                    <a:pt x="550437" y="680979"/>
                    <a:pt x="574913" y="680979"/>
                    <a:pt x="574913" y="697297"/>
                  </a:cubicBezTo>
                  <a:cubicBezTo>
                    <a:pt x="574913" y="705456"/>
                    <a:pt x="572194" y="708176"/>
                    <a:pt x="566755" y="713615"/>
                  </a:cubicBezTo>
                  <a:cubicBezTo>
                    <a:pt x="561315" y="719054"/>
                    <a:pt x="555876" y="721774"/>
                    <a:pt x="550437" y="721774"/>
                  </a:cubicBezTo>
                  <a:cubicBezTo>
                    <a:pt x="539558" y="724494"/>
                    <a:pt x="534119" y="724494"/>
                    <a:pt x="528680" y="724494"/>
                  </a:cubicBezTo>
                  <a:cubicBezTo>
                    <a:pt x="517800" y="724494"/>
                    <a:pt x="428052" y="724494"/>
                    <a:pt x="417174" y="724494"/>
                  </a:cubicBezTo>
                  <a:cubicBezTo>
                    <a:pt x="403575" y="724494"/>
                    <a:pt x="414454" y="724494"/>
                    <a:pt x="398136" y="724494"/>
                  </a:cubicBezTo>
                  <a:cubicBezTo>
                    <a:pt x="389977" y="724494"/>
                    <a:pt x="381817" y="724494"/>
                    <a:pt x="373659" y="724494"/>
                  </a:cubicBezTo>
                  <a:cubicBezTo>
                    <a:pt x="365500" y="724494"/>
                    <a:pt x="354621" y="721774"/>
                    <a:pt x="346462" y="719054"/>
                  </a:cubicBezTo>
                  <a:cubicBezTo>
                    <a:pt x="338304" y="716335"/>
                    <a:pt x="330144" y="708176"/>
                    <a:pt x="330144" y="702737"/>
                  </a:cubicBezTo>
                  <a:cubicBezTo>
                    <a:pt x="330144" y="700017"/>
                    <a:pt x="330144" y="697297"/>
                    <a:pt x="335584" y="694578"/>
                  </a:cubicBezTo>
                  <a:cubicBezTo>
                    <a:pt x="341023" y="691858"/>
                    <a:pt x="351902" y="689138"/>
                    <a:pt x="357341" y="686419"/>
                  </a:cubicBezTo>
                  <a:cubicBezTo>
                    <a:pt x="373659" y="683699"/>
                    <a:pt x="387257" y="680979"/>
                    <a:pt x="395416" y="680979"/>
                  </a:cubicBezTo>
                  <a:cubicBezTo>
                    <a:pt x="387257" y="675540"/>
                    <a:pt x="384537" y="670101"/>
                    <a:pt x="381817" y="656502"/>
                  </a:cubicBezTo>
                  <a:cubicBezTo>
                    <a:pt x="379098" y="632026"/>
                    <a:pt x="379098" y="610268"/>
                    <a:pt x="379098" y="585791"/>
                  </a:cubicBezTo>
                  <a:cubicBezTo>
                    <a:pt x="379098" y="564034"/>
                    <a:pt x="379098" y="542277"/>
                    <a:pt x="379098" y="517800"/>
                  </a:cubicBezTo>
                  <a:cubicBezTo>
                    <a:pt x="379098" y="504202"/>
                    <a:pt x="379098" y="487884"/>
                    <a:pt x="379098" y="474286"/>
                  </a:cubicBezTo>
                  <a:cubicBezTo>
                    <a:pt x="379098" y="457968"/>
                    <a:pt x="376379" y="444369"/>
                    <a:pt x="379098" y="430771"/>
                  </a:cubicBezTo>
                  <a:cubicBezTo>
                    <a:pt x="379098" y="425332"/>
                    <a:pt x="381817" y="417173"/>
                    <a:pt x="381817" y="411733"/>
                  </a:cubicBezTo>
                  <a:cubicBezTo>
                    <a:pt x="381817" y="406294"/>
                    <a:pt x="381817" y="403575"/>
                    <a:pt x="379098" y="400855"/>
                  </a:cubicBezTo>
                  <a:cubicBezTo>
                    <a:pt x="376379" y="400855"/>
                    <a:pt x="373659" y="398135"/>
                    <a:pt x="370939" y="398135"/>
                  </a:cubicBezTo>
                  <a:cubicBezTo>
                    <a:pt x="360061" y="398135"/>
                    <a:pt x="343742" y="400855"/>
                    <a:pt x="338304" y="400855"/>
                  </a:cubicBezTo>
                  <a:cubicBezTo>
                    <a:pt x="330144" y="400855"/>
                    <a:pt x="319266" y="403575"/>
                    <a:pt x="289349" y="403575"/>
                  </a:cubicBezTo>
                  <a:cubicBezTo>
                    <a:pt x="275751" y="403575"/>
                    <a:pt x="267592" y="400855"/>
                    <a:pt x="264872" y="400855"/>
                  </a:cubicBezTo>
                  <a:cubicBezTo>
                    <a:pt x="262153" y="400855"/>
                    <a:pt x="259433" y="400855"/>
                    <a:pt x="259433" y="406294"/>
                  </a:cubicBezTo>
                  <a:cubicBezTo>
                    <a:pt x="259433" y="414453"/>
                    <a:pt x="259433" y="419892"/>
                    <a:pt x="259433" y="425332"/>
                  </a:cubicBezTo>
                  <a:cubicBezTo>
                    <a:pt x="259433" y="433491"/>
                    <a:pt x="259433" y="441650"/>
                    <a:pt x="259433" y="449809"/>
                  </a:cubicBezTo>
                  <a:cubicBezTo>
                    <a:pt x="259433" y="457968"/>
                    <a:pt x="259433" y="463407"/>
                    <a:pt x="259433" y="471566"/>
                  </a:cubicBezTo>
                  <a:cubicBezTo>
                    <a:pt x="259433" y="482445"/>
                    <a:pt x="259433" y="493323"/>
                    <a:pt x="259433" y="504202"/>
                  </a:cubicBezTo>
                  <a:cubicBezTo>
                    <a:pt x="259433" y="506921"/>
                    <a:pt x="259433" y="506921"/>
                    <a:pt x="259433" y="509641"/>
                  </a:cubicBezTo>
                  <a:cubicBezTo>
                    <a:pt x="259433" y="520520"/>
                    <a:pt x="256714" y="531398"/>
                    <a:pt x="256714" y="542277"/>
                  </a:cubicBezTo>
                  <a:cubicBezTo>
                    <a:pt x="256714" y="553156"/>
                    <a:pt x="256714" y="566754"/>
                    <a:pt x="256714" y="577632"/>
                  </a:cubicBezTo>
                  <a:cubicBezTo>
                    <a:pt x="256714" y="588511"/>
                    <a:pt x="256714" y="599390"/>
                    <a:pt x="256714" y="612988"/>
                  </a:cubicBezTo>
                  <a:cubicBezTo>
                    <a:pt x="256714" y="629306"/>
                    <a:pt x="253994" y="642904"/>
                    <a:pt x="253994" y="656502"/>
                  </a:cubicBezTo>
                  <a:cubicBezTo>
                    <a:pt x="253994" y="664661"/>
                    <a:pt x="256714" y="672820"/>
                    <a:pt x="256714" y="678260"/>
                  </a:cubicBezTo>
                  <a:cubicBezTo>
                    <a:pt x="270312" y="678260"/>
                    <a:pt x="286629" y="680979"/>
                    <a:pt x="286629" y="694578"/>
                  </a:cubicBezTo>
                  <a:cubicBezTo>
                    <a:pt x="286629" y="702737"/>
                    <a:pt x="283910" y="705456"/>
                    <a:pt x="281191" y="710895"/>
                  </a:cubicBezTo>
                  <a:cubicBezTo>
                    <a:pt x="275751" y="716335"/>
                    <a:pt x="270312" y="719054"/>
                    <a:pt x="264872" y="719054"/>
                  </a:cubicBezTo>
                  <a:cubicBezTo>
                    <a:pt x="256714" y="721774"/>
                    <a:pt x="248554" y="721774"/>
                    <a:pt x="243116" y="721774"/>
                  </a:cubicBezTo>
                  <a:cubicBezTo>
                    <a:pt x="243116" y="721774"/>
                    <a:pt x="243116" y="721774"/>
                    <a:pt x="243116" y="721774"/>
                  </a:cubicBezTo>
                  <a:cubicBezTo>
                    <a:pt x="237676" y="724494"/>
                    <a:pt x="237676" y="724494"/>
                    <a:pt x="232236" y="727214"/>
                  </a:cubicBezTo>
                  <a:cubicBezTo>
                    <a:pt x="229517" y="729933"/>
                    <a:pt x="229517" y="732653"/>
                    <a:pt x="224078" y="735372"/>
                  </a:cubicBezTo>
                  <a:cubicBezTo>
                    <a:pt x="221358" y="738092"/>
                    <a:pt x="215919" y="738092"/>
                    <a:pt x="213199" y="738092"/>
                  </a:cubicBezTo>
                  <a:cubicBezTo>
                    <a:pt x="199601" y="738092"/>
                    <a:pt x="188722" y="735372"/>
                    <a:pt x="183283" y="727214"/>
                  </a:cubicBezTo>
                  <a:cubicBezTo>
                    <a:pt x="180563" y="724494"/>
                    <a:pt x="177843" y="721774"/>
                    <a:pt x="175124" y="719054"/>
                  </a:cubicBezTo>
                  <a:cubicBezTo>
                    <a:pt x="161526" y="719054"/>
                    <a:pt x="150646" y="719054"/>
                    <a:pt x="145208" y="719054"/>
                  </a:cubicBezTo>
                  <a:cubicBezTo>
                    <a:pt x="131609" y="719054"/>
                    <a:pt x="142488" y="719054"/>
                    <a:pt x="126170" y="719054"/>
                  </a:cubicBezTo>
                  <a:cubicBezTo>
                    <a:pt x="118011" y="719054"/>
                    <a:pt x="109852" y="719054"/>
                    <a:pt x="101693" y="719054"/>
                  </a:cubicBezTo>
                  <a:cubicBezTo>
                    <a:pt x="93534" y="719054"/>
                    <a:pt x="82655" y="719054"/>
                    <a:pt x="74496" y="713615"/>
                  </a:cubicBezTo>
                  <a:cubicBezTo>
                    <a:pt x="66338" y="710895"/>
                    <a:pt x="58178" y="702737"/>
                    <a:pt x="58178" y="697297"/>
                  </a:cubicBezTo>
                  <a:cubicBezTo>
                    <a:pt x="58178" y="694578"/>
                    <a:pt x="58178" y="691858"/>
                    <a:pt x="63618" y="689138"/>
                  </a:cubicBezTo>
                  <a:cubicBezTo>
                    <a:pt x="69057" y="686419"/>
                    <a:pt x="79936" y="683699"/>
                    <a:pt x="85375" y="680979"/>
                  </a:cubicBezTo>
                  <a:cubicBezTo>
                    <a:pt x="98973" y="678260"/>
                    <a:pt x="118011" y="678260"/>
                    <a:pt x="131609" y="675540"/>
                  </a:cubicBezTo>
                  <a:cubicBezTo>
                    <a:pt x="131609" y="672820"/>
                    <a:pt x="131609" y="670101"/>
                    <a:pt x="131609" y="667381"/>
                  </a:cubicBezTo>
                  <a:cubicBezTo>
                    <a:pt x="131609" y="661942"/>
                    <a:pt x="131609" y="656502"/>
                    <a:pt x="131609" y="651063"/>
                  </a:cubicBezTo>
                  <a:cubicBezTo>
                    <a:pt x="131609" y="640184"/>
                    <a:pt x="131609" y="629306"/>
                    <a:pt x="131609" y="618427"/>
                  </a:cubicBezTo>
                  <a:cubicBezTo>
                    <a:pt x="131609" y="604829"/>
                    <a:pt x="131609" y="593950"/>
                    <a:pt x="131609" y="580352"/>
                  </a:cubicBezTo>
                  <a:cubicBezTo>
                    <a:pt x="131609" y="564034"/>
                    <a:pt x="131609" y="547716"/>
                    <a:pt x="131609" y="531398"/>
                  </a:cubicBezTo>
                  <a:cubicBezTo>
                    <a:pt x="131609" y="509641"/>
                    <a:pt x="131609" y="487884"/>
                    <a:pt x="131609" y="466126"/>
                  </a:cubicBezTo>
                  <a:cubicBezTo>
                    <a:pt x="131609" y="452528"/>
                    <a:pt x="131609" y="436210"/>
                    <a:pt x="131609" y="422612"/>
                  </a:cubicBezTo>
                  <a:cubicBezTo>
                    <a:pt x="131609" y="419892"/>
                    <a:pt x="131609" y="414453"/>
                    <a:pt x="131609" y="411733"/>
                  </a:cubicBezTo>
                  <a:cubicBezTo>
                    <a:pt x="131609" y="409014"/>
                    <a:pt x="131609" y="400855"/>
                    <a:pt x="131609" y="398135"/>
                  </a:cubicBezTo>
                  <a:cubicBezTo>
                    <a:pt x="131609" y="392696"/>
                    <a:pt x="131609" y="392696"/>
                    <a:pt x="126170" y="389976"/>
                  </a:cubicBezTo>
                  <a:cubicBezTo>
                    <a:pt x="123450" y="389976"/>
                    <a:pt x="109852" y="387257"/>
                    <a:pt x="101693" y="387257"/>
                  </a:cubicBezTo>
                  <a:cubicBezTo>
                    <a:pt x="90814" y="384537"/>
                    <a:pt x="77216" y="381817"/>
                    <a:pt x="77216" y="376378"/>
                  </a:cubicBezTo>
                  <a:cubicBezTo>
                    <a:pt x="77216" y="373658"/>
                    <a:pt x="79936" y="370939"/>
                    <a:pt x="82655" y="368219"/>
                  </a:cubicBezTo>
                  <a:cubicBezTo>
                    <a:pt x="88095" y="365499"/>
                    <a:pt x="93534" y="362780"/>
                    <a:pt x="98973" y="360060"/>
                  </a:cubicBezTo>
                  <a:cubicBezTo>
                    <a:pt x="104413" y="360060"/>
                    <a:pt x="112571" y="357340"/>
                    <a:pt x="118011" y="357340"/>
                  </a:cubicBezTo>
                  <a:cubicBezTo>
                    <a:pt x="126170" y="354621"/>
                    <a:pt x="128890" y="357340"/>
                    <a:pt x="131609" y="351901"/>
                  </a:cubicBezTo>
                  <a:cubicBezTo>
                    <a:pt x="131609" y="349181"/>
                    <a:pt x="131609" y="346462"/>
                    <a:pt x="131609" y="343742"/>
                  </a:cubicBezTo>
                  <a:cubicBezTo>
                    <a:pt x="131609" y="319265"/>
                    <a:pt x="131609" y="294788"/>
                    <a:pt x="131609" y="270311"/>
                  </a:cubicBezTo>
                  <a:cubicBezTo>
                    <a:pt x="131609" y="226797"/>
                    <a:pt x="131609" y="186002"/>
                    <a:pt x="137048" y="145207"/>
                  </a:cubicBezTo>
                  <a:cubicBezTo>
                    <a:pt x="137048" y="139768"/>
                    <a:pt x="137048" y="131609"/>
                    <a:pt x="139768" y="123450"/>
                  </a:cubicBezTo>
                  <a:cubicBezTo>
                    <a:pt x="134329" y="123450"/>
                    <a:pt x="137048" y="123450"/>
                    <a:pt x="123450" y="123450"/>
                  </a:cubicBezTo>
                  <a:cubicBezTo>
                    <a:pt x="120731" y="123450"/>
                    <a:pt x="120731" y="123450"/>
                    <a:pt x="118011" y="123450"/>
                  </a:cubicBezTo>
                  <a:cubicBezTo>
                    <a:pt x="112571" y="123450"/>
                    <a:pt x="107133" y="123450"/>
                    <a:pt x="101693" y="123450"/>
                  </a:cubicBezTo>
                  <a:cubicBezTo>
                    <a:pt x="93534" y="123450"/>
                    <a:pt x="82655" y="120730"/>
                    <a:pt x="74496" y="118011"/>
                  </a:cubicBezTo>
                  <a:cubicBezTo>
                    <a:pt x="66338" y="115291"/>
                    <a:pt x="58178" y="107132"/>
                    <a:pt x="58178" y="101693"/>
                  </a:cubicBezTo>
                  <a:cubicBezTo>
                    <a:pt x="58178" y="98973"/>
                    <a:pt x="58178" y="96253"/>
                    <a:pt x="63618" y="93534"/>
                  </a:cubicBezTo>
                  <a:cubicBezTo>
                    <a:pt x="66338" y="90814"/>
                    <a:pt x="77216" y="88095"/>
                    <a:pt x="85375" y="85375"/>
                  </a:cubicBezTo>
                  <a:cubicBezTo>
                    <a:pt x="104413" y="82655"/>
                    <a:pt x="128890" y="82655"/>
                    <a:pt x="137048" y="82655"/>
                  </a:cubicBezTo>
                  <a:cubicBezTo>
                    <a:pt x="139768" y="82655"/>
                    <a:pt x="142488" y="82655"/>
                    <a:pt x="147927" y="82655"/>
                  </a:cubicBezTo>
                  <a:cubicBezTo>
                    <a:pt x="153366" y="69057"/>
                    <a:pt x="164245" y="58178"/>
                    <a:pt x="186003" y="58178"/>
                  </a:cubicBezTo>
                  <a:cubicBezTo>
                    <a:pt x="202321" y="58178"/>
                    <a:pt x="215919" y="66337"/>
                    <a:pt x="226797" y="79936"/>
                  </a:cubicBezTo>
                  <a:cubicBezTo>
                    <a:pt x="237676" y="79936"/>
                    <a:pt x="248554" y="79936"/>
                    <a:pt x="253994" y="79936"/>
                  </a:cubicBezTo>
                  <a:cubicBezTo>
                    <a:pt x="267592" y="79936"/>
                    <a:pt x="294789" y="79936"/>
                    <a:pt x="294789" y="96253"/>
                  </a:cubicBezTo>
                  <a:cubicBezTo>
                    <a:pt x="294789" y="104412"/>
                    <a:pt x="289349" y="107132"/>
                    <a:pt x="283910" y="112571"/>
                  </a:cubicBezTo>
                  <a:cubicBezTo>
                    <a:pt x="278471" y="118011"/>
                    <a:pt x="273031" y="120730"/>
                    <a:pt x="267592" y="120730"/>
                  </a:cubicBezTo>
                  <a:cubicBezTo>
                    <a:pt x="259433" y="123450"/>
                    <a:pt x="251274" y="123450"/>
                    <a:pt x="245835" y="123450"/>
                  </a:cubicBezTo>
                  <a:cubicBezTo>
                    <a:pt x="245835" y="123450"/>
                    <a:pt x="243116" y="123450"/>
                    <a:pt x="237676" y="123450"/>
                  </a:cubicBezTo>
                  <a:cubicBezTo>
                    <a:pt x="237676" y="126170"/>
                    <a:pt x="237676" y="126170"/>
                    <a:pt x="240396" y="128889"/>
                  </a:cubicBezTo>
                  <a:cubicBezTo>
                    <a:pt x="245835" y="145207"/>
                    <a:pt x="248554" y="161525"/>
                    <a:pt x="251274" y="177843"/>
                  </a:cubicBezTo>
                  <a:cubicBezTo>
                    <a:pt x="253994" y="194161"/>
                    <a:pt x="253994" y="210479"/>
                    <a:pt x="256714" y="226797"/>
                  </a:cubicBezTo>
                  <a:cubicBezTo>
                    <a:pt x="259433" y="243115"/>
                    <a:pt x="262153" y="256713"/>
                    <a:pt x="262153" y="273031"/>
                  </a:cubicBezTo>
                  <a:cubicBezTo>
                    <a:pt x="262153" y="278470"/>
                    <a:pt x="262153" y="283910"/>
                    <a:pt x="262153" y="289349"/>
                  </a:cubicBezTo>
                  <a:lnTo>
                    <a:pt x="262153" y="297508"/>
                  </a:lnTo>
                  <a:cubicBezTo>
                    <a:pt x="262153" y="305667"/>
                    <a:pt x="262153" y="313826"/>
                    <a:pt x="264872" y="321985"/>
                  </a:cubicBezTo>
                  <a:cubicBezTo>
                    <a:pt x="264872" y="327424"/>
                    <a:pt x="270312" y="330144"/>
                    <a:pt x="270312" y="335583"/>
                  </a:cubicBezTo>
                  <a:cubicBezTo>
                    <a:pt x="270312" y="335583"/>
                    <a:pt x="270312" y="338303"/>
                    <a:pt x="270312" y="338303"/>
                  </a:cubicBezTo>
                  <a:cubicBezTo>
                    <a:pt x="270312" y="341022"/>
                    <a:pt x="270312" y="343742"/>
                    <a:pt x="270312" y="346462"/>
                  </a:cubicBezTo>
                  <a:cubicBezTo>
                    <a:pt x="270312" y="351901"/>
                    <a:pt x="273031" y="354621"/>
                    <a:pt x="278471" y="354621"/>
                  </a:cubicBezTo>
                  <a:cubicBezTo>
                    <a:pt x="289349" y="354621"/>
                    <a:pt x="335584" y="351901"/>
                    <a:pt x="338304" y="349181"/>
                  </a:cubicBezTo>
                  <a:cubicBezTo>
                    <a:pt x="346462" y="349181"/>
                    <a:pt x="357341" y="349181"/>
                    <a:pt x="365500" y="349181"/>
                  </a:cubicBezTo>
                  <a:cubicBezTo>
                    <a:pt x="370939" y="349181"/>
                    <a:pt x="376379" y="349181"/>
                    <a:pt x="381817" y="349181"/>
                  </a:cubicBezTo>
                  <a:cubicBezTo>
                    <a:pt x="387257" y="349181"/>
                    <a:pt x="392697" y="346462"/>
                    <a:pt x="392697" y="338303"/>
                  </a:cubicBezTo>
                  <a:cubicBezTo>
                    <a:pt x="392697" y="330144"/>
                    <a:pt x="389977" y="316545"/>
                    <a:pt x="389977" y="313826"/>
                  </a:cubicBezTo>
                  <a:cubicBezTo>
                    <a:pt x="389977" y="294788"/>
                    <a:pt x="389977" y="278470"/>
                    <a:pt x="392697" y="262152"/>
                  </a:cubicBezTo>
                  <a:cubicBezTo>
                    <a:pt x="392697" y="259433"/>
                    <a:pt x="395416" y="243115"/>
                    <a:pt x="395416" y="224077"/>
                  </a:cubicBezTo>
                  <a:cubicBezTo>
                    <a:pt x="395416" y="207759"/>
                    <a:pt x="398136" y="188722"/>
                    <a:pt x="398136" y="177843"/>
                  </a:cubicBezTo>
                  <a:cubicBezTo>
                    <a:pt x="398136" y="169684"/>
                    <a:pt x="395416" y="158806"/>
                    <a:pt x="395416" y="153366"/>
                  </a:cubicBezTo>
                  <a:cubicBezTo>
                    <a:pt x="395416" y="145207"/>
                    <a:pt x="395416" y="142488"/>
                    <a:pt x="395416" y="137048"/>
                  </a:cubicBezTo>
                  <a:cubicBezTo>
                    <a:pt x="389977" y="137048"/>
                    <a:pt x="384537" y="137048"/>
                    <a:pt x="379098" y="137048"/>
                  </a:cubicBezTo>
                  <a:cubicBezTo>
                    <a:pt x="370939" y="137048"/>
                    <a:pt x="360061" y="134329"/>
                    <a:pt x="351902" y="131609"/>
                  </a:cubicBezTo>
                  <a:cubicBezTo>
                    <a:pt x="343742" y="128889"/>
                    <a:pt x="338304" y="120730"/>
                    <a:pt x="338304" y="115291"/>
                  </a:cubicBezTo>
                  <a:cubicBezTo>
                    <a:pt x="338304" y="112571"/>
                    <a:pt x="338304" y="109852"/>
                    <a:pt x="343742" y="107132"/>
                  </a:cubicBezTo>
                  <a:cubicBezTo>
                    <a:pt x="349182" y="104412"/>
                    <a:pt x="357341" y="101693"/>
                    <a:pt x="362780" y="98973"/>
                  </a:cubicBezTo>
                  <a:cubicBezTo>
                    <a:pt x="373659" y="96253"/>
                    <a:pt x="387257" y="96253"/>
                    <a:pt x="395416" y="96253"/>
                  </a:cubicBezTo>
                  <a:cubicBezTo>
                    <a:pt x="398136" y="93534"/>
                    <a:pt x="400855" y="90814"/>
                    <a:pt x="403575" y="90814"/>
                  </a:cubicBezTo>
                  <a:cubicBezTo>
                    <a:pt x="411734" y="90814"/>
                    <a:pt x="419893" y="88095"/>
                    <a:pt x="422612" y="88095"/>
                  </a:cubicBezTo>
                  <a:cubicBezTo>
                    <a:pt x="425332" y="88095"/>
                    <a:pt x="425332" y="88095"/>
                    <a:pt x="428052" y="88095"/>
                  </a:cubicBezTo>
                  <a:cubicBezTo>
                    <a:pt x="433492" y="88095"/>
                    <a:pt x="441650" y="88095"/>
                    <a:pt x="447090" y="90814"/>
                  </a:cubicBezTo>
                  <a:cubicBezTo>
                    <a:pt x="449809" y="90814"/>
                    <a:pt x="452529" y="93534"/>
                    <a:pt x="455249" y="96253"/>
                  </a:cubicBezTo>
                  <a:cubicBezTo>
                    <a:pt x="482445" y="96253"/>
                    <a:pt x="509642" y="93534"/>
                    <a:pt x="525960" y="93534"/>
                  </a:cubicBezTo>
                  <a:cubicBezTo>
                    <a:pt x="539558" y="93534"/>
                    <a:pt x="561315" y="93534"/>
                    <a:pt x="561315" y="109852"/>
                  </a:cubicBezTo>
                  <a:cubicBezTo>
                    <a:pt x="561315" y="118011"/>
                    <a:pt x="561315" y="120730"/>
                    <a:pt x="555876" y="126170"/>
                  </a:cubicBezTo>
                  <a:cubicBezTo>
                    <a:pt x="550437" y="131609"/>
                    <a:pt x="544997" y="134329"/>
                    <a:pt x="539558" y="134329"/>
                  </a:cubicBezTo>
                  <a:cubicBezTo>
                    <a:pt x="531399" y="137048"/>
                    <a:pt x="523240" y="137048"/>
                    <a:pt x="517800" y="137048"/>
                  </a:cubicBezTo>
                  <a:cubicBezTo>
                    <a:pt x="515081" y="137048"/>
                    <a:pt x="498763" y="137048"/>
                    <a:pt x="477006" y="137048"/>
                  </a:cubicBezTo>
                  <a:cubicBezTo>
                    <a:pt x="479725" y="145207"/>
                    <a:pt x="485165" y="153366"/>
                    <a:pt x="485165" y="161525"/>
                  </a:cubicBezTo>
                  <a:cubicBezTo>
                    <a:pt x="487885" y="177843"/>
                    <a:pt x="493324" y="194161"/>
                    <a:pt x="496043" y="210479"/>
                  </a:cubicBezTo>
                  <a:cubicBezTo>
                    <a:pt x="498763" y="224077"/>
                    <a:pt x="498763" y="237676"/>
                    <a:pt x="501483" y="251274"/>
                  </a:cubicBezTo>
                  <a:cubicBezTo>
                    <a:pt x="504202" y="264872"/>
                    <a:pt x="506922" y="275751"/>
                    <a:pt x="506922" y="292069"/>
                  </a:cubicBezTo>
                  <a:cubicBezTo>
                    <a:pt x="506922" y="302947"/>
                    <a:pt x="506922" y="311106"/>
                    <a:pt x="506922" y="321985"/>
                  </a:cubicBezTo>
                  <a:cubicBezTo>
                    <a:pt x="506922" y="327424"/>
                    <a:pt x="509642" y="335583"/>
                    <a:pt x="509642" y="341022"/>
                  </a:cubicBezTo>
                  <a:cubicBezTo>
                    <a:pt x="509642" y="343742"/>
                    <a:pt x="509642" y="343742"/>
                    <a:pt x="509642" y="343742"/>
                  </a:cubicBezTo>
                  <a:cubicBezTo>
                    <a:pt x="509642" y="349181"/>
                    <a:pt x="515081" y="349181"/>
                    <a:pt x="517800" y="349181"/>
                  </a:cubicBezTo>
                  <a:cubicBezTo>
                    <a:pt x="520520" y="349181"/>
                    <a:pt x="523240" y="349181"/>
                    <a:pt x="528680" y="349181"/>
                  </a:cubicBezTo>
                  <a:cubicBezTo>
                    <a:pt x="536838" y="349181"/>
                    <a:pt x="547717" y="349181"/>
                    <a:pt x="550437" y="357340"/>
                  </a:cubicBezTo>
                  <a:cubicBezTo>
                    <a:pt x="550437" y="360060"/>
                    <a:pt x="550437" y="360060"/>
                    <a:pt x="550437" y="362780"/>
                  </a:cubicBezTo>
                  <a:cubicBezTo>
                    <a:pt x="550437" y="370939"/>
                    <a:pt x="539558" y="381817"/>
                    <a:pt x="534119" y="384537"/>
                  </a:cubicBezTo>
                  <a:cubicBezTo>
                    <a:pt x="531399" y="387257"/>
                    <a:pt x="523240" y="387257"/>
                    <a:pt x="520520" y="389976"/>
                  </a:cubicBezTo>
                  <a:cubicBezTo>
                    <a:pt x="515081" y="389976"/>
                    <a:pt x="512362" y="392696"/>
                    <a:pt x="512362" y="395415"/>
                  </a:cubicBezTo>
                  <a:cubicBezTo>
                    <a:pt x="512362" y="395415"/>
                    <a:pt x="512362" y="398135"/>
                    <a:pt x="512362" y="398135"/>
                  </a:cubicBezTo>
                  <a:cubicBezTo>
                    <a:pt x="512362" y="400855"/>
                    <a:pt x="512362" y="406294"/>
                    <a:pt x="512362" y="409014"/>
                  </a:cubicBezTo>
                  <a:cubicBezTo>
                    <a:pt x="512362" y="411733"/>
                    <a:pt x="512362" y="411733"/>
                    <a:pt x="512362" y="414453"/>
                  </a:cubicBezTo>
                  <a:cubicBezTo>
                    <a:pt x="512362" y="422612"/>
                    <a:pt x="512362" y="430771"/>
                    <a:pt x="512362" y="438930"/>
                  </a:cubicBezTo>
                  <a:cubicBezTo>
                    <a:pt x="512362" y="460687"/>
                    <a:pt x="512362" y="482445"/>
                    <a:pt x="515081" y="504202"/>
                  </a:cubicBezTo>
                  <a:cubicBezTo>
                    <a:pt x="517800" y="525959"/>
                    <a:pt x="520520" y="550436"/>
                    <a:pt x="520520" y="572193"/>
                  </a:cubicBezTo>
                  <a:cubicBezTo>
                    <a:pt x="520520" y="583072"/>
                    <a:pt x="520520" y="593950"/>
                    <a:pt x="517800" y="604829"/>
                  </a:cubicBezTo>
                  <a:cubicBezTo>
                    <a:pt x="515081" y="623867"/>
                    <a:pt x="515081" y="642904"/>
                    <a:pt x="512362" y="661942"/>
                  </a:cubicBezTo>
                  <a:cubicBezTo>
                    <a:pt x="512362" y="664661"/>
                    <a:pt x="509642" y="667381"/>
                    <a:pt x="509642" y="670101"/>
                  </a:cubicBezTo>
                  <a:cubicBezTo>
                    <a:pt x="509642" y="672820"/>
                    <a:pt x="512362" y="678260"/>
                    <a:pt x="512362" y="680979"/>
                  </a:cubicBezTo>
                  <a:cubicBezTo>
                    <a:pt x="512362" y="683699"/>
                    <a:pt x="512362" y="686419"/>
                    <a:pt x="512362" y="686419"/>
                  </a:cubicBezTo>
                  <a:cubicBezTo>
                    <a:pt x="517800" y="680979"/>
                    <a:pt x="528680" y="680979"/>
                    <a:pt x="536838" y="680979"/>
                  </a:cubicBezTo>
                  <a:lnTo>
                    <a:pt x="536838" y="680979"/>
                  </a:ln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rgbClr val="666666"/>
                </a:solidFill>
              </a:endParaRPr>
            </a:p>
          </p:txBody>
        </p:sp>
        <p:sp>
          <p:nvSpPr>
            <p:cNvPr id="53" name="Freeform: Shape 52">
              <a:extLst>
                <a:ext uri="{FF2B5EF4-FFF2-40B4-BE49-F238E27FC236}">
                  <a16:creationId xmlns:a16="http://schemas.microsoft.com/office/drawing/2014/main" id="{A4566A92-B6AE-4D30-A8A5-6CAEA783F9AC}"/>
                </a:ext>
              </a:extLst>
            </p:cNvPr>
            <p:cNvSpPr/>
            <p:nvPr/>
          </p:nvSpPr>
          <p:spPr>
            <a:xfrm>
              <a:off x="9592416" y="4192158"/>
              <a:ext cx="516735" cy="761503"/>
            </a:xfrm>
            <a:custGeom>
              <a:avLst/>
              <a:gdLst>
                <a:gd name="connsiteX0" fmla="*/ 463407 w 516735"/>
                <a:gd name="connsiteY0" fmla="*/ 194161 h 761503"/>
                <a:gd name="connsiteX1" fmla="*/ 447089 w 516735"/>
                <a:gd name="connsiteY1" fmla="*/ 226797 h 761503"/>
                <a:gd name="connsiteX2" fmla="*/ 430771 w 516735"/>
                <a:gd name="connsiteY2" fmla="*/ 221357 h 761503"/>
                <a:gd name="connsiteX3" fmla="*/ 422612 w 516735"/>
                <a:gd name="connsiteY3" fmla="*/ 207759 h 761503"/>
                <a:gd name="connsiteX4" fmla="*/ 419893 w 516735"/>
                <a:gd name="connsiteY4" fmla="*/ 188722 h 761503"/>
                <a:gd name="connsiteX5" fmla="*/ 419893 w 516735"/>
                <a:gd name="connsiteY5" fmla="*/ 139768 h 761503"/>
                <a:gd name="connsiteX6" fmla="*/ 419893 w 516735"/>
                <a:gd name="connsiteY6" fmla="*/ 120730 h 761503"/>
                <a:gd name="connsiteX7" fmla="*/ 395416 w 516735"/>
                <a:gd name="connsiteY7" fmla="*/ 120730 h 761503"/>
                <a:gd name="connsiteX8" fmla="*/ 370939 w 516735"/>
                <a:gd name="connsiteY8" fmla="*/ 120730 h 761503"/>
                <a:gd name="connsiteX9" fmla="*/ 346461 w 516735"/>
                <a:gd name="connsiteY9" fmla="*/ 123450 h 761503"/>
                <a:gd name="connsiteX10" fmla="*/ 335583 w 516735"/>
                <a:gd name="connsiteY10" fmla="*/ 123450 h 761503"/>
                <a:gd name="connsiteX11" fmla="*/ 335583 w 516735"/>
                <a:gd name="connsiteY11" fmla="*/ 123450 h 761503"/>
                <a:gd name="connsiteX12" fmla="*/ 324704 w 516735"/>
                <a:gd name="connsiteY12" fmla="*/ 128889 h 761503"/>
                <a:gd name="connsiteX13" fmla="*/ 327424 w 516735"/>
                <a:gd name="connsiteY13" fmla="*/ 139768 h 761503"/>
                <a:gd name="connsiteX14" fmla="*/ 330144 w 516735"/>
                <a:gd name="connsiteY14" fmla="*/ 175123 h 761503"/>
                <a:gd name="connsiteX15" fmla="*/ 330144 w 516735"/>
                <a:gd name="connsiteY15" fmla="*/ 199600 h 761503"/>
                <a:gd name="connsiteX16" fmla="*/ 327424 w 516735"/>
                <a:gd name="connsiteY16" fmla="*/ 224077 h 761503"/>
                <a:gd name="connsiteX17" fmla="*/ 330144 w 516735"/>
                <a:gd name="connsiteY17" fmla="*/ 251274 h 761503"/>
                <a:gd name="connsiteX18" fmla="*/ 327424 w 516735"/>
                <a:gd name="connsiteY18" fmla="*/ 278470 h 761503"/>
                <a:gd name="connsiteX19" fmla="*/ 327424 w 516735"/>
                <a:gd name="connsiteY19" fmla="*/ 332864 h 761503"/>
                <a:gd name="connsiteX20" fmla="*/ 330144 w 516735"/>
                <a:gd name="connsiteY20" fmla="*/ 357340 h 761503"/>
                <a:gd name="connsiteX21" fmla="*/ 330144 w 516735"/>
                <a:gd name="connsiteY21" fmla="*/ 368219 h 761503"/>
                <a:gd name="connsiteX22" fmla="*/ 332863 w 516735"/>
                <a:gd name="connsiteY22" fmla="*/ 387257 h 761503"/>
                <a:gd name="connsiteX23" fmla="*/ 332863 w 516735"/>
                <a:gd name="connsiteY23" fmla="*/ 433491 h 761503"/>
                <a:gd name="connsiteX24" fmla="*/ 332863 w 516735"/>
                <a:gd name="connsiteY24" fmla="*/ 487884 h 761503"/>
                <a:gd name="connsiteX25" fmla="*/ 330144 w 516735"/>
                <a:gd name="connsiteY25" fmla="*/ 512361 h 761503"/>
                <a:gd name="connsiteX26" fmla="*/ 330144 w 516735"/>
                <a:gd name="connsiteY26" fmla="*/ 539557 h 761503"/>
                <a:gd name="connsiteX27" fmla="*/ 332863 w 516735"/>
                <a:gd name="connsiteY27" fmla="*/ 593950 h 761503"/>
                <a:gd name="connsiteX28" fmla="*/ 332863 w 516735"/>
                <a:gd name="connsiteY28" fmla="*/ 648343 h 761503"/>
                <a:gd name="connsiteX29" fmla="*/ 332863 w 516735"/>
                <a:gd name="connsiteY29" fmla="*/ 656502 h 761503"/>
                <a:gd name="connsiteX30" fmla="*/ 357341 w 516735"/>
                <a:gd name="connsiteY30" fmla="*/ 656502 h 761503"/>
                <a:gd name="connsiteX31" fmla="*/ 395416 w 516735"/>
                <a:gd name="connsiteY31" fmla="*/ 675540 h 761503"/>
                <a:gd name="connsiteX32" fmla="*/ 389976 w 516735"/>
                <a:gd name="connsiteY32" fmla="*/ 691858 h 761503"/>
                <a:gd name="connsiteX33" fmla="*/ 373658 w 516735"/>
                <a:gd name="connsiteY33" fmla="*/ 700017 h 761503"/>
                <a:gd name="connsiteX34" fmla="*/ 351901 w 516735"/>
                <a:gd name="connsiteY34" fmla="*/ 702737 h 761503"/>
                <a:gd name="connsiteX35" fmla="*/ 319265 w 516735"/>
                <a:gd name="connsiteY35" fmla="*/ 702737 h 761503"/>
                <a:gd name="connsiteX36" fmla="*/ 311106 w 516735"/>
                <a:gd name="connsiteY36" fmla="*/ 708176 h 761503"/>
                <a:gd name="connsiteX37" fmla="*/ 289349 w 516735"/>
                <a:gd name="connsiteY37" fmla="*/ 713615 h 761503"/>
                <a:gd name="connsiteX38" fmla="*/ 270311 w 516735"/>
                <a:gd name="connsiteY38" fmla="*/ 713615 h 761503"/>
                <a:gd name="connsiteX39" fmla="*/ 243115 w 516735"/>
                <a:gd name="connsiteY39" fmla="*/ 705456 h 761503"/>
                <a:gd name="connsiteX40" fmla="*/ 237675 w 516735"/>
                <a:gd name="connsiteY40" fmla="*/ 702737 h 761503"/>
                <a:gd name="connsiteX41" fmla="*/ 199600 w 516735"/>
                <a:gd name="connsiteY41" fmla="*/ 702737 h 761503"/>
                <a:gd name="connsiteX42" fmla="*/ 175123 w 516735"/>
                <a:gd name="connsiteY42" fmla="*/ 702737 h 761503"/>
                <a:gd name="connsiteX43" fmla="*/ 147927 w 516735"/>
                <a:gd name="connsiteY43" fmla="*/ 697297 h 761503"/>
                <a:gd name="connsiteX44" fmla="*/ 131609 w 516735"/>
                <a:gd name="connsiteY44" fmla="*/ 678260 h 761503"/>
                <a:gd name="connsiteX45" fmla="*/ 137048 w 516735"/>
                <a:gd name="connsiteY45" fmla="*/ 670101 h 761503"/>
                <a:gd name="connsiteX46" fmla="*/ 158805 w 516735"/>
                <a:gd name="connsiteY46" fmla="*/ 661942 h 761503"/>
                <a:gd name="connsiteX47" fmla="*/ 199600 w 516735"/>
                <a:gd name="connsiteY47" fmla="*/ 659222 h 761503"/>
                <a:gd name="connsiteX48" fmla="*/ 199600 w 516735"/>
                <a:gd name="connsiteY48" fmla="*/ 659222 h 761503"/>
                <a:gd name="connsiteX49" fmla="*/ 196880 w 516735"/>
                <a:gd name="connsiteY49" fmla="*/ 629306 h 761503"/>
                <a:gd name="connsiteX50" fmla="*/ 199600 w 516735"/>
                <a:gd name="connsiteY50" fmla="*/ 574913 h 761503"/>
                <a:gd name="connsiteX51" fmla="*/ 202320 w 516735"/>
                <a:gd name="connsiteY51" fmla="*/ 523239 h 761503"/>
                <a:gd name="connsiteX52" fmla="*/ 205040 w 516735"/>
                <a:gd name="connsiteY52" fmla="*/ 460687 h 761503"/>
                <a:gd name="connsiteX53" fmla="*/ 205040 w 516735"/>
                <a:gd name="connsiteY53" fmla="*/ 417173 h 761503"/>
                <a:gd name="connsiteX54" fmla="*/ 207759 w 516735"/>
                <a:gd name="connsiteY54" fmla="*/ 392696 h 761503"/>
                <a:gd name="connsiteX55" fmla="*/ 210478 w 516735"/>
                <a:gd name="connsiteY55" fmla="*/ 368219 h 761503"/>
                <a:gd name="connsiteX56" fmla="*/ 210478 w 516735"/>
                <a:gd name="connsiteY56" fmla="*/ 313826 h 761503"/>
                <a:gd name="connsiteX57" fmla="*/ 210478 w 516735"/>
                <a:gd name="connsiteY57" fmla="*/ 259433 h 761503"/>
                <a:gd name="connsiteX58" fmla="*/ 210478 w 516735"/>
                <a:gd name="connsiteY58" fmla="*/ 213199 h 761503"/>
                <a:gd name="connsiteX59" fmla="*/ 210478 w 516735"/>
                <a:gd name="connsiteY59" fmla="*/ 145207 h 761503"/>
                <a:gd name="connsiteX60" fmla="*/ 213198 w 516735"/>
                <a:gd name="connsiteY60" fmla="*/ 131609 h 761503"/>
                <a:gd name="connsiteX61" fmla="*/ 205040 w 516735"/>
                <a:gd name="connsiteY61" fmla="*/ 123450 h 761503"/>
                <a:gd name="connsiteX62" fmla="*/ 161525 w 516735"/>
                <a:gd name="connsiteY62" fmla="*/ 123450 h 761503"/>
                <a:gd name="connsiteX63" fmla="*/ 112571 w 516735"/>
                <a:gd name="connsiteY63" fmla="*/ 120730 h 761503"/>
                <a:gd name="connsiteX64" fmla="*/ 104412 w 516735"/>
                <a:gd name="connsiteY64" fmla="*/ 118011 h 761503"/>
                <a:gd name="connsiteX65" fmla="*/ 107132 w 516735"/>
                <a:gd name="connsiteY65" fmla="*/ 191441 h 761503"/>
                <a:gd name="connsiteX66" fmla="*/ 90814 w 516735"/>
                <a:gd name="connsiteY66" fmla="*/ 224077 h 761503"/>
                <a:gd name="connsiteX67" fmla="*/ 74496 w 516735"/>
                <a:gd name="connsiteY67" fmla="*/ 218638 h 761503"/>
                <a:gd name="connsiteX68" fmla="*/ 66337 w 516735"/>
                <a:gd name="connsiteY68" fmla="*/ 205040 h 761503"/>
                <a:gd name="connsiteX69" fmla="*/ 63617 w 516735"/>
                <a:gd name="connsiteY69" fmla="*/ 186002 h 761503"/>
                <a:gd name="connsiteX70" fmla="*/ 63617 w 516735"/>
                <a:gd name="connsiteY70" fmla="*/ 145207 h 761503"/>
                <a:gd name="connsiteX71" fmla="*/ 63617 w 516735"/>
                <a:gd name="connsiteY71" fmla="*/ 109852 h 761503"/>
                <a:gd name="connsiteX72" fmla="*/ 58178 w 516735"/>
                <a:gd name="connsiteY72" fmla="*/ 96253 h 761503"/>
                <a:gd name="connsiteX73" fmla="*/ 66337 w 516735"/>
                <a:gd name="connsiteY73" fmla="*/ 85375 h 761503"/>
                <a:gd name="connsiteX74" fmla="*/ 93533 w 516735"/>
                <a:gd name="connsiteY74" fmla="*/ 77216 h 761503"/>
                <a:gd name="connsiteX75" fmla="*/ 115290 w 516735"/>
                <a:gd name="connsiteY75" fmla="*/ 77216 h 761503"/>
                <a:gd name="connsiteX76" fmla="*/ 169684 w 516735"/>
                <a:gd name="connsiteY76" fmla="*/ 74496 h 761503"/>
                <a:gd name="connsiteX77" fmla="*/ 194161 w 516735"/>
                <a:gd name="connsiteY77" fmla="*/ 71776 h 761503"/>
                <a:gd name="connsiteX78" fmla="*/ 196880 w 516735"/>
                <a:gd name="connsiteY78" fmla="*/ 71776 h 761503"/>
                <a:gd name="connsiteX79" fmla="*/ 210478 w 516735"/>
                <a:gd name="connsiteY79" fmla="*/ 71776 h 761503"/>
                <a:gd name="connsiteX80" fmla="*/ 218638 w 516735"/>
                <a:gd name="connsiteY80" fmla="*/ 71776 h 761503"/>
                <a:gd name="connsiteX81" fmla="*/ 237675 w 516735"/>
                <a:gd name="connsiteY81" fmla="*/ 60898 h 761503"/>
                <a:gd name="connsiteX82" fmla="*/ 253993 w 516735"/>
                <a:gd name="connsiteY82" fmla="*/ 58178 h 761503"/>
                <a:gd name="connsiteX83" fmla="*/ 283910 w 516735"/>
                <a:gd name="connsiteY83" fmla="*/ 60898 h 761503"/>
                <a:gd name="connsiteX84" fmla="*/ 294788 w 516735"/>
                <a:gd name="connsiteY84" fmla="*/ 66337 h 761503"/>
                <a:gd name="connsiteX85" fmla="*/ 305667 w 516735"/>
                <a:gd name="connsiteY85" fmla="*/ 74496 h 761503"/>
                <a:gd name="connsiteX86" fmla="*/ 313826 w 516735"/>
                <a:gd name="connsiteY86" fmla="*/ 74496 h 761503"/>
                <a:gd name="connsiteX87" fmla="*/ 327424 w 516735"/>
                <a:gd name="connsiteY87" fmla="*/ 74496 h 761503"/>
                <a:gd name="connsiteX88" fmla="*/ 354621 w 516735"/>
                <a:gd name="connsiteY88" fmla="*/ 74496 h 761503"/>
                <a:gd name="connsiteX89" fmla="*/ 422612 w 516735"/>
                <a:gd name="connsiteY89" fmla="*/ 74496 h 761503"/>
                <a:gd name="connsiteX90" fmla="*/ 455248 w 516735"/>
                <a:gd name="connsiteY90" fmla="*/ 79936 h 761503"/>
                <a:gd name="connsiteX91" fmla="*/ 466127 w 516735"/>
                <a:gd name="connsiteY91" fmla="*/ 98973 h 761503"/>
                <a:gd name="connsiteX92" fmla="*/ 463407 w 516735"/>
                <a:gd name="connsiteY92" fmla="*/ 109852 h 761503"/>
                <a:gd name="connsiteX93" fmla="*/ 463407 w 516735"/>
                <a:gd name="connsiteY93" fmla="*/ 120730 h 761503"/>
                <a:gd name="connsiteX94" fmla="*/ 463407 w 516735"/>
                <a:gd name="connsiteY94" fmla="*/ 194161 h 761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</a:cxnLst>
              <a:rect l="l" t="t" r="r" b="b"/>
              <a:pathLst>
                <a:path w="516735" h="761503">
                  <a:moveTo>
                    <a:pt x="463407" y="194161"/>
                  </a:moveTo>
                  <a:cubicBezTo>
                    <a:pt x="463407" y="205040"/>
                    <a:pt x="463407" y="226797"/>
                    <a:pt x="447089" y="226797"/>
                  </a:cubicBezTo>
                  <a:cubicBezTo>
                    <a:pt x="438930" y="226797"/>
                    <a:pt x="436211" y="226797"/>
                    <a:pt x="430771" y="221357"/>
                  </a:cubicBezTo>
                  <a:cubicBezTo>
                    <a:pt x="425332" y="218638"/>
                    <a:pt x="422612" y="210479"/>
                    <a:pt x="422612" y="207759"/>
                  </a:cubicBezTo>
                  <a:cubicBezTo>
                    <a:pt x="419893" y="199600"/>
                    <a:pt x="419893" y="194161"/>
                    <a:pt x="419893" y="188722"/>
                  </a:cubicBezTo>
                  <a:cubicBezTo>
                    <a:pt x="419893" y="183282"/>
                    <a:pt x="419893" y="147927"/>
                    <a:pt x="419893" y="139768"/>
                  </a:cubicBezTo>
                  <a:cubicBezTo>
                    <a:pt x="419893" y="134329"/>
                    <a:pt x="419893" y="128889"/>
                    <a:pt x="419893" y="120730"/>
                  </a:cubicBezTo>
                  <a:cubicBezTo>
                    <a:pt x="411734" y="120730"/>
                    <a:pt x="403574" y="120730"/>
                    <a:pt x="395416" y="120730"/>
                  </a:cubicBezTo>
                  <a:cubicBezTo>
                    <a:pt x="387256" y="120730"/>
                    <a:pt x="379098" y="120730"/>
                    <a:pt x="370939" y="120730"/>
                  </a:cubicBezTo>
                  <a:cubicBezTo>
                    <a:pt x="362780" y="120730"/>
                    <a:pt x="354621" y="123450"/>
                    <a:pt x="346461" y="123450"/>
                  </a:cubicBezTo>
                  <a:cubicBezTo>
                    <a:pt x="343742" y="123450"/>
                    <a:pt x="341023" y="123450"/>
                    <a:pt x="335583" y="123450"/>
                  </a:cubicBezTo>
                  <a:cubicBezTo>
                    <a:pt x="335583" y="123450"/>
                    <a:pt x="335583" y="123450"/>
                    <a:pt x="335583" y="123450"/>
                  </a:cubicBezTo>
                  <a:cubicBezTo>
                    <a:pt x="327424" y="123450"/>
                    <a:pt x="324704" y="126170"/>
                    <a:pt x="324704" y="128889"/>
                  </a:cubicBezTo>
                  <a:cubicBezTo>
                    <a:pt x="324704" y="131609"/>
                    <a:pt x="324704" y="137048"/>
                    <a:pt x="327424" y="139768"/>
                  </a:cubicBezTo>
                  <a:cubicBezTo>
                    <a:pt x="330144" y="147927"/>
                    <a:pt x="330144" y="166964"/>
                    <a:pt x="330144" y="175123"/>
                  </a:cubicBezTo>
                  <a:cubicBezTo>
                    <a:pt x="330144" y="183282"/>
                    <a:pt x="330144" y="191441"/>
                    <a:pt x="330144" y="199600"/>
                  </a:cubicBezTo>
                  <a:cubicBezTo>
                    <a:pt x="330144" y="207759"/>
                    <a:pt x="327424" y="215918"/>
                    <a:pt x="327424" y="224077"/>
                  </a:cubicBezTo>
                  <a:cubicBezTo>
                    <a:pt x="327424" y="232236"/>
                    <a:pt x="330144" y="243115"/>
                    <a:pt x="330144" y="251274"/>
                  </a:cubicBezTo>
                  <a:cubicBezTo>
                    <a:pt x="330144" y="259433"/>
                    <a:pt x="330144" y="267592"/>
                    <a:pt x="327424" y="278470"/>
                  </a:cubicBezTo>
                  <a:cubicBezTo>
                    <a:pt x="327424" y="294788"/>
                    <a:pt x="327424" y="313826"/>
                    <a:pt x="327424" y="332864"/>
                  </a:cubicBezTo>
                  <a:cubicBezTo>
                    <a:pt x="327424" y="341022"/>
                    <a:pt x="327424" y="349181"/>
                    <a:pt x="330144" y="357340"/>
                  </a:cubicBezTo>
                  <a:cubicBezTo>
                    <a:pt x="330144" y="360060"/>
                    <a:pt x="330144" y="365499"/>
                    <a:pt x="330144" y="368219"/>
                  </a:cubicBezTo>
                  <a:cubicBezTo>
                    <a:pt x="330144" y="373658"/>
                    <a:pt x="332863" y="384537"/>
                    <a:pt x="332863" y="387257"/>
                  </a:cubicBezTo>
                  <a:cubicBezTo>
                    <a:pt x="332863" y="406294"/>
                    <a:pt x="332863" y="414453"/>
                    <a:pt x="332863" y="433491"/>
                  </a:cubicBezTo>
                  <a:cubicBezTo>
                    <a:pt x="332863" y="452528"/>
                    <a:pt x="335583" y="468846"/>
                    <a:pt x="332863" y="487884"/>
                  </a:cubicBezTo>
                  <a:cubicBezTo>
                    <a:pt x="332863" y="496043"/>
                    <a:pt x="330144" y="504202"/>
                    <a:pt x="330144" y="512361"/>
                  </a:cubicBezTo>
                  <a:cubicBezTo>
                    <a:pt x="330144" y="520520"/>
                    <a:pt x="330144" y="531398"/>
                    <a:pt x="330144" y="539557"/>
                  </a:cubicBezTo>
                  <a:cubicBezTo>
                    <a:pt x="330144" y="558595"/>
                    <a:pt x="330144" y="574913"/>
                    <a:pt x="332863" y="593950"/>
                  </a:cubicBezTo>
                  <a:cubicBezTo>
                    <a:pt x="332863" y="610268"/>
                    <a:pt x="332863" y="632026"/>
                    <a:pt x="332863" y="648343"/>
                  </a:cubicBezTo>
                  <a:cubicBezTo>
                    <a:pt x="332863" y="651063"/>
                    <a:pt x="332863" y="653783"/>
                    <a:pt x="332863" y="656502"/>
                  </a:cubicBezTo>
                  <a:cubicBezTo>
                    <a:pt x="343742" y="656502"/>
                    <a:pt x="351901" y="656502"/>
                    <a:pt x="357341" y="656502"/>
                  </a:cubicBezTo>
                  <a:cubicBezTo>
                    <a:pt x="370939" y="656502"/>
                    <a:pt x="395416" y="659222"/>
                    <a:pt x="395416" y="675540"/>
                  </a:cubicBezTo>
                  <a:cubicBezTo>
                    <a:pt x="395416" y="683699"/>
                    <a:pt x="392696" y="686419"/>
                    <a:pt x="389976" y="691858"/>
                  </a:cubicBezTo>
                  <a:cubicBezTo>
                    <a:pt x="384537" y="697297"/>
                    <a:pt x="379098" y="700017"/>
                    <a:pt x="373658" y="700017"/>
                  </a:cubicBezTo>
                  <a:cubicBezTo>
                    <a:pt x="365499" y="702737"/>
                    <a:pt x="357341" y="702737"/>
                    <a:pt x="351901" y="702737"/>
                  </a:cubicBezTo>
                  <a:cubicBezTo>
                    <a:pt x="349181" y="702737"/>
                    <a:pt x="335583" y="702737"/>
                    <a:pt x="319265" y="702737"/>
                  </a:cubicBezTo>
                  <a:cubicBezTo>
                    <a:pt x="316546" y="705456"/>
                    <a:pt x="313826" y="705456"/>
                    <a:pt x="311106" y="708176"/>
                  </a:cubicBezTo>
                  <a:cubicBezTo>
                    <a:pt x="302948" y="713615"/>
                    <a:pt x="297508" y="713615"/>
                    <a:pt x="289349" y="713615"/>
                  </a:cubicBezTo>
                  <a:cubicBezTo>
                    <a:pt x="283910" y="713615"/>
                    <a:pt x="278470" y="713615"/>
                    <a:pt x="270311" y="713615"/>
                  </a:cubicBezTo>
                  <a:cubicBezTo>
                    <a:pt x="259433" y="713615"/>
                    <a:pt x="251273" y="710895"/>
                    <a:pt x="243115" y="705456"/>
                  </a:cubicBezTo>
                  <a:cubicBezTo>
                    <a:pt x="240395" y="705456"/>
                    <a:pt x="237675" y="702737"/>
                    <a:pt x="237675" y="702737"/>
                  </a:cubicBezTo>
                  <a:cubicBezTo>
                    <a:pt x="224077" y="702737"/>
                    <a:pt x="213198" y="702737"/>
                    <a:pt x="199600" y="702737"/>
                  </a:cubicBezTo>
                  <a:cubicBezTo>
                    <a:pt x="191441" y="702737"/>
                    <a:pt x="183282" y="702737"/>
                    <a:pt x="175123" y="702737"/>
                  </a:cubicBezTo>
                  <a:cubicBezTo>
                    <a:pt x="166965" y="702737"/>
                    <a:pt x="156085" y="702737"/>
                    <a:pt x="147927" y="697297"/>
                  </a:cubicBezTo>
                  <a:cubicBezTo>
                    <a:pt x="139768" y="694578"/>
                    <a:pt x="131609" y="680979"/>
                    <a:pt x="131609" y="678260"/>
                  </a:cubicBezTo>
                  <a:cubicBezTo>
                    <a:pt x="131609" y="675540"/>
                    <a:pt x="131609" y="672820"/>
                    <a:pt x="137048" y="670101"/>
                  </a:cubicBezTo>
                  <a:cubicBezTo>
                    <a:pt x="142487" y="667381"/>
                    <a:pt x="153366" y="664661"/>
                    <a:pt x="158805" y="661942"/>
                  </a:cubicBezTo>
                  <a:cubicBezTo>
                    <a:pt x="175123" y="659222"/>
                    <a:pt x="191441" y="659222"/>
                    <a:pt x="199600" y="659222"/>
                  </a:cubicBezTo>
                  <a:lnTo>
                    <a:pt x="199600" y="659222"/>
                  </a:lnTo>
                  <a:cubicBezTo>
                    <a:pt x="199600" y="648343"/>
                    <a:pt x="196880" y="640184"/>
                    <a:pt x="196880" y="629306"/>
                  </a:cubicBezTo>
                  <a:cubicBezTo>
                    <a:pt x="196880" y="612988"/>
                    <a:pt x="196880" y="591231"/>
                    <a:pt x="199600" y="574913"/>
                  </a:cubicBezTo>
                  <a:cubicBezTo>
                    <a:pt x="199600" y="558595"/>
                    <a:pt x="199600" y="539557"/>
                    <a:pt x="202320" y="523239"/>
                  </a:cubicBezTo>
                  <a:cubicBezTo>
                    <a:pt x="202320" y="501482"/>
                    <a:pt x="205040" y="482445"/>
                    <a:pt x="205040" y="460687"/>
                  </a:cubicBezTo>
                  <a:cubicBezTo>
                    <a:pt x="205040" y="447089"/>
                    <a:pt x="205040" y="430771"/>
                    <a:pt x="205040" y="417173"/>
                  </a:cubicBezTo>
                  <a:cubicBezTo>
                    <a:pt x="205040" y="409014"/>
                    <a:pt x="207759" y="400855"/>
                    <a:pt x="207759" y="392696"/>
                  </a:cubicBezTo>
                  <a:cubicBezTo>
                    <a:pt x="207759" y="384537"/>
                    <a:pt x="210478" y="376378"/>
                    <a:pt x="210478" y="368219"/>
                  </a:cubicBezTo>
                  <a:cubicBezTo>
                    <a:pt x="210478" y="351901"/>
                    <a:pt x="210478" y="332864"/>
                    <a:pt x="210478" y="313826"/>
                  </a:cubicBezTo>
                  <a:cubicBezTo>
                    <a:pt x="210478" y="294788"/>
                    <a:pt x="210478" y="275751"/>
                    <a:pt x="210478" y="259433"/>
                  </a:cubicBezTo>
                  <a:cubicBezTo>
                    <a:pt x="210478" y="243115"/>
                    <a:pt x="210478" y="226797"/>
                    <a:pt x="210478" y="213199"/>
                  </a:cubicBezTo>
                  <a:cubicBezTo>
                    <a:pt x="210478" y="194161"/>
                    <a:pt x="210478" y="164245"/>
                    <a:pt x="210478" y="145207"/>
                  </a:cubicBezTo>
                  <a:cubicBezTo>
                    <a:pt x="210478" y="139768"/>
                    <a:pt x="213198" y="134329"/>
                    <a:pt x="213198" y="131609"/>
                  </a:cubicBezTo>
                  <a:cubicBezTo>
                    <a:pt x="213198" y="126170"/>
                    <a:pt x="207759" y="123450"/>
                    <a:pt x="205040" y="123450"/>
                  </a:cubicBezTo>
                  <a:cubicBezTo>
                    <a:pt x="199600" y="123450"/>
                    <a:pt x="166965" y="123450"/>
                    <a:pt x="161525" y="123450"/>
                  </a:cubicBezTo>
                  <a:cubicBezTo>
                    <a:pt x="145207" y="123450"/>
                    <a:pt x="128889" y="123450"/>
                    <a:pt x="112571" y="120730"/>
                  </a:cubicBezTo>
                  <a:cubicBezTo>
                    <a:pt x="109852" y="120730"/>
                    <a:pt x="107132" y="120730"/>
                    <a:pt x="104412" y="118011"/>
                  </a:cubicBezTo>
                  <a:cubicBezTo>
                    <a:pt x="107132" y="137048"/>
                    <a:pt x="107132" y="172404"/>
                    <a:pt x="107132" y="191441"/>
                  </a:cubicBezTo>
                  <a:cubicBezTo>
                    <a:pt x="107132" y="202320"/>
                    <a:pt x="107132" y="224077"/>
                    <a:pt x="90814" y="224077"/>
                  </a:cubicBezTo>
                  <a:cubicBezTo>
                    <a:pt x="82655" y="224077"/>
                    <a:pt x="79935" y="221357"/>
                    <a:pt x="74496" y="218638"/>
                  </a:cubicBezTo>
                  <a:cubicBezTo>
                    <a:pt x="69057" y="215918"/>
                    <a:pt x="66337" y="210479"/>
                    <a:pt x="66337" y="205040"/>
                  </a:cubicBezTo>
                  <a:cubicBezTo>
                    <a:pt x="63617" y="196881"/>
                    <a:pt x="63617" y="191441"/>
                    <a:pt x="63617" y="186002"/>
                  </a:cubicBezTo>
                  <a:cubicBezTo>
                    <a:pt x="63617" y="180563"/>
                    <a:pt x="63617" y="153366"/>
                    <a:pt x="63617" y="145207"/>
                  </a:cubicBezTo>
                  <a:cubicBezTo>
                    <a:pt x="63617" y="134329"/>
                    <a:pt x="63617" y="120730"/>
                    <a:pt x="63617" y="109852"/>
                  </a:cubicBezTo>
                  <a:cubicBezTo>
                    <a:pt x="60897" y="104412"/>
                    <a:pt x="58178" y="101693"/>
                    <a:pt x="58178" y="96253"/>
                  </a:cubicBezTo>
                  <a:cubicBezTo>
                    <a:pt x="58178" y="93534"/>
                    <a:pt x="60897" y="88095"/>
                    <a:pt x="66337" y="85375"/>
                  </a:cubicBezTo>
                  <a:cubicBezTo>
                    <a:pt x="74496" y="79936"/>
                    <a:pt x="77215" y="77216"/>
                    <a:pt x="93533" y="77216"/>
                  </a:cubicBezTo>
                  <a:cubicBezTo>
                    <a:pt x="101692" y="77216"/>
                    <a:pt x="109852" y="77216"/>
                    <a:pt x="115290" y="77216"/>
                  </a:cubicBezTo>
                  <a:cubicBezTo>
                    <a:pt x="134328" y="77216"/>
                    <a:pt x="150646" y="77216"/>
                    <a:pt x="169684" y="74496"/>
                  </a:cubicBezTo>
                  <a:cubicBezTo>
                    <a:pt x="177843" y="74496"/>
                    <a:pt x="186002" y="71776"/>
                    <a:pt x="194161" y="71776"/>
                  </a:cubicBezTo>
                  <a:cubicBezTo>
                    <a:pt x="194161" y="71776"/>
                    <a:pt x="196880" y="71776"/>
                    <a:pt x="196880" y="71776"/>
                  </a:cubicBezTo>
                  <a:cubicBezTo>
                    <a:pt x="199600" y="71776"/>
                    <a:pt x="205040" y="71776"/>
                    <a:pt x="210478" y="71776"/>
                  </a:cubicBezTo>
                  <a:cubicBezTo>
                    <a:pt x="213198" y="71776"/>
                    <a:pt x="215918" y="71776"/>
                    <a:pt x="218638" y="71776"/>
                  </a:cubicBezTo>
                  <a:cubicBezTo>
                    <a:pt x="224077" y="69057"/>
                    <a:pt x="229516" y="63618"/>
                    <a:pt x="237675" y="60898"/>
                  </a:cubicBezTo>
                  <a:cubicBezTo>
                    <a:pt x="243115" y="58178"/>
                    <a:pt x="248554" y="58178"/>
                    <a:pt x="253993" y="58178"/>
                  </a:cubicBezTo>
                  <a:cubicBezTo>
                    <a:pt x="264872" y="58178"/>
                    <a:pt x="273031" y="58178"/>
                    <a:pt x="283910" y="60898"/>
                  </a:cubicBezTo>
                  <a:cubicBezTo>
                    <a:pt x="286629" y="60898"/>
                    <a:pt x="292068" y="63618"/>
                    <a:pt x="294788" y="66337"/>
                  </a:cubicBezTo>
                  <a:cubicBezTo>
                    <a:pt x="297508" y="69057"/>
                    <a:pt x="302948" y="71776"/>
                    <a:pt x="305667" y="74496"/>
                  </a:cubicBezTo>
                  <a:cubicBezTo>
                    <a:pt x="308386" y="74496"/>
                    <a:pt x="311106" y="74496"/>
                    <a:pt x="313826" y="74496"/>
                  </a:cubicBezTo>
                  <a:cubicBezTo>
                    <a:pt x="319265" y="74496"/>
                    <a:pt x="321985" y="74496"/>
                    <a:pt x="327424" y="74496"/>
                  </a:cubicBezTo>
                  <a:cubicBezTo>
                    <a:pt x="335583" y="74496"/>
                    <a:pt x="346461" y="74496"/>
                    <a:pt x="354621" y="74496"/>
                  </a:cubicBezTo>
                  <a:cubicBezTo>
                    <a:pt x="376378" y="74496"/>
                    <a:pt x="400855" y="74496"/>
                    <a:pt x="422612" y="74496"/>
                  </a:cubicBezTo>
                  <a:cubicBezTo>
                    <a:pt x="433491" y="74496"/>
                    <a:pt x="447089" y="74496"/>
                    <a:pt x="455248" y="79936"/>
                  </a:cubicBezTo>
                  <a:cubicBezTo>
                    <a:pt x="460687" y="82655"/>
                    <a:pt x="466127" y="90814"/>
                    <a:pt x="466127" y="98973"/>
                  </a:cubicBezTo>
                  <a:cubicBezTo>
                    <a:pt x="466127" y="101693"/>
                    <a:pt x="466127" y="107132"/>
                    <a:pt x="463407" y="109852"/>
                  </a:cubicBezTo>
                  <a:cubicBezTo>
                    <a:pt x="463407" y="112571"/>
                    <a:pt x="463407" y="112571"/>
                    <a:pt x="463407" y="120730"/>
                  </a:cubicBezTo>
                  <a:cubicBezTo>
                    <a:pt x="463407" y="142488"/>
                    <a:pt x="463407" y="172404"/>
                    <a:pt x="463407" y="194161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rgbClr val="666666"/>
                </a:solidFill>
              </a:endParaRPr>
            </a:p>
          </p:txBody>
        </p:sp>
      </p:grp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41BC387F-0885-43F6-85BD-C73BA9398781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381000" y="1384628"/>
            <a:ext cx="11430000" cy="463517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07234003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Fun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10">
            <a:extLst>
              <a:ext uri="{FF2B5EF4-FFF2-40B4-BE49-F238E27FC236}">
                <a16:creationId xmlns:a16="http://schemas.microsoft.com/office/drawing/2014/main" id="{655B1FCA-4D49-4122-B6E9-D550AA0C5E76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2"/>
            <a:ext cx="5266036" cy="6857999"/>
          </a:xfrm>
          <a:custGeom>
            <a:avLst/>
            <a:gdLst>
              <a:gd name="connsiteX0" fmla="*/ 0 w 5266036"/>
              <a:gd name="connsiteY0" fmla="*/ 0 h 6857999"/>
              <a:gd name="connsiteX1" fmla="*/ 3014696 w 5266036"/>
              <a:gd name="connsiteY1" fmla="*/ 0 h 6857999"/>
              <a:gd name="connsiteX2" fmla="*/ 3040982 w 5266036"/>
              <a:gd name="connsiteY2" fmla="*/ 11408 h 6857999"/>
              <a:gd name="connsiteX3" fmla="*/ 5250901 w 5266036"/>
              <a:gd name="connsiteY3" fmla="*/ 4085922 h 6857999"/>
              <a:gd name="connsiteX4" fmla="*/ 3435696 w 5266036"/>
              <a:gd name="connsiteY4" fmla="*/ 6839477 h 6857999"/>
              <a:gd name="connsiteX5" fmla="*/ 3398838 w 5266036"/>
              <a:gd name="connsiteY5" fmla="*/ 6857999 h 6857999"/>
              <a:gd name="connsiteX6" fmla="*/ 0 w 5266036"/>
              <a:gd name="connsiteY6" fmla="*/ 6857999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266036" h="6857999">
                <a:moveTo>
                  <a:pt x="0" y="0"/>
                </a:moveTo>
                <a:lnTo>
                  <a:pt x="3014696" y="0"/>
                </a:lnTo>
                <a:lnTo>
                  <a:pt x="3040982" y="11408"/>
                </a:lnTo>
                <a:cubicBezTo>
                  <a:pt x="4562919" y="717837"/>
                  <a:pt x="5390071" y="2397951"/>
                  <a:pt x="5250901" y="4085922"/>
                </a:cubicBezTo>
                <a:cubicBezTo>
                  <a:pt x="5138669" y="5484335"/>
                  <a:pt x="4361602" y="6343612"/>
                  <a:pt x="3435696" y="6839477"/>
                </a:cubicBezTo>
                <a:lnTo>
                  <a:pt x="3398838" y="6857999"/>
                </a:lnTo>
                <a:lnTo>
                  <a:pt x="0" y="6857999"/>
                </a:lnTo>
                <a:close/>
              </a:path>
            </a:pathLst>
          </a:custGeom>
          <a:solidFill>
            <a:srgbClr val="D9D9D9"/>
          </a:solidFill>
        </p:spPr>
        <p:txBody>
          <a:bodyPr wrap="square" tIns="3657600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Arial" panose="020B0604020202020204" pitchFamily="34" charset="0"/>
              <a:buNone/>
              <a:tabLst/>
              <a:defRPr sz="16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dirty="0"/>
              <a:t>Click icon to insert picture</a:t>
            </a:r>
            <a:br>
              <a:rPr dirty="0"/>
            </a:br>
            <a:r>
              <a:rPr dirty="0"/>
              <a:t>(minimum recommended size for </a:t>
            </a:r>
            <a:br>
              <a:rPr dirty="0"/>
            </a:br>
            <a:r>
              <a:rPr dirty="0"/>
              <a:t>half slide image is 640 x 720 pixels)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76608E2E-E744-4878-A234-60F6B6711C8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096000" y="3306349"/>
            <a:ext cx="5715000" cy="731520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2000"/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t>Subtitle or Presenter Name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3534CB02-81D9-4803-9899-8E6A2EABA97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0" y="457200"/>
            <a:ext cx="5715000" cy="2565401"/>
          </a:xfrm>
        </p:spPr>
        <p:txBody>
          <a:bodyPr/>
          <a:lstStyle>
            <a:lvl1pPr>
              <a:lnSpc>
                <a:spcPct val="82000"/>
              </a:lnSpc>
              <a:defRPr sz="6600" b="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0A6D84BC-9F4C-46D1-BCFD-02C11A706D43}"/>
              </a:ext>
            </a:extLst>
          </p:cNvPr>
          <p:cNvGrpSpPr>
            <a:grpSpLocks noChangeAspect="1"/>
          </p:cNvGrpSpPr>
          <p:nvPr/>
        </p:nvGrpSpPr>
        <p:grpSpPr>
          <a:xfrm>
            <a:off x="7025923" y="5543531"/>
            <a:ext cx="2286000" cy="880288"/>
            <a:chOff x="2078951" y="1888610"/>
            <a:chExt cx="8030200" cy="3092248"/>
          </a:xfrm>
          <a:solidFill>
            <a:srgbClr val="4F2170"/>
          </a:solidFill>
        </p:grpSpPr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5272DA5A-B0A1-4433-AF19-58D29499701D}"/>
                </a:ext>
              </a:extLst>
            </p:cNvPr>
            <p:cNvSpPr/>
            <p:nvPr/>
          </p:nvSpPr>
          <p:spPr>
            <a:xfrm>
              <a:off x="2078951" y="2872694"/>
              <a:ext cx="951880" cy="652717"/>
            </a:xfrm>
            <a:custGeom>
              <a:avLst/>
              <a:gdLst>
                <a:gd name="connsiteX0" fmla="*/ 903041 w 951880"/>
                <a:gd name="connsiteY0" fmla="*/ 330574 h 652717"/>
                <a:gd name="connsiteX1" fmla="*/ 780656 w 951880"/>
                <a:gd name="connsiteY1" fmla="*/ 379528 h 652717"/>
                <a:gd name="connsiteX2" fmla="*/ 598439 w 951880"/>
                <a:gd name="connsiteY2" fmla="*/ 311537 h 652717"/>
                <a:gd name="connsiteX3" fmla="*/ 505970 w 951880"/>
                <a:gd name="connsiteY3" fmla="*/ 164675 h 652717"/>
                <a:gd name="connsiteX4" fmla="*/ 266640 w 951880"/>
                <a:gd name="connsiteY4" fmla="*/ 61329 h 652717"/>
                <a:gd name="connsiteX5" fmla="*/ 103461 w 951880"/>
                <a:gd name="connsiteY5" fmla="*/ 458398 h 652717"/>
                <a:gd name="connsiteX6" fmla="*/ 756179 w 951880"/>
                <a:gd name="connsiteY6" fmla="*/ 485595 h 652717"/>
                <a:gd name="connsiteX7" fmla="*/ 903041 w 951880"/>
                <a:gd name="connsiteY7" fmla="*/ 330574 h 6527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51880" h="652717">
                  <a:moveTo>
                    <a:pt x="903041" y="330574"/>
                  </a:moveTo>
                  <a:cubicBezTo>
                    <a:pt x="867685" y="363210"/>
                    <a:pt x="813292" y="374089"/>
                    <a:pt x="780656" y="379528"/>
                  </a:cubicBezTo>
                  <a:cubicBezTo>
                    <a:pt x="712664" y="387687"/>
                    <a:pt x="641953" y="365930"/>
                    <a:pt x="598439" y="311537"/>
                  </a:cubicBezTo>
                  <a:cubicBezTo>
                    <a:pt x="563083" y="268022"/>
                    <a:pt x="544046" y="210910"/>
                    <a:pt x="505970" y="164675"/>
                  </a:cubicBezTo>
                  <a:cubicBezTo>
                    <a:pt x="448858" y="93964"/>
                    <a:pt x="359109" y="45011"/>
                    <a:pt x="266640" y="61329"/>
                  </a:cubicBezTo>
                  <a:cubicBezTo>
                    <a:pt x="81704" y="93964"/>
                    <a:pt x="114" y="308817"/>
                    <a:pt x="103461" y="458398"/>
                  </a:cubicBezTo>
                  <a:cubicBezTo>
                    <a:pt x="253042" y="670531"/>
                    <a:pt x="584840" y="635176"/>
                    <a:pt x="756179" y="485595"/>
                  </a:cubicBezTo>
                  <a:cubicBezTo>
                    <a:pt x="813292" y="442080"/>
                    <a:pt x="862246" y="390407"/>
                    <a:pt x="903041" y="330574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010AB75D-54FA-4127-838D-A2CDC911B648}"/>
                </a:ext>
              </a:extLst>
            </p:cNvPr>
            <p:cNvSpPr/>
            <p:nvPr/>
          </p:nvSpPr>
          <p:spPr>
            <a:xfrm>
              <a:off x="9151831" y="2872694"/>
              <a:ext cx="951880" cy="652717"/>
            </a:xfrm>
            <a:custGeom>
              <a:avLst/>
              <a:gdLst>
                <a:gd name="connsiteX0" fmla="*/ 58178 w 951880"/>
                <a:gd name="connsiteY0" fmla="*/ 330574 h 652717"/>
                <a:gd name="connsiteX1" fmla="*/ 180563 w 951880"/>
                <a:gd name="connsiteY1" fmla="*/ 379528 h 652717"/>
                <a:gd name="connsiteX2" fmla="*/ 362780 w 951880"/>
                <a:gd name="connsiteY2" fmla="*/ 311537 h 652717"/>
                <a:gd name="connsiteX3" fmla="*/ 455249 w 951880"/>
                <a:gd name="connsiteY3" fmla="*/ 164675 h 652717"/>
                <a:gd name="connsiteX4" fmla="*/ 694578 w 951880"/>
                <a:gd name="connsiteY4" fmla="*/ 61329 h 652717"/>
                <a:gd name="connsiteX5" fmla="*/ 857758 w 951880"/>
                <a:gd name="connsiteY5" fmla="*/ 458398 h 652717"/>
                <a:gd name="connsiteX6" fmla="*/ 205040 w 951880"/>
                <a:gd name="connsiteY6" fmla="*/ 485595 h 652717"/>
                <a:gd name="connsiteX7" fmla="*/ 58178 w 951880"/>
                <a:gd name="connsiteY7" fmla="*/ 330574 h 6527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51880" h="652717">
                  <a:moveTo>
                    <a:pt x="58178" y="330574"/>
                  </a:moveTo>
                  <a:cubicBezTo>
                    <a:pt x="96253" y="363210"/>
                    <a:pt x="147927" y="374089"/>
                    <a:pt x="180563" y="379528"/>
                  </a:cubicBezTo>
                  <a:cubicBezTo>
                    <a:pt x="248554" y="387687"/>
                    <a:pt x="319266" y="365930"/>
                    <a:pt x="362780" y="311537"/>
                  </a:cubicBezTo>
                  <a:cubicBezTo>
                    <a:pt x="398136" y="268022"/>
                    <a:pt x="417174" y="210910"/>
                    <a:pt x="455249" y="164675"/>
                  </a:cubicBezTo>
                  <a:cubicBezTo>
                    <a:pt x="512362" y="93964"/>
                    <a:pt x="602110" y="45011"/>
                    <a:pt x="694578" y="61329"/>
                  </a:cubicBezTo>
                  <a:cubicBezTo>
                    <a:pt x="879515" y="93964"/>
                    <a:pt x="961105" y="308817"/>
                    <a:pt x="857758" y="458398"/>
                  </a:cubicBezTo>
                  <a:cubicBezTo>
                    <a:pt x="708176" y="670531"/>
                    <a:pt x="376379" y="635176"/>
                    <a:pt x="205040" y="485595"/>
                  </a:cubicBezTo>
                  <a:cubicBezTo>
                    <a:pt x="150646" y="442080"/>
                    <a:pt x="101693" y="390407"/>
                    <a:pt x="58178" y="330574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C73C4E44-0B9D-4D7D-A72A-E10AA3E25788}"/>
                </a:ext>
              </a:extLst>
            </p:cNvPr>
            <p:cNvSpPr/>
            <p:nvPr/>
          </p:nvSpPr>
          <p:spPr>
            <a:xfrm>
              <a:off x="8001294" y="2010994"/>
              <a:ext cx="734308" cy="299162"/>
            </a:xfrm>
            <a:custGeom>
              <a:avLst/>
              <a:gdLst>
                <a:gd name="connsiteX0" fmla="*/ 596792 w 734307"/>
                <a:gd name="connsiteY0" fmla="*/ 58178 h 299162"/>
                <a:gd name="connsiteX1" fmla="*/ 148048 w 734307"/>
                <a:gd name="connsiteY1" fmla="*/ 58178 h 299162"/>
                <a:gd name="connsiteX2" fmla="*/ 58299 w 734307"/>
                <a:gd name="connsiteY2" fmla="*/ 150646 h 299162"/>
                <a:gd name="connsiteX3" fmla="*/ 148048 w 734307"/>
                <a:gd name="connsiteY3" fmla="*/ 251274 h 299162"/>
                <a:gd name="connsiteX4" fmla="*/ 596792 w 734307"/>
                <a:gd name="connsiteY4" fmla="*/ 251274 h 299162"/>
                <a:gd name="connsiteX5" fmla="*/ 686541 w 734307"/>
                <a:gd name="connsiteY5" fmla="*/ 158805 h 299162"/>
                <a:gd name="connsiteX6" fmla="*/ 596792 w 734307"/>
                <a:gd name="connsiteY6" fmla="*/ 58178 h 2991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34307" h="299162">
                  <a:moveTo>
                    <a:pt x="596792" y="58178"/>
                  </a:moveTo>
                  <a:cubicBezTo>
                    <a:pt x="591353" y="58178"/>
                    <a:pt x="153487" y="58178"/>
                    <a:pt x="148048" y="58178"/>
                  </a:cubicBezTo>
                  <a:cubicBezTo>
                    <a:pt x="99094" y="60898"/>
                    <a:pt x="61019" y="104412"/>
                    <a:pt x="58299" y="150646"/>
                  </a:cubicBezTo>
                  <a:cubicBezTo>
                    <a:pt x="55580" y="199600"/>
                    <a:pt x="99094" y="248554"/>
                    <a:pt x="148048" y="251274"/>
                  </a:cubicBezTo>
                  <a:cubicBezTo>
                    <a:pt x="153487" y="251274"/>
                    <a:pt x="591353" y="251274"/>
                    <a:pt x="596792" y="251274"/>
                  </a:cubicBezTo>
                  <a:cubicBezTo>
                    <a:pt x="645746" y="248554"/>
                    <a:pt x="683821" y="205040"/>
                    <a:pt x="686541" y="158805"/>
                  </a:cubicBezTo>
                  <a:cubicBezTo>
                    <a:pt x="689260" y="109852"/>
                    <a:pt x="648465" y="60898"/>
                    <a:pt x="596792" y="58178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5F17AEE1-933D-430A-938B-044F9EEF7E0F}"/>
                </a:ext>
              </a:extLst>
            </p:cNvPr>
            <p:cNvSpPr/>
            <p:nvPr/>
          </p:nvSpPr>
          <p:spPr>
            <a:xfrm>
              <a:off x="4920042" y="2277520"/>
              <a:ext cx="1006274" cy="951879"/>
            </a:xfrm>
            <a:custGeom>
              <a:avLst/>
              <a:gdLst>
                <a:gd name="connsiteX0" fmla="*/ 884954 w 1006273"/>
                <a:gd name="connsiteY0" fmla="*/ 746251 h 951879"/>
                <a:gd name="connsiteX1" fmla="*/ 874076 w 1006273"/>
                <a:gd name="connsiteY1" fmla="*/ 670101 h 951879"/>
                <a:gd name="connsiteX2" fmla="*/ 874076 w 1006273"/>
                <a:gd name="connsiteY2" fmla="*/ 536837 h 951879"/>
                <a:gd name="connsiteX3" fmla="*/ 689139 w 1006273"/>
                <a:gd name="connsiteY3" fmla="*/ 88094 h 951879"/>
                <a:gd name="connsiteX4" fmla="*/ 428052 w 1006273"/>
                <a:gd name="connsiteY4" fmla="*/ 253993 h 951879"/>
                <a:gd name="connsiteX5" fmla="*/ 196881 w 1006273"/>
                <a:gd name="connsiteY5" fmla="*/ 58178 h 951879"/>
                <a:gd name="connsiteX6" fmla="*/ 58178 w 1006273"/>
                <a:gd name="connsiteY6" fmla="*/ 128889 h 951879"/>
                <a:gd name="connsiteX7" fmla="*/ 142488 w 1006273"/>
                <a:gd name="connsiteY7" fmla="*/ 273031 h 951879"/>
                <a:gd name="connsiteX8" fmla="*/ 142488 w 1006273"/>
                <a:gd name="connsiteY8" fmla="*/ 757130 h 951879"/>
                <a:gd name="connsiteX9" fmla="*/ 283910 w 1006273"/>
                <a:gd name="connsiteY9" fmla="*/ 895832 h 951879"/>
                <a:gd name="connsiteX10" fmla="*/ 428052 w 1006273"/>
                <a:gd name="connsiteY10" fmla="*/ 757130 h 951879"/>
                <a:gd name="connsiteX11" fmla="*/ 428052 w 1006273"/>
                <a:gd name="connsiteY11" fmla="*/ 400855 h 951879"/>
                <a:gd name="connsiteX12" fmla="*/ 523240 w 1006273"/>
                <a:gd name="connsiteY12" fmla="*/ 283910 h 951879"/>
                <a:gd name="connsiteX13" fmla="*/ 591231 w 1006273"/>
                <a:gd name="connsiteY13" fmla="*/ 354621 h 951879"/>
                <a:gd name="connsiteX14" fmla="*/ 591231 w 1006273"/>
                <a:gd name="connsiteY14" fmla="*/ 697297 h 951879"/>
                <a:gd name="connsiteX15" fmla="*/ 593951 w 1006273"/>
                <a:gd name="connsiteY15" fmla="*/ 729933 h 951879"/>
                <a:gd name="connsiteX16" fmla="*/ 610269 w 1006273"/>
                <a:gd name="connsiteY16" fmla="*/ 778887 h 951879"/>
                <a:gd name="connsiteX17" fmla="*/ 822402 w 1006273"/>
                <a:gd name="connsiteY17" fmla="*/ 893112 h 951879"/>
                <a:gd name="connsiteX18" fmla="*/ 961105 w 1006273"/>
                <a:gd name="connsiteY18" fmla="*/ 822401 h 951879"/>
                <a:gd name="connsiteX19" fmla="*/ 884954 w 1006273"/>
                <a:gd name="connsiteY19" fmla="*/ 746251 h 9518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006273" h="951879">
                  <a:moveTo>
                    <a:pt x="884954" y="746251"/>
                  </a:moveTo>
                  <a:cubicBezTo>
                    <a:pt x="879515" y="721774"/>
                    <a:pt x="876795" y="694578"/>
                    <a:pt x="874076" y="670101"/>
                  </a:cubicBezTo>
                  <a:cubicBezTo>
                    <a:pt x="874076" y="634745"/>
                    <a:pt x="874076" y="583072"/>
                    <a:pt x="874076" y="536837"/>
                  </a:cubicBezTo>
                  <a:cubicBezTo>
                    <a:pt x="879515" y="373658"/>
                    <a:pt x="909431" y="88094"/>
                    <a:pt x="689139" y="88094"/>
                  </a:cubicBezTo>
                  <a:cubicBezTo>
                    <a:pt x="539558" y="88094"/>
                    <a:pt x="452529" y="213199"/>
                    <a:pt x="428052" y="253993"/>
                  </a:cubicBezTo>
                  <a:cubicBezTo>
                    <a:pt x="425332" y="139768"/>
                    <a:pt x="335583" y="58178"/>
                    <a:pt x="196881" y="58178"/>
                  </a:cubicBezTo>
                  <a:cubicBezTo>
                    <a:pt x="109852" y="58178"/>
                    <a:pt x="58178" y="128889"/>
                    <a:pt x="58178" y="128889"/>
                  </a:cubicBezTo>
                  <a:cubicBezTo>
                    <a:pt x="58178" y="128889"/>
                    <a:pt x="142488" y="158805"/>
                    <a:pt x="142488" y="273031"/>
                  </a:cubicBezTo>
                  <a:cubicBezTo>
                    <a:pt x="142488" y="354621"/>
                    <a:pt x="142488" y="757130"/>
                    <a:pt x="142488" y="757130"/>
                  </a:cubicBezTo>
                  <a:cubicBezTo>
                    <a:pt x="145207" y="827841"/>
                    <a:pt x="194161" y="895832"/>
                    <a:pt x="283910" y="895832"/>
                  </a:cubicBezTo>
                  <a:cubicBezTo>
                    <a:pt x="373659" y="895832"/>
                    <a:pt x="428052" y="827841"/>
                    <a:pt x="428052" y="757130"/>
                  </a:cubicBezTo>
                  <a:lnTo>
                    <a:pt x="428052" y="400855"/>
                  </a:lnTo>
                  <a:cubicBezTo>
                    <a:pt x="441650" y="343742"/>
                    <a:pt x="474286" y="283910"/>
                    <a:pt x="523240" y="283910"/>
                  </a:cubicBezTo>
                  <a:cubicBezTo>
                    <a:pt x="585792" y="283910"/>
                    <a:pt x="591231" y="354621"/>
                    <a:pt x="591231" y="354621"/>
                  </a:cubicBezTo>
                  <a:lnTo>
                    <a:pt x="591231" y="697297"/>
                  </a:lnTo>
                  <a:cubicBezTo>
                    <a:pt x="591231" y="708176"/>
                    <a:pt x="593951" y="719054"/>
                    <a:pt x="593951" y="729933"/>
                  </a:cubicBezTo>
                  <a:cubicBezTo>
                    <a:pt x="596671" y="748971"/>
                    <a:pt x="602110" y="765289"/>
                    <a:pt x="610269" y="778887"/>
                  </a:cubicBezTo>
                  <a:cubicBezTo>
                    <a:pt x="645624" y="846878"/>
                    <a:pt x="719055" y="893112"/>
                    <a:pt x="822402" y="893112"/>
                  </a:cubicBezTo>
                  <a:cubicBezTo>
                    <a:pt x="909431" y="893112"/>
                    <a:pt x="961105" y="822401"/>
                    <a:pt x="961105" y="822401"/>
                  </a:cubicBezTo>
                  <a:cubicBezTo>
                    <a:pt x="961105" y="822401"/>
                    <a:pt x="909431" y="808803"/>
                    <a:pt x="884954" y="746251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4A198EB9-1147-497F-9629-D20241548224}"/>
                </a:ext>
              </a:extLst>
            </p:cNvPr>
            <p:cNvSpPr/>
            <p:nvPr/>
          </p:nvSpPr>
          <p:spPr>
            <a:xfrm>
              <a:off x="7552331" y="1888610"/>
              <a:ext cx="489539" cy="1332631"/>
            </a:xfrm>
            <a:custGeom>
              <a:avLst/>
              <a:gdLst>
                <a:gd name="connsiteX0" fmla="*/ 368560 w 489538"/>
                <a:gd name="connsiteY0" fmla="*/ 1135162 h 1332630"/>
                <a:gd name="connsiteX1" fmla="*/ 357681 w 489538"/>
                <a:gd name="connsiteY1" fmla="*/ 1059011 h 1332630"/>
                <a:gd name="connsiteX2" fmla="*/ 357681 w 489538"/>
                <a:gd name="connsiteY2" fmla="*/ 207759 h 1332630"/>
                <a:gd name="connsiteX3" fmla="*/ 208099 w 489538"/>
                <a:gd name="connsiteY3" fmla="*/ 58178 h 1332630"/>
                <a:gd name="connsiteX4" fmla="*/ 58518 w 489538"/>
                <a:gd name="connsiteY4" fmla="*/ 207759 h 1332630"/>
                <a:gd name="connsiteX5" fmla="*/ 58518 w 489538"/>
                <a:gd name="connsiteY5" fmla="*/ 961104 h 1332630"/>
                <a:gd name="connsiteX6" fmla="*/ 85715 w 489538"/>
                <a:gd name="connsiteY6" fmla="*/ 1159639 h 1332630"/>
                <a:gd name="connsiteX7" fmla="*/ 306007 w 489538"/>
                <a:gd name="connsiteY7" fmla="*/ 1282023 h 1332630"/>
                <a:gd name="connsiteX8" fmla="*/ 444710 w 489538"/>
                <a:gd name="connsiteY8" fmla="*/ 1211312 h 1332630"/>
                <a:gd name="connsiteX9" fmla="*/ 368560 w 489538"/>
                <a:gd name="connsiteY9" fmla="*/ 1135162 h 13326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89538" h="1332630">
                  <a:moveTo>
                    <a:pt x="368560" y="1135162"/>
                  </a:moveTo>
                  <a:cubicBezTo>
                    <a:pt x="363120" y="1110685"/>
                    <a:pt x="357681" y="1083488"/>
                    <a:pt x="357681" y="1059011"/>
                  </a:cubicBezTo>
                  <a:lnTo>
                    <a:pt x="357681" y="207759"/>
                  </a:lnTo>
                  <a:cubicBezTo>
                    <a:pt x="357681" y="126170"/>
                    <a:pt x="289689" y="58178"/>
                    <a:pt x="208099" y="58178"/>
                  </a:cubicBezTo>
                  <a:cubicBezTo>
                    <a:pt x="126510" y="58178"/>
                    <a:pt x="58518" y="126170"/>
                    <a:pt x="58518" y="207759"/>
                  </a:cubicBezTo>
                  <a:lnTo>
                    <a:pt x="58518" y="961104"/>
                  </a:lnTo>
                  <a:cubicBezTo>
                    <a:pt x="58518" y="1029095"/>
                    <a:pt x="53079" y="1097086"/>
                    <a:pt x="85715" y="1159639"/>
                  </a:cubicBezTo>
                  <a:cubicBezTo>
                    <a:pt x="118351" y="1227630"/>
                    <a:pt x="202660" y="1282023"/>
                    <a:pt x="306007" y="1282023"/>
                  </a:cubicBezTo>
                  <a:cubicBezTo>
                    <a:pt x="393036" y="1282023"/>
                    <a:pt x="444710" y="1211312"/>
                    <a:pt x="444710" y="1211312"/>
                  </a:cubicBezTo>
                  <a:cubicBezTo>
                    <a:pt x="444710" y="1211312"/>
                    <a:pt x="393036" y="1197714"/>
                    <a:pt x="368560" y="1135162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C489DA5D-3FDF-41B6-8FEC-3BAA766E6DD2}"/>
                </a:ext>
              </a:extLst>
            </p:cNvPr>
            <p:cNvSpPr/>
            <p:nvPr/>
          </p:nvSpPr>
          <p:spPr>
            <a:xfrm>
              <a:off x="4162324" y="2357456"/>
              <a:ext cx="815899" cy="815898"/>
            </a:xfrm>
            <a:custGeom>
              <a:avLst/>
              <a:gdLst>
                <a:gd name="connsiteX0" fmla="*/ 407949 w 815899"/>
                <a:gd name="connsiteY0" fmla="*/ 174058 h 815898"/>
                <a:gd name="connsiteX1" fmla="*/ 293723 w 815899"/>
                <a:gd name="connsiteY1" fmla="*/ 407950 h 815898"/>
                <a:gd name="connsiteX2" fmla="*/ 410669 w 815899"/>
                <a:gd name="connsiteY2" fmla="*/ 641840 h 815898"/>
                <a:gd name="connsiteX3" fmla="*/ 522175 w 815899"/>
                <a:gd name="connsiteY3" fmla="*/ 407950 h 815898"/>
                <a:gd name="connsiteX4" fmla="*/ 407949 w 815899"/>
                <a:gd name="connsiteY4" fmla="*/ 174058 h 815898"/>
                <a:gd name="connsiteX5" fmla="*/ 407950 w 815899"/>
                <a:gd name="connsiteY5" fmla="*/ 0 h 815898"/>
                <a:gd name="connsiteX6" fmla="*/ 815899 w 815899"/>
                <a:gd name="connsiteY6" fmla="*/ 407949 h 815898"/>
                <a:gd name="connsiteX7" fmla="*/ 407950 w 815899"/>
                <a:gd name="connsiteY7" fmla="*/ 815898 h 815898"/>
                <a:gd name="connsiteX8" fmla="*/ 0 w 815899"/>
                <a:gd name="connsiteY8" fmla="*/ 407949 h 815898"/>
                <a:gd name="connsiteX9" fmla="*/ 407950 w 815899"/>
                <a:gd name="connsiteY9" fmla="*/ 0 h 815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15899" h="815898">
                  <a:moveTo>
                    <a:pt x="407949" y="174058"/>
                  </a:moveTo>
                  <a:cubicBezTo>
                    <a:pt x="342677" y="174058"/>
                    <a:pt x="293723" y="263807"/>
                    <a:pt x="293723" y="407950"/>
                  </a:cubicBezTo>
                  <a:cubicBezTo>
                    <a:pt x="293723" y="552091"/>
                    <a:pt x="331799" y="639120"/>
                    <a:pt x="410669" y="641840"/>
                  </a:cubicBezTo>
                  <a:cubicBezTo>
                    <a:pt x="489539" y="641840"/>
                    <a:pt x="527614" y="552091"/>
                    <a:pt x="522175" y="407950"/>
                  </a:cubicBezTo>
                  <a:cubicBezTo>
                    <a:pt x="522175" y="263807"/>
                    <a:pt x="473221" y="176778"/>
                    <a:pt x="407949" y="174058"/>
                  </a:cubicBezTo>
                  <a:close/>
                  <a:moveTo>
                    <a:pt x="407950" y="0"/>
                  </a:moveTo>
                  <a:cubicBezTo>
                    <a:pt x="633682" y="0"/>
                    <a:pt x="815899" y="182217"/>
                    <a:pt x="815899" y="407949"/>
                  </a:cubicBezTo>
                  <a:cubicBezTo>
                    <a:pt x="815899" y="633681"/>
                    <a:pt x="633682" y="815898"/>
                    <a:pt x="407950" y="815898"/>
                  </a:cubicBezTo>
                  <a:cubicBezTo>
                    <a:pt x="182218" y="815898"/>
                    <a:pt x="0" y="633681"/>
                    <a:pt x="0" y="407949"/>
                  </a:cubicBezTo>
                  <a:cubicBezTo>
                    <a:pt x="0" y="182217"/>
                    <a:pt x="182218" y="0"/>
                    <a:pt x="407950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97AA4C2C-CCD9-4698-B061-F47DE3A46C84}"/>
                </a:ext>
              </a:extLst>
            </p:cNvPr>
            <p:cNvSpPr/>
            <p:nvPr/>
          </p:nvSpPr>
          <p:spPr>
            <a:xfrm>
              <a:off x="5884871" y="1946788"/>
              <a:ext cx="912802" cy="1223846"/>
            </a:xfrm>
            <a:custGeom>
              <a:avLst/>
              <a:gdLst>
                <a:gd name="connsiteX0" fmla="*/ 387907 w 912802"/>
                <a:gd name="connsiteY0" fmla="*/ 620081 h 1223846"/>
                <a:gd name="connsiteX1" fmla="*/ 273681 w 912802"/>
                <a:gd name="connsiteY1" fmla="*/ 824055 h 1223846"/>
                <a:gd name="connsiteX2" fmla="*/ 390627 w 912802"/>
                <a:gd name="connsiteY2" fmla="*/ 1028029 h 1223846"/>
                <a:gd name="connsiteX3" fmla="*/ 502132 w 912802"/>
                <a:gd name="connsiteY3" fmla="*/ 824055 h 1223846"/>
                <a:gd name="connsiteX4" fmla="*/ 387907 w 912802"/>
                <a:gd name="connsiteY4" fmla="*/ 620081 h 1223846"/>
                <a:gd name="connsiteX5" fmla="*/ 676192 w 912802"/>
                <a:gd name="connsiteY5" fmla="*/ 0 h 1223846"/>
                <a:gd name="connsiteX6" fmla="*/ 825773 w 912802"/>
                <a:gd name="connsiteY6" fmla="*/ 149581 h 1223846"/>
                <a:gd name="connsiteX7" fmla="*/ 825773 w 912802"/>
                <a:gd name="connsiteY7" fmla="*/ 1000834 h 1223846"/>
                <a:gd name="connsiteX8" fmla="*/ 836651 w 912802"/>
                <a:gd name="connsiteY8" fmla="*/ 1076985 h 1223846"/>
                <a:gd name="connsiteX9" fmla="*/ 912802 w 912802"/>
                <a:gd name="connsiteY9" fmla="*/ 1150415 h 1223846"/>
                <a:gd name="connsiteX10" fmla="*/ 774099 w 912802"/>
                <a:gd name="connsiteY10" fmla="*/ 1221126 h 1223846"/>
                <a:gd name="connsiteX11" fmla="*/ 553807 w 912802"/>
                <a:gd name="connsiteY11" fmla="*/ 1098742 h 1223846"/>
                <a:gd name="connsiteX12" fmla="*/ 548367 w 912802"/>
                <a:gd name="connsiteY12" fmla="*/ 1085144 h 1223846"/>
                <a:gd name="connsiteX13" fmla="*/ 398786 w 912802"/>
                <a:gd name="connsiteY13" fmla="*/ 1212967 h 1223846"/>
                <a:gd name="connsiteX14" fmla="*/ 156736 w 912802"/>
                <a:gd name="connsiteY14" fmla="*/ 1180332 h 1223846"/>
                <a:gd name="connsiteX15" fmla="*/ 287280 w 912802"/>
                <a:gd name="connsiteY15" fmla="*/ 416107 h 1223846"/>
                <a:gd name="connsiteX16" fmla="*/ 526611 w 912802"/>
                <a:gd name="connsiteY16" fmla="*/ 552091 h 1223846"/>
                <a:gd name="connsiteX17" fmla="*/ 526611 w 912802"/>
                <a:gd name="connsiteY17" fmla="*/ 149581 h 1223846"/>
                <a:gd name="connsiteX18" fmla="*/ 676192 w 912802"/>
                <a:gd name="connsiteY18" fmla="*/ 0 h 1223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912802" h="1223846">
                  <a:moveTo>
                    <a:pt x="387907" y="620081"/>
                  </a:moveTo>
                  <a:cubicBezTo>
                    <a:pt x="322635" y="620081"/>
                    <a:pt x="273681" y="698951"/>
                    <a:pt x="273681" y="824055"/>
                  </a:cubicBezTo>
                  <a:cubicBezTo>
                    <a:pt x="273681" y="949160"/>
                    <a:pt x="311756" y="1028029"/>
                    <a:pt x="390627" y="1028029"/>
                  </a:cubicBezTo>
                  <a:cubicBezTo>
                    <a:pt x="466777" y="1025310"/>
                    <a:pt x="504852" y="949160"/>
                    <a:pt x="502132" y="824055"/>
                  </a:cubicBezTo>
                  <a:cubicBezTo>
                    <a:pt x="502132" y="698951"/>
                    <a:pt x="455898" y="622801"/>
                    <a:pt x="387907" y="620081"/>
                  </a:cubicBezTo>
                  <a:close/>
                  <a:moveTo>
                    <a:pt x="676192" y="0"/>
                  </a:moveTo>
                  <a:cubicBezTo>
                    <a:pt x="757781" y="0"/>
                    <a:pt x="825773" y="67992"/>
                    <a:pt x="825773" y="149581"/>
                  </a:cubicBezTo>
                  <a:lnTo>
                    <a:pt x="825773" y="1000834"/>
                  </a:lnTo>
                  <a:cubicBezTo>
                    <a:pt x="828492" y="1025311"/>
                    <a:pt x="831212" y="1052508"/>
                    <a:pt x="836651" y="1076985"/>
                  </a:cubicBezTo>
                  <a:cubicBezTo>
                    <a:pt x="861128" y="1139537"/>
                    <a:pt x="912802" y="1150415"/>
                    <a:pt x="912802" y="1150415"/>
                  </a:cubicBezTo>
                  <a:cubicBezTo>
                    <a:pt x="912802" y="1150415"/>
                    <a:pt x="861128" y="1221126"/>
                    <a:pt x="774099" y="1221126"/>
                  </a:cubicBezTo>
                  <a:cubicBezTo>
                    <a:pt x="670752" y="1221126"/>
                    <a:pt x="589162" y="1166733"/>
                    <a:pt x="553807" y="1098742"/>
                  </a:cubicBezTo>
                  <a:cubicBezTo>
                    <a:pt x="551087" y="1093303"/>
                    <a:pt x="551087" y="1090583"/>
                    <a:pt x="548367" y="1085144"/>
                  </a:cubicBezTo>
                  <a:cubicBezTo>
                    <a:pt x="534769" y="1147696"/>
                    <a:pt x="450460" y="1199369"/>
                    <a:pt x="398786" y="1212967"/>
                  </a:cubicBezTo>
                  <a:cubicBezTo>
                    <a:pt x="322636" y="1234725"/>
                    <a:pt x="222008" y="1223846"/>
                    <a:pt x="156736" y="1180332"/>
                  </a:cubicBezTo>
                  <a:cubicBezTo>
                    <a:pt x="-79874" y="1028031"/>
                    <a:pt x="-58117" y="416107"/>
                    <a:pt x="287280" y="416107"/>
                  </a:cubicBezTo>
                  <a:cubicBezTo>
                    <a:pt x="412385" y="416107"/>
                    <a:pt x="491255" y="503137"/>
                    <a:pt x="526611" y="552091"/>
                  </a:cubicBezTo>
                  <a:lnTo>
                    <a:pt x="526611" y="149581"/>
                  </a:lnTo>
                  <a:cubicBezTo>
                    <a:pt x="526611" y="67992"/>
                    <a:pt x="594602" y="0"/>
                    <a:pt x="676192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6899E50A-6EE7-43FA-8BC5-A3FC97DE7DC4}"/>
                </a:ext>
              </a:extLst>
            </p:cNvPr>
            <p:cNvSpPr/>
            <p:nvPr/>
          </p:nvSpPr>
          <p:spPr>
            <a:xfrm>
              <a:off x="6789513" y="2362895"/>
              <a:ext cx="747906" cy="810458"/>
            </a:xfrm>
            <a:custGeom>
              <a:avLst/>
              <a:gdLst>
                <a:gd name="connsiteX0" fmla="*/ 394818 w 747906"/>
                <a:gd name="connsiteY0" fmla="*/ 163222 h 810458"/>
                <a:gd name="connsiteX1" fmla="*/ 356275 w 747906"/>
                <a:gd name="connsiteY1" fmla="*/ 174058 h 810458"/>
                <a:gd name="connsiteX2" fmla="*/ 274685 w 747906"/>
                <a:gd name="connsiteY2" fmla="*/ 356275 h 810458"/>
                <a:gd name="connsiteX3" fmla="*/ 375313 w 747906"/>
                <a:gd name="connsiteY3" fmla="*/ 358994 h 810458"/>
                <a:gd name="connsiteX4" fmla="*/ 473220 w 747906"/>
                <a:gd name="connsiteY4" fmla="*/ 239329 h 810458"/>
                <a:gd name="connsiteX5" fmla="*/ 394818 w 747906"/>
                <a:gd name="connsiteY5" fmla="*/ 163222 h 810458"/>
                <a:gd name="connsiteX6" fmla="*/ 386192 w 747906"/>
                <a:gd name="connsiteY6" fmla="*/ 0 h 810458"/>
                <a:gd name="connsiteX7" fmla="*/ 747906 w 747906"/>
                <a:gd name="connsiteY7" fmla="*/ 266526 h 810458"/>
                <a:gd name="connsiteX8" fmla="*/ 291004 w 747906"/>
                <a:gd name="connsiteY8" fmla="*/ 484100 h 810458"/>
                <a:gd name="connsiteX9" fmla="*/ 497698 w 747906"/>
                <a:gd name="connsiteY9" fmla="*/ 617363 h 810458"/>
                <a:gd name="connsiteX10" fmla="*/ 712551 w 747906"/>
                <a:gd name="connsiteY10" fmla="*/ 557530 h 810458"/>
                <a:gd name="connsiteX11" fmla="*/ 388912 w 747906"/>
                <a:gd name="connsiteY11" fmla="*/ 810458 h 810458"/>
                <a:gd name="connsiteX12" fmla="*/ 0 w 747906"/>
                <a:gd name="connsiteY12" fmla="*/ 413389 h 810458"/>
                <a:gd name="connsiteX13" fmla="*/ 386192 w 747906"/>
                <a:gd name="connsiteY13" fmla="*/ 0 h 8104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747906" h="810458">
                  <a:moveTo>
                    <a:pt x="394818" y="163222"/>
                  </a:moveTo>
                  <a:cubicBezTo>
                    <a:pt x="381772" y="163179"/>
                    <a:pt x="368514" y="166579"/>
                    <a:pt x="356275" y="174058"/>
                  </a:cubicBezTo>
                  <a:cubicBezTo>
                    <a:pt x="299162" y="212133"/>
                    <a:pt x="282844" y="291003"/>
                    <a:pt x="274685" y="356275"/>
                  </a:cubicBezTo>
                  <a:cubicBezTo>
                    <a:pt x="274685" y="364434"/>
                    <a:pt x="369873" y="358994"/>
                    <a:pt x="375313" y="358994"/>
                  </a:cubicBezTo>
                  <a:cubicBezTo>
                    <a:pt x="432425" y="345396"/>
                    <a:pt x="473220" y="301881"/>
                    <a:pt x="473220" y="239329"/>
                  </a:cubicBezTo>
                  <a:cubicBezTo>
                    <a:pt x="471181" y="194455"/>
                    <a:pt x="433956" y="163349"/>
                    <a:pt x="394818" y="163222"/>
                  </a:cubicBezTo>
                  <a:close/>
                  <a:moveTo>
                    <a:pt x="386192" y="0"/>
                  </a:moveTo>
                  <a:cubicBezTo>
                    <a:pt x="519455" y="0"/>
                    <a:pt x="747906" y="65272"/>
                    <a:pt x="747906" y="266526"/>
                  </a:cubicBezTo>
                  <a:cubicBezTo>
                    <a:pt x="747906" y="467782"/>
                    <a:pt x="538493" y="484100"/>
                    <a:pt x="291004" y="484100"/>
                  </a:cubicBezTo>
                  <a:cubicBezTo>
                    <a:pt x="291004" y="484100"/>
                    <a:pt x="326359" y="617363"/>
                    <a:pt x="497698" y="617363"/>
                  </a:cubicBezTo>
                  <a:cubicBezTo>
                    <a:pt x="669036" y="617363"/>
                    <a:pt x="712551" y="557530"/>
                    <a:pt x="712551" y="557530"/>
                  </a:cubicBezTo>
                  <a:cubicBezTo>
                    <a:pt x="712551" y="557530"/>
                    <a:pt x="696233" y="810458"/>
                    <a:pt x="388912" y="810458"/>
                  </a:cubicBezTo>
                  <a:cubicBezTo>
                    <a:pt x="212134" y="810458"/>
                    <a:pt x="0" y="677195"/>
                    <a:pt x="0" y="413389"/>
                  </a:cubicBezTo>
                  <a:cubicBezTo>
                    <a:pt x="0" y="176778"/>
                    <a:pt x="163180" y="0"/>
                    <a:pt x="386192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/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AAB6D96F-3061-42BC-92D0-1BF63F8246F4}"/>
                </a:ext>
              </a:extLst>
            </p:cNvPr>
            <p:cNvSpPr/>
            <p:nvPr/>
          </p:nvSpPr>
          <p:spPr>
            <a:xfrm>
              <a:off x="7988882" y="2362895"/>
              <a:ext cx="747906" cy="810458"/>
            </a:xfrm>
            <a:custGeom>
              <a:avLst/>
              <a:gdLst>
                <a:gd name="connsiteX0" fmla="*/ 394818 w 747906"/>
                <a:gd name="connsiteY0" fmla="*/ 163222 h 810458"/>
                <a:gd name="connsiteX1" fmla="*/ 356275 w 747906"/>
                <a:gd name="connsiteY1" fmla="*/ 174058 h 810458"/>
                <a:gd name="connsiteX2" fmla="*/ 274685 w 747906"/>
                <a:gd name="connsiteY2" fmla="*/ 356275 h 810458"/>
                <a:gd name="connsiteX3" fmla="*/ 375313 w 747906"/>
                <a:gd name="connsiteY3" fmla="*/ 358994 h 810458"/>
                <a:gd name="connsiteX4" fmla="*/ 473220 w 747906"/>
                <a:gd name="connsiteY4" fmla="*/ 239329 h 810458"/>
                <a:gd name="connsiteX5" fmla="*/ 394818 w 747906"/>
                <a:gd name="connsiteY5" fmla="*/ 163222 h 810458"/>
                <a:gd name="connsiteX6" fmla="*/ 386192 w 747906"/>
                <a:gd name="connsiteY6" fmla="*/ 0 h 810458"/>
                <a:gd name="connsiteX7" fmla="*/ 747906 w 747906"/>
                <a:gd name="connsiteY7" fmla="*/ 266526 h 810458"/>
                <a:gd name="connsiteX8" fmla="*/ 291004 w 747906"/>
                <a:gd name="connsiteY8" fmla="*/ 484100 h 810458"/>
                <a:gd name="connsiteX9" fmla="*/ 497697 w 747906"/>
                <a:gd name="connsiteY9" fmla="*/ 617363 h 810458"/>
                <a:gd name="connsiteX10" fmla="*/ 712551 w 747906"/>
                <a:gd name="connsiteY10" fmla="*/ 557530 h 810458"/>
                <a:gd name="connsiteX11" fmla="*/ 388911 w 747906"/>
                <a:gd name="connsiteY11" fmla="*/ 810458 h 810458"/>
                <a:gd name="connsiteX12" fmla="*/ 0 w 747906"/>
                <a:gd name="connsiteY12" fmla="*/ 413389 h 810458"/>
                <a:gd name="connsiteX13" fmla="*/ 386192 w 747906"/>
                <a:gd name="connsiteY13" fmla="*/ 0 h 8104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747906" h="810458">
                  <a:moveTo>
                    <a:pt x="394818" y="163222"/>
                  </a:moveTo>
                  <a:cubicBezTo>
                    <a:pt x="381772" y="163179"/>
                    <a:pt x="368514" y="166579"/>
                    <a:pt x="356275" y="174058"/>
                  </a:cubicBezTo>
                  <a:cubicBezTo>
                    <a:pt x="299162" y="212133"/>
                    <a:pt x="282844" y="291003"/>
                    <a:pt x="274685" y="356275"/>
                  </a:cubicBezTo>
                  <a:cubicBezTo>
                    <a:pt x="274685" y="364434"/>
                    <a:pt x="369873" y="358994"/>
                    <a:pt x="375313" y="358994"/>
                  </a:cubicBezTo>
                  <a:cubicBezTo>
                    <a:pt x="432426" y="345396"/>
                    <a:pt x="473220" y="301881"/>
                    <a:pt x="473220" y="239329"/>
                  </a:cubicBezTo>
                  <a:cubicBezTo>
                    <a:pt x="471181" y="194455"/>
                    <a:pt x="433955" y="163349"/>
                    <a:pt x="394818" y="163222"/>
                  </a:cubicBezTo>
                  <a:close/>
                  <a:moveTo>
                    <a:pt x="386192" y="0"/>
                  </a:moveTo>
                  <a:cubicBezTo>
                    <a:pt x="519455" y="0"/>
                    <a:pt x="747906" y="65272"/>
                    <a:pt x="747906" y="266526"/>
                  </a:cubicBezTo>
                  <a:cubicBezTo>
                    <a:pt x="747906" y="467782"/>
                    <a:pt x="538492" y="484100"/>
                    <a:pt x="291004" y="484100"/>
                  </a:cubicBezTo>
                  <a:cubicBezTo>
                    <a:pt x="291004" y="484100"/>
                    <a:pt x="326359" y="617363"/>
                    <a:pt x="497697" y="617363"/>
                  </a:cubicBezTo>
                  <a:cubicBezTo>
                    <a:pt x="669036" y="617363"/>
                    <a:pt x="712551" y="557530"/>
                    <a:pt x="712551" y="557530"/>
                  </a:cubicBezTo>
                  <a:cubicBezTo>
                    <a:pt x="712551" y="557530"/>
                    <a:pt x="696233" y="810458"/>
                    <a:pt x="388911" y="810458"/>
                  </a:cubicBezTo>
                  <a:cubicBezTo>
                    <a:pt x="212133" y="810458"/>
                    <a:pt x="0" y="677195"/>
                    <a:pt x="0" y="413389"/>
                  </a:cubicBezTo>
                  <a:cubicBezTo>
                    <a:pt x="0" y="176778"/>
                    <a:pt x="163180" y="0"/>
                    <a:pt x="386192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46E90DD0-D326-4354-B19D-6B25CA8E122A}"/>
                </a:ext>
              </a:extLst>
            </p:cNvPr>
            <p:cNvSpPr/>
            <p:nvPr/>
          </p:nvSpPr>
          <p:spPr>
            <a:xfrm>
              <a:off x="8683414" y="2274801"/>
              <a:ext cx="897487" cy="951879"/>
            </a:xfrm>
            <a:custGeom>
              <a:avLst/>
              <a:gdLst>
                <a:gd name="connsiteX0" fmla="*/ 580988 w 897487"/>
                <a:gd name="connsiteY0" fmla="*/ 667381 h 951879"/>
                <a:gd name="connsiteX1" fmla="*/ 409649 w 897487"/>
                <a:gd name="connsiteY1" fmla="*/ 667381 h 951879"/>
                <a:gd name="connsiteX2" fmla="*/ 591866 w 897487"/>
                <a:gd name="connsiteY2" fmla="*/ 525959 h 951879"/>
                <a:gd name="connsiteX3" fmla="*/ 842075 w 897487"/>
                <a:gd name="connsiteY3" fmla="*/ 123450 h 951879"/>
                <a:gd name="connsiteX4" fmla="*/ 842075 w 897487"/>
                <a:gd name="connsiteY4" fmla="*/ 123450 h 951879"/>
                <a:gd name="connsiteX5" fmla="*/ 798560 w 897487"/>
                <a:gd name="connsiteY5" fmla="*/ 58178 h 951879"/>
                <a:gd name="connsiteX6" fmla="*/ 746887 w 897487"/>
                <a:gd name="connsiteY6" fmla="*/ 107132 h 951879"/>
                <a:gd name="connsiteX7" fmla="*/ 697933 w 897487"/>
                <a:gd name="connsiteY7" fmla="*/ 115291 h 951879"/>
                <a:gd name="connsiteX8" fmla="*/ 219273 w 897487"/>
                <a:gd name="connsiteY8" fmla="*/ 115291 h 951879"/>
                <a:gd name="connsiteX9" fmla="*/ 102328 w 897487"/>
                <a:gd name="connsiteY9" fmla="*/ 224077 h 951879"/>
                <a:gd name="connsiteX10" fmla="*/ 213834 w 897487"/>
                <a:gd name="connsiteY10" fmla="*/ 332863 h 951879"/>
                <a:gd name="connsiteX11" fmla="*/ 485800 w 897487"/>
                <a:gd name="connsiteY11" fmla="*/ 335583 h 951879"/>
                <a:gd name="connsiteX12" fmla="*/ 134964 w 897487"/>
                <a:gd name="connsiteY12" fmla="*/ 615708 h 951879"/>
                <a:gd name="connsiteX13" fmla="*/ 61533 w 897487"/>
                <a:gd name="connsiteY13" fmla="*/ 884953 h 951879"/>
                <a:gd name="connsiteX14" fmla="*/ 398771 w 897487"/>
                <a:gd name="connsiteY14" fmla="*/ 806083 h 951879"/>
                <a:gd name="connsiteX15" fmla="*/ 529314 w 897487"/>
                <a:gd name="connsiteY15" fmla="*/ 863196 h 951879"/>
                <a:gd name="connsiteX16" fmla="*/ 782242 w 897487"/>
                <a:gd name="connsiteY16" fmla="*/ 607549 h 951879"/>
                <a:gd name="connsiteX17" fmla="*/ 580988 w 897487"/>
                <a:gd name="connsiteY17" fmla="*/ 667381 h 9518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897487" h="951879">
                  <a:moveTo>
                    <a:pt x="580988" y="667381"/>
                  </a:moveTo>
                  <a:lnTo>
                    <a:pt x="409649" y="667381"/>
                  </a:lnTo>
                  <a:cubicBezTo>
                    <a:pt x="423248" y="667381"/>
                    <a:pt x="548352" y="561314"/>
                    <a:pt x="591866" y="525959"/>
                  </a:cubicBezTo>
                  <a:cubicBezTo>
                    <a:pt x="700653" y="433491"/>
                    <a:pt x="899188" y="297508"/>
                    <a:pt x="842075" y="123450"/>
                  </a:cubicBezTo>
                  <a:lnTo>
                    <a:pt x="842075" y="123450"/>
                  </a:lnTo>
                  <a:cubicBezTo>
                    <a:pt x="831197" y="82655"/>
                    <a:pt x="798560" y="58178"/>
                    <a:pt x="798560" y="58178"/>
                  </a:cubicBezTo>
                  <a:cubicBezTo>
                    <a:pt x="798560" y="58178"/>
                    <a:pt x="787682" y="90814"/>
                    <a:pt x="746887" y="107132"/>
                  </a:cubicBezTo>
                  <a:cubicBezTo>
                    <a:pt x="730569" y="109852"/>
                    <a:pt x="714251" y="115291"/>
                    <a:pt x="697933" y="115291"/>
                  </a:cubicBezTo>
                  <a:cubicBezTo>
                    <a:pt x="684334" y="115291"/>
                    <a:pt x="219273" y="115291"/>
                    <a:pt x="219273" y="115291"/>
                  </a:cubicBezTo>
                  <a:cubicBezTo>
                    <a:pt x="156721" y="115291"/>
                    <a:pt x="105048" y="166964"/>
                    <a:pt x="102328" y="224077"/>
                  </a:cubicBezTo>
                  <a:cubicBezTo>
                    <a:pt x="102328" y="283910"/>
                    <a:pt x="151282" y="332863"/>
                    <a:pt x="213834" y="332863"/>
                  </a:cubicBezTo>
                  <a:lnTo>
                    <a:pt x="485800" y="335583"/>
                  </a:lnTo>
                  <a:cubicBezTo>
                    <a:pt x="360695" y="406294"/>
                    <a:pt x="211114" y="487884"/>
                    <a:pt x="134964" y="615708"/>
                  </a:cubicBezTo>
                  <a:cubicBezTo>
                    <a:pt x="91449" y="689138"/>
                    <a:pt x="45215" y="800644"/>
                    <a:pt x="61533" y="884953"/>
                  </a:cubicBezTo>
                  <a:cubicBezTo>
                    <a:pt x="121366" y="830560"/>
                    <a:pt x="279106" y="778887"/>
                    <a:pt x="398771" y="806083"/>
                  </a:cubicBezTo>
                  <a:cubicBezTo>
                    <a:pt x="445005" y="814242"/>
                    <a:pt x="491239" y="838719"/>
                    <a:pt x="529314" y="863196"/>
                  </a:cubicBezTo>
                  <a:cubicBezTo>
                    <a:pt x="755046" y="1004618"/>
                    <a:pt x="891029" y="727213"/>
                    <a:pt x="782242" y="607549"/>
                  </a:cubicBezTo>
                  <a:cubicBezTo>
                    <a:pt x="784962" y="607549"/>
                    <a:pt x="722410" y="667381"/>
                    <a:pt x="580988" y="667381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FC8EBEE1-EF8C-4C52-8690-44C2ACEA5D70}"/>
                </a:ext>
              </a:extLst>
            </p:cNvPr>
            <p:cNvSpPr/>
            <p:nvPr/>
          </p:nvSpPr>
          <p:spPr>
            <a:xfrm>
              <a:off x="2624650" y="1948442"/>
              <a:ext cx="1903761" cy="1577400"/>
            </a:xfrm>
            <a:custGeom>
              <a:avLst/>
              <a:gdLst>
                <a:gd name="connsiteX0" fmla="*/ 1559430 w 1903760"/>
                <a:gd name="connsiteY0" fmla="*/ 1165078 h 1577399"/>
                <a:gd name="connsiteX1" fmla="*/ 1369054 w 1903760"/>
                <a:gd name="connsiteY1" fmla="*/ 593950 h 1577399"/>
                <a:gd name="connsiteX2" fmla="*/ 1483279 w 1903760"/>
                <a:gd name="connsiteY2" fmla="*/ 126170 h 1577399"/>
                <a:gd name="connsiteX3" fmla="*/ 1311941 w 1903760"/>
                <a:gd name="connsiteY3" fmla="*/ 58178 h 1577399"/>
                <a:gd name="connsiteX4" fmla="*/ 1078050 w 1903760"/>
                <a:gd name="connsiteY4" fmla="*/ 205040 h 1577399"/>
                <a:gd name="connsiteX5" fmla="*/ 846879 w 1903760"/>
                <a:gd name="connsiteY5" fmla="*/ 523239 h 1577399"/>
                <a:gd name="connsiteX6" fmla="*/ 645624 w 1903760"/>
                <a:gd name="connsiteY6" fmla="*/ 210479 h 1577399"/>
                <a:gd name="connsiteX7" fmla="*/ 455248 w 1903760"/>
                <a:gd name="connsiteY7" fmla="*/ 63617 h 1577399"/>
                <a:gd name="connsiteX8" fmla="*/ 234956 w 1903760"/>
                <a:gd name="connsiteY8" fmla="*/ 137048 h 1577399"/>
                <a:gd name="connsiteX9" fmla="*/ 316546 w 1903760"/>
                <a:gd name="connsiteY9" fmla="*/ 588511 h 1577399"/>
                <a:gd name="connsiteX10" fmla="*/ 58178 w 1903760"/>
                <a:gd name="connsiteY10" fmla="*/ 1072610 h 1577399"/>
                <a:gd name="connsiteX11" fmla="*/ 474286 w 1903760"/>
                <a:gd name="connsiteY11" fmla="*/ 1020936 h 1577399"/>
                <a:gd name="connsiteX12" fmla="*/ 555876 w 1903760"/>
                <a:gd name="connsiteY12" fmla="*/ 572193 h 1577399"/>
                <a:gd name="connsiteX13" fmla="*/ 830561 w 1903760"/>
                <a:gd name="connsiteY13" fmla="*/ 993740 h 1577399"/>
                <a:gd name="connsiteX14" fmla="*/ 1140602 w 1903760"/>
                <a:gd name="connsiteY14" fmla="*/ 574913 h 1577399"/>
                <a:gd name="connsiteX15" fmla="*/ 1567589 w 1903760"/>
                <a:gd name="connsiteY15" fmla="*/ 1526792 h 1577399"/>
                <a:gd name="connsiteX16" fmla="*/ 1866751 w 1903760"/>
                <a:gd name="connsiteY16" fmla="*/ 1322818 h 1577399"/>
                <a:gd name="connsiteX17" fmla="*/ 1559430 w 1903760"/>
                <a:gd name="connsiteY17" fmla="*/ 1165078 h 15773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903760" h="1577399">
                  <a:moveTo>
                    <a:pt x="1559430" y="1165078"/>
                  </a:moveTo>
                  <a:cubicBezTo>
                    <a:pt x="1420727" y="1012777"/>
                    <a:pt x="1377213" y="762569"/>
                    <a:pt x="1369054" y="593950"/>
                  </a:cubicBezTo>
                  <a:cubicBezTo>
                    <a:pt x="1360895" y="449809"/>
                    <a:pt x="1369054" y="199600"/>
                    <a:pt x="1483279" y="126170"/>
                  </a:cubicBezTo>
                  <a:cubicBezTo>
                    <a:pt x="1445204" y="77216"/>
                    <a:pt x="1369054" y="58178"/>
                    <a:pt x="1311941" y="58178"/>
                  </a:cubicBezTo>
                  <a:cubicBezTo>
                    <a:pt x="1184117" y="58178"/>
                    <a:pt x="1121565" y="142488"/>
                    <a:pt x="1078050" y="205040"/>
                  </a:cubicBezTo>
                  <a:cubicBezTo>
                    <a:pt x="1064452" y="224077"/>
                    <a:pt x="846879" y="523239"/>
                    <a:pt x="846879" y="523239"/>
                  </a:cubicBezTo>
                  <a:cubicBezTo>
                    <a:pt x="846879" y="523239"/>
                    <a:pt x="667382" y="243115"/>
                    <a:pt x="645624" y="210479"/>
                  </a:cubicBezTo>
                  <a:cubicBezTo>
                    <a:pt x="615708" y="164245"/>
                    <a:pt x="555876" y="77216"/>
                    <a:pt x="455248" y="63617"/>
                  </a:cubicBezTo>
                  <a:cubicBezTo>
                    <a:pt x="411734" y="58178"/>
                    <a:pt x="297508" y="52739"/>
                    <a:pt x="234956" y="137048"/>
                  </a:cubicBezTo>
                  <a:cubicBezTo>
                    <a:pt x="341023" y="221357"/>
                    <a:pt x="338303" y="438930"/>
                    <a:pt x="316546" y="588511"/>
                  </a:cubicBezTo>
                  <a:cubicBezTo>
                    <a:pt x="248554" y="1031815"/>
                    <a:pt x="58178" y="1072610"/>
                    <a:pt x="58178" y="1072610"/>
                  </a:cubicBezTo>
                  <a:cubicBezTo>
                    <a:pt x="156086" y="1333696"/>
                    <a:pt x="403575" y="1230350"/>
                    <a:pt x="474286" y="1020936"/>
                  </a:cubicBezTo>
                  <a:cubicBezTo>
                    <a:pt x="520520" y="884953"/>
                    <a:pt x="550436" y="713615"/>
                    <a:pt x="555876" y="572193"/>
                  </a:cubicBezTo>
                  <a:lnTo>
                    <a:pt x="830561" y="993740"/>
                  </a:lnTo>
                  <a:cubicBezTo>
                    <a:pt x="830561" y="993740"/>
                    <a:pt x="1140602" y="574913"/>
                    <a:pt x="1140602" y="574913"/>
                  </a:cubicBezTo>
                  <a:cubicBezTo>
                    <a:pt x="1088929" y="1314659"/>
                    <a:pt x="1344577" y="1526792"/>
                    <a:pt x="1567589" y="1526792"/>
                  </a:cubicBezTo>
                  <a:cubicBezTo>
                    <a:pt x="1790601" y="1526792"/>
                    <a:pt x="1866751" y="1322818"/>
                    <a:pt x="1866751" y="1322818"/>
                  </a:cubicBezTo>
                  <a:cubicBezTo>
                    <a:pt x="1744367" y="1314659"/>
                    <a:pt x="1641019" y="1252107"/>
                    <a:pt x="1559430" y="1165078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60406D85-B240-4DDD-A872-237D9A7B6040}"/>
                </a:ext>
              </a:extLst>
            </p:cNvPr>
            <p:cNvSpPr/>
            <p:nvPr/>
          </p:nvSpPr>
          <p:spPr>
            <a:xfrm>
              <a:off x="4792218" y="3234839"/>
              <a:ext cx="271966" cy="652717"/>
            </a:xfrm>
            <a:custGeom>
              <a:avLst/>
              <a:gdLst>
                <a:gd name="connsiteX0" fmla="*/ 88095 w 271965"/>
                <a:gd name="connsiteY0" fmla="*/ 120730 h 652717"/>
                <a:gd name="connsiteX1" fmla="*/ 93534 w 271965"/>
                <a:gd name="connsiteY1" fmla="*/ 153366 h 652717"/>
                <a:gd name="connsiteX2" fmla="*/ 93534 w 271965"/>
                <a:gd name="connsiteY2" fmla="*/ 544997 h 652717"/>
                <a:gd name="connsiteX3" fmla="*/ 156086 w 271965"/>
                <a:gd name="connsiteY3" fmla="*/ 604829 h 652717"/>
                <a:gd name="connsiteX4" fmla="*/ 221358 w 271965"/>
                <a:gd name="connsiteY4" fmla="*/ 544997 h 652717"/>
                <a:gd name="connsiteX5" fmla="*/ 221358 w 271965"/>
                <a:gd name="connsiteY5" fmla="*/ 194161 h 652717"/>
                <a:gd name="connsiteX6" fmla="*/ 210479 w 271965"/>
                <a:gd name="connsiteY6" fmla="*/ 109852 h 652717"/>
                <a:gd name="connsiteX7" fmla="*/ 118011 w 271965"/>
                <a:gd name="connsiteY7" fmla="*/ 58178 h 652717"/>
                <a:gd name="connsiteX8" fmla="*/ 58178 w 271965"/>
                <a:gd name="connsiteY8" fmla="*/ 88094 h 652717"/>
                <a:gd name="connsiteX9" fmla="*/ 88095 w 271965"/>
                <a:gd name="connsiteY9" fmla="*/ 120730 h 6527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71965" h="652717">
                  <a:moveTo>
                    <a:pt x="88095" y="120730"/>
                  </a:moveTo>
                  <a:cubicBezTo>
                    <a:pt x="90814" y="131609"/>
                    <a:pt x="90814" y="142487"/>
                    <a:pt x="93534" y="153366"/>
                  </a:cubicBezTo>
                  <a:cubicBezTo>
                    <a:pt x="93534" y="156086"/>
                    <a:pt x="93534" y="542277"/>
                    <a:pt x="93534" y="544997"/>
                  </a:cubicBezTo>
                  <a:cubicBezTo>
                    <a:pt x="93534" y="577632"/>
                    <a:pt x="123450" y="604829"/>
                    <a:pt x="156086" y="604829"/>
                  </a:cubicBezTo>
                  <a:cubicBezTo>
                    <a:pt x="188722" y="607548"/>
                    <a:pt x="221358" y="577632"/>
                    <a:pt x="221358" y="544997"/>
                  </a:cubicBezTo>
                  <a:cubicBezTo>
                    <a:pt x="221358" y="539557"/>
                    <a:pt x="221358" y="194161"/>
                    <a:pt x="221358" y="194161"/>
                  </a:cubicBezTo>
                  <a:cubicBezTo>
                    <a:pt x="221358" y="164245"/>
                    <a:pt x="224078" y="134329"/>
                    <a:pt x="210479" y="109852"/>
                  </a:cubicBezTo>
                  <a:cubicBezTo>
                    <a:pt x="196881" y="79935"/>
                    <a:pt x="158806" y="58178"/>
                    <a:pt x="118011" y="58178"/>
                  </a:cubicBezTo>
                  <a:cubicBezTo>
                    <a:pt x="79936" y="58178"/>
                    <a:pt x="58178" y="88094"/>
                    <a:pt x="58178" y="88094"/>
                  </a:cubicBezTo>
                  <a:cubicBezTo>
                    <a:pt x="58178" y="88094"/>
                    <a:pt x="77216" y="93534"/>
                    <a:pt x="88095" y="120730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14692158-F77E-4CC1-B129-4C7D59571AEE}"/>
                </a:ext>
              </a:extLst>
            </p:cNvPr>
            <p:cNvSpPr/>
            <p:nvPr/>
          </p:nvSpPr>
          <p:spPr>
            <a:xfrm>
              <a:off x="8751819" y="3234667"/>
              <a:ext cx="271966" cy="652717"/>
            </a:xfrm>
            <a:custGeom>
              <a:avLst/>
              <a:gdLst>
                <a:gd name="connsiteX0" fmla="*/ 191663 w 271965"/>
                <a:gd name="connsiteY0" fmla="*/ 542449 h 652717"/>
                <a:gd name="connsiteX1" fmla="*/ 186224 w 271965"/>
                <a:gd name="connsiteY1" fmla="*/ 509813 h 652717"/>
                <a:gd name="connsiteX2" fmla="*/ 186224 w 271965"/>
                <a:gd name="connsiteY2" fmla="*/ 118183 h 652717"/>
                <a:gd name="connsiteX3" fmla="*/ 123672 w 271965"/>
                <a:gd name="connsiteY3" fmla="*/ 58350 h 652717"/>
                <a:gd name="connsiteX4" fmla="*/ 58400 w 271965"/>
                <a:gd name="connsiteY4" fmla="*/ 118183 h 652717"/>
                <a:gd name="connsiteX5" fmla="*/ 58400 w 271965"/>
                <a:gd name="connsiteY5" fmla="*/ 469018 h 652717"/>
                <a:gd name="connsiteX6" fmla="*/ 69279 w 271965"/>
                <a:gd name="connsiteY6" fmla="*/ 553328 h 652717"/>
                <a:gd name="connsiteX7" fmla="*/ 161747 w 271965"/>
                <a:gd name="connsiteY7" fmla="*/ 605001 h 652717"/>
                <a:gd name="connsiteX8" fmla="*/ 221580 w 271965"/>
                <a:gd name="connsiteY8" fmla="*/ 575085 h 652717"/>
                <a:gd name="connsiteX9" fmla="*/ 191663 w 271965"/>
                <a:gd name="connsiteY9" fmla="*/ 542449 h 6527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71965" h="652717">
                  <a:moveTo>
                    <a:pt x="191663" y="542449"/>
                  </a:moveTo>
                  <a:cubicBezTo>
                    <a:pt x="188944" y="531570"/>
                    <a:pt x="186224" y="520692"/>
                    <a:pt x="186224" y="509813"/>
                  </a:cubicBezTo>
                  <a:cubicBezTo>
                    <a:pt x="186224" y="507093"/>
                    <a:pt x="186224" y="120902"/>
                    <a:pt x="186224" y="118183"/>
                  </a:cubicBezTo>
                  <a:cubicBezTo>
                    <a:pt x="186224" y="85547"/>
                    <a:pt x="156308" y="58350"/>
                    <a:pt x="123672" y="58350"/>
                  </a:cubicBezTo>
                  <a:cubicBezTo>
                    <a:pt x="91036" y="55631"/>
                    <a:pt x="58400" y="85547"/>
                    <a:pt x="58400" y="118183"/>
                  </a:cubicBezTo>
                  <a:cubicBezTo>
                    <a:pt x="58400" y="123622"/>
                    <a:pt x="58400" y="469018"/>
                    <a:pt x="58400" y="469018"/>
                  </a:cubicBezTo>
                  <a:cubicBezTo>
                    <a:pt x="58400" y="498934"/>
                    <a:pt x="55680" y="528851"/>
                    <a:pt x="69279" y="553328"/>
                  </a:cubicBezTo>
                  <a:cubicBezTo>
                    <a:pt x="82877" y="583244"/>
                    <a:pt x="120953" y="605001"/>
                    <a:pt x="161747" y="605001"/>
                  </a:cubicBezTo>
                  <a:cubicBezTo>
                    <a:pt x="199822" y="605001"/>
                    <a:pt x="221580" y="575085"/>
                    <a:pt x="221580" y="575085"/>
                  </a:cubicBezTo>
                  <a:cubicBezTo>
                    <a:pt x="221580" y="575085"/>
                    <a:pt x="202542" y="566926"/>
                    <a:pt x="191663" y="542449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C0135833-3309-460C-8E4A-15D74B05AF6B}"/>
                </a:ext>
              </a:extLst>
            </p:cNvPr>
            <p:cNvSpPr/>
            <p:nvPr/>
          </p:nvSpPr>
          <p:spPr>
            <a:xfrm>
              <a:off x="6320666" y="3416868"/>
              <a:ext cx="435145" cy="462341"/>
            </a:xfrm>
            <a:custGeom>
              <a:avLst/>
              <a:gdLst>
                <a:gd name="connsiteX0" fmla="*/ 302948 w 435145"/>
                <a:gd name="connsiteY0" fmla="*/ 74684 h 462341"/>
                <a:gd name="connsiteX1" fmla="*/ 186003 w 435145"/>
                <a:gd name="connsiteY1" fmla="*/ 148115 h 462341"/>
                <a:gd name="connsiteX2" fmla="*/ 186003 w 435145"/>
                <a:gd name="connsiteY2" fmla="*/ 148115 h 462341"/>
                <a:gd name="connsiteX3" fmla="*/ 186003 w 435145"/>
                <a:gd name="connsiteY3" fmla="*/ 115479 h 462341"/>
                <a:gd name="connsiteX4" fmla="*/ 123450 w 435145"/>
                <a:gd name="connsiteY4" fmla="*/ 58366 h 462341"/>
                <a:gd name="connsiteX5" fmla="*/ 58178 w 435145"/>
                <a:gd name="connsiteY5" fmla="*/ 115479 h 462341"/>
                <a:gd name="connsiteX6" fmla="*/ 58178 w 435145"/>
                <a:gd name="connsiteY6" fmla="*/ 362967 h 462341"/>
                <a:gd name="connsiteX7" fmla="*/ 120730 w 435145"/>
                <a:gd name="connsiteY7" fmla="*/ 422800 h 462341"/>
                <a:gd name="connsiteX8" fmla="*/ 186003 w 435145"/>
                <a:gd name="connsiteY8" fmla="*/ 362967 h 462341"/>
                <a:gd name="connsiteX9" fmla="*/ 186003 w 435145"/>
                <a:gd name="connsiteY9" fmla="*/ 213386 h 462341"/>
                <a:gd name="connsiteX10" fmla="*/ 186003 w 435145"/>
                <a:gd name="connsiteY10" fmla="*/ 213386 h 462341"/>
                <a:gd name="connsiteX11" fmla="*/ 229517 w 435145"/>
                <a:gd name="connsiteY11" fmla="*/ 161713 h 462341"/>
                <a:gd name="connsiteX12" fmla="*/ 259433 w 435145"/>
                <a:gd name="connsiteY12" fmla="*/ 194349 h 462341"/>
                <a:gd name="connsiteX13" fmla="*/ 259433 w 435145"/>
                <a:gd name="connsiteY13" fmla="*/ 362967 h 462341"/>
                <a:gd name="connsiteX14" fmla="*/ 321985 w 435145"/>
                <a:gd name="connsiteY14" fmla="*/ 422800 h 462341"/>
                <a:gd name="connsiteX15" fmla="*/ 387257 w 435145"/>
                <a:gd name="connsiteY15" fmla="*/ 362967 h 462341"/>
                <a:gd name="connsiteX16" fmla="*/ 387257 w 435145"/>
                <a:gd name="connsiteY16" fmla="*/ 273219 h 462341"/>
                <a:gd name="connsiteX17" fmla="*/ 302948 w 435145"/>
                <a:gd name="connsiteY17" fmla="*/ 74684 h 4623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435145" h="462341">
                  <a:moveTo>
                    <a:pt x="302948" y="74684"/>
                  </a:moveTo>
                  <a:cubicBezTo>
                    <a:pt x="234956" y="74684"/>
                    <a:pt x="196881" y="131797"/>
                    <a:pt x="186003" y="148115"/>
                  </a:cubicBezTo>
                  <a:lnTo>
                    <a:pt x="186003" y="148115"/>
                  </a:lnTo>
                  <a:cubicBezTo>
                    <a:pt x="186003" y="129077"/>
                    <a:pt x="186003" y="115479"/>
                    <a:pt x="186003" y="115479"/>
                  </a:cubicBezTo>
                  <a:cubicBezTo>
                    <a:pt x="186003" y="82843"/>
                    <a:pt x="156086" y="58366"/>
                    <a:pt x="123450" y="58366"/>
                  </a:cubicBezTo>
                  <a:cubicBezTo>
                    <a:pt x="90814" y="55646"/>
                    <a:pt x="58178" y="82843"/>
                    <a:pt x="58178" y="115479"/>
                  </a:cubicBezTo>
                  <a:cubicBezTo>
                    <a:pt x="58178" y="120918"/>
                    <a:pt x="58178" y="360248"/>
                    <a:pt x="58178" y="362967"/>
                  </a:cubicBezTo>
                  <a:cubicBezTo>
                    <a:pt x="58178" y="395603"/>
                    <a:pt x="88095" y="422800"/>
                    <a:pt x="120730" y="422800"/>
                  </a:cubicBezTo>
                  <a:cubicBezTo>
                    <a:pt x="153366" y="425519"/>
                    <a:pt x="186003" y="395603"/>
                    <a:pt x="186003" y="362967"/>
                  </a:cubicBezTo>
                  <a:cubicBezTo>
                    <a:pt x="186003" y="360248"/>
                    <a:pt x="186003" y="281378"/>
                    <a:pt x="186003" y="213386"/>
                  </a:cubicBezTo>
                  <a:lnTo>
                    <a:pt x="186003" y="213386"/>
                  </a:lnTo>
                  <a:cubicBezTo>
                    <a:pt x="191442" y="186190"/>
                    <a:pt x="205040" y="161713"/>
                    <a:pt x="229517" y="161713"/>
                  </a:cubicBezTo>
                  <a:cubicBezTo>
                    <a:pt x="259433" y="161713"/>
                    <a:pt x="259433" y="194349"/>
                    <a:pt x="259433" y="194349"/>
                  </a:cubicBezTo>
                  <a:lnTo>
                    <a:pt x="259433" y="362967"/>
                  </a:lnTo>
                  <a:cubicBezTo>
                    <a:pt x="259433" y="395603"/>
                    <a:pt x="289349" y="422800"/>
                    <a:pt x="321985" y="422800"/>
                  </a:cubicBezTo>
                  <a:cubicBezTo>
                    <a:pt x="354621" y="425519"/>
                    <a:pt x="387257" y="395603"/>
                    <a:pt x="387257" y="362967"/>
                  </a:cubicBezTo>
                  <a:lnTo>
                    <a:pt x="387257" y="273219"/>
                  </a:lnTo>
                  <a:cubicBezTo>
                    <a:pt x="387257" y="183470"/>
                    <a:pt x="395416" y="71964"/>
                    <a:pt x="302948" y="74684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25215576-30F2-4AAD-8485-216D0761A724}"/>
                </a:ext>
              </a:extLst>
            </p:cNvPr>
            <p:cNvSpPr/>
            <p:nvPr/>
          </p:nvSpPr>
          <p:spPr>
            <a:xfrm>
              <a:off x="7960620" y="3416868"/>
              <a:ext cx="435145" cy="462341"/>
            </a:xfrm>
            <a:custGeom>
              <a:avLst/>
              <a:gdLst>
                <a:gd name="connsiteX0" fmla="*/ 302948 w 435145"/>
                <a:gd name="connsiteY0" fmla="*/ 74684 h 462341"/>
                <a:gd name="connsiteX1" fmla="*/ 186002 w 435145"/>
                <a:gd name="connsiteY1" fmla="*/ 148115 h 462341"/>
                <a:gd name="connsiteX2" fmla="*/ 186002 w 435145"/>
                <a:gd name="connsiteY2" fmla="*/ 148115 h 462341"/>
                <a:gd name="connsiteX3" fmla="*/ 186002 w 435145"/>
                <a:gd name="connsiteY3" fmla="*/ 115479 h 462341"/>
                <a:gd name="connsiteX4" fmla="*/ 123450 w 435145"/>
                <a:gd name="connsiteY4" fmla="*/ 58366 h 462341"/>
                <a:gd name="connsiteX5" fmla="*/ 58178 w 435145"/>
                <a:gd name="connsiteY5" fmla="*/ 115479 h 462341"/>
                <a:gd name="connsiteX6" fmla="*/ 58178 w 435145"/>
                <a:gd name="connsiteY6" fmla="*/ 362967 h 462341"/>
                <a:gd name="connsiteX7" fmla="*/ 120730 w 435145"/>
                <a:gd name="connsiteY7" fmla="*/ 422800 h 462341"/>
                <a:gd name="connsiteX8" fmla="*/ 186002 w 435145"/>
                <a:gd name="connsiteY8" fmla="*/ 362967 h 462341"/>
                <a:gd name="connsiteX9" fmla="*/ 186002 w 435145"/>
                <a:gd name="connsiteY9" fmla="*/ 213386 h 462341"/>
                <a:gd name="connsiteX10" fmla="*/ 186002 w 435145"/>
                <a:gd name="connsiteY10" fmla="*/ 213386 h 462341"/>
                <a:gd name="connsiteX11" fmla="*/ 229517 w 435145"/>
                <a:gd name="connsiteY11" fmla="*/ 161713 h 462341"/>
                <a:gd name="connsiteX12" fmla="*/ 259433 w 435145"/>
                <a:gd name="connsiteY12" fmla="*/ 194349 h 462341"/>
                <a:gd name="connsiteX13" fmla="*/ 259433 w 435145"/>
                <a:gd name="connsiteY13" fmla="*/ 362967 h 462341"/>
                <a:gd name="connsiteX14" fmla="*/ 321985 w 435145"/>
                <a:gd name="connsiteY14" fmla="*/ 422800 h 462341"/>
                <a:gd name="connsiteX15" fmla="*/ 387257 w 435145"/>
                <a:gd name="connsiteY15" fmla="*/ 362967 h 462341"/>
                <a:gd name="connsiteX16" fmla="*/ 387257 w 435145"/>
                <a:gd name="connsiteY16" fmla="*/ 273219 h 462341"/>
                <a:gd name="connsiteX17" fmla="*/ 302948 w 435145"/>
                <a:gd name="connsiteY17" fmla="*/ 74684 h 4623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435145" h="462341">
                  <a:moveTo>
                    <a:pt x="302948" y="74684"/>
                  </a:moveTo>
                  <a:cubicBezTo>
                    <a:pt x="234956" y="74684"/>
                    <a:pt x="196881" y="131797"/>
                    <a:pt x="186002" y="148115"/>
                  </a:cubicBezTo>
                  <a:lnTo>
                    <a:pt x="186002" y="148115"/>
                  </a:lnTo>
                  <a:cubicBezTo>
                    <a:pt x="186002" y="129077"/>
                    <a:pt x="186002" y="115479"/>
                    <a:pt x="186002" y="115479"/>
                  </a:cubicBezTo>
                  <a:cubicBezTo>
                    <a:pt x="186002" y="82843"/>
                    <a:pt x="156086" y="58366"/>
                    <a:pt x="123450" y="58366"/>
                  </a:cubicBezTo>
                  <a:cubicBezTo>
                    <a:pt x="90814" y="55646"/>
                    <a:pt x="58178" y="82843"/>
                    <a:pt x="58178" y="115479"/>
                  </a:cubicBezTo>
                  <a:cubicBezTo>
                    <a:pt x="58178" y="120918"/>
                    <a:pt x="58178" y="360248"/>
                    <a:pt x="58178" y="362967"/>
                  </a:cubicBezTo>
                  <a:cubicBezTo>
                    <a:pt x="58178" y="395603"/>
                    <a:pt x="88095" y="422800"/>
                    <a:pt x="120730" y="422800"/>
                  </a:cubicBezTo>
                  <a:cubicBezTo>
                    <a:pt x="153366" y="425519"/>
                    <a:pt x="186002" y="395603"/>
                    <a:pt x="186002" y="362967"/>
                  </a:cubicBezTo>
                  <a:cubicBezTo>
                    <a:pt x="186002" y="360248"/>
                    <a:pt x="186002" y="281378"/>
                    <a:pt x="186002" y="213386"/>
                  </a:cubicBezTo>
                  <a:lnTo>
                    <a:pt x="186002" y="213386"/>
                  </a:lnTo>
                  <a:cubicBezTo>
                    <a:pt x="191442" y="186190"/>
                    <a:pt x="205040" y="161713"/>
                    <a:pt x="229517" y="161713"/>
                  </a:cubicBezTo>
                  <a:cubicBezTo>
                    <a:pt x="259433" y="161713"/>
                    <a:pt x="259433" y="194349"/>
                    <a:pt x="259433" y="194349"/>
                  </a:cubicBezTo>
                  <a:lnTo>
                    <a:pt x="259433" y="362967"/>
                  </a:lnTo>
                  <a:cubicBezTo>
                    <a:pt x="259433" y="395603"/>
                    <a:pt x="289349" y="422800"/>
                    <a:pt x="321985" y="422800"/>
                  </a:cubicBezTo>
                  <a:cubicBezTo>
                    <a:pt x="354621" y="425519"/>
                    <a:pt x="387257" y="395603"/>
                    <a:pt x="387257" y="362967"/>
                  </a:cubicBezTo>
                  <a:lnTo>
                    <a:pt x="387257" y="273219"/>
                  </a:lnTo>
                  <a:cubicBezTo>
                    <a:pt x="384537" y="183470"/>
                    <a:pt x="395416" y="71964"/>
                    <a:pt x="302948" y="74684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/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197F4014-0506-40C3-9D6E-9D29B34F6404}"/>
                </a:ext>
              </a:extLst>
            </p:cNvPr>
            <p:cNvSpPr/>
            <p:nvPr/>
          </p:nvSpPr>
          <p:spPr>
            <a:xfrm>
              <a:off x="5020669" y="3416868"/>
              <a:ext cx="435145" cy="462341"/>
            </a:xfrm>
            <a:custGeom>
              <a:avLst/>
              <a:gdLst>
                <a:gd name="connsiteX0" fmla="*/ 302948 w 435145"/>
                <a:gd name="connsiteY0" fmla="*/ 74684 h 462341"/>
                <a:gd name="connsiteX1" fmla="*/ 186002 w 435145"/>
                <a:gd name="connsiteY1" fmla="*/ 148115 h 462341"/>
                <a:gd name="connsiteX2" fmla="*/ 186002 w 435145"/>
                <a:gd name="connsiteY2" fmla="*/ 148115 h 462341"/>
                <a:gd name="connsiteX3" fmla="*/ 186002 w 435145"/>
                <a:gd name="connsiteY3" fmla="*/ 115479 h 462341"/>
                <a:gd name="connsiteX4" fmla="*/ 123450 w 435145"/>
                <a:gd name="connsiteY4" fmla="*/ 58366 h 462341"/>
                <a:gd name="connsiteX5" fmla="*/ 58178 w 435145"/>
                <a:gd name="connsiteY5" fmla="*/ 115479 h 462341"/>
                <a:gd name="connsiteX6" fmla="*/ 58178 w 435145"/>
                <a:gd name="connsiteY6" fmla="*/ 362967 h 462341"/>
                <a:gd name="connsiteX7" fmla="*/ 120730 w 435145"/>
                <a:gd name="connsiteY7" fmla="*/ 422800 h 462341"/>
                <a:gd name="connsiteX8" fmla="*/ 186002 w 435145"/>
                <a:gd name="connsiteY8" fmla="*/ 362967 h 462341"/>
                <a:gd name="connsiteX9" fmla="*/ 186002 w 435145"/>
                <a:gd name="connsiteY9" fmla="*/ 213386 h 462341"/>
                <a:gd name="connsiteX10" fmla="*/ 186002 w 435145"/>
                <a:gd name="connsiteY10" fmla="*/ 213386 h 462341"/>
                <a:gd name="connsiteX11" fmla="*/ 229517 w 435145"/>
                <a:gd name="connsiteY11" fmla="*/ 161713 h 462341"/>
                <a:gd name="connsiteX12" fmla="*/ 259433 w 435145"/>
                <a:gd name="connsiteY12" fmla="*/ 194349 h 462341"/>
                <a:gd name="connsiteX13" fmla="*/ 259433 w 435145"/>
                <a:gd name="connsiteY13" fmla="*/ 362967 h 462341"/>
                <a:gd name="connsiteX14" fmla="*/ 321985 w 435145"/>
                <a:gd name="connsiteY14" fmla="*/ 422800 h 462341"/>
                <a:gd name="connsiteX15" fmla="*/ 387257 w 435145"/>
                <a:gd name="connsiteY15" fmla="*/ 362967 h 462341"/>
                <a:gd name="connsiteX16" fmla="*/ 387257 w 435145"/>
                <a:gd name="connsiteY16" fmla="*/ 273219 h 462341"/>
                <a:gd name="connsiteX17" fmla="*/ 302948 w 435145"/>
                <a:gd name="connsiteY17" fmla="*/ 74684 h 4623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435145" h="462341">
                  <a:moveTo>
                    <a:pt x="302948" y="74684"/>
                  </a:moveTo>
                  <a:cubicBezTo>
                    <a:pt x="234956" y="74684"/>
                    <a:pt x="196881" y="131797"/>
                    <a:pt x="186002" y="148115"/>
                  </a:cubicBezTo>
                  <a:lnTo>
                    <a:pt x="186002" y="148115"/>
                  </a:lnTo>
                  <a:cubicBezTo>
                    <a:pt x="186002" y="129077"/>
                    <a:pt x="186002" y="115479"/>
                    <a:pt x="186002" y="115479"/>
                  </a:cubicBezTo>
                  <a:cubicBezTo>
                    <a:pt x="186002" y="82843"/>
                    <a:pt x="156086" y="58366"/>
                    <a:pt x="123450" y="58366"/>
                  </a:cubicBezTo>
                  <a:cubicBezTo>
                    <a:pt x="90814" y="55646"/>
                    <a:pt x="58178" y="82843"/>
                    <a:pt x="58178" y="115479"/>
                  </a:cubicBezTo>
                  <a:cubicBezTo>
                    <a:pt x="58178" y="120918"/>
                    <a:pt x="58178" y="360248"/>
                    <a:pt x="58178" y="362967"/>
                  </a:cubicBezTo>
                  <a:cubicBezTo>
                    <a:pt x="58178" y="395603"/>
                    <a:pt x="88094" y="422800"/>
                    <a:pt x="120730" y="422800"/>
                  </a:cubicBezTo>
                  <a:cubicBezTo>
                    <a:pt x="153366" y="425519"/>
                    <a:pt x="186002" y="395603"/>
                    <a:pt x="186002" y="362967"/>
                  </a:cubicBezTo>
                  <a:cubicBezTo>
                    <a:pt x="186002" y="360248"/>
                    <a:pt x="186002" y="281378"/>
                    <a:pt x="186002" y="213386"/>
                  </a:cubicBezTo>
                  <a:lnTo>
                    <a:pt x="186002" y="213386"/>
                  </a:lnTo>
                  <a:cubicBezTo>
                    <a:pt x="191442" y="186190"/>
                    <a:pt x="205040" y="161713"/>
                    <a:pt x="229517" y="161713"/>
                  </a:cubicBezTo>
                  <a:cubicBezTo>
                    <a:pt x="259433" y="161713"/>
                    <a:pt x="259433" y="194349"/>
                    <a:pt x="259433" y="194349"/>
                  </a:cubicBezTo>
                  <a:lnTo>
                    <a:pt x="259433" y="362967"/>
                  </a:lnTo>
                  <a:cubicBezTo>
                    <a:pt x="259433" y="395603"/>
                    <a:pt x="289349" y="422800"/>
                    <a:pt x="321985" y="422800"/>
                  </a:cubicBezTo>
                  <a:cubicBezTo>
                    <a:pt x="354621" y="425519"/>
                    <a:pt x="387257" y="395603"/>
                    <a:pt x="387257" y="362967"/>
                  </a:cubicBezTo>
                  <a:lnTo>
                    <a:pt x="387257" y="273219"/>
                  </a:lnTo>
                  <a:cubicBezTo>
                    <a:pt x="384537" y="183470"/>
                    <a:pt x="395416" y="71964"/>
                    <a:pt x="302948" y="74684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2CECD138-51CC-425A-86A7-D780954B759C}"/>
                </a:ext>
              </a:extLst>
            </p:cNvPr>
            <p:cNvSpPr/>
            <p:nvPr/>
          </p:nvSpPr>
          <p:spPr>
            <a:xfrm>
              <a:off x="7616289" y="3475234"/>
              <a:ext cx="364436" cy="364434"/>
            </a:xfrm>
            <a:custGeom>
              <a:avLst/>
              <a:gdLst>
                <a:gd name="connsiteX0" fmla="*/ 182218 w 364436"/>
                <a:gd name="connsiteY0" fmla="*/ 73431 h 364434"/>
                <a:gd name="connsiteX1" fmla="*/ 130544 w 364436"/>
                <a:gd name="connsiteY1" fmla="*/ 179499 h 364434"/>
                <a:gd name="connsiteX2" fmla="*/ 182218 w 364436"/>
                <a:gd name="connsiteY2" fmla="*/ 285565 h 364434"/>
                <a:gd name="connsiteX3" fmla="*/ 233891 w 364436"/>
                <a:gd name="connsiteY3" fmla="*/ 179499 h 364434"/>
                <a:gd name="connsiteX4" fmla="*/ 182218 w 364436"/>
                <a:gd name="connsiteY4" fmla="*/ 73431 h 364434"/>
                <a:gd name="connsiteX5" fmla="*/ 182219 w 364436"/>
                <a:gd name="connsiteY5" fmla="*/ 0 h 364434"/>
                <a:gd name="connsiteX6" fmla="*/ 364436 w 364436"/>
                <a:gd name="connsiteY6" fmla="*/ 182217 h 364434"/>
                <a:gd name="connsiteX7" fmla="*/ 182219 w 364436"/>
                <a:gd name="connsiteY7" fmla="*/ 364434 h 364434"/>
                <a:gd name="connsiteX8" fmla="*/ 0 w 364436"/>
                <a:gd name="connsiteY8" fmla="*/ 182217 h 364434"/>
                <a:gd name="connsiteX9" fmla="*/ 182219 w 364436"/>
                <a:gd name="connsiteY9" fmla="*/ 0 h 3644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64436" h="364434">
                  <a:moveTo>
                    <a:pt x="182218" y="73431"/>
                  </a:moveTo>
                  <a:cubicBezTo>
                    <a:pt x="152302" y="76151"/>
                    <a:pt x="130544" y="114226"/>
                    <a:pt x="130544" y="179499"/>
                  </a:cubicBezTo>
                  <a:cubicBezTo>
                    <a:pt x="130544" y="244770"/>
                    <a:pt x="146862" y="285565"/>
                    <a:pt x="182218" y="285565"/>
                  </a:cubicBezTo>
                  <a:cubicBezTo>
                    <a:pt x="217573" y="285565"/>
                    <a:pt x="233891" y="247490"/>
                    <a:pt x="233891" y="179499"/>
                  </a:cubicBezTo>
                  <a:cubicBezTo>
                    <a:pt x="233891" y="114226"/>
                    <a:pt x="212134" y="73431"/>
                    <a:pt x="182218" y="73431"/>
                  </a:cubicBezTo>
                  <a:close/>
                  <a:moveTo>
                    <a:pt x="182219" y="0"/>
                  </a:moveTo>
                  <a:cubicBezTo>
                    <a:pt x="282846" y="0"/>
                    <a:pt x="364436" y="81590"/>
                    <a:pt x="364436" y="182217"/>
                  </a:cubicBezTo>
                  <a:cubicBezTo>
                    <a:pt x="364436" y="282844"/>
                    <a:pt x="282846" y="364434"/>
                    <a:pt x="182219" y="364434"/>
                  </a:cubicBezTo>
                  <a:cubicBezTo>
                    <a:pt x="81591" y="364434"/>
                    <a:pt x="0" y="282844"/>
                    <a:pt x="0" y="182217"/>
                  </a:cubicBezTo>
                  <a:cubicBezTo>
                    <a:pt x="0" y="81590"/>
                    <a:pt x="81591" y="0"/>
                    <a:pt x="182219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2672872F-0F50-4B3B-9CEE-35C229AA0CF9}"/>
                </a:ext>
              </a:extLst>
            </p:cNvPr>
            <p:cNvSpPr/>
            <p:nvPr/>
          </p:nvSpPr>
          <p:spPr>
            <a:xfrm>
              <a:off x="6743101" y="3464184"/>
              <a:ext cx="372773" cy="375657"/>
            </a:xfrm>
            <a:custGeom>
              <a:avLst/>
              <a:gdLst>
                <a:gd name="connsiteX0" fmla="*/ 176958 w 372773"/>
                <a:gd name="connsiteY0" fmla="*/ 98080 h 375657"/>
                <a:gd name="connsiteX1" fmla="*/ 125284 w 372773"/>
                <a:gd name="connsiteY1" fmla="*/ 190548 h 375657"/>
                <a:gd name="connsiteX2" fmla="*/ 176958 w 372773"/>
                <a:gd name="connsiteY2" fmla="*/ 283017 h 375657"/>
                <a:gd name="connsiteX3" fmla="*/ 228631 w 372773"/>
                <a:gd name="connsiteY3" fmla="*/ 190548 h 375657"/>
                <a:gd name="connsiteX4" fmla="*/ 176958 w 372773"/>
                <a:gd name="connsiteY4" fmla="*/ 98080 h 375657"/>
                <a:gd name="connsiteX5" fmla="*/ 307501 w 372773"/>
                <a:gd name="connsiteY5" fmla="*/ 172 h 375657"/>
                <a:gd name="connsiteX6" fmla="*/ 372773 w 372773"/>
                <a:gd name="connsiteY6" fmla="*/ 62724 h 375657"/>
                <a:gd name="connsiteX7" fmla="*/ 372773 w 372773"/>
                <a:gd name="connsiteY7" fmla="*/ 312934 h 375657"/>
                <a:gd name="connsiteX8" fmla="*/ 302061 w 372773"/>
                <a:gd name="connsiteY8" fmla="*/ 375486 h 375657"/>
                <a:gd name="connsiteX9" fmla="*/ 239509 w 372773"/>
                <a:gd name="connsiteY9" fmla="*/ 326532 h 375657"/>
                <a:gd name="connsiteX10" fmla="*/ 179677 w 372773"/>
                <a:gd name="connsiteY10" fmla="*/ 370046 h 375657"/>
                <a:gd name="connsiteX11" fmla="*/ 70890 w 372773"/>
                <a:gd name="connsiteY11" fmla="*/ 353728 h 375657"/>
                <a:gd name="connsiteX12" fmla="*/ 128003 w 372773"/>
                <a:gd name="connsiteY12" fmla="*/ 11051 h 375657"/>
                <a:gd name="connsiteX13" fmla="*/ 236790 w 372773"/>
                <a:gd name="connsiteY13" fmla="*/ 70883 h 375657"/>
                <a:gd name="connsiteX14" fmla="*/ 236790 w 372773"/>
                <a:gd name="connsiteY14" fmla="*/ 62724 h 375657"/>
                <a:gd name="connsiteX15" fmla="*/ 307501 w 372773"/>
                <a:gd name="connsiteY15" fmla="*/ 172 h 3756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72773" h="375657">
                  <a:moveTo>
                    <a:pt x="176958" y="98080"/>
                  </a:moveTo>
                  <a:cubicBezTo>
                    <a:pt x="147042" y="100800"/>
                    <a:pt x="125284" y="133436"/>
                    <a:pt x="125284" y="190548"/>
                  </a:cubicBezTo>
                  <a:cubicBezTo>
                    <a:pt x="125284" y="247661"/>
                    <a:pt x="141602" y="283017"/>
                    <a:pt x="176958" y="283017"/>
                  </a:cubicBezTo>
                  <a:cubicBezTo>
                    <a:pt x="212314" y="283017"/>
                    <a:pt x="228631" y="247661"/>
                    <a:pt x="228631" y="190548"/>
                  </a:cubicBezTo>
                  <a:cubicBezTo>
                    <a:pt x="228631" y="133436"/>
                    <a:pt x="206874" y="98080"/>
                    <a:pt x="176958" y="98080"/>
                  </a:cubicBezTo>
                  <a:close/>
                  <a:moveTo>
                    <a:pt x="307501" y="172"/>
                  </a:moveTo>
                  <a:cubicBezTo>
                    <a:pt x="340137" y="172"/>
                    <a:pt x="372773" y="30088"/>
                    <a:pt x="372773" y="62724"/>
                  </a:cubicBezTo>
                  <a:cubicBezTo>
                    <a:pt x="372773" y="65444"/>
                    <a:pt x="372773" y="307494"/>
                    <a:pt x="372773" y="312934"/>
                  </a:cubicBezTo>
                  <a:cubicBezTo>
                    <a:pt x="370053" y="348289"/>
                    <a:pt x="337417" y="378205"/>
                    <a:pt x="302061" y="375486"/>
                  </a:cubicBezTo>
                  <a:cubicBezTo>
                    <a:pt x="274865" y="372766"/>
                    <a:pt x="247668" y="353728"/>
                    <a:pt x="239509" y="326532"/>
                  </a:cubicBezTo>
                  <a:cubicBezTo>
                    <a:pt x="225911" y="348289"/>
                    <a:pt x="198715" y="364607"/>
                    <a:pt x="179677" y="370046"/>
                  </a:cubicBezTo>
                  <a:cubicBezTo>
                    <a:pt x="147041" y="378205"/>
                    <a:pt x="100807" y="372766"/>
                    <a:pt x="70890" y="353728"/>
                  </a:cubicBezTo>
                  <a:cubicBezTo>
                    <a:pt x="-35177" y="285737"/>
                    <a:pt x="-27018" y="11051"/>
                    <a:pt x="128003" y="11051"/>
                  </a:cubicBezTo>
                  <a:cubicBezTo>
                    <a:pt x="185116" y="11051"/>
                    <a:pt x="220471" y="49126"/>
                    <a:pt x="236790" y="70883"/>
                  </a:cubicBezTo>
                  <a:cubicBezTo>
                    <a:pt x="236790" y="70883"/>
                    <a:pt x="236790" y="65444"/>
                    <a:pt x="236790" y="62724"/>
                  </a:cubicBezTo>
                  <a:cubicBezTo>
                    <a:pt x="239509" y="27369"/>
                    <a:pt x="272145" y="-2547"/>
                    <a:pt x="307501" y="172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/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04A581DD-06BD-44EA-9E2D-8FB253851F92}"/>
                </a:ext>
              </a:extLst>
            </p:cNvPr>
            <p:cNvSpPr/>
            <p:nvPr/>
          </p:nvSpPr>
          <p:spPr>
            <a:xfrm>
              <a:off x="8380335" y="3464184"/>
              <a:ext cx="372772" cy="375657"/>
            </a:xfrm>
            <a:custGeom>
              <a:avLst/>
              <a:gdLst>
                <a:gd name="connsiteX0" fmla="*/ 176957 w 372772"/>
                <a:gd name="connsiteY0" fmla="*/ 98080 h 375657"/>
                <a:gd name="connsiteX1" fmla="*/ 125282 w 372772"/>
                <a:gd name="connsiteY1" fmla="*/ 190548 h 375657"/>
                <a:gd name="connsiteX2" fmla="*/ 176957 w 372772"/>
                <a:gd name="connsiteY2" fmla="*/ 283017 h 375657"/>
                <a:gd name="connsiteX3" fmla="*/ 228630 w 372772"/>
                <a:gd name="connsiteY3" fmla="*/ 190548 h 375657"/>
                <a:gd name="connsiteX4" fmla="*/ 176957 w 372772"/>
                <a:gd name="connsiteY4" fmla="*/ 98080 h 375657"/>
                <a:gd name="connsiteX5" fmla="*/ 307501 w 372772"/>
                <a:gd name="connsiteY5" fmla="*/ 172 h 375657"/>
                <a:gd name="connsiteX6" fmla="*/ 372772 w 372772"/>
                <a:gd name="connsiteY6" fmla="*/ 62724 h 375657"/>
                <a:gd name="connsiteX7" fmla="*/ 372772 w 372772"/>
                <a:gd name="connsiteY7" fmla="*/ 312934 h 375657"/>
                <a:gd name="connsiteX8" fmla="*/ 302062 w 372772"/>
                <a:gd name="connsiteY8" fmla="*/ 375486 h 375657"/>
                <a:gd name="connsiteX9" fmla="*/ 239509 w 372772"/>
                <a:gd name="connsiteY9" fmla="*/ 326532 h 375657"/>
                <a:gd name="connsiteX10" fmla="*/ 179677 w 372772"/>
                <a:gd name="connsiteY10" fmla="*/ 370046 h 375657"/>
                <a:gd name="connsiteX11" fmla="*/ 70890 w 372772"/>
                <a:gd name="connsiteY11" fmla="*/ 353728 h 375657"/>
                <a:gd name="connsiteX12" fmla="*/ 128002 w 372772"/>
                <a:gd name="connsiteY12" fmla="*/ 11051 h 375657"/>
                <a:gd name="connsiteX13" fmla="*/ 236790 w 372772"/>
                <a:gd name="connsiteY13" fmla="*/ 70883 h 375657"/>
                <a:gd name="connsiteX14" fmla="*/ 236790 w 372772"/>
                <a:gd name="connsiteY14" fmla="*/ 62724 h 375657"/>
                <a:gd name="connsiteX15" fmla="*/ 307501 w 372772"/>
                <a:gd name="connsiteY15" fmla="*/ 172 h 3756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72772" h="375657">
                  <a:moveTo>
                    <a:pt x="176957" y="98080"/>
                  </a:moveTo>
                  <a:cubicBezTo>
                    <a:pt x="147039" y="100800"/>
                    <a:pt x="125282" y="133436"/>
                    <a:pt x="125282" y="190548"/>
                  </a:cubicBezTo>
                  <a:cubicBezTo>
                    <a:pt x="125282" y="247661"/>
                    <a:pt x="141600" y="283017"/>
                    <a:pt x="176957" y="283017"/>
                  </a:cubicBezTo>
                  <a:cubicBezTo>
                    <a:pt x="212312" y="283017"/>
                    <a:pt x="228630" y="247661"/>
                    <a:pt x="228630" y="190548"/>
                  </a:cubicBezTo>
                  <a:cubicBezTo>
                    <a:pt x="228630" y="133436"/>
                    <a:pt x="206873" y="98080"/>
                    <a:pt x="176957" y="98080"/>
                  </a:cubicBezTo>
                  <a:close/>
                  <a:moveTo>
                    <a:pt x="307501" y="172"/>
                  </a:moveTo>
                  <a:cubicBezTo>
                    <a:pt x="340137" y="172"/>
                    <a:pt x="372772" y="30088"/>
                    <a:pt x="372772" y="62724"/>
                  </a:cubicBezTo>
                  <a:cubicBezTo>
                    <a:pt x="372772" y="65444"/>
                    <a:pt x="372772" y="307494"/>
                    <a:pt x="372772" y="312934"/>
                  </a:cubicBezTo>
                  <a:cubicBezTo>
                    <a:pt x="370053" y="348289"/>
                    <a:pt x="337417" y="378205"/>
                    <a:pt x="302062" y="375486"/>
                  </a:cubicBezTo>
                  <a:cubicBezTo>
                    <a:pt x="274865" y="372766"/>
                    <a:pt x="247668" y="353728"/>
                    <a:pt x="239509" y="326532"/>
                  </a:cubicBezTo>
                  <a:cubicBezTo>
                    <a:pt x="228630" y="348289"/>
                    <a:pt x="198714" y="364607"/>
                    <a:pt x="179677" y="370046"/>
                  </a:cubicBezTo>
                  <a:cubicBezTo>
                    <a:pt x="147040" y="378205"/>
                    <a:pt x="100806" y="372766"/>
                    <a:pt x="70890" y="353728"/>
                  </a:cubicBezTo>
                  <a:cubicBezTo>
                    <a:pt x="-35177" y="285737"/>
                    <a:pt x="-27018" y="11051"/>
                    <a:pt x="128002" y="11051"/>
                  </a:cubicBezTo>
                  <a:cubicBezTo>
                    <a:pt x="185116" y="11051"/>
                    <a:pt x="220472" y="49126"/>
                    <a:pt x="236790" y="70883"/>
                  </a:cubicBezTo>
                  <a:cubicBezTo>
                    <a:pt x="236790" y="70883"/>
                    <a:pt x="236790" y="65444"/>
                    <a:pt x="236790" y="62724"/>
                  </a:cubicBezTo>
                  <a:cubicBezTo>
                    <a:pt x="239509" y="27369"/>
                    <a:pt x="272145" y="-2547"/>
                    <a:pt x="307501" y="172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/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78E29341-2391-4754-93F4-DE7EF2D3370D}"/>
                </a:ext>
              </a:extLst>
            </p:cNvPr>
            <p:cNvSpPr/>
            <p:nvPr/>
          </p:nvSpPr>
          <p:spPr>
            <a:xfrm>
              <a:off x="7389492" y="3444253"/>
              <a:ext cx="217573" cy="435145"/>
            </a:xfrm>
            <a:custGeom>
              <a:avLst/>
              <a:gdLst>
                <a:gd name="connsiteX0" fmla="*/ 186002 w 217572"/>
                <a:gd name="connsiteY0" fmla="*/ 118011 h 435144"/>
                <a:gd name="connsiteX1" fmla="*/ 128890 w 217572"/>
                <a:gd name="connsiteY1" fmla="*/ 58178 h 435144"/>
                <a:gd name="connsiteX2" fmla="*/ 123450 w 217572"/>
                <a:gd name="connsiteY2" fmla="*/ 58178 h 435144"/>
                <a:gd name="connsiteX3" fmla="*/ 58178 w 217572"/>
                <a:gd name="connsiteY3" fmla="*/ 115291 h 435144"/>
                <a:gd name="connsiteX4" fmla="*/ 58178 w 217572"/>
                <a:gd name="connsiteY4" fmla="*/ 232236 h 435144"/>
                <a:gd name="connsiteX5" fmla="*/ 58178 w 217572"/>
                <a:gd name="connsiteY5" fmla="*/ 232236 h 435144"/>
                <a:gd name="connsiteX6" fmla="*/ 58178 w 217572"/>
                <a:gd name="connsiteY6" fmla="*/ 335583 h 435144"/>
                <a:gd name="connsiteX7" fmla="*/ 115291 w 217572"/>
                <a:gd name="connsiteY7" fmla="*/ 395415 h 435144"/>
                <a:gd name="connsiteX8" fmla="*/ 120730 w 217572"/>
                <a:gd name="connsiteY8" fmla="*/ 395415 h 435144"/>
                <a:gd name="connsiteX9" fmla="*/ 186002 w 217572"/>
                <a:gd name="connsiteY9" fmla="*/ 338303 h 435144"/>
                <a:gd name="connsiteX10" fmla="*/ 186002 w 217572"/>
                <a:gd name="connsiteY10" fmla="*/ 240395 h 435144"/>
                <a:gd name="connsiteX11" fmla="*/ 186002 w 217572"/>
                <a:gd name="connsiteY11" fmla="*/ 240395 h 435144"/>
                <a:gd name="connsiteX12" fmla="*/ 186002 w 217572"/>
                <a:gd name="connsiteY12" fmla="*/ 118011 h 4351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17572" h="435144">
                  <a:moveTo>
                    <a:pt x="186002" y="118011"/>
                  </a:moveTo>
                  <a:cubicBezTo>
                    <a:pt x="183283" y="85375"/>
                    <a:pt x="158806" y="60898"/>
                    <a:pt x="128890" y="58178"/>
                  </a:cubicBezTo>
                  <a:cubicBezTo>
                    <a:pt x="126170" y="58178"/>
                    <a:pt x="126170" y="58178"/>
                    <a:pt x="123450" y="58178"/>
                  </a:cubicBezTo>
                  <a:cubicBezTo>
                    <a:pt x="96254" y="58178"/>
                    <a:pt x="58178" y="82655"/>
                    <a:pt x="58178" y="115291"/>
                  </a:cubicBezTo>
                  <a:lnTo>
                    <a:pt x="58178" y="232236"/>
                  </a:lnTo>
                  <a:lnTo>
                    <a:pt x="58178" y="232236"/>
                  </a:lnTo>
                  <a:cubicBezTo>
                    <a:pt x="58178" y="270311"/>
                    <a:pt x="58178" y="335583"/>
                    <a:pt x="58178" y="335583"/>
                  </a:cubicBezTo>
                  <a:cubicBezTo>
                    <a:pt x="60898" y="368219"/>
                    <a:pt x="85375" y="392696"/>
                    <a:pt x="115291" y="395415"/>
                  </a:cubicBezTo>
                  <a:cubicBezTo>
                    <a:pt x="118011" y="395415"/>
                    <a:pt x="118011" y="395415"/>
                    <a:pt x="120730" y="395415"/>
                  </a:cubicBezTo>
                  <a:cubicBezTo>
                    <a:pt x="147927" y="395415"/>
                    <a:pt x="186002" y="370938"/>
                    <a:pt x="186002" y="338303"/>
                  </a:cubicBezTo>
                  <a:lnTo>
                    <a:pt x="186002" y="240395"/>
                  </a:lnTo>
                  <a:lnTo>
                    <a:pt x="186002" y="240395"/>
                  </a:lnTo>
                  <a:cubicBezTo>
                    <a:pt x="186002" y="202320"/>
                    <a:pt x="186002" y="118011"/>
                    <a:pt x="186002" y="118011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/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95B7127F-7A53-40C2-B41D-3D96503E3CC7}"/>
                </a:ext>
              </a:extLst>
            </p:cNvPr>
            <p:cNvSpPr/>
            <p:nvPr/>
          </p:nvSpPr>
          <p:spPr>
            <a:xfrm>
              <a:off x="7392212" y="3280901"/>
              <a:ext cx="217573" cy="217572"/>
            </a:xfrm>
            <a:custGeom>
              <a:avLst/>
              <a:gdLst>
                <a:gd name="connsiteX0" fmla="*/ 183282 w 217572"/>
                <a:gd name="connsiteY0" fmla="*/ 120902 h 217572"/>
                <a:gd name="connsiteX1" fmla="*/ 120730 w 217572"/>
                <a:gd name="connsiteY1" fmla="*/ 183454 h 217572"/>
                <a:gd name="connsiteX2" fmla="*/ 58178 w 217572"/>
                <a:gd name="connsiteY2" fmla="*/ 120902 h 217572"/>
                <a:gd name="connsiteX3" fmla="*/ 120730 w 217572"/>
                <a:gd name="connsiteY3" fmla="*/ 58350 h 217572"/>
                <a:gd name="connsiteX4" fmla="*/ 183282 w 217572"/>
                <a:gd name="connsiteY4" fmla="*/ 120902 h 2175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17572" h="217572">
                  <a:moveTo>
                    <a:pt x="183282" y="120902"/>
                  </a:moveTo>
                  <a:cubicBezTo>
                    <a:pt x="183282" y="156258"/>
                    <a:pt x="156086" y="183454"/>
                    <a:pt x="120730" y="183454"/>
                  </a:cubicBezTo>
                  <a:cubicBezTo>
                    <a:pt x="85375" y="183454"/>
                    <a:pt x="58178" y="156258"/>
                    <a:pt x="58178" y="120902"/>
                  </a:cubicBezTo>
                  <a:cubicBezTo>
                    <a:pt x="58178" y="85547"/>
                    <a:pt x="85375" y="58350"/>
                    <a:pt x="120730" y="58350"/>
                  </a:cubicBezTo>
                  <a:cubicBezTo>
                    <a:pt x="153366" y="55630"/>
                    <a:pt x="183282" y="85547"/>
                    <a:pt x="183282" y="120902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/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214B5140-BD02-4841-AF70-6D377E4DF2E9}"/>
                </a:ext>
              </a:extLst>
            </p:cNvPr>
            <p:cNvSpPr/>
            <p:nvPr/>
          </p:nvSpPr>
          <p:spPr>
            <a:xfrm>
              <a:off x="6005186" y="3416884"/>
              <a:ext cx="380752" cy="462341"/>
            </a:xfrm>
            <a:custGeom>
              <a:avLst/>
              <a:gdLst>
                <a:gd name="connsiteX0" fmla="*/ 270312 w 380752"/>
                <a:gd name="connsiteY0" fmla="*/ 69229 h 462341"/>
                <a:gd name="connsiteX1" fmla="*/ 188722 w 380752"/>
                <a:gd name="connsiteY1" fmla="*/ 134501 h 462341"/>
                <a:gd name="connsiteX2" fmla="*/ 188722 w 380752"/>
                <a:gd name="connsiteY2" fmla="*/ 118183 h 462341"/>
                <a:gd name="connsiteX3" fmla="*/ 126170 w 380752"/>
                <a:gd name="connsiteY3" fmla="*/ 58350 h 462341"/>
                <a:gd name="connsiteX4" fmla="*/ 58178 w 380752"/>
                <a:gd name="connsiteY4" fmla="*/ 118183 h 462341"/>
                <a:gd name="connsiteX5" fmla="*/ 58178 w 380752"/>
                <a:gd name="connsiteY5" fmla="*/ 210651 h 462341"/>
                <a:gd name="connsiteX6" fmla="*/ 58178 w 380752"/>
                <a:gd name="connsiteY6" fmla="*/ 365671 h 462341"/>
                <a:gd name="connsiteX7" fmla="*/ 58178 w 380752"/>
                <a:gd name="connsiteY7" fmla="*/ 365671 h 462341"/>
                <a:gd name="connsiteX8" fmla="*/ 120730 w 380752"/>
                <a:gd name="connsiteY8" fmla="*/ 425504 h 462341"/>
                <a:gd name="connsiteX9" fmla="*/ 186002 w 380752"/>
                <a:gd name="connsiteY9" fmla="*/ 365671 h 462341"/>
                <a:gd name="connsiteX10" fmla="*/ 186002 w 380752"/>
                <a:gd name="connsiteY10" fmla="*/ 365671 h 462341"/>
                <a:gd name="connsiteX11" fmla="*/ 186002 w 380752"/>
                <a:gd name="connsiteY11" fmla="*/ 210651 h 462341"/>
                <a:gd name="connsiteX12" fmla="*/ 215919 w 380752"/>
                <a:gd name="connsiteY12" fmla="*/ 158978 h 462341"/>
                <a:gd name="connsiteX13" fmla="*/ 275751 w 380752"/>
                <a:gd name="connsiteY13" fmla="*/ 221530 h 462341"/>
                <a:gd name="connsiteX14" fmla="*/ 270312 w 380752"/>
                <a:gd name="connsiteY14" fmla="*/ 69229 h 4623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80752" h="462341">
                  <a:moveTo>
                    <a:pt x="270312" y="69229"/>
                  </a:moveTo>
                  <a:cubicBezTo>
                    <a:pt x="232236" y="71949"/>
                    <a:pt x="213199" y="99145"/>
                    <a:pt x="188722" y="134501"/>
                  </a:cubicBezTo>
                  <a:cubicBezTo>
                    <a:pt x="188722" y="134501"/>
                    <a:pt x="188722" y="118183"/>
                    <a:pt x="188722" y="118183"/>
                  </a:cubicBezTo>
                  <a:cubicBezTo>
                    <a:pt x="188722" y="85547"/>
                    <a:pt x="158806" y="58350"/>
                    <a:pt x="126170" y="58350"/>
                  </a:cubicBezTo>
                  <a:cubicBezTo>
                    <a:pt x="93534" y="55631"/>
                    <a:pt x="60898" y="85547"/>
                    <a:pt x="58178" y="118183"/>
                  </a:cubicBezTo>
                  <a:lnTo>
                    <a:pt x="58178" y="210651"/>
                  </a:lnTo>
                  <a:lnTo>
                    <a:pt x="58178" y="365671"/>
                  </a:lnTo>
                  <a:lnTo>
                    <a:pt x="58178" y="365671"/>
                  </a:lnTo>
                  <a:cubicBezTo>
                    <a:pt x="58178" y="398307"/>
                    <a:pt x="88094" y="425504"/>
                    <a:pt x="120730" y="425504"/>
                  </a:cubicBezTo>
                  <a:cubicBezTo>
                    <a:pt x="153366" y="428224"/>
                    <a:pt x="186002" y="398307"/>
                    <a:pt x="186002" y="365671"/>
                  </a:cubicBezTo>
                  <a:lnTo>
                    <a:pt x="186002" y="365671"/>
                  </a:lnTo>
                  <a:lnTo>
                    <a:pt x="186002" y="210651"/>
                  </a:lnTo>
                  <a:cubicBezTo>
                    <a:pt x="188722" y="188894"/>
                    <a:pt x="196881" y="158978"/>
                    <a:pt x="215919" y="158978"/>
                  </a:cubicBezTo>
                  <a:cubicBezTo>
                    <a:pt x="243115" y="158978"/>
                    <a:pt x="215919" y="221530"/>
                    <a:pt x="275751" y="221530"/>
                  </a:cubicBezTo>
                  <a:cubicBezTo>
                    <a:pt x="362780" y="221530"/>
                    <a:pt x="373658" y="63790"/>
                    <a:pt x="270312" y="69229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/>
            </a:p>
          </p:txBody>
        </p:sp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id="{16C21D7B-C520-4401-BFFD-43EA75B9B3F0}"/>
                </a:ext>
              </a:extLst>
            </p:cNvPr>
            <p:cNvSpPr/>
            <p:nvPr/>
          </p:nvSpPr>
          <p:spPr>
            <a:xfrm>
              <a:off x="5693490" y="3475234"/>
              <a:ext cx="337238" cy="364434"/>
            </a:xfrm>
            <a:custGeom>
              <a:avLst/>
              <a:gdLst>
                <a:gd name="connsiteX0" fmla="*/ 180433 w 337238"/>
                <a:gd name="connsiteY0" fmla="*/ 73984 h 364434"/>
                <a:gd name="connsiteX1" fmla="*/ 163180 w 337238"/>
                <a:gd name="connsiteY1" fmla="*/ 78870 h 364434"/>
                <a:gd name="connsiteX2" fmla="*/ 125105 w 337238"/>
                <a:gd name="connsiteY2" fmla="*/ 160461 h 364434"/>
                <a:gd name="connsiteX3" fmla="*/ 171339 w 337238"/>
                <a:gd name="connsiteY3" fmla="*/ 163180 h 364434"/>
                <a:gd name="connsiteX4" fmla="*/ 214854 w 337238"/>
                <a:gd name="connsiteY4" fmla="*/ 108787 h 364434"/>
                <a:gd name="connsiteX5" fmla="*/ 180433 w 337238"/>
                <a:gd name="connsiteY5" fmla="*/ 73984 h 364434"/>
                <a:gd name="connsiteX6" fmla="*/ 174059 w 337238"/>
                <a:gd name="connsiteY6" fmla="*/ 0 h 364434"/>
                <a:gd name="connsiteX7" fmla="*/ 337238 w 337238"/>
                <a:gd name="connsiteY7" fmla="*/ 119665 h 364434"/>
                <a:gd name="connsiteX8" fmla="*/ 133264 w 337238"/>
                <a:gd name="connsiteY8" fmla="*/ 217573 h 364434"/>
                <a:gd name="connsiteX9" fmla="*/ 225732 w 337238"/>
                <a:gd name="connsiteY9" fmla="*/ 277405 h 364434"/>
                <a:gd name="connsiteX10" fmla="*/ 320920 w 337238"/>
                <a:gd name="connsiteY10" fmla="*/ 250208 h 364434"/>
                <a:gd name="connsiteX11" fmla="*/ 174059 w 337238"/>
                <a:gd name="connsiteY11" fmla="*/ 364434 h 364434"/>
                <a:gd name="connsiteX12" fmla="*/ 0 w 337238"/>
                <a:gd name="connsiteY12" fmla="*/ 184937 h 364434"/>
                <a:gd name="connsiteX13" fmla="*/ 174059 w 337238"/>
                <a:gd name="connsiteY13" fmla="*/ 0 h 3644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37238" h="364434">
                  <a:moveTo>
                    <a:pt x="180433" y="73984"/>
                  </a:moveTo>
                  <a:cubicBezTo>
                    <a:pt x="174569" y="73941"/>
                    <a:pt x="168620" y="75471"/>
                    <a:pt x="163180" y="78870"/>
                  </a:cubicBezTo>
                  <a:cubicBezTo>
                    <a:pt x="135984" y="95189"/>
                    <a:pt x="127825" y="130544"/>
                    <a:pt x="125105" y="160461"/>
                  </a:cubicBezTo>
                  <a:cubicBezTo>
                    <a:pt x="125105" y="163180"/>
                    <a:pt x="168620" y="160461"/>
                    <a:pt x="171339" y="163180"/>
                  </a:cubicBezTo>
                  <a:cubicBezTo>
                    <a:pt x="195816" y="157741"/>
                    <a:pt x="214854" y="135984"/>
                    <a:pt x="214854" y="108787"/>
                  </a:cubicBezTo>
                  <a:cubicBezTo>
                    <a:pt x="214854" y="88389"/>
                    <a:pt x="198026" y="74111"/>
                    <a:pt x="180433" y="73984"/>
                  </a:cubicBezTo>
                  <a:close/>
                  <a:moveTo>
                    <a:pt x="174059" y="0"/>
                  </a:moveTo>
                  <a:cubicBezTo>
                    <a:pt x="233891" y="0"/>
                    <a:pt x="337238" y="29916"/>
                    <a:pt x="337238" y="119665"/>
                  </a:cubicBezTo>
                  <a:cubicBezTo>
                    <a:pt x="337238" y="209414"/>
                    <a:pt x="244770" y="217573"/>
                    <a:pt x="133264" y="217573"/>
                  </a:cubicBezTo>
                  <a:cubicBezTo>
                    <a:pt x="133264" y="217573"/>
                    <a:pt x="149581" y="277405"/>
                    <a:pt x="225732" y="277405"/>
                  </a:cubicBezTo>
                  <a:cubicBezTo>
                    <a:pt x="301883" y="277405"/>
                    <a:pt x="320920" y="250208"/>
                    <a:pt x="320920" y="250208"/>
                  </a:cubicBezTo>
                  <a:cubicBezTo>
                    <a:pt x="320920" y="250208"/>
                    <a:pt x="315481" y="364434"/>
                    <a:pt x="174059" y="364434"/>
                  </a:cubicBezTo>
                  <a:cubicBezTo>
                    <a:pt x="95188" y="364434"/>
                    <a:pt x="0" y="304602"/>
                    <a:pt x="0" y="184937"/>
                  </a:cubicBezTo>
                  <a:cubicBezTo>
                    <a:pt x="0" y="78870"/>
                    <a:pt x="73431" y="0"/>
                    <a:pt x="174059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/>
            </a:p>
          </p:txBody>
        </p:sp>
        <p:sp>
          <p:nvSpPr>
            <p:cNvPr id="35" name="Freeform: Shape 34">
              <a:extLst>
                <a:ext uri="{FF2B5EF4-FFF2-40B4-BE49-F238E27FC236}">
                  <a16:creationId xmlns:a16="http://schemas.microsoft.com/office/drawing/2014/main" id="{DB9B60B4-35FC-49B0-906A-7C704B6B94BA}"/>
                </a:ext>
              </a:extLst>
            </p:cNvPr>
            <p:cNvSpPr/>
            <p:nvPr/>
          </p:nvSpPr>
          <p:spPr>
            <a:xfrm>
              <a:off x="5376945" y="3338014"/>
              <a:ext cx="353556" cy="543931"/>
            </a:xfrm>
            <a:custGeom>
              <a:avLst/>
              <a:gdLst>
                <a:gd name="connsiteX0" fmla="*/ 311107 w 353555"/>
                <a:gd name="connsiteY0" fmla="*/ 433663 h 543931"/>
                <a:gd name="connsiteX1" fmla="*/ 215919 w 353555"/>
                <a:gd name="connsiteY1" fmla="*/ 501654 h 543931"/>
                <a:gd name="connsiteX2" fmla="*/ 98973 w 353555"/>
                <a:gd name="connsiteY2" fmla="*/ 392868 h 543931"/>
                <a:gd name="connsiteX3" fmla="*/ 98973 w 353555"/>
                <a:gd name="connsiteY3" fmla="*/ 221530 h 543931"/>
                <a:gd name="connsiteX4" fmla="*/ 82655 w 353555"/>
                <a:gd name="connsiteY4" fmla="*/ 221530 h 543931"/>
                <a:gd name="connsiteX5" fmla="*/ 58178 w 353555"/>
                <a:gd name="connsiteY5" fmla="*/ 191614 h 543931"/>
                <a:gd name="connsiteX6" fmla="*/ 85375 w 353555"/>
                <a:gd name="connsiteY6" fmla="*/ 164417 h 543931"/>
                <a:gd name="connsiteX7" fmla="*/ 101693 w 353555"/>
                <a:gd name="connsiteY7" fmla="*/ 164417 h 543931"/>
                <a:gd name="connsiteX8" fmla="*/ 101693 w 353555"/>
                <a:gd name="connsiteY8" fmla="*/ 118183 h 543931"/>
                <a:gd name="connsiteX9" fmla="*/ 166965 w 353555"/>
                <a:gd name="connsiteY9" fmla="*/ 58350 h 543931"/>
                <a:gd name="connsiteX10" fmla="*/ 229517 w 353555"/>
                <a:gd name="connsiteY10" fmla="*/ 118183 h 543931"/>
                <a:gd name="connsiteX11" fmla="*/ 229517 w 353555"/>
                <a:gd name="connsiteY11" fmla="*/ 118183 h 543931"/>
                <a:gd name="connsiteX12" fmla="*/ 229517 w 353555"/>
                <a:gd name="connsiteY12" fmla="*/ 164417 h 543931"/>
                <a:gd name="connsiteX13" fmla="*/ 283910 w 353555"/>
                <a:gd name="connsiteY13" fmla="*/ 164417 h 543931"/>
                <a:gd name="connsiteX14" fmla="*/ 308387 w 353555"/>
                <a:gd name="connsiteY14" fmla="*/ 194333 h 543931"/>
                <a:gd name="connsiteX15" fmla="*/ 281190 w 353555"/>
                <a:gd name="connsiteY15" fmla="*/ 221530 h 543931"/>
                <a:gd name="connsiteX16" fmla="*/ 229517 w 353555"/>
                <a:gd name="connsiteY16" fmla="*/ 221530 h 543931"/>
                <a:gd name="connsiteX17" fmla="*/ 229517 w 353555"/>
                <a:gd name="connsiteY17" fmla="*/ 365671 h 543931"/>
                <a:gd name="connsiteX18" fmla="*/ 311107 w 353555"/>
                <a:gd name="connsiteY18" fmla="*/ 433663 h 5439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353555" h="543931">
                  <a:moveTo>
                    <a:pt x="311107" y="433663"/>
                  </a:moveTo>
                  <a:cubicBezTo>
                    <a:pt x="311107" y="433663"/>
                    <a:pt x="278471" y="501654"/>
                    <a:pt x="215919" y="501654"/>
                  </a:cubicBezTo>
                  <a:cubicBezTo>
                    <a:pt x="164245" y="501654"/>
                    <a:pt x="101693" y="458140"/>
                    <a:pt x="98973" y="392868"/>
                  </a:cubicBezTo>
                  <a:cubicBezTo>
                    <a:pt x="98973" y="392868"/>
                    <a:pt x="98973" y="297680"/>
                    <a:pt x="98973" y="221530"/>
                  </a:cubicBezTo>
                  <a:lnTo>
                    <a:pt x="82655" y="221530"/>
                  </a:lnTo>
                  <a:cubicBezTo>
                    <a:pt x="74496" y="221530"/>
                    <a:pt x="58178" y="216090"/>
                    <a:pt x="58178" y="191614"/>
                  </a:cubicBezTo>
                  <a:cubicBezTo>
                    <a:pt x="58178" y="167137"/>
                    <a:pt x="77216" y="164417"/>
                    <a:pt x="85375" y="164417"/>
                  </a:cubicBezTo>
                  <a:lnTo>
                    <a:pt x="101693" y="164417"/>
                  </a:lnTo>
                  <a:cubicBezTo>
                    <a:pt x="101693" y="137220"/>
                    <a:pt x="101693" y="118183"/>
                    <a:pt x="101693" y="118183"/>
                  </a:cubicBezTo>
                  <a:cubicBezTo>
                    <a:pt x="104413" y="85547"/>
                    <a:pt x="134329" y="55631"/>
                    <a:pt x="166965" y="58350"/>
                  </a:cubicBezTo>
                  <a:cubicBezTo>
                    <a:pt x="196881" y="61070"/>
                    <a:pt x="229517" y="85547"/>
                    <a:pt x="229517" y="118183"/>
                  </a:cubicBezTo>
                  <a:lnTo>
                    <a:pt x="229517" y="118183"/>
                  </a:lnTo>
                  <a:lnTo>
                    <a:pt x="229517" y="164417"/>
                  </a:lnTo>
                  <a:lnTo>
                    <a:pt x="283910" y="164417"/>
                  </a:lnTo>
                  <a:cubicBezTo>
                    <a:pt x="292069" y="164417"/>
                    <a:pt x="308387" y="169856"/>
                    <a:pt x="308387" y="194333"/>
                  </a:cubicBezTo>
                  <a:cubicBezTo>
                    <a:pt x="308387" y="218810"/>
                    <a:pt x="292069" y="221530"/>
                    <a:pt x="281190" y="221530"/>
                  </a:cubicBezTo>
                  <a:lnTo>
                    <a:pt x="229517" y="221530"/>
                  </a:lnTo>
                  <a:lnTo>
                    <a:pt x="229517" y="365671"/>
                  </a:lnTo>
                  <a:cubicBezTo>
                    <a:pt x="226797" y="409186"/>
                    <a:pt x="267592" y="433663"/>
                    <a:pt x="311107" y="433663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/>
            </a:p>
          </p:txBody>
        </p:sp>
        <p:sp>
          <p:nvSpPr>
            <p:cNvPr id="36" name="Freeform: Shape 35">
              <a:extLst>
                <a:ext uri="{FF2B5EF4-FFF2-40B4-BE49-F238E27FC236}">
                  <a16:creationId xmlns:a16="http://schemas.microsoft.com/office/drawing/2014/main" id="{B550272F-F181-4670-9AB4-62C5CF01BC3A}"/>
                </a:ext>
              </a:extLst>
            </p:cNvPr>
            <p:cNvSpPr/>
            <p:nvPr/>
          </p:nvSpPr>
          <p:spPr>
            <a:xfrm>
              <a:off x="7090329" y="3338014"/>
              <a:ext cx="353556" cy="543931"/>
            </a:xfrm>
            <a:custGeom>
              <a:avLst/>
              <a:gdLst>
                <a:gd name="connsiteX0" fmla="*/ 311107 w 353555"/>
                <a:gd name="connsiteY0" fmla="*/ 433663 h 543931"/>
                <a:gd name="connsiteX1" fmla="*/ 215919 w 353555"/>
                <a:gd name="connsiteY1" fmla="*/ 501654 h 543931"/>
                <a:gd name="connsiteX2" fmla="*/ 98973 w 353555"/>
                <a:gd name="connsiteY2" fmla="*/ 392868 h 543931"/>
                <a:gd name="connsiteX3" fmla="*/ 98973 w 353555"/>
                <a:gd name="connsiteY3" fmla="*/ 221530 h 543931"/>
                <a:gd name="connsiteX4" fmla="*/ 82655 w 353555"/>
                <a:gd name="connsiteY4" fmla="*/ 221530 h 543931"/>
                <a:gd name="connsiteX5" fmla="*/ 58178 w 353555"/>
                <a:gd name="connsiteY5" fmla="*/ 191614 h 543931"/>
                <a:gd name="connsiteX6" fmla="*/ 85375 w 353555"/>
                <a:gd name="connsiteY6" fmla="*/ 164417 h 543931"/>
                <a:gd name="connsiteX7" fmla="*/ 101693 w 353555"/>
                <a:gd name="connsiteY7" fmla="*/ 164417 h 543931"/>
                <a:gd name="connsiteX8" fmla="*/ 101693 w 353555"/>
                <a:gd name="connsiteY8" fmla="*/ 118183 h 543931"/>
                <a:gd name="connsiteX9" fmla="*/ 166965 w 353555"/>
                <a:gd name="connsiteY9" fmla="*/ 58350 h 543931"/>
                <a:gd name="connsiteX10" fmla="*/ 229517 w 353555"/>
                <a:gd name="connsiteY10" fmla="*/ 118183 h 543931"/>
                <a:gd name="connsiteX11" fmla="*/ 229517 w 353555"/>
                <a:gd name="connsiteY11" fmla="*/ 118183 h 543931"/>
                <a:gd name="connsiteX12" fmla="*/ 229517 w 353555"/>
                <a:gd name="connsiteY12" fmla="*/ 164417 h 543931"/>
                <a:gd name="connsiteX13" fmla="*/ 283910 w 353555"/>
                <a:gd name="connsiteY13" fmla="*/ 164417 h 543931"/>
                <a:gd name="connsiteX14" fmla="*/ 308387 w 353555"/>
                <a:gd name="connsiteY14" fmla="*/ 194333 h 543931"/>
                <a:gd name="connsiteX15" fmla="*/ 281190 w 353555"/>
                <a:gd name="connsiteY15" fmla="*/ 221530 h 543931"/>
                <a:gd name="connsiteX16" fmla="*/ 229517 w 353555"/>
                <a:gd name="connsiteY16" fmla="*/ 221530 h 543931"/>
                <a:gd name="connsiteX17" fmla="*/ 229517 w 353555"/>
                <a:gd name="connsiteY17" fmla="*/ 365671 h 543931"/>
                <a:gd name="connsiteX18" fmla="*/ 311107 w 353555"/>
                <a:gd name="connsiteY18" fmla="*/ 433663 h 5439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353555" h="543931">
                  <a:moveTo>
                    <a:pt x="311107" y="433663"/>
                  </a:moveTo>
                  <a:cubicBezTo>
                    <a:pt x="311107" y="433663"/>
                    <a:pt x="278471" y="501654"/>
                    <a:pt x="215919" y="501654"/>
                  </a:cubicBezTo>
                  <a:cubicBezTo>
                    <a:pt x="164245" y="501654"/>
                    <a:pt x="101693" y="458140"/>
                    <a:pt x="98973" y="392868"/>
                  </a:cubicBezTo>
                  <a:cubicBezTo>
                    <a:pt x="98973" y="392868"/>
                    <a:pt x="98973" y="297680"/>
                    <a:pt x="98973" y="221530"/>
                  </a:cubicBezTo>
                  <a:lnTo>
                    <a:pt x="82655" y="221530"/>
                  </a:lnTo>
                  <a:cubicBezTo>
                    <a:pt x="74496" y="221530"/>
                    <a:pt x="58178" y="216090"/>
                    <a:pt x="58178" y="191614"/>
                  </a:cubicBezTo>
                  <a:cubicBezTo>
                    <a:pt x="58178" y="167137"/>
                    <a:pt x="77216" y="164417"/>
                    <a:pt x="85375" y="164417"/>
                  </a:cubicBezTo>
                  <a:lnTo>
                    <a:pt x="101693" y="164417"/>
                  </a:lnTo>
                  <a:cubicBezTo>
                    <a:pt x="101693" y="137220"/>
                    <a:pt x="101693" y="118183"/>
                    <a:pt x="101693" y="118183"/>
                  </a:cubicBezTo>
                  <a:cubicBezTo>
                    <a:pt x="104412" y="85547"/>
                    <a:pt x="134329" y="55631"/>
                    <a:pt x="166965" y="58350"/>
                  </a:cubicBezTo>
                  <a:cubicBezTo>
                    <a:pt x="196881" y="61070"/>
                    <a:pt x="229517" y="85547"/>
                    <a:pt x="229517" y="118183"/>
                  </a:cubicBezTo>
                  <a:lnTo>
                    <a:pt x="229517" y="118183"/>
                  </a:lnTo>
                  <a:lnTo>
                    <a:pt x="229517" y="164417"/>
                  </a:lnTo>
                  <a:lnTo>
                    <a:pt x="283910" y="164417"/>
                  </a:lnTo>
                  <a:cubicBezTo>
                    <a:pt x="292069" y="164417"/>
                    <a:pt x="308387" y="169856"/>
                    <a:pt x="308387" y="194333"/>
                  </a:cubicBezTo>
                  <a:cubicBezTo>
                    <a:pt x="308387" y="218810"/>
                    <a:pt x="292069" y="221530"/>
                    <a:pt x="281190" y="221530"/>
                  </a:cubicBezTo>
                  <a:lnTo>
                    <a:pt x="229517" y="221530"/>
                  </a:lnTo>
                  <a:lnTo>
                    <a:pt x="229517" y="365671"/>
                  </a:lnTo>
                  <a:cubicBezTo>
                    <a:pt x="229517" y="409186"/>
                    <a:pt x="270312" y="433663"/>
                    <a:pt x="311107" y="433663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/>
            </a:p>
          </p:txBody>
        </p:sp>
        <p:sp>
          <p:nvSpPr>
            <p:cNvPr id="37" name="Freeform: Shape 36">
              <a:extLst>
                <a:ext uri="{FF2B5EF4-FFF2-40B4-BE49-F238E27FC236}">
                  <a16:creationId xmlns:a16="http://schemas.microsoft.com/office/drawing/2014/main" id="{BF128CAF-7E33-41B3-941E-1DA081A62D07}"/>
                </a:ext>
              </a:extLst>
            </p:cNvPr>
            <p:cNvSpPr/>
            <p:nvPr/>
          </p:nvSpPr>
          <p:spPr>
            <a:xfrm>
              <a:off x="2080719" y="4178559"/>
              <a:ext cx="462342" cy="788700"/>
            </a:xfrm>
            <a:custGeom>
              <a:avLst/>
              <a:gdLst>
                <a:gd name="connsiteX0" fmla="*/ 403575 w 462341"/>
                <a:gd name="connsiteY0" fmla="*/ 583072 h 788699"/>
                <a:gd name="connsiteX1" fmla="*/ 406295 w 462341"/>
                <a:gd name="connsiteY1" fmla="*/ 596670 h 788699"/>
                <a:gd name="connsiteX2" fmla="*/ 400855 w 462341"/>
                <a:gd name="connsiteY2" fmla="*/ 610268 h 788699"/>
                <a:gd name="connsiteX3" fmla="*/ 389977 w 462341"/>
                <a:gd name="connsiteY3" fmla="*/ 626586 h 788699"/>
                <a:gd name="connsiteX4" fmla="*/ 354621 w 462341"/>
                <a:gd name="connsiteY4" fmla="*/ 675540 h 788699"/>
                <a:gd name="connsiteX5" fmla="*/ 327424 w 462341"/>
                <a:gd name="connsiteY5" fmla="*/ 691858 h 788699"/>
                <a:gd name="connsiteX6" fmla="*/ 292069 w 462341"/>
                <a:gd name="connsiteY6" fmla="*/ 713615 h 788699"/>
                <a:gd name="connsiteX7" fmla="*/ 251274 w 462341"/>
                <a:gd name="connsiteY7" fmla="*/ 724494 h 788699"/>
                <a:gd name="connsiteX8" fmla="*/ 221358 w 462341"/>
                <a:gd name="connsiteY8" fmla="*/ 721774 h 788699"/>
                <a:gd name="connsiteX9" fmla="*/ 191442 w 462341"/>
                <a:gd name="connsiteY9" fmla="*/ 721774 h 788699"/>
                <a:gd name="connsiteX10" fmla="*/ 153366 w 462341"/>
                <a:gd name="connsiteY10" fmla="*/ 713615 h 788699"/>
                <a:gd name="connsiteX11" fmla="*/ 104412 w 462341"/>
                <a:gd name="connsiteY11" fmla="*/ 675540 h 788699"/>
                <a:gd name="connsiteX12" fmla="*/ 104412 w 462341"/>
                <a:gd name="connsiteY12" fmla="*/ 689138 h 788699"/>
                <a:gd name="connsiteX13" fmla="*/ 101693 w 462341"/>
                <a:gd name="connsiteY13" fmla="*/ 710895 h 788699"/>
                <a:gd name="connsiteX14" fmla="*/ 85375 w 462341"/>
                <a:gd name="connsiteY14" fmla="*/ 732653 h 788699"/>
                <a:gd name="connsiteX15" fmla="*/ 69057 w 462341"/>
                <a:gd name="connsiteY15" fmla="*/ 727214 h 788699"/>
                <a:gd name="connsiteX16" fmla="*/ 60898 w 462341"/>
                <a:gd name="connsiteY16" fmla="*/ 710895 h 788699"/>
                <a:gd name="connsiteX17" fmla="*/ 58178 w 462341"/>
                <a:gd name="connsiteY17" fmla="*/ 691858 h 788699"/>
                <a:gd name="connsiteX18" fmla="*/ 60898 w 462341"/>
                <a:gd name="connsiteY18" fmla="*/ 664661 h 788699"/>
                <a:gd name="connsiteX19" fmla="*/ 60898 w 462341"/>
                <a:gd name="connsiteY19" fmla="*/ 607549 h 788699"/>
                <a:gd name="connsiteX20" fmla="*/ 63618 w 462341"/>
                <a:gd name="connsiteY20" fmla="*/ 528679 h 788699"/>
                <a:gd name="connsiteX21" fmla="*/ 69057 w 462341"/>
                <a:gd name="connsiteY21" fmla="*/ 504202 h 788699"/>
                <a:gd name="connsiteX22" fmla="*/ 74496 w 462341"/>
                <a:gd name="connsiteY22" fmla="*/ 493323 h 788699"/>
                <a:gd name="connsiteX23" fmla="*/ 82655 w 462341"/>
                <a:gd name="connsiteY23" fmla="*/ 487884 h 788699"/>
                <a:gd name="connsiteX24" fmla="*/ 90814 w 462341"/>
                <a:gd name="connsiteY24" fmla="*/ 493323 h 788699"/>
                <a:gd name="connsiteX25" fmla="*/ 98973 w 462341"/>
                <a:gd name="connsiteY25" fmla="*/ 512361 h 788699"/>
                <a:gd name="connsiteX26" fmla="*/ 101693 w 462341"/>
                <a:gd name="connsiteY26" fmla="*/ 555875 h 788699"/>
                <a:gd name="connsiteX27" fmla="*/ 101693 w 462341"/>
                <a:gd name="connsiteY27" fmla="*/ 596670 h 788699"/>
                <a:gd name="connsiteX28" fmla="*/ 109852 w 462341"/>
                <a:gd name="connsiteY28" fmla="*/ 626586 h 788699"/>
                <a:gd name="connsiteX29" fmla="*/ 128889 w 462341"/>
                <a:gd name="connsiteY29" fmla="*/ 651063 h 788699"/>
                <a:gd name="connsiteX30" fmla="*/ 153366 w 462341"/>
                <a:gd name="connsiteY30" fmla="*/ 670101 h 788699"/>
                <a:gd name="connsiteX31" fmla="*/ 196881 w 462341"/>
                <a:gd name="connsiteY31" fmla="*/ 678260 h 788699"/>
                <a:gd name="connsiteX32" fmla="*/ 221358 w 462341"/>
                <a:gd name="connsiteY32" fmla="*/ 667381 h 788699"/>
                <a:gd name="connsiteX33" fmla="*/ 253994 w 462341"/>
                <a:gd name="connsiteY33" fmla="*/ 659222 h 788699"/>
                <a:gd name="connsiteX34" fmla="*/ 275751 w 462341"/>
                <a:gd name="connsiteY34" fmla="*/ 637465 h 788699"/>
                <a:gd name="connsiteX35" fmla="*/ 281190 w 462341"/>
                <a:gd name="connsiteY35" fmla="*/ 615708 h 788699"/>
                <a:gd name="connsiteX36" fmla="*/ 278471 w 462341"/>
                <a:gd name="connsiteY36" fmla="*/ 602109 h 788699"/>
                <a:gd name="connsiteX37" fmla="*/ 262153 w 462341"/>
                <a:gd name="connsiteY37" fmla="*/ 572193 h 788699"/>
                <a:gd name="connsiteX38" fmla="*/ 245835 w 462341"/>
                <a:gd name="connsiteY38" fmla="*/ 536838 h 788699"/>
                <a:gd name="connsiteX39" fmla="*/ 196881 w 462341"/>
                <a:gd name="connsiteY39" fmla="*/ 477005 h 788699"/>
                <a:gd name="connsiteX40" fmla="*/ 145207 w 462341"/>
                <a:gd name="connsiteY40" fmla="*/ 419892 h 788699"/>
                <a:gd name="connsiteX41" fmla="*/ 93534 w 462341"/>
                <a:gd name="connsiteY41" fmla="*/ 357340 h 788699"/>
                <a:gd name="connsiteX42" fmla="*/ 66337 w 462341"/>
                <a:gd name="connsiteY42" fmla="*/ 283910 h 788699"/>
                <a:gd name="connsiteX43" fmla="*/ 58178 w 462341"/>
                <a:gd name="connsiteY43" fmla="*/ 224077 h 788699"/>
                <a:gd name="connsiteX44" fmla="*/ 82655 w 462341"/>
                <a:gd name="connsiteY44" fmla="*/ 150647 h 788699"/>
                <a:gd name="connsiteX45" fmla="*/ 137048 w 462341"/>
                <a:gd name="connsiteY45" fmla="*/ 96253 h 788699"/>
                <a:gd name="connsiteX46" fmla="*/ 196881 w 462341"/>
                <a:gd name="connsiteY46" fmla="*/ 77216 h 788699"/>
                <a:gd name="connsiteX47" fmla="*/ 232236 w 462341"/>
                <a:gd name="connsiteY47" fmla="*/ 69057 h 788699"/>
                <a:gd name="connsiteX48" fmla="*/ 262153 w 462341"/>
                <a:gd name="connsiteY48" fmla="*/ 74496 h 788699"/>
                <a:gd name="connsiteX49" fmla="*/ 294789 w 462341"/>
                <a:gd name="connsiteY49" fmla="*/ 85375 h 788699"/>
                <a:gd name="connsiteX50" fmla="*/ 327424 w 462341"/>
                <a:gd name="connsiteY50" fmla="*/ 104412 h 788699"/>
                <a:gd name="connsiteX51" fmla="*/ 332864 w 462341"/>
                <a:gd name="connsiteY51" fmla="*/ 74496 h 788699"/>
                <a:gd name="connsiteX52" fmla="*/ 338303 w 462341"/>
                <a:gd name="connsiteY52" fmla="*/ 63618 h 788699"/>
                <a:gd name="connsiteX53" fmla="*/ 349182 w 462341"/>
                <a:gd name="connsiteY53" fmla="*/ 58178 h 788699"/>
                <a:gd name="connsiteX54" fmla="*/ 357341 w 462341"/>
                <a:gd name="connsiteY54" fmla="*/ 63618 h 788699"/>
                <a:gd name="connsiteX55" fmla="*/ 365500 w 462341"/>
                <a:gd name="connsiteY55" fmla="*/ 82655 h 788699"/>
                <a:gd name="connsiteX56" fmla="*/ 368219 w 462341"/>
                <a:gd name="connsiteY56" fmla="*/ 142488 h 788699"/>
                <a:gd name="connsiteX57" fmla="*/ 368219 w 462341"/>
                <a:gd name="connsiteY57" fmla="*/ 188722 h 788699"/>
                <a:gd name="connsiteX58" fmla="*/ 370939 w 462341"/>
                <a:gd name="connsiteY58" fmla="*/ 245834 h 788699"/>
                <a:gd name="connsiteX59" fmla="*/ 354621 w 462341"/>
                <a:gd name="connsiteY59" fmla="*/ 286629 h 788699"/>
                <a:gd name="connsiteX60" fmla="*/ 338303 w 462341"/>
                <a:gd name="connsiteY60" fmla="*/ 281190 h 788699"/>
                <a:gd name="connsiteX61" fmla="*/ 330144 w 462341"/>
                <a:gd name="connsiteY61" fmla="*/ 264872 h 788699"/>
                <a:gd name="connsiteX62" fmla="*/ 327424 w 462341"/>
                <a:gd name="connsiteY62" fmla="*/ 248554 h 788699"/>
                <a:gd name="connsiteX63" fmla="*/ 330144 w 462341"/>
                <a:gd name="connsiteY63" fmla="*/ 221357 h 788699"/>
                <a:gd name="connsiteX64" fmla="*/ 330144 w 462341"/>
                <a:gd name="connsiteY64" fmla="*/ 188722 h 788699"/>
                <a:gd name="connsiteX65" fmla="*/ 327424 w 462341"/>
                <a:gd name="connsiteY65" fmla="*/ 164245 h 788699"/>
                <a:gd name="connsiteX66" fmla="*/ 311107 w 462341"/>
                <a:gd name="connsiteY66" fmla="*/ 134329 h 788699"/>
                <a:gd name="connsiteX67" fmla="*/ 283910 w 462341"/>
                <a:gd name="connsiteY67" fmla="*/ 118011 h 788699"/>
                <a:gd name="connsiteX68" fmla="*/ 251274 w 462341"/>
                <a:gd name="connsiteY68" fmla="*/ 112571 h 788699"/>
                <a:gd name="connsiteX69" fmla="*/ 215918 w 462341"/>
                <a:gd name="connsiteY69" fmla="*/ 123450 h 788699"/>
                <a:gd name="connsiteX70" fmla="*/ 202320 w 462341"/>
                <a:gd name="connsiteY70" fmla="*/ 147927 h 788699"/>
                <a:gd name="connsiteX71" fmla="*/ 188722 w 462341"/>
                <a:gd name="connsiteY71" fmla="*/ 180563 h 788699"/>
                <a:gd name="connsiteX72" fmla="*/ 183283 w 462341"/>
                <a:gd name="connsiteY72" fmla="*/ 210479 h 788699"/>
                <a:gd name="connsiteX73" fmla="*/ 188722 w 462341"/>
                <a:gd name="connsiteY73" fmla="*/ 226797 h 788699"/>
                <a:gd name="connsiteX74" fmla="*/ 188722 w 462341"/>
                <a:gd name="connsiteY74" fmla="*/ 248554 h 788699"/>
                <a:gd name="connsiteX75" fmla="*/ 210479 w 462341"/>
                <a:gd name="connsiteY75" fmla="*/ 273031 h 788699"/>
                <a:gd name="connsiteX76" fmla="*/ 226797 w 462341"/>
                <a:gd name="connsiteY76" fmla="*/ 300228 h 788699"/>
                <a:gd name="connsiteX77" fmla="*/ 256713 w 462341"/>
                <a:gd name="connsiteY77" fmla="*/ 332864 h 788699"/>
                <a:gd name="connsiteX78" fmla="*/ 275751 w 462341"/>
                <a:gd name="connsiteY78" fmla="*/ 351901 h 788699"/>
                <a:gd name="connsiteX79" fmla="*/ 324705 w 462341"/>
                <a:gd name="connsiteY79" fmla="*/ 400855 h 788699"/>
                <a:gd name="connsiteX80" fmla="*/ 343742 w 462341"/>
                <a:gd name="connsiteY80" fmla="*/ 428051 h 788699"/>
                <a:gd name="connsiteX81" fmla="*/ 351901 w 462341"/>
                <a:gd name="connsiteY81" fmla="*/ 433491 h 788699"/>
                <a:gd name="connsiteX82" fmla="*/ 360060 w 462341"/>
                <a:gd name="connsiteY82" fmla="*/ 447089 h 788699"/>
                <a:gd name="connsiteX83" fmla="*/ 384537 w 462341"/>
                <a:gd name="connsiteY83" fmla="*/ 474286 h 788699"/>
                <a:gd name="connsiteX84" fmla="*/ 395416 w 462341"/>
                <a:gd name="connsiteY84" fmla="*/ 506921 h 788699"/>
                <a:gd name="connsiteX85" fmla="*/ 406295 w 462341"/>
                <a:gd name="connsiteY85" fmla="*/ 536838 h 788699"/>
                <a:gd name="connsiteX86" fmla="*/ 409014 w 462341"/>
                <a:gd name="connsiteY86" fmla="*/ 547716 h 788699"/>
                <a:gd name="connsiteX87" fmla="*/ 406295 w 462341"/>
                <a:gd name="connsiteY87" fmla="*/ 569473 h 788699"/>
                <a:gd name="connsiteX88" fmla="*/ 403575 w 462341"/>
                <a:gd name="connsiteY88" fmla="*/ 583072 h 788699"/>
                <a:gd name="connsiteX89" fmla="*/ 403575 w 462341"/>
                <a:gd name="connsiteY89" fmla="*/ 583072 h 7886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</a:cxnLst>
              <a:rect l="l" t="t" r="r" b="b"/>
              <a:pathLst>
                <a:path w="462341" h="788699">
                  <a:moveTo>
                    <a:pt x="403575" y="583072"/>
                  </a:moveTo>
                  <a:cubicBezTo>
                    <a:pt x="403575" y="588511"/>
                    <a:pt x="406295" y="591231"/>
                    <a:pt x="406295" y="596670"/>
                  </a:cubicBezTo>
                  <a:cubicBezTo>
                    <a:pt x="406295" y="602109"/>
                    <a:pt x="403575" y="604829"/>
                    <a:pt x="400855" y="610268"/>
                  </a:cubicBezTo>
                  <a:cubicBezTo>
                    <a:pt x="398136" y="615708"/>
                    <a:pt x="392696" y="621147"/>
                    <a:pt x="389977" y="626586"/>
                  </a:cubicBezTo>
                  <a:cubicBezTo>
                    <a:pt x="381818" y="645624"/>
                    <a:pt x="368219" y="661942"/>
                    <a:pt x="354621" y="675540"/>
                  </a:cubicBezTo>
                  <a:cubicBezTo>
                    <a:pt x="346462" y="683699"/>
                    <a:pt x="338303" y="686419"/>
                    <a:pt x="327424" y="691858"/>
                  </a:cubicBezTo>
                  <a:cubicBezTo>
                    <a:pt x="316546" y="700017"/>
                    <a:pt x="302948" y="708176"/>
                    <a:pt x="292069" y="713615"/>
                  </a:cubicBezTo>
                  <a:cubicBezTo>
                    <a:pt x="281190" y="719054"/>
                    <a:pt x="264872" y="724494"/>
                    <a:pt x="251274" y="724494"/>
                  </a:cubicBezTo>
                  <a:cubicBezTo>
                    <a:pt x="240395" y="724494"/>
                    <a:pt x="229517" y="721774"/>
                    <a:pt x="221358" y="721774"/>
                  </a:cubicBezTo>
                  <a:cubicBezTo>
                    <a:pt x="213199" y="721774"/>
                    <a:pt x="202320" y="721774"/>
                    <a:pt x="191442" y="721774"/>
                  </a:cubicBezTo>
                  <a:cubicBezTo>
                    <a:pt x="172404" y="721774"/>
                    <a:pt x="172404" y="721774"/>
                    <a:pt x="153366" y="713615"/>
                  </a:cubicBezTo>
                  <a:cubicBezTo>
                    <a:pt x="134329" y="708176"/>
                    <a:pt x="118011" y="691858"/>
                    <a:pt x="104412" y="675540"/>
                  </a:cubicBezTo>
                  <a:cubicBezTo>
                    <a:pt x="104412" y="678260"/>
                    <a:pt x="104412" y="680979"/>
                    <a:pt x="104412" y="689138"/>
                  </a:cubicBezTo>
                  <a:cubicBezTo>
                    <a:pt x="104412" y="694578"/>
                    <a:pt x="104412" y="702737"/>
                    <a:pt x="101693" y="710895"/>
                  </a:cubicBezTo>
                  <a:cubicBezTo>
                    <a:pt x="101693" y="721774"/>
                    <a:pt x="96253" y="732653"/>
                    <a:pt x="85375" y="732653"/>
                  </a:cubicBezTo>
                  <a:cubicBezTo>
                    <a:pt x="77216" y="732653"/>
                    <a:pt x="74496" y="729933"/>
                    <a:pt x="69057" y="727214"/>
                  </a:cubicBezTo>
                  <a:cubicBezTo>
                    <a:pt x="63618" y="724494"/>
                    <a:pt x="60898" y="716335"/>
                    <a:pt x="60898" y="710895"/>
                  </a:cubicBezTo>
                  <a:cubicBezTo>
                    <a:pt x="58178" y="702737"/>
                    <a:pt x="58178" y="697297"/>
                    <a:pt x="58178" y="691858"/>
                  </a:cubicBezTo>
                  <a:cubicBezTo>
                    <a:pt x="58178" y="683699"/>
                    <a:pt x="60898" y="678260"/>
                    <a:pt x="60898" y="664661"/>
                  </a:cubicBezTo>
                  <a:cubicBezTo>
                    <a:pt x="60898" y="656502"/>
                    <a:pt x="60898" y="632026"/>
                    <a:pt x="60898" y="607549"/>
                  </a:cubicBezTo>
                  <a:cubicBezTo>
                    <a:pt x="60898" y="574913"/>
                    <a:pt x="60898" y="542277"/>
                    <a:pt x="63618" y="528679"/>
                  </a:cubicBezTo>
                  <a:cubicBezTo>
                    <a:pt x="63618" y="520520"/>
                    <a:pt x="63618" y="509641"/>
                    <a:pt x="69057" y="504202"/>
                  </a:cubicBezTo>
                  <a:cubicBezTo>
                    <a:pt x="71777" y="501482"/>
                    <a:pt x="71777" y="498762"/>
                    <a:pt x="74496" y="493323"/>
                  </a:cubicBezTo>
                  <a:cubicBezTo>
                    <a:pt x="77216" y="490603"/>
                    <a:pt x="79936" y="487884"/>
                    <a:pt x="82655" y="487884"/>
                  </a:cubicBezTo>
                  <a:cubicBezTo>
                    <a:pt x="85375" y="487884"/>
                    <a:pt x="90814" y="490603"/>
                    <a:pt x="90814" y="493323"/>
                  </a:cubicBezTo>
                  <a:cubicBezTo>
                    <a:pt x="93534" y="498762"/>
                    <a:pt x="98973" y="506921"/>
                    <a:pt x="98973" y="512361"/>
                  </a:cubicBezTo>
                  <a:cubicBezTo>
                    <a:pt x="98973" y="520520"/>
                    <a:pt x="101693" y="536838"/>
                    <a:pt x="101693" y="555875"/>
                  </a:cubicBezTo>
                  <a:cubicBezTo>
                    <a:pt x="101693" y="569473"/>
                    <a:pt x="101693" y="583072"/>
                    <a:pt x="101693" y="596670"/>
                  </a:cubicBezTo>
                  <a:cubicBezTo>
                    <a:pt x="101693" y="607549"/>
                    <a:pt x="104412" y="618427"/>
                    <a:pt x="109852" y="626586"/>
                  </a:cubicBezTo>
                  <a:cubicBezTo>
                    <a:pt x="115291" y="637465"/>
                    <a:pt x="123450" y="642904"/>
                    <a:pt x="128889" y="651063"/>
                  </a:cubicBezTo>
                  <a:cubicBezTo>
                    <a:pt x="137048" y="661942"/>
                    <a:pt x="139768" y="667381"/>
                    <a:pt x="153366" y="670101"/>
                  </a:cubicBezTo>
                  <a:cubicBezTo>
                    <a:pt x="161525" y="670101"/>
                    <a:pt x="183283" y="678260"/>
                    <a:pt x="196881" y="678260"/>
                  </a:cubicBezTo>
                  <a:cubicBezTo>
                    <a:pt x="207759" y="678260"/>
                    <a:pt x="210479" y="672820"/>
                    <a:pt x="221358" y="667381"/>
                  </a:cubicBezTo>
                  <a:cubicBezTo>
                    <a:pt x="232236" y="661942"/>
                    <a:pt x="245835" y="664661"/>
                    <a:pt x="253994" y="659222"/>
                  </a:cubicBezTo>
                  <a:cubicBezTo>
                    <a:pt x="262153" y="653783"/>
                    <a:pt x="273031" y="645624"/>
                    <a:pt x="275751" y="637465"/>
                  </a:cubicBezTo>
                  <a:cubicBezTo>
                    <a:pt x="281190" y="629306"/>
                    <a:pt x="281190" y="621147"/>
                    <a:pt x="281190" y="615708"/>
                  </a:cubicBezTo>
                  <a:cubicBezTo>
                    <a:pt x="281190" y="610268"/>
                    <a:pt x="281190" y="607549"/>
                    <a:pt x="278471" y="602109"/>
                  </a:cubicBezTo>
                  <a:cubicBezTo>
                    <a:pt x="275751" y="591231"/>
                    <a:pt x="267592" y="583072"/>
                    <a:pt x="262153" y="572193"/>
                  </a:cubicBezTo>
                  <a:cubicBezTo>
                    <a:pt x="256713" y="561314"/>
                    <a:pt x="253994" y="547716"/>
                    <a:pt x="245835" y="536838"/>
                  </a:cubicBezTo>
                  <a:cubicBezTo>
                    <a:pt x="232236" y="515080"/>
                    <a:pt x="213199" y="498762"/>
                    <a:pt x="196881" y="477005"/>
                  </a:cubicBezTo>
                  <a:cubicBezTo>
                    <a:pt x="180563" y="457968"/>
                    <a:pt x="164245" y="438930"/>
                    <a:pt x="145207" y="419892"/>
                  </a:cubicBezTo>
                  <a:cubicBezTo>
                    <a:pt x="126170" y="400855"/>
                    <a:pt x="109852" y="379098"/>
                    <a:pt x="93534" y="357340"/>
                  </a:cubicBezTo>
                  <a:cubicBezTo>
                    <a:pt x="77216" y="335583"/>
                    <a:pt x="71777" y="308387"/>
                    <a:pt x="66337" y="283910"/>
                  </a:cubicBezTo>
                  <a:cubicBezTo>
                    <a:pt x="63618" y="267592"/>
                    <a:pt x="58178" y="245834"/>
                    <a:pt x="58178" y="224077"/>
                  </a:cubicBezTo>
                  <a:cubicBezTo>
                    <a:pt x="58178" y="194161"/>
                    <a:pt x="69057" y="175123"/>
                    <a:pt x="82655" y="150647"/>
                  </a:cubicBezTo>
                  <a:cubicBezTo>
                    <a:pt x="96253" y="128889"/>
                    <a:pt x="115291" y="109852"/>
                    <a:pt x="137048" y="96253"/>
                  </a:cubicBezTo>
                  <a:cubicBezTo>
                    <a:pt x="158806" y="82655"/>
                    <a:pt x="172404" y="79936"/>
                    <a:pt x="196881" y="77216"/>
                  </a:cubicBezTo>
                  <a:cubicBezTo>
                    <a:pt x="210479" y="77216"/>
                    <a:pt x="215918" y="69057"/>
                    <a:pt x="232236" y="69057"/>
                  </a:cubicBezTo>
                  <a:cubicBezTo>
                    <a:pt x="243115" y="69057"/>
                    <a:pt x="251274" y="71776"/>
                    <a:pt x="262153" y="74496"/>
                  </a:cubicBezTo>
                  <a:cubicBezTo>
                    <a:pt x="273031" y="77216"/>
                    <a:pt x="283910" y="82655"/>
                    <a:pt x="294789" y="85375"/>
                  </a:cubicBezTo>
                  <a:cubicBezTo>
                    <a:pt x="308387" y="90814"/>
                    <a:pt x="319265" y="96253"/>
                    <a:pt x="327424" y="104412"/>
                  </a:cubicBezTo>
                  <a:cubicBezTo>
                    <a:pt x="327424" y="90814"/>
                    <a:pt x="327424" y="79936"/>
                    <a:pt x="332864" y="74496"/>
                  </a:cubicBezTo>
                  <a:cubicBezTo>
                    <a:pt x="335583" y="71776"/>
                    <a:pt x="335583" y="69057"/>
                    <a:pt x="338303" y="63618"/>
                  </a:cubicBezTo>
                  <a:cubicBezTo>
                    <a:pt x="341023" y="60898"/>
                    <a:pt x="346462" y="58178"/>
                    <a:pt x="349182" y="58178"/>
                  </a:cubicBezTo>
                  <a:cubicBezTo>
                    <a:pt x="351901" y="58178"/>
                    <a:pt x="357341" y="60898"/>
                    <a:pt x="357341" y="63618"/>
                  </a:cubicBezTo>
                  <a:cubicBezTo>
                    <a:pt x="360060" y="69057"/>
                    <a:pt x="365500" y="77216"/>
                    <a:pt x="365500" y="82655"/>
                  </a:cubicBezTo>
                  <a:cubicBezTo>
                    <a:pt x="365500" y="90814"/>
                    <a:pt x="368219" y="123450"/>
                    <a:pt x="368219" y="142488"/>
                  </a:cubicBezTo>
                  <a:cubicBezTo>
                    <a:pt x="368219" y="158806"/>
                    <a:pt x="368219" y="177843"/>
                    <a:pt x="368219" y="188722"/>
                  </a:cubicBezTo>
                  <a:cubicBezTo>
                    <a:pt x="368219" y="213199"/>
                    <a:pt x="370939" y="224077"/>
                    <a:pt x="370939" y="245834"/>
                  </a:cubicBezTo>
                  <a:cubicBezTo>
                    <a:pt x="370939" y="256713"/>
                    <a:pt x="370939" y="286629"/>
                    <a:pt x="354621" y="286629"/>
                  </a:cubicBezTo>
                  <a:cubicBezTo>
                    <a:pt x="346462" y="286629"/>
                    <a:pt x="343742" y="283910"/>
                    <a:pt x="338303" y="281190"/>
                  </a:cubicBezTo>
                  <a:cubicBezTo>
                    <a:pt x="332864" y="278470"/>
                    <a:pt x="330144" y="270311"/>
                    <a:pt x="330144" y="264872"/>
                  </a:cubicBezTo>
                  <a:cubicBezTo>
                    <a:pt x="327424" y="256713"/>
                    <a:pt x="327424" y="251274"/>
                    <a:pt x="327424" y="248554"/>
                  </a:cubicBezTo>
                  <a:cubicBezTo>
                    <a:pt x="327424" y="240395"/>
                    <a:pt x="330144" y="234956"/>
                    <a:pt x="330144" y="221357"/>
                  </a:cubicBezTo>
                  <a:cubicBezTo>
                    <a:pt x="330144" y="213199"/>
                    <a:pt x="330144" y="202320"/>
                    <a:pt x="330144" y="188722"/>
                  </a:cubicBezTo>
                  <a:cubicBezTo>
                    <a:pt x="330144" y="180563"/>
                    <a:pt x="327424" y="172404"/>
                    <a:pt x="327424" y="164245"/>
                  </a:cubicBezTo>
                  <a:cubicBezTo>
                    <a:pt x="324705" y="153366"/>
                    <a:pt x="319265" y="142488"/>
                    <a:pt x="311107" y="134329"/>
                  </a:cubicBezTo>
                  <a:cubicBezTo>
                    <a:pt x="302948" y="126170"/>
                    <a:pt x="294789" y="120730"/>
                    <a:pt x="283910" y="118011"/>
                  </a:cubicBezTo>
                  <a:cubicBezTo>
                    <a:pt x="275751" y="115291"/>
                    <a:pt x="262153" y="112571"/>
                    <a:pt x="251274" y="112571"/>
                  </a:cubicBezTo>
                  <a:cubicBezTo>
                    <a:pt x="237676" y="112571"/>
                    <a:pt x="224077" y="115291"/>
                    <a:pt x="215918" y="123450"/>
                  </a:cubicBezTo>
                  <a:cubicBezTo>
                    <a:pt x="207759" y="128889"/>
                    <a:pt x="205040" y="139768"/>
                    <a:pt x="202320" y="147927"/>
                  </a:cubicBezTo>
                  <a:cubicBezTo>
                    <a:pt x="196881" y="158806"/>
                    <a:pt x="191442" y="166964"/>
                    <a:pt x="188722" y="180563"/>
                  </a:cubicBezTo>
                  <a:cubicBezTo>
                    <a:pt x="186002" y="191441"/>
                    <a:pt x="183283" y="199600"/>
                    <a:pt x="183283" y="210479"/>
                  </a:cubicBezTo>
                  <a:cubicBezTo>
                    <a:pt x="183283" y="215918"/>
                    <a:pt x="186002" y="221357"/>
                    <a:pt x="188722" y="226797"/>
                  </a:cubicBezTo>
                  <a:cubicBezTo>
                    <a:pt x="191442" y="234956"/>
                    <a:pt x="188722" y="243115"/>
                    <a:pt x="188722" y="248554"/>
                  </a:cubicBezTo>
                  <a:cubicBezTo>
                    <a:pt x="191442" y="259433"/>
                    <a:pt x="202320" y="264872"/>
                    <a:pt x="210479" y="273031"/>
                  </a:cubicBezTo>
                  <a:cubicBezTo>
                    <a:pt x="218638" y="281190"/>
                    <a:pt x="221358" y="292069"/>
                    <a:pt x="226797" y="300228"/>
                  </a:cubicBezTo>
                  <a:cubicBezTo>
                    <a:pt x="234956" y="311106"/>
                    <a:pt x="245835" y="321985"/>
                    <a:pt x="256713" y="332864"/>
                  </a:cubicBezTo>
                  <a:cubicBezTo>
                    <a:pt x="259433" y="338303"/>
                    <a:pt x="267592" y="343742"/>
                    <a:pt x="275751" y="351901"/>
                  </a:cubicBezTo>
                  <a:cubicBezTo>
                    <a:pt x="292069" y="368219"/>
                    <a:pt x="311107" y="384537"/>
                    <a:pt x="324705" y="400855"/>
                  </a:cubicBezTo>
                  <a:cubicBezTo>
                    <a:pt x="332864" y="409014"/>
                    <a:pt x="335583" y="419892"/>
                    <a:pt x="343742" y="428051"/>
                  </a:cubicBezTo>
                  <a:cubicBezTo>
                    <a:pt x="346462" y="430771"/>
                    <a:pt x="349182" y="430771"/>
                    <a:pt x="351901" y="433491"/>
                  </a:cubicBezTo>
                  <a:cubicBezTo>
                    <a:pt x="354621" y="436210"/>
                    <a:pt x="357341" y="441650"/>
                    <a:pt x="360060" y="447089"/>
                  </a:cubicBezTo>
                  <a:cubicBezTo>
                    <a:pt x="368219" y="455248"/>
                    <a:pt x="376378" y="463407"/>
                    <a:pt x="384537" y="474286"/>
                  </a:cubicBezTo>
                  <a:cubicBezTo>
                    <a:pt x="389977" y="482445"/>
                    <a:pt x="392696" y="496043"/>
                    <a:pt x="395416" y="506921"/>
                  </a:cubicBezTo>
                  <a:cubicBezTo>
                    <a:pt x="400855" y="517800"/>
                    <a:pt x="400855" y="528679"/>
                    <a:pt x="406295" y="536838"/>
                  </a:cubicBezTo>
                  <a:cubicBezTo>
                    <a:pt x="409014" y="539557"/>
                    <a:pt x="409014" y="544997"/>
                    <a:pt x="409014" y="547716"/>
                  </a:cubicBezTo>
                  <a:cubicBezTo>
                    <a:pt x="409014" y="555875"/>
                    <a:pt x="406295" y="561314"/>
                    <a:pt x="406295" y="569473"/>
                  </a:cubicBezTo>
                  <a:cubicBezTo>
                    <a:pt x="406295" y="574913"/>
                    <a:pt x="403575" y="577632"/>
                    <a:pt x="403575" y="583072"/>
                  </a:cubicBezTo>
                  <a:lnTo>
                    <a:pt x="403575" y="583072"/>
                  </a:ln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/>
            </a:p>
          </p:txBody>
        </p:sp>
        <p:sp>
          <p:nvSpPr>
            <p:cNvPr id="38" name="Freeform: Shape 37">
              <a:extLst>
                <a:ext uri="{FF2B5EF4-FFF2-40B4-BE49-F238E27FC236}">
                  <a16:creationId xmlns:a16="http://schemas.microsoft.com/office/drawing/2014/main" id="{FC35D844-DD99-4858-9C8F-7E64319ECEC1}"/>
                </a:ext>
              </a:extLst>
            </p:cNvPr>
            <p:cNvSpPr/>
            <p:nvPr/>
          </p:nvSpPr>
          <p:spPr>
            <a:xfrm>
              <a:off x="2456032" y="4192158"/>
              <a:ext cx="571128" cy="761503"/>
            </a:xfrm>
            <a:custGeom>
              <a:avLst/>
              <a:gdLst>
                <a:gd name="connsiteX0" fmla="*/ 512361 w 571128"/>
                <a:gd name="connsiteY0" fmla="*/ 79936 h 761503"/>
                <a:gd name="connsiteX1" fmla="*/ 539558 w 571128"/>
                <a:gd name="connsiteY1" fmla="*/ 96253 h 761503"/>
                <a:gd name="connsiteX2" fmla="*/ 534118 w 571128"/>
                <a:gd name="connsiteY2" fmla="*/ 112571 h 761503"/>
                <a:gd name="connsiteX3" fmla="*/ 523240 w 571128"/>
                <a:gd name="connsiteY3" fmla="*/ 120730 h 761503"/>
                <a:gd name="connsiteX4" fmla="*/ 506922 w 571128"/>
                <a:gd name="connsiteY4" fmla="*/ 123450 h 761503"/>
                <a:gd name="connsiteX5" fmla="*/ 477006 w 571128"/>
                <a:gd name="connsiteY5" fmla="*/ 123450 h 761503"/>
                <a:gd name="connsiteX6" fmla="*/ 479725 w 571128"/>
                <a:gd name="connsiteY6" fmla="*/ 145207 h 761503"/>
                <a:gd name="connsiteX7" fmla="*/ 477006 w 571128"/>
                <a:gd name="connsiteY7" fmla="*/ 180563 h 761503"/>
                <a:gd name="connsiteX8" fmla="*/ 482445 w 571128"/>
                <a:gd name="connsiteY8" fmla="*/ 232236 h 761503"/>
                <a:gd name="connsiteX9" fmla="*/ 485165 w 571128"/>
                <a:gd name="connsiteY9" fmla="*/ 283910 h 761503"/>
                <a:gd name="connsiteX10" fmla="*/ 485165 w 571128"/>
                <a:gd name="connsiteY10" fmla="*/ 327424 h 761503"/>
                <a:gd name="connsiteX11" fmla="*/ 487884 w 571128"/>
                <a:gd name="connsiteY11" fmla="*/ 373658 h 761503"/>
                <a:gd name="connsiteX12" fmla="*/ 485165 w 571128"/>
                <a:gd name="connsiteY12" fmla="*/ 419892 h 761503"/>
                <a:gd name="connsiteX13" fmla="*/ 485165 w 571128"/>
                <a:gd name="connsiteY13" fmla="*/ 463407 h 761503"/>
                <a:gd name="connsiteX14" fmla="*/ 482445 w 571128"/>
                <a:gd name="connsiteY14" fmla="*/ 515080 h 761503"/>
                <a:gd name="connsiteX15" fmla="*/ 482445 w 571128"/>
                <a:gd name="connsiteY15" fmla="*/ 558595 h 761503"/>
                <a:gd name="connsiteX16" fmla="*/ 479725 w 571128"/>
                <a:gd name="connsiteY16" fmla="*/ 602109 h 761503"/>
                <a:gd name="connsiteX17" fmla="*/ 485165 w 571128"/>
                <a:gd name="connsiteY17" fmla="*/ 648343 h 761503"/>
                <a:gd name="connsiteX18" fmla="*/ 474286 w 571128"/>
                <a:gd name="connsiteY18" fmla="*/ 675540 h 761503"/>
                <a:gd name="connsiteX19" fmla="*/ 428052 w 571128"/>
                <a:gd name="connsiteY19" fmla="*/ 691858 h 761503"/>
                <a:gd name="connsiteX20" fmla="*/ 387257 w 571128"/>
                <a:gd name="connsiteY20" fmla="*/ 683699 h 761503"/>
                <a:gd name="connsiteX21" fmla="*/ 351901 w 571128"/>
                <a:gd name="connsiteY21" fmla="*/ 664661 h 761503"/>
                <a:gd name="connsiteX22" fmla="*/ 305667 w 571128"/>
                <a:gd name="connsiteY22" fmla="*/ 596670 h 761503"/>
                <a:gd name="connsiteX23" fmla="*/ 270312 w 571128"/>
                <a:gd name="connsiteY23" fmla="*/ 509641 h 761503"/>
                <a:gd name="connsiteX24" fmla="*/ 251274 w 571128"/>
                <a:gd name="connsiteY24" fmla="*/ 460687 h 761503"/>
                <a:gd name="connsiteX25" fmla="*/ 224077 w 571128"/>
                <a:gd name="connsiteY25" fmla="*/ 381817 h 761503"/>
                <a:gd name="connsiteX26" fmla="*/ 207759 w 571128"/>
                <a:gd name="connsiteY26" fmla="*/ 330144 h 761503"/>
                <a:gd name="connsiteX27" fmla="*/ 191442 w 571128"/>
                <a:gd name="connsiteY27" fmla="*/ 286629 h 761503"/>
                <a:gd name="connsiteX28" fmla="*/ 183283 w 571128"/>
                <a:gd name="connsiteY28" fmla="*/ 278470 h 761503"/>
                <a:gd name="connsiteX29" fmla="*/ 180563 w 571128"/>
                <a:gd name="connsiteY29" fmla="*/ 292069 h 761503"/>
                <a:gd name="connsiteX30" fmla="*/ 180563 w 571128"/>
                <a:gd name="connsiteY30" fmla="*/ 305667 h 761503"/>
                <a:gd name="connsiteX31" fmla="*/ 183283 w 571128"/>
                <a:gd name="connsiteY31" fmla="*/ 354621 h 761503"/>
                <a:gd name="connsiteX32" fmla="*/ 188722 w 571128"/>
                <a:gd name="connsiteY32" fmla="*/ 449809 h 761503"/>
                <a:gd name="connsiteX33" fmla="*/ 188722 w 571128"/>
                <a:gd name="connsiteY33" fmla="*/ 479725 h 761503"/>
                <a:gd name="connsiteX34" fmla="*/ 188722 w 571128"/>
                <a:gd name="connsiteY34" fmla="*/ 542277 h 761503"/>
                <a:gd name="connsiteX35" fmla="*/ 186002 w 571128"/>
                <a:gd name="connsiteY35" fmla="*/ 615708 h 761503"/>
                <a:gd name="connsiteX36" fmla="*/ 186002 w 571128"/>
                <a:gd name="connsiteY36" fmla="*/ 637465 h 761503"/>
                <a:gd name="connsiteX37" fmla="*/ 183283 w 571128"/>
                <a:gd name="connsiteY37" fmla="*/ 664661 h 761503"/>
                <a:gd name="connsiteX38" fmla="*/ 226797 w 571128"/>
                <a:gd name="connsiteY38" fmla="*/ 664661 h 761503"/>
                <a:gd name="connsiteX39" fmla="*/ 253994 w 571128"/>
                <a:gd name="connsiteY39" fmla="*/ 680979 h 761503"/>
                <a:gd name="connsiteX40" fmla="*/ 248554 w 571128"/>
                <a:gd name="connsiteY40" fmla="*/ 697297 h 761503"/>
                <a:gd name="connsiteX41" fmla="*/ 234956 w 571128"/>
                <a:gd name="connsiteY41" fmla="*/ 705456 h 761503"/>
                <a:gd name="connsiteX42" fmla="*/ 218638 w 571128"/>
                <a:gd name="connsiteY42" fmla="*/ 708176 h 761503"/>
                <a:gd name="connsiteX43" fmla="*/ 183283 w 571128"/>
                <a:gd name="connsiteY43" fmla="*/ 708176 h 761503"/>
                <a:gd name="connsiteX44" fmla="*/ 150647 w 571128"/>
                <a:gd name="connsiteY44" fmla="*/ 708176 h 761503"/>
                <a:gd name="connsiteX45" fmla="*/ 107132 w 571128"/>
                <a:gd name="connsiteY45" fmla="*/ 708176 h 761503"/>
                <a:gd name="connsiteX46" fmla="*/ 88094 w 571128"/>
                <a:gd name="connsiteY46" fmla="*/ 708176 h 761503"/>
                <a:gd name="connsiteX47" fmla="*/ 69057 w 571128"/>
                <a:gd name="connsiteY47" fmla="*/ 702737 h 761503"/>
                <a:gd name="connsiteX48" fmla="*/ 58178 w 571128"/>
                <a:gd name="connsiteY48" fmla="*/ 686419 h 761503"/>
                <a:gd name="connsiteX49" fmla="*/ 60898 w 571128"/>
                <a:gd name="connsiteY49" fmla="*/ 678260 h 761503"/>
                <a:gd name="connsiteX50" fmla="*/ 77216 w 571128"/>
                <a:gd name="connsiteY50" fmla="*/ 670101 h 761503"/>
                <a:gd name="connsiteX51" fmla="*/ 120730 w 571128"/>
                <a:gd name="connsiteY51" fmla="*/ 664661 h 761503"/>
                <a:gd name="connsiteX52" fmla="*/ 131609 w 571128"/>
                <a:gd name="connsiteY52" fmla="*/ 664661 h 761503"/>
                <a:gd name="connsiteX53" fmla="*/ 134329 w 571128"/>
                <a:gd name="connsiteY53" fmla="*/ 539557 h 761503"/>
                <a:gd name="connsiteX54" fmla="*/ 134329 w 571128"/>
                <a:gd name="connsiteY54" fmla="*/ 504202 h 761503"/>
                <a:gd name="connsiteX55" fmla="*/ 131609 w 571128"/>
                <a:gd name="connsiteY55" fmla="*/ 376378 h 761503"/>
                <a:gd name="connsiteX56" fmla="*/ 131609 w 571128"/>
                <a:gd name="connsiteY56" fmla="*/ 302947 h 761503"/>
                <a:gd name="connsiteX57" fmla="*/ 134329 w 571128"/>
                <a:gd name="connsiteY57" fmla="*/ 221357 h 761503"/>
                <a:gd name="connsiteX58" fmla="*/ 137048 w 571128"/>
                <a:gd name="connsiteY58" fmla="*/ 123450 h 761503"/>
                <a:gd name="connsiteX59" fmla="*/ 107132 w 571128"/>
                <a:gd name="connsiteY59" fmla="*/ 123450 h 761503"/>
                <a:gd name="connsiteX60" fmla="*/ 88094 w 571128"/>
                <a:gd name="connsiteY60" fmla="*/ 123450 h 761503"/>
                <a:gd name="connsiteX61" fmla="*/ 69057 w 571128"/>
                <a:gd name="connsiteY61" fmla="*/ 118011 h 761503"/>
                <a:gd name="connsiteX62" fmla="*/ 58178 w 571128"/>
                <a:gd name="connsiteY62" fmla="*/ 101693 h 761503"/>
                <a:gd name="connsiteX63" fmla="*/ 60898 w 571128"/>
                <a:gd name="connsiteY63" fmla="*/ 93534 h 761503"/>
                <a:gd name="connsiteX64" fmla="*/ 77216 w 571128"/>
                <a:gd name="connsiteY64" fmla="*/ 85375 h 761503"/>
                <a:gd name="connsiteX65" fmla="*/ 131609 w 571128"/>
                <a:gd name="connsiteY65" fmla="*/ 79936 h 761503"/>
                <a:gd name="connsiteX66" fmla="*/ 161525 w 571128"/>
                <a:gd name="connsiteY66" fmla="*/ 79936 h 761503"/>
                <a:gd name="connsiteX67" fmla="*/ 177843 w 571128"/>
                <a:gd name="connsiteY67" fmla="*/ 66337 h 761503"/>
                <a:gd name="connsiteX68" fmla="*/ 202320 w 571128"/>
                <a:gd name="connsiteY68" fmla="*/ 58178 h 761503"/>
                <a:gd name="connsiteX69" fmla="*/ 234956 w 571128"/>
                <a:gd name="connsiteY69" fmla="*/ 77216 h 761503"/>
                <a:gd name="connsiteX70" fmla="*/ 251274 w 571128"/>
                <a:gd name="connsiteY70" fmla="*/ 107132 h 761503"/>
                <a:gd name="connsiteX71" fmla="*/ 267592 w 571128"/>
                <a:gd name="connsiteY71" fmla="*/ 147927 h 761503"/>
                <a:gd name="connsiteX72" fmla="*/ 281190 w 571128"/>
                <a:gd name="connsiteY72" fmla="*/ 183282 h 761503"/>
                <a:gd name="connsiteX73" fmla="*/ 297508 w 571128"/>
                <a:gd name="connsiteY73" fmla="*/ 224077 h 761503"/>
                <a:gd name="connsiteX74" fmla="*/ 308387 w 571128"/>
                <a:gd name="connsiteY74" fmla="*/ 264872 h 761503"/>
                <a:gd name="connsiteX75" fmla="*/ 319265 w 571128"/>
                <a:gd name="connsiteY75" fmla="*/ 300228 h 761503"/>
                <a:gd name="connsiteX76" fmla="*/ 351901 w 571128"/>
                <a:gd name="connsiteY76" fmla="*/ 379098 h 761503"/>
                <a:gd name="connsiteX77" fmla="*/ 365500 w 571128"/>
                <a:gd name="connsiteY77" fmla="*/ 417173 h 761503"/>
                <a:gd name="connsiteX78" fmla="*/ 379098 w 571128"/>
                <a:gd name="connsiteY78" fmla="*/ 457968 h 761503"/>
                <a:gd name="connsiteX79" fmla="*/ 395416 w 571128"/>
                <a:gd name="connsiteY79" fmla="*/ 496043 h 761503"/>
                <a:gd name="connsiteX80" fmla="*/ 406295 w 571128"/>
                <a:gd name="connsiteY80" fmla="*/ 512361 h 761503"/>
                <a:gd name="connsiteX81" fmla="*/ 411734 w 571128"/>
                <a:gd name="connsiteY81" fmla="*/ 531398 h 761503"/>
                <a:gd name="connsiteX82" fmla="*/ 419893 w 571128"/>
                <a:gd name="connsiteY82" fmla="*/ 558595 h 761503"/>
                <a:gd name="connsiteX83" fmla="*/ 425332 w 571128"/>
                <a:gd name="connsiteY83" fmla="*/ 564034 h 761503"/>
                <a:gd name="connsiteX84" fmla="*/ 430771 w 571128"/>
                <a:gd name="connsiteY84" fmla="*/ 558595 h 761503"/>
                <a:gd name="connsiteX85" fmla="*/ 430771 w 571128"/>
                <a:gd name="connsiteY85" fmla="*/ 550436 h 761503"/>
                <a:gd name="connsiteX86" fmla="*/ 430771 w 571128"/>
                <a:gd name="connsiteY86" fmla="*/ 501482 h 761503"/>
                <a:gd name="connsiteX87" fmla="*/ 430771 w 571128"/>
                <a:gd name="connsiteY87" fmla="*/ 403575 h 761503"/>
                <a:gd name="connsiteX88" fmla="*/ 425332 w 571128"/>
                <a:gd name="connsiteY88" fmla="*/ 313826 h 761503"/>
                <a:gd name="connsiteX89" fmla="*/ 425332 w 571128"/>
                <a:gd name="connsiteY89" fmla="*/ 248554 h 761503"/>
                <a:gd name="connsiteX90" fmla="*/ 425332 w 571128"/>
                <a:gd name="connsiteY90" fmla="*/ 210479 h 761503"/>
                <a:gd name="connsiteX91" fmla="*/ 422613 w 571128"/>
                <a:gd name="connsiteY91" fmla="*/ 153366 h 761503"/>
                <a:gd name="connsiteX92" fmla="*/ 425332 w 571128"/>
                <a:gd name="connsiteY92" fmla="*/ 123450 h 761503"/>
                <a:gd name="connsiteX93" fmla="*/ 398136 w 571128"/>
                <a:gd name="connsiteY93" fmla="*/ 123450 h 761503"/>
                <a:gd name="connsiteX94" fmla="*/ 379098 w 571128"/>
                <a:gd name="connsiteY94" fmla="*/ 123450 h 761503"/>
                <a:gd name="connsiteX95" fmla="*/ 360060 w 571128"/>
                <a:gd name="connsiteY95" fmla="*/ 118011 h 761503"/>
                <a:gd name="connsiteX96" fmla="*/ 349182 w 571128"/>
                <a:gd name="connsiteY96" fmla="*/ 101693 h 761503"/>
                <a:gd name="connsiteX97" fmla="*/ 351901 w 571128"/>
                <a:gd name="connsiteY97" fmla="*/ 93534 h 761503"/>
                <a:gd name="connsiteX98" fmla="*/ 368219 w 571128"/>
                <a:gd name="connsiteY98" fmla="*/ 85375 h 761503"/>
                <a:gd name="connsiteX99" fmla="*/ 422613 w 571128"/>
                <a:gd name="connsiteY99" fmla="*/ 79936 h 761503"/>
                <a:gd name="connsiteX100" fmla="*/ 444370 w 571128"/>
                <a:gd name="connsiteY100" fmla="*/ 79936 h 761503"/>
                <a:gd name="connsiteX101" fmla="*/ 463407 w 571128"/>
                <a:gd name="connsiteY101" fmla="*/ 71776 h 761503"/>
                <a:gd name="connsiteX102" fmla="*/ 477006 w 571128"/>
                <a:gd name="connsiteY102" fmla="*/ 79936 h 761503"/>
                <a:gd name="connsiteX103" fmla="*/ 512361 w 571128"/>
                <a:gd name="connsiteY103" fmla="*/ 79936 h 761503"/>
                <a:gd name="connsiteX104" fmla="*/ 512361 w 571128"/>
                <a:gd name="connsiteY104" fmla="*/ 79936 h 761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</a:cxnLst>
              <a:rect l="l" t="t" r="r" b="b"/>
              <a:pathLst>
                <a:path w="571128" h="761503">
                  <a:moveTo>
                    <a:pt x="512361" y="79936"/>
                  </a:moveTo>
                  <a:cubicBezTo>
                    <a:pt x="520520" y="79936"/>
                    <a:pt x="539558" y="79936"/>
                    <a:pt x="539558" y="96253"/>
                  </a:cubicBezTo>
                  <a:cubicBezTo>
                    <a:pt x="539558" y="104412"/>
                    <a:pt x="539558" y="107132"/>
                    <a:pt x="534118" y="112571"/>
                  </a:cubicBezTo>
                  <a:cubicBezTo>
                    <a:pt x="531399" y="118011"/>
                    <a:pt x="525960" y="120730"/>
                    <a:pt x="523240" y="120730"/>
                  </a:cubicBezTo>
                  <a:cubicBezTo>
                    <a:pt x="515081" y="123450"/>
                    <a:pt x="512361" y="123450"/>
                    <a:pt x="506922" y="123450"/>
                  </a:cubicBezTo>
                  <a:cubicBezTo>
                    <a:pt x="504202" y="123450"/>
                    <a:pt x="490604" y="123450"/>
                    <a:pt x="477006" y="123450"/>
                  </a:cubicBezTo>
                  <a:cubicBezTo>
                    <a:pt x="477006" y="131609"/>
                    <a:pt x="479725" y="137048"/>
                    <a:pt x="479725" y="145207"/>
                  </a:cubicBezTo>
                  <a:cubicBezTo>
                    <a:pt x="479725" y="156086"/>
                    <a:pt x="477006" y="166964"/>
                    <a:pt x="477006" y="180563"/>
                  </a:cubicBezTo>
                  <a:cubicBezTo>
                    <a:pt x="477006" y="196881"/>
                    <a:pt x="479725" y="215918"/>
                    <a:pt x="482445" y="232236"/>
                  </a:cubicBezTo>
                  <a:cubicBezTo>
                    <a:pt x="485165" y="248554"/>
                    <a:pt x="485165" y="267592"/>
                    <a:pt x="485165" y="283910"/>
                  </a:cubicBezTo>
                  <a:cubicBezTo>
                    <a:pt x="485165" y="297508"/>
                    <a:pt x="485165" y="313826"/>
                    <a:pt x="485165" y="327424"/>
                  </a:cubicBezTo>
                  <a:cubicBezTo>
                    <a:pt x="485165" y="343742"/>
                    <a:pt x="487884" y="357340"/>
                    <a:pt x="487884" y="373658"/>
                  </a:cubicBezTo>
                  <a:cubicBezTo>
                    <a:pt x="487884" y="389976"/>
                    <a:pt x="485165" y="403575"/>
                    <a:pt x="485165" y="419892"/>
                  </a:cubicBezTo>
                  <a:cubicBezTo>
                    <a:pt x="485165" y="436210"/>
                    <a:pt x="485165" y="449809"/>
                    <a:pt x="485165" y="463407"/>
                  </a:cubicBezTo>
                  <a:cubicBezTo>
                    <a:pt x="485165" y="479725"/>
                    <a:pt x="485165" y="498762"/>
                    <a:pt x="482445" y="515080"/>
                  </a:cubicBezTo>
                  <a:cubicBezTo>
                    <a:pt x="482445" y="528679"/>
                    <a:pt x="482445" y="542277"/>
                    <a:pt x="482445" y="558595"/>
                  </a:cubicBezTo>
                  <a:cubicBezTo>
                    <a:pt x="482445" y="572193"/>
                    <a:pt x="479725" y="588511"/>
                    <a:pt x="479725" y="602109"/>
                  </a:cubicBezTo>
                  <a:cubicBezTo>
                    <a:pt x="479725" y="615708"/>
                    <a:pt x="485165" y="632026"/>
                    <a:pt x="485165" y="648343"/>
                  </a:cubicBezTo>
                  <a:cubicBezTo>
                    <a:pt x="485165" y="659222"/>
                    <a:pt x="482445" y="670101"/>
                    <a:pt x="474286" y="675540"/>
                  </a:cubicBezTo>
                  <a:cubicBezTo>
                    <a:pt x="460688" y="686419"/>
                    <a:pt x="444370" y="691858"/>
                    <a:pt x="428052" y="691858"/>
                  </a:cubicBezTo>
                  <a:cubicBezTo>
                    <a:pt x="414454" y="691858"/>
                    <a:pt x="400855" y="689138"/>
                    <a:pt x="387257" y="683699"/>
                  </a:cubicBezTo>
                  <a:cubicBezTo>
                    <a:pt x="373659" y="678260"/>
                    <a:pt x="360060" y="672820"/>
                    <a:pt x="351901" y="664661"/>
                  </a:cubicBezTo>
                  <a:cubicBezTo>
                    <a:pt x="330144" y="645624"/>
                    <a:pt x="316546" y="621147"/>
                    <a:pt x="305667" y="596670"/>
                  </a:cubicBezTo>
                  <a:cubicBezTo>
                    <a:pt x="292069" y="569473"/>
                    <a:pt x="281190" y="539557"/>
                    <a:pt x="270312" y="509641"/>
                  </a:cubicBezTo>
                  <a:cubicBezTo>
                    <a:pt x="264872" y="493323"/>
                    <a:pt x="256713" y="477005"/>
                    <a:pt x="251274" y="460687"/>
                  </a:cubicBezTo>
                  <a:cubicBezTo>
                    <a:pt x="240395" y="433491"/>
                    <a:pt x="232236" y="409014"/>
                    <a:pt x="224077" y="381817"/>
                  </a:cubicBezTo>
                  <a:cubicBezTo>
                    <a:pt x="218638" y="365499"/>
                    <a:pt x="213199" y="346462"/>
                    <a:pt x="207759" y="330144"/>
                  </a:cubicBezTo>
                  <a:cubicBezTo>
                    <a:pt x="202320" y="316545"/>
                    <a:pt x="196881" y="300228"/>
                    <a:pt x="191442" y="286629"/>
                  </a:cubicBezTo>
                  <a:cubicBezTo>
                    <a:pt x="188722" y="281190"/>
                    <a:pt x="186002" y="278470"/>
                    <a:pt x="183283" y="278470"/>
                  </a:cubicBezTo>
                  <a:cubicBezTo>
                    <a:pt x="180563" y="278470"/>
                    <a:pt x="180563" y="286629"/>
                    <a:pt x="180563" y="292069"/>
                  </a:cubicBezTo>
                  <a:cubicBezTo>
                    <a:pt x="180563" y="297508"/>
                    <a:pt x="180563" y="302947"/>
                    <a:pt x="180563" y="305667"/>
                  </a:cubicBezTo>
                  <a:cubicBezTo>
                    <a:pt x="180563" y="321985"/>
                    <a:pt x="183283" y="338303"/>
                    <a:pt x="183283" y="354621"/>
                  </a:cubicBezTo>
                  <a:cubicBezTo>
                    <a:pt x="183283" y="387257"/>
                    <a:pt x="186002" y="417173"/>
                    <a:pt x="188722" y="449809"/>
                  </a:cubicBezTo>
                  <a:cubicBezTo>
                    <a:pt x="188722" y="460687"/>
                    <a:pt x="188722" y="468846"/>
                    <a:pt x="188722" y="479725"/>
                  </a:cubicBezTo>
                  <a:cubicBezTo>
                    <a:pt x="188722" y="501482"/>
                    <a:pt x="188722" y="523239"/>
                    <a:pt x="188722" y="542277"/>
                  </a:cubicBezTo>
                  <a:cubicBezTo>
                    <a:pt x="188722" y="566754"/>
                    <a:pt x="186002" y="591231"/>
                    <a:pt x="186002" y="615708"/>
                  </a:cubicBezTo>
                  <a:cubicBezTo>
                    <a:pt x="186002" y="623867"/>
                    <a:pt x="186002" y="632026"/>
                    <a:pt x="186002" y="637465"/>
                  </a:cubicBezTo>
                  <a:cubicBezTo>
                    <a:pt x="186002" y="645624"/>
                    <a:pt x="183283" y="656502"/>
                    <a:pt x="183283" y="664661"/>
                  </a:cubicBezTo>
                  <a:cubicBezTo>
                    <a:pt x="202320" y="664661"/>
                    <a:pt x="218638" y="664661"/>
                    <a:pt x="226797" y="664661"/>
                  </a:cubicBezTo>
                  <a:cubicBezTo>
                    <a:pt x="234956" y="664661"/>
                    <a:pt x="253994" y="664661"/>
                    <a:pt x="253994" y="680979"/>
                  </a:cubicBezTo>
                  <a:cubicBezTo>
                    <a:pt x="253994" y="689138"/>
                    <a:pt x="253994" y="691858"/>
                    <a:pt x="248554" y="697297"/>
                  </a:cubicBezTo>
                  <a:cubicBezTo>
                    <a:pt x="245835" y="702737"/>
                    <a:pt x="240395" y="705456"/>
                    <a:pt x="234956" y="705456"/>
                  </a:cubicBezTo>
                  <a:cubicBezTo>
                    <a:pt x="226797" y="708176"/>
                    <a:pt x="224077" y="708176"/>
                    <a:pt x="218638" y="708176"/>
                  </a:cubicBezTo>
                  <a:cubicBezTo>
                    <a:pt x="215918" y="708176"/>
                    <a:pt x="199600" y="708176"/>
                    <a:pt x="183283" y="708176"/>
                  </a:cubicBezTo>
                  <a:cubicBezTo>
                    <a:pt x="166965" y="708176"/>
                    <a:pt x="153366" y="708176"/>
                    <a:pt x="150647" y="708176"/>
                  </a:cubicBezTo>
                  <a:cubicBezTo>
                    <a:pt x="139768" y="708176"/>
                    <a:pt x="120730" y="708176"/>
                    <a:pt x="107132" y="708176"/>
                  </a:cubicBezTo>
                  <a:cubicBezTo>
                    <a:pt x="101693" y="708176"/>
                    <a:pt x="96253" y="708176"/>
                    <a:pt x="88094" y="708176"/>
                  </a:cubicBezTo>
                  <a:cubicBezTo>
                    <a:pt x="82655" y="708176"/>
                    <a:pt x="74496" y="708176"/>
                    <a:pt x="69057" y="702737"/>
                  </a:cubicBezTo>
                  <a:cubicBezTo>
                    <a:pt x="63618" y="700017"/>
                    <a:pt x="58178" y="691858"/>
                    <a:pt x="58178" y="686419"/>
                  </a:cubicBezTo>
                  <a:cubicBezTo>
                    <a:pt x="58178" y="683699"/>
                    <a:pt x="58178" y="680979"/>
                    <a:pt x="60898" y="678260"/>
                  </a:cubicBezTo>
                  <a:cubicBezTo>
                    <a:pt x="63618" y="675540"/>
                    <a:pt x="71777" y="672820"/>
                    <a:pt x="77216" y="670101"/>
                  </a:cubicBezTo>
                  <a:cubicBezTo>
                    <a:pt x="90814" y="667381"/>
                    <a:pt x="115291" y="664661"/>
                    <a:pt x="120730" y="664661"/>
                  </a:cubicBezTo>
                  <a:cubicBezTo>
                    <a:pt x="123450" y="664661"/>
                    <a:pt x="126170" y="664661"/>
                    <a:pt x="131609" y="664661"/>
                  </a:cubicBezTo>
                  <a:cubicBezTo>
                    <a:pt x="131609" y="623867"/>
                    <a:pt x="134329" y="583072"/>
                    <a:pt x="134329" y="539557"/>
                  </a:cubicBezTo>
                  <a:cubicBezTo>
                    <a:pt x="134329" y="528679"/>
                    <a:pt x="134329" y="515080"/>
                    <a:pt x="134329" y="504202"/>
                  </a:cubicBezTo>
                  <a:cubicBezTo>
                    <a:pt x="131609" y="460687"/>
                    <a:pt x="131609" y="417173"/>
                    <a:pt x="131609" y="376378"/>
                  </a:cubicBezTo>
                  <a:cubicBezTo>
                    <a:pt x="131609" y="351901"/>
                    <a:pt x="131609" y="327424"/>
                    <a:pt x="131609" y="302947"/>
                  </a:cubicBezTo>
                  <a:cubicBezTo>
                    <a:pt x="131609" y="275751"/>
                    <a:pt x="131609" y="248554"/>
                    <a:pt x="134329" y="221357"/>
                  </a:cubicBezTo>
                  <a:cubicBezTo>
                    <a:pt x="134329" y="188722"/>
                    <a:pt x="137048" y="156086"/>
                    <a:pt x="137048" y="123450"/>
                  </a:cubicBezTo>
                  <a:cubicBezTo>
                    <a:pt x="126170" y="123450"/>
                    <a:pt x="115291" y="123450"/>
                    <a:pt x="107132" y="123450"/>
                  </a:cubicBezTo>
                  <a:cubicBezTo>
                    <a:pt x="101693" y="123450"/>
                    <a:pt x="96253" y="123450"/>
                    <a:pt x="88094" y="123450"/>
                  </a:cubicBezTo>
                  <a:cubicBezTo>
                    <a:pt x="82655" y="123450"/>
                    <a:pt x="74496" y="120730"/>
                    <a:pt x="69057" y="118011"/>
                  </a:cubicBezTo>
                  <a:cubicBezTo>
                    <a:pt x="63618" y="115291"/>
                    <a:pt x="58178" y="107132"/>
                    <a:pt x="58178" y="101693"/>
                  </a:cubicBezTo>
                  <a:cubicBezTo>
                    <a:pt x="58178" y="98973"/>
                    <a:pt x="58178" y="96253"/>
                    <a:pt x="60898" y="93534"/>
                  </a:cubicBezTo>
                  <a:cubicBezTo>
                    <a:pt x="63618" y="90814"/>
                    <a:pt x="71777" y="88095"/>
                    <a:pt x="77216" y="85375"/>
                  </a:cubicBezTo>
                  <a:cubicBezTo>
                    <a:pt x="90814" y="82655"/>
                    <a:pt x="126170" y="79936"/>
                    <a:pt x="131609" y="79936"/>
                  </a:cubicBezTo>
                  <a:cubicBezTo>
                    <a:pt x="137048" y="79936"/>
                    <a:pt x="147927" y="79936"/>
                    <a:pt x="161525" y="79936"/>
                  </a:cubicBezTo>
                  <a:cubicBezTo>
                    <a:pt x="166965" y="74496"/>
                    <a:pt x="172404" y="71776"/>
                    <a:pt x="177843" y="66337"/>
                  </a:cubicBezTo>
                  <a:cubicBezTo>
                    <a:pt x="186002" y="60898"/>
                    <a:pt x="194161" y="58178"/>
                    <a:pt x="202320" y="58178"/>
                  </a:cubicBezTo>
                  <a:cubicBezTo>
                    <a:pt x="215918" y="58178"/>
                    <a:pt x="226797" y="63618"/>
                    <a:pt x="234956" y="77216"/>
                  </a:cubicBezTo>
                  <a:cubicBezTo>
                    <a:pt x="240395" y="88095"/>
                    <a:pt x="248554" y="96253"/>
                    <a:pt x="251274" y="107132"/>
                  </a:cubicBezTo>
                  <a:cubicBezTo>
                    <a:pt x="256713" y="120730"/>
                    <a:pt x="259433" y="134329"/>
                    <a:pt x="267592" y="147927"/>
                  </a:cubicBezTo>
                  <a:cubicBezTo>
                    <a:pt x="273031" y="158806"/>
                    <a:pt x="275751" y="172404"/>
                    <a:pt x="281190" y="183282"/>
                  </a:cubicBezTo>
                  <a:cubicBezTo>
                    <a:pt x="286630" y="196881"/>
                    <a:pt x="292069" y="210479"/>
                    <a:pt x="297508" y="224077"/>
                  </a:cubicBezTo>
                  <a:cubicBezTo>
                    <a:pt x="300228" y="237676"/>
                    <a:pt x="305667" y="251274"/>
                    <a:pt x="308387" y="264872"/>
                  </a:cubicBezTo>
                  <a:cubicBezTo>
                    <a:pt x="311107" y="278470"/>
                    <a:pt x="311107" y="289349"/>
                    <a:pt x="319265" y="300228"/>
                  </a:cubicBezTo>
                  <a:cubicBezTo>
                    <a:pt x="332864" y="324704"/>
                    <a:pt x="346462" y="351901"/>
                    <a:pt x="351901" y="379098"/>
                  </a:cubicBezTo>
                  <a:cubicBezTo>
                    <a:pt x="354621" y="392696"/>
                    <a:pt x="360060" y="403575"/>
                    <a:pt x="365500" y="417173"/>
                  </a:cubicBezTo>
                  <a:cubicBezTo>
                    <a:pt x="373659" y="430771"/>
                    <a:pt x="373659" y="444369"/>
                    <a:pt x="379098" y="457968"/>
                  </a:cubicBezTo>
                  <a:cubicBezTo>
                    <a:pt x="381818" y="471566"/>
                    <a:pt x="387257" y="482445"/>
                    <a:pt x="395416" y="496043"/>
                  </a:cubicBezTo>
                  <a:cubicBezTo>
                    <a:pt x="398136" y="501482"/>
                    <a:pt x="403575" y="506921"/>
                    <a:pt x="406295" y="512361"/>
                  </a:cubicBezTo>
                  <a:cubicBezTo>
                    <a:pt x="409014" y="517800"/>
                    <a:pt x="409014" y="525959"/>
                    <a:pt x="411734" y="531398"/>
                  </a:cubicBezTo>
                  <a:cubicBezTo>
                    <a:pt x="414454" y="539557"/>
                    <a:pt x="417173" y="550436"/>
                    <a:pt x="419893" y="558595"/>
                  </a:cubicBezTo>
                  <a:cubicBezTo>
                    <a:pt x="422613" y="561314"/>
                    <a:pt x="422613" y="564034"/>
                    <a:pt x="425332" y="564034"/>
                  </a:cubicBezTo>
                  <a:cubicBezTo>
                    <a:pt x="428052" y="564034"/>
                    <a:pt x="428052" y="561314"/>
                    <a:pt x="430771" y="558595"/>
                  </a:cubicBezTo>
                  <a:cubicBezTo>
                    <a:pt x="430771" y="555875"/>
                    <a:pt x="430771" y="553156"/>
                    <a:pt x="430771" y="550436"/>
                  </a:cubicBezTo>
                  <a:cubicBezTo>
                    <a:pt x="430771" y="534118"/>
                    <a:pt x="430771" y="517800"/>
                    <a:pt x="430771" y="501482"/>
                  </a:cubicBezTo>
                  <a:cubicBezTo>
                    <a:pt x="430771" y="468846"/>
                    <a:pt x="433491" y="436210"/>
                    <a:pt x="430771" y="403575"/>
                  </a:cubicBezTo>
                  <a:cubicBezTo>
                    <a:pt x="430771" y="373658"/>
                    <a:pt x="425332" y="343742"/>
                    <a:pt x="425332" y="313826"/>
                  </a:cubicBezTo>
                  <a:cubicBezTo>
                    <a:pt x="425332" y="292069"/>
                    <a:pt x="425332" y="270311"/>
                    <a:pt x="425332" y="248554"/>
                  </a:cubicBezTo>
                  <a:cubicBezTo>
                    <a:pt x="425332" y="234956"/>
                    <a:pt x="425332" y="224077"/>
                    <a:pt x="425332" y="210479"/>
                  </a:cubicBezTo>
                  <a:cubicBezTo>
                    <a:pt x="425332" y="191441"/>
                    <a:pt x="422613" y="172404"/>
                    <a:pt x="422613" y="153366"/>
                  </a:cubicBezTo>
                  <a:cubicBezTo>
                    <a:pt x="422613" y="142488"/>
                    <a:pt x="422613" y="134329"/>
                    <a:pt x="425332" y="123450"/>
                  </a:cubicBezTo>
                  <a:cubicBezTo>
                    <a:pt x="417173" y="123450"/>
                    <a:pt x="406295" y="123450"/>
                    <a:pt x="398136" y="123450"/>
                  </a:cubicBezTo>
                  <a:cubicBezTo>
                    <a:pt x="392696" y="123450"/>
                    <a:pt x="387257" y="123450"/>
                    <a:pt x="379098" y="123450"/>
                  </a:cubicBezTo>
                  <a:cubicBezTo>
                    <a:pt x="373659" y="123450"/>
                    <a:pt x="365500" y="120730"/>
                    <a:pt x="360060" y="118011"/>
                  </a:cubicBezTo>
                  <a:cubicBezTo>
                    <a:pt x="354621" y="115291"/>
                    <a:pt x="349182" y="107132"/>
                    <a:pt x="349182" y="101693"/>
                  </a:cubicBezTo>
                  <a:cubicBezTo>
                    <a:pt x="349182" y="98973"/>
                    <a:pt x="349182" y="96253"/>
                    <a:pt x="351901" y="93534"/>
                  </a:cubicBezTo>
                  <a:cubicBezTo>
                    <a:pt x="354621" y="90814"/>
                    <a:pt x="362780" y="88095"/>
                    <a:pt x="368219" y="85375"/>
                  </a:cubicBezTo>
                  <a:cubicBezTo>
                    <a:pt x="381818" y="82655"/>
                    <a:pt x="417173" y="79936"/>
                    <a:pt x="422613" y="79936"/>
                  </a:cubicBezTo>
                  <a:cubicBezTo>
                    <a:pt x="428052" y="79936"/>
                    <a:pt x="433491" y="79936"/>
                    <a:pt x="444370" y="79936"/>
                  </a:cubicBezTo>
                  <a:cubicBezTo>
                    <a:pt x="449809" y="74496"/>
                    <a:pt x="455248" y="71776"/>
                    <a:pt x="463407" y="71776"/>
                  </a:cubicBezTo>
                  <a:cubicBezTo>
                    <a:pt x="471566" y="71776"/>
                    <a:pt x="477006" y="74496"/>
                    <a:pt x="477006" y="79936"/>
                  </a:cubicBezTo>
                  <a:cubicBezTo>
                    <a:pt x="490604" y="82655"/>
                    <a:pt x="504202" y="79936"/>
                    <a:pt x="512361" y="79936"/>
                  </a:cubicBezTo>
                  <a:lnTo>
                    <a:pt x="512361" y="79936"/>
                  </a:ln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/>
            </a:p>
          </p:txBody>
        </p:sp>
        <p:sp>
          <p:nvSpPr>
            <p:cNvPr id="39" name="Freeform: Shape 38">
              <a:extLst>
                <a:ext uri="{FF2B5EF4-FFF2-40B4-BE49-F238E27FC236}">
                  <a16:creationId xmlns:a16="http://schemas.microsoft.com/office/drawing/2014/main" id="{B5B50CFE-2A9A-43B6-BAED-D4D319AF496E}"/>
                </a:ext>
              </a:extLst>
            </p:cNvPr>
            <p:cNvSpPr/>
            <p:nvPr/>
          </p:nvSpPr>
          <p:spPr>
            <a:xfrm>
              <a:off x="2987430" y="4242177"/>
              <a:ext cx="494979" cy="674476"/>
            </a:xfrm>
            <a:custGeom>
              <a:avLst/>
              <a:gdLst>
                <a:gd name="connsiteX0" fmla="*/ 228453 w 494979"/>
                <a:gd name="connsiteY0" fmla="*/ 97907 h 674476"/>
                <a:gd name="connsiteX1" fmla="*/ 212135 w 494979"/>
                <a:gd name="connsiteY1" fmla="*/ 119665 h 674476"/>
                <a:gd name="connsiteX2" fmla="*/ 203976 w 494979"/>
                <a:gd name="connsiteY2" fmla="*/ 152300 h 674476"/>
                <a:gd name="connsiteX3" fmla="*/ 201256 w 494979"/>
                <a:gd name="connsiteY3" fmla="*/ 168618 h 674476"/>
                <a:gd name="connsiteX4" fmla="*/ 198537 w 494979"/>
                <a:gd name="connsiteY4" fmla="*/ 184936 h 674476"/>
                <a:gd name="connsiteX5" fmla="*/ 190378 w 494979"/>
                <a:gd name="connsiteY5" fmla="*/ 220292 h 674476"/>
                <a:gd name="connsiteX6" fmla="*/ 171340 w 494979"/>
                <a:gd name="connsiteY6" fmla="*/ 291003 h 674476"/>
                <a:gd name="connsiteX7" fmla="*/ 163180 w 494979"/>
                <a:gd name="connsiteY7" fmla="*/ 323639 h 674476"/>
                <a:gd name="connsiteX8" fmla="*/ 152302 w 494979"/>
                <a:gd name="connsiteY8" fmla="*/ 361714 h 674476"/>
                <a:gd name="connsiteX9" fmla="*/ 146862 w 494979"/>
                <a:gd name="connsiteY9" fmla="*/ 388910 h 674476"/>
                <a:gd name="connsiteX10" fmla="*/ 152302 w 494979"/>
                <a:gd name="connsiteY10" fmla="*/ 391630 h 674476"/>
                <a:gd name="connsiteX11" fmla="*/ 174060 w 494979"/>
                <a:gd name="connsiteY11" fmla="*/ 391630 h 674476"/>
                <a:gd name="connsiteX12" fmla="*/ 195817 w 494979"/>
                <a:gd name="connsiteY12" fmla="*/ 388910 h 674476"/>
                <a:gd name="connsiteX13" fmla="*/ 214855 w 494979"/>
                <a:gd name="connsiteY13" fmla="*/ 388910 h 674476"/>
                <a:gd name="connsiteX14" fmla="*/ 239332 w 494979"/>
                <a:gd name="connsiteY14" fmla="*/ 388910 h 674476"/>
                <a:gd name="connsiteX15" fmla="*/ 252930 w 494979"/>
                <a:gd name="connsiteY15" fmla="*/ 386191 h 674476"/>
                <a:gd name="connsiteX16" fmla="*/ 261089 w 494979"/>
                <a:gd name="connsiteY16" fmla="*/ 386191 h 674476"/>
                <a:gd name="connsiteX17" fmla="*/ 258369 w 494979"/>
                <a:gd name="connsiteY17" fmla="*/ 367153 h 674476"/>
                <a:gd name="connsiteX18" fmla="*/ 252930 w 494979"/>
                <a:gd name="connsiteY18" fmla="*/ 331797 h 674476"/>
                <a:gd name="connsiteX19" fmla="*/ 250210 w 494979"/>
                <a:gd name="connsiteY19" fmla="*/ 244769 h 674476"/>
                <a:gd name="connsiteX20" fmla="*/ 244771 w 494979"/>
                <a:gd name="connsiteY20" fmla="*/ 203974 h 674476"/>
                <a:gd name="connsiteX21" fmla="*/ 239332 w 494979"/>
                <a:gd name="connsiteY21" fmla="*/ 157740 h 674476"/>
                <a:gd name="connsiteX22" fmla="*/ 236612 w 494979"/>
                <a:gd name="connsiteY22" fmla="*/ 119665 h 674476"/>
                <a:gd name="connsiteX23" fmla="*/ 228453 w 494979"/>
                <a:gd name="connsiteY23" fmla="*/ 97907 h 674476"/>
                <a:gd name="connsiteX24" fmla="*/ 274687 w 494979"/>
                <a:gd name="connsiteY24" fmla="*/ 0 h 674476"/>
                <a:gd name="connsiteX25" fmla="*/ 304603 w 494979"/>
                <a:gd name="connsiteY25" fmla="*/ 5439 h 674476"/>
                <a:gd name="connsiteX26" fmla="*/ 320921 w 494979"/>
                <a:gd name="connsiteY26" fmla="*/ 24477 h 674476"/>
                <a:gd name="connsiteX27" fmla="*/ 334519 w 494979"/>
                <a:gd name="connsiteY27" fmla="*/ 43515 h 674476"/>
                <a:gd name="connsiteX28" fmla="*/ 339959 w 494979"/>
                <a:gd name="connsiteY28" fmla="*/ 65272 h 674476"/>
                <a:gd name="connsiteX29" fmla="*/ 348118 w 494979"/>
                <a:gd name="connsiteY29" fmla="*/ 114226 h 674476"/>
                <a:gd name="connsiteX30" fmla="*/ 361716 w 494979"/>
                <a:gd name="connsiteY30" fmla="*/ 163180 h 674476"/>
                <a:gd name="connsiteX31" fmla="*/ 369875 w 494979"/>
                <a:gd name="connsiteY31" fmla="*/ 220293 h 674476"/>
                <a:gd name="connsiteX32" fmla="*/ 378034 w 494979"/>
                <a:gd name="connsiteY32" fmla="*/ 274686 h 674476"/>
                <a:gd name="connsiteX33" fmla="*/ 383473 w 494979"/>
                <a:gd name="connsiteY33" fmla="*/ 301883 h 674476"/>
                <a:gd name="connsiteX34" fmla="*/ 391632 w 494979"/>
                <a:gd name="connsiteY34" fmla="*/ 337238 h 674476"/>
                <a:gd name="connsiteX35" fmla="*/ 397071 w 494979"/>
                <a:gd name="connsiteY35" fmla="*/ 364435 h 674476"/>
                <a:gd name="connsiteX36" fmla="*/ 405230 w 494979"/>
                <a:gd name="connsiteY36" fmla="*/ 383473 h 674476"/>
                <a:gd name="connsiteX37" fmla="*/ 416109 w 494979"/>
                <a:gd name="connsiteY37" fmla="*/ 386192 h 674476"/>
                <a:gd name="connsiteX38" fmla="*/ 426988 w 494979"/>
                <a:gd name="connsiteY38" fmla="*/ 386192 h 674476"/>
                <a:gd name="connsiteX39" fmla="*/ 454184 w 494979"/>
                <a:gd name="connsiteY39" fmla="*/ 397071 h 674476"/>
                <a:gd name="connsiteX40" fmla="*/ 456904 w 494979"/>
                <a:gd name="connsiteY40" fmla="*/ 405230 h 674476"/>
                <a:gd name="connsiteX41" fmla="*/ 451465 w 494979"/>
                <a:gd name="connsiteY41" fmla="*/ 416108 h 674476"/>
                <a:gd name="connsiteX42" fmla="*/ 432427 w 494979"/>
                <a:gd name="connsiteY42" fmla="*/ 429707 h 674476"/>
                <a:gd name="connsiteX43" fmla="*/ 421548 w 494979"/>
                <a:gd name="connsiteY43" fmla="*/ 432426 h 674476"/>
                <a:gd name="connsiteX44" fmla="*/ 413389 w 494979"/>
                <a:gd name="connsiteY44" fmla="*/ 435146 h 674476"/>
                <a:gd name="connsiteX45" fmla="*/ 413389 w 494979"/>
                <a:gd name="connsiteY45" fmla="*/ 440585 h 674476"/>
                <a:gd name="connsiteX46" fmla="*/ 416109 w 494979"/>
                <a:gd name="connsiteY46" fmla="*/ 451464 h 674476"/>
                <a:gd name="connsiteX47" fmla="*/ 418829 w 494979"/>
                <a:gd name="connsiteY47" fmla="*/ 465062 h 674476"/>
                <a:gd name="connsiteX48" fmla="*/ 418829 w 494979"/>
                <a:gd name="connsiteY48" fmla="*/ 475941 h 674476"/>
                <a:gd name="connsiteX49" fmla="*/ 418829 w 494979"/>
                <a:gd name="connsiteY49" fmla="*/ 486820 h 674476"/>
                <a:gd name="connsiteX50" fmla="*/ 426988 w 494979"/>
                <a:gd name="connsiteY50" fmla="*/ 516736 h 674476"/>
                <a:gd name="connsiteX51" fmla="*/ 432427 w 494979"/>
                <a:gd name="connsiteY51" fmla="*/ 543932 h 674476"/>
                <a:gd name="connsiteX52" fmla="*/ 437866 w 494979"/>
                <a:gd name="connsiteY52" fmla="*/ 573848 h 674476"/>
                <a:gd name="connsiteX53" fmla="*/ 443306 w 494979"/>
                <a:gd name="connsiteY53" fmla="*/ 606484 h 674476"/>
                <a:gd name="connsiteX54" fmla="*/ 446025 w 494979"/>
                <a:gd name="connsiteY54" fmla="*/ 617363 h 674476"/>
                <a:gd name="connsiteX55" fmla="*/ 470502 w 494979"/>
                <a:gd name="connsiteY55" fmla="*/ 617363 h 674476"/>
                <a:gd name="connsiteX56" fmla="*/ 494979 w 494979"/>
                <a:gd name="connsiteY56" fmla="*/ 641840 h 674476"/>
                <a:gd name="connsiteX57" fmla="*/ 486820 w 494979"/>
                <a:gd name="connsiteY57" fmla="*/ 655438 h 674476"/>
                <a:gd name="connsiteX58" fmla="*/ 470502 w 494979"/>
                <a:gd name="connsiteY58" fmla="*/ 663597 h 674476"/>
                <a:gd name="connsiteX59" fmla="*/ 446025 w 494979"/>
                <a:gd name="connsiteY59" fmla="*/ 666317 h 674476"/>
                <a:gd name="connsiteX60" fmla="*/ 424268 w 494979"/>
                <a:gd name="connsiteY60" fmla="*/ 666317 h 674476"/>
                <a:gd name="connsiteX61" fmla="*/ 416109 w 494979"/>
                <a:gd name="connsiteY61" fmla="*/ 666317 h 674476"/>
                <a:gd name="connsiteX62" fmla="*/ 402511 w 494979"/>
                <a:gd name="connsiteY62" fmla="*/ 671756 h 674476"/>
                <a:gd name="connsiteX63" fmla="*/ 386193 w 494979"/>
                <a:gd name="connsiteY63" fmla="*/ 674476 h 674476"/>
                <a:gd name="connsiteX64" fmla="*/ 350837 w 494979"/>
                <a:gd name="connsiteY64" fmla="*/ 669036 h 674476"/>
                <a:gd name="connsiteX65" fmla="*/ 329080 w 494979"/>
                <a:gd name="connsiteY65" fmla="*/ 669036 h 674476"/>
                <a:gd name="connsiteX66" fmla="*/ 280126 w 494979"/>
                <a:gd name="connsiteY66" fmla="*/ 669036 h 674476"/>
                <a:gd name="connsiteX67" fmla="*/ 255649 w 494979"/>
                <a:gd name="connsiteY67" fmla="*/ 663597 h 674476"/>
                <a:gd name="connsiteX68" fmla="*/ 239331 w 494979"/>
                <a:gd name="connsiteY68" fmla="*/ 647279 h 674476"/>
                <a:gd name="connsiteX69" fmla="*/ 263808 w 494979"/>
                <a:gd name="connsiteY69" fmla="*/ 630961 h 674476"/>
                <a:gd name="connsiteX70" fmla="*/ 291005 w 494979"/>
                <a:gd name="connsiteY70" fmla="*/ 628241 h 674476"/>
                <a:gd name="connsiteX71" fmla="*/ 288285 w 494979"/>
                <a:gd name="connsiteY71" fmla="*/ 609204 h 674476"/>
                <a:gd name="connsiteX72" fmla="*/ 285565 w 494979"/>
                <a:gd name="connsiteY72" fmla="*/ 582007 h 674476"/>
                <a:gd name="connsiteX73" fmla="*/ 282846 w 494979"/>
                <a:gd name="connsiteY73" fmla="*/ 568409 h 674476"/>
                <a:gd name="connsiteX74" fmla="*/ 285565 w 494979"/>
                <a:gd name="connsiteY74" fmla="*/ 554811 h 674476"/>
                <a:gd name="connsiteX75" fmla="*/ 280126 w 494979"/>
                <a:gd name="connsiteY75" fmla="*/ 538493 h 674476"/>
                <a:gd name="connsiteX76" fmla="*/ 274687 w 494979"/>
                <a:gd name="connsiteY76" fmla="*/ 505857 h 674476"/>
                <a:gd name="connsiteX77" fmla="*/ 271967 w 494979"/>
                <a:gd name="connsiteY77" fmla="*/ 478660 h 674476"/>
                <a:gd name="connsiteX78" fmla="*/ 269247 w 494979"/>
                <a:gd name="connsiteY78" fmla="*/ 446025 h 674476"/>
                <a:gd name="connsiteX79" fmla="*/ 263808 w 494979"/>
                <a:gd name="connsiteY79" fmla="*/ 437866 h 674476"/>
                <a:gd name="connsiteX80" fmla="*/ 252929 w 494979"/>
                <a:gd name="connsiteY80" fmla="*/ 437866 h 674476"/>
                <a:gd name="connsiteX81" fmla="*/ 223013 w 494979"/>
                <a:gd name="connsiteY81" fmla="*/ 440585 h 674476"/>
                <a:gd name="connsiteX82" fmla="*/ 193097 w 494979"/>
                <a:gd name="connsiteY82" fmla="*/ 443305 h 674476"/>
                <a:gd name="connsiteX83" fmla="*/ 168620 w 494979"/>
                <a:gd name="connsiteY83" fmla="*/ 443305 h 674476"/>
                <a:gd name="connsiteX84" fmla="*/ 146862 w 494979"/>
                <a:gd name="connsiteY84" fmla="*/ 440585 h 674476"/>
                <a:gd name="connsiteX85" fmla="*/ 138703 w 494979"/>
                <a:gd name="connsiteY85" fmla="*/ 454184 h 674476"/>
                <a:gd name="connsiteX86" fmla="*/ 133263 w 494979"/>
                <a:gd name="connsiteY86" fmla="*/ 486820 h 674476"/>
                <a:gd name="connsiteX87" fmla="*/ 122385 w 494979"/>
                <a:gd name="connsiteY87" fmla="*/ 541213 h 674476"/>
                <a:gd name="connsiteX88" fmla="*/ 106067 w 494979"/>
                <a:gd name="connsiteY88" fmla="*/ 614643 h 674476"/>
                <a:gd name="connsiteX89" fmla="*/ 135983 w 494979"/>
                <a:gd name="connsiteY89" fmla="*/ 614643 h 674476"/>
                <a:gd name="connsiteX90" fmla="*/ 171340 w 494979"/>
                <a:gd name="connsiteY90" fmla="*/ 630961 h 674476"/>
                <a:gd name="connsiteX91" fmla="*/ 165900 w 494979"/>
                <a:gd name="connsiteY91" fmla="*/ 647279 h 674476"/>
                <a:gd name="connsiteX92" fmla="*/ 149581 w 494979"/>
                <a:gd name="connsiteY92" fmla="*/ 655438 h 674476"/>
                <a:gd name="connsiteX93" fmla="*/ 127824 w 494979"/>
                <a:gd name="connsiteY93" fmla="*/ 658158 h 674476"/>
                <a:gd name="connsiteX94" fmla="*/ 106067 w 494979"/>
                <a:gd name="connsiteY94" fmla="*/ 658158 h 674476"/>
                <a:gd name="connsiteX95" fmla="*/ 62552 w 494979"/>
                <a:gd name="connsiteY95" fmla="*/ 658158 h 674476"/>
                <a:gd name="connsiteX96" fmla="*/ 40795 w 494979"/>
                <a:gd name="connsiteY96" fmla="*/ 658158 h 674476"/>
                <a:gd name="connsiteX97" fmla="*/ 16318 w 494979"/>
                <a:gd name="connsiteY97" fmla="*/ 652718 h 674476"/>
                <a:gd name="connsiteX98" fmla="*/ 0 w 494979"/>
                <a:gd name="connsiteY98" fmla="*/ 636401 h 674476"/>
                <a:gd name="connsiteX99" fmla="*/ 2720 w 494979"/>
                <a:gd name="connsiteY99" fmla="*/ 628241 h 674476"/>
                <a:gd name="connsiteX100" fmla="*/ 24477 w 494979"/>
                <a:gd name="connsiteY100" fmla="*/ 620082 h 674476"/>
                <a:gd name="connsiteX101" fmla="*/ 62552 w 494979"/>
                <a:gd name="connsiteY101" fmla="*/ 617363 h 674476"/>
                <a:gd name="connsiteX102" fmla="*/ 62552 w 494979"/>
                <a:gd name="connsiteY102" fmla="*/ 614643 h 674476"/>
                <a:gd name="connsiteX103" fmla="*/ 65272 w 494979"/>
                <a:gd name="connsiteY103" fmla="*/ 587447 h 674476"/>
                <a:gd name="connsiteX104" fmla="*/ 76151 w 494979"/>
                <a:gd name="connsiteY104" fmla="*/ 522175 h 674476"/>
                <a:gd name="connsiteX105" fmla="*/ 87029 w 494979"/>
                <a:gd name="connsiteY105" fmla="*/ 470501 h 674476"/>
                <a:gd name="connsiteX106" fmla="*/ 92469 w 494979"/>
                <a:gd name="connsiteY106" fmla="*/ 446025 h 674476"/>
                <a:gd name="connsiteX107" fmla="*/ 65272 w 494979"/>
                <a:gd name="connsiteY107" fmla="*/ 432426 h 674476"/>
                <a:gd name="connsiteX108" fmla="*/ 54393 w 494979"/>
                <a:gd name="connsiteY108" fmla="*/ 421548 h 674476"/>
                <a:gd name="connsiteX109" fmla="*/ 73431 w 494979"/>
                <a:gd name="connsiteY109" fmla="*/ 407949 h 674476"/>
                <a:gd name="connsiteX110" fmla="*/ 100628 w 494979"/>
                <a:gd name="connsiteY110" fmla="*/ 399790 h 674476"/>
                <a:gd name="connsiteX111" fmla="*/ 108787 w 494979"/>
                <a:gd name="connsiteY111" fmla="*/ 369874 h 674476"/>
                <a:gd name="connsiteX112" fmla="*/ 125105 w 494979"/>
                <a:gd name="connsiteY112" fmla="*/ 307322 h 674476"/>
                <a:gd name="connsiteX113" fmla="*/ 141423 w 494979"/>
                <a:gd name="connsiteY113" fmla="*/ 242051 h 674476"/>
                <a:gd name="connsiteX114" fmla="*/ 155021 w 494979"/>
                <a:gd name="connsiteY114" fmla="*/ 179498 h 674476"/>
                <a:gd name="connsiteX115" fmla="*/ 168620 w 494979"/>
                <a:gd name="connsiteY115" fmla="*/ 119665 h 674476"/>
                <a:gd name="connsiteX116" fmla="*/ 193097 w 494979"/>
                <a:gd name="connsiteY116" fmla="*/ 57113 h 674476"/>
                <a:gd name="connsiteX117" fmla="*/ 201256 w 494979"/>
                <a:gd name="connsiteY117" fmla="*/ 38075 h 674476"/>
                <a:gd name="connsiteX118" fmla="*/ 217574 w 494979"/>
                <a:gd name="connsiteY118" fmla="*/ 13598 h 674476"/>
                <a:gd name="connsiteX119" fmla="*/ 274687 w 494979"/>
                <a:gd name="connsiteY119" fmla="*/ 0 h 6744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</a:cxnLst>
              <a:rect l="l" t="t" r="r" b="b"/>
              <a:pathLst>
                <a:path w="494979" h="674476">
                  <a:moveTo>
                    <a:pt x="228453" y="97907"/>
                  </a:moveTo>
                  <a:cubicBezTo>
                    <a:pt x="220294" y="97907"/>
                    <a:pt x="212135" y="114225"/>
                    <a:pt x="212135" y="119665"/>
                  </a:cubicBezTo>
                  <a:cubicBezTo>
                    <a:pt x="209415" y="130543"/>
                    <a:pt x="206696" y="144141"/>
                    <a:pt x="203976" y="152300"/>
                  </a:cubicBezTo>
                  <a:cubicBezTo>
                    <a:pt x="201256" y="157740"/>
                    <a:pt x="201256" y="163179"/>
                    <a:pt x="201256" y="168618"/>
                  </a:cubicBezTo>
                  <a:cubicBezTo>
                    <a:pt x="201256" y="174058"/>
                    <a:pt x="198537" y="179497"/>
                    <a:pt x="198537" y="184936"/>
                  </a:cubicBezTo>
                  <a:cubicBezTo>
                    <a:pt x="195817" y="195815"/>
                    <a:pt x="193097" y="209413"/>
                    <a:pt x="190378" y="220292"/>
                  </a:cubicBezTo>
                  <a:cubicBezTo>
                    <a:pt x="187658" y="244769"/>
                    <a:pt x="179499" y="269246"/>
                    <a:pt x="171340" y="291003"/>
                  </a:cubicBezTo>
                  <a:cubicBezTo>
                    <a:pt x="168620" y="301881"/>
                    <a:pt x="165900" y="312760"/>
                    <a:pt x="163180" y="323639"/>
                  </a:cubicBezTo>
                  <a:cubicBezTo>
                    <a:pt x="160461" y="337237"/>
                    <a:pt x="157741" y="348115"/>
                    <a:pt x="152302" y="361714"/>
                  </a:cubicBezTo>
                  <a:cubicBezTo>
                    <a:pt x="149582" y="367153"/>
                    <a:pt x="146862" y="383471"/>
                    <a:pt x="146862" y="388910"/>
                  </a:cubicBezTo>
                  <a:cubicBezTo>
                    <a:pt x="146862" y="391630"/>
                    <a:pt x="149582" y="391630"/>
                    <a:pt x="152302" y="391630"/>
                  </a:cubicBezTo>
                  <a:cubicBezTo>
                    <a:pt x="157741" y="391630"/>
                    <a:pt x="171340" y="391630"/>
                    <a:pt x="174060" y="391630"/>
                  </a:cubicBezTo>
                  <a:cubicBezTo>
                    <a:pt x="182219" y="391630"/>
                    <a:pt x="190378" y="391630"/>
                    <a:pt x="195817" y="388910"/>
                  </a:cubicBezTo>
                  <a:cubicBezTo>
                    <a:pt x="201256" y="388910"/>
                    <a:pt x="206696" y="388910"/>
                    <a:pt x="214855" y="388910"/>
                  </a:cubicBezTo>
                  <a:cubicBezTo>
                    <a:pt x="220294" y="388910"/>
                    <a:pt x="228453" y="388910"/>
                    <a:pt x="239332" y="388910"/>
                  </a:cubicBezTo>
                  <a:cubicBezTo>
                    <a:pt x="244771" y="388910"/>
                    <a:pt x="250210" y="388910"/>
                    <a:pt x="252930" y="386191"/>
                  </a:cubicBezTo>
                  <a:cubicBezTo>
                    <a:pt x="258369" y="391630"/>
                    <a:pt x="261089" y="388910"/>
                    <a:pt x="261089" y="386191"/>
                  </a:cubicBezTo>
                  <a:cubicBezTo>
                    <a:pt x="261089" y="380751"/>
                    <a:pt x="258369" y="372592"/>
                    <a:pt x="258369" y="367153"/>
                  </a:cubicBezTo>
                  <a:cubicBezTo>
                    <a:pt x="255650" y="353555"/>
                    <a:pt x="252930" y="342676"/>
                    <a:pt x="252930" y="331797"/>
                  </a:cubicBezTo>
                  <a:cubicBezTo>
                    <a:pt x="252930" y="301881"/>
                    <a:pt x="252930" y="274685"/>
                    <a:pt x="250210" y="244769"/>
                  </a:cubicBezTo>
                  <a:cubicBezTo>
                    <a:pt x="250210" y="231170"/>
                    <a:pt x="247491" y="217572"/>
                    <a:pt x="244771" y="203974"/>
                  </a:cubicBezTo>
                  <a:cubicBezTo>
                    <a:pt x="242051" y="187656"/>
                    <a:pt x="239332" y="174058"/>
                    <a:pt x="239332" y="157740"/>
                  </a:cubicBezTo>
                  <a:cubicBezTo>
                    <a:pt x="239332" y="152300"/>
                    <a:pt x="239332" y="133263"/>
                    <a:pt x="236612" y="119665"/>
                  </a:cubicBezTo>
                  <a:cubicBezTo>
                    <a:pt x="236612" y="106066"/>
                    <a:pt x="233892" y="97907"/>
                    <a:pt x="228453" y="97907"/>
                  </a:cubicBezTo>
                  <a:close/>
                  <a:moveTo>
                    <a:pt x="274687" y="0"/>
                  </a:moveTo>
                  <a:cubicBezTo>
                    <a:pt x="288285" y="0"/>
                    <a:pt x="293724" y="2720"/>
                    <a:pt x="304603" y="5439"/>
                  </a:cubicBezTo>
                  <a:cubicBezTo>
                    <a:pt x="315482" y="10879"/>
                    <a:pt x="315482" y="16318"/>
                    <a:pt x="320921" y="24477"/>
                  </a:cubicBezTo>
                  <a:cubicBezTo>
                    <a:pt x="326360" y="29916"/>
                    <a:pt x="331800" y="35356"/>
                    <a:pt x="334519" y="43515"/>
                  </a:cubicBezTo>
                  <a:cubicBezTo>
                    <a:pt x="337239" y="51674"/>
                    <a:pt x="337239" y="57113"/>
                    <a:pt x="339959" y="65272"/>
                  </a:cubicBezTo>
                  <a:cubicBezTo>
                    <a:pt x="345398" y="78870"/>
                    <a:pt x="342678" y="97908"/>
                    <a:pt x="348118" y="114226"/>
                  </a:cubicBezTo>
                  <a:cubicBezTo>
                    <a:pt x="350837" y="130544"/>
                    <a:pt x="358996" y="146863"/>
                    <a:pt x="361716" y="163180"/>
                  </a:cubicBezTo>
                  <a:cubicBezTo>
                    <a:pt x="364435" y="182218"/>
                    <a:pt x="364435" y="201256"/>
                    <a:pt x="369875" y="220293"/>
                  </a:cubicBezTo>
                  <a:cubicBezTo>
                    <a:pt x="375314" y="239331"/>
                    <a:pt x="378034" y="255649"/>
                    <a:pt x="378034" y="274686"/>
                  </a:cubicBezTo>
                  <a:cubicBezTo>
                    <a:pt x="378034" y="282845"/>
                    <a:pt x="380753" y="293724"/>
                    <a:pt x="383473" y="301883"/>
                  </a:cubicBezTo>
                  <a:cubicBezTo>
                    <a:pt x="386193" y="312762"/>
                    <a:pt x="388912" y="326360"/>
                    <a:pt x="391632" y="337238"/>
                  </a:cubicBezTo>
                  <a:cubicBezTo>
                    <a:pt x="391632" y="342678"/>
                    <a:pt x="394352" y="353556"/>
                    <a:pt x="397071" y="364435"/>
                  </a:cubicBezTo>
                  <a:cubicBezTo>
                    <a:pt x="399791" y="372594"/>
                    <a:pt x="402511" y="380753"/>
                    <a:pt x="405230" y="383473"/>
                  </a:cubicBezTo>
                  <a:cubicBezTo>
                    <a:pt x="407950" y="386192"/>
                    <a:pt x="413389" y="386192"/>
                    <a:pt x="416109" y="386192"/>
                  </a:cubicBezTo>
                  <a:cubicBezTo>
                    <a:pt x="418829" y="386192"/>
                    <a:pt x="424268" y="386192"/>
                    <a:pt x="426988" y="386192"/>
                  </a:cubicBezTo>
                  <a:cubicBezTo>
                    <a:pt x="437866" y="386192"/>
                    <a:pt x="448745" y="388912"/>
                    <a:pt x="454184" y="397071"/>
                  </a:cubicBezTo>
                  <a:cubicBezTo>
                    <a:pt x="456904" y="399790"/>
                    <a:pt x="456904" y="402510"/>
                    <a:pt x="456904" y="405230"/>
                  </a:cubicBezTo>
                  <a:cubicBezTo>
                    <a:pt x="456904" y="407949"/>
                    <a:pt x="454184" y="410669"/>
                    <a:pt x="451465" y="416108"/>
                  </a:cubicBezTo>
                  <a:cubicBezTo>
                    <a:pt x="446025" y="421548"/>
                    <a:pt x="440586" y="426987"/>
                    <a:pt x="432427" y="429707"/>
                  </a:cubicBezTo>
                  <a:cubicBezTo>
                    <a:pt x="429707" y="429707"/>
                    <a:pt x="426988" y="432426"/>
                    <a:pt x="421548" y="432426"/>
                  </a:cubicBezTo>
                  <a:cubicBezTo>
                    <a:pt x="418829" y="432426"/>
                    <a:pt x="416109" y="432426"/>
                    <a:pt x="413389" y="435146"/>
                  </a:cubicBezTo>
                  <a:cubicBezTo>
                    <a:pt x="413389" y="435146"/>
                    <a:pt x="413389" y="437866"/>
                    <a:pt x="413389" y="440585"/>
                  </a:cubicBezTo>
                  <a:cubicBezTo>
                    <a:pt x="413389" y="443305"/>
                    <a:pt x="413389" y="448744"/>
                    <a:pt x="416109" y="451464"/>
                  </a:cubicBezTo>
                  <a:cubicBezTo>
                    <a:pt x="416109" y="456903"/>
                    <a:pt x="418829" y="462343"/>
                    <a:pt x="418829" y="465062"/>
                  </a:cubicBezTo>
                  <a:lnTo>
                    <a:pt x="418829" y="475941"/>
                  </a:lnTo>
                  <a:cubicBezTo>
                    <a:pt x="418829" y="481380"/>
                    <a:pt x="418829" y="484100"/>
                    <a:pt x="418829" y="486820"/>
                  </a:cubicBezTo>
                  <a:cubicBezTo>
                    <a:pt x="421548" y="497698"/>
                    <a:pt x="424268" y="505857"/>
                    <a:pt x="426988" y="516736"/>
                  </a:cubicBezTo>
                  <a:cubicBezTo>
                    <a:pt x="426988" y="524895"/>
                    <a:pt x="429707" y="535773"/>
                    <a:pt x="432427" y="543932"/>
                  </a:cubicBezTo>
                  <a:cubicBezTo>
                    <a:pt x="435147" y="554811"/>
                    <a:pt x="437866" y="562970"/>
                    <a:pt x="437866" y="573848"/>
                  </a:cubicBezTo>
                  <a:cubicBezTo>
                    <a:pt x="437866" y="587447"/>
                    <a:pt x="440586" y="595606"/>
                    <a:pt x="443306" y="606484"/>
                  </a:cubicBezTo>
                  <a:cubicBezTo>
                    <a:pt x="443306" y="609204"/>
                    <a:pt x="446025" y="614643"/>
                    <a:pt x="446025" y="617363"/>
                  </a:cubicBezTo>
                  <a:cubicBezTo>
                    <a:pt x="454184" y="617363"/>
                    <a:pt x="462343" y="617363"/>
                    <a:pt x="470502" y="617363"/>
                  </a:cubicBezTo>
                  <a:cubicBezTo>
                    <a:pt x="478661" y="625522"/>
                    <a:pt x="492259" y="630961"/>
                    <a:pt x="494979" y="641840"/>
                  </a:cubicBezTo>
                  <a:cubicBezTo>
                    <a:pt x="494979" y="647279"/>
                    <a:pt x="489540" y="649999"/>
                    <a:pt x="486820" y="655438"/>
                  </a:cubicBezTo>
                  <a:cubicBezTo>
                    <a:pt x="484100" y="660877"/>
                    <a:pt x="475942" y="663597"/>
                    <a:pt x="470502" y="663597"/>
                  </a:cubicBezTo>
                  <a:cubicBezTo>
                    <a:pt x="459623" y="666317"/>
                    <a:pt x="454184" y="666317"/>
                    <a:pt x="446025" y="666317"/>
                  </a:cubicBezTo>
                  <a:cubicBezTo>
                    <a:pt x="440586" y="666317"/>
                    <a:pt x="432427" y="666317"/>
                    <a:pt x="424268" y="666317"/>
                  </a:cubicBezTo>
                  <a:cubicBezTo>
                    <a:pt x="421548" y="666317"/>
                    <a:pt x="418829" y="666317"/>
                    <a:pt x="416109" y="666317"/>
                  </a:cubicBezTo>
                  <a:cubicBezTo>
                    <a:pt x="410670" y="669036"/>
                    <a:pt x="407950" y="669036"/>
                    <a:pt x="402511" y="671756"/>
                  </a:cubicBezTo>
                  <a:cubicBezTo>
                    <a:pt x="397071" y="671756"/>
                    <a:pt x="391632" y="674476"/>
                    <a:pt x="386193" y="674476"/>
                  </a:cubicBezTo>
                  <a:cubicBezTo>
                    <a:pt x="375314" y="674476"/>
                    <a:pt x="361716" y="671756"/>
                    <a:pt x="350837" y="669036"/>
                  </a:cubicBezTo>
                  <a:cubicBezTo>
                    <a:pt x="342678" y="669036"/>
                    <a:pt x="334519" y="669036"/>
                    <a:pt x="329080" y="669036"/>
                  </a:cubicBezTo>
                  <a:cubicBezTo>
                    <a:pt x="307323" y="669036"/>
                    <a:pt x="288285" y="669036"/>
                    <a:pt x="280126" y="669036"/>
                  </a:cubicBezTo>
                  <a:cubicBezTo>
                    <a:pt x="271967" y="669036"/>
                    <a:pt x="261088" y="669036"/>
                    <a:pt x="255649" y="663597"/>
                  </a:cubicBezTo>
                  <a:cubicBezTo>
                    <a:pt x="250210" y="660877"/>
                    <a:pt x="239331" y="655438"/>
                    <a:pt x="239331" y="647279"/>
                  </a:cubicBezTo>
                  <a:cubicBezTo>
                    <a:pt x="239331" y="636401"/>
                    <a:pt x="255649" y="633681"/>
                    <a:pt x="263808" y="630961"/>
                  </a:cubicBezTo>
                  <a:cubicBezTo>
                    <a:pt x="269247" y="630961"/>
                    <a:pt x="277406" y="630961"/>
                    <a:pt x="291005" y="628241"/>
                  </a:cubicBezTo>
                  <a:cubicBezTo>
                    <a:pt x="291005" y="620082"/>
                    <a:pt x="291005" y="614643"/>
                    <a:pt x="288285" y="609204"/>
                  </a:cubicBezTo>
                  <a:cubicBezTo>
                    <a:pt x="288285" y="601045"/>
                    <a:pt x="285565" y="590166"/>
                    <a:pt x="285565" y="582007"/>
                  </a:cubicBezTo>
                  <a:cubicBezTo>
                    <a:pt x="285565" y="576568"/>
                    <a:pt x="282846" y="573848"/>
                    <a:pt x="282846" y="568409"/>
                  </a:cubicBezTo>
                  <a:cubicBezTo>
                    <a:pt x="282846" y="562970"/>
                    <a:pt x="285565" y="557531"/>
                    <a:pt x="285565" y="554811"/>
                  </a:cubicBezTo>
                  <a:cubicBezTo>
                    <a:pt x="285565" y="549371"/>
                    <a:pt x="282846" y="546652"/>
                    <a:pt x="280126" y="538493"/>
                  </a:cubicBezTo>
                  <a:cubicBezTo>
                    <a:pt x="280126" y="527614"/>
                    <a:pt x="274687" y="516736"/>
                    <a:pt x="274687" y="505857"/>
                  </a:cubicBezTo>
                  <a:cubicBezTo>
                    <a:pt x="274687" y="494978"/>
                    <a:pt x="274687" y="486820"/>
                    <a:pt x="271967" y="478660"/>
                  </a:cubicBezTo>
                  <a:cubicBezTo>
                    <a:pt x="269247" y="467782"/>
                    <a:pt x="269247" y="456903"/>
                    <a:pt x="269247" y="446025"/>
                  </a:cubicBezTo>
                  <a:cubicBezTo>
                    <a:pt x="269247" y="440585"/>
                    <a:pt x="266528" y="437866"/>
                    <a:pt x="263808" y="437866"/>
                  </a:cubicBezTo>
                  <a:cubicBezTo>
                    <a:pt x="261088" y="437866"/>
                    <a:pt x="258369" y="437866"/>
                    <a:pt x="252929" y="437866"/>
                  </a:cubicBezTo>
                  <a:cubicBezTo>
                    <a:pt x="242051" y="437866"/>
                    <a:pt x="231172" y="437866"/>
                    <a:pt x="223013" y="440585"/>
                  </a:cubicBezTo>
                  <a:cubicBezTo>
                    <a:pt x="212135" y="440585"/>
                    <a:pt x="203976" y="443305"/>
                    <a:pt x="193097" y="443305"/>
                  </a:cubicBezTo>
                  <a:cubicBezTo>
                    <a:pt x="184938" y="443305"/>
                    <a:pt x="176779" y="443305"/>
                    <a:pt x="168620" y="443305"/>
                  </a:cubicBezTo>
                  <a:cubicBezTo>
                    <a:pt x="165900" y="443305"/>
                    <a:pt x="155021" y="440585"/>
                    <a:pt x="146862" y="440585"/>
                  </a:cubicBezTo>
                  <a:cubicBezTo>
                    <a:pt x="138703" y="440585"/>
                    <a:pt x="138703" y="448744"/>
                    <a:pt x="138703" y="454184"/>
                  </a:cubicBezTo>
                  <a:cubicBezTo>
                    <a:pt x="138703" y="465062"/>
                    <a:pt x="135983" y="475941"/>
                    <a:pt x="133263" y="486820"/>
                  </a:cubicBezTo>
                  <a:cubicBezTo>
                    <a:pt x="130544" y="505857"/>
                    <a:pt x="125105" y="522175"/>
                    <a:pt x="122385" y="541213"/>
                  </a:cubicBezTo>
                  <a:cubicBezTo>
                    <a:pt x="119665" y="560250"/>
                    <a:pt x="111506" y="595606"/>
                    <a:pt x="106067" y="614643"/>
                  </a:cubicBezTo>
                  <a:cubicBezTo>
                    <a:pt x="114226" y="614643"/>
                    <a:pt x="125105" y="614643"/>
                    <a:pt x="135983" y="614643"/>
                  </a:cubicBezTo>
                  <a:cubicBezTo>
                    <a:pt x="149581" y="614643"/>
                    <a:pt x="171340" y="614643"/>
                    <a:pt x="171340" y="630961"/>
                  </a:cubicBezTo>
                  <a:cubicBezTo>
                    <a:pt x="171340" y="639120"/>
                    <a:pt x="168620" y="639120"/>
                    <a:pt x="165900" y="647279"/>
                  </a:cubicBezTo>
                  <a:cubicBezTo>
                    <a:pt x="163181" y="652718"/>
                    <a:pt x="155021" y="655438"/>
                    <a:pt x="149581" y="655438"/>
                  </a:cubicBezTo>
                  <a:cubicBezTo>
                    <a:pt x="141423" y="658158"/>
                    <a:pt x="135983" y="658158"/>
                    <a:pt x="127824" y="658158"/>
                  </a:cubicBezTo>
                  <a:cubicBezTo>
                    <a:pt x="122385" y="658158"/>
                    <a:pt x="116946" y="658158"/>
                    <a:pt x="106067" y="658158"/>
                  </a:cubicBezTo>
                  <a:cubicBezTo>
                    <a:pt x="92469" y="658158"/>
                    <a:pt x="78870" y="658158"/>
                    <a:pt x="62552" y="658158"/>
                  </a:cubicBezTo>
                  <a:cubicBezTo>
                    <a:pt x="54393" y="658158"/>
                    <a:pt x="46234" y="658158"/>
                    <a:pt x="40795" y="658158"/>
                  </a:cubicBezTo>
                  <a:cubicBezTo>
                    <a:pt x="32636" y="658158"/>
                    <a:pt x="21758" y="658158"/>
                    <a:pt x="16318" y="652718"/>
                  </a:cubicBezTo>
                  <a:cubicBezTo>
                    <a:pt x="8159" y="649999"/>
                    <a:pt x="0" y="641840"/>
                    <a:pt x="0" y="636401"/>
                  </a:cubicBezTo>
                  <a:cubicBezTo>
                    <a:pt x="0" y="633681"/>
                    <a:pt x="0" y="630961"/>
                    <a:pt x="2720" y="628241"/>
                  </a:cubicBezTo>
                  <a:cubicBezTo>
                    <a:pt x="8159" y="625522"/>
                    <a:pt x="16318" y="622802"/>
                    <a:pt x="24477" y="620082"/>
                  </a:cubicBezTo>
                  <a:cubicBezTo>
                    <a:pt x="38075" y="617363"/>
                    <a:pt x="48954" y="617363"/>
                    <a:pt x="62552" y="617363"/>
                  </a:cubicBezTo>
                  <a:cubicBezTo>
                    <a:pt x="62552" y="617363"/>
                    <a:pt x="62552" y="614643"/>
                    <a:pt x="62552" y="614643"/>
                  </a:cubicBezTo>
                  <a:cubicBezTo>
                    <a:pt x="62552" y="603765"/>
                    <a:pt x="65272" y="590166"/>
                    <a:pt x="65272" y="587447"/>
                  </a:cubicBezTo>
                  <a:cubicBezTo>
                    <a:pt x="67992" y="565689"/>
                    <a:pt x="73431" y="543932"/>
                    <a:pt x="76151" y="522175"/>
                  </a:cubicBezTo>
                  <a:cubicBezTo>
                    <a:pt x="78870" y="505857"/>
                    <a:pt x="81590" y="486820"/>
                    <a:pt x="87029" y="470501"/>
                  </a:cubicBezTo>
                  <a:cubicBezTo>
                    <a:pt x="87029" y="465062"/>
                    <a:pt x="92469" y="451464"/>
                    <a:pt x="92469" y="446025"/>
                  </a:cubicBezTo>
                  <a:cubicBezTo>
                    <a:pt x="92469" y="437866"/>
                    <a:pt x="73431" y="437866"/>
                    <a:pt x="65272" y="432426"/>
                  </a:cubicBezTo>
                  <a:cubicBezTo>
                    <a:pt x="59833" y="429707"/>
                    <a:pt x="54393" y="426987"/>
                    <a:pt x="54393" y="421548"/>
                  </a:cubicBezTo>
                  <a:cubicBezTo>
                    <a:pt x="54393" y="413389"/>
                    <a:pt x="62552" y="410669"/>
                    <a:pt x="73431" y="407949"/>
                  </a:cubicBezTo>
                  <a:cubicBezTo>
                    <a:pt x="78870" y="407949"/>
                    <a:pt x="92469" y="405230"/>
                    <a:pt x="100628" y="399790"/>
                  </a:cubicBezTo>
                  <a:cubicBezTo>
                    <a:pt x="106067" y="394351"/>
                    <a:pt x="106067" y="378033"/>
                    <a:pt x="108787" y="369874"/>
                  </a:cubicBezTo>
                  <a:cubicBezTo>
                    <a:pt x="114226" y="348117"/>
                    <a:pt x="119665" y="326360"/>
                    <a:pt x="125105" y="307322"/>
                  </a:cubicBezTo>
                  <a:cubicBezTo>
                    <a:pt x="130544" y="285565"/>
                    <a:pt x="135983" y="263808"/>
                    <a:pt x="141423" y="242051"/>
                  </a:cubicBezTo>
                  <a:cubicBezTo>
                    <a:pt x="146862" y="220293"/>
                    <a:pt x="152301" y="198536"/>
                    <a:pt x="155021" y="179498"/>
                  </a:cubicBezTo>
                  <a:cubicBezTo>
                    <a:pt x="157740" y="160461"/>
                    <a:pt x="163181" y="138703"/>
                    <a:pt x="168620" y="119665"/>
                  </a:cubicBezTo>
                  <a:cubicBezTo>
                    <a:pt x="176779" y="100627"/>
                    <a:pt x="182218" y="76150"/>
                    <a:pt x="193097" y="57113"/>
                  </a:cubicBezTo>
                  <a:lnTo>
                    <a:pt x="201256" y="38075"/>
                  </a:lnTo>
                  <a:cubicBezTo>
                    <a:pt x="206695" y="29916"/>
                    <a:pt x="209415" y="19038"/>
                    <a:pt x="217574" y="13598"/>
                  </a:cubicBezTo>
                  <a:cubicBezTo>
                    <a:pt x="231172" y="2720"/>
                    <a:pt x="255649" y="0"/>
                    <a:pt x="274687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/>
            </a:p>
          </p:txBody>
        </p:sp>
        <p:sp>
          <p:nvSpPr>
            <p:cNvPr id="40" name="Freeform: Shape 39">
              <a:extLst>
                <a:ext uri="{FF2B5EF4-FFF2-40B4-BE49-F238E27FC236}">
                  <a16:creationId xmlns:a16="http://schemas.microsoft.com/office/drawing/2014/main" id="{3A3220ED-525E-42D0-945D-DABC984A9613}"/>
                </a:ext>
              </a:extLst>
            </p:cNvPr>
            <p:cNvSpPr/>
            <p:nvPr/>
          </p:nvSpPr>
          <p:spPr>
            <a:xfrm>
              <a:off x="3443268" y="4186718"/>
              <a:ext cx="435145" cy="761503"/>
            </a:xfrm>
            <a:custGeom>
              <a:avLst/>
              <a:gdLst>
                <a:gd name="connsiteX0" fmla="*/ 400855 w 435145"/>
                <a:gd name="connsiteY0" fmla="*/ 678260 h 761503"/>
                <a:gd name="connsiteX1" fmla="*/ 384537 w 435145"/>
                <a:gd name="connsiteY1" fmla="*/ 719054 h 761503"/>
                <a:gd name="connsiteX2" fmla="*/ 368219 w 435145"/>
                <a:gd name="connsiteY2" fmla="*/ 713615 h 761503"/>
                <a:gd name="connsiteX3" fmla="*/ 360060 w 435145"/>
                <a:gd name="connsiteY3" fmla="*/ 697297 h 761503"/>
                <a:gd name="connsiteX4" fmla="*/ 360060 w 435145"/>
                <a:gd name="connsiteY4" fmla="*/ 651063 h 761503"/>
                <a:gd name="connsiteX5" fmla="*/ 332864 w 435145"/>
                <a:gd name="connsiteY5" fmla="*/ 686418 h 761503"/>
                <a:gd name="connsiteX6" fmla="*/ 251274 w 435145"/>
                <a:gd name="connsiteY6" fmla="*/ 721774 h 761503"/>
                <a:gd name="connsiteX7" fmla="*/ 229517 w 435145"/>
                <a:gd name="connsiteY7" fmla="*/ 719054 h 761503"/>
                <a:gd name="connsiteX8" fmla="*/ 158806 w 435145"/>
                <a:gd name="connsiteY8" fmla="*/ 694578 h 761503"/>
                <a:gd name="connsiteX9" fmla="*/ 112571 w 435145"/>
                <a:gd name="connsiteY9" fmla="*/ 659222 h 761503"/>
                <a:gd name="connsiteX10" fmla="*/ 79936 w 435145"/>
                <a:gd name="connsiteY10" fmla="*/ 607548 h 761503"/>
                <a:gd name="connsiteX11" fmla="*/ 63618 w 435145"/>
                <a:gd name="connsiteY11" fmla="*/ 542277 h 761503"/>
                <a:gd name="connsiteX12" fmla="*/ 58178 w 435145"/>
                <a:gd name="connsiteY12" fmla="*/ 471566 h 761503"/>
                <a:gd name="connsiteX13" fmla="*/ 60898 w 435145"/>
                <a:gd name="connsiteY13" fmla="*/ 400855 h 761503"/>
                <a:gd name="connsiteX14" fmla="*/ 66337 w 435145"/>
                <a:gd name="connsiteY14" fmla="*/ 335583 h 761503"/>
                <a:gd name="connsiteX15" fmla="*/ 85375 w 435145"/>
                <a:gd name="connsiteY15" fmla="*/ 267592 h 761503"/>
                <a:gd name="connsiteX16" fmla="*/ 109852 w 435145"/>
                <a:gd name="connsiteY16" fmla="*/ 199600 h 761503"/>
                <a:gd name="connsiteX17" fmla="*/ 145207 w 435145"/>
                <a:gd name="connsiteY17" fmla="*/ 145207 h 761503"/>
                <a:gd name="connsiteX18" fmla="*/ 188722 w 435145"/>
                <a:gd name="connsiteY18" fmla="*/ 96253 h 761503"/>
                <a:gd name="connsiteX19" fmla="*/ 243115 w 435145"/>
                <a:gd name="connsiteY19" fmla="*/ 71776 h 761503"/>
                <a:gd name="connsiteX20" fmla="*/ 286630 w 435145"/>
                <a:gd name="connsiteY20" fmla="*/ 63617 h 761503"/>
                <a:gd name="connsiteX21" fmla="*/ 305667 w 435145"/>
                <a:gd name="connsiteY21" fmla="*/ 66337 h 761503"/>
                <a:gd name="connsiteX22" fmla="*/ 324705 w 435145"/>
                <a:gd name="connsiteY22" fmla="*/ 79936 h 761503"/>
                <a:gd name="connsiteX23" fmla="*/ 341023 w 435145"/>
                <a:gd name="connsiteY23" fmla="*/ 101693 h 761503"/>
                <a:gd name="connsiteX24" fmla="*/ 354621 w 435145"/>
                <a:gd name="connsiteY24" fmla="*/ 123450 h 761503"/>
                <a:gd name="connsiteX25" fmla="*/ 354621 w 435145"/>
                <a:gd name="connsiteY25" fmla="*/ 98973 h 761503"/>
                <a:gd name="connsiteX26" fmla="*/ 360060 w 435145"/>
                <a:gd name="connsiteY26" fmla="*/ 74496 h 761503"/>
                <a:gd name="connsiteX27" fmla="*/ 365500 w 435145"/>
                <a:gd name="connsiteY27" fmla="*/ 63617 h 761503"/>
                <a:gd name="connsiteX28" fmla="*/ 373659 w 435145"/>
                <a:gd name="connsiteY28" fmla="*/ 58178 h 761503"/>
                <a:gd name="connsiteX29" fmla="*/ 381818 w 435145"/>
                <a:gd name="connsiteY29" fmla="*/ 63617 h 761503"/>
                <a:gd name="connsiteX30" fmla="*/ 389977 w 435145"/>
                <a:gd name="connsiteY30" fmla="*/ 82655 h 761503"/>
                <a:gd name="connsiteX31" fmla="*/ 392696 w 435145"/>
                <a:gd name="connsiteY31" fmla="*/ 126170 h 761503"/>
                <a:gd name="connsiteX32" fmla="*/ 395416 w 435145"/>
                <a:gd name="connsiteY32" fmla="*/ 186002 h 761503"/>
                <a:gd name="connsiteX33" fmla="*/ 398136 w 435145"/>
                <a:gd name="connsiteY33" fmla="*/ 237675 h 761503"/>
                <a:gd name="connsiteX34" fmla="*/ 398136 w 435145"/>
                <a:gd name="connsiteY34" fmla="*/ 243115 h 761503"/>
                <a:gd name="connsiteX35" fmla="*/ 395416 w 435145"/>
                <a:gd name="connsiteY35" fmla="*/ 256713 h 761503"/>
                <a:gd name="connsiteX36" fmla="*/ 379098 w 435145"/>
                <a:gd name="connsiteY36" fmla="*/ 278470 h 761503"/>
                <a:gd name="connsiteX37" fmla="*/ 362780 w 435145"/>
                <a:gd name="connsiteY37" fmla="*/ 273031 h 761503"/>
                <a:gd name="connsiteX38" fmla="*/ 354621 w 435145"/>
                <a:gd name="connsiteY38" fmla="*/ 256713 h 761503"/>
                <a:gd name="connsiteX39" fmla="*/ 354621 w 435145"/>
                <a:gd name="connsiteY39" fmla="*/ 213198 h 761503"/>
                <a:gd name="connsiteX40" fmla="*/ 354621 w 435145"/>
                <a:gd name="connsiteY40" fmla="*/ 205040 h 761503"/>
                <a:gd name="connsiteX41" fmla="*/ 338303 w 435145"/>
                <a:gd name="connsiteY41" fmla="*/ 147927 h 761503"/>
                <a:gd name="connsiteX42" fmla="*/ 292069 w 435145"/>
                <a:gd name="connsiteY42" fmla="*/ 107132 h 761503"/>
                <a:gd name="connsiteX43" fmla="*/ 262153 w 435145"/>
                <a:gd name="connsiteY43" fmla="*/ 120730 h 761503"/>
                <a:gd name="connsiteX44" fmla="*/ 251274 w 435145"/>
                <a:gd name="connsiteY44" fmla="*/ 131609 h 761503"/>
                <a:gd name="connsiteX45" fmla="*/ 240395 w 435145"/>
                <a:gd name="connsiteY45" fmla="*/ 139768 h 761503"/>
                <a:gd name="connsiteX46" fmla="*/ 237676 w 435145"/>
                <a:gd name="connsiteY46" fmla="*/ 164245 h 761503"/>
                <a:gd name="connsiteX47" fmla="*/ 226797 w 435145"/>
                <a:gd name="connsiteY47" fmla="*/ 196881 h 761503"/>
                <a:gd name="connsiteX48" fmla="*/ 213199 w 435145"/>
                <a:gd name="connsiteY48" fmla="*/ 259433 h 761503"/>
                <a:gd name="connsiteX49" fmla="*/ 207759 w 435145"/>
                <a:gd name="connsiteY49" fmla="*/ 324704 h 761503"/>
                <a:gd name="connsiteX50" fmla="*/ 207759 w 435145"/>
                <a:gd name="connsiteY50" fmla="*/ 335583 h 761503"/>
                <a:gd name="connsiteX51" fmla="*/ 205040 w 435145"/>
                <a:gd name="connsiteY51" fmla="*/ 349181 h 761503"/>
                <a:gd name="connsiteX52" fmla="*/ 207759 w 435145"/>
                <a:gd name="connsiteY52" fmla="*/ 368219 h 761503"/>
                <a:gd name="connsiteX53" fmla="*/ 207759 w 435145"/>
                <a:gd name="connsiteY53" fmla="*/ 376378 h 761503"/>
                <a:gd name="connsiteX54" fmla="*/ 205040 w 435145"/>
                <a:gd name="connsiteY54" fmla="*/ 387256 h 761503"/>
                <a:gd name="connsiteX55" fmla="*/ 205040 w 435145"/>
                <a:gd name="connsiteY55" fmla="*/ 395415 h 761503"/>
                <a:gd name="connsiteX56" fmla="*/ 205040 w 435145"/>
                <a:gd name="connsiteY56" fmla="*/ 406294 h 761503"/>
                <a:gd name="connsiteX57" fmla="*/ 205040 w 435145"/>
                <a:gd name="connsiteY57" fmla="*/ 425332 h 761503"/>
                <a:gd name="connsiteX58" fmla="*/ 213199 w 435145"/>
                <a:gd name="connsiteY58" fmla="*/ 493323 h 761503"/>
                <a:gd name="connsiteX59" fmla="*/ 221358 w 435145"/>
                <a:gd name="connsiteY59" fmla="*/ 561314 h 761503"/>
                <a:gd name="connsiteX60" fmla="*/ 226797 w 435145"/>
                <a:gd name="connsiteY60" fmla="*/ 591231 h 761503"/>
                <a:gd name="connsiteX61" fmla="*/ 240395 w 435145"/>
                <a:gd name="connsiteY61" fmla="*/ 618427 h 761503"/>
                <a:gd name="connsiteX62" fmla="*/ 283910 w 435145"/>
                <a:gd name="connsiteY62" fmla="*/ 651063 h 761503"/>
                <a:gd name="connsiteX63" fmla="*/ 338303 w 435145"/>
                <a:gd name="connsiteY63" fmla="*/ 612988 h 761503"/>
                <a:gd name="connsiteX64" fmla="*/ 354621 w 435145"/>
                <a:gd name="connsiteY64" fmla="*/ 577632 h 761503"/>
                <a:gd name="connsiteX65" fmla="*/ 357341 w 435145"/>
                <a:gd name="connsiteY65" fmla="*/ 509641 h 761503"/>
                <a:gd name="connsiteX66" fmla="*/ 362780 w 435145"/>
                <a:gd name="connsiteY66" fmla="*/ 485164 h 761503"/>
                <a:gd name="connsiteX67" fmla="*/ 368219 w 435145"/>
                <a:gd name="connsiteY67" fmla="*/ 474286 h 761503"/>
                <a:gd name="connsiteX68" fmla="*/ 376378 w 435145"/>
                <a:gd name="connsiteY68" fmla="*/ 468846 h 761503"/>
                <a:gd name="connsiteX69" fmla="*/ 384537 w 435145"/>
                <a:gd name="connsiteY69" fmla="*/ 474286 h 761503"/>
                <a:gd name="connsiteX70" fmla="*/ 392696 w 435145"/>
                <a:gd name="connsiteY70" fmla="*/ 493323 h 761503"/>
                <a:gd name="connsiteX71" fmla="*/ 395416 w 435145"/>
                <a:gd name="connsiteY71" fmla="*/ 558595 h 761503"/>
                <a:gd name="connsiteX72" fmla="*/ 398136 w 435145"/>
                <a:gd name="connsiteY72" fmla="*/ 618427 h 761503"/>
                <a:gd name="connsiteX73" fmla="*/ 400855 w 435145"/>
                <a:gd name="connsiteY73" fmla="*/ 678260 h 761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</a:cxnLst>
              <a:rect l="l" t="t" r="r" b="b"/>
              <a:pathLst>
                <a:path w="435145" h="761503">
                  <a:moveTo>
                    <a:pt x="400855" y="678260"/>
                  </a:moveTo>
                  <a:cubicBezTo>
                    <a:pt x="400855" y="689138"/>
                    <a:pt x="400855" y="719054"/>
                    <a:pt x="384537" y="719054"/>
                  </a:cubicBezTo>
                  <a:cubicBezTo>
                    <a:pt x="376378" y="719054"/>
                    <a:pt x="373659" y="716335"/>
                    <a:pt x="368219" y="713615"/>
                  </a:cubicBezTo>
                  <a:cubicBezTo>
                    <a:pt x="362780" y="710895"/>
                    <a:pt x="360060" y="702736"/>
                    <a:pt x="360060" y="697297"/>
                  </a:cubicBezTo>
                  <a:cubicBezTo>
                    <a:pt x="357341" y="680979"/>
                    <a:pt x="357341" y="664661"/>
                    <a:pt x="360060" y="651063"/>
                  </a:cubicBezTo>
                  <a:cubicBezTo>
                    <a:pt x="354621" y="659222"/>
                    <a:pt x="341023" y="678260"/>
                    <a:pt x="332864" y="686418"/>
                  </a:cubicBezTo>
                  <a:cubicBezTo>
                    <a:pt x="311107" y="708176"/>
                    <a:pt x="283910" y="721774"/>
                    <a:pt x="251274" y="721774"/>
                  </a:cubicBezTo>
                  <a:cubicBezTo>
                    <a:pt x="243115" y="721774"/>
                    <a:pt x="237676" y="721774"/>
                    <a:pt x="229517" y="719054"/>
                  </a:cubicBezTo>
                  <a:cubicBezTo>
                    <a:pt x="207759" y="716335"/>
                    <a:pt x="183283" y="708176"/>
                    <a:pt x="158806" y="694578"/>
                  </a:cubicBezTo>
                  <a:cubicBezTo>
                    <a:pt x="142488" y="686418"/>
                    <a:pt x="126170" y="672820"/>
                    <a:pt x="112571" y="659222"/>
                  </a:cubicBezTo>
                  <a:cubicBezTo>
                    <a:pt x="98973" y="642904"/>
                    <a:pt x="88095" y="626586"/>
                    <a:pt x="79936" y="607548"/>
                  </a:cubicBezTo>
                  <a:cubicBezTo>
                    <a:pt x="71777" y="585791"/>
                    <a:pt x="66337" y="566754"/>
                    <a:pt x="63618" y="542277"/>
                  </a:cubicBezTo>
                  <a:cubicBezTo>
                    <a:pt x="60898" y="517800"/>
                    <a:pt x="58178" y="493323"/>
                    <a:pt x="58178" y="471566"/>
                  </a:cubicBezTo>
                  <a:cubicBezTo>
                    <a:pt x="58178" y="447089"/>
                    <a:pt x="58178" y="425332"/>
                    <a:pt x="60898" y="400855"/>
                  </a:cubicBezTo>
                  <a:cubicBezTo>
                    <a:pt x="63618" y="379098"/>
                    <a:pt x="60898" y="357340"/>
                    <a:pt x="66337" y="335583"/>
                  </a:cubicBezTo>
                  <a:cubicBezTo>
                    <a:pt x="69057" y="313826"/>
                    <a:pt x="77216" y="289349"/>
                    <a:pt x="85375" y="267592"/>
                  </a:cubicBezTo>
                  <a:cubicBezTo>
                    <a:pt x="93534" y="243115"/>
                    <a:pt x="98973" y="221357"/>
                    <a:pt x="109852" y="199600"/>
                  </a:cubicBezTo>
                  <a:cubicBezTo>
                    <a:pt x="118011" y="177843"/>
                    <a:pt x="131609" y="161525"/>
                    <a:pt x="145207" y="145207"/>
                  </a:cubicBezTo>
                  <a:cubicBezTo>
                    <a:pt x="158806" y="128889"/>
                    <a:pt x="172404" y="109852"/>
                    <a:pt x="188722" y="96253"/>
                  </a:cubicBezTo>
                  <a:cubicBezTo>
                    <a:pt x="205040" y="82655"/>
                    <a:pt x="224077" y="77216"/>
                    <a:pt x="243115" y="71776"/>
                  </a:cubicBezTo>
                  <a:cubicBezTo>
                    <a:pt x="256713" y="69057"/>
                    <a:pt x="273031" y="63617"/>
                    <a:pt x="286630" y="63617"/>
                  </a:cubicBezTo>
                  <a:cubicBezTo>
                    <a:pt x="292069" y="63617"/>
                    <a:pt x="297508" y="63617"/>
                    <a:pt x="305667" y="66337"/>
                  </a:cubicBezTo>
                  <a:cubicBezTo>
                    <a:pt x="313826" y="69057"/>
                    <a:pt x="319266" y="74496"/>
                    <a:pt x="324705" y="79936"/>
                  </a:cubicBezTo>
                  <a:cubicBezTo>
                    <a:pt x="332864" y="85375"/>
                    <a:pt x="332864" y="93534"/>
                    <a:pt x="341023" y="101693"/>
                  </a:cubicBezTo>
                  <a:cubicBezTo>
                    <a:pt x="346462" y="107132"/>
                    <a:pt x="349182" y="118011"/>
                    <a:pt x="354621" y="123450"/>
                  </a:cubicBezTo>
                  <a:cubicBezTo>
                    <a:pt x="354621" y="115291"/>
                    <a:pt x="354621" y="101693"/>
                    <a:pt x="354621" y="98973"/>
                  </a:cubicBezTo>
                  <a:cubicBezTo>
                    <a:pt x="354621" y="90814"/>
                    <a:pt x="354621" y="79936"/>
                    <a:pt x="360060" y="74496"/>
                  </a:cubicBezTo>
                  <a:cubicBezTo>
                    <a:pt x="362780" y="71776"/>
                    <a:pt x="362780" y="69057"/>
                    <a:pt x="365500" y="63617"/>
                  </a:cubicBezTo>
                  <a:cubicBezTo>
                    <a:pt x="368219" y="60898"/>
                    <a:pt x="370939" y="58178"/>
                    <a:pt x="373659" y="58178"/>
                  </a:cubicBezTo>
                  <a:cubicBezTo>
                    <a:pt x="376378" y="58178"/>
                    <a:pt x="379098" y="60898"/>
                    <a:pt x="381818" y="63617"/>
                  </a:cubicBezTo>
                  <a:cubicBezTo>
                    <a:pt x="384537" y="69057"/>
                    <a:pt x="387257" y="77216"/>
                    <a:pt x="389977" y="82655"/>
                  </a:cubicBezTo>
                  <a:cubicBezTo>
                    <a:pt x="389977" y="90814"/>
                    <a:pt x="392696" y="107132"/>
                    <a:pt x="392696" y="126170"/>
                  </a:cubicBezTo>
                  <a:cubicBezTo>
                    <a:pt x="392696" y="150647"/>
                    <a:pt x="392696" y="177843"/>
                    <a:pt x="395416" y="186002"/>
                  </a:cubicBezTo>
                  <a:cubicBezTo>
                    <a:pt x="398136" y="205040"/>
                    <a:pt x="398136" y="215918"/>
                    <a:pt x="398136" y="237675"/>
                  </a:cubicBezTo>
                  <a:cubicBezTo>
                    <a:pt x="398136" y="240395"/>
                    <a:pt x="398136" y="243115"/>
                    <a:pt x="398136" y="243115"/>
                  </a:cubicBezTo>
                  <a:cubicBezTo>
                    <a:pt x="398136" y="248554"/>
                    <a:pt x="398136" y="251274"/>
                    <a:pt x="395416" y="256713"/>
                  </a:cubicBezTo>
                  <a:cubicBezTo>
                    <a:pt x="392696" y="267592"/>
                    <a:pt x="389977" y="278470"/>
                    <a:pt x="379098" y="278470"/>
                  </a:cubicBezTo>
                  <a:cubicBezTo>
                    <a:pt x="370939" y="278470"/>
                    <a:pt x="368219" y="275751"/>
                    <a:pt x="362780" y="273031"/>
                  </a:cubicBezTo>
                  <a:cubicBezTo>
                    <a:pt x="357341" y="270311"/>
                    <a:pt x="354621" y="262152"/>
                    <a:pt x="354621" y="256713"/>
                  </a:cubicBezTo>
                  <a:cubicBezTo>
                    <a:pt x="349182" y="237675"/>
                    <a:pt x="354621" y="232236"/>
                    <a:pt x="354621" y="213198"/>
                  </a:cubicBezTo>
                  <a:cubicBezTo>
                    <a:pt x="354621" y="210479"/>
                    <a:pt x="354621" y="207759"/>
                    <a:pt x="354621" y="205040"/>
                  </a:cubicBezTo>
                  <a:cubicBezTo>
                    <a:pt x="349182" y="186002"/>
                    <a:pt x="343742" y="169684"/>
                    <a:pt x="338303" y="147927"/>
                  </a:cubicBezTo>
                  <a:cubicBezTo>
                    <a:pt x="332864" y="131609"/>
                    <a:pt x="311107" y="107132"/>
                    <a:pt x="292069" y="107132"/>
                  </a:cubicBezTo>
                  <a:cubicBezTo>
                    <a:pt x="281190" y="107132"/>
                    <a:pt x="270312" y="115291"/>
                    <a:pt x="262153" y="120730"/>
                  </a:cubicBezTo>
                  <a:cubicBezTo>
                    <a:pt x="259433" y="123450"/>
                    <a:pt x="256713" y="126170"/>
                    <a:pt x="251274" y="131609"/>
                  </a:cubicBezTo>
                  <a:cubicBezTo>
                    <a:pt x="248554" y="134329"/>
                    <a:pt x="243115" y="137048"/>
                    <a:pt x="240395" y="139768"/>
                  </a:cubicBezTo>
                  <a:cubicBezTo>
                    <a:pt x="237676" y="145207"/>
                    <a:pt x="240395" y="156086"/>
                    <a:pt x="237676" y="164245"/>
                  </a:cubicBezTo>
                  <a:cubicBezTo>
                    <a:pt x="232236" y="175123"/>
                    <a:pt x="229517" y="186002"/>
                    <a:pt x="226797" y="196881"/>
                  </a:cubicBezTo>
                  <a:cubicBezTo>
                    <a:pt x="221358" y="218638"/>
                    <a:pt x="218638" y="237675"/>
                    <a:pt x="213199" y="259433"/>
                  </a:cubicBezTo>
                  <a:cubicBezTo>
                    <a:pt x="210479" y="281190"/>
                    <a:pt x="207759" y="302947"/>
                    <a:pt x="207759" y="324704"/>
                  </a:cubicBezTo>
                  <a:cubicBezTo>
                    <a:pt x="207759" y="327424"/>
                    <a:pt x="207759" y="332863"/>
                    <a:pt x="207759" y="335583"/>
                  </a:cubicBezTo>
                  <a:cubicBezTo>
                    <a:pt x="207759" y="341022"/>
                    <a:pt x="205040" y="343742"/>
                    <a:pt x="205040" y="349181"/>
                  </a:cubicBezTo>
                  <a:cubicBezTo>
                    <a:pt x="205040" y="354621"/>
                    <a:pt x="207759" y="362779"/>
                    <a:pt x="207759" y="368219"/>
                  </a:cubicBezTo>
                  <a:cubicBezTo>
                    <a:pt x="207759" y="370939"/>
                    <a:pt x="207759" y="373658"/>
                    <a:pt x="207759" y="376378"/>
                  </a:cubicBezTo>
                  <a:cubicBezTo>
                    <a:pt x="205040" y="381817"/>
                    <a:pt x="205040" y="384537"/>
                    <a:pt x="205040" y="387256"/>
                  </a:cubicBezTo>
                  <a:cubicBezTo>
                    <a:pt x="205040" y="389976"/>
                    <a:pt x="205040" y="392696"/>
                    <a:pt x="205040" y="395415"/>
                  </a:cubicBezTo>
                  <a:cubicBezTo>
                    <a:pt x="205040" y="398135"/>
                    <a:pt x="205040" y="403574"/>
                    <a:pt x="205040" y="406294"/>
                  </a:cubicBezTo>
                  <a:cubicBezTo>
                    <a:pt x="205040" y="411733"/>
                    <a:pt x="205040" y="417173"/>
                    <a:pt x="205040" y="425332"/>
                  </a:cubicBezTo>
                  <a:cubicBezTo>
                    <a:pt x="205040" y="449809"/>
                    <a:pt x="213199" y="471566"/>
                    <a:pt x="213199" y="493323"/>
                  </a:cubicBezTo>
                  <a:cubicBezTo>
                    <a:pt x="213199" y="517800"/>
                    <a:pt x="215919" y="539557"/>
                    <a:pt x="221358" y="561314"/>
                  </a:cubicBezTo>
                  <a:cubicBezTo>
                    <a:pt x="224077" y="572193"/>
                    <a:pt x="224077" y="580352"/>
                    <a:pt x="226797" y="591231"/>
                  </a:cubicBezTo>
                  <a:cubicBezTo>
                    <a:pt x="229517" y="599390"/>
                    <a:pt x="237676" y="607548"/>
                    <a:pt x="240395" y="618427"/>
                  </a:cubicBezTo>
                  <a:cubicBezTo>
                    <a:pt x="248554" y="637465"/>
                    <a:pt x="262153" y="651063"/>
                    <a:pt x="283910" y="651063"/>
                  </a:cubicBezTo>
                  <a:cubicBezTo>
                    <a:pt x="302948" y="651063"/>
                    <a:pt x="330144" y="629306"/>
                    <a:pt x="338303" y="612988"/>
                  </a:cubicBezTo>
                  <a:cubicBezTo>
                    <a:pt x="346462" y="599390"/>
                    <a:pt x="351901" y="591231"/>
                    <a:pt x="354621" y="577632"/>
                  </a:cubicBezTo>
                  <a:cubicBezTo>
                    <a:pt x="354621" y="550436"/>
                    <a:pt x="354621" y="517800"/>
                    <a:pt x="357341" y="509641"/>
                  </a:cubicBezTo>
                  <a:cubicBezTo>
                    <a:pt x="357341" y="501482"/>
                    <a:pt x="357341" y="490603"/>
                    <a:pt x="362780" y="485164"/>
                  </a:cubicBezTo>
                  <a:cubicBezTo>
                    <a:pt x="365500" y="482444"/>
                    <a:pt x="365500" y="479725"/>
                    <a:pt x="368219" y="474286"/>
                  </a:cubicBezTo>
                  <a:cubicBezTo>
                    <a:pt x="370939" y="471566"/>
                    <a:pt x="373659" y="468846"/>
                    <a:pt x="376378" y="468846"/>
                  </a:cubicBezTo>
                  <a:cubicBezTo>
                    <a:pt x="379098" y="468846"/>
                    <a:pt x="381818" y="471566"/>
                    <a:pt x="384537" y="474286"/>
                  </a:cubicBezTo>
                  <a:cubicBezTo>
                    <a:pt x="387257" y="479725"/>
                    <a:pt x="389977" y="487884"/>
                    <a:pt x="392696" y="493323"/>
                  </a:cubicBezTo>
                  <a:cubicBezTo>
                    <a:pt x="392696" y="501482"/>
                    <a:pt x="395416" y="539557"/>
                    <a:pt x="395416" y="558595"/>
                  </a:cubicBezTo>
                  <a:cubicBezTo>
                    <a:pt x="395416" y="583072"/>
                    <a:pt x="395416" y="610268"/>
                    <a:pt x="398136" y="618427"/>
                  </a:cubicBezTo>
                  <a:cubicBezTo>
                    <a:pt x="398136" y="648343"/>
                    <a:pt x="400855" y="659222"/>
                    <a:pt x="400855" y="678260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/>
            </a:p>
          </p:txBody>
        </p:sp>
        <p:sp>
          <p:nvSpPr>
            <p:cNvPr id="41" name="Freeform: Shape 40">
              <a:extLst>
                <a:ext uri="{FF2B5EF4-FFF2-40B4-BE49-F238E27FC236}">
                  <a16:creationId xmlns:a16="http://schemas.microsoft.com/office/drawing/2014/main" id="{FF9C0273-E1F4-49D7-992B-B560253BF396}"/>
                </a:ext>
              </a:extLst>
            </p:cNvPr>
            <p:cNvSpPr/>
            <p:nvPr/>
          </p:nvSpPr>
          <p:spPr>
            <a:xfrm>
              <a:off x="3829459" y="4200317"/>
              <a:ext cx="598325" cy="761503"/>
            </a:xfrm>
            <a:custGeom>
              <a:avLst/>
              <a:gdLst>
                <a:gd name="connsiteX0" fmla="*/ 360060 w 598324"/>
                <a:gd name="connsiteY0" fmla="*/ 332863 h 761503"/>
                <a:gd name="connsiteX1" fmla="*/ 341023 w 598324"/>
                <a:gd name="connsiteY1" fmla="*/ 370939 h 761503"/>
                <a:gd name="connsiteX2" fmla="*/ 376378 w 598324"/>
                <a:gd name="connsiteY2" fmla="*/ 389976 h 761503"/>
                <a:gd name="connsiteX3" fmla="*/ 425332 w 598324"/>
                <a:gd name="connsiteY3" fmla="*/ 433491 h 761503"/>
                <a:gd name="connsiteX4" fmla="*/ 438930 w 598324"/>
                <a:gd name="connsiteY4" fmla="*/ 463407 h 761503"/>
                <a:gd name="connsiteX5" fmla="*/ 449809 w 598324"/>
                <a:gd name="connsiteY5" fmla="*/ 498762 h 761503"/>
                <a:gd name="connsiteX6" fmla="*/ 457968 w 598324"/>
                <a:gd name="connsiteY6" fmla="*/ 528679 h 761503"/>
                <a:gd name="connsiteX7" fmla="*/ 466127 w 598324"/>
                <a:gd name="connsiteY7" fmla="*/ 564034 h 761503"/>
                <a:gd name="connsiteX8" fmla="*/ 471566 w 598324"/>
                <a:gd name="connsiteY8" fmla="*/ 593950 h 761503"/>
                <a:gd name="connsiteX9" fmla="*/ 479725 w 598324"/>
                <a:gd name="connsiteY9" fmla="*/ 607548 h 761503"/>
                <a:gd name="connsiteX10" fmla="*/ 487884 w 598324"/>
                <a:gd name="connsiteY10" fmla="*/ 623867 h 761503"/>
                <a:gd name="connsiteX11" fmla="*/ 501482 w 598324"/>
                <a:gd name="connsiteY11" fmla="*/ 651063 h 761503"/>
                <a:gd name="connsiteX12" fmla="*/ 523240 w 598324"/>
                <a:gd name="connsiteY12" fmla="*/ 670101 h 761503"/>
                <a:gd name="connsiteX13" fmla="*/ 534119 w 598324"/>
                <a:gd name="connsiteY13" fmla="*/ 686418 h 761503"/>
                <a:gd name="connsiteX14" fmla="*/ 531399 w 598324"/>
                <a:gd name="connsiteY14" fmla="*/ 694578 h 761503"/>
                <a:gd name="connsiteX15" fmla="*/ 498763 w 598324"/>
                <a:gd name="connsiteY15" fmla="*/ 708176 h 761503"/>
                <a:gd name="connsiteX16" fmla="*/ 449809 w 598324"/>
                <a:gd name="connsiteY16" fmla="*/ 700017 h 761503"/>
                <a:gd name="connsiteX17" fmla="*/ 400855 w 598324"/>
                <a:gd name="connsiteY17" fmla="*/ 667381 h 761503"/>
                <a:gd name="connsiteX18" fmla="*/ 381817 w 598324"/>
                <a:gd name="connsiteY18" fmla="*/ 642904 h 761503"/>
                <a:gd name="connsiteX19" fmla="*/ 368219 w 598324"/>
                <a:gd name="connsiteY19" fmla="*/ 610268 h 761503"/>
                <a:gd name="connsiteX20" fmla="*/ 349182 w 598324"/>
                <a:gd name="connsiteY20" fmla="*/ 550436 h 761503"/>
                <a:gd name="connsiteX21" fmla="*/ 338303 w 598324"/>
                <a:gd name="connsiteY21" fmla="*/ 504202 h 761503"/>
                <a:gd name="connsiteX22" fmla="*/ 330144 w 598324"/>
                <a:gd name="connsiteY22" fmla="*/ 477005 h 761503"/>
                <a:gd name="connsiteX23" fmla="*/ 321985 w 598324"/>
                <a:gd name="connsiteY23" fmla="*/ 455248 h 761503"/>
                <a:gd name="connsiteX24" fmla="*/ 305667 w 598324"/>
                <a:gd name="connsiteY24" fmla="*/ 436210 h 761503"/>
                <a:gd name="connsiteX25" fmla="*/ 294788 w 598324"/>
                <a:gd name="connsiteY25" fmla="*/ 441650 h 761503"/>
                <a:gd name="connsiteX26" fmla="*/ 278471 w 598324"/>
                <a:gd name="connsiteY26" fmla="*/ 463407 h 761503"/>
                <a:gd name="connsiteX27" fmla="*/ 264872 w 598324"/>
                <a:gd name="connsiteY27" fmla="*/ 496043 h 761503"/>
                <a:gd name="connsiteX28" fmla="*/ 262153 w 598324"/>
                <a:gd name="connsiteY28" fmla="*/ 517800 h 761503"/>
                <a:gd name="connsiteX29" fmla="*/ 262153 w 598324"/>
                <a:gd name="connsiteY29" fmla="*/ 523239 h 761503"/>
                <a:gd name="connsiteX30" fmla="*/ 262153 w 598324"/>
                <a:gd name="connsiteY30" fmla="*/ 553155 h 761503"/>
                <a:gd name="connsiteX31" fmla="*/ 262153 w 598324"/>
                <a:gd name="connsiteY31" fmla="*/ 629306 h 761503"/>
                <a:gd name="connsiteX32" fmla="*/ 259433 w 598324"/>
                <a:gd name="connsiteY32" fmla="*/ 659222 h 761503"/>
                <a:gd name="connsiteX33" fmla="*/ 283910 w 598324"/>
                <a:gd name="connsiteY33" fmla="*/ 659222 h 761503"/>
                <a:gd name="connsiteX34" fmla="*/ 321985 w 598324"/>
                <a:gd name="connsiteY34" fmla="*/ 675540 h 761503"/>
                <a:gd name="connsiteX35" fmla="*/ 316546 w 598324"/>
                <a:gd name="connsiteY35" fmla="*/ 691858 h 761503"/>
                <a:gd name="connsiteX36" fmla="*/ 300228 w 598324"/>
                <a:gd name="connsiteY36" fmla="*/ 700017 h 761503"/>
                <a:gd name="connsiteX37" fmla="*/ 278471 w 598324"/>
                <a:gd name="connsiteY37" fmla="*/ 702736 h 761503"/>
                <a:gd name="connsiteX38" fmla="*/ 243115 w 598324"/>
                <a:gd name="connsiteY38" fmla="*/ 702736 h 761503"/>
                <a:gd name="connsiteX39" fmla="*/ 221358 w 598324"/>
                <a:gd name="connsiteY39" fmla="*/ 710895 h 761503"/>
                <a:gd name="connsiteX40" fmla="*/ 194161 w 598324"/>
                <a:gd name="connsiteY40" fmla="*/ 702736 h 761503"/>
                <a:gd name="connsiteX41" fmla="*/ 177843 w 598324"/>
                <a:gd name="connsiteY41" fmla="*/ 702736 h 761503"/>
                <a:gd name="connsiteX42" fmla="*/ 126170 w 598324"/>
                <a:gd name="connsiteY42" fmla="*/ 702736 h 761503"/>
                <a:gd name="connsiteX43" fmla="*/ 101693 w 598324"/>
                <a:gd name="connsiteY43" fmla="*/ 702736 h 761503"/>
                <a:gd name="connsiteX44" fmla="*/ 74496 w 598324"/>
                <a:gd name="connsiteY44" fmla="*/ 697297 h 761503"/>
                <a:gd name="connsiteX45" fmla="*/ 58178 w 598324"/>
                <a:gd name="connsiteY45" fmla="*/ 680979 h 761503"/>
                <a:gd name="connsiteX46" fmla="*/ 63617 w 598324"/>
                <a:gd name="connsiteY46" fmla="*/ 672820 h 761503"/>
                <a:gd name="connsiteX47" fmla="*/ 85375 w 598324"/>
                <a:gd name="connsiteY47" fmla="*/ 664661 h 761503"/>
                <a:gd name="connsiteX48" fmla="*/ 128889 w 598324"/>
                <a:gd name="connsiteY48" fmla="*/ 659222 h 761503"/>
                <a:gd name="connsiteX49" fmla="*/ 147927 w 598324"/>
                <a:gd name="connsiteY49" fmla="*/ 659222 h 761503"/>
                <a:gd name="connsiteX50" fmla="*/ 145207 w 598324"/>
                <a:gd name="connsiteY50" fmla="*/ 653783 h 761503"/>
                <a:gd name="connsiteX51" fmla="*/ 131609 w 598324"/>
                <a:gd name="connsiteY51" fmla="*/ 585791 h 761503"/>
                <a:gd name="connsiteX52" fmla="*/ 134329 w 598324"/>
                <a:gd name="connsiteY52" fmla="*/ 498762 h 761503"/>
                <a:gd name="connsiteX53" fmla="*/ 137048 w 598324"/>
                <a:gd name="connsiteY53" fmla="*/ 406294 h 761503"/>
                <a:gd name="connsiteX54" fmla="*/ 134329 w 598324"/>
                <a:gd name="connsiteY54" fmla="*/ 327424 h 761503"/>
                <a:gd name="connsiteX55" fmla="*/ 137048 w 598324"/>
                <a:gd name="connsiteY55" fmla="*/ 253993 h 761503"/>
                <a:gd name="connsiteX56" fmla="*/ 139768 w 598324"/>
                <a:gd name="connsiteY56" fmla="*/ 207759 h 761503"/>
                <a:gd name="connsiteX57" fmla="*/ 137048 w 598324"/>
                <a:gd name="connsiteY57" fmla="*/ 172404 h 761503"/>
                <a:gd name="connsiteX58" fmla="*/ 137048 w 598324"/>
                <a:gd name="connsiteY58" fmla="*/ 112571 h 761503"/>
                <a:gd name="connsiteX59" fmla="*/ 126170 w 598324"/>
                <a:gd name="connsiteY59" fmla="*/ 112571 h 761503"/>
                <a:gd name="connsiteX60" fmla="*/ 101693 w 598324"/>
                <a:gd name="connsiteY60" fmla="*/ 112571 h 761503"/>
                <a:gd name="connsiteX61" fmla="*/ 74496 w 598324"/>
                <a:gd name="connsiteY61" fmla="*/ 107132 h 761503"/>
                <a:gd name="connsiteX62" fmla="*/ 58178 w 598324"/>
                <a:gd name="connsiteY62" fmla="*/ 90814 h 761503"/>
                <a:gd name="connsiteX63" fmla="*/ 63617 w 598324"/>
                <a:gd name="connsiteY63" fmla="*/ 82655 h 761503"/>
                <a:gd name="connsiteX64" fmla="*/ 85375 w 598324"/>
                <a:gd name="connsiteY64" fmla="*/ 74496 h 761503"/>
                <a:gd name="connsiteX65" fmla="*/ 137048 w 598324"/>
                <a:gd name="connsiteY65" fmla="*/ 69057 h 761503"/>
                <a:gd name="connsiteX66" fmla="*/ 145207 w 598324"/>
                <a:gd name="connsiteY66" fmla="*/ 69057 h 761503"/>
                <a:gd name="connsiteX67" fmla="*/ 169684 w 598324"/>
                <a:gd name="connsiteY67" fmla="*/ 58178 h 761503"/>
                <a:gd name="connsiteX68" fmla="*/ 177843 w 598324"/>
                <a:gd name="connsiteY68" fmla="*/ 58178 h 761503"/>
                <a:gd name="connsiteX69" fmla="*/ 205040 w 598324"/>
                <a:gd name="connsiteY69" fmla="*/ 66337 h 761503"/>
                <a:gd name="connsiteX70" fmla="*/ 286629 w 598324"/>
                <a:gd name="connsiteY70" fmla="*/ 63617 h 761503"/>
                <a:gd name="connsiteX71" fmla="*/ 324705 w 598324"/>
                <a:gd name="connsiteY71" fmla="*/ 79936 h 761503"/>
                <a:gd name="connsiteX72" fmla="*/ 319265 w 598324"/>
                <a:gd name="connsiteY72" fmla="*/ 96253 h 761503"/>
                <a:gd name="connsiteX73" fmla="*/ 302948 w 598324"/>
                <a:gd name="connsiteY73" fmla="*/ 104412 h 761503"/>
                <a:gd name="connsiteX74" fmla="*/ 278471 w 598324"/>
                <a:gd name="connsiteY74" fmla="*/ 112571 h 761503"/>
                <a:gd name="connsiteX75" fmla="*/ 232236 w 598324"/>
                <a:gd name="connsiteY75" fmla="*/ 112571 h 761503"/>
                <a:gd name="connsiteX76" fmla="*/ 240395 w 598324"/>
                <a:gd name="connsiteY76" fmla="*/ 137048 h 761503"/>
                <a:gd name="connsiteX77" fmla="*/ 240395 w 598324"/>
                <a:gd name="connsiteY77" fmla="*/ 150647 h 761503"/>
                <a:gd name="connsiteX78" fmla="*/ 243115 w 598324"/>
                <a:gd name="connsiteY78" fmla="*/ 158805 h 761503"/>
                <a:gd name="connsiteX79" fmla="*/ 248554 w 598324"/>
                <a:gd name="connsiteY79" fmla="*/ 188722 h 761503"/>
                <a:gd name="connsiteX80" fmla="*/ 248554 w 598324"/>
                <a:gd name="connsiteY80" fmla="*/ 199600 h 761503"/>
                <a:gd name="connsiteX81" fmla="*/ 248554 w 598324"/>
                <a:gd name="connsiteY81" fmla="*/ 221357 h 761503"/>
                <a:gd name="connsiteX82" fmla="*/ 253994 w 598324"/>
                <a:gd name="connsiteY82" fmla="*/ 264872 h 761503"/>
                <a:gd name="connsiteX83" fmla="*/ 262153 w 598324"/>
                <a:gd name="connsiteY83" fmla="*/ 297508 h 761503"/>
                <a:gd name="connsiteX84" fmla="*/ 264872 w 598324"/>
                <a:gd name="connsiteY84" fmla="*/ 324704 h 761503"/>
                <a:gd name="connsiteX85" fmla="*/ 264872 w 598324"/>
                <a:gd name="connsiteY85" fmla="*/ 332863 h 761503"/>
                <a:gd name="connsiteX86" fmla="*/ 264872 w 598324"/>
                <a:gd name="connsiteY86" fmla="*/ 351901 h 761503"/>
                <a:gd name="connsiteX87" fmla="*/ 262153 w 598324"/>
                <a:gd name="connsiteY87" fmla="*/ 370939 h 761503"/>
                <a:gd name="connsiteX88" fmla="*/ 267592 w 598324"/>
                <a:gd name="connsiteY88" fmla="*/ 384537 h 761503"/>
                <a:gd name="connsiteX89" fmla="*/ 278471 w 598324"/>
                <a:gd name="connsiteY89" fmla="*/ 370939 h 761503"/>
                <a:gd name="connsiteX90" fmla="*/ 297508 w 598324"/>
                <a:gd name="connsiteY90" fmla="*/ 332863 h 761503"/>
                <a:gd name="connsiteX91" fmla="*/ 311106 w 598324"/>
                <a:gd name="connsiteY91" fmla="*/ 305667 h 761503"/>
                <a:gd name="connsiteX92" fmla="*/ 335583 w 598324"/>
                <a:gd name="connsiteY92" fmla="*/ 259433 h 761503"/>
                <a:gd name="connsiteX93" fmla="*/ 354621 w 598324"/>
                <a:gd name="connsiteY93" fmla="*/ 224077 h 761503"/>
                <a:gd name="connsiteX94" fmla="*/ 381817 w 598324"/>
                <a:gd name="connsiteY94" fmla="*/ 172404 h 761503"/>
                <a:gd name="connsiteX95" fmla="*/ 409014 w 598324"/>
                <a:gd name="connsiteY95" fmla="*/ 118011 h 761503"/>
                <a:gd name="connsiteX96" fmla="*/ 411734 w 598324"/>
                <a:gd name="connsiteY96" fmla="*/ 115291 h 761503"/>
                <a:gd name="connsiteX97" fmla="*/ 398136 w 598324"/>
                <a:gd name="connsiteY97" fmla="*/ 115291 h 761503"/>
                <a:gd name="connsiteX98" fmla="*/ 379098 w 598324"/>
                <a:gd name="connsiteY98" fmla="*/ 109852 h 761503"/>
                <a:gd name="connsiteX99" fmla="*/ 368219 w 598324"/>
                <a:gd name="connsiteY99" fmla="*/ 93534 h 761503"/>
                <a:gd name="connsiteX100" fmla="*/ 370939 w 598324"/>
                <a:gd name="connsiteY100" fmla="*/ 85375 h 761503"/>
                <a:gd name="connsiteX101" fmla="*/ 387257 w 598324"/>
                <a:gd name="connsiteY101" fmla="*/ 77216 h 761503"/>
                <a:gd name="connsiteX102" fmla="*/ 422612 w 598324"/>
                <a:gd name="connsiteY102" fmla="*/ 71776 h 761503"/>
                <a:gd name="connsiteX103" fmla="*/ 436211 w 598324"/>
                <a:gd name="connsiteY103" fmla="*/ 71776 h 761503"/>
                <a:gd name="connsiteX104" fmla="*/ 438930 w 598324"/>
                <a:gd name="connsiteY104" fmla="*/ 69057 h 761503"/>
                <a:gd name="connsiteX105" fmla="*/ 452529 w 598324"/>
                <a:gd name="connsiteY105" fmla="*/ 66337 h 761503"/>
                <a:gd name="connsiteX106" fmla="*/ 466127 w 598324"/>
                <a:gd name="connsiteY106" fmla="*/ 69057 h 761503"/>
                <a:gd name="connsiteX107" fmla="*/ 471566 w 598324"/>
                <a:gd name="connsiteY107" fmla="*/ 71776 h 761503"/>
                <a:gd name="connsiteX108" fmla="*/ 515081 w 598324"/>
                <a:gd name="connsiteY108" fmla="*/ 71776 h 761503"/>
                <a:gd name="connsiteX109" fmla="*/ 542277 w 598324"/>
                <a:gd name="connsiteY109" fmla="*/ 88094 h 761503"/>
                <a:gd name="connsiteX110" fmla="*/ 536838 w 598324"/>
                <a:gd name="connsiteY110" fmla="*/ 104412 h 761503"/>
                <a:gd name="connsiteX111" fmla="*/ 525959 w 598324"/>
                <a:gd name="connsiteY111" fmla="*/ 112571 h 761503"/>
                <a:gd name="connsiteX112" fmla="*/ 509642 w 598324"/>
                <a:gd name="connsiteY112" fmla="*/ 115291 h 761503"/>
                <a:gd name="connsiteX113" fmla="*/ 468847 w 598324"/>
                <a:gd name="connsiteY113" fmla="*/ 115291 h 761503"/>
                <a:gd name="connsiteX114" fmla="*/ 457968 w 598324"/>
                <a:gd name="connsiteY114" fmla="*/ 137048 h 761503"/>
                <a:gd name="connsiteX115" fmla="*/ 430771 w 598324"/>
                <a:gd name="connsiteY115" fmla="*/ 194161 h 761503"/>
                <a:gd name="connsiteX116" fmla="*/ 400855 w 598324"/>
                <a:gd name="connsiteY116" fmla="*/ 262152 h 761503"/>
                <a:gd name="connsiteX117" fmla="*/ 360060 w 598324"/>
                <a:gd name="connsiteY117" fmla="*/ 332863 h 761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</a:cxnLst>
              <a:rect l="l" t="t" r="r" b="b"/>
              <a:pathLst>
                <a:path w="598324" h="761503">
                  <a:moveTo>
                    <a:pt x="360060" y="332863"/>
                  </a:moveTo>
                  <a:cubicBezTo>
                    <a:pt x="351901" y="343742"/>
                    <a:pt x="341023" y="357340"/>
                    <a:pt x="341023" y="370939"/>
                  </a:cubicBezTo>
                  <a:cubicBezTo>
                    <a:pt x="341023" y="379098"/>
                    <a:pt x="357341" y="381817"/>
                    <a:pt x="376378" y="389976"/>
                  </a:cubicBezTo>
                  <a:cubicBezTo>
                    <a:pt x="395416" y="398135"/>
                    <a:pt x="417173" y="417173"/>
                    <a:pt x="425332" y="433491"/>
                  </a:cubicBezTo>
                  <a:cubicBezTo>
                    <a:pt x="430771" y="444369"/>
                    <a:pt x="436211" y="452528"/>
                    <a:pt x="438930" y="463407"/>
                  </a:cubicBezTo>
                  <a:cubicBezTo>
                    <a:pt x="444370" y="474286"/>
                    <a:pt x="447089" y="487884"/>
                    <a:pt x="449809" y="498762"/>
                  </a:cubicBezTo>
                  <a:cubicBezTo>
                    <a:pt x="452529" y="512361"/>
                    <a:pt x="452529" y="517800"/>
                    <a:pt x="457968" y="528679"/>
                  </a:cubicBezTo>
                  <a:cubicBezTo>
                    <a:pt x="463407" y="539557"/>
                    <a:pt x="463407" y="553155"/>
                    <a:pt x="466127" y="564034"/>
                  </a:cubicBezTo>
                  <a:cubicBezTo>
                    <a:pt x="468847" y="572193"/>
                    <a:pt x="468847" y="585791"/>
                    <a:pt x="471566" y="593950"/>
                  </a:cubicBezTo>
                  <a:cubicBezTo>
                    <a:pt x="474286" y="599390"/>
                    <a:pt x="477006" y="602109"/>
                    <a:pt x="479725" y="607548"/>
                  </a:cubicBezTo>
                  <a:cubicBezTo>
                    <a:pt x="482445" y="612988"/>
                    <a:pt x="487884" y="618427"/>
                    <a:pt x="487884" y="623867"/>
                  </a:cubicBezTo>
                  <a:cubicBezTo>
                    <a:pt x="490604" y="634745"/>
                    <a:pt x="496043" y="642904"/>
                    <a:pt x="501482" y="651063"/>
                  </a:cubicBezTo>
                  <a:cubicBezTo>
                    <a:pt x="506922" y="661942"/>
                    <a:pt x="512361" y="664661"/>
                    <a:pt x="523240" y="670101"/>
                  </a:cubicBezTo>
                  <a:cubicBezTo>
                    <a:pt x="528679" y="672820"/>
                    <a:pt x="534119" y="680979"/>
                    <a:pt x="534119" y="686418"/>
                  </a:cubicBezTo>
                  <a:cubicBezTo>
                    <a:pt x="534119" y="689138"/>
                    <a:pt x="534119" y="691858"/>
                    <a:pt x="531399" y="694578"/>
                  </a:cubicBezTo>
                  <a:cubicBezTo>
                    <a:pt x="525959" y="702736"/>
                    <a:pt x="512361" y="708176"/>
                    <a:pt x="498763" y="708176"/>
                  </a:cubicBezTo>
                  <a:cubicBezTo>
                    <a:pt x="485165" y="708176"/>
                    <a:pt x="466127" y="705456"/>
                    <a:pt x="449809" y="700017"/>
                  </a:cubicBezTo>
                  <a:cubicBezTo>
                    <a:pt x="430771" y="694578"/>
                    <a:pt x="409014" y="675540"/>
                    <a:pt x="400855" y="667381"/>
                  </a:cubicBezTo>
                  <a:cubicBezTo>
                    <a:pt x="392696" y="659222"/>
                    <a:pt x="387257" y="651063"/>
                    <a:pt x="381817" y="642904"/>
                  </a:cubicBezTo>
                  <a:cubicBezTo>
                    <a:pt x="376378" y="632025"/>
                    <a:pt x="370939" y="623867"/>
                    <a:pt x="368219" y="610268"/>
                  </a:cubicBezTo>
                  <a:cubicBezTo>
                    <a:pt x="360060" y="588511"/>
                    <a:pt x="357341" y="574913"/>
                    <a:pt x="349182" y="550436"/>
                  </a:cubicBezTo>
                  <a:cubicBezTo>
                    <a:pt x="343742" y="534118"/>
                    <a:pt x="341023" y="520520"/>
                    <a:pt x="338303" y="504202"/>
                  </a:cubicBezTo>
                  <a:cubicBezTo>
                    <a:pt x="335583" y="493323"/>
                    <a:pt x="332864" y="485164"/>
                    <a:pt x="330144" y="477005"/>
                  </a:cubicBezTo>
                  <a:cubicBezTo>
                    <a:pt x="327424" y="471566"/>
                    <a:pt x="324705" y="463407"/>
                    <a:pt x="321985" y="455248"/>
                  </a:cubicBezTo>
                  <a:cubicBezTo>
                    <a:pt x="316546" y="444369"/>
                    <a:pt x="311106" y="436210"/>
                    <a:pt x="305667" y="436210"/>
                  </a:cubicBezTo>
                  <a:cubicBezTo>
                    <a:pt x="302948" y="436210"/>
                    <a:pt x="300228" y="438930"/>
                    <a:pt x="294788" y="441650"/>
                  </a:cubicBezTo>
                  <a:cubicBezTo>
                    <a:pt x="289349" y="447089"/>
                    <a:pt x="283910" y="455248"/>
                    <a:pt x="278471" y="463407"/>
                  </a:cubicBezTo>
                  <a:cubicBezTo>
                    <a:pt x="270312" y="474286"/>
                    <a:pt x="267592" y="485164"/>
                    <a:pt x="264872" y="496043"/>
                  </a:cubicBezTo>
                  <a:cubicBezTo>
                    <a:pt x="264872" y="504202"/>
                    <a:pt x="262153" y="512361"/>
                    <a:pt x="262153" y="517800"/>
                  </a:cubicBezTo>
                  <a:cubicBezTo>
                    <a:pt x="262153" y="520520"/>
                    <a:pt x="262153" y="520520"/>
                    <a:pt x="262153" y="523239"/>
                  </a:cubicBezTo>
                  <a:cubicBezTo>
                    <a:pt x="262153" y="528679"/>
                    <a:pt x="262153" y="544997"/>
                    <a:pt x="262153" y="553155"/>
                  </a:cubicBezTo>
                  <a:cubicBezTo>
                    <a:pt x="262153" y="583072"/>
                    <a:pt x="264872" y="599390"/>
                    <a:pt x="262153" y="629306"/>
                  </a:cubicBezTo>
                  <a:cubicBezTo>
                    <a:pt x="262153" y="640184"/>
                    <a:pt x="262153" y="648343"/>
                    <a:pt x="259433" y="659222"/>
                  </a:cubicBezTo>
                  <a:cubicBezTo>
                    <a:pt x="270312" y="659222"/>
                    <a:pt x="278471" y="659222"/>
                    <a:pt x="283910" y="659222"/>
                  </a:cubicBezTo>
                  <a:cubicBezTo>
                    <a:pt x="297508" y="659222"/>
                    <a:pt x="321985" y="659222"/>
                    <a:pt x="321985" y="675540"/>
                  </a:cubicBezTo>
                  <a:cubicBezTo>
                    <a:pt x="321985" y="683699"/>
                    <a:pt x="319265" y="686418"/>
                    <a:pt x="316546" y="691858"/>
                  </a:cubicBezTo>
                  <a:cubicBezTo>
                    <a:pt x="311106" y="697297"/>
                    <a:pt x="305667" y="700017"/>
                    <a:pt x="300228" y="700017"/>
                  </a:cubicBezTo>
                  <a:cubicBezTo>
                    <a:pt x="292069" y="702736"/>
                    <a:pt x="283910" y="702736"/>
                    <a:pt x="278471" y="702736"/>
                  </a:cubicBezTo>
                  <a:cubicBezTo>
                    <a:pt x="275751" y="702736"/>
                    <a:pt x="259433" y="702736"/>
                    <a:pt x="243115" y="702736"/>
                  </a:cubicBezTo>
                  <a:cubicBezTo>
                    <a:pt x="237676" y="708176"/>
                    <a:pt x="229517" y="710895"/>
                    <a:pt x="221358" y="710895"/>
                  </a:cubicBezTo>
                  <a:cubicBezTo>
                    <a:pt x="213199" y="710895"/>
                    <a:pt x="202320" y="708176"/>
                    <a:pt x="194161" y="702736"/>
                  </a:cubicBezTo>
                  <a:cubicBezTo>
                    <a:pt x="186002" y="702736"/>
                    <a:pt x="180563" y="702736"/>
                    <a:pt x="177843" y="702736"/>
                  </a:cubicBezTo>
                  <a:cubicBezTo>
                    <a:pt x="164245" y="702736"/>
                    <a:pt x="139768" y="702736"/>
                    <a:pt x="126170" y="702736"/>
                  </a:cubicBezTo>
                  <a:cubicBezTo>
                    <a:pt x="118011" y="702736"/>
                    <a:pt x="109852" y="702736"/>
                    <a:pt x="101693" y="702736"/>
                  </a:cubicBezTo>
                  <a:cubicBezTo>
                    <a:pt x="93534" y="702736"/>
                    <a:pt x="82655" y="702736"/>
                    <a:pt x="74496" y="697297"/>
                  </a:cubicBezTo>
                  <a:cubicBezTo>
                    <a:pt x="66337" y="694578"/>
                    <a:pt x="58178" y="686418"/>
                    <a:pt x="58178" y="680979"/>
                  </a:cubicBezTo>
                  <a:cubicBezTo>
                    <a:pt x="58178" y="678260"/>
                    <a:pt x="58178" y="675540"/>
                    <a:pt x="63617" y="672820"/>
                  </a:cubicBezTo>
                  <a:cubicBezTo>
                    <a:pt x="69057" y="670101"/>
                    <a:pt x="79935" y="667381"/>
                    <a:pt x="85375" y="664661"/>
                  </a:cubicBezTo>
                  <a:cubicBezTo>
                    <a:pt x="104412" y="661942"/>
                    <a:pt x="123450" y="659222"/>
                    <a:pt x="128889" y="659222"/>
                  </a:cubicBezTo>
                  <a:cubicBezTo>
                    <a:pt x="134329" y="659222"/>
                    <a:pt x="139768" y="659222"/>
                    <a:pt x="147927" y="659222"/>
                  </a:cubicBezTo>
                  <a:cubicBezTo>
                    <a:pt x="147927" y="656502"/>
                    <a:pt x="145207" y="653783"/>
                    <a:pt x="145207" y="653783"/>
                  </a:cubicBezTo>
                  <a:cubicBezTo>
                    <a:pt x="131609" y="632025"/>
                    <a:pt x="131609" y="610268"/>
                    <a:pt x="131609" y="585791"/>
                  </a:cubicBezTo>
                  <a:cubicBezTo>
                    <a:pt x="131609" y="555875"/>
                    <a:pt x="131609" y="528679"/>
                    <a:pt x="134329" y="498762"/>
                  </a:cubicBezTo>
                  <a:cubicBezTo>
                    <a:pt x="134329" y="468846"/>
                    <a:pt x="137048" y="436210"/>
                    <a:pt x="137048" y="406294"/>
                  </a:cubicBezTo>
                  <a:cubicBezTo>
                    <a:pt x="137048" y="379098"/>
                    <a:pt x="134329" y="354621"/>
                    <a:pt x="134329" y="327424"/>
                  </a:cubicBezTo>
                  <a:cubicBezTo>
                    <a:pt x="134329" y="302947"/>
                    <a:pt x="137048" y="278470"/>
                    <a:pt x="137048" y="253993"/>
                  </a:cubicBezTo>
                  <a:cubicBezTo>
                    <a:pt x="137048" y="237675"/>
                    <a:pt x="139768" y="224077"/>
                    <a:pt x="139768" y="207759"/>
                  </a:cubicBezTo>
                  <a:cubicBezTo>
                    <a:pt x="139768" y="196881"/>
                    <a:pt x="137048" y="183282"/>
                    <a:pt x="137048" y="172404"/>
                  </a:cubicBezTo>
                  <a:cubicBezTo>
                    <a:pt x="137048" y="150647"/>
                    <a:pt x="137048" y="131609"/>
                    <a:pt x="137048" y="112571"/>
                  </a:cubicBezTo>
                  <a:cubicBezTo>
                    <a:pt x="134329" y="112571"/>
                    <a:pt x="137048" y="112571"/>
                    <a:pt x="126170" y="112571"/>
                  </a:cubicBezTo>
                  <a:cubicBezTo>
                    <a:pt x="118011" y="112571"/>
                    <a:pt x="109852" y="112571"/>
                    <a:pt x="101693" y="112571"/>
                  </a:cubicBezTo>
                  <a:cubicBezTo>
                    <a:pt x="93534" y="112571"/>
                    <a:pt x="82655" y="109852"/>
                    <a:pt x="74496" y="107132"/>
                  </a:cubicBezTo>
                  <a:cubicBezTo>
                    <a:pt x="66337" y="104412"/>
                    <a:pt x="58178" y="96253"/>
                    <a:pt x="58178" y="90814"/>
                  </a:cubicBezTo>
                  <a:cubicBezTo>
                    <a:pt x="58178" y="88094"/>
                    <a:pt x="58178" y="85375"/>
                    <a:pt x="63617" y="82655"/>
                  </a:cubicBezTo>
                  <a:cubicBezTo>
                    <a:pt x="69057" y="79936"/>
                    <a:pt x="79935" y="77216"/>
                    <a:pt x="85375" y="74496"/>
                  </a:cubicBezTo>
                  <a:cubicBezTo>
                    <a:pt x="104412" y="71776"/>
                    <a:pt x="128889" y="69057"/>
                    <a:pt x="137048" y="69057"/>
                  </a:cubicBezTo>
                  <a:cubicBezTo>
                    <a:pt x="137048" y="69057"/>
                    <a:pt x="139768" y="69057"/>
                    <a:pt x="145207" y="69057"/>
                  </a:cubicBezTo>
                  <a:cubicBezTo>
                    <a:pt x="150646" y="60898"/>
                    <a:pt x="158806" y="58178"/>
                    <a:pt x="169684" y="58178"/>
                  </a:cubicBezTo>
                  <a:cubicBezTo>
                    <a:pt x="172404" y="58178"/>
                    <a:pt x="175123" y="58178"/>
                    <a:pt x="177843" y="58178"/>
                  </a:cubicBezTo>
                  <a:cubicBezTo>
                    <a:pt x="186002" y="58178"/>
                    <a:pt x="196881" y="63617"/>
                    <a:pt x="205040" y="66337"/>
                  </a:cubicBezTo>
                  <a:cubicBezTo>
                    <a:pt x="237676" y="66337"/>
                    <a:pt x="273031" y="63617"/>
                    <a:pt x="286629" y="63617"/>
                  </a:cubicBezTo>
                  <a:cubicBezTo>
                    <a:pt x="300228" y="63617"/>
                    <a:pt x="324705" y="63617"/>
                    <a:pt x="324705" y="79936"/>
                  </a:cubicBezTo>
                  <a:cubicBezTo>
                    <a:pt x="324705" y="88094"/>
                    <a:pt x="321985" y="90814"/>
                    <a:pt x="319265" y="96253"/>
                  </a:cubicBezTo>
                  <a:cubicBezTo>
                    <a:pt x="313826" y="101693"/>
                    <a:pt x="308387" y="104412"/>
                    <a:pt x="302948" y="104412"/>
                  </a:cubicBezTo>
                  <a:cubicBezTo>
                    <a:pt x="289349" y="112571"/>
                    <a:pt x="283910" y="112571"/>
                    <a:pt x="278471" y="112571"/>
                  </a:cubicBezTo>
                  <a:cubicBezTo>
                    <a:pt x="273031" y="112571"/>
                    <a:pt x="253994" y="112571"/>
                    <a:pt x="232236" y="112571"/>
                  </a:cubicBezTo>
                  <a:cubicBezTo>
                    <a:pt x="237676" y="120730"/>
                    <a:pt x="240395" y="128889"/>
                    <a:pt x="240395" y="137048"/>
                  </a:cubicBezTo>
                  <a:cubicBezTo>
                    <a:pt x="240395" y="142487"/>
                    <a:pt x="240395" y="145207"/>
                    <a:pt x="240395" y="150647"/>
                  </a:cubicBezTo>
                  <a:cubicBezTo>
                    <a:pt x="240395" y="153366"/>
                    <a:pt x="240395" y="156086"/>
                    <a:pt x="243115" y="158805"/>
                  </a:cubicBezTo>
                  <a:cubicBezTo>
                    <a:pt x="245835" y="169684"/>
                    <a:pt x="245835" y="180563"/>
                    <a:pt x="248554" y="188722"/>
                  </a:cubicBezTo>
                  <a:cubicBezTo>
                    <a:pt x="248554" y="191441"/>
                    <a:pt x="248554" y="194161"/>
                    <a:pt x="248554" y="199600"/>
                  </a:cubicBezTo>
                  <a:cubicBezTo>
                    <a:pt x="248554" y="207759"/>
                    <a:pt x="248554" y="213198"/>
                    <a:pt x="248554" y="221357"/>
                  </a:cubicBezTo>
                  <a:cubicBezTo>
                    <a:pt x="248554" y="234956"/>
                    <a:pt x="251274" y="248554"/>
                    <a:pt x="253994" y="264872"/>
                  </a:cubicBezTo>
                  <a:cubicBezTo>
                    <a:pt x="256713" y="275751"/>
                    <a:pt x="259433" y="286629"/>
                    <a:pt x="262153" y="297508"/>
                  </a:cubicBezTo>
                  <a:cubicBezTo>
                    <a:pt x="264872" y="305667"/>
                    <a:pt x="264872" y="313826"/>
                    <a:pt x="264872" y="324704"/>
                  </a:cubicBezTo>
                  <a:cubicBezTo>
                    <a:pt x="264872" y="327424"/>
                    <a:pt x="264872" y="330144"/>
                    <a:pt x="264872" y="332863"/>
                  </a:cubicBezTo>
                  <a:cubicBezTo>
                    <a:pt x="264872" y="338303"/>
                    <a:pt x="264872" y="346462"/>
                    <a:pt x="264872" y="351901"/>
                  </a:cubicBezTo>
                  <a:cubicBezTo>
                    <a:pt x="264872" y="357340"/>
                    <a:pt x="262153" y="365499"/>
                    <a:pt x="262153" y="370939"/>
                  </a:cubicBezTo>
                  <a:cubicBezTo>
                    <a:pt x="262153" y="376378"/>
                    <a:pt x="264872" y="384537"/>
                    <a:pt x="267592" y="384537"/>
                  </a:cubicBezTo>
                  <a:cubicBezTo>
                    <a:pt x="273031" y="384537"/>
                    <a:pt x="275751" y="376378"/>
                    <a:pt x="278471" y="370939"/>
                  </a:cubicBezTo>
                  <a:cubicBezTo>
                    <a:pt x="283910" y="360060"/>
                    <a:pt x="289349" y="346462"/>
                    <a:pt x="297508" y="332863"/>
                  </a:cubicBezTo>
                  <a:cubicBezTo>
                    <a:pt x="302948" y="324704"/>
                    <a:pt x="305667" y="313826"/>
                    <a:pt x="311106" y="305667"/>
                  </a:cubicBezTo>
                  <a:cubicBezTo>
                    <a:pt x="319265" y="289349"/>
                    <a:pt x="327424" y="275751"/>
                    <a:pt x="335583" y="259433"/>
                  </a:cubicBezTo>
                  <a:cubicBezTo>
                    <a:pt x="341023" y="248554"/>
                    <a:pt x="349182" y="234956"/>
                    <a:pt x="354621" y="224077"/>
                  </a:cubicBezTo>
                  <a:cubicBezTo>
                    <a:pt x="362780" y="207759"/>
                    <a:pt x="370939" y="191441"/>
                    <a:pt x="381817" y="172404"/>
                  </a:cubicBezTo>
                  <a:cubicBezTo>
                    <a:pt x="389977" y="153366"/>
                    <a:pt x="400855" y="134329"/>
                    <a:pt x="409014" y="118011"/>
                  </a:cubicBezTo>
                  <a:cubicBezTo>
                    <a:pt x="409014" y="115291"/>
                    <a:pt x="409014" y="115291"/>
                    <a:pt x="411734" y="115291"/>
                  </a:cubicBezTo>
                  <a:cubicBezTo>
                    <a:pt x="406294" y="115291"/>
                    <a:pt x="400855" y="115291"/>
                    <a:pt x="398136" y="115291"/>
                  </a:cubicBezTo>
                  <a:cubicBezTo>
                    <a:pt x="392696" y="115291"/>
                    <a:pt x="384537" y="115291"/>
                    <a:pt x="379098" y="109852"/>
                  </a:cubicBezTo>
                  <a:cubicBezTo>
                    <a:pt x="373659" y="107132"/>
                    <a:pt x="368219" y="98973"/>
                    <a:pt x="368219" y="93534"/>
                  </a:cubicBezTo>
                  <a:cubicBezTo>
                    <a:pt x="368219" y="90814"/>
                    <a:pt x="368219" y="88094"/>
                    <a:pt x="370939" y="85375"/>
                  </a:cubicBezTo>
                  <a:cubicBezTo>
                    <a:pt x="373659" y="82655"/>
                    <a:pt x="381817" y="79936"/>
                    <a:pt x="387257" y="77216"/>
                  </a:cubicBezTo>
                  <a:cubicBezTo>
                    <a:pt x="400855" y="74496"/>
                    <a:pt x="414453" y="71776"/>
                    <a:pt x="422612" y="71776"/>
                  </a:cubicBezTo>
                  <a:cubicBezTo>
                    <a:pt x="425332" y="71776"/>
                    <a:pt x="430771" y="71776"/>
                    <a:pt x="436211" y="71776"/>
                  </a:cubicBezTo>
                  <a:cubicBezTo>
                    <a:pt x="436211" y="71776"/>
                    <a:pt x="438930" y="69057"/>
                    <a:pt x="438930" y="69057"/>
                  </a:cubicBezTo>
                  <a:cubicBezTo>
                    <a:pt x="444370" y="66337"/>
                    <a:pt x="447089" y="66337"/>
                    <a:pt x="452529" y="66337"/>
                  </a:cubicBezTo>
                  <a:cubicBezTo>
                    <a:pt x="457968" y="66337"/>
                    <a:pt x="460688" y="66337"/>
                    <a:pt x="466127" y="69057"/>
                  </a:cubicBezTo>
                  <a:cubicBezTo>
                    <a:pt x="468847" y="69057"/>
                    <a:pt x="471566" y="71776"/>
                    <a:pt x="471566" y="71776"/>
                  </a:cubicBezTo>
                  <a:cubicBezTo>
                    <a:pt x="490604" y="71776"/>
                    <a:pt x="506922" y="71776"/>
                    <a:pt x="515081" y="71776"/>
                  </a:cubicBezTo>
                  <a:cubicBezTo>
                    <a:pt x="523240" y="71776"/>
                    <a:pt x="542277" y="71776"/>
                    <a:pt x="542277" y="88094"/>
                  </a:cubicBezTo>
                  <a:cubicBezTo>
                    <a:pt x="542277" y="96253"/>
                    <a:pt x="542277" y="98973"/>
                    <a:pt x="536838" y="104412"/>
                  </a:cubicBezTo>
                  <a:cubicBezTo>
                    <a:pt x="534119" y="109852"/>
                    <a:pt x="528679" y="112571"/>
                    <a:pt x="525959" y="112571"/>
                  </a:cubicBezTo>
                  <a:cubicBezTo>
                    <a:pt x="520520" y="115291"/>
                    <a:pt x="515081" y="115291"/>
                    <a:pt x="509642" y="115291"/>
                  </a:cubicBezTo>
                  <a:cubicBezTo>
                    <a:pt x="506922" y="115291"/>
                    <a:pt x="487884" y="115291"/>
                    <a:pt x="468847" y="115291"/>
                  </a:cubicBezTo>
                  <a:cubicBezTo>
                    <a:pt x="466127" y="123450"/>
                    <a:pt x="460688" y="128889"/>
                    <a:pt x="457968" y="137048"/>
                  </a:cubicBezTo>
                  <a:cubicBezTo>
                    <a:pt x="447089" y="156086"/>
                    <a:pt x="438930" y="175123"/>
                    <a:pt x="430771" y="194161"/>
                  </a:cubicBezTo>
                  <a:cubicBezTo>
                    <a:pt x="419893" y="215918"/>
                    <a:pt x="411734" y="240395"/>
                    <a:pt x="400855" y="262152"/>
                  </a:cubicBezTo>
                  <a:cubicBezTo>
                    <a:pt x="387257" y="289349"/>
                    <a:pt x="373659" y="311106"/>
                    <a:pt x="360060" y="332863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/>
            </a:p>
          </p:txBody>
        </p:sp>
        <p:sp>
          <p:nvSpPr>
            <p:cNvPr id="42" name="Freeform: Shape 41">
              <a:extLst>
                <a:ext uri="{FF2B5EF4-FFF2-40B4-BE49-F238E27FC236}">
                  <a16:creationId xmlns:a16="http://schemas.microsoft.com/office/drawing/2014/main" id="{C93ECA97-B97C-4583-903C-CA4913633E3F}"/>
                </a:ext>
              </a:extLst>
            </p:cNvPr>
            <p:cNvSpPr/>
            <p:nvPr/>
          </p:nvSpPr>
          <p:spPr>
            <a:xfrm>
              <a:off x="4335316" y="4186718"/>
              <a:ext cx="353556" cy="761503"/>
            </a:xfrm>
            <a:custGeom>
              <a:avLst/>
              <a:gdLst>
                <a:gd name="connsiteX0" fmla="*/ 283910 w 353555"/>
                <a:gd name="connsiteY0" fmla="*/ 672820 h 761503"/>
                <a:gd name="connsiteX1" fmla="*/ 321985 w 353555"/>
                <a:gd name="connsiteY1" fmla="*/ 689138 h 761503"/>
                <a:gd name="connsiteX2" fmla="*/ 316546 w 353555"/>
                <a:gd name="connsiteY2" fmla="*/ 705456 h 761503"/>
                <a:gd name="connsiteX3" fmla="*/ 300228 w 353555"/>
                <a:gd name="connsiteY3" fmla="*/ 713615 h 761503"/>
                <a:gd name="connsiteX4" fmla="*/ 278471 w 353555"/>
                <a:gd name="connsiteY4" fmla="*/ 716335 h 761503"/>
                <a:gd name="connsiteX5" fmla="*/ 237676 w 353555"/>
                <a:gd name="connsiteY5" fmla="*/ 716335 h 761503"/>
                <a:gd name="connsiteX6" fmla="*/ 180563 w 353555"/>
                <a:gd name="connsiteY6" fmla="*/ 719054 h 761503"/>
                <a:gd name="connsiteX7" fmla="*/ 126170 w 353555"/>
                <a:gd name="connsiteY7" fmla="*/ 719054 h 761503"/>
                <a:gd name="connsiteX8" fmla="*/ 101693 w 353555"/>
                <a:gd name="connsiteY8" fmla="*/ 719054 h 761503"/>
                <a:gd name="connsiteX9" fmla="*/ 74496 w 353555"/>
                <a:gd name="connsiteY9" fmla="*/ 713615 h 761503"/>
                <a:gd name="connsiteX10" fmla="*/ 58178 w 353555"/>
                <a:gd name="connsiteY10" fmla="*/ 697297 h 761503"/>
                <a:gd name="connsiteX11" fmla="*/ 63617 w 353555"/>
                <a:gd name="connsiteY11" fmla="*/ 689138 h 761503"/>
                <a:gd name="connsiteX12" fmla="*/ 85375 w 353555"/>
                <a:gd name="connsiteY12" fmla="*/ 680979 h 761503"/>
                <a:gd name="connsiteX13" fmla="*/ 131609 w 353555"/>
                <a:gd name="connsiteY13" fmla="*/ 675540 h 761503"/>
                <a:gd name="connsiteX14" fmla="*/ 142488 w 353555"/>
                <a:gd name="connsiteY14" fmla="*/ 675540 h 761503"/>
                <a:gd name="connsiteX15" fmla="*/ 131609 w 353555"/>
                <a:gd name="connsiteY15" fmla="*/ 653783 h 761503"/>
                <a:gd name="connsiteX16" fmla="*/ 128889 w 353555"/>
                <a:gd name="connsiteY16" fmla="*/ 640184 h 761503"/>
                <a:gd name="connsiteX17" fmla="*/ 128889 w 353555"/>
                <a:gd name="connsiteY17" fmla="*/ 629306 h 761503"/>
                <a:gd name="connsiteX18" fmla="*/ 128889 w 353555"/>
                <a:gd name="connsiteY18" fmla="*/ 621147 h 761503"/>
                <a:gd name="connsiteX19" fmla="*/ 128889 w 353555"/>
                <a:gd name="connsiteY19" fmla="*/ 593950 h 761503"/>
                <a:gd name="connsiteX20" fmla="*/ 128889 w 353555"/>
                <a:gd name="connsiteY20" fmla="*/ 583072 h 761503"/>
                <a:gd name="connsiteX21" fmla="*/ 128889 w 353555"/>
                <a:gd name="connsiteY21" fmla="*/ 436210 h 761503"/>
                <a:gd name="connsiteX22" fmla="*/ 128889 w 353555"/>
                <a:gd name="connsiteY22" fmla="*/ 357340 h 761503"/>
                <a:gd name="connsiteX23" fmla="*/ 131609 w 353555"/>
                <a:gd name="connsiteY23" fmla="*/ 289349 h 761503"/>
                <a:gd name="connsiteX24" fmla="*/ 131609 w 353555"/>
                <a:gd name="connsiteY24" fmla="*/ 251274 h 761503"/>
                <a:gd name="connsiteX25" fmla="*/ 131609 w 353555"/>
                <a:gd name="connsiteY25" fmla="*/ 205040 h 761503"/>
                <a:gd name="connsiteX26" fmla="*/ 131609 w 353555"/>
                <a:gd name="connsiteY26" fmla="*/ 139768 h 761503"/>
                <a:gd name="connsiteX27" fmla="*/ 131609 w 353555"/>
                <a:gd name="connsiteY27" fmla="*/ 128889 h 761503"/>
                <a:gd name="connsiteX28" fmla="*/ 126170 w 353555"/>
                <a:gd name="connsiteY28" fmla="*/ 128889 h 761503"/>
                <a:gd name="connsiteX29" fmla="*/ 101693 w 353555"/>
                <a:gd name="connsiteY29" fmla="*/ 128889 h 761503"/>
                <a:gd name="connsiteX30" fmla="*/ 74496 w 353555"/>
                <a:gd name="connsiteY30" fmla="*/ 123450 h 761503"/>
                <a:gd name="connsiteX31" fmla="*/ 58178 w 353555"/>
                <a:gd name="connsiteY31" fmla="*/ 107132 h 761503"/>
                <a:gd name="connsiteX32" fmla="*/ 60898 w 353555"/>
                <a:gd name="connsiteY32" fmla="*/ 98973 h 761503"/>
                <a:gd name="connsiteX33" fmla="*/ 82655 w 353555"/>
                <a:gd name="connsiteY33" fmla="*/ 93534 h 761503"/>
                <a:gd name="connsiteX34" fmla="*/ 131609 w 353555"/>
                <a:gd name="connsiteY34" fmla="*/ 88094 h 761503"/>
                <a:gd name="connsiteX35" fmla="*/ 131609 w 353555"/>
                <a:gd name="connsiteY35" fmla="*/ 82655 h 761503"/>
                <a:gd name="connsiteX36" fmla="*/ 134329 w 353555"/>
                <a:gd name="connsiteY36" fmla="*/ 71776 h 761503"/>
                <a:gd name="connsiteX37" fmla="*/ 147927 w 353555"/>
                <a:gd name="connsiteY37" fmla="*/ 63617 h 761503"/>
                <a:gd name="connsiteX38" fmla="*/ 164245 w 353555"/>
                <a:gd name="connsiteY38" fmla="*/ 58178 h 761503"/>
                <a:gd name="connsiteX39" fmla="*/ 177843 w 353555"/>
                <a:gd name="connsiteY39" fmla="*/ 58178 h 761503"/>
                <a:gd name="connsiteX40" fmla="*/ 196881 w 353555"/>
                <a:gd name="connsiteY40" fmla="*/ 60898 h 761503"/>
                <a:gd name="connsiteX41" fmla="*/ 232236 w 353555"/>
                <a:gd name="connsiteY41" fmla="*/ 88094 h 761503"/>
                <a:gd name="connsiteX42" fmla="*/ 278471 w 353555"/>
                <a:gd name="connsiteY42" fmla="*/ 88094 h 761503"/>
                <a:gd name="connsiteX43" fmla="*/ 316546 w 353555"/>
                <a:gd name="connsiteY43" fmla="*/ 104412 h 761503"/>
                <a:gd name="connsiteX44" fmla="*/ 311106 w 353555"/>
                <a:gd name="connsiteY44" fmla="*/ 120730 h 761503"/>
                <a:gd name="connsiteX45" fmla="*/ 294788 w 353555"/>
                <a:gd name="connsiteY45" fmla="*/ 128889 h 761503"/>
                <a:gd name="connsiteX46" fmla="*/ 273031 w 353555"/>
                <a:gd name="connsiteY46" fmla="*/ 131609 h 761503"/>
                <a:gd name="connsiteX47" fmla="*/ 243115 w 353555"/>
                <a:gd name="connsiteY47" fmla="*/ 131609 h 761503"/>
                <a:gd name="connsiteX48" fmla="*/ 243115 w 353555"/>
                <a:gd name="connsiteY48" fmla="*/ 134329 h 761503"/>
                <a:gd name="connsiteX49" fmla="*/ 248554 w 353555"/>
                <a:gd name="connsiteY49" fmla="*/ 169684 h 761503"/>
                <a:gd name="connsiteX50" fmla="*/ 251274 w 353555"/>
                <a:gd name="connsiteY50" fmla="*/ 205040 h 761503"/>
                <a:gd name="connsiteX51" fmla="*/ 251274 w 353555"/>
                <a:gd name="connsiteY51" fmla="*/ 240395 h 761503"/>
                <a:gd name="connsiteX52" fmla="*/ 251274 w 353555"/>
                <a:gd name="connsiteY52" fmla="*/ 256713 h 761503"/>
                <a:gd name="connsiteX53" fmla="*/ 253994 w 353555"/>
                <a:gd name="connsiteY53" fmla="*/ 270311 h 761503"/>
                <a:gd name="connsiteX54" fmla="*/ 259433 w 353555"/>
                <a:gd name="connsiteY54" fmla="*/ 343742 h 761503"/>
                <a:gd name="connsiteX55" fmla="*/ 262153 w 353555"/>
                <a:gd name="connsiteY55" fmla="*/ 425332 h 761503"/>
                <a:gd name="connsiteX56" fmla="*/ 264872 w 353555"/>
                <a:gd name="connsiteY56" fmla="*/ 490603 h 761503"/>
                <a:gd name="connsiteX57" fmla="*/ 270312 w 353555"/>
                <a:gd name="connsiteY57" fmla="*/ 564034 h 761503"/>
                <a:gd name="connsiteX58" fmla="*/ 270312 w 353555"/>
                <a:gd name="connsiteY58" fmla="*/ 599390 h 761503"/>
                <a:gd name="connsiteX59" fmla="*/ 270312 w 353555"/>
                <a:gd name="connsiteY59" fmla="*/ 637465 h 761503"/>
                <a:gd name="connsiteX60" fmla="*/ 264872 w 353555"/>
                <a:gd name="connsiteY60" fmla="*/ 670101 h 761503"/>
                <a:gd name="connsiteX61" fmla="*/ 283910 w 353555"/>
                <a:gd name="connsiteY61" fmla="*/ 672820 h 761503"/>
                <a:gd name="connsiteX62" fmla="*/ 283910 w 353555"/>
                <a:gd name="connsiteY62" fmla="*/ 672820 h 761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</a:cxnLst>
              <a:rect l="l" t="t" r="r" b="b"/>
              <a:pathLst>
                <a:path w="353555" h="761503">
                  <a:moveTo>
                    <a:pt x="283910" y="672820"/>
                  </a:moveTo>
                  <a:cubicBezTo>
                    <a:pt x="297508" y="672820"/>
                    <a:pt x="321985" y="672820"/>
                    <a:pt x="321985" y="689138"/>
                  </a:cubicBezTo>
                  <a:cubicBezTo>
                    <a:pt x="321985" y="697297"/>
                    <a:pt x="319265" y="697297"/>
                    <a:pt x="316546" y="705456"/>
                  </a:cubicBezTo>
                  <a:cubicBezTo>
                    <a:pt x="311106" y="710895"/>
                    <a:pt x="305667" y="713615"/>
                    <a:pt x="300228" y="713615"/>
                  </a:cubicBezTo>
                  <a:cubicBezTo>
                    <a:pt x="292069" y="716335"/>
                    <a:pt x="283910" y="716335"/>
                    <a:pt x="278471" y="716335"/>
                  </a:cubicBezTo>
                  <a:cubicBezTo>
                    <a:pt x="275751" y="716335"/>
                    <a:pt x="256713" y="716335"/>
                    <a:pt x="237676" y="716335"/>
                  </a:cubicBezTo>
                  <a:cubicBezTo>
                    <a:pt x="213199" y="716335"/>
                    <a:pt x="186002" y="719054"/>
                    <a:pt x="180563" y="719054"/>
                  </a:cubicBezTo>
                  <a:cubicBezTo>
                    <a:pt x="166965" y="719054"/>
                    <a:pt x="142488" y="719054"/>
                    <a:pt x="126170" y="719054"/>
                  </a:cubicBezTo>
                  <a:cubicBezTo>
                    <a:pt x="118011" y="719054"/>
                    <a:pt x="109852" y="719054"/>
                    <a:pt x="101693" y="719054"/>
                  </a:cubicBezTo>
                  <a:cubicBezTo>
                    <a:pt x="93534" y="719054"/>
                    <a:pt x="82655" y="719054"/>
                    <a:pt x="74496" y="713615"/>
                  </a:cubicBezTo>
                  <a:cubicBezTo>
                    <a:pt x="66337" y="710895"/>
                    <a:pt x="58178" y="702736"/>
                    <a:pt x="58178" y="697297"/>
                  </a:cubicBezTo>
                  <a:cubicBezTo>
                    <a:pt x="58178" y="694578"/>
                    <a:pt x="58178" y="691858"/>
                    <a:pt x="63617" y="689138"/>
                  </a:cubicBezTo>
                  <a:cubicBezTo>
                    <a:pt x="69057" y="686418"/>
                    <a:pt x="79935" y="683699"/>
                    <a:pt x="85375" y="680979"/>
                  </a:cubicBezTo>
                  <a:cubicBezTo>
                    <a:pt x="104412" y="678260"/>
                    <a:pt x="123450" y="675540"/>
                    <a:pt x="131609" y="675540"/>
                  </a:cubicBezTo>
                  <a:cubicBezTo>
                    <a:pt x="134329" y="675540"/>
                    <a:pt x="137048" y="675540"/>
                    <a:pt x="142488" y="675540"/>
                  </a:cubicBezTo>
                  <a:cubicBezTo>
                    <a:pt x="134329" y="670101"/>
                    <a:pt x="131609" y="661942"/>
                    <a:pt x="131609" y="653783"/>
                  </a:cubicBezTo>
                  <a:cubicBezTo>
                    <a:pt x="131609" y="648343"/>
                    <a:pt x="131609" y="642904"/>
                    <a:pt x="128889" y="640184"/>
                  </a:cubicBezTo>
                  <a:cubicBezTo>
                    <a:pt x="128889" y="637465"/>
                    <a:pt x="128889" y="634745"/>
                    <a:pt x="128889" y="629306"/>
                  </a:cubicBezTo>
                  <a:cubicBezTo>
                    <a:pt x="128889" y="626586"/>
                    <a:pt x="128889" y="623867"/>
                    <a:pt x="128889" y="621147"/>
                  </a:cubicBezTo>
                  <a:cubicBezTo>
                    <a:pt x="128889" y="612988"/>
                    <a:pt x="128889" y="604829"/>
                    <a:pt x="128889" y="593950"/>
                  </a:cubicBezTo>
                  <a:cubicBezTo>
                    <a:pt x="128889" y="591231"/>
                    <a:pt x="128889" y="585791"/>
                    <a:pt x="128889" y="583072"/>
                  </a:cubicBezTo>
                  <a:cubicBezTo>
                    <a:pt x="128889" y="534118"/>
                    <a:pt x="131609" y="485164"/>
                    <a:pt x="128889" y="436210"/>
                  </a:cubicBezTo>
                  <a:cubicBezTo>
                    <a:pt x="128889" y="409014"/>
                    <a:pt x="128889" y="384537"/>
                    <a:pt x="128889" y="357340"/>
                  </a:cubicBezTo>
                  <a:cubicBezTo>
                    <a:pt x="128889" y="335583"/>
                    <a:pt x="131609" y="313826"/>
                    <a:pt x="131609" y="289349"/>
                  </a:cubicBezTo>
                  <a:cubicBezTo>
                    <a:pt x="131609" y="275751"/>
                    <a:pt x="131609" y="264872"/>
                    <a:pt x="131609" y="251274"/>
                  </a:cubicBezTo>
                  <a:cubicBezTo>
                    <a:pt x="131609" y="234956"/>
                    <a:pt x="131609" y="221357"/>
                    <a:pt x="131609" y="205040"/>
                  </a:cubicBezTo>
                  <a:cubicBezTo>
                    <a:pt x="131609" y="183282"/>
                    <a:pt x="131609" y="161525"/>
                    <a:pt x="131609" y="139768"/>
                  </a:cubicBezTo>
                  <a:cubicBezTo>
                    <a:pt x="131609" y="137048"/>
                    <a:pt x="131609" y="134329"/>
                    <a:pt x="131609" y="128889"/>
                  </a:cubicBezTo>
                  <a:cubicBezTo>
                    <a:pt x="128889" y="128889"/>
                    <a:pt x="126170" y="128889"/>
                    <a:pt x="126170" y="128889"/>
                  </a:cubicBezTo>
                  <a:cubicBezTo>
                    <a:pt x="118011" y="128889"/>
                    <a:pt x="109852" y="128889"/>
                    <a:pt x="101693" y="128889"/>
                  </a:cubicBezTo>
                  <a:cubicBezTo>
                    <a:pt x="93534" y="128889"/>
                    <a:pt x="82655" y="128889"/>
                    <a:pt x="74496" y="123450"/>
                  </a:cubicBezTo>
                  <a:cubicBezTo>
                    <a:pt x="66337" y="120730"/>
                    <a:pt x="58178" y="112571"/>
                    <a:pt x="58178" y="107132"/>
                  </a:cubicBezTo>
                  <a:cubicBezTo>
                    <a:pt x="58178" y="104412"/>
                    <a:pt x="58178" y="101693"/>
                    <a:pt x="60898" y="98973"/>
                  </a:cubicBezTo>
                  <a:cubicBezTo>
                    <a:pt x="63617" y="96253"/>
                    <a:pt x="77216" y="93534"/>
                    <a:pt x="82655" y="93534"/>
                  </a:cubicBezTo>
                  <a:cubicBezTo>
                    <a:pt x="98973" y="90814"/>
                    <a:pt x="123450" y="88094"/>
                    <a:pt x="131609" y="88094"/>
                  </a:cubicBezTo>
                  <a:cubicBezTo>
                    <a:pt x="131609" y="85375"/>
                    <a:pt x="131609" y="85375"/>
                    <a:pt x="131609" y="82655"/>
                  </a:cubicBezTo>
                  <a:cubicBezTo>
                    <a:pt x="131609" y="77216"/>
                    <a:pt x="131609" y="74496"/>
                    <a:pt x="134329" y="71776"/>
                  </a:cubicBezTo>
                  <a:cubicBezTo>
                    <a:pt x="137048" y="69057"/>
                    <a:pt x="145207" y="66337"/>
                    <a:pt x="147927" y="63617"/>
                  </a:cubicBezTo>
                  <a:cubicBezTo>
                    <a:pt x="153366" y="60898"/>
                    <a:pt x="158806" y="58178"/>
                    <a:pt x="164245" y="58178"/>
                  </a:cubicBezTo>
                  <a:cubicBezTo>
                    <a:pt x="169684" y="58178"/>
                    <a:pt x="175123" y="58178"/>
                    <a:pt x="177843" y="58178"/>
                  </a:cubicBezTo>
                  <a:cubicBezTo>
                    <a:pt x="183283" y="58178"/>
                    <a:pt x="191442" y="58178"/>
                    <a:pt x="196881" y="60898"/>
                  </a:cubicBezTo>
                  <a:cubicBezTo>
                    <a:pt x="213199" y="63617"/>
                    <a:pt x="224077" y="74496"/>
                    <a:pt x="232236" y="88094"/>
                  </a:cubicBezTo>
                  <a:cubicBezTo>
                    <a:pt x="253994" y="88094"/>
                    <a:pt x="270312" y="88094"/>
                    <a:pt x="278471" y="88094"/>
                  </a:cubicBezTo>
                  <a:cubicBezTo>
                    <a:pt x="292069" y="88094"/>
                    <a:pt x="316546" y="88094"/>
                    <a:pt x="316546" y="104412"/>
                  </a:cubicBezTo>
                  <a:cubicBezTo>
                    <a:pt x="316546" y="112571"/>
                    <a:pt x="313826" y="112571"/>
                    <a:pt x="311106" y="120730"/>
                  </a:cubicBezTo>
                  <a:cubicBezTo>
                    <a:pt x="305667" y="126170"/>
                    <a:pt x="300228" y="128889"/>
                    <a:pt x="294788" y="128889"/>
                  </a:cubicBezTo>
                  <a:cubicBezTo>
                    <a:pt x="286630" y="131609"/>
                    <a:pt x="278471" y="131609"/>
                    <a:pt x="273031" y="131609"/>
                  </a:cubicBezTo>
                  <a:cubicBezTo>
                    <a:pt x="270312" y="131609"/>
                    <a:pt x="259433" y="131609"/>
                    <a:pt x="243115" y="131609"/>
                  </a:cubicBezTo>
                  <a:lnTo>
                    <a:pt x="243115" y="134329"/>
                  </a:lnTo>
                  <a:cubicBezTo>
                    <a:pt x="245835" y="145207"/>
                    <a:pt x="245835" y="158805"/>
                    <a:pt x="248554" y="169684"/>
                  </a:cubicBezTo>
                  <a:cubicBezTo>
                    <a:pt x="251274" y="180563"/>
                    <a:pt x="251274" y="194161"/>
                    <a:pt x="251274" y="205040"/>
                  </a:cubicBezTo>
                  <a:cubicBezTo>
                    <a:pt x="251274" y="215918"/>
                    <a:pt x="251274" y="226797"/>
                    <a:pt x="251274" y="240395"/>
                  </a:cubicBezTo>
                  <a:cubicBezTo>
                    <a:pt x="251274" y="245834"/>
                    <a:pt x="251274" y="251274"/>
                    <a:pt x="251274" y="256713"/>
                  </a:cubicBezTo>
                  <a:cubicBezTo>
                    <a:pt x="251274" y="262152"/>
                    <a:pt x="251274" y="267592"/>
                    <a:pt x="253994" y="270311"/>
                  </a:cubicBezTo>
                  <a:cubicBezTo>
                    <a:pt x="256713" y="294788"/>
                    <a:pt x="256713" y="319265"/>
                    <a:pt x="259433" y="343742"/>
                  </a:cubicBezTo>
                  <a:cubicBezTo>
                    <a:pt x="259433" y="370939"/>
                    <a:pt x="262153" y="398135"/>
                    <a:pt x="262153" y="425332"/>
                  </a:cubicBezTo>
                  <a:cubicBezTo>
                    <a:pt x="262153" y="447089"/>
                    <a:pt x="262153" y="468846"/>
                    <a:pt x="264872" y="490603"/>
                  </a:cubicBezTo>
                  <a:cubicBezTo>
                    <a:pt x="264872" y="515080"/>
                    <a:pt x="270312" y="539557"/>
                    <a:pt x="270312" y="564034"/>
                  </a:cubicBezTo>
                  <a:cubicBezTo>
                    <a:pt x="270312" y="574913"/>
                    <a:pt x="270312" y="588511"/>
                    <a:pt x="270312" y="599390"/>
                  </a:cubicBezTo>
                  <a:cubicBezTo>
                    <a:pt x="270312" y="612988"/>
                    <a:pt x="270312" y="623867"/>
                    <a:pt x="270312" y="637465"/>
                  </a:cubicBezTo>
                  <a:cubicBezTo>
                    <a:pt x="270312" y="648343"/>
                    <a:pt x="270312" y="661942"/>
                    <a:pt x="264872" y="670101"/>
                  </a:cubicBezTo>
                  <a:cubicBezTo>
                    <a:pt x="273031" y="672820"/>
                    <a:pt x="278471" y="672820"/>
                    <a:pt x="283910" y="672820"/>
                  </a:cubicBezTo>
                  <a:lnTo>
                    <a:pt x="283910" y="672820"/>
                  </a:ln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/>
            </a:p>
          </p:txBody>
        </p:sp>
        <p:sp>
          <p:nvSpPr>
            <p:cNvPr id="43" name="Freeform: Shape 42">
              <a:extLst>
                <a:ext uri="{FF2B5EF4-FFF2-40B4-BE49-F238E27FC236}">
                  <a16:creationId xmlns:a16="http://schemas.microsoft.com/office/drawing/2014/main" id="{27E45CBE-6678-447C-B516-5E394D02935C}"/>
                </a:ext>
              </a:extLst>
            </p:cNvPr>
            <p:cNvSpPr/>
            <p:nvPr/>
          </p:nvSpPr>
          <p:spPr>
            <a:xfrm>
              <a:off x="4620880" y="4194877"/>
              <a:ext cx="598325" cy="761503"/>
            </a:xfrm>
            <a:custGeom>
              <a:avLst/>
              <a:gdLst>
                <a:gd name="connsiteX0" fmla="*/ 515081 w 598324"/>
                <a:gd name="connsiteY0" fmla="*/ 79935 h 761503"/>
                <a:gd name="connsiteX1" fmla="*/ 542277 w 598324"/>
                <a:gd name="connsiteY1" fmla="*/ 96253 h 761503"/>
                <a:gd name="connsiteX2" fmla="*/ 536838 w 598324"/>
                <a:gd name="connsiteY2" fmla="*/ 112571 h 761503"/>
                <a:gd name="connsiteX3" fmla="*/ 523240 w 598324"/>
                <a:gd name="connsiteY3" fmla="*/ 120730 h 761503"/>
                <a:gd name="connsiteX4" fmla="*/ 506922 w 598324"/>
                <a:gd name="connsiteY4" fmla="*/ 123450 h 761503"/>
                <a:gd name="connsiteX5" fmla="*/ 477006 w 598324"/>
                <a:gd name="connsiteY5" fmla="*/ 123450 h 761503"/>
                <a:gd name="connsiteX6" fmla="*/ 479725 w 598324"/>
                <a:gd name="connsiteY6" fmla="*/ 145207 h 761503"/>
                <a:gd name="connsiteX7" fmla="*/ 477006 w 598324"/>
                <a:gd name="connsiteY7" fmla="*/ 180563 h 761503"/>
                <a:gd name="connsiteX8" fmla="*/ 482445 w 598324"/>
                <a:gd name="connsiteY8" fmla="*/ 232236 h 761503"/>
                <a:gd name="connsiteX9" fmla="*/ 485165 w 598324"/>
                <a:gd name="connsiteY9" fmla="*/ 283909 h 761503"/>
                <a:gd name="connsiteX10" fmla="*/ 485165 w 598324"/>
                <a:gd name="connsiteY10" fmla="*/ 327424 h 761503"/>
                <a:gd name="connsiteX11" fmla="*/ 487884 w 598324"/>
                <a:gd name="connsiteY11" fmla="*/ 373658 h 761503"/>
                <a:gd name="connsiteX12" fmla="*/ 485165 w 598324"/>
                <a:gd name="connsiteY12" fmla="*/ 419892 h 761503"/>
                <a:gd name="connsiteX13" fmla="*/ 485165 w 598324"/>
                <a:gd name="connsiteY13" fmla="*/ 463407 h 761503"/>
                <a:gd name="connsiteX14" fmla="*/ 482445 w 598324"/>
                <a:gd name="connsiteY14" fmla="*/ 515080 h 761503"/>
                <a:gd name="connsiteX15" fmla="*/ 482445 w 598324"/>
                <a:gd name="connsiteY15" fmla="*/ 558595 h 761503"/>
                <a:gd name="connsiteX16" fmla="*/ 479725 w 598324"/>
                <a:gd name="connsiteY16" fmla="*/ 602109 h 761503"/>
                <a:gd name="connsiteX17" fmla="*/ 485165 w 598324"/>
                <a:gd name="connsiteY17" fmla="*/ 648343 h 761503"/>
                <a:gd name="connsiteX18" fmla="*/ 474286 w 598324"/>
                <a:gd name="connsiteY18" fmla="*/ 675540 h 761503"/>
                <a:gd name="connsiteX19" fmla="*/ 428052 w 598324"/>
                <a:gd name="connsiteY19" fmla="*/ 691858 h 761503"/>
                <a:gd name="connsiteX20" fmla="*/ 387257 w 598324"/>
                <a:gd name="connsiteY20" fmla="*/ 683699 h 761503"/>
                <a:gd name="connsiteX21" fmla="*/ 351901 w 598324"/>
                <a:gd name="connsiteY21" fmla="*/ 664661 h 761503"/>
                <a:gd name="connsiteX22" fmla="*/ 305667 w 598324"/>
                <a:gd name="connsiteY22" fmla="*/ 596670 h 761503"/>
                <a:gd name="connsiteX23" fmla="*/ 270312 w 598324"/>
                <a:gd name="connsiteY23" fmla="*/ 509641 h 761503"/>
                <a:gd name="connsiteX24" fmla="*/ 251274 w 598324"/>
                <a:gd name="connsiteY24" fmla="*/ 460687 h 761503"/>
                <a:gd name="connsiteX25" fmla="*/ 224077 w 598324"/>
                <a:gd name="connsiteY25" fmla="*/ 381817 h 761503"/>
                <a:gd name="connsiteX26" fmla="*/ 207759 w 598324"/>
                <a:gd name="connsiteY26" fmla="*/ 330144 h 761503"/>
                <a:gd name="connsiteX27" fmla="*/ 191442 w 598324"/>
                <a:gd name="connsiteY27" fmla="*/ 286629 h 761503"/>
                <a:gd name="connsiteX28" fmla="*/ 183283 w 598324"/>
                <a:gd name="connsiteY28" fmla="*/ 278470 h 761503"/>
                <a:gd name="connsiteX29" fmla="*/ 180563 w 598324"/>
                <a:gd name="connsiteY29" fmla="*/ 292068 h 761503"/>
                <a:gd name="connsiteX30" fmla="*/ 180563 w 598324"/>
                <a:gd name="connsiteY30" fmla="*/ 305667 h 761503"/>
                <a:gd name="connsiteX31" fmla="*/ 183283 w 598324"/>
                <a:gd name="connsiteY31" fmla="*/ 354620 h 761503"/>
                <a:gd name="connsiteX32" fmla="*/ 188722 w 598324"/>
                <a:gd name="connsiteY32" fmla="*/ 449808 h 761503"/>
                <a:gd name="connsiteX33" fmla="*/ 188722 w 598324"/>
                <a:gd name="connsiteY33" fmla="*/ 479725 h 761503"/>
                <a:gd name="connsiteX34" fmla="*/ 188722 w 598324"/>
                <a:gd name="connsiteY34" fmla="*/ 542277 h 761503"/>
                <a:gd name="connsiteX35" fmla="*/ 186002 w 598324"/>
                <a:gd name="connsiteY35" fmla="*/ 615708 h 761503"/>
                <a:gd name="connsiteX36" fmla="*/ 186002 w 598324"/>
                <a:gd name="connsiteY36" fmla="*/ 637465 h 761503"/>
                <a:gd name="connsiteX37" fmla="*/ 183283 w 598324"/>
                <a:gd name="connsiteY37" fmla="*/ 664661 h 761503"/>
                <a:gd name="connsiteX38" fmla="*/ 226797 w 598324"/>
                <a:gd name="connsiteY38" fmla="*/ 664661 h 761503"/>
                <a:gd name="connsiteX39" fmla="*/ 253994 w 598324"/>
                <a:gd name="connsiteY39" fmla="*/ 680979 h 761503"/>
                <a:gd name="connsiteX40" fmla="*/ 248554 w 598324"/>
                <a:gd name="connsiteY40" fmla="*/ 697297 h 761503"/>
                <a:gd name="connsiteX41" fmla="*/ 234956 w 598324"/>
                <a:gd name="connsiteY41" fmla="*/ 705456 h 761503"/>
                <a:gd name="connsiteX42" fmla="*/ 218638 w 598324"/>
                <a:gd name="connsiteY42" fmla="*/ 708176 h 761503"/>
                <a:gd name="connsiteX43" fmla="*/ 183283 w 598324"/>
                <a:gd name="connsiteY43" fmla="*/ 708176 h 761503"/>
                <a:gd name="connsiteX44" fmla="*/ 150647 w 598324"/>
                <a:gd name="connsiteY44" fmla="*/ 708176 h 761503"/>
                <a:gd name="connsiteX45" fmla="*/ 107132 w 598324"/>
                <a:gd name="connsiteY45" fmla="*/ 708176 h 761503"/>
                <a:gd name="connsiteX46" fmla="*/ 88094 w 598324"/>
                <a:gd name="connsiteY46" fmla="*/ 708176 h 761503"/>
                <a:gd name="connsiteX47" fmla="*/ 69057 w 598324"/>
                <a:gd name="connsiteY47" fmla="*/ 702736 h 761503"/>
                <a:gd name="connsiteX48" fmla="*/ 58178 w 598324"/>
                <a:gd name="connsiteY48" fmla="*/ 686418 h 761503"/>
                <a:gd name="connsiteX49" fmla="*/ 60898 w 598324"/>
                <a:gd name="connsiteY49" fmla="*/ 678259 h 761503"/>
                <a:gd name="connsiteX50" fmla="*/ 77216 w 598324"/>
                <a:gd name="connsiteY50" fmla="*/ 670101 h 761503"/>
                <a:gd name="connsiteX51" fmla="*/ 120730 w 598324"/>
                <a:gd name="connsiteY51" fmla="*/ 664661 h 761503"/>
                <a:gd name="connsiteX52" fmla="*/ 131609 w 598324"/>
                <a:gd name="connsiteY52" fmla="*/ 664661 h 761503"/>
                <a:gd name="connsiteX53" fmla="*/ 134329 w 598324"/>
                <a:gd name="connsiteY53" fmla="*/ 539557 h 761503"/>
                <a:gd name="connsiteX54" fmla="*/ 134329 w 598324"/>
                <a:gd name="connsiteY54" fmla="*/ 504201 h 761503"/>
                <a:gd name="connsiteX55" fmla="*/ 131609 w 598324"/>
                <a:gd name="connsiteY55" fmla="*/ 376378 h 761503"/>
                <a:gd name="connsiteX56" fmla="*/ 131609 w 598324"/>
                <a:gd name="connsiteY56" fmla="*/ 302947 h 761503"/>
                <a:gd name="connsiteX57" fmla="*/ 134329 w 598324"/>
                <a:gd name="connsiteY57" fmla="*/ 221357 h 761503"/>
                <a:gd name="connsiteX58" fmla="*/ 137048 w 598324"/>
                <a:gd name="connsiteY58" fmla="*/ 123450 h 761503"/>
                <a:gd name="connsiteX59" fmla="*/ 107132 w 598324"/>
                <a:gd name="connsiteY59" fmla="*/ 123450 h 761503"/>
                <a:gd name="connsiteX60" fmla="*/ 88094 w 598324"/>
                <a:gd name="connsiteY60" fmla="*/ 123450 h 761503"/>
                <a:gd name="connsiteX61" fmla="*/ 69057 w 598324"/>
                <a:gd name="connsiteY61" fmla="*/ 118011 h 761503"/>
                <a:gd name="connsiteX62" fmla="*/ 58178 w 598324"/>
                <a:gd name="connsiteY62" fmla="*/ 101693 h 761503"/>
                <a:gd name="connsiteX63" fmla="*/ 60898 w 598324"/>
                <a:gd name="connsiteY63" fmla="*/ 93534 h 761503"/>
                <a:gd name="connsiteX64" fmla="*/ 77216 w 598324"/>
                <a:gd name="connsiteY64" fmla="*/ 85375 h 761503"/>
                <a:gd name="connsiteX65" fmla="*/ 131609 w 598324"/>
                <a:gd name="connsiteY65" fmla="*/ 79935 h 761503"/>
                <a:gd name="connsiteX66" fmla="*/ 161525 w 598324"/>
                <a:gd name="connsiteY66" fmla="*/ 79935 h 761503"/>
                <a:gd name="connsiteX67" fmla="*/ 177843 w 598324"/>
                <a:gd name="connsiteY67" fmla="*/ 66337 h 761503"/>
                <a:gd name="connsiteX68" fmla="*/ 202320 w 598324"/>
                <a:gd name="connsiteY68" fmla="*/ 58178 h 761503"/>
                <a:gd name="connsiteX69" fmla="*/ 234956 w 598324"/>
                <a:gd name="connsiteY69" fmla="*/ 77216 h 761503"/>
                <a:gd name="connsiteX70" fmla="*/ 251274 w 598324"/>
                <a:gd name="connsiteY70" fmla="*/ 107132 h 761503"/>
                <a:gd name="connsiteX71" fmla="*/ 267592 w 598324"/>
                <a:gd name="connsiteY71" fmla="*/ 147927 h 761503"/>
                <a:gd name="connsiteX72" fmla="*/ 281190 w 598324"/>
                <a:gd name="connsiteY72" fmla="*/ 183282 h 761503"/>
                <a:gd name="connsiteX73" fmla="*/ 297508 w 598324"/>
                <a:gd name="connsiteY73" fmla="*/ 224077 h 761503"/>
                <a:gd name="connsiteX74" fmla="*/ 308387 w 598324"/>
                <a:gd name="connsiteY74" fmla="*/ 264872 h 761503"/>
                <a:gd name="connsiteX75" fmla="*/ 319265 w 598324"/>
                <a:gd name="connsiteY75" fmla="*/ 300227 h 761503"/>
                <a:gd name="connsiteX76" fmla="*/ 351901 w 598324"/>
                <a:gd name="connsiteY76" fmla="*/ 379097 h 761503"/>
                <a:gd name="connsiteX77" fmla="*/ 365500 w 598324"/>
                <a:gd name="connsiteY77" fmla="*/ 417173 h 761503"/>
                <a:gd name="connsiteX78" fmla="*/ 379098 w 598324"/>
                <a:gd name="connsiteY78" fmla="*/ 457967 h 761503"/>
                <a:gd name="connsiteX79" fmla="*/ 395416 w 598324"/>
                <a:gd name="connsiteY79" fmla="*/ 496043 h 761503"/>
                <a:gd name="connsiteX80" fmla="*/ 406294 w 598324"/>
                <a:gd name="connsiteY80" fmla="*/ 512361 h 761503"/>
                <a:gd name="connsiteX81" fmla="*/ 411734 w 598324"/>
                <a:gd name="connsiteY81" fmla="*/ 531398 h 761503"/>
                <a:gd name="connsiteX82" fmla="*/ 419893 w 598324"/>
                <a:gd name="connsiteY82" fmla="*/ 558595 h 761503"/>
                <a:gd name="connsiteX83" fmla="*/ 425332 w 598324"/>
                <a:gd name="connsiteY83" fmla="*/ 564034 h 761503"/>
                <a:gd name="connsiteX84" fmla="*/ 430771 w 598324"/>
                <a:gd name="connsiteY84" fmla="*/ 558595 h 761503"/>
                <a:gd name="connsiteX85" fmla="*/ 430771 w 598324"/>
                <a:gd name="connsiteY85" fmla="*/ 550436 h 761503"/>
                <a:gd name="connsiteX86" fmla="*/ 430771 w 598324"/>
                <a:gd name="connsiteY86" fmla="*/ 501482 h 761503"/>
                <a:gd name="connsiteX87" fmla="*/ 430771 w 598324"/>
                <a:gd name="connsiteY87" fmla="*/ 403574 h 761503"/>
                <a:gd name="connsiteX88" fmla="*/ 425332 w 598324"/>
                <a:gd name="connsiteY88" fmla="*/ 313826 h 761503"/>
                <a:gd name="connsiteX89" fmla="*/ 425332 w 598324"/>
                <a:gd name="connsiteY89" fmla="*/ 248554 h 761503"/>
                <a:gd name="connsiteX90" fmla="*/ 425332 w 598324"/>
                <a:gd name="connsiteY90" fmla="*/ 210479 h 761503"/>
                <a:gd name="connsiteX91" fmla="*/ 422613 w 598324"/>
                <a:gd name="connsiteY91" fmla="*/ 153366 h 761503"/>
                <a:gd name="connsiteX92" fmla="*/ 425332 w 598324"/>
                <a:gd name="connsiteY92" fmla="*/ 123450 h 761503"/>
                <a:gd name="connsiteX93" fmla="*/ 398136 w 598324"/>
                <a:gd name="connsiteY93" fmla="*/ 123450 h 761503"/>
                <a:gd name="connsiteX94" fmla="*/ 379098 w 598324"/>
                <a:gd name="connsiteY94" fmla="*/ 123450 h 761503"/>
                <a:gd name="connsiteX95" fmla="*/ 360060 w 598324"/>
                <a:gd name="connsiteY95" fmla="*/ 118011 h 761503"/>
                <a:gd name="connsiteX96" fmla="*/ 349182 w 598324"/>
                <a:gd name="connsiteY96" fmla="*/ 101693 h 761503"/>
                <a:gd name="connsiteX97" fmla="*/ 351901 w 598324"/>
                <a:gd name="connsiteY97" fmla="*/ 93534 h 761503"/>
                <a:gd name="connsiteX98" fmla="*/ 368219 w 598324"/>
                <a:gd name="connsiteY98" fmla="*/ 85375 h 761503"/>
                <a:gd name="connsiteX99" fmla="*/ 422613 w 598324"/>
                <a:gd name="connsiteY99" fmla="*/ 79935 h 761503"/>
                <a:gd name="connsiteX100" fmla="*/ 444370 w 598324"/>
                <a:gd name="connsiteY100" fmla="*/ 79935 h 761503"/>
                <a:gd name="connsiteX101" fmla="*/ 463407 w 598324"/>
                <a:gd name="connsiteY101" fmla="*/ 71776 h 761503"/>
                <a:gd name="connsiteX102" fmla="*/ 477006 w 598324"/>
                <a:gd name="connsiteY102" fmla="*/ 79935 h 761503"/>
                <a:gd name="connsiteX103" fmla="*/ 515081 w 598324"/>
                <a:gd name="connsiteY103" fmla="*/ 79935 h 761503"/>
                <a:gd name="connsiteX104" fmla="*/ 515081 w 598324"/>
                <a:gd name="connsiteY104" fmla="*/ 79935 h 761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</a:cxnLst>
              <a:rect l="l" t="t" r="r" b="b"/>
              <a:pathLst>
                <a:path w="598324" h="761503">
                  <a:moveTo>
                    <a:pt x="515081" y="79935"/>
                  </a:moveTo>
                  <a:cubicBezTo>
                    <a:pt x="523240" y="79935"/>
                    <a:pt x="542277" y="79935"/>
                    <a:pt x="542277" y="96253"/>
                  </a:cubicBezTo>
                  <a:cubicBezTo>
                    <a:pt x="542277" y="104412"/>
                    <a:pt x="542277" y="107132"/>
                    <a:pt x="536838" y="112571"/>
                  </a:cubicBezTo>
                  <a:cubicBezTo>
                    <a:pt x="534119" y="118011"/>
                    <a:pt x="528679" y="120730"/>
                    <a:pt x="523240" y="120730"/>
                  </a:cubicBezTo>
                  <a:cubicBezTo>
                    <a:pt x="515081" y="123450"/>
                    <a:pt x="512361" y="123450"/>
                    <a:pt x="506922" y="123450"/>
                  </a:cubicBezTo>
                  <a:cubicBezTo>
                    <a:pt x="504202" y="123450"/>
                    <a:pt x="490604" y="123450"/>
                    <a:pt x="477006" y="123450"/>
                  </a:cubicBezTo>
                  <a:cubicBezTo>
                    <a:pt x="477006" y="131609"/>
                    <a:pt x="479725" y="137048"/>
                    <a:pt x="479725" y="145207"/>
                  </a:cubicBezTo>
                  <a:cubicBezTo>
                    <a:pt x="479725" y="156086"/>
                    <a:pt x="477006" y="166964"/>
                    <a:pt x="477006" y="180563"/>
                  </a:cubicBezTo>
                  <a:cubicBezTo>
                    <a:pt x="477006" y="196881"/>
                    <a:pt x="479725" y="215918"/>
                    <a:pt x="482445" y="232236"/>
                  </a:cubicBezTo>
                  <a:cubicBezTo>
                    <a:pt x="485165" y="248554"/>
                    <a:pt x="485165" y="267592"/>
                    <a:pt x="485165" y="283909"/>
                  </a:cubicBezTo>
                  <a:cubicBezTo>
                    <a:pt x="485165" y="297508"/>
                    <a:pt x="485165" y="313826"/>
                    <a:pt x="485165" y="327424"/>
                  </a:cubicBezTo>
                  <a:cubicBezTo>
                    <a:pt x="485165" y="343742"/>
                    <a:pt x="487884" y="357340"/>
                    <a:pt x="487884" y="373658"/>
                  </a:cubicBezTo>
                  <a:cubicBezTo>
                    <a:pt x="487884" y="389976"/>
                    <a:pt x="485165" y="403574"/>
                    <a:pt x="485165" y="419892"/>
                  </a:cubicBezTo>
                  <a:cubicBezTo>
                    <a:pt x="485165" y="436210"/>
                    <a:pt x="485165" y="449808"/>
                    <a:pt x="485165" y="463407"/>
                  </a:cubicBezTo>
                  <a:cubicBezTo>
                    <a:pt x="485165" y="479725"/>
                    <a:pt x="485165" y="498762"/>
                    <a:pt x="482445" y="515080"/>
                  </a:cubicBezTo>
                  <a:cubicBezTo>
                    <a:pt x="482445" y="528678"/>
                    <a:pt x="482445" y="542277"/>
                    <a:pt x="482445" y="558595"/>
                  </a:cubicBezTo>
                  <a:cubicBezTo>
                    <a:pt x="482445" y="572193"/>
                    <a:pt x="479725" y="588511"/>
                    <a:pt x="479725" y="602109"/>
                  </a:cubicBezTo>
                  <a:cubicBezTo>
                    <a:pt x="479725" y="615708"/>
                    <a:pt x="485165" y="632025"/>
                    <a:pt x="485165" y="648343"/>
                  </a:cubicBezTo>
                  <a:cubicBezTo>
                    <a:pt x="485165" y="659222"/>
                    <a:pt x="482445" y="670101"/>
                    <a:pt x="474286" y="675540"/>
                  </a:cubicBezTo>
                  <a:cubicBezTo>
                    <a:pt x="460688" y="686418"/>
                    <a:pt x="444370" y="691858"/>
                    <a:pt x="428052" y="691858"/>
                  </a:cubicBezTo>
                  <a:cubicBezTo>
                    <a:pt x="414453" y="691858"/>
                    <a:pt x="400855" y="689138"/>
                    <a:pt x="387257" y="683699"/>
                  </a:cubicBezTo>
                  <a:cubicBezTo>
                    <a:pt x="373659" y="678259"/>
                    <a:pt x="360060" y="672820"/>
                    <a:pt x="351901" y="664661"/>
                  </a:cubicBezTo>
                  <a:cubicBezTo>
                    <a:pt x="330144" y="645624"/>
                    <a:pt x="316546" y="621147"/>
                    <a:pt x="305667" y="596670"/>
                  </a:cubicBezTo>
                  <a:cubicBezTo>
                    <a:pt x="292069" y="569473"/>
                    <a:pt x="281190" y="539557"/>
                    <a:pt x="270312" y="509641"/>
                  </a:cubicBezTo>
                  <a:cubicBezTo>
                    <a:pt x="264872" y="493323"/>
                    <a:pt x="256713" y="477005"/>
                    <a:pt x="251274" y="460687"/>
                  </a:cubicBezTo>
                  <a:cubicBezTo>
                    <a:pt x="240395" y="433490"/>
                    <a:pt x="232236" y="409014"/>
                    <a:pt x="224077" y="381817"/>
                  </a:cubicBezTo>
                  <a:cubicBezTo>
                    <a:pt x="218638" y="365499"/>
                    <a:pt x="213199" y="346462"/>
                    <a:pt x="207759" y="330144"/>
                  </a:cubicBezTo>
                  <a:cubicBezTo>
                    <a:pt x="202320" y="316545"/>
                    <a:pt x="196881" y="300227"/>
                    <a:pt x="191442" y="286629"/>
                  </a:cubicBezTo>
                  <a:cubicBezTo>
                    <a:pt x="188722" y="281190"/>
                    <a:pt x="186002" y="278470"/>
                    <a:pt x="183283" y="278470"/>
                  </a:cubicBezTo>
                  <a:cubicBezTo>
                    <a:pt x="180563" y="278470"/>
                    <a:pt x="180563" y="286629"/>
                    <a:pt x="180563" y="292068"/>
                  </a:cubicBezTo>
                  <a:cubicBezTo>
                    <a:pt x="180563" y="297508"/>
                    <a:pt x="180563" y="302947"/>
                    <a:pt x="180563" y="305667"/>
                  </a:cubicBezTo>
                  <a:cubicBezTo>
                    <a:pt x="180563" y="321985"/>
                    <a:pt x="183283" y="338303"/>
                    <a:pt x="183283" y="354620"/>
                  </a:cubicBezTo>
                  <a:cubicBezTo>
                    <a:pt x="183283" y="387256"/>
                    <a:pt x="186002" y="417173"/>
                    <a:pt x="188722" y="449808"/>
                  </a:cubicBezTo>
                  <a:cubicBezTo>
                    <a:pt x="188722" y="460687"/>
                    <a:pt x="188722" y="468846"/>
                    <a:pt x="188722" y="479725"/>
                  </a:cubicBezTo>
                  <a:cubicBezTo>
                    <a:pt x="188722" y="501482"/>
                    <a:pt x="188722" y="523239"/>
                    <a:pt x="188722" y="542277"/>
                  </a:cubicBezTo>
                  <a:cubicBezTo>
                    <a:pt x="188722" y="566754"/>
                    <a:pt x="186002" y="591231"/>
                    <a:pt x="186002" y="615708"/>
                  </a:cubicBezTo>
                  <a:cubicBezTo>
                    <a:pt x="186002" y="623866"/>
                    <a:pt x="186002" y="632025"/>
                    <a:pt x="186002" y="637465"/>
                  </a:cubicBezTo>
                  <a:cubicBezTo>
                    <a:pt x="186002" y="645624"/>
                    <a:pt x="183283" y="656502"/>
                    <a:pt x="183283" y="664661"/>
                  </a:cubicBezTo>
                  <a:cubicBezTo>
                    <a:pt x="202320" y="664661"/>
                    <a:pt x="218638" y="664661"/>
                    <a:pt x="226797" y="664661"/>
                  </a:cubicBezTo>
                  <a:cubicBezTo>
                    <a:pt x="234956" y="664661"/>
                    <a:pt x="253994" y="664661"/>
                    <a:pt x="253994" y="680979"/>
                  </a:cubicBezTo>
                  <a:cubicBezTo>
                    <a:pt x="253994" y="689138"/>
                    <a:pt x="253994" y="691858"/>
                    <a:pt x="248554" y="697297"/>
                  </a:cubicBezTo>
                  <a:cubicBezTo>
                    <a:pt x="245835" y="702736"/>
                    <a:pt x="240395" y="705456"/>
                    <a:pt x="234956" y="705456"/>
                  </a:cubicBezTo>
                  <a:cubicBezTo>
                    <a:pt x="226797" y="708176"/>
                    <a:pt x="224077" y="708176"/>
                    <a:pt x="218638" y="708176"/>
                  </a:cubicBezTo>
                  <a:cubicBezTo>
                    <a:pt x="215918" y="708176"/>
                    <a:pt x="199600" y="708176"/>
                    <a:pt x="183283" y="708176"/>
                  </a:cubicBezTo>
                  <a:cubicBezTo>
                    <a:pt x="166965" y="708176"/>
                    <a:pt x="153366" y="708176"/>
                    <a:pt x="150647" y="708176"/>
                  </a:cubicBezTo>
                  <a:cubicBezTo>
                    <a:pt x="139768" y="708176"/>
                    <a:pt x="120730" y="708176"/>
                    <a:pt x="107132" y="708176"/>
                  </a:cubicBezTo>
                  <a:cubicBezTo>
                    <a:pt x="101693" y="708176"/>
                    <a:pt x="96254" y="708176"/>
                    <a:pt x="88094" y="708176"/>
                  </a:cubicBezTo>
                  <a:cubicBezTo>
                    <a:pt x="82655" y="708176"/>
                    <a:pt x="74496" y="708176"/>
                    <a:pt x="69057" y="702736"/>
                  </a:cubicBezTo>
                  <a:cubicBezTo>
                    <a:pt x="63617" y="700017"/>
                    <a:pt x="58178" y="691858"/>
                    <a:pt x="58178" y="686418"/>
                  </a:cubicBezTo>
                  <a:cubicBezTo>
                    <a:pt x="58178" y="683699"/>
                    <a:pt x="58178" y="680979"/>
                    <a:pt x="60898" y="678259"/>
                  </a:cubicBezTo>
                  <a:cubicBezTo>
                    <a:pt x="63617" y="675540"/>
                    <a:pt x="71777" y="672820"/>
                    <a:pt x="77216" y="670101"/>
                  </a:cubicBezTo>
                  <a:cubicBezTo>
                    <a:pt x="90814" y="667381"/>
                    <a:pt x="115291" y="664661"/>
                    <a:pt x="120730" y="664661"/>
                  </a:cubicBezTo>
                  <a:cubicBezTo>
                    <a:pt x="123450" y="664661"/>
                    <a:pt x="126170" y="664661"/>
                    <a:pt x="131609" y="664661"/>
                  </a:cubicBezTo>
                  <a:cubicBezTo>
                    <a:pt x="131609" y="623866"/>
                    <a:pt x="134329" y="583072"/>
                    <a:pt x="134329" y="539557"/>
                  </a:cubicBezTo>
                  <a:cubicBezTo>
                    <a:pt x="134329" y="528678"/>
                    <a:pt x="134329" y="515080"/>
                    <a:pt x="134329" y="504201"/>
                  </a:cubicBezTo>
                  <a:cubicBezTo>
                    <a:pt x="131609" y="460687"/>
                    <a:pt x="131609" y="417173"/>
                    <a:pt x="131609" y="376378"/>
                  </a:cubicBezTo>
                  <a:cubicBezTo>
                    <a:pt x="131609" y="351901"/>
                    <a:pt x="131609" y="327424"/>
                    <a:pt x="131609" y="302947"/>
                  </a:cubicBezTo>
                  <a:cubicBezTo>
                    <a:pt x="131609" y="275751"/>
                    <a:pt x="131609" y="248554"/>
                    <a:pt x="134329" y="221357"/>
                  </a:cubicBezTo>
                  <a:cubicBezTo>
                    <a:pt x="134329" y="188722"/>
                    <a:pt x="137048" y="156086"/>
                    <a:pt x="137048" y="123450"/>
                  </a:cubicBezTo>
                  <a:cubicBezTo>
                    <a:pt x="126170" y="123450"/>
                    <a:pt x="115291" y="123450"/>
                    <a:pt x="107132" y="123450"/>
                  </a:cubicBezTo>
                  <a:cubicBezTo>
                    <a:pt x="101693" y="123450"/>
                    <a:pt x="96254" y="123450"/>
                    <a:pt x="88094" y="123450"/>
                  </a:cubicBezTo>
                  <a:cubicBezTo>
                    <a:pt x="82655" y="123450"/>
                    <a:pt x="74496" y="120730"/>
                    <a:pt x="69057" y="118011"/>
                  </a:cubicBezTo>
                  <a:cubicBezTo>
                    <a:pt x="63617" y="115291"/>
                    <a:pt x="58178" y="107132"/>
                    <a:pt x="58178" y="101693"/>
                  </a:cubicBezTo>
                  <a:cubicBezTo>
                    <a:pt x="58178" y="98973"/>
                    <a:pt x="58178" y="96253"/>
                    <a:pt x="60898" y="93534"/>
                  </a:cubicBezTo>
                  <a:cubicBezTo>
                    <a:pt x="63617" y="90814"/>
                    <a:pt x="71777" y="88094"/>
                    <a:pt x="77216" y="85375"/>
                  </a:cubicBezTo>
                  <a:cubicBezTo>
                    <a:pt x="90814" y="82655"/>
                    <a:pt x="126170" y="79935"/>
                    <a:pt x="131609" y="79935"/>
                  </a:cubicBezTo>
                  <a:cubicBezTo>
                    <a:pt x="137048" y="79935"/>
                    <a:pt x="147927" y="79935"/>
                    <a:pt x="161525" y="79935"/>
                  </a:cubicBezTo>
                  <a:cubicBezTo>
                    <a:pt x="166965" y="74496"/>
                    <a:pt x="172404" y="71776"/>
                    <a:pt x="177843" y="66337"/>
                  </a:cubicBezTo>
                  <a:cubicBezTo>
                    <a:pt x="186002" y="60898"/>
                    <a:pt x="194161" y="58178"/>
                    <a:pt x="202320" y="58178"/>
                  </a:cubicBezTo>
                  <a:cubicBezTo>
                    <a:pt x="215918" y="58178"/>
                    <a:pt x="226797" y="63617"/>
                    <a:pt x="234956" y="77216"/>
                  </a:cubicBezTo>
                  <a:cubicBezTo>
                    <a:pt x="240395" y="88094"/>
                    <a:pt x="248554" y="96253"/>
                    <a:pt x="251274" y="107132"/>
                  </a:cubicBezTo>
                  <a:cubicBezTo>
                    <a:pt x="256713" y="120730"/>
                    <a:pt x="259433" y="134328"/>
                    <a:pt x="267592" y="147927"/>
                  </a:cubicBezTo>
                  <a:cubicBezTo>
                    <a:pt x="273031" y="158805"/>
                    <a:pt x="275751" y="172404"/>
                    <a:pt x="281190" y="183282"/>
                  </a:cubicBezTo>
                  <a:cubicBezTo>
                    <a:pt x="286630" y="196881"/>
                    <a:pt x="292069" y="210479"/>
                    <a:pt x="297508" y="224077"/>
                  </a:cubicBezTo>
                  <a:cubicBezTo>
                    <a:pt x="300228" y="237675"/>
                    <a:pt x="305667" y="251274"/>
                    <a:pt x="308387" y="264872"/>
                  </a:cubicBezTo>
                  <a:cubicBezTo>
                    <a:pt x="311106" y="278470"/>
                    <a:pt x="311106" y="289349"/>
                    <a:pt x="319265" y="300227"/>
                  </a:cubicBezTo>
                  <a:cubicBezTo>
                    <a:pt x="332864" y="324704"/>
                    <a:pt x="346462" y="351901"/>
                    <a:pt x="351901" y="379097"/>
                  </a:cubicBezTo>
                  <a:cubicBezTo>
                    <a:pt x="354621" y="392696"/>
                    <a:pt x="360060" y="403574"/>
                    <a:pt x="365500" y="417173"/>
                  </a:cubicBezTo>
                  <a:cubicBezTo>
                    <a:pt x="373659" y="430771"/>
                    <a:pt x="373659" y="444369"/>
                    <a:pt x="379098" y="457967"/>
                  </a:cubicBezTo>
                  <a:cubicBezTo>
                    <a:pt x="381818" y="471566"/>
                    <a:pt x="387257" y="482444"/>
                    <a:pt x="395416" y="496043"/>
                  </a:cubicBezTo>
                  <a:cubicBezTo>
                    <a:pt x="398136" y="501482"/>
                    <a:pt x="403575" y="506921"/>
                    <a:pt x="406294" y="512361"/>
                  </a:cubicBezTo>
                  <a:cubicBezTo>
                    <a:pt x="409014" y="517800"/>
                    <a:pt x="409014" y="525959"/>
                    <a:pt x="411734" y="531398"/>
                  </a:cubicBezTo>
                  <a:cubicBezTo>
                    <a:pt x="414453" y="539557"/>
                    <a:pt x="417173" y="550436"/>
                    <a:pt x="419893" y="558595"/>
                  </a:cubicBezTo>
                  <a:cubicBezTo>
                    <a:pt x="422613" y="561314"/>
                    <a:pt x="422613" y="564034"/>
                    <a:pt x="425332" y="564034"/>
                  </a:cubicBezTo>
                  <a:cubicBezTo>
                    <a:pt x="428052" y="564034"/>
                    <a:pt x="428052" y="561314"/>
                    <a:pt x="430771" y="558595"/>
                  </a:cubicBezTo>
                  <a:cubicBezTo>
                    <a:pt x="430771" y="555875"/>
                    <a:pt x="430771" y="553155"/>
                    <a:pt x="430771" y="550436"/>
                  </a:cubicBezTo>
                  <a:cubicBezTo>
                    <a:pt x="430771" y="534118"/>
                    <a:pt x="430771" y="517800"/>
                    <a:pt x="430771" y="501482"/>
                  </a:cubicBezTo>
                  <a:cubicBezTo>
                    <a:pt x="430771" y="468846"/>
                    <a:pt x="433491" y="436210"/>
                    <a:pt x="430771" y="403574"/>
                  </a:cubicBezTo>
                  <a:cubicBezTo>
                    <a:pt x="430771" y="373658"/>
                    <a:pt x="425332" y="343742"/>
                    <a:pt x="425332" y="313826"/>
                  </a:cubicBezTo>
                  <a:cubicBezTo>
                    <a:pt x="425332" y="292068"/>
                    <a:pt x="425332" y="270311"/>
                    <a:pt x="425332" y="248554"/>
                  </a:cubicBezTo>
                  <a:cubicBezTo>
                    <a:pt x="425332" y="234956"/>
                    <a:pt x="425332" y="224077"/>
                    <a:pt x="425332" y="210479"/>
                  </a:cubicBezTo>
                  <a:cubicBezTo>
                    <a:pt x="425332" y="191441"/>
                    <a:pt x="422613" y="172404"/>
                    <a:pt x="422613" y="153366"/>
                  </a:cubicBezTo>
                  <a:cubicBezTo>
                    <a:pt x="422613" y="142487"/>
                    <a:pt x="422613" y="134328"/>
                    <a:pt x="425332" y="123450"/>
                  </a:cubicBezTo>
                  <a:cubicBezTo>
                    <a:pt x="417173" y="123450"/>
                    <a:pt x="406294" y="123450"/>
                    <a:pt x="398136" y="123450"/>
                  </a:cubicBezTo>
                  <a:cubicBezTo>
                    <a:pt x="392696" y="123450"/>
                    <a:pt x="387257" y="123450"/>
                    <a:pt x="379098" y="123450"/>
                  </a:cubicBezTo>
                  <a:cubicBezTo>
                    <a:pt x="373659" y="123450"/>
                    <a:pt x="365500" y="120730"/>
                    <a:pt x="360060" y="118011"/>
                  </a:cubicBezTo>
                  <a:cubicBezTo>
                    <a:pt x="354621" y="115291"/>
                    <a:pt x="349182" y="107132"/>
                    <a:pt x="349182" y="101693"/>
                  </a:cubicBezTo>
                  <a:cubicBezTo>
                    <a:pt x="349182" y="98973"/>
                    <a:pt x="349182" y="96253"/>
                    <a:pt x="351901" y="93534"/>
                  </a:cubicBezTo>
                  <a:cubicBezTo>
                    <a:pt x="354621" y="90814"/>
                    <a:pt x="362780" y="88094"/>
                    <a:pt x="368219" y="85375"/>
                  </a:cubicBezTo>
                  <a:cubicBezTo>
                    <a:pt x="381818" y="82655"/>
                    <a:pt x="417173" y="79935"/>
                    <a:pt x="422613" y="79935"/>
                  </a:cubicBezTo>
                  <a:cubicBezTo>
                    <a:pt x="428052" y="79935"/>
                    <a:pt x="433491" y="79935"/>
                    <a:pt x="444370" y="79935"/>
                  </a:cubicBezTo>
                  <a:cubicBezTo>
                    <a:pt x="449809" y="74496"/>
                    <a:pt x="455248" y="71776"/>
                    <a:pt x="463407" y="71776"/>
                  </a:cubicBezTo>
                  <a:cubicBezTo>
                    <a:pt x="471566" y="71776"/>
                    <a:pt x="477006" y="74496"/>
                    <a:pt x="477006" y="79935"/>
                  </a:cubicBezTo>
                  <a:cubicBezTo>
                    <a:pt x="493324" y="79935"/>
                    <a:pt x="506922" y="79935"/>
                    <a:pt x="515081" y="79935"/>
                  </a:cubicBezTo>
                  <a:lnTo>
                    <a:pt x="515081" y="79935"/>
                  </a:ln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/>
            </a:p>
          </p:txBody>
        </p:sp>
        <p:sp>
          <p:nvSpPr>
            <p:cNvPr id="44" name="Freeform: Shape 43">
              <a:extLst>
                <a:ext uri="{FF2B5EF4-FFF2-40B4-BE49-F238E27FC236}">
                  <a16:creationId xmlns:a16="http://schemas.microsoft.com/office/drawing/2014/main" id="{891440AF-BE0A-4FCF-8580-12C0D6978EDB}"/>
                </a:ext>
              </a:extLst>
            </p:cNvPr>
            <p:cNvSpPr/>
            <p:nvPr/>
          </p:nvSpPr>
          <p:spPr>
            <a:xfrm>
              <a:off x="5139126" y="4192158"/>
              <a:ext cx="516735" cy="788700"/>
            </a:xfrm>
            <a:custGeom>
              <a:avLst/>
              <a:gdLst>
                <a:gd name="connsiteX0" fmla="*/ 464616 w 516735"/>
                <a:gd name="connsiteY0" fmla="*/ 436210 h 788699"/>
                <a:gd name="connsiteX1" fmla="*/ 445578 w 516735"/>
                <a:gd name="connsiteY1" fmla="*/ 455248 h 788699"/>
                <a:gd name="connsiteX2" fmla="*/ 404784 w 516735"/>
                <a:gd name="connsiteY2" fmla="*/ 466126 h 788699"/>
                <a:gd name="connsiteX3" fmla="*/ 385746 w 516735"/>
                <a:gd name="connsiteY3" fmla="*/ 479725 h 788699"/>
                <a:gd name="connsiteX4" fmla="*/ 388466 w 516735"/>
                <a:gd name="connsiteY4" fmla="*/ 512361 h 788699"/>
                <a:gd name="connsiteX5" fmla="*/ 388466 w 516735"/>
                <a:gd name="connsiteY5" fmla="*/ 544997 h 788699"/>
                <a:gd name="connsiteX6" fmla="*/ 388466 w 516735"/>
                <a:gd name="connsiteY6" fmla="*/ 566754 h 788699"/>
                <a:gd name="connsiteX7" fmla="*/ 391185 w 516735"/>
                <a:gd name="connsiteY7" fmla="*/ 632026 h 788699"/>
                <a:gd name="connsiteX8" fmla="*/ 393905 w 516735"/>
                <a:gd name="connsiteY8" fmla="*/ 683699 h 788699"/>
                <a:gd name="connsiteX9" fmla="*/ 377587 w 516735"/>
                <a:gd name="connsiteY9" fmla="*/ 724494 h 788699"/>
                <a:gd name="connsiteX10" fmla="*/ 361269 w 516735"/>
                <a:gd name="connsiteY10" fmla="*/ 719054 h 788699"/>
                <a:gd name="connsiteX11" fmla="*/ 353110 w 516735"/>
                <a:gd name="connsiteY11" fmla="*/ 702737 h 788699"/>
                <a:gd name="connsiteX12" fmla="*/ 350390 w 516735"/>
                <a:gd name="connsiteY12" fmla="*/ 686419 h 788699"/>
                <a:gd name="connsiteX13" fmla="*/ 353110 w 516735"/>
                <a:gd name="connsiteY13" fmla="*/ 659222 h 788699"/>
                <a:gd name="connsiteX14" fmla="*/ 353110 w 516735"/>
                <a:gd name="connsiteY14" fmla="*/ 656502 h 788699"/>
                <a:gd name="connsiteX15" fmla="*/ 317755 w 516735"/>
                <a:gd name="connsiteY15" fmla="*/ 708176 h 788699"/>
                <a:gd name="connsiteX16" fmla="*/ 241604 w 516735"/>
                <a:gd name="connsiteY16" fmla="*/ 735372 h 788699"/>
                <a:gd name="connsiteX17" fmla="*/ 187211 w 516735"/>
                <a:gd name="connsiteY17" fmla="*/ 727214 h 788699"/>
                <a:gd name="connsiteX18" fmla="*/ 135538 w 516735"/>
                <a:gd name="connsiteY18" fmla="*/ 694578 h 788699"/>
                <a:gd name="connsiteX19" fmla="*/ 86584 w 516735"/>
                <a:gd name="connsiteY19" fmla="*/ 621147 h 788699"/>
                <a:gd name="connsiteX20" fmla="*/ 67546 w 516735"/>
                <a:gd name="connsiteY20" fmla="*/ 555875 h 788699"/>
                <a:gd name="connsiteX21" fmla="*/ 59387 w 516735"/>
                <a:gd name="connsiteY21" fmla="*/ 509641 h 788699"/>
                <a:gd name="connsiteX22" fmla="*/ 59387 w 516735"/>
                <a:gd name="connsiteY22" fmla="*/ 468846 h 788699"/>
                <a:gd name="connsiteX23" fmla="*/ 86584 w 516735"/>
                <a:gd name="connsiteY23" fmla="*/ 302947 h 788699"/>
                <a:gd name="connsiteX24" fmla="*/ 108341 w 516735"/>
                <a:gd name="connsiteY24" fmla="*/ 224077 h 788699"/>
                <a:gd name="connsiteX25" fmla="*/ 146416 w 516735"/>
                <a:gd name="connsiteY25" fmla="*/ 145207 h 788699"/>
                <a:gd name="connsiteX26" fmla="*/ 198090 w 516735"/>
                <a:gd name="connsiteY26" fmla="*/ 85375 h 788699"/>
                <a:gd name="connsiteX27" fmla="*/ 228006 w 516735"/>
                <a:gd name="connsiteY27" fmla="*/ 69057 h 788699"/>
                <a:gd name="connsiteX28" fmla="*/ 268801 w 516735"/>
                <a:gd name="connsiteY28" fmla="*/ 58178 h 788699"/>
                <a:gd name="connsiteX29" fmla="*/ 274240 w 516735"/>
                <a:gd name="connsiteY29" fmla="*/ 58178 h 788699"/>
                <a:gd name="connsiteX30" fmla="*/ 295997 w 516735"/>
                <a:gd name="connsiteY30" fmla="*/ 60898 h 788699"/>
                <a:gd name="connsiteX31" fmla="*/ 331353 w 516735"/>
                <a:gd name="connsiteY31" fmla="*/ 71776 h 788699"/>
                <a:gd name="connsiteX32" fmla="*/ 350390 w 516735"/>
                <a:gd name="connsiteY32" fmla="*/ 93534 h 788699"/>
                <a:gd name="connsiteX33" fmla="*/ 353110 w 516735"/>
                <a:gd name="connsiteY33" fmla="*/ 74496 h 788699"/>
                <a:gd name="connsiteX34" fmla="*/ 358549 w 516735"/>
                <a:gd name="connsiteY34" fmla="*/ 63618 h 788699"/>
                <a:gd name="connsiteX35" fmla="*/ 366708 w 516735"/>
                <a:gd name="connsiteY35" fmla="*/ 58178 h 788699"/>
                <a:gd name="connsiteX36" fmla="*/ 374867 w 516735"/>
                <a:gd name="connsiteY36" fmla="*/ 63618 h 788699"/>
                <a:gd name="connsiteX37" fmla="*/ 383026 w 516735"/>
                <a:gd name="connsiteY37" fmla="*/ 82655 h 788699"/>
                <a:gd name="connsiteX38" fmla="*/ 385746 w 516735"/>
                <a:gd name="connsiteY38" fmla="*/ 126170 h 788699"/>
                <a:gd name="connsiteX39" fmla="*/ 388466 w 516735"/>
                <a:gd name="connsiteY39" fmla="*/ 186002 h 788699"/>
                <a:gd name="connsiteX40" fmla="*/ 391185 w 516735"/>
                <a:gd name="connsiteY40" fmla="*/ 237676 h 788699"/>
                <a:gd name="connsiteX41" fmla="*/ 374867 w 516735"/>
                <a:gd name="connsiteY41" fmla="*/ 278470 h 788699"/>
                <a:gd name="connsiteX42" fmla="*/ 358549 w 516735"/>
                <a:gd name="connsiteY42" fmla="*/ 273031 h 788699"/>
                <a:gd name="connsiteX43" fmla="*/ 350390 w 516735"/>
                <a:gd name="connsiteY43" fmla="*/ 256713 h 788699"/>
                <a:gd name="connsiteX44" fmla="*/ 347671 w 516735"/>
                <a:gd name="connsiteY44" fmla="*/ 240395 h 788699"/>
                <a:gd name="connsiteX45" fmla="*/ 347671 w 516735"/>
                <a:gd name="connsiteY45" fmla="*/ 213199 h 788699"/>
                <a:gd name="connsiteX46" fmla="*/ 344951 w 516735"/>
                <a:gd name="connsiteY46" fmla="*/ 194161 h 788699"/>
                <a:gd name="connsiteX47" fmla="*/ 339512 w 516735"/>
                <a:gd name="connsiteY47" fmla="*/ 150647 h 788699"/>
                <a:gd name="connsiteX48" fmla="*/ 323194 w 516735"/>
                <a:gd name="connsiteY48" fmla="*/ 112571 h 788699"/>
                <a:gd name="connsiteX49" fmla="*/ 293278 w 516735"/>
                <a:gd name="connsiteY49" fmla="*/ 101693 h 788699"/>
                <a:gd name="connsiteX50" fmla="*/ 263361 w 516735"/>
                <a:gd name="connsiteY50" fmla="*/ 120730 h 788699"/>
                <a:gd name="connsiteX51" fmla="*/ 241604 w 516735"/>
                <a:gd name="connsiteY51" fmla="*/ 153366 h 788699"/>
                <a:gd name="connsiteX52" fmla="*/ 233445 w 516735"/>
                <a:gd name="connsiteY52" fmla="*/ 194161 h 788699"/>
                <a:gd name="connsiteX53" fmla="*/ 225286 w 516735"/>
                <a:gd name="connsiteY53" fmla="*/ 232236 h 788699"/>
                <a:gd name="connsiteX54" fmla="*/ 217127 w 516735"/>
                <a:gd name="connsiteY54" fmla="*/ 275751 h 788699"/>
                <a:gd name="connsiteX55" fmla="*/ 211688 w 516735"/>
                <a:gd name="connsiteY55" fmla="*/ 316545 h 788699"/>
                <a:gd name="connsiteX56" fmla="*/ 206249 w 516735"/>
                <a:gd name="connsiteY56" fmla="*/ 354621 h 788699"/>
                <a:gd name="connsiteX57" fmla="*/ 200809 w 516735"/>
                <a:gd name="connsiteY57" fmla="*/ 398135 h 788699"/>
                <a:gd name="connsiteX58" fmla="*/ 195370 w 516735"/>
                <a:gd name="connsiteY58" fmla="*/ 438930 h 788699"/>
                <a:gd name="connsiteX59" fmla="*/ 192650 w 516735"/>
                <a:gd name="connsiteY59" fmla="*/ 474286 h 788699"/>
                <a:gd name="connsiteX60" fmla="*/ 195370 w 516735"/>
                <a:gd name="connsiteY60" fmla="*/ 525959 h 788699"/>
                <a:gd name="connsiteX61" fmla="*/ 208968 w 516735"/>
                <a:gd name="connsiteY61" fmla="*/ 596670 h 788699"/>
                <a:gd name="connsiteX62" fmla="*/ 214407 w 516735"/>
                <a:gd name="connsiteY62" fmla="*/ 623867 h 788699"/>
                <a:gd name="connsiteX63" fmla="*/ 228006 w 516735"/>
                <a:gd name="connsiteY63" fmla="*/ 656502 h 788699"/>
                <a:gd name="connsiteX64" fmla="*/ 271520 w 516735"/>
                <a:gd name="connsiteY64" fmla="*/ 689138 h 788699"/>
                <a:gd name="connsiteX65" fmla="*/ 306876 w 516735"/>
                <a:gd name="connsiteY65" fmla="*/ 664661 h 788699"/>
                <a:gd name="connsiteX66" fmla="*/ 331353 w 516735"/>
                <a:gd name="connsiteY66" fmla="*/ 602109 h 788699"/>
                <a:gd name="connsiteX67" fmla="*/ 336792 w 516735"/>
                <a:gd name="connsiteY67" fmla="*/ 544997 h 788699"/>
                <a:gd name="connsiteX68" fmla="*/ 336792 w 516735"/>
                <a:gd name="connsiteY68" fmla="*/ 498762 h 788699"/>
                <a:gd name="connsiteX69" fmla="*/ 336792 w 516735"/>
                <a:gd name="connsiteY69" fmla="*/ 490603 h 788699"/>
                <a:gd name="connsiteX70" fmla="*/ 320474 w 516735"/>
                <a:gd name="connsiteY70" fmla="*/ 477005 h 788699"/>
                <a:gd name="connsiteX71" fmla="*/ 282399 w 516735"/>
                <a:gd name="connsiteY71" fmla="*/ 479725 h 788699"/>
                <a:gd name="connsiteX72" fmla="*/ 252483 w 516735"/>
                <a:gd name="connsiteY72" fmla="*/ 474286 h 788699"/>
                <a:gd name="connsiteX73" fmla="*/ 247043 w 516735"/>
                <a:gd name="connsiteY73" fmla="*/ 466126 h 788699"/>
                <a:gd name="connsiteX74" fmla="*/ 249763 w 516735"/>
                <a:gd name="connsiteY74" fmla="*/ 457968 h 788699"/>
                <a:gd name="connsiteX75" fmla="*/ 268801 w 516735"/>
                <a:gd name="connsiteY75" fmla="*/ 447089 h 788699"/>
                <a:gd name="connsiteX76" fmla="*/ 312315 w 516735"/>
                <a:gd name="connsiteY76" fmla="*/ 436210 h 788699"/>
                <a:gd name="connsiteX77" fmla="*/ 353110 w 516735"/>
                <a:gd name="connsiteY77" fmla="*/ 430771 h 788699"/>
                <a:gd name="connsiteX78" fmla="*/ 385746 w 516735"/>
                <a:gd name="connsiteY78" fmla="*/ 430771 h 788699"/>
                <a:gd name="connsiteX79" fmla="*/ 437420 w 516735"/>
                <a:gd name="connsiteY79" fmla="*/ 428051 h 788699"/>
                <a:gd name="connsiteX80" fmla="*/ 464616 w 516735"/>
                <a:gd name="connsiteY80" fmla="*/ 436210 h 7886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</a:cxnLst>
              <a:rect l="l" t="t" r="r" b="b"/>
              <a:pathLst>
                <a:path w="516735" h="788699">
                  <a:moveTo>
                    <a:pt x="464616" y="436210"/>
                  </a:moveTo>
                  <a:cubicBezTo>
                    <a:pt x="464616" y="447089"/>
                    <a:pt x="453737" y="452528"/>
                    <a:pt x="445578" y="455248"/>
                  </a:cubicBezTo>
                  <a:cubicBezTo>
                    <a:pt x="434700" y="460687"/>
                    <a:pt x="415662" y="463407"/>
                    <a:pt x="404784" y="466126"/>
                  </a:cubicBezTo>
                  <a:cubicBezTo>
                    <a:pt x="393905" y="466126"/>
                    <a:pt x="385746" y="468846"/>
                    <a:pt x="385746" y="479725"/>
                  </a:cubicBezTo>
                  <a:cubicBezTo>
                    <a:pt x="385746" y="487884"/>
                    <a:pt x="388466" y="506921"/>
                    <a:pt x="388466" y="512361"/>
                  </a:cubicBezTo>
                  <a:cubicBezTo>
                    <a:pt x="388466" y="515080"/>
                    <a:pt x="388466" y="539557"/>
                    <a:pt x="388466" y="544997"/>
                  </a:cubicBezTo>
                  <a:cubicBezTo>
                    <a:pt x="388466" y="550436"/>
                    <a:pt x="388466" y="558595"/>
                    <a:pt x="388466" y="566754"/>
                  </a:cubicBezTo>
                  <a:cubicBezTo>
                    <a:pt x="388466" y="591231"/>
                    <a:pt x="388466" y="621147"/>
                    <a:pt x="391185" y="632026"/>
                  </a:cubicBezTo>
                  <a:cubicBezTo>
                    <a:pt x="393905" y="653783"/>
                    <a:pt x="393905" y="661942"/>
                    <a:pt x="393905" y="683699"/>
                  </a:cubicBezTo>
                  <a:cubicBezTo>
                    <a:pt x="393905" y="694578"/>
                    <a:pt x="393905" y="724494"/>
                    <a:pt x="377587" y="724494"/>
                  </a:cubicBezTo>
                  <a:cubicBezTo>
                    <a:pt x="369428" y="724494"/>
                    <a:pt x="366708" y="721774"/>
                    <a:pt x="361269" y="719054"/>
                  </a:cubicBezTo>
                  <a:cubicBezTo>
                    <a:pt x="355830" y="716335"/>
                    <a:pt x="353110" y="708176"/>
                    <a:pt x="353110" y="702737"/>
                  </a:cubicBezTo>
                  <a:cubicBezTo>
                    <a:pt x="350390" y="694578"/>
                    <a:pt x="350390" y="689138"/>
                    <a:pt x="350390" y="686419"/>
                  </a:cubicBezTo>
                  <a:cubicBezTo>
                    <a:pt x="350390" y="678260"/>
                    <a:pt x="353110" y="672820"/>
                    <a:pt x="353110" y="659222"/>
                  </a:cubicBezTo>
                  <a:lnTo>
                    <a:pt x="353110" y="656502"/>
                  </a:lnTo>
                  <a:cubicBezTo>
                    <a:pt x="347671" y="675540"/>
                    <a:pt x="334072" y="694578"/>
                    <a:pt x="317755" y="708176"/>
                  </a:cubicBezTo>
                  <a:cubicBezTo>
                    <a:pt x="293278" y="727214"/>
                    <a:pt x="274240" y="735372"/>
                    <a:pt x="241604" y="735372"/>
                  </a:cubicBezTo>
                  <a:cubicBezTo>
                    <a:pt x="222566" y="735372"/>
                    <a:pt x="203529" y="732653"/>
                    <a:pt x="187211" y="727214"/>
                  </a:cubicBezTo>
                  <a:cubicBezTo>
                    <a:pt x="165454" y="719054"/>
                    <a:pt x="149136" y="708176"/>
                    <a:pt x="135538" y="694578"/>
                  </a:cubicBezTo>
                  <a:cubicBezTo>
                    <a:pt x="113780" y="672820"/>
                    <a:pt x="100182" y="648343"/>
                    <a:pt x="86584" y="621147"/>
                  </a:cubicBezTo>
                  <a:cubicBezTo>
                    <a:pt x="75705" y="599390"/>
                    <a:pt x="70266" y="580352"/>
                    <a:pt x="67546" y="555875"/>
                  </a:cubicBezTo>
                  <a:cubicBezTo>
                    <a:pt x="64826" y="539557"/>
                    <a:pt x="62107" y="525959"/>
                    <a:pt x="59387" y="509641"/>
                  </a:cubicBezTo>
                  <a:cubicBezTo>
                    <a:pt x="56667" y="493323"/>
                    <a:pt x="59387" y="485164"/>
                    <a:pt x="59387" y="468846"/>
                  </a:cubicBezTo>
                  <a:cubicBezTo>
                    <a:pt x="59387" y="414453"/>
                    <a:pt x="72985" y="362780"/>
                    <a:pt x="86584" y="302947"/>
                  </a:cubicBezTo>
                  <a:cubicBezTo>
                    <a:pt x="92023" y="275751"/>
                    <a:pt x="100182" y="248554"/>
                    <a:pt x="108341" y="224077"/>
                  </a:cubicBezTo>
                  <a:cubicBezTo>
                    <a:pt x="116500" y="196881"/>
                    <a:pt x="130098" y="169684"/>
                    <a:pt x="146416" y="145207"/>
                  </a:cubicBezTo>
                  <a:cubicBezTo>
                    <a:pt x="160014" y="123450"/>
                    <a:pt x="176332" y="101693"/>
                    <a:pt x="198090" y="85375"/>
                  </a:cubicBezTo>
                  <a:cubicBezTo>
                    <a:pt x="206249" y="77216"/>
                    <a:pt x="217127" y="71776"/>
                    <a:pt x="228006" y="69057"/>
                  </a:cubicBezTo>
                  <a:cubicBezTo>
                    <a:pt x="241604" y="63618"/>
                    <a:pt x="255202" y="58178"/>
                    <a:pt x="268801" y="58178"/>
                  </a:cubicBezTo>
                  <a:cubicBezTo>
                    <a:pt x="271520" y="58178"/>
                    <a:pt x="274240" y="58178"/>
                    <a:pt x="274240" y="58178"/>
                  </a:cubicBezTo>
                  <a:cubicBezTo>
                    <a:pt x="279679" y="58178"/>
                    <a:pt x="285119" y="58178"/>
                    <a:pt x="295997" y="60898"/>
                  </a:cubicBezTo>
                  <a:cubicBezTo>
                    <a:pt x="309595" y="63618"/>
                    <a:pt x="320474" y="66337"/>
                    <a:pt x="331353" y="71776"/>
                  </a:cubicBezTo>
                  <a:cubicBezTo>
                    <a:pt x="339512" y="77216"/>
                    <a:pt x="347671" y="85375"/>
                    <a:pt x="350390" y="93534"/>
                  </a:cubicBezTo>
                  <a:cubicBezTo>
                    <a:pt x="350390" y="88095"/>
                    <a:pt x="353110" y="79936"/>
                    <a:pt x="353110" y="74496"/>
                  </a:cubicBezTo>
                  <a:cubicBezTo>
                    <a:pt x="355830" y="71776"/>
                    <a:pt x="355830" y="69057"/>
                    <a:pt x="358549" y="63618"/>
                  </a:cubicBezTo>
                  <a:cubicBezTo>
                    <a:pt x="361269" y="60898"/>
                    <a:pt x="363989" y="58178"/>
                    <a:pt x="366708" y="58178"/>
                  </a:cubicBezTo>
                  <a:cubicBezTo>
                    <a:pt x="369428" y="58178"/>
                    <a:pt x="372148" y="60898"/>
                    <a:pt x="374867" y="63618"/>
                  </a:cubicBezTo>
                  <a:cubicBezTo>
                    <a:pt x="377587" y="69057"/>
                    <a:pt x="380307" y="77216"/>
                    <a:pt x="383026" y="82655"/>
                  </a:cubicBezTo>
                  <a:cubicBezTo>
                    <a:pt x="383026" y="90814"/>
                    <a:pt x="385746" y="107132"/>
                    <a:pt x="385746" y="126170"/>
                  </a:cubicBezTo>
                  <a:cubicBezTo>
                    <a:pt x="385746" y="150647"/>
                    <a:pt x="385746" y="177843"/>
                    <a:pt x="388466" y="186002"/>
                  </a:cubicBezTo>
                  <a:cubicBezTo>
                    <a:pt x="391185" y="207759"/>
                    <a:pt x="391185" y="215918"/>
                    <a:pt x="391185" y="237676"/>
                  </a:cubicBezTo>
                  <a:cubicBezTo>
                    <a:pt x="391185" y="248554"/>
                    <a:pt x="391185" y="278470"/>
                    <a:pt x="374867" y="278470"/>
                  </a:cubicBezTo>
                  <a:cubicBezTo>
                    <a:pt x="366708" y="278470"/>
                    <a:pt x="363989" y="275751"/>
                    <a:pt x="358549" y="273031"/>
                  </a:cubicBezTo>
                  <a:cubicBezTo>
                    <a:pt x="353110" y="270311"/>
                    <a:pt x="350390" y="262152"/>
                    <a:pt x="350390" y="256713"/>
                  </a:cubicBezTo>
                  <a:cubicBezTo>
                    <a:pt x="350390" y="251274"/>
                    <a:pt x="347671" y="245834"/>
                    <a:pt x="347671" y="240395"/>
                  </a:cubicBezTo>
                  <a:cubicBezTo>
                    <a:pt x="347671" y="232236"/>
                    <a:pt x="347671" y="224077"/>
                    <a:pt x="347671" y="213199"/>
                  </a:cubicBezTo>
                  <a:cubicBezTo>
                    <a:pt x="347671" y="207759"/>
                    <a:pt x="347671" y="199600"/>
                    <a:pt x="344951" y="194161"/>
                  </a:cubicBezTo>
                  <a:cubicBezTo>
                    <a:pt x="342232" y="180563"/>
                    <a:pt x="342232" y="164245"/>
                    <a:pt x="339512" y="150647"/>
                  </a:cubicBezTo>
                  <a:cubicBezTo>
                    <a:pt x="336792" y="137048"/>
                    <a:pt x="331353" y="123450"/>
                    <a:pt x="323194" y="112571"/>
                  </a:cubicBezTo>
                  <a:cubicBezTo>
                    <a:pt x="317755" y="104412"/>
                    <a:pt x="304156" y="101693"/>
                    <a:pt x="293278" y="101693"/>
                  </a:cubicBezTo>
                  <a:cubicBezTo>
                    <a:pt x="279679" y="101693"/>
                    <a:pt x="271520" y="109852"/>
                    <a:pt x="263361" y="120730"/>
                  </a:cubicBezTo>
                  <a:cubicBezTo>
                    <a:pt x="257922" y="131609"/>
                    <a:pt x="247043" y="139768"/>
                    <a:pt x="241604" y="153366"/>
                  </a:cubicBezTo>
                  <a:cubicBezTo>
                    <a:pt x="236165" y="166964"/>
                    <a:pt x="233445" y="180563"/>
                    <a:pt x="233445" y="194161"/>
                  </a:cubicBezTo>
                  <a:cubicBezTo>
                    <a:pt x="233445" y="207759"/>
                    <a:pt x="230726" y="218638"/>
                    <a:pt x="225286" y="232236"/>
                  </a:cubicBezTo>
                  <a:cubicBezTo>
                    <a:pt x="219847" y="245834"/>
                    <a:pt x="219847" y="262152"/>
                    <a:pt x="217127" y="275751"/>
                  </a:cubicBezTo>
                  <a:cubicBezTo>
                    <a:pt x="214407" y="289349"/>
                    <a:pt x="214407" y="302947"/>
                    <a:pt x="211688" y="316545"/>
                  </a:cubicBezTo>
                  <a:cubicBezTo>
                    <a:pt x="211688" y="330144"/>
                    <a:pt x="206249" y="341022"/>
                    <a:pt x="206249" y="354621"/>
                  </a:cubicBezTo>
                  <a:cubicBezTo>
                    <a:pt x="203529" y="368219"/>
                    <a:pt x="203529" y="381817"/>
                    <a:pt x="200809" y="398135"/>
                  </a:cubicBezTo>
                  <a:cubicBezTo>
                    <a:pt x="198090" y="411733"/>
                    <a:pt x="198090" y="425332"/>
                    <a:pt x="195370" y="438930"/>
                  </a:cubicBezTo>
                  <a:cubicBezTo>
                    <a:pt x="195370" y="449809"/>
                    <a:pt x="192650" y="463407"/>
                    <a:pt x="192650" y="474286"/>
                  </a:cubicBezTo>
                  <a:cubicBezTo>
                    <a:pt x="192650" y="490603"/>
                    <a:pt x="195370" y="509641"/>
                    <a:pt x="195370" y="525959"/>
                  </a:cubicBezTo>
                  <a:cubicBezTo>
                    <a:pt x="195370" y="550436"/>
                    <a:pt x="203529" y="572193"/>
                    <a:pt x="208968" y="596670"/>
                  </a:cubicBezTo>
                  <a:cubicBezTo>
                    <a:pt x="211688" y="604829"/>
                    <a:pt x="211688" y="615708"/>
                    <a:pt x="214407" y="623867"/>
                  </a:cubicBezTo>
                  <a:cubicBezTo>
                    <a:pt x="217127" y="634745"/>
                    <a:pt x="222566" y="645624"/>
                    <a:pt x="228006" y="656502"/>
                  </a:cubicBezTo>
                  <a:cubicBezTo>
                    <a:pt x="236165" y="670101"/>
                    <a:pt x="252483" y="689138"/>
                    <a:pt x="271520" y="689138"/>
                  </a:cubicBezTo>
                  <a:cubicBezTo>
                    <a:pt x="287838" y="689138"/>
                    <a:pt x="298717" y="675540"/>
                    <a:pt x="306876" y="664661"/>
                  </a:cubicBezTo>
                  <a:cubicBezTo>
                    <a:pt x="320474" y="645624"/>
                    <a:pt x="325914" y="623867"/>
                    <a:pt x="331353" y="602109"/>
                  </a:cubicBezTo>
                  <a:cubicBezTo>
                    <a:pt x="334072" y="583072"/>
                    <a:pt x="336792" y="564034"/>
                    <a:pt x="336792" y="544997"/>
                  </a:cubicBezTo>
                  <a:cubicBezTo>
                    <a:pt x="336792" y="531398"/>
                    <a:pt x="336792" y="512361"/>
                    <a:pt x="336792" y="498762"/>
                  </a:cubicBezTo>
                  <a:cubicBezTo>
                    <a:pt x="336792" y="496043"/>
                    <a:pt x="336792" y="493323"/>
                    <a:pt x="336792" y="490603"/>
                  </a:cubicBezTo>
                  <a:cubicBezTo>
                    <a:pt x="336792" y="479725"/>
                    <a:pt x="336792" y="477005"/>
                    <a:pt x="320474" y="477005"/>
                  </a:cubicBezTo>
                  <a:cubicBezTo>
                    <a:pt x="309595" y="477005"/>
                    <a:pt x="295997" y="479725"/>
                    <a:pt x="282399" y="479725"/>
                  </a:cubicBezTo>
                  <a:cubicBezTo>
                    <a:pt x="271520" y="479725"/>
                    <a:pt x="260642" y="479725"/>
                    <a:pt x="252483" y="474286"/>
                  </a:cubicBezTo>
                  <a:cubicBezTo>
                    <a:pt x="249763" y="471566"/>
                    <a:pt x="247043" y="468846"/>
                    <a:pt x="247043" y="466126"/>
                  </a:cubicBezTo>
                  <a:cubicBezTo>
                    <a:pt x="247043" y="463407"/>
                    <a:pt x="247043" y="460687"/>
                    <a:pt x="249763" y="457968"/>
                  </a:cubicBezTo>
                  <a:cubicBezTo>
                    <a:pt x="255202" y="452528"/>
                    <a:pt x="260642" y="449809"/>
                    <a:pt x="268801" y="447089"/>
                  </a:cubicBezTo>
                  <a:cubicBezTo>
                    <a:pt x="282399" y="441650"/>
                    <a:pt x="295997" y="438930"/>
                    <a:pt x="312315" y="436210"/>
                  </a:cubicBezTo>
                  <a:cubicBezTo>
                    <a:pt x="325914" y="433491"/>
                    <a:pt x="339512" y="433491"/>
                    <a:pt x="353110" y="430771"/>
                  </a:cubicBezTo>
                  <a:cubicBezTo>
                    <a:pt x="363989" y="430771"/>
                    <a:pt x="374867" y="430771"/>
                    <a:pt x="385746" y="430771"/>
                  </a:cubicBezTo>
                  <a:cubicBezTo>
                    <a:pt x="402064" y="430771"/>
                    <a:pt x="426541" y="428051"/>
                    <a:pt x="437420" y="428051"/>
                  </a:cubicBezTo>
                  <a:cubicBezTo>
                    <a:pt x="451018" y="419892"/>
                    <a:pt x="464616" y="425332"/>
                    <a:pt x="464616" y="436210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/>
            </a:p>
          </p:txBody>
        </p:sp>
        <p:sp>
          <p:nvSpPr>
            <p:cNvPr id="45" name="Freeform: Shape 44">
              <a:extLst>
                <a:ext uri="{FF2B5EF4-FFF2-40B4-BE49-F238E27FC236}">
                  <a16:creationId xmlns:a16="http://schemas.microsoft.com/office/drawing/2014/main" id="{2824A636-A433-4E44-BCE1-4D747AEE8B2B}"/>
                </a:ext>
              </a:extLst>
            </p:cNvPr>
            <p:cNvSpPr/>
            <p:nvPr/>
          </p:nvSpPr>
          <p:spPr>
            <a:xfrm>
              <a:off x="5651630" y="4181279"/>
              <a:ext cx="734308" cy="788700"/>
            </a:xfrm>
            <a:custGeom>
              <a:avLst/>
              <a:gdLst>
                <a:gd name="connsiteX0" fmla="*/ 653783 w 734307"/>
                <a:gd name="connsiteY0" fmla="*/ 678259 h 788699"/>
                <a:gd name="connsiteX1" fmla="*/ 691859 w 734307"/>
                <a:gd name="connsiteY1" fmla="*/ 694577 h 788699"/>
                <a:gd name="connsiteX2" fmla="*/ 686419 w 734307"/>
                <a:gd name="connsiteY2" fmla="*/ 710895 h 788699"/>
                <a:gd name="connsiteX3" fmla="*/ 670101 w 734307"/>
                <a:gd name="connsiteY3" fmla="*/ 719054 h 788699"/>
                <a:gd name="connsiteX4" fmla="*/ 648344 w 734307"/>
                <a:gd name="connsiteY4" fmla="*/ 721774 h 788699"/>
                <a:gd name="connsiteX5" fmla="*/ 618428 w 734307"/>
                <a:gd name="connsiteY5" fmla="*/ 721774 h 788699"/>
                <a:gd name="connsiteX6" fmla="*/ 572194 w 734307"/>
                <a:gd name="connsiteY6" fmla="*/ 735372 h 788699"/>
                <a:gd name="connsiteX7" fmla="*/ 544997 w 734307"/>
                <a:gd name="connsiteY7" fmla="*/ 729933 h 788699"/>
                <a:gd name="connsiteX8" fmla="*/ 534119 w 734307"/>
                <a:gd name="connsiteY8" fmla="*/ 721774 h 788699"/>
                <a:gd name="connsiteX9" fmla="*/ 496043 w 734307"/>
                <a:gd name="connsiteY9" fmla="*/ 721774 h 788699"/>
                <a:gd name="connsiteX10" fmla="*/ 471566 w 734307"/>
                <a:gd name="connsiteY10" fmla="*/ 721774 h 788699"/>
                <a:gd name="connsiteX11" fmla="*/ 444370 w 734307"/>
                <a:gd name="connsiteY11" fmla="*/ 716335 h 788699"/>
                <a:gd name="connsiteX12" fmla="*/ 428052 w 734307"/>
                <a:gd name="connsiteY12" fmla="*/ 700017 h 788699"/>
                <a:gd name="connsiteX13" fmla="*/ 433491 w 734307"/>
                <a:gd name="connsiteY13" fmla="*/ 691858 h 788699"/>
                <a:gd name="connsiteX14" fmla="*/ 455248 w 734307"/>
                <a:gd name="connsiteY14" fmla="*/ 683699 h 788699"/>
                <a:gd name="connsiteX15" fmla="*/ 506922 w 734307"/>
                <a:gd name="connsiteY15" fmla="*/ 678259 h 788699"/>
                <a:gd name="connsiteX16" fmla="*/ 509641 w 734307"/>
                <a:gd name="connsiteY16" fmla="*/ 678259 h 788699"/>
                <a:gd name="connsiteX17" fmla="*/ 506922 w 734307"/>
                <a:gd name="connsiteY17" fmla="*/ 664661 h 788699"/>
                <a:gd name="connsiteX18" fmla="*/ 498763 w 734307"/>
                <a:gd name="connsiteY18" fmla="*/ 580352 h 788699"/>
                <a:gd name="connsiteX19" fmla="*/ 496043 w 734307"/>
                <a:gd name="connsiteY19" fmla="*/ 479725 h 788699"/>
                <a:gd name="connsiteX20" fmla="*/ 493324 w 734307"/>
                <a:gd name="connsiteY20" fmla="*/ 389976 h 788699"/>
                <a:gd name="connsiteX21" fmla="*/ 490604 w 734307"/>
                <a:gd name="connsiteY21" fmla="*/ 302947 h 788699"/>
                <a:gd name="connsiteX22" fmla="*/ 487884 w 734307"/>
                <a:gd name="connsiteY22" fmla="*/ 229516 h 788699"/>
                <a:gd name="connsiteX23" fmla="*/ 485165 w 734307"/>
                <a:gd name="connsiteY23" fmla="*/ 221357 h 788699"/>
                <a:gd name="connsiteX24" fmla="*/ 482445 w 734307"/>
                <a:gd name="connsiteY24" fmla="*/ 226797 h 788699"/>
                <a:gd name="connsiteX25" fmla="*/ 477006 w 734307"/>
                <a:gd name="connsiteY25" fmla="*/ 262152 h 788699"/>
                <a:gd name="connsiteX26" fmla="*/ 460688 w 734307"/>
                <a:gd name="connsiteY26" fmla="*/ 341022 h 788699"/>
                <a:gd name="connsiteX27" fmla="*/ 444370 w 734307"/>
                <a:gd name="connsiteY27" fmla="*/ 417173 h 788699"/>
                <a:gd name="connsiteX28" fmla="*/ 436211 w 734307"/>
                <a:gd name="connsiteY28" fmla="*/ 455248 h 788699"/>
                <a:gd name="connsiteX29" fmla="*/ 425332 w 734307"/>
                <a:gd name="connsiteY29" fmla="*/ 493323 h 788699"/>
                <a:gd name="connsiteX30" fmla="*/ 411734 w 734307"/>
                <a:gd name="connsiteY30" fmla="*/ 531398 h 788699"/>
                <a:gd name="connsiteX31" fmla="*/ 376378 w 734307"/>
                <a:gd name="connsiteY31" fmla="*/ 547716 h 788699"/>
                <a:gd name="connsiteX32" fmla="*/ 319265 w 734307"/>
                <a:gd name="connsiteY32" fmla="*/ 525959 h 788699"/>
                <a:gd name="connsiteX33" fmla="*/ 289349 w 734307"/>
                <a:gd name="connsiteY33" fmla="*/ 455248 h 788699"/>
                <a:gd name="connsiteX34" fmla="*/ 273031 w 734307"/>
                <a:gd name="connsiteY34" fmla="*/ 373658 h 788699"/>
                <a:gd name="connsiteX35" fmla="*/ 262153 w 734307"/>
                <a:gd name="connsiteY35" fmla="*/ 316545 h 788699"/>
                <a:gd name="connsiteX36" fmla="*/ 245835 w 734307"/>
                <a:gd name="connsiteY36" fmla="*/ 237675 h 788699"/>
                <a:gd name="connsiteX37" fmla="*/ 234956 w 734307"/>
                <a:gd name="connsiteY37" fmla="*/ 196881 h 788699"/>
                <a:gd name="connsiteX38" fmla="*/ 232236 w 734307"/>
                <a:gd name="connsiteY38" fmla="*/ 191441 h 788699"/>
                <a:gd name="connsiteX39" fmla="*/ 226797 w 734307"/>
                <a:gd name="connsiteY39" fmla="*/ 207759 h 788699"/>
                <a:gd name="connsiteX40" fmla="*/ 226797 w 734307"/>
                <a:gd name="connsiteY40" fmla="*/ 232236 h 788699"/>
                <a:gd name="connsiteX41" fmla="*/ 224077 w 734307"/>
                <a:gd name="connsiteY41" fmla="*/ 267592 h 788699"/>
                <a:gd name="connsiteX42" fmla="*/ 221358 w 734307"/>
                <a:gd name="connsiteY42" fmla="*/ 311106 h 788699"/>
                <a:gd name="connsiteX43" fmla="*/ 218638 w 734307"/>
                <a:gd name="connsiteY43" fmla="*/ 360060 h 788699"/>
                <a:gd name="connsiteX44" fmla="*/ 215919 w 734307"/>
                <a:gd name="connsiteY44" fmla="*/ 398135 h 788699"/>
                <a:gd name="connsiteX45" fmla="*/ 213199 w 734307"/>
                <a:gd name="connsiteY45" fmla="*/ 430771 h 788699"/>
                <a:gd name="connsiteX46" fmla="*/ 213199 w 734307"/>
                <a:gd name="connsiteY46" fmla="*/ 455248 h 788699"/>
                <a:gd name="connsiteX47" fmla="*/ 213199 w 734307"/>
                <a:gd name="connsiteY47" fmla="*/ 477005 h 788699"/>
                <a:gd name="connsiteX48" fmla="*/ 207759 w 734307"/>
                <a:gd name="connsiteY48" fmla="*/ 520520 h 788699"/>
                <a:gd name="connsiteX49" fmla="*/ 196881 w 734307"/>
                <a:gd name="connsiteY49" fmla="*/ 610268 h 788699"/>
                <a:gd name="connsiteX50" fmla="*/ 194161 w 734307"/>
                <a:gd name="connsiteY50" fmla="*/ 653783 h 788699"/>
                <a:gd name="connsiteX51" fmla="*/ 191441 w 734307"/>
                <a:gd name="connsiteY51" fmla="*/ 667381 h 788699"/>
                <a:gd name="connsiteX52" fmla="*/ 243115 w 734307"/>
                <a:gd name="connsiteY52" fmla="*/ 667381 h 788699"/>
                <a:gd name="connsiteX53" fmla="*/ 273031 w 734307"/>
                <a:gd name="connsiteY53" fmla="*/ 683699 h 788699"/>
                <a:gd name="connsiteX54" fmla="*/ 262153 w 734307"/>
                <a:gd name="connsiteY54" fmla="*/ 697297 h 788699"/>
                <a:gd name="connsiteX55" fmla="*/ 248554 w 734307"/>
                <a:gd name="connsiteY55" fmla="*/ 705456 h 788699"/>
                <a:gd name="connsiteX56" fmla="*/ 232236 w 734307"/>
                <a:gd name="connsiteY56" fmla="*/ 708176 h 788699"/>
                <a:gd name="connsiteX57" fmla="*/ 166965 w 734307"/>
                <a:gd name="connsiteY57" fmla="*/ 708176 h 788699"/>
                <a:gd name="connsiteX58" fmla="*/ 109852 w 734307"/>
                <a:gd name="connsiteY58" fmla="*/ 708176 h 788699"/>
                <a:gd name="connsiteX59" fmla="*/ 90814 w 734307"/>
                <a:gd name="connsiteY59" fmla="*/ 708176 h 788699"/>
                <a:gd name="connsiteX60" fmla="*/ 69057 w 734307"/>
                <a:gd name="connsiteY60" fmla="*/ 702736 h 788699"/>
                <a:gd name="connsiteX61" fmla="*/ 58178 w 734307"/>
                <a:gd name="connsiteY61" fmla="*/ 686418 h 788699"/>
                <a:gd name="connsiteX62" fmla="*/ 60898 w 734307"/>
                <a:gd name="connsiteY62" fmla="*/ 678259 h 788699"/>
                <a:gd name="connsiteX63" fmla="*/ 77216 w 734307"/>
                <a:gd name="connsiteY63" fmla="*/ 670101 h 788699"/>
                <a:gd name="connsiteX64" fmla="*/ 126170 w 734307"/>
                <a:gd name="connsiteY64" fmla="*/ 664661 h 788699"/>
                <a:gd name="connsiteX65" fmla="*/ 142487 w 734307"/>
                <a:gd name="connsiteY65" fmla="*/ 664661 h 788699"/>
                <a:gd name="connsiteX66" fmla="*/ 147927 w 734307"/>
                <a:gd name="connsiteY66" fmla="*/ 588511 h 788699"/>
                <a:gd name="connsiteX67" fmla="*/ 153366 w 734307"/>
                <a:gd name="connsiteY67" fmla="*/ 493323 h 788699"/>
                <a:gd name="connsiteX68" fmla="*/ 156086 w 734307"/>
                <a:gd name="connsiteY68" fmla="*/ 411733 h 788699"/>
                <a:gd name="connsiteX69" fmla="*/ 161525 w 734307"/>
                <a:gd name="connsiteY69" fmla="*/ 297508 h 788699"/>
                <a:gd name="connsiteX70" fmla="*/ 166965 w 734307"/>
                <a:gd name="connsiteY70" fmla="*/ 240395 h 788699"/>
                <a:gd name="connsiteX71" fmla="*/ 177843 w 734307"/>
                <a:gd name="connsiteY71" fmla="*/ 161525 h 788699"/>
                <a:gd name="connsiteX72" fmla="*/ 183282 w 734307"/>
                <a:gd name="connsiteY72" fmla="*/ 118011 h 788699"/>
                <a:gd name="connsiteX73" fmla="*/ 183282 w 734307"/>
                <a:gd name="connsiteY73" fmla="*/ 115291 h 788699"/>
                <a:gd name="connsiteX74" fmla="*/ 161525 w 734307"/>
                <a:gd name="connsiteY74" fmla="*/ 115291 h 788699"/>
                <a:gd name="connsiteX75" fmla="*/ 137048 w 734307"/>
                <a:gd name="connsiteY75" fmla="*/ 115291 h 788699"/>
                <a:gd name="connsiteX76" fmla="*/ 109852 w 734307"/>
                <a:gd name="connsiteY76" fmla="*/ 109851 h 788699"/>
                <a:gd name="connsiteX77" fmla="*/ 93534 w 734307"/>
                <a:gd name="connsiteY77" fmla="*/ 93534 h 788699"/>
                <a:gd name="connsiteX78" fmla="*/ 98973 w 734307"/>
                <a:gd name="connsiteY78" fmla="*/ 85375 h 788699"/>
                <a:gd name="connsiteX79" fmla="*/ 120730 w 734307"/>
                <a:gd name="connsiteY79" fmla="*/ 77216 h 788699"/>
                <a:gd name="connsiteX80" fmla="*/ 172404 w 734307"/>
                <a:gd name="connsiteY80" fmla="*/ 71776 h 788699"/>
                <a:gd name="connsiteX81" fmla="*/ 234956 w 734307"/>
                <a:gd name="connsiteY81" fmla="*/ 69057 h 788699"/>
                <a:gd name="connsiteX82" fmla="*/ 243115 w 734307"/>
                <a:gd name="connsiteY82" fmla="*/ 69057 h 788699"/>
                <a:gd name="connsiteX83" fmla="*/ 270312 w 734307"/>
                <a:gd name="connsiteY83" fmla="*/ 74496 h 788699"/>
                <a:gd name="connsiteX84" fmla="*/ 308387 w 734307"/>
                <a:gd name="connsiteY84" fmla="*/ 123450 h 788699"/>
                <a:gd name="connsiteX85" fmla="*/ 332864 w 734307"/>
                <a:gd name="connsiteY85" fmla="*/ 202320 h 788699"/>
                <a:gd name="connsiteX86" fmla="*/ 338303 w 734307"/>
                <a:gd name="connsiteY86" fmla="*/ 237675 h 788699"/>
                <a:gd name="connsiteX87" fmla="*/ 349182 w 734307"/>
                <a:gd name="connsiteY87" fmla="*/ 281190 h 788699"/>
                <a:gd name="connsiteX88" fmla="*/ 357341 w 734307"/>
                <a:gd name="connsiteY88" fmla="*/ 316545 h 788699"/>
                <a:gd name="connsiteX89" fmla="*/ 365500 w 734307"/>
                <a:gd name="connsiteY89" fmla="*/ 351901 h 788699"/>
                <a:gd name="connsiteX90" fmla="*/ 376378 w 734307"/>
                <a:gd name="connsiteY90" fmla="*/ 389976 h 788699"/>
                <a:gd name="connsiteX91" fmla="*/ 387257 w 734307"/>
                <a:gd name="connsiteY91" fmla="*/ 414453 h 788699"/>
                <a:gd name="connsiteX92" fmla="*/ 398136 w 734307"/>
                <a:gd name="connsiteY92" fmla="*/ 376378 h 788699"/>
                <a:gd name="connsiteX93" fmla="*/ 406295 w 734307"/>
                <a:gd name="connsiteY93" fmla="*/ 332863 h 788699"/>
                <a:gd name="connsiteX94" fmla="*/ 425332 w 734307"/>
                <a:gd name="connsiteY94" fmla="*/ 243115 h 788699"/>
                <a:gd name="connsiteX95" fmla="*/ 444370 w 734307"/>
                <a:gd name="connsiteY95" fmla="*/ 150646 h 788699"/>
                <a:gd name="connsiteX96" fmla="*/ 477006 w 734307"/>
                <a:gd name="connsiteY96" fmla="*/ 79935 h 788699"/>
                <a:gd name="connsiteX97" fmla="*/ 523240 w 734307"/>
                <a:gd name="connsiteY97" fmla="*/ 58178 h 788699"/>
                <a:gd name="connsiteX98" fmla="*/ 544997 w 734307"/>
                <a:gd name="connsiteY98" fmla="*/ 63617 h 788699"/>
                <a:gd name="connsiteX99" fmla="*/ 612988 w 734307"/>
                <a:gd name="connsiteY99" fmla="*/ 63617 h 788699"/>
                <a:gd name="connsiteX100" fmla="*/ 651064 w 734307"/>
                <a:gd name="connsiteY100" fmla="*/ 79935 h 788699"/>
                <a:gd name="connsiteX101" fmla="*/ 645624 w 734307"/>
                <a:gd name="connsiteY101" fmla="*/ 96253 h 788699"/>
                <a:gd name="connsiteX102" fmla="*/ 629307 w 734307"/>
                <a:gd name="connsiteY102" fmla="*/ 104412 h 788699"/>
                <a:gd name="connsiteX103" fmla="*/ 607549 w 734307"/>
                <a:gd name="connsiteY103" fmla="*/ 107132 h 788699"/>
                <a:gd name="connsiteX104" fmla="*/ 580353 w 734307"/>
                <a:gd name="connsiteY104" fmla="*/ 107132 h 788699"/>
                <a:gd name="connsiteX105" fmla="*/ 583072 w 734307"/>
                <a:gd name="connsiteY105" fmla="*/ 115291 h 788699"/>
                <a:gd name="connsiteX106" fmla="*/ 588512 w 734307"/>
                <a:gd name="connsiteY106" fmla="*/ 156086 h 788699"/>
                <a:gd name="connsiteX107" fmla="*/ 593951 w 734307"/>
                <a:gd name="connsiteY107" fmla="*/ 196881 h 788699"/>
                <a:gd name="connsiteX108" fmla="*/ 599390 w 734307"/>
                <a:gd name="connsiteY108" fmla="*/ 226797 h 788699"/>
                <a:gd name="connsiteX109" fmla="*/ 599390 w 734307"/>
                <a:gd name="connsiteY109" fmla="*/ 232236 h 788699"/>
                <a:gd name="connsiteX110" fmla="*/ 599390 w 734307"/>
                <a:gd name="connsiteY110" fmla="*/ 240395 h 788699"/>
                <a:gd name="connsiteX111" fmla="*/ 602110 w 734307"/>
                <a:gd name="connsiteY111" fmla="*/ 270311 h 788699"/>
                <a:gd name="connsiteX112" fmla="*/ 607549 w 734307"/>
                <a:gd name="connsiteY112" fmla="*/ 308386 h 788699"/>
                <a:gd name="connsiteX113" fmla="*/ 607549 w 734307"/>
                <a:gd name="connsiteY113" fmla="*/ 319265 h 788699"/>
                <a:gd name="connsiteX114" fmla="*/ 612988 w 734307"/>
                <a:gd name="connsiteY114" fmla="*/ 335583 h 788699"/>
                <a:gd name="connsiteX115" fmla="*/ 612988 w 734307"/>
                <a:gd name="connsiteY115" fmla="*/ 346462 h 788699"/>
                <a:gd name="connsiteX116" fmla="*/ 612988 w 734307"/>
                <a:gd name="connsiteY116" fmla="*/ 370939 h 788699"/>
                <a:gd name="connsiteX117" fmla="*/ 612988 w 734307"/>
                <a:gd name="connsiteY117" fmla="*/ 395415 h 788699"/>
                <a:gd name="connsiteX118" fmla="*/ 615708 w 734307"/>
                <a:gd name="connsiteY118" fmla="*/ 422612 h 788699"/>
                <a:gd name="connsiteX119" fmla="*/ 618428 w 734307"/>
                <a:gd name="connsiteY119" fmla="*/ 441650 h 788699"/>
                <a:gd name="connsiteX120" fmla="*/ 618428 w 734307"/>
                <a:gd name="connsiteY120" fmla="*/ 455248 h 788699"/>
                <a:gd name="connsiteX121" fmla="*/ 621147 w 734307"/>
                <a:gd name="connsiteY121" fmla="*/ 463407 h 788699"/>
                <a:gd name="connsiteX122" fmla="*/ 626587 w 734307"/>
                <a:gd name="connsiteY122" fmla="*/ 482444 h 788699"/>
                <a:gd name="connsiteX123" fmla="*/ 629307 w 734307"/>
                <a:gd name="connsiteY123" fmla="*/ 517800 h 788699"/>
                <a:gd name="connsiteX124" fmla="*/ 634746 w 734307"/>
                <a:gd name="connsiteY124" fmla="*/ 561314 h 788699"/>
                <a:gd name="connsiteX125" fmla="*/ 634746 w 734307"/>
                <a:gd name="connsiteY125" fmla="*/ 566754 h 788699"/>
                <a:gd name="connsiteX126" fmla="*/ 634746 w 734307"/>
                <a:gd name="connsiteY126" fmla="*/ 583072 h 788699"/>
                <a:gd name="connsiteX127" fmla="*/ 637466 w 734307"/>
                <a:gd name="connsiteY127" fmla="*/ 607548 h 788699"/>
                <a:gd name="connsiteX128" fmla="*/ 640185 w 734307"/>
                <a:gd name="connsiteY128" fmla="*/ 618427 h 788699"/>
                <a:gd name="connsiteX129" fmla="*/ 640185 w 734307"/>
                <a:gd name="connsiteY129" fmla="*/ 632025 h 788699"/>
                <a:gd name="connsiteX130" fmla="*/ 640185 w 734307"/>
                <a:gd name="connsiteY130" fmla="*/ 640184 h 788699"/>
                <a:gd name="connsiteX131" fmla="*/ 642905 w 734307"/>
                <a:gd name="connsiteY131" fmla="*/ 659222 h 788699"/>
                <a:gd name="connsiteX132" fmla="*/ 642905 w 734307"/>
                <a:gd name="connsiteY132" fmla="*/ 664661 h 788699"/>
                <a:gd name="connsiteX133" fmla="*/ 653783 w 734307"/>
                <a:gd name="connsiteY133" fmla="*/ 678259 h 788699"/>
                <a:gd name="connsiteX134" fmla="*/ 653783 w 734307"/>
                <a:gd name="connsiteY134" fmla="*/ 678259 h 7886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</a:cxnLst>
              <a:rect l="l" t="t" r="r" b="b"/>
              <a:pathLst>
                <a:path w="734307" h="788699">
                  <a:moveTo>
                    <a:pt x="653783" y="678259"/>
                  </a:moveTo>
                  <a:cubicBezTo>
                    <a:pt x="667382" y="678259"/>
                    <a:pt x="691859" y="678259"/>
                    <a:pt x="691859" y="694577"/>
                  </a:cubicBezTo>
                  <a:cubicBezTo>
                    <a:pt x="691859" y="702736"/>
                    <a:pt x="689139" y="705456"/>
                    <a:pt x="686419" y="710895"/>
                  </a:cubicBezTo>
                  <a:cubicBezTo>
                    <a:pt x="683700" y="716335"/>
                    <a:pt x="675541" y="719054"/>
                    <a:pt x="670101" y="719054"/>
                  </a:cubicBezTo>
                  <a:cubicBezTo>
                    <a:pt x="661942" y="721774"/>
                    <a:pt x="653783" y="721774"/>
                    <a:pt x="648344" y="721774"/>
                  </a:cubicBezTo>
                  <a:cubicBezTo>
                    <a:pt x="645624" y="721774"/>
                    <a:pt x="634746" y="721774"/>
                    <a:pt x="618428" y="721774"/>
                  </a:cubicBezTo>
                  <a:cubicBezTo>
                    <a:pt x="604829" y="729933"/>
                    <a:pt x="588512" y="735372"/>
                    <a:pt x="572194" y="735372"/>
                  </a:cubicBezTo>
                  <a:cubicBezTo>
                    <a:pt x="564035" y="735372"/>
                    <a:pt x="553156" y="732653"/>
                    <a:pt x="544997" y="729933"/>
                  </a:cubicBezTo>
                  <a:cubicBezTo>
                    <a:pt x="539558" y="727213"/>
                    <a:pt x="536838" y="724494"/>
                    <a:pt x="534119" y="721774"/>
                  </a:cubicBezTo>
                  <a:cubicBezTo>
                    <a:pt x="520520" y="721774"/>
                    <a:pt x="509641" y="721774"/>
                    <a:pt x="496043" y="721774"/>
                  </a:cubicBezTo>
                  <a:cubicBezTo>
                    <a:pt x="487884" y="721774"/>
                    <a:pt x="479725" y="721774"/>
                    <a:pt x="471566" y="721774"/>
                  </a:cubicBezTo>
                  <a:cubicBezTo>
                    <a:pt x="463407" y="721774"/>
                    <a:pt x="452529" y="721774"/>
                    <a:pt x="444370" y="716335"/>
                  </a:cubicBezTo>
                  <a:cubicBezTo>
                    <a:pt x="436211" y="713615"/>
                    <a:pt x="428052" y="705456"/>
                    <a:pt x="428052" y="700017"/>
                  </a:cubicBezTo>
                  <a:cubicBezTo>
                    <a:pt x="428052" y="697297"/>
                    <a:pt x="428052" y="694577"/>
                    <a:pt x="433491" y="691858"/>
                  </a:cubicBezTo>
                  <a:cubicBezTo>
                    <a:pt x="438930" y="689138"/>
                    <a:pt x="449809" y="686418"/>
                    <a:pt x="455248" y="683699"/>
                  </a:cubicBezTo>
                  <a:cubicBezTo>
                    <a:pt x="474286" y="680979"/>
                    <a:pt x="498763" y="678259"/>
                    <a:pt x="506922" y="678259"/>
                  </a:cubicBezTo>
                  <a:cubicBezTo>
                    <a:pt x="506922" y="678259"/>
                    <a:pt x="509641" y="678259"/>
                    <a:pt x="509641" y="678259"/>
                  </a:cubicBezTo>
                  <a:cubicBezTo>
                    <a:pt x="509641" y="672820"/>
                    <a:pt x="506922" y="670101"/>
                    <a:pt x="506922" y="664661"/>
                  </a:cubicBezTo>
                  <a:cubicBezTo>
                    <a:pt x="501483" y="640184"/>
                    <a:pt x="501483" y="612988"/>
                    <a:pt x="498763" y="580352"/>
                  </a:cubicBezTo>
                  <a:cubicBezTo>
                    <a:pt x="496043" y="547716"/>
                    <a:pt x="498763" y="512361"/>
                    <a:pt x="496043" y="479725"/>
                  </a:cubicBezTo>
                  <a:cubicBezTo>
                    <a:pt x="493324" y="449808"/>
                    <a:pt x="493324" y="419892"/>
                    <a:pt x="493324" y="389976"/>
                  </a:cubicBezTo>
                  <a:cubicBezTo>
                    <a:pt x="493324" y="360060"/>
                    <a:pt x="490604" y="332863"/>
                    <a:pt x="490604" y="302947"/>
                  </a:cubicBezTo>
                  <a:cubicBezTo>
                    <a:pt x="487884" y="275751"/>
                    <a:pt x="487884" y="240395"/>
                    <a:pt x="487884" y="229516"/>
                  </a:cubicBezTo>
                  <a:cubicBezTo>
                    <a:pt x="487884" y="224077"/>
                    <a:pt x="487884" y="221357"/>
                    <a:pt x="485165" y="221357"/>
                  </a:cubicBezTo>
                  <a:cubicBezTo>
                    <a:pt x="485165" y="221357"/>
                    <a:pt x="482445" y="224077"/>
                    <a:pt x="482445" y="226797"/>
                  </a:cubicBezTo>
                  <a:cubicBezTo>
                    <a:pt x="479725" y="237675"/>
                    <a:pt x="479725" y="251274"/>
                    <a:pt x="477006" y="262152"/>
                  </a:cubicBezTo>
                  <a:cubicBezTo>
                    <a:pt x="471566" y="289349"/>
                    <a:pt x="466127" y="316545"/>
                    <a:pt x="460688" y="341022"/>
                  </a:cubicBezTo>
                  <a:cubicBezTo>
                    <a:pt x="455248" y="365499"/>
                    <a:pt x="447090" y="392696"/>
                    <a:pt x="444370" y="417173"/>
                  </a:cubicBezTo>
                  <a:cubicBezTo>
                    <a:pt x="441650" y="430771"/>
                    <a:pt x="438930" y="441650"/>
                    <a:pt x="436211" y="455248"/>
                  </a:cubicBezTo>
                  <a:cubicBezTo>
                    <a:pt x="433491" y="468846"/>
                    <a:pt x="428052" y="479725"/>
                    <a:pt x="425332" y="493323"/>
                  </a:cubicBezTo>
                  <a:cubicBezTo>
                    <a:pt x="422612" y="506921"/>
                    <a:pt x="419893" y="520520"/>
                    <a:pt x="411734" y="531398"/>
                  </a:cubicBezTo>
                  <a:cubicBezTo>
                    <a:pt x="406295" y="539557"/>
                    <a:pt x="395416" y="547716"/>
                    <a:pt x="376378" y="547716"/>
                  </a:cubicBezTo>
                  <a:cubicBezTo>
                    <a:pt x="357341" y="547716"/>
                    <a:pt x="335583" y="539557"/>
                    <a:pt x="319265" y="525959"/>
                  </a:cubicBezTo>
                  <a:cubicBezTo>
                    <a:pt x="300228" y="506921"/>
                    <a:pt x="294788" y="479725"/>
                    <a:pt x="289349" y="455248"/>
                  </a:cubicBezTo>
                  <a:cubicBezTo>
                    <a:pt x="283910" y="428051"/>
                    <a:pt x="278470" y="400855"/>
                    <a:pt x="273031" y="373658"/>
                  </a:cubicBezTo>
                  <a:cubicBezTo>
                    <a:pt x="273031" y="368219"/>
                    <a:pt x="267592" y="346462"/>
                    <a:pt x="262153" y="316545"/>
                  </a:cubicBezTo>
                  <a:cubicBezTo>
                    <a:pt x="256713" y="292068"/>
                    <a:pt x="251274" y="262152"/>
                    <a:pt x="245835" y="237675"/>
                  </a:cubicBezTo>
                  <a:cubicBezTo>
                    <a:pt x="240395" y="218638"/>
                    <a:pt x="237675" y="205039"/>
                    <a:pt x="234956" y="196881"/>
                  </a:cubicBezTo>
                  <a:cubicBezTo>
                    <a:pt x="232236" y="191441"/>
                    <a:pt x="232236" y="191441"/>
                    <a:pt x="232236" y="191441"/>
                  </a:cubicBezTo>
                  <a:cubicBezTo>
                    <a:pt x="229517" y="191441"/>
                    <a:pt x="229517" y="196881"/>
                    <a:pt x="226797" y="207759"/>
                  </a:cubicBezTo>
                  <a:cubicBezTo>
                    <a:pt x="226797" y="215918"/>
                    <a:pt x="226797" y="229516"/>
                    <a:pt x="226797" y="232236"/>
                  </a:cubicBezTo>
                  <a:cubicBezTo>
                    <a:pt x="226797" y="243115"/>
                    <a:pt x="224077" y="256713"/>
                    <a:pt x="224077" y="267592"/>
                  </a:cubicBezTo>
                  <a:cubicBezTo>
                    <a:pt x="224077" y="278470"/>
                    <a:pt x="224077" y="294788"/>
                    <a:pt x="221358" y="311106"/>
                  </a:cubicBezTo>
                  <a:cubicBezTo>
                    <a:pt x="221358" y="327424"/>
                    <a:pt x="218638" y="343742"/>
                    <a:pt x="218638" y="360060"/>
                  </a:cubicBezTo>
                  <a:cubicBezTo>
                    <a:pt x="218638" y="373658"/>
                    <a:pt x="215919" y="384537"/>
                    <a:pt x="215919" y="398135"/>
                  </a:cubicBezTo>
                  <a:cubicBezTo>
                    <a:pt x="215919" y="409014"/>
                    <a:pt x="213199" y="419892"/>
                    <a:pt x="213199" y="430771"/>
                  </a:cubicBezTo>
                  <a:cubicBezTo>
                    <a:pt x="213199" y="438930"/>
                    <a:pt x="213199" y="447089"/>
                    <a:pt x="213199" y="455248"/>
                  </a:cubicBezTo>
                  <a:cubicBezTo>
                    <a:pt x="213199" y="463407"/>
                    <a:pt x="213199" y="471566"/>
                    <a:pt x="213199" y="477005"/>
                  </a:cubicBezTo>
                  <a:cubicBezTo>
                    <a:pt x="210479" y="490603"/>
                    <a:pt x="207759" y="506921"/>
                    <a:pt x="207759" y="520520"/>
                  </a:cubicBezTo>
                  <a:cubicBezTo>
                    <a:pt x="202320" y="550436"/>
                    <a:pt x="199600" y="580352"/>
                    <a:pt x="196881" y="610268"/>
                  </a:cubicBezTo>
                  <a:cubicBezTo>
                    <a:pt x="196881" y="623866"/>
                    <a:pt x="196881" y="640184"/>
                    <a:pt x="194161" y="653783"/>
                  </a:cubicBezTo>
                  <a:cubicBezTo>
                    <a:pt x="194161" y="659222"/>
                    <a:pt x="194161" y="661942"/>
                    <a:pt x="191441" y="667381"/>
                  </a:cubicBezTo>
                  <a:cubicBezTo>
                    <a:pt x="213199" y="667381"/>
                    <a:pt x="232236" y="667381"/>
                    <a:pt x="243115" y="667381"/>
                  </a:cubicBezTo>
                  <a:cubicBezTo>
                    <a:pt x="253994" y="667381"/>
                    <a:pt x="273031" y="670101"/>
                    <a:pt x="273031" y="683699"/>
                  </a:cubicBezTo>
                  <a:cubicBezTo>
                    <a:pt x="273031" y="691858"/>
                    <a:pt x="267592" y="691858"/>
                    <a:pt x="262153" y="697297"/>
                  </a:cubicBezTo>
                  <a:cubicBezTo>
                    <a:pt x="259433" y="702736"/>
                    <a:pt x="253994" y="705456"/>
                    <a:pt x="248554" y="705456"/>
                  </a:cubicBezTo>
                  <a:cubicBezTo>
                    <a:pt x="240395" y="708176"/>
                    <a:pt x="234956" y="708176"/>
                    <a:pt x="232236" y="708176"/>
                  </a:cubicBezTo>
                  <a:cubicBezTo>
                    <a:pt x="226797" y="708176"/>
                    <a:pt x="175124" y="708176"/>
                    <a:pt x="166965" y="708176"/>
                  </a:cubicBezTo>
                  <a:cubicBezTo>
                    <a:pt x="156086" y="708176"/>
                    <a:pt x="120730" y="708176"/>
                    <a:pt x="109852" y="708176"/>
                  </a:cubicBezTo>
                  <a:cubicBezTo>
                    <a:pt x="104412" y="708176"/>
                    <a:pt x="96253" y="708176"/>
                    <a:pt x="90814" y="708176"/>
                  </a:cubicBezTo>
                  <a:cubicBezTo>
                    <a:pt x="85375" y="708176"/>
                    <a:pt x="77216" y="705456"/>
                    <a:pt x="69057" y="702736"/>
                  </a:cubicBezTo>
                  <a:cubicBezTo>
                    <a:pt x="63617" y="700017"/>
                    <a:pt x="58178" y="691858"/>
                    <a:pt x="58178" y="686418"/>
                  </a:cubicBezTo>
                  <a:cubicBezTo>
                    <a:pt x="58178" y="683699"/>
                    <a:pt x="58178" y="680979"/>
                    <a:pt x="60898" y="678259"/>
                  </a:cubicBezTo>
                  <a:cubicBezTo>
                    <a:pt x="63617" y="675540"/>
                    <a:pt x="71777" y="672820"/>
                    <a:pt x="77216" y="670101"/>
                  </a:cubicBezTo>
                  <a:cubicBezTo>
                    <a:pt x="90814" y="667381"/>
                    <a:pt x="120730" y="664661"/>
                    <a:pt x="126170" y="664661"/>
                  </a:cubicBezTo>
                  <a:cubicBezTo>
                    <a:pt x="128889" y="664661"/>
                    <a:pt x="134329" y="664661"/>
                    <a:pt x="142487" y="664661"/>
                  </a:cubicBezTo>
                  <a:cubicBezTo>
                    <a:pt x="142487" y="640184"/>
                    <a:pt x="147927" y="612988"/>
                    <a:pt x="147927" y="588511"/>
                  </a:cubicBezTo>
                  <a:cubicBezTo>
                    <a:pt x="150646" y="555875"/>
                    <a:pt x="153366" y="523239"/>
                    <a:pt x="153366" y="493323"/>
                  </a:cubicBezTo>
                  <a:cubicBezTo>
                    <a:pt x="153366" y="466126"/>
                    <a:pt x="156086" y="438930"/>
                    <a:pt x="156086" y="411733"/>
                  </a:cubicBezTo>
                  <a:cubicBezTo>
                    <a:pt x="158806" y="373658"/>
                    <a:pt x="158806" y="335583"/>
                    <a:pt x="161525" y="297508"/>
                  </a:cubicBezTo>
                  <a:cubicBezTo>
                    <a:pt x="161525" y="278470"/>
                    <a:pt x="164245" y="259433"/>
                    <a:pt x="166965" y="240395"/>
                  </a:cubicBezTo>
                  <a:cubicBezTo>
                    <a:pt x="169684" y="210479"/>
                    <a:pt x="172404" y="191441"/>
                    <a:pt x="177843" y="161525"/>
                  </a:cubicBezTo>
                  <a:cubicBezTo>
                    <a:pt x="180563" y="147927"/>
                    <a:pt x="180563" y="131609"/>
                    <a:pt x="183282" y="118011"/>
                  </a:cubicBezTo>
                  <a:cubicBezTo>
                    <a:pt x="183282" y="118011"/>
                    <a:pt x="183282" y="115291"/>
                    <a:pt x="183282" y="115291"/>
                  </a:cubicBezTo>
                  <a:cubicBezTo>
                    <a:pt x="177843" y="115291"/>
                    <a:pt x="172404" y="115291"/>
                    <a:pt x="161525" y="115291"/>
                  </a:cubicBezTo>
                  <a:cubicBezTo>
                    <a:pt x="153366" y="115291"/>
                    <a:pt x="145207" y="115291"/>
                    <a:pt x="137048" y="115291"/>
                  </a:cubicBezTo>
                  <a:cubicBezTo>
                    <a:pt x="128889" y="115291"/>
                    <a:pt x="118011" y="115291"/>
                    <a:pt x="109852" y="109851"/>
                  </a:cubicBezTo>
                  <a:cubicBezTo>
                    <a:pt x="101693" y="107132"/>
                    <a:pt x="93534" y="98973"/>
                    <a:pt x="93534" y="93534"/>
                  </a:cubicBezTo>
                  <a:cubicBezTo>
                    <a:pt x="93534" y="90814"/>
                    <a:pt x="93534" y="88094"/>
                    <a:pt x="98973" y="85375"/>
                  </a:cubicBezTo>
                  <a:cubicBezTo>
                    <a:pt x="104412" y="82655"/>
                    <a:pt x="115291" y="79935"/>
                    <a:pt x="120730" y="77216"/>
                  </a:cubicBezTo>
                  <a:cubicBezTo>
                    <a:pt x="139768" y="74496"/>
                    <a:pt x="164245" y="71776"/>
                    <a:pt x="172404" y="71776"/>
                  </a:cubicBezTo>
                  <a:cubicBezTo>
                    <a:pt x="194161" y="71776"/>
                    <a:pt x="210479" y="69057"/>
                    <a:pt x="234956" y="69057"/>
                  </a:cubicBezTo>
                  <a:cubicBezTo>
                    <a:pt x="237675" y="69057"/>
                    <a:pt x="240395" y="69057"/>
                    <a:pt x="243115" y="69057"/>
                  </a:cubicBezTo>
                  <a:cubicBezTo>
                    <a:pt x="251274" y="69057"/>
                    <a:pt x="262153" y="69057"/>
                    <a:pt x="270312" y="74496"/>
                  </a:cubicBezTo>
                  <a:cubicBezTo>
                    <a:pt x="283910" y="82655"/>
                    <a:pt x="300228" y="96253"/>
                    <a:pt x="308387" y="123450"/>
                  </a:cubicBezTo>
                  <a:cubicBezTo>
                    <a:pt x="316546" y="147927"/>
                    <a:pt x="327424" y="175123"/>
                    <a:pt x="332864" y="202320"/>
                  </a:cubicBezTo>
                  <a:cubicBezTo>
                    <a:pt x="335583" y="213198"/>
                    <a:pt x="335583" y="226797"/>
                    <a:pt x="338303" y="237675"/>
                  </a:cubicBezTo>
                  <a:cubicBezTo>
                    <a:pt x="343742" y="251274"/>
                    <a:pt x="346462" y="264872"/>
                    <a:pt x="349182" y="281190"/>
                  </a:cubicBezTo>
                  <a:cubicBezTo>
                    <a:pt x="351901" y="292068"/>
                    <a:pt x="351901" y="305667"/>
                    <a:pt x="357341" y="316545"/>
                  </a:cubicBezTo>
                  <a:cubicBezTo>
                    <a:pt x="362780" y="327424"/>
                    <a:pt x="362780" y="338303"/>
                    <a:pt x="365500" y="351901"/>
                  </a:cubicBezTo>
                  <a:cubicBezTo>
                    <a:pt x="365500" y="357340"/>
                    <a:pt x="373658" y="373658"/>
                    <a:pt x="376378" y="389976"/>
                  </a:cubicBezTo>
                  <a:cubicBezTo>
                    <a:pt x="381817" y="403574"/>
                    <a:pt x="384537" y="414453"/>
                    <a:pt x="387257" y="414453"/>
                  </a:cubicBezTo>
                  <a:cubicBezTo>
                    <a:pt x="392696" y="414453"/>
                    <a:pt x="395416" y="381817"/>
                    <a:pt x="398136" y="376378"/>
                  </a:cubicBezTo>
                  <a:cubicBezTo>
                    <a:pt x="400855" y="362779"/>
                    <a:pt x="403575" y="346462"/>
                    <a:pt x="406295" y="332863"/>
                  </a:cubicBezTo>
                  <a:cubicBezTo>
                    <a:pt x="411734" y="302947"/>
                    <a:pt x="417173" y="273031"/>
                    <a:pt x="425332" y="243115"/>
                  </a:cubicBezTo>
                  <a:cubicBezTo>
                    <a:pt x="430771" y="213198"/>
                    <a:pt x="436211" y="180563"/>
                    <a:pt x="444370" y="150646"/>
                  </a:cubicBezTo>
                  <a:cubicBezTo>
                    <a:pt x="449809" y="126170"/>
                    <a:pt x="460688" y="98973"/>
                    <a:pt x="477006" y="79935"/>
                  </a:cubicBezTo>
                  <a:cubicBezTo>
                    <a:pt x="487884" y="66337"/>
                    <a:pt x="506922" y="58178"/>
                    <a:pt x="523240" y="58178"/>
                  </a:cubicBezTo>
                  <a:cubicBezTo>
                    <a:pt x="528679" y="58178"/>
                    <a:pt x="539558" y="58178"/>
                    <a:pt x="544997" y="63617"/>
                  </a:cubicBezTo>
                  <a:lnTo>
                    <a:pt x="612988" y="63617"/>
                  </a:lnTo>
                  <a:cubicBezTo>
                    <a:pt x="626587" y="63617"/>
                    <a:pt x="651064" y="63617"/>
                    <a:pt x="651064" y="79935"/>
                  </a:cubicBezTo>
                  <a:cubicBezTo>
                    <a:pt x="651064" y="88094"/>
                    <a:pt x="648344" y="88094"/>
                    <a:pt x="645624" y="96253"/>
                  </a:cubicBezTo>
                  <a:cubicBezTo>
                    <a:pt x="640185" y="101693"/>
                    <a:pt x="634746" y="104412"/>
                    <a:pt x="629307" y="104412"/>
                  </a:cubicBezTo>
                  <a:cubicBezTo>
                    <a:pt x="621147" y="107132"/>
                    <a:pt x="612988" y="107132"/>
                    <a:pt x="607549" y="107132"/>
                  </a:cubicBezTo>
                  <a:cubicBezTo>
                    <a:pt x="604829" y="107132"/>
                    <a:pt x="591231" y="107132"/>
                    <a:pt x="580353" y="107132"/>
                  </a:cubicBezTo>
                  <a:cubicBezTo>
                    <a:pt x="580353" y="109851"/>
                    <a:pt x="583072" y="112571"/>
                    <a:pt x="583072" y="115291"/>
                  </a:cubicBezTo>
                  <a:cubicBezTo>
                    <a:pt x="585792" y="128889"/>
                    <a:pt x="585792" y="142487"/>
                    <a:pt x="588512" y="156086"/>
                  </a:cubicBezTo>
                  <a:cubicBezTo>
                    <a:pt x="591231" y="169684"/>
                    <a:pt x="591231" y="183282"/>
                    <a:pt x="593951" y="196881"/>
                  </a:cubicBezTo>
                  <a:cubicBezTo>
                    <a:pt x="593951" y="207759"/>
                    <a:pt x="599390" y="215918"/>
                    <a:pt x="599390" y="226797"/>
                  </a:cubicBezTo>
                  <a:cubicBezTo>
                    <a:pt x="599390" y="229516"/>
                    <a:pt x="599390" y="229516"/>
                    <a:pt x="599390" y="232236"/>
                  </a:cubicBezTo>
                  <a:cubicBezTo>
                    <a:pt x="599390" y="234956"/>
                    <a:pt x="599390" y="237675"/>
                    <a:pt x="599390" y="240395"/>
                  </a:cubicBezTo>
                  <a:cubicBezTo>
                    <a:pt x="599390" y="251274"/>
                    <a:pt x="599390" y="259433"/>
                    <a:pt x="602110" y="270311"/>
                  </a:cubicBezTo>
                  <a:cubicBezTo>
                    <a:pt x="604829" y="283909"/>
                    <a:pt x="607549" y="294788"/>
                    <a:pt x="607549" y="308386"/>
                  </a:cubicBezTo>
                  <a:cubicBezTo>
                    <a:pt x="607549" y="311106"/>
                    <a:pt x="607549" y="316545"/>
                    <a:pt x="607549" y="319265"/>
                  </a:cubicBezTo>
                  <a:cubicBezTo>
                    <a:pt x="607549" y="324704"/>
                    <a:pt x="610269" y="330144"/>
                    <a:pt x="612988" y="335583"/>
                  </a:cubicBezTo>
                  <a:cubicBezTo>
                    <a:pt x="612988" y="338303"/>
                    <a:pt x="612988" y="343742"/>
                    <a:pt x="612988" y="346462"/>
                  </a:cubicBezTo>
                  <a:cubicBezTo>
                    <a:pt x="612988" y="354620"/>
                    <a:pt x="612988" y="362779"/>
                    <a:pt x="612988" y="370939"/>
                  </a:cubicBezTo>
                  <a:cubicBezTo>
                    <a:pt x="612988" y="379097"/>
                    <a:pt x="612988" y="387256"/>
                    <a:pt x="612988" y="395415"/>
                  </a:cubicBezTo>
                  <a:cubicBezTo>
                    <a:pt x="612988" y="403574"/>
                    <a:pt x="615708" y="414453"/>
                    <a:pt x="615708" y="422612"/>
                  </a:cubicBezTo>
                  <a:cubicBezTo>
                    <a:pt x="618428" y="430771"/>
                    <a:pt x="618428" y="436210"/>
                    <a:pt x="618428" y="441650"/>
                  </a:cubicBezTo>
                  <a:cubicBezTo>
                    <a:pt x="618428" y="444369"/>
                    <a:pt x="618428" y="449808"/>
                    <a:pt x="618428" y="455248"/>
                  </a:cubicBezTo>
                  <a:cubicBezTo>
                    <a:pt x="618428" y="460687"/>
                    <a:pt x="618428" y="460687"/>
                    <a:pt x="621147" y="463407"/>
                  </a:cubicBezTo>
                  <a:cubicBezTo>
                    <a:pt x="623867" y="471566"/>
                    <a:pt x="623867" y="477005"/>
                    <a:pt x="626587" y="482444"/>
                  </a:cubicBezTo>
                  <a:cubicBezTo>
                    <a:pt x="629307" y="493323"/>
                    <a:pt x="629307" y="506921"/>
                    <a:pt x="629307" y="517800"/>
                  </a:cubicBezTo>
                  <a:cubicBezTo>
                    <a:pt x="632026" y="534118"/>
                    <a:pt x="632026" y="547716"/>
                    <a:pt x="634746" y="561314"/>
                  </a:cubicBezTo>
                  <a:cubicBezTo>
                    <a:pt x="634746" y="564034"/>
                    <a:pt x="634746" y="564034"/>
                    <a:pt x="634746" y="566754"/>
                  </a:cubicBezTo>
                  <a:cubicBezTo>
                    <a:pt x="634746" y="572193"/>
                    <a:pt x="634746" y="577632"/>
                    <a:pt x="634746" y="583072"/>
                  </a:cubicBezTo>
                  <a:cubicBezTo>
                    <a:pt x="634746" y="596670"/>
                    <a:pt x="637466" y="602109"/>
                    <a:pt x="637466" y="607548"/>
                  </a:cubicBezTo>
                  <a:cubicBezTo>
                    <a:pt x="637466" y="610268"/>
                    <a:pt x="640185" y="615708"/>
                    <a:pt x="640185" y="618427"/>
                  </a:cubicBezTo>
                  <a:cubicBezTo>
                    <a:pt x="640185" y="623866"/>
                    <a:pt x="640185" y="629306"/>
                    <a:pt x="640185" y="632025"/>
                  </a:cubicBezTo>
                  <a:cubicBezTo>
                    <a:pt x="640185" y="634745"/>
                    <a:pt x="640185" y="637465"/>
                    <a:pt x="640185" y="640184"/>
                  </a:cubicBezTo>
                  <a:cubicBezTo>
                    <a:pt x="640185" y="645624"/>
                    <a:pt x="642905" y="653783"/>
                    <a:pt x="642905" y="659222"/>
                  </a:cubicBezTo>
                  <a:cubicBezTo>
                    <a:pt x="642905" y="661942"/>
                    <a:pt x="642905" y="661942"/>
                    <a:pt x="642905" y="664661"/>
                  </a:cubicBezTo>
                  <a:cubicBezTo>
                    <a:pt x="645624" y="678259"/>
                    <a:pt x="651064" y="678259"/>
                    <a:pt x="653783" y="678259"/>
                  </a:cubicBezTo>
                  <a:lnTo>
                    <a:pt x="653783" y="678259"/>
                  </a:ln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/>
            </a:p>
          </p:txBody>
        </p:sp>
        <p:sp>
          <p:nvSpPr>
            <p:cNvPr id="46" name="Freeform: Shape 45">
              <a:extLst>
                <a:ext uri="{FF2B5EF4-FFF2-40B4-BE49-F238E27FC236}">
                  <a16:creationId xmlns:a16="http://schemas.microsoft.com/office/drawing/2014/main" id="{BC039864-996D-45FB-8953-B06D02EC1B41}"/>
                </a:ext>
              </a:extLst>
            </p:cNvPr>
            <p:cNvSpPr/>
            <p:nvPr/>
          </p:nvSpPr>
          <p:spPr>
            <a:xfrm>
              <a:off x="6362526" y="4242177"/>
              <a:ext cx="492259" cy="674476"/>
            </a:xfrm>
            <a:custGeom>
              <a:avLst/>
              <a:gdLst>
                <a:gd name="connsiteX0" fmla="*/ 225733 w 492259"/>
                <a:gd name="connsiteY0" fmla="*/ 97907 h 674476"/>
                <a:gd name="connsiteX1" fmla="*/ 209415 w 492259"/>
                <a:gd name="connsiteY1" fmla="*/ 119665 h 674476"/>
                <a:gd name="connsiteX2" fmla="*/ 201256 w 492259"/>
                <a:gd name="connsiteY2" fmla="*/ 152300 h 674476"/>
                <a:gd name="connsiteX3" fmla="*/ 198536 w 492259"/>
                <a:gd name="connsiteY3" fmla="*/ 168618 h 674476"/>
                <a:gd name="connsiteX4" fmla="*/ 195817 w 492259"/>
                <a:gd name="connsiteY4" fmla="*/ 184936 h 674476"/>
                <a:gd name="connsiteX5" fmla="*/ 187658 w 492259"/>
                <a:gd name="connsiteY5" fmla="*/ 220292 h 674476"/>
                <a:gd name="connsiteX6" fmla="*/ 168620 w 492259"/>
                <a:gd name="connsiteY6" fmla="*/ 291003 h 674476"/>
                <a:gd name="connsiteX7" fmla="*/ 160461 w 492259"/>
                <a:gd name="connsiteY7" fmla="*/ 323639 h 674476"/>
                <a:gd name="connsiteX8" fmla="*/ 149582 w 492259"/>
                <a:gd name="connsiteY8" fmla="*/ 361714 h 674476"/>
                <a:gd name="connsiteX9" fmla="*/ 144143 w 492259"/>
                <a:gd name="connsiteY9" fmla="*/ 388910 h 674476"/>
                <a:gd name="connsiteX10" fmla="*/ 149582 w 492259"/>
                <a:gd name="connsiteY10" fmla="*/ 391630 h 674476"/>
                <a:gd name="connsiteX11" fmla="*/ 171340 w 492259"/>
                <a:gd name="connsiteY11" fmla="*/ 391630 h 674476"/>
                <a:gd name="connsiteX12" fmla="*/ 193097 w 492259"/>
                <a:gd name="connsiteY12" fmla="*/ 388910 h 674476"/>
                <a:gd name="connsiteX13" fmla="*/ 212135 w 492259"/>
                <a:gd name="connsiteY13" fmla="*/ 388910 h 674476"/>
                <a:gd name="connsiteX14" fmla="*/ 236611 w 492259"/>
                <a:gd name="connsiteY14" fmla="*/ 388910 h 674476"/>
                <a:gd name="connsiteX15" fmla="*/ 250210 w 492259"/>
                <a:gd name="connsiteY15" fmla="*/ 386191 h 674476"/>
                <a:gd name="connsiteX16" fmla="*/ 258369 w 492259"/>
                <a:gd name="connsiteY16" fmla="*/ 386191 h 674476"/>
                <a:gd name="connsiteX17" fmla="*/ 255649 w 492259"/>
                <a:gd name="connsiteY17" fmla="*/ 367153 h 674476"/>
                <a:gd name="connsiteX18" fmla="*/ 250210 w 492259"/>
                <a:gd name="connsiteY18" fmla="*/ 331797 h 674476"/>
                <a:gd name="connsiteX19" fmla="*/ 247490 w 492259"/>
                <a:gd name="connsiteY19" fmla="*/ 244769 h 674476"/>
                <a:gd name="connsiteX20" fmla="*/ 242051 w 492259"/>
                <a:gd name="connsiteY20" fmla="*/ 203974 h 674476"/>
                <a:gd name="connsiteX21" fmla="*/ 236611 w 492259"/>
                <a:gd name="connsiteY21" fmla="*/ 157740 h 674476"/>
                <a:gd name="connsiteX22" fmla="*/ 233892 w 492259"/>
                <a:gd name="connsiteY22" fmla="*/ 119665 h 674476"/>
                <a:gd name="connsiteX23" fmla="*/ 225733 w 492259"/>
                <a:gd name="connsiteY23" fmla="*/ 97907 h 674476"/>
                <a:gd name="connsiteX24" fmla="*/ 274687 w 492259"/>
                <a:gd name="connsiteY24" fmla="*/ 0 h 674476"/>
                <a:gd name="connsiteX25" fmla="*/ 304603 w 492259"/>
                <a:gd name="connsiteY25" fmla="*/ 5439 h 674476"/>
                <a:gd name="connsiteX26" fmla="*/ 320921 w 492259"/>
                <a:gd name="connsiteY26" fmla="*/ 24477 h 674476"/>
                <a:gd name="connsiteX27" fmla="*/ 334519 w 492259"/>
                <a:gd name="connsiteY27" fmla="*/ 43515 h 674476"/>
                <a:gd name="connsiteX28" fmla="*/ 339959 w 492259"/>
                <a:gd name="connsiteY28" fmla="*/ 65272 h 674476"/>
                <a:gd name="connsiteX29" fmla="*/ 348118 w 492259"/>
                <a:gd name="connsiteY29" fmla="*/ 114226 h 674476"/>
                <a:gd name="connsiteX30" fmla="*/ 361716 w 492259"/>
                <a:gd name="connsiteY30" fmla="*/ 163180 h 674476"/>
                <a:gd name="connsiteX31" fmla="*/ 369875 w 492259"/>
                <a:gd name="connsiteY31" fmla="*/ 220293 h 674476"/>
                <a:gd name="connsiteX32" fmla="*/ 378034 w 492259"/>
                <a:gd name="connsiteY32" fmla="*/ 274686 h 674476"/>
                <a:gd name="connsiteX33" fmla="*/ 383473 w 492259"/>
                <a:gd name="connsiteY33" fmla="*/ 301883 h 674476"/>
                <a:gd name="connsiteX34" fmla="*/ 391632 w 492259"/>
                <a:gd name="connsiteY34" fmla="*/ 337238 h 674476"/>
                <a:gd name="connsiteX35" fmla="*/ 397071 w 492259"/>
                <a:gd name="connsiteY35" fmla="*/ 364435 h 674476"/>
                <a:gd name="connsiteX36" fmla="*/ 405230 w 492259"/>
                <a:gd name="connsiteY36" fmla="*/ 383473 h 674476"/>
                <a:gd name="connsiteX37" fmla="*/ 416109 w 492259"/>
                <a:gd name="connsiteY37" fmla="*/ 386192 h 674476"/>
                <a:gd name="connsiteX38" fmla="*/ 426988 w 492259"/>
                <a:gd name="connsiteY38" fmla="*/ 386192 h 674476"/>
                <a:gd name="connsiteX39" fmla="*/ 454184 w 492259"/>
                <a:gd name="connsiteY39" fmla="*/ 397071 h 674476"/>
                <a:gd name="connsiteX40" fmla="*/ 456904 w 492259"/>
                <a:gd name="connsiteY40" fmla="*/ 405230 h 674476"/>
                <a:gd name="connsiteX41" fmla="*/ 451464 w 492259"/>
                <a:gd name="connsiteY41" fmla="*/ 416108 h 674476"/>
                <a:gd name="connsiteX42" fmla="*/ 432427 w 492259"/>
                <a:gd name="connsiteY42" fmla="*/ 429707 h 674476"/>
                <a:gd name="connsiteX43" fmla="*/ 421548 w 492259"/>
                <a:gd name="connsiteY43" fmla="*/ 432426 h 674476"/>
                <a:gd name="connsiteX44" fmla="*/ 413389 w 492259"/>
                <a:gd name="connsiteY44" fmla="*/ 435146 h 674476"/>
                <a:gd name="connsiteX45" fmla="*/ 413389 w 492259"/>
                <a:gd name="connsiteY45" fmla="*/ 440585 h 674476"/>
                <a:gd name="connsiteX46" fmla="*/ 416109 w 492259"/>
                <a:gd name="connsiteY46" fmla="*/ 451464 h 674476"/>
                <a:gd name="connsiteX47" fmla="*/ 418829 w 492259"/>
                <a:gd name="connsiteY47" fmla="*/ 465062 h 674476"/>
                <a:gd name="connsiteX48" fmla="*/ 418829 w 492259"/>
                <a:gd name="connsiteY48" fmla="*/ 475941 h 674476"/>
                <a:gd name="connsiteX49" fmla="*/ 418829 w 492259"/>
                <a:gd name="connsiteY49" fmla="*/ 486820 h 674476"/>
                <a:gd name="connsiteX50" fmla="*/ 426988 w 492259"/>
                <a:gd name="connsiteY50" fmla="*/ 516736 h 674476"/>
                <a:gd name="connsiteX51" fmla="*/ 432427 w 492259"/>
                <a:gd name="connsiteY51" fmla="*/ 543932 h 674476"/>
                <a:gd name="connsiteX52" fmla="*/ 437866 w 492259"/>
                <a:gd name="connsiteY52" fmla="*/ 573848 h 674476"/>
                <a:gd name="connsiteX53" fmla="*/ 443306 w 492259"/>
                <a:gd name="connsiteY53" fmla="*/ 606484 h 674476"/>
                <a:gd name="connsiteX54" fmla="*/ 446025 w 492259"/>
                <a:gd name="connsiteY54" fmla="*/ 617363 h 674476"/>
                <a:gd name="connsiteX55" fmla="*/ 470502 w 492259"/>
                <a:gd name="connsiteY55" fmla="*/ 617363 h 674476"/>
                <a:gd name="connsiteX56" fmla="*/ 492259 w 492259"/>
                <a:gd name="connsiteY56" fmla="*/ 641840 h 674476"/>
                <a:gd name="connsiteX57" fmla="*/ 484101 w 492259"/>
                <a:gd name="connsiteY57" fmla="*/ 655438 h 674476"/>
                <a:gd name="connsiteX58" fmla="*/ 467782 w 492259"/>
                <a:gd name="connsiteY58" fmla="*/ 663597 h 674476"/>
                <a:gd name="connsiteX59" fmla="*/ 443306 w 492259"/>
                <a:gd name="connsiteY59" fmla="*/ 666317 h 674476"/>
                <a:gd name="connsiteX60" fmla="*/ 421548 w 492259"/>
                <a:gd name="connsiteY60" fmla="*/ 666317 h 674476"/>
                <a:gd name="connsiteX61" fmla="*/ 413389 w 492259"/>
                <a:gd name="connsiteY61" fmla="*/ 666317 h 674476"/>
                <a:gd name="connsiteX62" fmla="*/ 399791 w 492259"/>
                <a:gd name="connsiteY62" fmla="*/ 671756 h 674476"/>
                <a:gd name="connsiteX63" fmla="*/ 383473 w 492259"/>
                <a:gd name="connsiteY63" fmla="*/ 674476 h 674476"/>
                <a:gd name="connsiteX64" fmla="*/ 348118 w 492259"/>
                <a:gd name="connsiteY64" fmla="*/ 669036 h 674476"/>
                <a:gd name="connsiteX65" fmla="*/ 326360 w 492259"/>
                <a:gd name="connsiteY65" fmla="*/ 669036 h 674476"/>
                <a:gd name="connsiteX66" fmla="*/ 277406 w 492259"/>
                <a:gd name="connsiteY66" fmla="*/ 669036 h 674476"/>
                <a:gd name="connsiteX67" fmla="*/ 252930 w 492259"/>
                <a:gd name="connsiteY67" fmla="*/ 663597 h 674476"/>
                <a:gd name="connsiteX68" fmla="*/ 236611 w 492259"/>
                <a:gd name="connsiteY68" fmla="*/ 647279 h 674476"/>
                <a:gd name="connsiteX69" fmla="*/ 261088 w 492259"/>
                <a:gd name="connsiteY69" fmla="*/ 630961 h 674476"/>
                <a:gd name="connsiteX70" fmla="*/ 288285 w 492259"/>
                <a:gd name="connsiteY70" fmla="*/ 628241 h 674476"/>
                <a:gd name="connsiteX71" fmla="*/ 285565 w 492259"/>
                <a:gd name="connsiteY71" fmla="*/ 609204 h 674476"/>
                <a:gd name="connsiteX72" fmla="*/ 282846 w 492259"/>
                <a:gd name="connsiteY72" fmla="*/ 582007 h 674476"/>
                <a:gd name="connsiteX73" fmla="*/ 280126 w 492259"/>
                <a:gd name="connsiteY73" fmla="*/ 568409 h 674476"/>
                <a:gd name="connsiteX74" fmla="*/ 282846 w 492259"/>
                <a:gd name="connsiteY74" fmla="*/ 554811 h 674476"/>
                <a:gd name="connsiteX75" fmla="*/ 277406 w 492259"/>
                <a:gd name="connsiteY75" fmla="*/ 538493 h 674476"/>
                <a:gd name="connsiteX76" fmla="*/ 271967 w 492259"/>
                <a:gd name="connsiteY76" fmla="*/ 505857 h 674476"/>
                <a:gd name="connsiteX77" fmla="*/ 269247 w 492259"/>
                <a:gd name="connsiteY77" fmla="*/ 478660 h 674476"/>
                <a:gd name="connsiteX78" fmla="*/ 266528 w 492259"/>
                <a:gd name="connsiteY78" fmla="*/ 446025 h 674476"/>
                <a:gd name="connsiteX79" fmla="*/ 261088 w 492259"/>
                <a:gd name="connsiteY79" fmla="*/ 437866 h 674476"/>
                <a:gd name="connsiteX80" fmla="*/ 250210 w 492259"/>
                <a:gd name="connsiteY80" fmla="*/ 437866 h 674476"/>
                <a:gd name="connsiteX81" fmla="*/ 220293 w 492259"/>
                <a:gd name="connsiteY81" fmla="*/ 440585 h 674476"/>
                <a:gd name="connsiteX82" fmla="*/ 190377 w 492259"/>
                <a:gd name="connsiteY82" fmla="*/ 443305 h 674476"/>
                <a:gd name="connsiteX83" fmla="*/ 165900 w 492259"/>
                <a:gd name="connsiteY83" fmla="*/ 443305 h 674476"/>
                <a:gd name="connsiteX84" fmla="*/ 144143 w 492259"/>
                <a:gd name="connsiteY84" fmla="*/ 440585 h 674476"/>
                <a:gd name="connsiteX85" fmla="*/ 135984 w 492259"/>
                <a:gd name="connsiteY85" fmla="*/ 454184 h 674476"/>
                <a:gd name="connsiteX86" fmla="*/ 130545 w 492259"/>
                <a:gd name="connsiteY86" fmla="*/ 486820 h 674476"/>
                <a:gd name="connsiteX87" fmla="*/ 119666 w 492259"/>
                <a:gd name="connsiteY87" fmla="*/ 541213 h 674476"/>
                <a:gd name="connsiteX88" fmla="*/ 103348 w 492259"/>
                <a:gd name="connsiteY88" fmla="*/ 614643 h 674476"/>
                <a:gd name="connsiteX89" fmla="*/ 133264 w 492259"/>
                <a:gd name="connsiteY89" fmla="*/ 614643 h 674476"/>
                <a:gd name="connsiteX90" fmla="*/ 168620 w 492259"/>
                <a:gd name="connsiteY90" fmla="*/ 630961 h 674476"/>
                <a:gd name="connsiteX91" fmla="*/ 163181 w 492259"/>
                <a:gd name="connsiteY91" fmla="*/ 647279 h 674476"/>
                <a:gd name="connsiteX92" fmla="*/ 146863 w 492259"/>
                <a:gd name="connsiteY92" fmla="*/ 655438 h 674476"/>
                <a:gd name="connsiteX93" fmla="*/ 127825 w 492259"/>
                <a:gd name="connsiteY93" fmla="*/ 658158 h 674476"/>
                <a:gd name="connsiteX94" fmla="*/ 106068 w 492259"/>
                <a:gd name="connsiteY94" fmla="*/ 658158 h 674476"/>
                <a:gd name="connsiteX95" fmla="*/ 62552 w 492259"/>
                <a:gd name="connsiteY95" fmla="*/ 658158 h 674476"/>
                <a:gd name="connsiteX96" fmla="*/ 40795 w 492259"/>
                <a:gd name="connsiteY96" fmla="*/ 658158 h 674476"/>
                <a:gd name="connsiteX97" fmla="*/ 16318 w 492259"/>
                <a:gd name="connsiteY97" fmla="*/ 652718 h 674476"/>
                <a:gd name="connsiteX98" fmla="*/ 0 w 492259"/>
                <a:gd name="connsiteY98" fmla="*/ 636401 h 674476"/>
                <a:gd name="connsiteX99" fmla="*/ 2720 w 492259"/>
                <a:gd name="connsiteY99" fmla="*/ 628241 h 674476"/>
                <a:gd name="connsiteX100" fmla="*/ 24477 w 492259"/>
                <a:gd name="connsiteY100" fmla="*/ 620082 h 674476"/>
                <a:gd name="connsiteX101" fmla="*/ 62552 w 492259"/>
                <a:gd name="connsiteY101" fmla="*/ 617363 h 674476"/>
                <a:gd name="connsiteX102" fmla="*/ 62552 w 492259"/>
                <a:gd name="connsiteY102" fmla="*/ 614643 h 674476"/>
                <a:gd name="connsiteX103" fmla="*/ 65272 w 492259"/>
                <a:gd name="connsiteY103" fmla="*/ 587447 h 674476"/>
                <a:gd name="connsiteX104" fmla="*/ 76151 w 492259"/>
                <a:gd name="connsiteY104" fmla="*/ 522175 h 674476"/>
                <a:gd name="connsiteX105" fmla="*/ 87029 w 492259"/>
                <a:gd name="connsiteY105" fmla="*/ 470501 h 674476"/>
                <a:gd name="connsiteX106" fmla="*/ 92468 w 492259"/>
                <a:gd name="connsiteY106" fmla="*/ 446025 h 674476"/>
                <a:gd name="connsiteX107" fmla="*/ 65272 w 492259"/>
                <a:gd name="connsiteY107" fmla="*/ 432426 h 674476"/>
                <a:gd name="connsiteX108" fmla="*/ 54393 w 492259"/>
                <a:gd name="connsiteY108" fmla="*/ 421548 h 674476"/>
                <a:gd name="connsiteX109" fmla="*/ 73431 w 492259"/>
                <a:gd name="connsiteY109" fmla="*/ 407949 h 674476"/>
                <a:gd name="connsiteX110" fmla="*/ 100629 w 492259"/>
                <a:gd name="connsiteY110" fmla="*/ 399790 h 674476"/>
                <a:gd name="connsiteX111" fmla="*/ 108788 w 492259"/>
                <a:gd name="connsiteY111" fmla="*/ 369874 h 674476"/>
                <a:gd name="connsiteX112" fmla="*/ 125105 w 492259"/>
                <a:gd name="connsiteY112" fmla="*/ 307322 h 674476"/>
                <a:gd name="connsiteX113" fmla="*/ 141423 w 492259"/>
                <a:gd name="connsiteY113" fmla="*/ 242051 h 674476"/>
                <a:gd name="connsiteX114" fmla="*/ 155022 w 492259"/>
                <a:gd name="connsiteY114" fmla="*/ 179498 h 674476"/>
                <a:gd name="connsiteX115" fmla="*/ 168620 w 492259"/>
                <a:gd name="connsiteY115" fmla="*/ 119665 h 674476"/>
                <a:gd name="connsiteX116" fmla="*/ 193097 w 492259"/>
                <a:gd name="connsiteY116" fmla="*/ 57113 h 674476"/>
                <a:gd name="connsiteX117" fmla="*/ 201256 w 492259"/>
                <a:gd name="connsiteY117" fmla="*/ 38075 h 674476"/>
                <a:gd name="connsiteX118" fmla="*/ 217574 w 492259"/>
                <a:gd name="connsiteY118" fmla="*/ 13598 h 674476"/>
                <a:gd name="connsiteX119" fmla="*/ 274687 w 492259"/>
                <a:gd name="connsiteY119" fmla="*/ 0 h 6744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</a:cxnLst>
              <a:rect l="l" t="t" r="r" b="b"/>
              <a:pathLst>
                <a:path w="492259" h="674476">
                  <a:moveTo>
                    <a:pt x="225733" y="97907"/>
                  </a:moveTo>
                  <a:cubicBezTo>
                    <a:pt x="217574" y="97907"/>
                    <a:pt x="209415" y="114225"/>
                    <a:pt x="209415" y="119665"/>
                  </a:cubicBezTo>
                  <a:cubicBezTo>
                    <a:pt x="206695" y="130543"/>
                    <a:pt x="203976" y="144141"/>
                    <a:pt x="201256" y="152300"/>
                  </a:cubicBezTo>
                  <a:cubicBezTo>
                    <a:pt x="198536" y="157740"/>
                    <a:pt x="198536" y="163179"/>
                    <a:pt x="198536" y="168618"/>
                  </a:cubicBezTo>
                  <a:cubicBezTo>
                    <a:pt x="198536" y="174058"/>
                    <a:pt x="195817" y="179497"/>
                    <a:pt x="195817" y="184936"/>
                  </a:cubicBezTo>
                  <a:cubicBezTo>
                    <a:pt x="193097" y="195815"/>
                    <a:pt x="190377" y="209413"/>
                    <a:pt x="187658" y="220292"/>
                  </a:cubicBezTo>
                  <a:cubicBezTo>
                    <a:pt x="184938" y="244769"/>
                    <a:pt x="176779" y="269246"/>
                    <a:pt x="168620" y="291003"/>
                  </a:cubicBezTo>
                  <a:cubicBezTo>
                    <a:pt x="165900" y="301881"/>
                    <a:pt x="163181" y="312760"/>
                    <a:pt x="160461" y="323639"/>
                  </a:cubicBezTo>
                  <a:cubicBezTo>
                    <a:pt x="157742" y="337237"/>
                    <a:pt x="155022" y="348115"/>
                    <a:pt x="149582" y="361714"/>
                  </a:cubicBezTo>
                  <a:cubicBezTo>
                    <a:pt x="146863" y="367153"/>
                    <a:pt x="144143" y="383471"/>
                    <a:pt x="144143" y="388910"/>
                  </a:cubicBezTo>
                  <a:cubicBezTo>
                    <a:pt x="144143" y="391630"/>
                    <a:pt x="146863" y="391630"/>
                    <a:pt x="149582" y="391630"/>
                  </a:cubicBezTo>
                  <a:cubicBezTo>
                    <a:pt x="155022" y="391630"/>
                    <a:pt x="168620" y="391630"/>
                    <a:pt x="171340" y="391630"/>
                  </a:cubicBezTo>
                  <a:cubicBezTo>
                    <a:pt x="179498" y="391630"/>
                    <a:pt x="187658" y="391630"/>
                    <a:pt x="193097" y="388910"/>
                  </a:cubicBezTo>
                  <a:cubicBezTo>
                    <a:pt x="198536" y="388910"/>
                    <a:pt x="203976" y="388910"/>
                    <a:pt x="212135" y="388910"/>
                  </a:cubicBezTo>
                  <a:cubicBezTo>
                    <a:pt x="217574" y="388910"/>
                    <a:pt x="225733" y="388910"/>
                    <a:pt x="236611" y="388910"/>
                  </a:cubicBezTo>
                  <a:cubicBezTo>
                    <a:pt x="242051" y="388910"/>
                    <a:pt x="247490" y="388910"/>
                    <a:pt x="250210" y="386191"/>
                  </a:cubicBezTo>
                  <a:cubicBezTo>
                    <a:pt x="255649" y="391630"/>
                    <a:pt x="258369" y="388910"/>
                    <a:pt x="258369" y="386191"/>
                  </a:cubicBezTo>
                  <a:cubicBezTo>
                    <a:pt x="258369" y="380751"/>
                    <a:pt x="255649" y="372592"/>
                    <a:pt x="255649" y="367153"/>
                  </a:cubicBezTo>
                  <a:cubicBezTo>
                    <a:pt x="252930" y="353555"/>
                    <a:pt x="250210" y="342676"/>
                    <a:pt x="250210" y="331797"/>
                  </a:cubicBezTo>
                  <a:cubicBezTo>
                    <a:pt x="250210" y="301881"/>
                    <a:pt x="250210" y="274685"/>
                    <a:pt x="247490" y="244769"/>
                  </a:cubicBezTo>
                  <a:cubicBezTo>
                    <a:pt x="247490" y="231170"/>
                    <a:pt x="244771" y="217572"/>
                    <a:pt x="242051" y="203974"/>
                  </a:cubicBezTo>
                  <a:cubicBezTo>
                    <a:pt x="239331" y="187656"/>
                    <a:pt x="236611" y="174058"/>
                    <a:pt x="236611" y="157740"/>
                  </a:cubicBezTo>
                  <a:cubicBezTo>
                    <a:pt x="236611" y="152300"/>
                    <a:pt x="236611" y="133263"/>
                    <a:pt x="233892" y="119665"/>
                  </a:cubicBezTo>
                  <a:cubicBezTo>
                    <a:pt x="233892" y="106066"/>
                    <a:pt x="231172" y="97907"/>
                    <a:pt x="225733" y="97907"/>
                  </a:cubicBezTo>
                  <a:close/>
                  <a:moveTo>
                    <a:pt x="274687" y="0"/>
                  </a:moveTo>
                  <a:cubicBezTo>
                    <a:pt x="288285" y="0"/>
                    <a:pt x="293724" y="2720"/>
                    <a:pt x="304603" y="5439"/>
                  </a:cubicBezTo>
                  <a:cubicBezTo>
                    <a:pt x="315481" y="10879"/>
                    <a:pt x="315481" y="16318"/>
                    <a:pt x="320921" y="24477"/>
                  </a:cubicBezTo>
                  <a:cubicBezTo>
                    <a:pt x="326360" y="29916"/>
                    <a:pt x="331800" y="35356"/>
                    <a:pt x="334519" y="43515"/>
                  </a:cubicBezTo>
                  <a:cubicBezTo>
                    <a:pt x="337239" y="51674"/>
                    <a:pt x="337239" y="57113"/>
                    <a:pt x="339959" y="65272"/>
                  </a:cubicBezTo>
                  <a:cubicBezTo>
                    <a:pt x="345398" y="78870"/>
                    <a:pt x="342678" y="97908"/>
                    <a:pt x="348118" y="114226"/>
                  </a:cubicBezTo>
                  <a:cubicBezTo>
                    <a:pt x="350837" y="130544"/>
                    <a:pt x="358996" y="146863"/>
                    <a:pt x="361716" y="163180"/>
                  </a:cubicBezTo>
                  <a:cubicBezTo>
                    <a:pt x="364435" y="182218"/>
                    <a:pt x="364435" y="201256"/>
                    <a:pt x="369875" y="220293"/>
                  </a:cubicBezTo>
                  <a:cubicBezTo>
                    <a:pt x="375314" y="239331"/>
                    <a:pt x="378034" y="255649"/>
                    <a:pt x="378034" y="274686"/>
                  </a:cubicBezTo>
                  <a:cubicBezTo>
                    <a:pt x="378034" y="282845"/>
                    <a:pt x="380753" y="293724"/>
                    <a:pt x="383473" y="301883"/>
                  </a:cubicBezTo>
                  <a:cubicBezTo>
                    <a:pt x="386193" y="312762"/>
                    <a:pt x="388913" y="326360"/>
                    <a:pt x="391632" y="337238"/>
                  </a:cubicBezTo>
                  <a:cubicBezTo>
                    <a:pt x="391632" y="342678"/>
                    <a:pt x="394352" y="353556"/>
                    <a:pt x="397071" y="364435"/>
                  </a:cubicBezTo>
                  <a:cubicBezTo>
                    <a:pt x="399791" y="372594"/>
                    <a:pt x="402511" y="380753"/>
                    <a:pt x="405230" y="383473"/>
                  </a:cubicBezTo>
                  <a:cubicBezTo>
                    <a:pt x="407950" y="386192"/>
                    <a:pt x="413389" y="386192"/>
                    <a:pt x="416109" y="386192"/>
                  </a:cubicBezTo>
                  <a:cubicBezTo>
                    <a:pt x="418829" y="386192"/>
                    <a:pt x="424268" y="386192"/>
                    <a:pt x="426988" y="386192"/>
                  </a:cubicBezTo>
                  <a:cubicBezTo>
                    <a:pt x="437866" y="386192"/>
                    <a:pt x="448745" y="388912"/>
                    <a:pt x="454184" y="397071"/>
                  </a:cubicBezTo>
                  <a:cubicBezTo>
                    <a:pt x="456904" y="399790"/>
                    <a:pt x="456904" y="402510"/>
                    <a:pt x="456904" y="405230"/>
                  </a:cubicBezTo>
                  <a:cubicBezTo>
                    <a:pt x="456904" y="407949"/>
                    <a:pt x="454184" y="410669"/>
                    <a:pt x="451464" y="416108"/>
                  </a:cubicBezTo>
                  <a:cubicBezTo>
                    <a:pt x="446025" y="421548"/>
                    <a:pt x="440586" y="426987"/>
                    <a:pt x="432427" y="429707"/>
                  </a:cubicBezTo>
                  <a:cubicBezTo>
                    <a:pt x="429707" y="429707"/>
                    <a:pt x="426988" y="432426"/>
                    <a:pt x="421548" y="432426"/>
                  </a:cubicBezTo>
                  <a:cubicBezTo>
                    <a:pt x="418829" y="432426"/>
                    <a:pt x="416109" y="432426"/>
                    <a:pt x="413389" y="435146"/>
                  </a:cubicBezTo>
                  <a:cubicBezTo>
                    <a:pt x="413389" y="435146"/>
                    <a:pt x="413389" y="437866"/>
                    <a:pt x="413389" y="440585"/>
                  </a:cubicBezTo>
                  <a:cubicBezTo>
                    <a:pt x="413389" y="443305"/>
                    <a:pt x="413389" y="448744"/>
                    <a:pt x="416109" y="451464"/>
                  </a:cubicBezTo>
                  <a:cubicBezTo>
                    <a:pt x="416109" y="456903"/>
                    <a:pt x="418829" y="462343"/>
                    <a:pt x="418829" y="465062"/>
                  </a:cubicBezTo>
                  <a:lnTo>
                    <a:pt x="418829" y="475941"/>
                  </a:lnTo>
                  <a:cubicBezTo>
                    <a:pt x="418829" y="481380"/>
                    <a:pt x="418829" y="484100"/>
                    <a:pt x="418829" y="486820"/>
                  </a:cubicBezTo>
                  <a:cubicBezTo>
                    <a:pt x="421548" y="497698"/>
                    <a:pt x="424268" y="505857"/>
                    <a:pt x="426988" y="516736"/>
                  </a:cubicBezTo>
                  <a:cubicBezTo>
                    <a:pt x="426988" y="524895"/>
                    <a:pt x="429707" y="535773"/>
                    <a:pt x="432427" y="543932"/>
                  </a:cubicBezTo>
                  <a:cubicBezTo>
                    <a:pt x="435147" y="554811"/>
                    <a:pt x="437866" y="562970"/>
                    <a:pt x="437866" y="573848"/>
                  </a:cubicBezTo>
                  <a:cubicBezTo>
                    <a:pt x="437866" y="587447"/>
                    <a:pt x="440586" y="595606"/>
                    <a:pt x="443306" y="606484"/>
                  </a:cubicBezTo>
                  <a:cubicBezTo>
                    <a:pt x="443306" y="609204"/>
                    <a:pt x="446025" y="614643"/>
                    <a:pt x="446025" y="617363"/>
                  </a:cubicBezTo>
                  <a:cubicBezTo>
                    <a:pt x="454184" y="617363"/>
                    <a:pt x="462343" y="617363"/>
                    <a:pt x="470502" y="617363"/>
                  </a:cubicBezTo>
                  <a:cubicBezTo>
                    <a:pt x="475942" y="625522"/>
                    <a:pt x="492259" y="630961"/>
                    <a:pt x="492259" y="641840"/>
                  </a:cubicBezTo>
                  <a:cubicBezTo>
                    <a:pt x="492259" y="647279"/>
                    <a:pt x="486820" y="649999"/>
                    <a:pt x="484101" y="655438"/>
                  </a:cubicBezTo>
                  <a:cubicBezTo>
                    <a:pt x="481381" y="660877"/>
                    <a:pt x="473222" y="663597"/>
                    <a:pt x="467782" y="663597"/>
                  </a:cubicBezTo>
                  <a:cubicBezTo>
                    <a:pt x="456904" y="666317"/>
                    <a:pt x="451464" y="666317"/>
                    <a:pt x="443306" y="666317"/>
                  </a:cubicBezTo>
                  <a:cubicBezTo>
                    <a:pt x="437866" y="666317"/>
                    <a:pt x="429707" y="666317"/>
                    <a:pt x="421548" y="666317"/>
                  </a:cubicBezTo>
                  <a:cubicBezTo>
                    <a:pt x="418829" y="666317"/>
                    <a:pt x="416109" y="666317"/>
                    <a:pt x="413389" y="666317"/>
                  </a:cubicBezTo>
                  <a:cubicBezTo>
                    <a:pt x="407950" y="669036"/>
                    <a:pt x="405230" y="669036"/>
                    <a:pt x="399791" y="671756"/>
                  </a:cubicBezTo>
                  <a:cubicBezTo>
                    <a:pt x="394352" y="671756"/>
                    <a:pt x="388913" y="674476"/>
                    <a:pt x="383473" y="674476"/>
                  </a:cubicBezTo>
                  <a:cubicBezTo>
                    <a:pt x="372594" y="674476"/>
                    <a:pt x="358996" y="671756"/>
                    <a:pt x="348118" y="669036"/>
                  </a:cubicBezTo>
                  <a:cubicBezTo>
                    <a:pt x="339959" y="669036"/>
                    <a:pt x="331800" y="669036"/>
                    <a:pt x="326360" y="669036"/>
                  </a:cubicBezTo>
                  <a:cubicBezTo>
                    <a:pt x="304603" y="669036"/>
                    <a:pt x="285565" y="669036"/>
                    <a:pt x="277406" y="669036"/>
                  </a:cubicBezTo>
                  <a:cubicBezTo>
                    <a:pt x="269247" y="669036"/>
                    <a:pt x="258369" y="669036"/>
                    <a:pt x="252930" y="663597"/>
                  </a:cubicBezTo>
                  <a:cubicBezTo>
                    <a:pt x="247490" y="660877"/>
                    <a:pt x="236611" y="655438"/>
                    <a:pt x="236611" y="647279"/>
                  </a:cubicBezTo>
                  <a:cubicBezTo>
                    <a:pt x="236611" y="636401"/>
                    <a:pt x="252930" y="633681"/>
                    <a:pt x="261088" y="630961"/>
                  </a:cubicBezTo>
                  <a:cubicBezTo>
                    <a:pt x="266528" y="630961"/>
                    <a:pt x="274687" y="630961"/>
                    <a:pt x="288285" y="628241"/>
                  </a:cubicBezTo>
                  <a:cubicBezTo>
                    <a:pt x="288285" y="620082"/>
                    <a:pt x="288285" y="614643"/>
                    <a:pt x="285565" y="609204"/>
                  </a:cubicBezTo>
                  <a:cubicBezTo>
                    <a:pt x="285565" y="601045"/>
                    <a:pt x="282846" y="590166"/>
                    <a:pt x="282846" y="582007"/>
                  </a:cubicBezTo>
                  <a:cubicBezTo>
                    <a:pt x="282846" y="576568"/>
                    <a:pt x="280126" y="573848"/>
                    <a:pt x="280126" y="568409"/>
                  </a:cubicBezTo>
                  <a:cubicBezTo>
                    <a:pt x="280126" y="562970"/>
                    <a:pt x="282846" y="557531"/>
                    <a:pt x="282846" y="554811"/>
                  </a:cubicBezTo>
                  <a:cubicBezTo>
                    <a:pt x="282846" y="549371"/>
                    <a:pt x="280126" y="546652"/>
                    <a:pt x="277406" y="538493"/>
                  </a:cubicBezTo>
                  <a:cubicBezTo>
                    <a:pt x="277406" y="527614"/>
                    <a:pt x="271967" y="516736"/>
                    <a:pt x="271967" y="505857"/>
                  </a:cubicBezTo>
                  <a:cubicBezTo>
                    <a:pt x="271967" y="494978"/>
                    <a:pt x="271967" y="486820"/>
                    <a:pt x="269247" y="478660"/>
                  </a:cubicBezTo>
                  <a:cubicBezTo>
                    <a:pt x="266528" y="467782"/>
                    <a:pt x="266528" y="456903"/>
                    <a:pt x="266528" y="446025"/>
                  </a:cubicBezTo>
                  <a:cubicBezTo>
                    <a:pt x="266528" y="440585"/>
                    <a:pt x="263808" y="437866"/>
                    <a:pt x="261088" y="437866"/>
                  </a:cubicBezTo>
                  <a:cubicBezTo>
                    <a:pt x="258369" y="437866"/>
                    <a:pt x="255649" y="437866"/>
                    <a:pt x="250210" y="437866"/>
                  </a:cubicBezTo>
                  <a:cubicBezTo>
                    <a:pt x="239331" y="437866"/>
                    <a:pt x="228452" y="437866"/>
                    <a:pt x="220293" y="440585"/>
                  </a:cubicBezTo>
                  <a:cubicBezTo>
                    <a:pt x="209415" y="440585"/>
                    <a:pt x="201256" y="443305"/>
                    <a:pt x="190377" y="443305"/>
                  </a:cubicBezTo>
                  <a:cubicBezTo>
                    <a:pt x="182218" y="443305"/>
                    <a:pt x="174059" y="443305"/>
                    <a:pt x="165900" y="443305"/>
                  </a:cubicBezTo>
                  <a:cubicBezTo>
                    <a:pt x="163181" y="443305"/>
                    <a:pt x="152302" y="440585"/>
                    <a:pt x="144143" y="440585"/>
                  </a:cubicBezTo>
                  <a:cubicBezTo>
                    <a:pt x="135984" y="440585"/>
                    <a:pt x="135984" y="448744"/>
                    <a:pt x="135984" y="454184"/>
                  </a:cubicBezTo>
                  <a:cubicBezTo>
                    <a:pt x="135984" y="465062"/>
                    <a:pt x="133264" y="475941"/>
                    <a:pt x="130545" y="486820"/>
                  </a:cubicBezTo>
                  <a:cubicBezTo>
                    <a:pt x="127825" y="505857"/>
                    <a:pt x="122386" y="522175"/>
                    <a:pt x="119666" y="541213"/>
                  </a:cubicBezTo>
                  <a:cubicBezTo>
                    <a:pt x="116947" y="560250"/>
                    <a:pt x="108788" y="595606"/>
                    <a:pt x="103348" y="614643"/>
                  </a:cubicBezTo>
                  <a:cubicBezTo>
                    <a:pt x="111507" y="614643"/>
                    <a:pt x="122386" y="614643"/>
                    <a:pt x="133264" y="614643"/>
                  </a:cubicBezTo>
                  <a:cubicBezTo>
                    <a:pt x="146863" y="614643"/>
                    <a:pt x="168620" y="614643"/>
                    <a:pt x="168620" y="630961"/>
                  </a:cubicBezTo>
                  <a:cubicBezTo>
                    <a:pt x="168620" y="639120"/>
                    <a:pt x="165900" y="639120"/>
                    <a:pt x="163181" y="647279"/>
                  </a:cubicBezTo>
                  <a:cubicBezTo>
                    <a:pt x="160461" y="652718"/>
                    <a:pt x="152302" y="655438"/>
                    <a:pt x="146863" y="655438"/>
                  </a:cubicBezTo>
                  <a:cubicBezTo>
                    <a:pt x="138704" y="658158"/>
                    <a:pt x="133264" y="658158"/>
                    <a:pt x="127825" y="658158"/>
                  </a:cubicBezTo>
                  <a:cubicBezTo>
                    <a:pt x="122386" y="658158"/>
                    <a:pt x="116947" y="658158"/>
                    <a:pt x="106068" y="658158"/>
                  </a:cubicBezTo>
                  <a:cubicBezTo>
                    <a:pt x="92468" y="658158"/>
                    <a:pt x="78870" y="658158"/>
                    <a:pt x="62552" y="658158"/>
                  </a:cubicBezTo>
                  <a:cubicBezTo>
                    <a:pt x="54393" y="658158"/>
                    <a:pt x="46234" y="658158"/>
                    <a:pt x="40795" y="658158"/>
                  </a:cubicBezTo>
                  <a:cubicBezTo>
                    <a:pt x="32636" y="658158"/>
                    <a:pt x="21758" y="658158"/>
                    <a:pt x="16318" y="652718"/>
                  </a:cubicBezTo>
                  <a:cubicBezTo>
                    <a:pt x="8159" y="649999"/>
                    <a:pt x="0" y="641840"/>
                    <a:pt x="0" y="636401"/>
                  </a:cubicBezTo>
                  <a:cubicBezTo>
                    <a:pt x="0" y="633681"/>
                    <a:pt x="0" y="630961"/>
                    <a:pt x="2720" y="628241"/>
                  </a:cubicBezTo>
                  <a:cubicBezTo>
                    <a:pt x="8159" y="625522"/>
                    <a:pt x="16318" y="622802"/>
                    <a:pt x="24477" y="620082"/>
                  </a:cubicBezTo>
                  <a:cubicBezTo>
                    <a:pt x="38075" y="617363"/>
                    <a:pt x="48954" y="617363"/>
                    <a:pt x="62552" y="617363"/>
                  </a:cubicBezTo>
                  <a:cubicBezTo>
                    <a:pt x="62552" y="617363"/>
                    <a:pt x="62552" y="614643"/>
                    <a:pt x="62552" y="614643"/>
                  </a:cubicBezTo>
                  <a:cubicBezTo>
                    <a:pt x="62552" y="603765"/>
                    <a:pt x="65272" y="590166"/>
                    <a:pt x="65272" y="587447"/>
                  </a:cubicBezTo>
                  <a:cubicBezTo>
                    <a:pt x="67992" y="565689"/>
                    <a:pt x="73431" y="543932"/>
                    <a:pt x="76151" y="522175"/>
                  </a:cubicBezTo>
                  <a:cubicBezTo>
                    <a:pt x="78870" y="505857"/>
                    <a:pt x="81590" y="486820"/>
                    <a:pt x="87029" y="470501"/>
                  </a:cubicBezTo>
                  <a:cubicBezTo>
                    <a:pt x="87029" y="465062"/>
                    <a:pt x="92468" y="451464"/>
                    <a:pt x="92468" y="446025"/>
                  </a:cubicBezTo>
                  <a:cubicBezTo>
                    <a:pt x="92468" y="437866"/>
                    <a:pt x="73431" y="437866"/>
                    <a:pt x="65272" y="432426"/>
                  </a:cubicBezTo>
                  <a:cubicBezTo>
                    <a:pt x="59833" y="429707"/>
                    <a:pt x="54393" y="426987"/>
                    <a:pt x="54393" y="421548"/>
                  </a:cubicBezTo>
                  <a:cubicBezTo>
                    <a:pt x="54393" y="413389"/>
                    <a:pt x="62552" y="410669"/>
                    <a:pt x="73431" y="407949"/>
                  </a:cubicBezTo>
                  <a:cubicBezTo>
                    <a:pt x="78870" y="407949"/>
                    <a:pt x="92468" y="405230"/>
                    <a:pt x="100629" y="399790"/>
                  </a:cubicBezTo>
                  <a:cubicBezTo>
                    <a:pt x="106068" y="394351"/>
                    <a:pt x="106068" y="378033"/>
                    <a:pt x="108788" y="369874"/>
                  </a:cubicBezTo>
                  <a:cubicBezTo>
                    <a:pt x="114227" y="348117"/>
                    <a:pt x="119666" y="326360"/>
                    <a:pt x="125105" y="307322"/>
                  </a:cubicBezTo>
                  <a:cubicBezTo>
                    <a:pt x="130545" y="285565"/>
                    <a:pt x="135984" y="263808"/>
                    <a:pt x="141423" y="242051"/>
                  </a:cubicBezTo>
                  <a:cubicBezTo>
                    <a:pt x="146863" y="220293"/>
                    <a:pt x="152302" y="198536"/>
                    <a:pt x="155022" y="179498"/>
                  </a:cubicBezTo>
                  <a:cubicBezTo>
                    <a:pt x="157742" y="160461"/>
                    <a:pt x="163181" y="138703"/>
                    <a:pt x="168620" y="119665"/>
                  </a:cubicBezTo>
                  <a:cubicBezTo>
                    <a:pt x="176779" y="100627"/>
                    <a:pt x="182218" y="76150"/>
                    <a:pt x="193097" y="57113"/>
                  </a:cubicBezTo>
                  <a:lnTo>
                    <a:pt x="201256" y="38075"/>
                  </a:lnTo>
                  <a:cubicBezTo>
                    <a:pt x="206695" y="29916"/>
                    <a:pt x="209415" y="19038"/>
                    <a:pt x="217574" y="13598"/>
                  </a:cubicBezTo>
                  <a:cubicBezTo>
                    <a:pt x="231172" y="2720"/>
                    <a:pt x="255649" y="0"/>
                    <a:pt x="274687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/>
            </a:p>
          </p:txBody>
        </p:sp>
        <p:sp>
          <p:nvSpPr>
            <p:cNvPr id="47" name="Freeform: Shape 46">
              <a:extLst>
                <a:ext uri="{FF2B5EF4-FFF2-40B4-BE49-F238E27FC236}">
                  <a16:creationId xmlns:a16="http://schemas.microsoft.com/office/drawing/2014/main" id="{E252413E-95D4-436B-9CDD-1C43CDFDF645}"/>
                </a:ext>
              </a:extLst>
            </p:cNvPr>
            <p:cNvSpPr/>
            <p:nvPr/>
          </p:nvSpPr>
          <p:spPr>
            <a:xfrm>
              <a:off x="6876542" y="4244897"/>
              <a:ext cx="462342" cy="677195"/>
            </a:xfrm>
            <a:custGeom>
              <a:avLst/>
              <a:gdLst>
                <a:gd name="connsiteX0" fmla="*/ 214853 w 462342"/>
                <a:gd name="connsiteY0" fmla="*/ 65272 h 677195"/>
                <a:gd name="connsiteX1" fmla="*/ 195815 w 462342"/>
                <a:gd name="connsiteY1" fmla="*/ 73431 h 677195"/>
                <a:gd name="connsiteX2" fmla="*/ 193096 w 462342"/>
                <a:gd name="connsiteY2" fmla="*/ 125105 h 677195"/>
                <a:gd name="connsiteX3" fmla="*/ 190376 w 462342"/>
                <a:gd name="connsiteY3" fmla="*/ 280125 h 677195"/>
                <a:gd name="connsiteX4" fmla="*/ 190376 w 462342"/>
                <a:gd name="connsiteY4" fmla="*/ 301882 h 677195"/>
                <a:gd name="connsiteX5" fmla="*/ 193096 w 462342"/>
                <a:gd name="connsiteY5" fmla="*/ 342677 h 677195"/>
                <a:gd name="connsiteX6" fmla="*/ 195815 w 462342"/>
                <a:gd name="connsiteY6" fmla="*/ 397070 h 677195"/>
                <a:gd name="connsiteX7" fmla="*/ 195815 w 462342"/>
                <a:gd name="connsiteY7" fmla="*/ 443304 h 677195"/>
                <a:gd name="connsiteX8" fmla="*/ 195815 w 462342"/>
                <a:gd name="connsiteY8" fmla="*/ 530333 h 677195"/>
                <a:gd name="connsiteX9" fmla="*/ 193096 w 462342"/>
                <a:gd name="connsiteY9" fmla="*/ 554810 h 677195"/>
                <a:gd name="connsiteX10" fmla="*/ 190376 w 462342"/>
                <a:gd name="connsiteY10" fmla="*/ 603764 h 677195"/>
                <a:gd name="connsiteX11" fmla="*/ 198535 w 462342"/>
                <a:gd name="connsiteY11" fmla="*/ 611923 h 677195"/>
                <a:gd name="connsiteX12" fmla="*/ 214853 w 462342"/>
                <a:gd name="connsiteY12" fmla="*/ 611923 h 677195"/>
                <a:gd name="connsiteX13" fmla="*/ 236610 w 462342"/>
                <a:gd name="connsiteY13" fmla="*/ 611923 h 677195"/>
                <a:gd name="connsiteX14" fmla="*/ 263807 w 462342"/>
                <a:gd name="connsiteY14" fmla="*/ 598325 h 677195"/>
                <a:gd name="connsiteX15" fmla="*/ 277405 w 462342"/>
                <a:gd name="connsiteY15" fmla="*/ 592885 h 677195"/>
                <a:gd name="connsiteX16" fmla="*/ 291004 w 462342"/>
                <a:gd name="connsiteY16" fmla="*/ 573848 h 677195"/>
                <a:gd name="connsiteX17" fmla="*/ 307322 w 462342"/>
                <a:gd name="connsiteY17" fmla="*/ 543931 h 677195"/>
                <a:gd name="connsiteX18" fmla="*/ 326359 w 462342"/>
                <a:gd name="connsiteY18" fmla="*/ 481379 h 677195"/>
                <a:gd name="connsiteX19" fmla="*/ 337238 w 462342"/>
                <a:gd name="connsiteY19" fmla="*/ 413388 h 677195"/>
                <a:gd name="connsiteX20" fmla="*/ 337238 w 462342"/>
                <a:gd name="connsiteY20" fmla="*/ 350836 h 677195"/>
                <a:gd name="connsiteX21" fmla="*/ 334518 w 462342"/>
                <a:gd name="connsiteY21" fmla="*/ 296443 h 677195"/>
                <a:gd name="connsiteX22" fmla="*/ 329079 w 462342"/>
                <a:gd name="connsiteY22" fmla="*/ 244769 h 677195"/>
                <a:gd name="connsiteX23" fmla="*/ 307322 w 462342"/>
                <a:gd name="connsiteY23" fmla="*/ 135983 h 677195"/>
                <a:gd name="connsiteX24" fmla="*/ 271966 w 462342"/>
                <a:gd name="connsiteY24" fmla="*/ 78870 h 677195"/>
                <a:gd name="connsiteX25" fmla="*/ 214853 w 462342"/>
                <a:gd name="connsiteY25" fmla="*/ 65272 h 677195"/>
                <a:gd name="connsiteX26" fmla="*/ 114226 w 462342"/>
                <a:gd name="connsiteY26" fmla="*/ 0 h 677195"/>
                <a:gd name="connsiteX27" fmla="*/ 127824 w 462342"/>
                <a:gd name="connsiteY27" fmla="*/ 0 h 677195"/>
                <a:gd name="connsiteX28" fmla="*/ 146862 w 462342"/>
                <a:gd name="connsiteY28" fmla="*/ 2720 h 677195"/>
                <a:gd name="connsiteX29" fmla="*/ 174059 w 462342"/>
                <a:gd name="connsiteY29" fmla="*/ 21758 h 677195"/>
                <a:gd name="connsiteX30" fmla="*/ 193096 w 462342"/>
                <a:gd name="connsiteY30" fmla="*/ 21758 h 677195"/>
                <a:gd name="connsiteX31" fmla="*/ 261088 w 462342"/>
                <a:gd name="connsiteY31" fmla="*/ 27197 h 677195"/>
                <a:gd name="connsiteX32" fmla="*/ 310042 w 462342"/>
                <a:gd name="connsiteY32" fmla="*/ 35356 h 677195"/>
                <a:gd name="connsiteX33" fmla="*/ 334518 w 462342"/>
                <a:gd name="connsiteY33" fmla="*/ 40795 h 677195"/>
                <a:gd name="connsiteX34" fmla="*/ 356276 w 462342"/>
                <a:gd name="connsiteY34" fmla="*/ 59833 h 677195"/>
                <a:gd name="connsiteX35" fmla="*/ 372593 w 462342"/>
                <a:gd name="connsiteY35" fmla="*/ 76151 h 677195"/>
                <a:gd name="connsiteX36" fmla="*/ 380752 w 462342"/>
                <a:gd name="connsiteY36" fmla="*/ 95188 h 677195"/>
                <a:gd name="connsiteX37" fmla="*/ 405230 w 462342"/>
                <a:gd name="connsiteY37" fmla="*/ 114226 h 677195"/>
                <a:gd name="connsiteX38" fmla="*/ 416108 w 462342"/>
                <a:gd name="connsiteY38" fmla="*/ 141422 h 677195"/>
                <a:gd name="connsiteX39" fmla="*/ 451464 w 462342"/>
                <a:gd name="connsiteY39" fmla="*/ 201256 h 677195"/>
                <a:gd name="connsiteX40" fmla="*/ 456903 w 462342"/>
                <a:gd name="connsiteY40" fmla="*/ 252929 h 677195"/>
                <a:gd name="connsiteX41" fmla="*/ 456903 w 462342"/>
                <a:gd name="connsiteY41" fmla="*/ 291004 h 677195"/>
                <a:gd name="connsiteX42" fmla="*/ 459623 w 462342"/>
                <a:gd name="connsiteY42" fmla="*/ 318201 h 677195"/>
                <a:gd name="connsiteX43" fmla="*/ 459623 w 462342"/>
                <a:gd name="connsiteY43" fmla="*/ 326360 h 677195"/>
                <a:gd name="connsiteX44" fmla="*/ 459623 w 462342"/>
                <a:gd name="connsiteY44" fmla="*/ 348117 h 677195"/>
                <a:gd name="connsiteX45" fmla="*/ 462342 w 462342"/>
                <a:gd name="connsiteY45" fmla="*/ 367155 h 677195"/>
                <a:gd name="connsiteX46" fmla="*/ 456903 w 462342"/>
                <a:gd name="connsiteY46" fmla="*/ 391632 h 677195"/>
                <a:gd name="connsiteX47" fmla="*/ 456903 w 462342"/>
                <a:gd name="connsiteY47" fmla="*/ 418828 h 677195"/>
                <a:gd name="connsiteX48" fmla="*/ 451464 w 462342"/>
                <a:gd name="connsiteY48" fmla="*/ 437866 h 677195"/>
                <a:gd name="connsiteX49" fmla="*/ 446025 w 462342"/>
                <a:gd name="connsiteY49" fmla="*/ 454184 h 677195"/>
                <a:gd name="connsiteX50" fmla="*/ 440585 w 462342"/>
                <a:gd name="connsiteY50" fmla="*/ 481380 h 677195"/>
                <a:gd name="connsiteX51" fmla="*/ 432426 w 462342"/>
                <a:gd name="connsiteY51" fmla="*/ 508577 h 677195"/>
                <a:gd name="connsiteX52" fmla="*/ 418828 w 462342"/>
                <a:gd name="connsiteY52" fmla="*/ 530334 h 677195"/>
                <a:gd name="connsiteX53" fmla="*/ 410669 w 462342"/>
                <a:gd name="connsiteY53" fmla="*/ 549371 h 677195"/>
                <a:gd name="connsiteX54" fmla="*/ 391631 w 462342"/>
                <a:gd name="connsiteY54" fmla="*/ 579288 h 677195"/>
                <a:gd name="connsiteX55" fmla="*/ 337238 w 462342"/>
                <a:gd name="connsiteY55" fmla="*/ 630961 h 677195"/>
                <a:gd name="connsiteX56" fmla="*/ 301883 w 462342"/>
                <a:gd name="connsiteY56" fmla="*/ 647279 h 677195"/>
                <a:gd name="connsiteX57" fmla="*/ 263807 w 462342"/>
                <a:gd name="connsiteY57" fmla="*/ 652718 h 677195"/>
                <a:gd name="connsiteX58" fmla="*/ 233891 w 462342"/>
                <a:gd name="connsiteY58" fmla="*/ 649999 h 677195"/>
                <a:gd name="connsiteX59" fmla="*/ 187657 w 462342"/>
                <a:gd name="connsiteY59" fmla="*/ 652718 h 677195"/>
                <a:gd name="connsiteX60" fmla="*/ 171339 w 462342"/>
                <a:gd name="connsiteY60" fmla="*/ 669036 h 677195"/>
                <a:gd name="connsiteX61" fmla="*/ 155021 w 462342"/>
                <a:gd name="connsiteY61" fmla="*/ 671756 h 677195"/>
                <a:gd name="connsiteX62" fmla="*/ 138703 w 462342"/>
                <a:gd name="connsiteY62" fmla="*/ 674476 h 677195"/>
                <a:gd name="connsiteX63" fmla="*/ 125105 w 462342"/>
                <a:gd name="connsiteY63" fmla="*/ 677195 h 677195"/>
                <a:gd name="connsiteX64" fmla="*/ 106067 w 462342"/>
                <a:gd name="connsiteY64" fmla="*/ 671756 h 677195"/>
                <a:gd name="connsiteX65" fmla="*/ 87029 w 462342"/>
                <a:gd name="connsiteY65" fmla="*/ 658158 h 677195"/>
                <a:gd name="connsiteX66" fmla="*/ 81590 w 462342"/>
                <a:gd name="connsiteY66" fmla="*/ 652718 h 677195"/>
                <a:gd name="connsiteX67" fmla="*/ 67992 w 462342"/>
                <a:gd name="connsiteY67" fmla="*/ 652718 h 677195"/>
                <a:gd name="connsiteX68" fmla="*/ 43515 w 462342"/>
                <a:gd name="connsiteY68" fmla="*/ 652718 h 677195"/>
                <a:gd name="connsiteX69" fmla="*/ 16318 w 462342"/>
                <a:gd name="connsiteY69" fmla="*/ 647279 h 677195"/>
                <a:gd name="connsiteX70" fmla="*/ 0 w 462342"/>
                <a:gd name="connsiteY70" fmla="*/ 630961 h 677195"/>
                <a:gd name="connsiteX71" fmla="*/ 5439 w 462342"/>
                <a:gd name="connsiteY71" fmla="*/ 620083 h 677195"/>
                <a:gd name="connsiteX72" fmla="*/ 27197 w 462342"/>
                <a:gd name="connsiteY72" fmla="*/ 611924 h 677195"/>
                <a:gd name="connsiteX73" fmla="*/ 65272 w 462342"/>
                <a:gd name="connsiteY73" fmla="*/ 609204 h 677195"/>
                <a:gd name="connsiteX74" fmla="*/ 65272 w 462342"/>
                <a:gd name="connsiteY74" fmla="*/ 584727 h 677195"/>
                <a:gd name="connsiteX75" fmla="*/ 62552 w 462342"/>
                <a:gd name="connsiteY75" fmla="*/ 456903 h 677195"/>
                <a:gd name="connsiteX76" fmla="*/ 65272 w 462342"/>
                <a:gd name="connsiteY76" fmla="*/ 337238 h 677195"/>
                <a:gd name="connsiteX77" fmla="*/ 67992 w 462342"/>
                <a:gd name="connsiteY77" fmla="*/ 203975 h 677195"/>
                <a:gd name="connsiteX78" fmla="*/ 70712 w 462342"/>
                <a:gd name="connsiteY78" fmla="*/ 119665 h 677195"/>
                <a:gd name="connsiteX79" fmla="*/ 73431 w 462342"/>
                <a:gd name="connsiteY79" fmla="*/ 67992 h 677195"/>
                <a:gd name="connsiteX80" fmla="*/ 67992 w 462342"/>
                <a:gd name="connsiteY80" fmla="*/ 67992 h 677195"/>
                <a:gd name="connsiteX81" fmla="*/ 43515 w 462342"/>
                <a:gd name="connsiteY81" fmla="*/ 67992 h 677195"/>
                <a:gd name="connsiteX82" fmla="*/ 16318 w 462342"/>
                <a:gd name="connsiteY82" fmla="*/ 62552 h 677195"/>
                <a:gd name="connsiteX83" fmla="*/ 0 w 462342"/>
                <a:gd name="connsiteY83" fmla="*/ 46234 h 677195"/>
                <a:gd name="connsiteX84" fmla="*/ 5439 w 462342"/>
                <a:gd name="connsiteY84" fmla="*/ 35356 h 677195"/>
                <a:gd name="connsiteX85" fmla="*/ 27197 w 462342"/>
                <a:gd name="connsiteY85" fmla="*/ 27197 h 677195"/>
                <a:gd name="connsiteX86" fmla="*/ 76151 w 462342"/>
                <a:gd name="connsiteY86" fmla="*/ 21758 h 677195"/>
                <a:gd name="connsiteX87" fmla="*/ 81590 w 462342"/>
                <a:gd name="connsiteY87" fmla="*/ 13598 h 677195"/>
                <a:gd name="connsiteX88" fmla="*/ 97908 w 462342"/>
                <a:gd name="connsiteY88" fmla="*/ 5439 h 677195"/>
                <a:gd name="connsiteX89" fmla="*/ 114226 w 462342"/>
                <a:gd name="connsiteY89" fmla="*/ 0 h 6771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</a:cxnLst>
              <a:rect l="l" t="t" r="r" b="b"/>
              <a:pathLst>
                <a:path w="462342" h="677195">
                  <a:moveTo>
                    <a:pt x="214853" y="65272"/>
                  </a:moveTo>
                  <a:cubicBezTo>
                    <a:pt x="203975" y="65272"/>
                    <a:pt x="195815" y="67992"/>
                    <a:pt x="195815" y="73431"/>
                  </a:cubicBezTo>
                  <a:cubicBezTo>
                    <a:pt x="193096" y="78870"/>
                    <a:pt x="193096" y="100628"/>
                    <a:pt x="193096" y="125105"/>
                  </a:cubicBezTo>
                  <a:cubicBezTo>
                    <a:pt x="193096" y="182217"/>
                    <a:pt x="193096" y="266527"/>
                    <a:pt x="190376" y="280125"/>
                  </a:cubicBezTo>
                  <a:cubicBezTo>
                    <a:pt x="190376" y="288284"/>
                    <a:pt x="190376" y="293723"/>
                    <a:pt x="190376" y="301882"/>
                  </a:cubicBezTo>
                  <a:cubicBezTo>
                    <a:pt x="190376" y="315480"/>
                    <a:pt x="190376" y="329079"/>
                    <a:pt x="193096" y="342677"/>
                  </a:cubicBezTo>
                  <a:cubicBezTo>
                    <a:pt x="193096" y="361715"/>
                    <a:pt x="193096" y="378033"/>
                    <a:pt x="195815" y="397070"/>
                  </a:cubicBezTo>
                  <a:cubicBezTo>
                    <a:pt x="195815" y="413388"/>
                    <a:pt x="195815" y="426986"/>
                    <a:pt x="195815" y="443304"/>
                  </a:cubicBezTo>
                  <a:cubicBezTo>
                    <a:pt x="195815" y="465061"/>
                    <a:pt x="198535" y="508576"/>
                    <a:pt x="195815" y="530333"/>
                  </a:cubicBezTo>
                  <a:cubicBezTo>
                    <a:pt x="195815" y="538492"/>
                    <a:pt x="193096" y="546651"/>
                    <a:pt x="193096" y="554810"/>
                  </a:cubicBezTo>
                  <a:cubicBezTo>
                    <a:pt x="193096" y="560249"/>
                    <a:pt x="190376" y="590166"/>
                    <a:pt x="190376" y="603764"/>
                  </a:cubicBezTo>
                  <a:cubicBezTo>
                    <a:pt x="190376" y="609203"/>
                    <a:pt x="190376" y="611923"/>
                    <a:pt x="198535" y="611923"/>
                  </a:cubicBezTo>
                  <a:cubicBezTo>
                    <a:pt x="206694" y="611923"/>
                    <a:pt x="209414" y="611923"/>
                    <a:pt x="214853" y="611923"/>
                  </a:cubicBezTo>
                  <a:cubicBezTo>
                    <a:pt x="223012" y="611923"/>
                    <a:pt x="220293" y="611923"/>
                    <a:pt x="236610" y="611923"/>
                  </a:cubicBezTo>
                  <a:cubicBezTo>
                    <a:pt x="242050" y="611923"/>
                    <a:pt x="258368" y="601044"/>
                    <a:pt x="263807" y="598325"/>
                  </a:cubicBezTo>
                  <a:cubicBezTo>
                    <a:pt x="266527" y="598325"/>
                    <a:pt x="274686" y="592885"/>
                    <a:pt x="277405" y="592885"/>
                  </a:cubicBezTo>
                  <a:cubicBezTo>
                    <a:pt x="285564" y="587446"/>
                    <a:pt x="288284" y="579287"/>
                    <a:pt x="291004" y="573848"/>
                  </a:cubicBezTo>
                  <a:cubicBezTo>
                    <a:pt x="296443" y="562969"/>
                    <a:pt x="301882" y="554810"/>
                    <a:pt x="307322" y="543931"/>
                  </a:cubicBezTo>
                  <a:cubicBezTo>
                    <a:pt x="315481" y="524894"/>
                    <a:pt x="320920" y="524894"/>
                    <a:pt x="326359" y="481379"/>
                  </a:cubicBezTo>
                  <a:cubicBezTo>
                    <a:pt x="329079" y="456903"/>
                    <a:pt x="334518" y="435145"/>
                    <a:pt x="337238" y="413388"/>
                  </a:cubicBezTo>
                  <a:cubicBezTo>
                    <a:pt x="337238" y="391631"/>
                    <a:pt x="337238" y="369873"/>
                    <a:pt x="337238" y="350836"/>
                  </a:cubicBezTo>
                  <a:cubicBezTo>
                    <a:pt x="337238" y="339957"/>
                    <a:pt x="337238" y="320920"/>
                    <a:pt x="334518" y="296443"/>
                  </a:cubicBezTo>
                  <a:cubicBezTo>
                    <a:pt x="331798" y="269246"/>
                    <a:pt x="329079" y="250209"/>
                    <a:pt x="329079" y="244769"/>
                  </a:cubicBezTo>
                  <a:cubicBezTo>
                    <a:pt x="323640" y="206694"/>
                    <a:pt x="318200" y="174058"/>
                    <a:pt x="307322" y="135983"/>
                  </a:cubicBezTo>
                  <a:cubicBezTo>
                    <a:pt x="304602" y="125105"/>
                    <a:pt x="304602" y="108787"/>
                    <a:pt x="271966" y="78870"/>
                  </a:cubicBezTo>
                  <a:cubicBezTo>
                    <a:pt x="263807" y="73431"/>
                    <a:pt x="233891" y="65272"/>
                    <a:pt x="214853" y="65272"/>
                  </a:cubicBezTo>
                  <a:close/>
                  <a:moveTo>
                    <a:pt x="114226" y="0"/>
                  </a:moveTo>
                  <a:cubicBezTo>
                    <a:pt x="119665" y="0"/>
                    <a:pt x="125105" y="0"/>
                    <a:pt x="127824" y="0"/>
                  </a:cubicBezTo>
                  <a:cubicBezTo>
                    <a:pt x="133264" y="0"/>
                    <a:pt x="141422" y="0"/>
                    <a:pt x="146862" y="2720"/>
                  </a:cubicBezTo>
                  <a:cubicBezTo>
                    <a:pt x="157741" y="5439"/>
                    <a:pt x="165900" y="13598"/>
                    <a:pt x="174059" y="21758"/>
                  </a:cubicBezTo>
                  <a:cubicBezTo>
                    <a:pt x="179498" y="21758"/>
                    <a:pt x="187657" y="21758"/>
                    <a:pt x="193096" y="21758"/>
                  </a:cubicBezTo>
                  <a:cubicBezTo>
                    <a:pt x="212134" y="21758"/>
                    <a:pt x="228452" y="27197"/>
                    <a:pt x="261088" y="27197"/>
                  </a:cubicBezTo>
                  <a:cubicBezTo>
                    <a:pt x="277405" y="27197"/>
                    <a:pt x="293723" y="35356"/>
                    <a:pt x="310042" y="35356"/>
                  </a:cubicBezTo>
                  <a:cubicBezTo>
                    <a:pt x="318200" y="35356"/>
                    <a:pt x="329079" y="35356"/>
                    <a:pt x="334518" y="40795"/>
                  </a:cubicBezTo>
                  <a:cubicBezTo>
                    <a:pt x="342677" y="46234"/>
                    <a:pt x="348117" y="54393"/>
                    <a:pt x="356276" y="59833"/>
                  </a:cubicBezTo>
                  <a:cubicBezTo>
                    <a:pt x="361715" y="65272"/>
                    <a:pt x="369874" y="67992"/>
                    <a:pt x="372593" y="76151"/>
                  </a:cubicBezTo>
                  <a:cubicBezTo>
                    <a:pt x="375313" y="81590"/>
                    <a:pt x="378033" y="89749"/>
                    <a:pt x="380752" y="95188"/>
                  </a:cubicBezTo>
                  <a:cubicBezTo>
                    <a:pt x="386192" y="103347"/>
                    <a:pt x="391631" y="106067"/>
                    <a:pt x="405230" y="114226"/>
                  </a:cubicBezTo>
                  <a:cubicBezTo>
                    <a:pt x="413388" y="119665"/>
                    <a:pt x="410669" y="133263"/>
                    <a:pt x="416108" y="141422"/>
                  </a:cubicBezTo>
                  <a:cubicBezTo>
                    <a:pt x="426987" y="160461"/>
                    <a:pt x="446025" y="182218"/>
                    <a:pt x="451464" y="201256"/>
                  </a:cubicBezTo>
                  <a:cubicBezTo>
                    <a:pt x="456903" y="220293"/>
                    <a:pt x="456903" y="236611"/>
                    <a:pt x="456903" y="252929"/>
                  </a:cubicBezTo>
                  <a:cubicBezTo>
                    <a:pt x="456903" y="266527"/>
                    <a:pt x="456903" y="277406"/>
                    <a:pt x="456903" y="291004"/>
                  </a:cubicBezTo>
                  <a:cubicBezTo>
                    <a:pt x="456903" y="299163"/>
                    <a:pt x="456903" y="307322"/>
                    <a:pt x="459623" y="318201"/>
                  </a:cubicBezTo>
                  <a:cubicBezTo>
                    <a:pt x="459623" y="320921"/>
                    <a:pt x="459623" y="323640"/>
                    <a:pt x="459623" y="326360"/>
                  </a:cubicBezTo>
                  <a:cubicBezTo>
                    <a:pt x="462342" y="331799"/>
                    <a:pt x="459623" y="337238"/>
                    <a:pt x="459623" y="348117"/>
                  </a:cubicBezTo>
                  <a:cubicBezTo>
                    <a:pt x="459623" y="350837"/>
                    <a:pt x="462342" y="361715"/>
                    <a:pt x="462342" y="367155"/>
                  </a:cubicBezTo>
                  <a:cubicBezTo>
                    <a:pt x="462342" y="375314"/>
                    <a:pt x="456903" y="383473"/>
                    <a:pt x="456903" y="391632"/>
                  </a:cubicBezTo>
                  <a:cubicBezTo>
                    <a:pt x="456903" y="399790"/>
                    <a:pt x="456903" y="410669"/>
                    <a:pt x="456903" y="418828"/>
                  </a:cubicBezTo>
                  <a:cubicBezTo>
                    <a:pt x="456903" y="421548"/>
                    <a:pt x="454183" y="429707"/>
                    <a:pt x="451464" y="437866"/>
                  </a:cubicBezTo>
                  <a:cubicBezTo>
                    <a:pt x="448744" y="443305"/>
                    <a:pt x="448744" y="451464"/>
                    <a:pt x="446025" y="454184"/>
                  </a:cubicBezTo>
                  <a:cubicBezTo>
                    <a:pt x="443305" y="462343"/>
                    <a:pt x="440585" y="473221"/>
                    <a:pt x="440585" y="481380"/>
                  </a:cubicBezTo>
                  <a:cubicBezTo>
                    <a:pt x="437865" y="489539"/>
                    <a:pt x="437865" y="500418"/>
                    <a:pt x="432426" y="508577"/>
                  </a:cubicBezTo>
                  <a:cubicBezTo>
                    <a:pt x="429706" y="516736"/>
                    <a:pt x="424267" y="522175"/>
                    <a:pt x="418828" y="530334"/>
                  </a:cubicBezTo>
                  <a:cubicBezTo>
                    <a:pt x="416108" y="535773"/>
                    <a:pt x="413388" y="543932"/>
                    <a:pt x="410669" y="549371"/>
                  </a:cubicBezTo>
                  <a:cubicBezTo>
                    <a:pt x="405230" y="557531"/>
                    <a:pt x="397071" y="573848"/>
                    <a:pt x="391631" y="579288"/>
                  </a:cubicBezTo>
                  <a:cubicBezTo>
                    <a:pt x="369874" y="609204"/>
                    <a:pt x="350836" y="620083"/>
                    <a:pt x="337238" y="630961"/>
                  </a:cubicBezTo>
                  <a:cubicBezTo>
                    <a:pt x="326359" y="639120"/>
                    <a:pt x="315481" y="641840"/>
                    <a:pt x="301883" y="647279"/>
                  </a:cubicBezTo>
                  <a:cubicBezTo>
                    <a:pt x="291004" y="649999"/>
                    <a:pt x="277405" y="652718"/>
                    <a:pt x="263807" y="652718"/>
                  </a:cubicBezTo>
                  <a:cubicBezTo>
                    <a:pt x="252929" y="652718"/>
                    <a:pt x="244770" y="649999"/>
                    <a:pt x="233891" y="649999"/>
                  </a:cubicBezTo>
                  <a:cubicBezTo>
                    <a:pt x="206694" y="649999"/>
                    <a:pt x="217573" y="652718"/>
                    <a:pt x="187657" y="652718"/>
                  </a:cubicBezTo>
                  <a:cubicBezTo>
                    <a:pt x="184937" y="660877"/>
                    <a:pt x="179498" y="666317"/>
                    <a:pt x="171339" y="669036"/>
                  </a:cubicBezTo>
                  <a:cubicBezTo>
                    <a:pt x="165900" y="671756"/>
                    <a:pt x="160460" y="671756"/>
                    <a:pt x="155021" y="671756"/>
                  </a:cubicBezTo>
                  <a:cubicBezTo>
                    <a:pt x="149581" y="671756"/>
                    <a:pt x="144142" y="674476"/>
                    <a:pt x="138703" y="674476"/>
                  </a:cubicBezTo>
                  <a:cubicBezTo>
                    <a:pt x="135983" y="674476"/>
                    <a:pt x="127824" y="677195"/>
                    <a:pt x="125105" y="677195"/>
                  </a:cubicBezTo>
                  <a:cubicBezTo>
                    <a:pt x="116946" y="677195"/>
                    <a:pt x="108787" y="671756"/>
                    <a:pt x="106067" y="671756"/>
                  </a:cubicBezTo>
                  <a:cubicBezTo>
                    <a:pt x="100628" y="669036"/>
                    <a:pt x="95188" y="663597"/>
                    <a:pt x="87029" y="658158"/>
                  </a:cubicBezTo>
                  <a:cubicBezTo>
                    <a:pt x="84310" y="655438"/>
                    <a:pt x="81590" y="655438"/>
                    <a:pt x="81590" y="652718"/>
                  </a:cubicBezTo>
                  <a:cubicBezTo>
                    <a:pt x="73431" y="652718"/>
                    <a:pt x="81590" y="652718"/>
                    <a:pt x="67992" y="652718"/>
                  </a:cubicBezTo>
                  <a:cubicBezTo>
                    <a:pt x="59833" y="652718"/>
                    <a:pt x="51674" y="652718"/>
                    <a:pt x="43515" y="652718"/>
                  </a:cubicBezTo>
                  <a:cubicBezTo>
                    <a:pt x="35356" y="652718"/>
                    <a:pt x="24477" y="652718"/>
                    <a:pt x="16318" y="647279"/>
                  </a:cubicBezTo>
                  <a:cubicBezTo>
                    <a:pt x="8159" y="644559"/>
                    <a:pt x="0" y="636401"/>
                    <a:pt x="0" y="630961"/>
                  </a:cubicBezTo>
                  <a:cubicBezTo>
                    <a:pt x="0" y="625522"/>
                    <a:pt x="0" y="622802"/>
                    <a:pt x="5439" y="620083"/>
                  </a:cubicBezTo>
                  <a:cubicBezTo>
                    <a:pt x="10879" y="617363"/>
                    <a:pt x="21758" y="614643"/>
                    <a:pt x="27197" y="611924"/>
                  </a:cubicBezTo>
                  <a:cubicBezTo>
                    <a:pt x="38076" y="609204"/>
                    <a:pt x="54393" y="609204"/>
                    <a:pt x="65272" y="609204"/>
                  </a:cubicBezTo>
                  <a:cubicBezTo>
                    <a:pt x="65272" y="601045"/>
                    <a:pt x="65272" y="592886"/>
                    <a:pt x="65272" y="584727"/>
                  </a:cubicBezTo>
                  <a:cubicBezTo>
                    <a:pt x="65272" y="541213"/>
                    <a:pt x="62552" y="500418"/>
                    <a:pt x="62552" y="456903"/>
                  </a:cubicBezTo>
                  <a:cubicBezTo>
                    <a:pt x="62552" y="440585"/>
                    <a:pt x="65272" y="397071"/>
                    <a:pt x="65272" y="337238"/>
                  </a:cubicBezTo>
                  <a:cubicBezTo>
                    <a:pt x="65272" y="293724"/>
                    <a:pt x="67992" y="247490"/>
                    <a:pt x="67992" y="203975"/>
                  </a:cubicBezTo>
                  <a:cubicBezTo>
                    <a:pt x="67992" y="179498"/>
                    <a:pt x="67992" y="149582"/>
                    <a:pt x="70712" y="119665"/>
                  </a:cubicBezTo>
                  <a:cubicBezTo>
                    <a:pt x="70712" y="103347"/>
                    <a:pt x="73431" y="84309"/>
                    <a:pt x="73431" y="67992"/>
                  </a:cubicBezTo>
                  <a:cubicBezTo>
                    <a:pt x="73431" y="67992"/>
                    <a:pt x="70712" y="67992"/>
                    <a:pt x="67992" y="67992"/>
                  </a:cubicBezTo>
                  <a:cubicBezTo>
                    <a:pt x="59833" y="67992"/>
                    <a:pt x="51674" y="67992"/>
                    <a:pt x="43515" y="67992"/>
                  </a:cubicBezTo>
                  <a:cubicBezTo>
                    <a:pt x="35356" y="67992"/>
                    <a:pt x="24477" y="67992"/>
                    <a:pt x="16318" y="62552"/>
                  </a:cubicBezTo>
                  <a:cubicBezTo>
                    <a:pt x="8159" y="59833"/>
                    <a:pt x="0" y="51674"/>
                    <a:pt x="0" y="46234"/>
                  </a:cubicBezTo>
                  <a:cubicBezTo>
                    <a:pt x="0" y="43515"/>
                    <a:pt x="0" y="38075"/>
                    <a:pt x="5439" y="35356"/>
                  </a:cubicBezTo>
                  <a:cubicBezTo>
                    <a:pt x="10879" y="32636"/>
                    <a:pt x="21758" y="29916"/>
                    <a:pt x="27197" y="27197"/>
                  </a:cubicBezTo>
                  <a:cubicBezTo>
                    <a:pt x="46234" y="24477"/>
                    <a:pt x="65272" y="21758"/>
                    <a:pt x="76151" y="21758"/>
                  </a:cubicBezTo>
                  <a:cubicBezTo>
                    <a:pt x="76151" y="19038"/>
                    <a:pt x="78871" y="16318"/>
                    <a:pt x="81590" y="13598"/>
                  </a:cubicBezTo>
                  <a:cubicBezTo>
                    <a:pt x="84310" y="10879"/>
                    <a:pt x="92469" y="5439"/>
                    <a:pt x="97908" y="5439"/>
                  </a:cubicBezTo>
                  <a:cubicBezTo>
                    <a:pt x="103347" y="2720"/>
                    <a:pt x="108787" y="0"/>
                    <a:pt x="114226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/>
            </a:p>
          </p:txBody>
        </p:sp>
        <p:sp>
          <p:nvSpPr>
            <p:cNvPr id="48" name="Freeform: Shape 47">
              <a:extLst>
                <a:ext uri="{FF2B5EF4-FFF2-40B4-BE49-F238E27FC236}">
                  <a16:creationId xmlns:a16="http://schemas.microsoft.com/office/drawing/2014/main" id="{788C5136-65D1-40F1-A383-12AEB2FDD611}"/>
                </a:ext>
              </a:extLst>
            </p:cNvPr>
            <p:cNvSpPr/>
            <p:nvPr/>
          </p:nvSpPr>
          <p:spPr>
            <a:xfrm>
              <a:off x="7310622" y="4197597"/>
              <a:ext cx="489539" cy="761503"/>
            </a:xfrm>
            <a:custGeom>
              <a:avLst/>
              <a:gdLst>
                <a:gd name="connsiteX0" fmla="*/ 433491 w 489538"/>
                <a:gd name="connsiteY0" fmla="*/ 651063 h 761503"/>
                <a:gd name="connsiteX1" fmla="*/ 438930 w 489538"/>
                <a:gd name="connsiteY1" fmla="*/ 661942 h 761503"/>
                <a:gd name="connsiteX2" fmla="*/ 425332 w 489538"/>
                <a:gd name="connsiteY2" fmla="*/ 683699 h 761503"/>
                <a:gd name="connsiteX3" fmla="*/ 400855 w 489538"/>
                <a:gd name="connsiteY3" fmla="*/ 691858 h 761503"/>
                <a:gd name="connsiteX4" fmla="*/ 343742 w 489538"/>
                <a:gd name="connsiteY4" fmla="*/ 700017 h 761503"/>
                <a:gd name="connsiteX5" fmla="*/ 316546 w 489538"/>
                <a:gd name="connsiteY5" fmla="*/ 705456 h 761503"/>
                <a:gd name="connsiteX6" fmla="*/ 275751 w 489538"/>
                <a:gd name="connsiteY6" fmla="*/ 705456 h 761503"/>
                <a:gd name="connsiteX7" fmla="*/ 264872 w 489538"/>
                <a:gd name="connsiteY7" fmla="*/ 708176 h 761503"/>
                <a:gd name="connsiteX8" fmla="*/ 253994 w 489538"/>
                <a:gd name="connsiteY8" fmla="*/ 708176 h 761503"/>
                <a:gd name="connsiteX9" fmla="*/ 240395 w 489538"/>
                <a:gd name="connsiteY9" fmla="*/ 719054 h 761503"/>
                <a:gd name="connsiteX10" fmla="*/ 224077 w 489538"/>
                <a:gd name="connsiteY10" fmla="*/ 721774 h 761503"/>
                <a:gd name="connsiteX11" fmla="*/ 205040 w 489538"/>
                <a:gd name="connsiteY11" fmla="*/ 724494 h 761503"/>
                <a:gd name="connsiteX12" fmla="*/ 191441 w 489538"/>
                <a:gd name="connsiteY12" fmla="*/ 727213 h 761503"/>
                <a:gd name="connsiteX13" fmla="*/ 169684 w 489538"/>
                <a:gd name="connsiteY13" fmla="*/ 721774 h 761503"/>
                <a:gd name="connsiteX14" fmla="*/ 150646 w 489538"/>
                <a:gd name="connsiteY14" fmla="*/ 708176 h 761503"/>
                <a:gd name="connsiteX15" fmla="*/ 139768 w 489538"/>
                <a:gd name="connsiteY15" fmla="*/ 708176 h 761503"/>
                <a:gd name="connsiteX16" fmla="*/ 120730 w 489538"/>
                <a:gd name="connsiteY16" fmla="*/ 708176 h 761503"/>
                <a:gd name="connsiteX17" fmla="*/ 98973 w 489538"/>
                <a:gd name="connsiteY17" fmla="*/ 708176 h 761503"/>
                <a:gd name="connsiteX18" fmla="*/ 74496 w 489538"/>
                <a:gd name="connsiteY18" fmla="*/ 702736 h 761503"/>
                <a:gd name="connsiteX19" fmla="*/ 58178 w 489538"/>
                <a:gd name="connsiteY19" fmla="*/ 683699 h 761503"/>
                <a:gd name="connsiteX20" fmla="*/ 63617 w 489538"/>
                <a:gd name="connsiteY20" fmla="*/ 675540 h 761503"/>
                <a:gd name="connsiteX21" fmla="*/ 85375 w 489538"/>
                <a:gd name="connsiteY21" fmla="*/ 667381 h 761503"/>
                <a:gd name="connsiteX22" fmla="*/ 128889 w 489538"/>
                <a:gd name="connsiteY22" fmla="*/ 661942 h 761503"/>
                <a:gd name="connsiteX23" fmla="*/ 128889 w 489538"/>
                <a:gd name="connsiteY23" fmla="*/ 602109 h 761503"/>
                <a:gd name="connsiteX24" fmla="*/ 126170 w 489538"/>
                <a:gd name="connsiteY24" fmla="*/ 523239 h 761503"/>
                <a:gd name="connsiteX25" fmla="*/ 126170 w 489538"/>
                <a:gd name="connsiteY25" fmla="*/ 468846 h 761503"/>
                <a:gd name="connsiteX26" fmla="*/ 123450 w 489538"/>
                <a:gd name="connsiteY26" fmla="*/ 409014 h 761503"/>
                <a:gd name="connsiteX27" fmla="*/ 123450 w 489538"/>
                <a:gd name="connsiteY27" fmla="*/ 384537 h 761503"/>
                <a:gd name="connsiteX28" fmla="*/ 126170 w 489538"/>
                <a:gd name="connsiteY28" fmla="*/ 349181 h 761503"/>
                <a:gd name="connsiteX29" fmla="*/ 126170 w 489538"/>
                <a:gd name="connsiteY29" fmla="*/ 324704 h 761503"/>
                <a:gd name="connsiteX30" fmla="*/ 128889 w 489538"/>
                <a:gd name="connsiteY30" fmla="*/ 292068 h 761503"/>
                <a:gd name="connsiteX31" fmla="*/ 134329 w 489538"/>
                <a:gd name="connsiteY31" fmla="*/ 234956 h 761503"/>
                <a:gd name="connsiteX32" fmla="*/ 134329 w 489538"/>
                <a:gd name="connsiteY32" fmla="*/ 172404 h 761503"/>
                <a:gd name="connsiteX33" fmla="*/ 137048 w 489538"/>
                <a:gd name="connsiteY33" fmla="*/ 123450 h 761503"/>
                <a:gd name="connsiteX34" fmla="*/ 123450 w 489538"/>
                <a:gd name="connsiteY34" fmla="*/ 123450 h 761503"/>
                <a:gd name="connsiteX35" fmla="*/ 101693 w 489538"/>
                <a:gd name="connsiteY35" fmla="*/ 123450 h 761503"/>
                <a:gd name="connsiteX36" fmla="*/ 77216 w 489538"/>
                <a:gd name="connsiteY36" fmla="*/ 118011 h 761503"/>
                <a:gd name="connsiteX37" fmla="*/ 60898 w 489538"/>
                <a:gd name="connsiteY37" fmla="*/ 98973 h 761503"/>
                <a:gd name="connsiteX38" fmla="*/ 66337 w 489538"/>
                <a:gd name="connsiteY38" fmla="*/ 90814 h 761503"/>
                <a:gd name="connsiteX39" fmla="*/ 88094 w 489538"/>
                <a:gd name="connsiteY39" fmla="*/ 82655 h 761503"/>
                <a:gd name="connsiteX40" fmla="*/ 145207 w 489538"/>
                <a:gd name="connsiteY40" fmla="*/ 77216 h 761503"/>
                <a:gd name="connsiteX41" fmla="*/ 145207 w 489538"/>
                <a:gd name="connsiteY41" fmla="*/ 77216 h 761503"/>
                <a:gd name="connsiteX42" fmla="*/ 153366 w 489538"/>
                <a:gd name="connsiteY42" fmla="*/ 69057 h 761503"/>
                <a:gd name="connsiteX43" fmla="*/ 177843 w 489538"/>
                <a:gd name="connsiteY43" fmla="*/ 60898 h 761503"/>
                <a:gd name="connsiteX44" fmla="*/ 196881 w 489538"/>
                <a:gd name="connsiteY44" fmla="*/ 58178 h 761503"/>
                <a:gd name="connsiteX45" fmla="*/ 205040 w 489538"/>
                <a:gd name="connsiteY45" fmla="*/ 58178 h 761503"/>
                <a:gd name="connsiteX46" fmla="*/ 215919 w 489538"/>
                <a:gd name="connsiteY46" fmla="*/ 63617 h 761503"/>
                <a:gd name="connsiteX47" fmla="*/ 229517 w 489538"/>
                <a:gd name="connsiteY47" fmla="*/ 69057 h 761503"/>
                <a:gd name="connsiteX48" fmla="*/ 256713 w 489538"/>
                <a:gd name="connsiteY48" fmla="*/ 77216 h 761503"/>
                <a:gd name="connsiteX49" fmla="*/ 264872 w 489538"/>
                <a:gd name="connsiteY49" fmla="*/ 77216 h 761503"/>
                <a:gd name="connsiteX50" fmla="*/ 281190 w 489538"/>
                <a:gd name="connsiteY50" fmla="*/ 77216 h 761503"/>
                <a:gd name="connsiteX51" fmla="*/ 330144 w 489538"/>
                <a:gd name="connsiteY51" fmla="*/ 77216 h 761503"/>
                <a:gd name="connsiteX52" fmla="*/ 357341 w 489538"/>
                <a:gd name="connsiteY52" fmla="*/ 79935 h 761503"/>
                <a:gd name="connsiteX53" fmla="*/ 387257 w 489538"/>
                <a:gd name="connsiteY53" fmla="*/ 82655 h 761503"/>
                <a:gd name="connsiteX54" fmla="*/ 406295 w 489538"/>
                <a:gd name="connsiteY54" fmla="*/ 85375 h 761503"/>
                <a:gd name="connsiteX55" fmla="*/ 417173 w 489538"/>
                <a:gd name="connsiteY55" fmla="*/ 79935 h 761503"/>
                <a:gd name="connsiteX56" fmla="*/ 425332 w 489538"/>
                <a:gd name="connsiteY56" fmla="*/ 85375 h 761503"/>
                <a:gd name="connsiteX57" fmla="*/ 433491 w 489538"/>
                <a:gd name="connsiteY57" fmla="*/ 104412 h 761503"/>
                <a:gd name="connsiteX58" fmla="*/ 436211 w 489538"/>
                <a:gd name="connsiteY58" fmla="*/ 137048 h 761503"/>
                <a:gd name="connsiteX59" fmla="*/ 438930 w 489538"/>
                <a:gd name="connsiteY59" fmla="*/ 183282 h 761503"/>
                <a:gd name="connsiteX60" fmla="*/ 422612 w 489538"/>
                <a:gd name="connsiteY60" fmla="*/ 218638 h 761503"/>
                <a:gd name="connsiteX61" fmla="*/ 406295 w 489538"/>
                <a:gd name="connsiteY61" fmla="*/ 213198 h 761503"/>
                <a:gd name="connsiteX62" fmla="*/ 398136 w 489538"/>
                <a:gd name="connsiteY62" fmla="*/ 196881 h 761503"/>
                <a:gd name="connsiteX63" fmla="*/ 395416 w 489538"/>
                <a:gd name="connsiteY63" fmla="*/ 175123 h 761503"/>
                <a:gd name="connsiteX64" fmla="*/ 395416 w 489538"/>
                <a:gd name="connsiteY64" fmla="*/ 153366 h 761503"/>
                <a:gd name="connsiteX65" fmla="*/ 395416 w 489538"/>
                <a:gd name="connsiteY65" fmla="*/ 126170 h 761503"/>
                <a:gd name="connsiteX66" fmla="*/ 370939 w 489538"/>
                <a:gd name="connsiteY66" fmla="*/ 128889 h 761503"/>
                <a:gd name="connsiteX67" fmla="*/ 338303 w 489538"/>
                <a:gd name="connsiteY67" fmla="*/ 131609 h 761503"/>
                <a:gd name="connsiteX68" fmla="*/ 286629 w 489538"/>
                <a:gd name="connsiteY68" fmla="*/ 134328 h 761503"/>
                <a:gd name="connsiteX69" fmla="*/ 273031 w 489538"/>
                <a:gd name="connsiteY69" fmla="*/ 137048 h 761503"/>
                <a:gd name="connsiteX70" fmla="*/ 262153 w 489538"/>
                <a:gd name="connsiteY70" fmla="*/ 142487 h 761503"/>
                <a:gd name="connsiteX71" fmla="*/ 259433 w 489538"/>
                <a:gd name="connsiteY71" fmla="*/ 153366 h 761503"/>
                <a:gd name="connsiteX72" fmla="*/ 262153 w 489538"/>
                <a:gd name="connsiteY72" fmla="*/ 166964 h 761503"/>
                <a:gd name="connsiteX73" fmla="*/ 262153 w 489538"/>
                <a:gd name="connsiteY73" fmla="*/ 196881 h 761503"/>
                <a:gd name="connsiteX74" fmla="*/ 262153 w 489538"/>
                <a:gd name="connsiteY74" fmla="*/ 215918 h 761503"/>
                <a:gd name="connsiteX75" fmla="*/ 262153 w 489538"/>
                <a:gd name="connsiteY75" fmla="*/ 251274 h 761503"/>
                <a:gd name="connsiteX76" fmla="*/ 259433 w 489538"/>
                <a:gd name="connsiteY76" fmla="*/ 278470 h 761503"/>
                <a:gd name="connsiteX77" fmla="*/ 259433 w 489538"/>
                <a:gd name="connsiteY77" fmla="*/ 308386 h 761503"/>
                <a:gd name="connsiteX78" fmla="*/ 259433 w 489538"/>
                <a:gd name="connsiteY78" fmla="*/ 321985 h 761503"/>
                <a:gd name="connsiteX79" fmla="*/ 259433 w 489538"/>
                <a:gd name="connsiteY79" fmla="*/ 332863 h 761503"/>
                <a:gd name="connsiteX80" fmla="*/ 267592 w 489538"/>
                <a:gd name="connsiteY80" fmla="*/ 335583 h 761503"/>
                <a:gd name="connsiteX81" fmla="*/ 281190 w 489538"/>
                <a:gd name="connsiteY81" fmla="*/ 335583 h 761503"/>
                <a:gd name="connsiteX82" fmla="*/ 327424 w 489538"/>
                <a:gd name="connsiteY82" fmla="*/ 338303 h 761503"/>
                <a:gd name="connsiteX83" fmla="*/ 351901 w 489538"/>
                <a:gd name="connsiteY83" fmla="*/ 341022 h 761503"/>
                <a:gd name="connsiteX84" fmla="*/ 351901 w 489538"/>
                <a:gd name="connsiteY84" fmla="*/ 335583 h 761503"/>
                <a:gd name="connsiteX85" fmla="*/ 351901 w 489538"/>
                <a:gd name="connsiteY85" fmla="*/ 313826 h 761503"/>
                <a:gd name="connsiteX86" fmla="*/ 357341 w 489538"/>
                <a:gd name="connsiteY86" fmla="*/ 289349 h 761503"/>
                <a:gd name="connsiteX87" fmla="*/ 373658 w 489538"/>
                <a:gd name="connsiteY87" fmla="*/ 273031 h 761503"/>
                <a:gd name="connsiteX88" fmla="*/ 381817 w 489538"/>
                <a:gd name="connsiteY88" fmla="*/ 278470 h 761503"/>
                <a:gd name="connsiteX89" fmla="*/ 389977 w 489538"/>
                <a:gd name="connsiteY89" fmla="*/ 300228 h 761503"/>
                <a:gd name="connsiteX90" fmla="*/ 395416 w 489538"/>
                <a:gd name="connsiteY90" fmla="*/ 351901 h 761503"/>
                <a:gd name="connsiteX91" fmla="*/ 398136 w 489538"/>
                <a:gd name="connsiteY91" fmla="*/ 409014 h 761503"/>
                <a:gd name="connsiteX92" fmla="*/ 381817 w 489538"/>
                <a:gd name="connsiteY92" fmla="*/ 444369 h 761503"/>
                <a:gd name="connsiteX93" fmla="*/ 365500 w 489538"/>
                <a:gd name="connsiteY93" fmla="*/ 438930 h 761503"/>
                <a:gd name="connsiteX94" fmla="*/ 357341 w 489538"/>
                <a:gd name="connsiteY94" fmla="*/ 422612 h 761503"/>
                <a:gd name="connsiteX95" fmla="*/ 354621 w 489538"/>
                <a:gd name="connsiteY95" fmla="*/ 400855 h 761503"/>
                <a:gd name="connsiteX96" fmla="*/ 354621 w 489538"/>
                <a:gd name="connsiteY96" fmla="*/ 381817 h 761503"/>
                <a:gd name="connsiteX97" fmla="*/ 270312 w 489538"/>
                <a:gd name="connsiteY97" fmla="*/ 381817 h 761503"/>
                <a:gd name="connsiteX98" fmla="*/ 256713 w 489538"/>
                <a:gd name="connsiteY98" fmla="*/ 395415 h 761503"/>
                <a:gd name="connsiteX99" fmla="*/ 253994 w 489538"/>
                <a:gd name="connsiteY99" fmla="*/ 422612 h 761503"/>
                <a:gd name="connsiteX100" fmla="*/ 253994 w 489538"/>
                <a:gd name="connsiteY100" fmla="*/ 433490 h 761503"/>
                <a:gd name="connsiteX101" fmla="*/ 253994 w 489538"/>
                <a:gd name="connsiteY101" fmla="*/ 449809 h 761503"/>
                <a:gd name="connsiteX102" fmla="*/ 256713 w 489538"/>
                <a:gd name="connsiteY102" fmla="*/ 474285 h 761503"/>
                <a:gd name="connsiteX103" fmla="*/ 256713 w 489538"/>
                <a:gd name="connsiteY103" fmla="*/ 496043 h 761503"/>
                <a:gd name="connsiteX104" fmla="*/ 259433 w 489538"/>
                <a:gd name="connsiteY104" fmla="*/ 534118 h 761503"/>
                <a:gd name="connsiteX105" fmla="*/ 259433 w 489538"/>
                <a:gd name="connsiteY105" fmla="*/ 591231 h 761503"/>
                <a:gd name="connsiteX106" fmla="*/ 262153 w 489538"/>
                <a:gd name="connsiteY106" fmla="*/ 618427 h 761503"/>
                <a:gd name="connsiteX107" fmla="*/ 267592 w 489538"/>
                <a:gd name="connsiteY107" fmla="*/ 648343 h 761503"/>
                <a:gd name="connsiteX108" fmla="*/ 292069 w 489538"/>
                <a:gd name="connsiteY108" fmla="*/ 651063 h 761503"/>
                <a:gd name="connsiteX109" fmla="*/ 327424 w 489538"/>
                <a:gd name="connsiteY109" fmla="*/ 651063 h 761503"/>
                <a:gd name="connsiteX110" fmla="*/ 362780 w 489538"/>
                <a:gd name="connsiteY110" fmla="*/ 653783 h 761503"/>
                <a:gd name="connsiteX111" fmla="*/ 395416 w 489538"/>
                <a:gd name="connsiteY111" fmla="*/ 648343 h 761503"/>
                <a:gd name="connsiteX112" fmla="*/ 395416 w 489538"/>
                <a:gd name="connsiteY112" fmla="*/ 618427 h 761503"/>
                <a:gd name="connsiteX113" fmla="*/ 395416 w 489538"/>
                <a:gd name="connsiteY113" fmla="*/ 596670 h 761503"/>
                <a:gd name="connsiteX114" fmla="*/ 398136 w 489538"/>
                <a:gd name="connsiteY114" fmla="*/ 574913 h 761503"/>
                <a:gd name="connsiteX115" fmla="*/ 406295 w 489538"/>
                <a:gd name="connsiteY115" fmla="*/ 558595 h 761503"/>
                <a:gd name="connsiteX116" fmla="*/ 422612 w 489538"/>
                <a:gd name="connsiteY116" fmla="*/ 553155 h 761503"/>
                <a:gd name="connsiteX117" fmla="*/ 438930 w 489538"/>
                <a:gd name="connsiteY117" fmla="*/ 588511 h 761503"/>
                <a:gd name="connsiteX118" fmla="*/ 436211 w 489538"/>
                <a:gd name="connsiteY118" fmla="*/ 645624 h 761503"/>
                <a:gd name="connsiteX119" fmla="*/ 433491 w 489538"/>
                <a:gd name="connsiteY119" fmla="*/ 651063 h 761503"/>
                <a:gd name="connsiteX120" fmla="*/ 433491 w 489538"/>
                <a:gd name="connsiteY120" fmla="*/ 651063 h 761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</a:cxnLst>
              <a:rect l="l" t="t" r="r" b="b"/>
              <a:pathLst>
                <a:path w="489538" h="761503">
                  <a:moveTo>
                    <a:pt x="433491" y="651063"/>
                  </a:moveTo>
                  <a:cubicBezTo>
                    <a:pt x="436211" y="653783"/>
                    <a:pt x="438930" y="656502"/>
                    <a:pt x="438930" y="661942"/>
                  </a:cubicBezTo>
                  <a:cubicBezTo>
                    <a:pt x="438930" y="670101"/>
                    <a:pt x="433491" y="678259"/>
                    <a:pt x="425332" y="683699"/>
                  </a:cubicBezTo>
                  <a:cubicBezTo>
                    <a:pt x="417173" y="689138"/>
                    <a:pt x="409014" y="689138"/>
                    <a:pt x="400855" y="691858"/>
                  </a:cubicBezTo>
                  <a:cubicBezTo>
                    <a:pt x="381817" y="694578"/>
                    <a:pt x="362780" y="694578"/>
                    <a:pt x="343742" y="700017"/>
                  </a:cubicBezTo>
                  <a:cubicBezTo>
                    <a:pt x="335583" y="702736"/>
                    <a:pt x="324705" y="702736"/>
                    <a:pt x="316546" y="705456"/>
                  </a:cubicBezTo>
                  <a:cubicBezTo>
                    <a:pt x="308387" y="705456"/>
                    <a:pt x="289349" y="705456"/>
                    <a:pt x="275751" y="705456"/>
                  </a:cubicBezTo>
                  <a:cubicBezTo>
                    <a:pt x="270312" y="705456"/>
                    <a:pt x="267592" y="708176"/>
                    <a:pt x="264872" y="708176"/>
                  </a:cubicBezTo>
                  <a:cubicBezTo>
                    <a:pt x="264872" y="708176"/>
                    <a:pt x="259433" y="708176"/>
                    <a:pt x="253994" y="708176"/>
                  </a:cubicBezTo>
                  <a:cubicBezTo>
                    <a:pt x="251274" y="713615"/>
                    <a:pt x="245835" y="716335"/>
                    <a:pt x="240395" y="719054"/>
                  </a:cubicBezTo>
                  <a:cubicBezTo>
                    <a:pt x="234956" y="721774"/>
                    <a:pt x="229517" y="721774"/>
                    <a:pt x="224077" y="721774"/>
                  </a:cubicBezTo>
                  <a:cubicBezTo>
                    <a:pt x="218638" y="721774"/>
                    <a:pt x="213199" y="724494"/>
                    <a:pt x="205040" y="724494"/>
                  </a:cubicBezTo>
                  <a:cubicBezTo>
                    <a:pt x="202320" y="724494"/>
                    <a:pt x="194161" y="727213"/>
                    <a:pt x="191441" y="727213"/>
                  </a:cubicBezTo>
                  <a:cubicBezTo>
                    <a:pt x="183282" y="727213"/>
                    <a:pt x="172404" y="721774"/>
                    <a:pt x="169684" y="721774"/>
                  </a:cubicBezTo>
                  <a:cubicBezTo>
                    <a:pt x="164245" y="719054"/>
                    <a:pt x="156086" y="713615"/>
                    <a:pt x="150646" y="708176"/>
                  </a:cubicBezTo>
                  <a:cubicBezTo>
                    <a:pt x="145207" y="708176"/>
                    <a:pt x="139768" y="708176"/>
                    <a:pt x="139768" y="708176"/>
                  </a:cubicBezTo>
                  <a:cubicBezTo>
                    <a:pt x="126170" y="708176"/>
                    <a:pt x="137048" y="708176"/>
                    <a:pt x="120730" y="708176"/>
                  </a:cubicBezTo>
                  <a:cubicBezTo>
                    <a:pt x="112571" y="708176"/>
                    <a:pt x="104412" y="708176"/>
                    <a:pt x="98973" y="708176"/>
                  </a:cubicBezTo>
                  <a:cubicBezTo>
                    <a:pt x="90814" y="708176"/>
                    <a:pt x="79936" y="708176"/>
                    <a:pt x="74496" y="702736"/>
                  </a:cubicBezTo>
                  <a:cubicBezTo>
                    <a:pt x="66337" y="700017"/>
                    <a:pt x="58178" y="689138"/>
                    <a:pt x="58178" y="683699"/>
                  </a:cubicBezTo>
                  <a:cubicBezTo>
                    <a:pt x="58178" y="680979"/>
                    <a:pt x="58178" y="678259"/>
                    <a:pt x="63617" y="675540"/>
                  </a:cubicBezTo>
                  <a:cubicBezTo>
                    <a:pt x="69057" y="672820"/>
                    <a:pt x="77216" y="670101"/>
                    <a:pt x="85375" y="667381"/>
                  </a:cubicBezTo>
                  <a:cubicBezTo>
                    <a:pt x="98973" y="664661"/>
                    <a:pt x="115291" y="664661"/>
                    <a:pt x="128889" y="661942"/>
                  </a:cubicBezTo>
                  <a:cubicBezTo>
                    <a:pt x="128889" y="645624"/>
                    <a:pt x="128889" y="623866"/>
                    <a:pt x="128889" y="602109"/>
                  </a:cubicBezTo>
                  <a:cubicBezTo>
                    <a:pt x="128889" y="566754"/>
                    <a:pt x="128889" y="531398"/>
                    <a:pt x="126170" y="523239"/>
                  </a:cubicBezTo>
                  <a:cubicBezTo>
                    <a:pt x="126170" y="517800"/>
                    <a:pt x="126170" y="487884"/>
                    <a:pt x="126170" y="468846"/>
                  </a:cubicBezTo>
                  <a:cubicBezTo>
                    <a:pt x="126170" y="449809"/>
                    <a:pt x="123450" y="430771"/>
                    <a:pt x="123450" y="409014"/>
                  </a:cubicBezTo>
                  <a:cubicBezTo>
                    <a:pt x="123450" y="400855"/>
                    <a:pt x="123450" y="392696"/>
                    <a:pt x="123450" y="384537"/>
                  </a:cubicBezTo>
                  <a:cubicBezTo>
                    <a:pt x="123450" y="373658"/>
                    <a:pt x="126170" y="360060"/>
                    <a:pt x="126170" y="349181"/>
                  </a:cubicBezTo>
                  <a:cubicBezTo>
                    <a:pt x="126170" y="341022"/>
                    <a:pt x="126170" y="332863"/>
                    <a:pt x="126170" y="324704"/>
                  </a:cubicBezTo>
                  <a:cubicBezTo>
                    <a:pt x="126170" y="313826"/>
                    <a:pt x="126170" y="302947"/>
                    <a:pt x="128889" y="292068"/>
                  </a:cubicBezTo>
                  <a:cubicBezTo>
                    <a:pt x="131609" y="273031"/>
                    <a:pt x="134329" y="253993"/>
                    <a:pt x="134329" y="234956"/>
                  </a:cubicBezTo>
                  <a:cubicBezTo>
                    <a:pt x="134329" y="213198"/>
                    <a:pt x="134329" y="191441"/>
                    <a:pt x="134329" y="172404"/>
                  </a:cubicBezTo>
                  <a:cubicBezTo>
                    <a:pt x="134329" y="156086"/>
                    <a:pt x="134329" y="139768"/>
                    <a:pt x="137048" y="123450"/>
                  </a:cubicBezTo>
                  <a:cubicBezTo>
                    <a:pt x="131609" y="123450"/>
                    <a:pt x="134329" y="123450"/>
                    <a:pt x="123450" y="123450"/>
                  </a:cubicBezTo>
                  <a:cubicBezTo>
                    <a:pt x="115291" y="123450"/>
                    <a:pt x="107132" y="123450"/>
                    <a:pt x="101693" y="123450"/>
                  </a:cubicBezTo>
                  <a:cubicBezTo>
                    <a:pt x="93534" y="123450"/>
                    <a:pt x="82655" y="123450"/>
                    <a:pt x="77216" y="118011"/>
                  </a:cubicBezTo>
                  <a:cubicBezTo>
                    <a:pt x="69057" y="115291"/>
                    <a:pt x="60898" y="101693"/>
                    <a:pt x="60898" y="98973"/>
                  </a:cubicBezTo>
                  <a:cubicBezTo>
                    <a:pt x="60898" y="96253"/>
                    <a:pt x="60898" y="93534"/>
                    <a:pt x="66337" y="90814"/>
                  </a:cubicBezTo>
                  <a:cubicBezTo>
                    <a:pt x="71777" y="88094"/>
                    <a:pt x="79936" y="85375"/>
                    <a:pt x="88094" y="82655"/>
                  </a:cubicBezTo>
                  <a:cubicBezTo>
                    <a:pt x="104412" y="79935"/>
                    <a:pt x="131609" y="77216"/>
                    <a:pt x="145207" y="77216"/>
                  </a:cubicBezTo>
                  <a:cubicBezTo>
                    <a:pt x="145207" y="77216"/>
                    <a:pt x="145207" y="77216"/>
                    <a:pt x="145207" y="77216"/>
                  </a:cubicBezTo>
                  <a:cubicBezTo>
                    <a:pt x="145207" y="74496"/>
                    <a:pt x="150646" y="71776"/>
                    <a:pt x="153366" y="69057"/>
                  </a:cubicBezTo>
                  <a:cubicBezTo>
                    <a:pt x="161525" y="63617"/>
                    <a:pt x="169684" y="63617"/>
                    <a:pt x="177843" y="60898"/>
                  </a:cubicBezTo>
                  <a:cubicBezTo>
                    <a:pt x="183282" y="58178"/>
                    <a:pt x="191441" y="58178"/>
                    <a:pt x="196881" y="58178"/>
                  </a:cubicBezTo>
                  <a:cubicBezTo>
                    <a:pt x="199600" y="58178"/>
                    <a:pt x="202320" y="58178"/>
                    <a:pt x="205040" y="58178"/>
                  </a:cubicBezTo>
                  <a:cubicBezTo>
                    <a:pt x="207759" y="58178"/>
                    <a:pt x="213199" y="60898"/>
                    <a:pt x="215919" y="63617"/>
                  </a:cubicBezTo>
                  <a:cubicBezTo>
                    <a:pt x="221358" y="66337"/>
                    <a:pt x="224077" y="66337"/>
                    <a:pt x="229517" y="69057"/>
                  </a:cubicBezTo>
                  <a:cubicBezTo>
                    <a:pt x="237675" y="71776"/>
                    <a:pt x="245835" y="77216"/>
                    <a:pt x="256713" y="77216"/>
                  </a:cubicBezTo>
                  <a:cubicBezTo>
                    <a:pt x="259433" y="77216"/>
                    <a:pt x="262153" y="77216"/>
                    <a:pt x="264872" y="77216"/>
                  </a:cubicBezTo>
                  <a:cubicBezTo>
                    <a:pt x="270312" y="77216"/>
                    <a:pt x="275751" y="77216"/>
                    <a:pt x="281190" y="77216"/>
                  </a:cubicBezTo>
                  <a:cubicBezTo>
                    <a:pt x="292069" y="77216"/>
                    <a:pt x="321985" y="77216"/>
                    <a:pt x="330144" y="77216"/>
                  </a:cubicBezTo>
                  <a:cubicBezTo>
                    <a:pt x="338303" y="77216"/>
                    <a:pt x="349182" y="77216"/>
                    <a:pt x="357341" y="79935"/>
                  </a:cubicBezTo>
                  <a:cubicBezTo>
                    <a:pt x="368219" y="79935"/>
                    <a:pt x="379098" y="82655"/>
                    <a:pt x="387257" y="82655"/>
                  </a:cubicBezTo>
                  <a:cubicBezTo>
                    <a:pt x="392696" y="82655"/>
                    <a:pt x="400855" y="85375"/>
                    <a:pt x="406295" y="85375"/>
                  </a:cubicBezTo>
                  <a:cubicBezTo>
                    <a:pt x="409014" y="82655"/>
                    <a:pt x="414453" y="79935"/>
                    <a:pt x="417173" y="79935"/>
                  </a:cubicBezTo>
                  <a:cubicBezTo>
                    <a:pt x="419893" y="79935"/>
                    <a:pt x="422612" y="79935"/>
                    <a:pt x="425332" y="85375"/>
                  </a:cubicBezTo>
                  <a:cubicBezTo>
                    <a:pt x="428052" y="90814"/>
                    <a:pt x="433491" y="98973"/>
                    <a:pt x="433491" y="104412"/>
                  </a:cubicBezTo>
                  <a:cubicBezTo>
                    <a:pt x="436211" y="131609"/>
                    <a:pt x="436211" y="120730"/>
                    <a:pt x="436211" y="137048"/>
                  </a:cubicBezTo>
                  <a:cubicBezTo>
                    <a:pt x="438930" y="158805"/>
                    <a:pt x="438930" y="158805"/>
                    <a:pt x="438930" y="183282"/>
                  </a:cubicBezTo>
                  <a:cubicBezTo>
                    <a:pt x="438930" y="194161"/>
                    <a:pt x="438930" y="218638"/>
                    <a:pt x="422612" y="218638"/>
                  </a:cubicBezTo>
                  <a:cubicBezTo>
                    <a:pt x="414453" y="218638"/>
                    <a:pt x="411734" y="215918"/>
                    <a:pt x="406295" y="213198"/>
                  </a:cubicBezTo>
                  <a:cubicBezTo>
                    <a:pt x="400855" y="210479"/>
                    <a:pt x="398136" y="202320"/>
                    <a:pt x="398136" y="196881"/>
                  </a:cubicBezTo>
                  <a:cubicBezTo>
                    <a:pt x="395416" y="188722"/>
                    <a:pt x="395416" y="183282"/>
                    <a:pt x="395416" y="175123"/>
                  </a:cubicBezTo>
                  <a:cubicBezTo>
                    <a:pt x="395416" y="169684"/>
                    <a:pt x="395416" y="164245"/>
                    <a:pt x="395416" y="153366"/>
                  </a:cubicBezTo>
                  <a:cubicBezTo>
                    <a:pt x="395416" y="145207"/>
                    <a:pt x="395416" y="134328"/>
                    <a:pt x="395416" y="126170"/>
                  </a:cubicBezTo>
                  <a:cubicBezTo>
                    <a:pt x="387257" y="128889"/>
                    <a:pt x="379098" y="128889"/>
                    <a:pt x="370939" y="128889"/>
                  </a:cubicBezTo>
                  <a:cubicBezTo>
                    <a:pt x="360060" y="128889"/>
                    <a:pt x="349182" y="128889"/>
                    <a:pt x="338303" y="131609"/>
                  </a:cubicBezTo>
                  <a:cubicBezTo>
                    <a:pt x="327424" y="131609"/>
                    <a:pt x="319265" y="134328"/>
                    <a:pt x="286629" y="134328"/>
                  </a:cubicBezTo>
                  <a:cubicBezTo>
                    <a:pt x="281190" y="134328"/>
                    <a:pt x="278470" y="134328"/>
                    <a:pt x="273031" y="137048"/>
                  </a:cubicBezTo>
                  <a:cubicBezTo>
                    <a:pt x="270312" y="137048"/>
                    <a:pt x="264872" y="137048"/>
                    <a:pt x="262153" y="142487"/>
                  </a:cubicBezTo>
                  <a:cubicBezTo>
                    <a:pt x="259433" y="145207"/>
                    <a:pt x="259433" y="150647"/>
                    <a:pt x="259433" y="153366"/>
                  </a:cubicBezTo>
                  <a:cubicBezTo>
                    <a:pt x="259433" y="158805"/>
                    <a:pt x="259433" y="164245"/>
                    <a:pt x="262153" y="166964"/>
                  </a:cubicBezTo>
                  <a:cubicBezTo>
                    <a:pt x="262153" y="177843"/>
                    <a:pt x="262153" y="186002"/>
                    <a:pt x="262153" y="196881"/>
                  </a:cubicBezTo>
                  <a:cubicBezTo>
                    <a:pt x="262153" y="202320"/>
                    <a:pt x="262153" y="210479"/>
                    <a:pt x="262153" y="215918"/>
                  </a:cubicBezTo>
                  <a:cubicBezTo>
                    <a:pt x="262153" y="229516"/>
                    <a:pt x="262153" y="240395"/>
                    <a:pt x="262153" y="251274"/>
                  </a:cubicBezTo>
                  <a:cubicBezTo>
                    <a:pt x="262153" y="259433"/>
                    <a:pt x="259433" y="270311"/>
                    <a:pt x="259433" y="278470"/>
                  </a:cubicBezTo>
                  <a:cubicBezTo>
                    <a:pt x="259433" y="289349"/>
                    <a:pt x="259433" y="297508"/>
                    <a:pt x="259433" y="308386"/>
                  </a:cubicBezTo>
                  <a:cubicBezTo>
                    <a:pt x="259433" y="313826"/>
                    <a:pt x="259433" y="319265"/>
                    <a:pt x="259433" y="321985"/>
                  </a:cubicBezTo>
                  <a:cubicBezTo>
                    <a:pt x="259433" y="324704"/>
                    <a:pt x="259433" y="330144"/>
                    <a:pt x="259433" y="332863"/>
                  </a:cubicBezTo>
                  <a:cubicBezTo>
                    <a:pt x="262153" y="335583"/>
                    <a:pt x="264872" y="335583"/>
                    <a:pt x="267592" y="335583"/>
                  </a:cubicBezTo>
                  <a:cubicBezTo>
                    <a:pt x="273031" y="335583"/>
                    <a:pt x="275751" y="335583"/>
                    <a:pt x="281190" y="335583"/>
                  </a:cubicBezTo>
                  <a:cubicBezTo>
                    <a:pt x="311107" y="335583"/>
                    <a:pt x="319265" y="335583"/>
                    <a:pt x="327424" y="338303"/>
                  </a:cubicBezTo>
                  <a:cubicBezTo>
                    <a:pt x="335583" y="341022"/>
                    <a:pt x="343742" y="341022"/>
                    <a:pt x="351901" y="341022"/>
                  </a:cubicBezTo>
                  <a:cubicBezTo>
                    <a:pt x="351901" y="338303"/>
                    <a:pt x="351901" y="338303"/>
                    <a:pt x="351901" y="335583"/>
                  </a:cubicBezTo>
                  <a:cubicBezTo>
                    <a:pt x="351901" y="327424"/>
                    <a:pt x="351901" y="319265"/>
                    <a:pt x="351901" y="313826"/>
                  </a:cubicBezTo>
                  <a:cubicBezTo>
                    <a:pt x="351901" y="305667"/>
                    <a:pt x="351901" y="294788"/>
                    <a:pt x="357341" y="289349"/>
                  </a:cubicBezTo>
                  <a:cubicBezTo>
                    <a:pt x="360060" y="281190"/>
                    <a:pt x="368219" y="273031"/>
                    <a:pt x="373658" y="273031"/>
                  </a:cubicBezTo>
                  <a:cubicBezTo>
                    <a:pt x="376378" y="273031"/>
                    <a:pt x="379098" y="273031"/>
                    <a:pt x="381817" y="278470"/>
                  </a:cubicBezTo>
                  <a:cubicBezTo>
                    <a:pt x="384537" y="283909"/>
                    <a:pt x="387257" y="292068"/>
                    <a:pt x="389977" y="300228"/>
                  </a:cubicBezTo>
                  <a:cubicBezTo>
                    <a:pt x="392696" y="316545"/>
                    <a:pt x="392696" y="335583"/>
                    <a:pt x="395416" y="351901"/>
                  </a:cubicBezTo>
                  <a:cubicBezTo>
                    <a:pt x="398136" y="373658"/>
                    <a:pt x="398136" y="384537"/>
                    <a:pt x="398136" y="409014"/>
                  </a:cubicBezTo>
                  <a:cubicBezTo>
                    <a:pt x="398136" y="422612"/>
                    <a:pt x="398136" y="444369"/>
                    <a:pt x="381817" y="444369"/>
                  </a:cubicBezTo>
                  <a:cubicBezTo>
                    <a:pt x="373658" y="444369"/>
                    <a:pt x="370939" y="441650"/>
                    <a:pt x="365500" y="438930"/>
                  </a:cubicBezTo>
                  <a:cubicBezTo>
                    <a:pt x="360060" y="436210"/>
                    <a:pt x="357341" y="428051"/>
                    <a:pt x="357341" y="422612"/>
                  </a:cubicBezTo>
                  <a:cubicBezTo>
                    <a:pt x="354621" y="414453"/>
                    <a:pt x="354621" y="409014"/>
                    <a:pt x="354621" y="400855"/>
                  </a:cubicBezTo>
                  <a:cubicBezTo>
                    <a:pt x="354621" y="395415"/>
                    <a:pt x="354621" y="389976"/>
                    <a:pt x="354621" y="381817"/>
                  </a:cubicBezTo>
                  <a:cubicBezTo>
                    <a:pt x="335583" y="381817"/>
                    <a:pt x="308387" y="384537"/>
                    <a:pt x="270312" y="381817"/>
                  </a:cubicBezTo>
                  <a:cubicBezTo>
                    <a:pt x="262153" y="381817"/>
                    <a:pt x="256713" y="387256"/>
                    <a:pt x="256713" y="395415"/>
                  </a:cubicBezTo>
                  <a:cubicBezTo>
                    <a:pt x="256713" y="403574"/>
                    <a:pt x="256713" y="414453"/>
                    <a:pt x="253994" y="422612"/>
                  </a:cubicBezTo>
                  <a:cubicBezTo>
                    <a:pt x="253994" y="425332"/>
                    <a:pt x="253994" y="430771"/>
                    <a:pt x="253994" y="433490"/>
                  </a:cubicBezTo>
                  <a:cubicBezTo>
                    <a:pt x="253994" y="438930"/>
                    <a:pt x="253994" y="444369"/>
                    <a:pt x="253994" y="449809"/>
                  </a:cubicBezTo>
                  <a:cubicBezTo>
                    <a:pt x="253994" y="457967"/>
                    <a:pt x="256713" y="466126"/>
                    <a:pt x="256713" y="474285"/>
                  </a:cubicBezTo>
                  <a:cubicBezTo>
                    <a:pt x="256713" y="482444"/>
                    <a:pt x="256713" y="490603"/>
                    <a:pt x="256713" y="496043"/>
                  </a:cubicBezTo>
                  <a:cubicBezTo>
                    <a:pt x="256713" y="509641"/>
                    <a:pt x="259433" y="520520"/>
                    <a:pt x="259433" y="534118"/>
                  </a:cubicBezTo>
                  <a:cubicBezTo>
                    <a:pt x="259433" y="553155"/>
                    <a:pt x="259433" y="572193"/>
                    <a:pt x="259433" y="591231"/>
                  </a:cubicBezTo>
                  <a:cubicBezTo>
                    <a:pt x="259433" y="602109"/>
                    <a:pt x="262153" y="610268"/>
                    <a:pt x="262153" y="618427"/>
                  </a:cubicBezTo>
                  <a:cubicBezTo>
                    <a:pt x="264872" y="626586"/>
                    <a:pt x="262153" y="642904"/>
                    <a:pt x="267592" y="648343"/>
                  </a:cubicBezTo>
                  <a:cubicBezTo>
                    <a:pt x="270312" y="651063"/>
                    <a:pt x="275751" y="651063"/>
                    <a:pt x="292069" y="651063"/>
                  </a:cubicBezTo>
                  <a:cubicBezTo>
                    <a:pt x="305667" y="651063"/>
                    <a:pt x="319265" y="651063"/>
                    <a:pt x="327424" y="651063"/>
                  </a:cubicBezTo>
                  <a:cubicBezTo>
                    <a:pt x="338303" y="651063"/>
                    <a:pt x="351901" y="653783"/>
                    <a:pt x="362780" y="653783"/>
                  </a:cubicBezTo>
                  <a:cubicBezTo>
                    <a:pt x="376378" y="653783"/>
                    <a:pt x="384537" y="651063"/>
                    <a:pt x="395416" y="648343"/>
                  </a:cubicBezTo>
                  <a:cubicBezTo>
                    <a:pt x="395416" y="637465"/>
                    <a:pt x="395416" y="629306"/>
                    <a:pt x="395416" y="618427"/>
                  </a:cubicBezTo>
                  <a:cubicBezTo>
                    <a:pt x="395416" y="610268"/>
                    <a:pt x="395416" y="602109"/>
                    <a:pt x="395416" y="596670"/>
                  </a:cubicBezTo>
                  <a:cubicBezTo>
                    <a:pt x="395416" y="591231"/>
                    <a:pt x="395416" y="585791"/>
                    <a:pt x="398136" y="574913"/>
                  </a:cubicBezTo>
                  <a:cubicBezTo>
                    <a:pt x="400855" y="569473"/>
                    <a:pt x="400855" y="564034"/>
                    <a:pt x="406295" y="558595"/>
                  </a:cubicBezTo>
                  <a:cubicBezTo>
                    <a:pt x="411734" y="553155"/>
                    <a:pt x="414453" y="553155"/>
                    <a:pt x="422612" y="553155"/>
                  </a:cubicBezTo>
                  <a:cubicBezTo>
                    <a:pt x="436211" y="553155"/>
                    <a:pt x="438930" y="577632"/>
                    <a:pt x="438930" y="588511"/>
                  </a:cubicBezTo>
                  <a:cubicBezTo>
                    <a:pt x="438930" y="612988"/>
                    <a:pt x="438930" y="623866"/>
                    <a:pt x="436211" y="645624"/>
                  </a:cubicBezTo>
                  <a:cubicBezTo>
                    <a:pt x="433491" y="648343"/>
                    <a:pt x="433491" y="648343"/>
                    <a:pt x="433491" y="651063"/>
                  </a:cubicBezTo>
                  <a:lnTo>
                    <a:pt x="433491" y="651063"/>
                  </a:ln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/>
            </a:p>
          </p:txBody>
        </p:sp>
        <p:sp>
          <p:nvSpPr>
            <p:cNvPr id="49" name="Freeform: Shape 48">
              <a:extLst>
                <a:ext uri="{FF2B5EF4-FFF2-40B4-BE49-F238E27FC236}">
                  <a16:creationId xmlns:a16="http://schemas.microsoft.com/office/drawing/2014/main" id="{9724F851-AB55-47D5-B0E8-62214C52C678}"/>
                </a:ext>
              </a:extLst>
            </p:cNvPr>
            <p:cNvSpPr/>
            <p:nvPr/>
          </p:nvSpPr>
          <p:spPr>
            <a:xfrm>
              <a:off x="7912732" y="4250336"/>
              <a:ext cx="465062" cy="658157"/>
            </a:xfrm>
            <a:custGeom>
              <a:avLst/>
              <a:gdLst>
                <a:gd name="connsiteX0" fmla="*/ 193096 w 465062"/>
                <a:gd name="connsiteY0" fmla="*/ 59832 h 658157"/>
                <a:gd name="connsiteX1" fmla="*/ 193096 w 465062"/>
                <a:gd name="connsiteY1" fmla="*/ 114226 h 658157"/>
                <a:gd name="connsiteX2" fmla="*/ 198536 w 465062"/>
                <a:gd name="connsiteY2" fmla="*/ 209414 h 658157"/>
                <a:gd name="connsiteX3" fmla="*/ 201255 w 465062"/>
                <a:gd name="connsiteY3" fmla="*/ 282845 h 658157"/>
                <a:gd name="connsiteX4" fmla="*/ 203975 w 465062"/>
                <a:gd name="connsiteY4" fmla="*/ 315481 h 658157"/>
                <a:gd name="connsiteX5" fmla="*/ 203975 w 465062"/>
                <a:gd name="connsiteY5" fmla="*/ 320920 h 658157"/>
                <a:gd name="connsiteX6" fmla="*/ 212134 w 465062"/>
                <a:gd name="connsiteY6" fmla="*/ 329079 h 658157"/>
                <a:gd name="connsiteX7" fmla="*/ 223013 w 465062"/>
                <a:gd name="connsiteY7" fmla="*/ 329079 h 658157"/>
                <a:gd name="connsiteX8" fmla="*/ 239331 w 465062"/>
                <a:gd name="connsiteY8" fmla="*/ 329079 h 658157"/>
                <a:gd name="connsiteX9" fmla="*/ 280126 w 465062"/>
                <a:gd name="connsiteY9" fmla="*/ 312761 h 658157"/>
                <a:gd name="connsiteX10" fmla="*/ 296443 w 465062"/>
                <a:gd name="connsiteY10" fmla="*/ 288284 h 658157"/>
                <a:gd name="connsiteX11" fmla="*/ 304602 w 465062"/>
                <a:gd name="connsiteY11" fmla="*/ 258368 h 658157"/>
                <a:gd name="connsiteX12" fmla="*/ 312761 w 465062"/>
                <a:gd name="connsiteY12" fmla="*/ 225732 h 658157"/>
                <a:gd name="connsiteX13" fmla="*/ 315481 w 465062"/>
                <a:gd name="connsiteY13" fmla="*/ 195816 h 658157"/>
                <a:gd name="connsiteX14" fmla="*/ 318201 w 465062"/>
                <a:gd name="connsiteY14" fmla="*/ 168619 h 658157"/>
                <a:gd name="connsiteX15" fmla="*/ 312761 w 465062"/>
                <a:gd name="connsiteY15" fmla="*/ 135983 h 658157"/>
                <a:gd name="connsiteX16" fmla="*/ 312761 w 465062"/>
                <a:gd name="connsiteY16" fmla="*/ 122385 h 658157"/>
                <a:gd name="connsiteX17" fmla="*/ 293724 w 465062"/>
                <a:gd name="connsiteY17" fmla="*/ 84309 h 658157"/>
                <a:gd name="connsiteX18" fmla="*/ 280126 w 465062"/>
                <a:gd name="connsiteY18" fmla="*/ 73430 h 658157"/>
                <a:gd name="connsiteX19" fmla="*/ 258368 w 465062"/>
                <a:gd name="connsiteY19" fmla="*/ 62552 h 658157"/>
                <a:gd name="connsiteX20" fmla="*/ 217573 w 465062"/>
                <a:gd name="connsiteY20" fmla="*/ 59832 h 658157"/>
                <a:gd name="connsiteX21" fmla="*/ 111506 w 465062"/>
                <a:gd name="connsiteY21" fmla="*/ 0 h 658157"/>
                <a:gd name="connsiteX22" fmla="*/ 127824 w 465062"/>
                <a:gd name="connsiteY22" fmla="*/ 0 h 658157"/>
                <a:gd name="connsiteX23" fmla="*/ 157741 w 465062"/>
                <a:gd name="connsiteY23" fmla="*/ 5440 h 658157"/>
                <a:gd name="connsiteX24" fmla="*/ 179497 w 465062"/>
                <a:gd name="connsiteY24" fmla="*/ 16318 h 658157"/>
                <a:gd name="connsiteX25" fmla="*/ 209414 w 465062"/>
                <a:gd name="connsiteY25" fmla="*/ 16318 h 658157"/>
                <a:gd name="connsiteX26" fmla="*/ 247489 w 465062"/>
                <a:gd name="connsiteY26" fmla="*/ 16318 h 658157"/>
                <a:gd name="connsiteX27" fmla="*/ 266527 w 465062"/>
                <a:gd name="connsiteY27" fmla="*/ 16318 h 658157"/>
                <a:gd name="connsiteX28" fmla="*/ 312761 w 465062"/>
                <a:gd name="connsiteY28" fmla="*/ 27197 h 658157"/>
                <a:gd name="connsiteX29" fmla="*/ 337238 w 465062"/>
                <a:gd name="connsiteY29" fmla="*/ 38075 h 658157"/>
                <a:gd name="connsiteX30" fmla="*/ 364434 w 465062"/>
                <a:gd name="connsiteY30" fmla="*/ 54393 h 658157"/>
                <a:gd name="connsiteX31" fmla="*/ 386192 w 465062"/>
                <a:gd name="connsiteY31" fmla="*/ 73431 h 658157"/>
                <a:gd name="connsiteX32" fmla="*/ 407949 w 465062"/>
                <a:gd name="connsiteY32" fmla="*/ 103347 h 658157"/>
                <a:gd name="connsiteX33" fmla="*/ 416108 w 465062"/>
                <a:gd name="connsiteY33" fmla="*/ 141422 h 658157"/>
                <a:gd name="connsiteX34" fmla="*/ 418828 w 465062"/>
                <a:gd name="connsiteY34" fmla="*/ 163179 h 658157"/>
                <a:gd name="connsiteX35" fmla="*/ 418828 w 465062"/>
                <a:gd name="connsiteY35" fmla="*/ 171339 h 658157"/>
                <a:gd name="connsiteX36" fmla="*/ 421547 w 465062"/>
                <a:gd name="connsiteY36" fmla="*/ 187656 h 658157"/>
                <a:gd name="connsiteX37" fmla="*/ 418828 w 465062"/>
                <a:gd name="connsiteY37" fmla="*/ 206694 h 658157"/>
                <a:gd name="connsiteX38" fmla="*/ 416108 w 465062"/>
                <a:gd name="connsiteY38" fmla="*/ 233891 h 658157"/>
                <a:gd name="connsiteX39" fmla="*/ 405229 w 465062"/>
                <a:gd name="connsiteY39" fmla="*/ 263807 h 658157"/>
                <a:gd name="connsiteX40" fmla="*/ 394351 w 465062"/>
                <a:gd name="connsiteY40" fmla="*/ 274686 h 658157"/>
                <a:gd name="connsiteX41" fmla="*/ 388912 w 465062"/>
                <a:gd name="connsiteY41" fmla="*/ 285564 h 658157"/>
                <a:gd name="connsiteX42" fmla="*/ 369874 w 465062"/>
                <a:gd name="connsiteY42" fmla="*/ 304602 h 658157"/>
                <a:gd name="connsiteX43" fmla="*/ 358995 w 465062"/>
                <a:gd name="connsiteY43" fmla="*/ 310041 h 658157"/>
                <a:gd name="connsiteX44" fmla="*/ 348117 w 465062"/>
                <a:gd name="connsiteY44" fmla="*/ 320920 h 658157"/>
                <a:gd name="connsiteX45" fmla="*/ 326359 w 465062"/>
                <a:gd name="connsiteY45" fmla="*/ 339957 h 658157"/>
                <a:gd name="connsiteX46" fmla="*/ 312761 w 465062"/>
                <a:gd name="connsiteY46" fmla="*/ 353555 h 658157"/>
                <a:gd name="connsiteX47" fmla="*/ 337238 w 465062"/>
                <a:gd name="connsiteY47" fmla="*/ 380752 h 658157"/>
                <a:gd name="connsiteX48" fmla="*/ 358995 w 465062"/>
                <a:gd name="connsiteY48" fmla="*/ 421547 h 658157"/>
                <a:gd name="connsiteX49" fmla="*/ 372593 w 465062"/>
                <a:gd name="connsiteY49" fmla="*/ 459622 h 658157"/>
                <a:gd name="connsiteX50" fmla="*/ 386192 w 465062"/>
                <a:gd name="connsiteY50" fmla="*/ 514015 h 658157"/>
                <a:gd name="connsiteX51" fmla="*/ 407949 w 465062"/>
                <a:gd name="connsiteY51" fmla="*/ 568408 h 658157"/>
                <a:gd name="connsiteX52" fmla="*/ 421547 w 465062"/>
                <a:gd name="connsiteY52" fmla="*/ 598324 h 658157"/>
                <a:gd name="connsiteX53" fmla="*/ 451463 w 465062"/>
                <a:gd name="connsiteY53" fmla="*/ 628241 h 658157"/>
                <a:gd name="connsiteX54" fmla="*/ 465062 w 465062"/>
                <a:gd name="connsiteY54" fmla="*/ 644559 h 658157"/>
                <a:gd name="connsiteX55" fmla="*/ 462342 w 465062"/>
                <a:gd name="connsiteY55" fmla="*/ 649998 h 658157"/>
                <a:gd name="connsiteX56" fmla="*/ 437865 w 465062"/>
                <a:gd name="connsiteY56" fmla="*/ 658157 h 658157"/>
                <a:gd name="connsiteX57" fmla="*/ 361715 w 465062"/>
                <a:gd name="connsiteY57" fmla="*/ 622801 h 658157"/>
                <a:gd name="connsiteX58" fmla="*/ 320920 w 465062"/>
                <a:gd name="connsiteY58" fmla="*/ 565689 h 658157"/>
                <a:gd name="connsiteX59" fmla="*/ 304602 w 465062"/>
                <a:gd name="connsiteY59" fmla="*/ 530333 h 658157"/>
                <a:gd name="connsiteX60" fmla="*/ 293723 w 465062"/>
                <a:gd name="connsiteY60" fmla="*/ 497697 h 658157"/>
                <a:gd name="connsiteX61" fmla="*/ 282845 w 465062"/>
                <a:gd name="connsiteY61" fmla="*/ 462342 h 658157"/>
                <a:gd name="connsiteX62" fmla="*/ 269246 w 465062"/>
                <a:gd name="connsiteY62" fmla="*/ 424267 h 658157"/>
                <a:gd name="connsiteX63" fmla="*/ 255648 w 465062"/>
                <a:gd name="connsiteY63" fmla="*/ 391631 h 658157"/>
                <a:gd name="connsiteX64" fmla="*/ 236610 w 465062"/>
                <a:gd name="connsiteY64" fmla="*/ 367154 h 658157"/>
                <a:gd name="connsiteX65" fmla="*/ 217573 w 465062"/>
                <a:gd name="connsiteY65" fmla="*/ 361714 h 658157"/>
                <a:gd name="connsiteX66" fmla="*/ 201255 w 465062"/>
                <a:gd name="connsiteY66" fmla="*/ 361714 h 658157"/>
                <a:gd name="connsiteX67" fmla="*/ 198535 w 465062"/>
                <a:gd name="connsiteY67" fmla="*/ 367154 h 658157"/>
                <a:gd name="connsiteX68" fmla="*/ 201255 w 465062"/>
                <a:gd name="connsiteY68" fmla="*/ 388911 h 658157"/>
                <a:gd name="connsiteX69" fmla="*/ 198535 w 465062"/>
                <a:gd name="connsiteY69" fmla="*/ 426986 h 658157"/>
                <a:gd name="connsiteX70" fmla="*/ 203975 w 465062"/>
                <a:gd name="connsiteY70" fmla="*/ 478660 h 658157"/>
                <a:gd name="connsiteX71" fmla="*/ 198535 w 465062"/>
                <a:gd name="connsiteY71" fmla="*/ 552090 h 658157"/>
                <a:gd name="connsiteX72" fmla="*/ 195816 w 465062"/>
                <a:gd name="connsiteY72" fmla="*/ 576567 h 658157"/>
                <a:gd name="connsiteX73" fmla="*/ 198535 w 465062"/>
                <a:gd name="connsiteY73" fmla="*/ 592885 h 658157"/>
                <a:gd name="connsiteX74" fmla="*/ 233891 w 465062"/>
                <a:gd name="connsiteY74" fmla="*/ 592885 h 658157"/>
                <a:gd name="connsiteX75" fmla="*/ 271966 w 465062"/>
                <a:gd name="connsiteY75" fmla="*/ 611923 h 658157"/>
                <a:gd name="connsiteX76" fmla="*/ 266527 w 465062"/>
                <a:gd name="connsiteY76" fmla="*/ 628241 h 658157"/>
                <a:gd name="connsiteX77" fmla="*/ 250209 w 465062"/>
                <a:gd name="connsiteY77" fmla="*/ 636400 h 658157"/>
                <a:gd name="connsiteX78" fmla="*/ 228451 w 465062"/>
                <a:gd name="connsiteY78" fmla="*/ 639119 h 658157"/>
                <a:gd name="connsiteX79" fmla="*/ 187657 w 465062"/>
                <a:gd name="connsiteY79" fmla="*/ 639119 h 658157"/>
                <a:gd name="connsiteX80" fmla="*/ 152301 w 465062"/>
                <a:gd name="connsiteY80" fmla="*/ 652717 h 658157"/>
                <a:gd name="connsiteX81" fmla="*/ 133263 w 465062"/>
                <a:gd name="connsiteY81" fmla="*/ 655437 h 658157"/>
                <a:gd name="connsiteX82" fmla="*/ 122385 w 465062"/>
                <a:gd name="connsiteY82" fmla="*/ 652717 h 658157"/>
                <a:gd name="connsiteX83" fmla="*/ 97908 w 465062"/>
                <a:gd name="connsiteY83" fmla="*/ 639119 h 658157"/>
                <a:gd name="connsiteX84" fmla="*/ 70711 w 465062"/>
                <a:gd name="connsiteY84" fmla="*/ 639119 h 658157"/>
                <a:gd name="connsiteX85" fmla="*/ 46234 w 465062"/>
                <a:gd name="connsiteY85" fmla="*/ 639119 h 658157"/>
                <a:gd name="connsiteX86" fmla="*/ 19038 w 465062"/>
                <a:gd name="connsiteY86" fmla="*/ 630960 h 658157"/>
                <a:gd name="connsiteX87" fmla="*/ 2720 w 465062"/>
                <a:gd name="connsiteY87" fmla="*/ 614642 h 658157"/>
                <a:gd name="connsiteX88" fmla="*/ 8159 w 465062"/>
                <a:gd name="connsiteY88" fmla="*/ 606483 h 658157"/>
                <a:gd name="connsiteX89" fmla="*/ 29916 w 465062"/>
                <a:gd name="connsiteY89" fmla="*/ 598324 h 658157"/>
                <a:gd name="connsiteX90" fmla="*/ 76151 w 465062"/>
                <a:gd name="connsiteY90" fmla="*/ 592885 h 658157"/>
                <a:gd name="connsiteX91" fmla="*/ 73431 w 465062"/>
                <a:gd name="connsiteY91" fmla="*/ 573848 h 658157"/>
                <a:gd name="connsiteX92" fmla="*/ 70711 w 465062"/>
                <a:gd name="connsiteY92" fmla="*/ 500417 h 658157"/>
                <a:gd name="connsiteX93" fmla="*/ 73431 w 465062"/>
                <a:gd name="connsiteY93" fmla="*/ 437865 h 658157"/>
                <a:gd name="connsiteX94" fmla="*/ 70711 w 465062"/>
                <a:gd name="connsiteY94" fmla="*/ 369873 h 658157"/>
                <a:gd name="connsiteX95" fmla="*/ 70711 w 465062"/>
                <a:gd name="connsiteY95" fmla="*/ 293723 h 658157"/>
                <a:gd name="connsiteX96" fmla="*/ 73431 w 465062"/>
                <a:gd name="connsiteY96" fmla="*/ 212133 h 658157"/>
                <a:gd name="connsiteX97" fmla="*/ 76151 w 465062"/>
                <a:gd name="connsiteY97" fmla="*/ 155021 h 658157"/>
                <a:gd name="connsiteX98" fmla="*/ 76151 w 465062"/>
                <a:gd name="connsiteY98" fmla="*/ 119665 h 658157"/>
                <a:gd name="connsiteX99" fmla="*/ 78870 w 465062"/>
                <a:gd name="connsiteY99" fmla="*/ 84310 h 658157"/>
                <a:gd name="connsiteX100" fmla="*/ 76151 w 465062"/>
                <a:gd name="connsiteY100" fmla="*/ 62552 h 658157"/>
                <a:gd name="connsiteX101" fmla="*/ 67992 w 465062"/>
                <a:gd name="connsiteY101" fmla="*/ 62552 h 658157"/>
                <a:gd name="connsiteX102" fmla="*/ 43515 w 465062"/>
                <a:gd name="connsiteY102" fmla="*/ 62552 h 658157"/>
                <a:gd name="connsiteX103" fmla="*/ 16318 w 465062"/>
                <a:gd name="connsiteY103" fmla="*/ 57113 h 658157"/>
                <a:gd name="connsiteX104" fmla="*/ 0 w 465062"/>
                <a:gd name="connsiteY104" fmla="*/ 40795 h 658157"/>
                <a:gd name="connsiteX105" fmla="*/ 5439 w 465062"/>
                <a:gd name="connsiteY105" fmla="*/ 32636 h 658157"/>
                <a:gd name="connsiteX106" fmla="*/ 27197 w 465062"/>
                <a:gd name="connsiteY106" fmla="*/ 24477 h 658157"/>
                <a:gd name="connsiteX107" fmla="*/ 76151 w 465062"/>
                <a:gd name="connsiteY107" fmla="*/ 19038 h 658157"/>
                <a:gd name="connsiteX108" fmla="*/ 78870 w 465062"/>
                <a:gd name="connsiteY108" fmla="*/ 13598 h 658157"/>
                <a:gd name="connsiteX109" fmla="*/ 95188 w 465062"/>
                <a:gd name="connsiteY109" fmla="*/ 5440 h 658157"/>
                <a:gd name="connsiteX110" fmla="*/ 111506 w 465062"/>
                <a:gd name="connsiteY110" fmla="*/ 0 h 6581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</a:cxnLst>
              <a:rect l="l" t="t" r="r" b="b"/>
              <a:pathLst>
                <a:path w="465062" h="658157">
                  <a:moveTo>
                    <a:pt x="193096" y="59832"/>
                  </a:moveTo>
                  <a:cubicBezTo>
                    <a:pt x="193096" y="73430"/>
                    <a:pt x="193096" y="89748"/>
                    <a:pt x="193096" y="114226"/>
                  </a:cubicBezTo>
                  <a:cubicBezTo>
                    <a:pt x="193096" y="144142"/>
                    <a:pt x="195816" y="176778"/>
                    <a:pt x="198536" y="209414"/>
                  </a:cubicBezTo>
                  <a:cubicBezTo>
                    <a:pt x="198536" y="247489"/>
                    <a:pt x="201255" y="277406"/>
                    <a:pt x="201255" y="282845"/>
                  </a:cubicBezTo>
                  <a:cubicBezTo>
                    <a:pt x="201255" y="293723"/>
                    <a:pt x="203975" y="304602"/>
                    <a:pt x="203975" y="315481"/>
                  </a:cubicBezTo>
                  <a:cubicBezTo>
                    <a:pt x="203975" y="318200"/>
                    <a:pt x="203975" y="318200"/>
                    <a:pt x="203975" y="320920"/>
                  </a:cubicBezTo>
                  <a:cubicBezTo>
                    <a:pt x="203975" y="326359"/>
                    <a:pt x="206695" y="329079"/>
                    <a:pt x="212134" y="329079"/>
                  </a:cubicBezTo>
                  <a:cubicBezTo>
                    <a:pt x="214854" y="329079"/>
                    <a:pt x="220293" y="329079"/>
                    <a:pt x="223013" y="329079"/>
                  </a:cubicBezTo>
                  <a:cubicBezTo>
                    <a:pt x="228452" y="329079"/>
                    <a:pt x="233891" y="329079"/>
                    <a:pt x="239331" y="329079"/>
                  </a:cubicBezTo>
                  <a:cubicBezTo>
                    <a:pt x="252929" y="329079"/>
                    <a:pt x="271967" y="323640"/>
                    <a:pt x="280126" y="312761"/>
                  </a:cubicBezTo>
                  <a:cubicBezTo>
                    <a:pt x="288284" y="304602"/>
                    <a:pt x="291004" y="299163"/>
                    <a:pt x="296443" y="288284"/>
                  </a:cubicBezTo>
                  <a:cubicBezTo>
                    <a:pt x="299163" y="277406"/>
                    <a:pt x="301883" y="269247"/>
                    <a:pt x="304602" y="258368"/>
                  </a:cubicBezTo>
                  <a:cubicBezTo>
                    <a:pt x="307322" y="244770"/>
                    <a:pt x="310042" y="239330"/>
                    <a:pt x="312761" y="225732"/>
                  </a:cubicBezTo>
                  <a:cubicBezTo>
                    <a:pt x="315481" y="212134"/>
                    <a:pt x="315481" y="209414"/>
                    <a:pt x="315481" y="195816"/>
                  </a:cubicBezTo>
                  <a:cubicBezTo>
                    <a:pt x="315481" y="179498"/>
                    <a:pt x="315481" y="184937"/>
                    <a:pt x="318201" y="168619"/>
                  </a:cubicBezTo>
                  <a:cubicBezTo>
                    <a:pt x="312761" y="152302"/>
                    <a:pt x="312761" y="149582"/>
                    <a:pt x="312761" y="135983"/>
                  </a:cubicBezTo>
                  <a:cubicBezTo>
                    <a:pt x="312761" y="133264"/>
                    <a:pt x="312761" y="127825"/>
                    <a:pt x="312761" y="122385"/>
                  </a:cubicBezTo>
                  <a:cubicBezTo>
                    <a:pt x="312761" y="111507"/>
                    <a:pt x="301883" y="95188"/>
                    <a:pt x="293724" y="84309"/>
                  </a:cubicBezTo>
                  <a:cubicBezTo>
                    <a:pt x="288284" y="78870"/>
                    <a:pt x="285565" y="76150"/>
                    <a:pt x="280126" y="73430"/>
                  </a:cubicBezTo>
                  <a:cubicBezTo>
                    <a:pt x="271967" y="67991"/>
                    <a:pt x="266527" y="65271"/>
                    <a:pt x="258368" y="62552"/>
                  </a:cubicBezTo>
                  <a:cubicBezTo>
                    <a:pt x="244770" y="59832"/>
                    <a:pt x="228452" y="59832"/>
                    <a:pt x="217573" y="59832"/>
                  </a:cubicBezTo>
                  <a:close/>
                  <a:moveTo>
                    <a:pt x="111506" y="0"/>
                  </a:moveTo>
                  <a:cubicBezTo>
                    <a:pt x="114226" y="0"/>
                    <a:pt x="122385" y="0"/>
                    <a:pt x="127824" y="0"/>
                  </a:cubicBezTo>
                  <a:cubicBezTo>
                    <a:pt x="135983" y="0"/>
                    <a:pt x="146862" y="2720"/>
                    <a:pt x="157741" y="5440"/>
                  </a:cubicBezTo>
                  <a:cubicBezTo>
                    <a:pt x="168619" y="8159"/>
                    <a:pt x="176778" y="10879"/>
                    <a:pt x="179497" y="16318"/>
                  </a:cubicBezTo>
                  <a:cubicBezTo>
                    <a:pt x="193096" y="16318"/>
                    <a:pt x="201255" y="16318"/>
                    <a:pt x="209414" y="16318"/>
                  </a:cubicBezTo>
                  <a:cubicBezTo>
                    <a:pt x="220292" y="16318"/>
                    <a:pt x="231171" y="16318"/>
                    <a:pt x="247489" y="16318"/>
                  </a:cubicBezTo>
                  <a:cubicBezTo>
                    <a:pt x="250209" y="16318"/>
                    <a:pt x="258368" y="16318"/>
                    <a:pt x="266527" y="16318"/>
                  </a:cubicBezTo>
                  <a:cubicBezTo>
                    <a:pt x="277405" y="16318"/>
                    <a:pt x="291004" y="21758"/>
                    <a:pt x="312761" y="27197"/>
                  </a:cubicBezTo>
                  <a:cubicBezTo>
                    <a:pt x="320920" y="29917"/>
                    <a:pt x="329079" y="35356"/>
                    <a:pt x="337238" y="38075"/>
                  </a:cubicBezTo>
                  <a:cubicBezTo>
                    <a:pt x="342677" y="40795"/>
                    <a:pt x="353556" y="48954"/>
                    <a:pt x="364434" y="54393"/>
                  </a:cubicBezTo>
                  <a:cubicBezTo>
                    <a:pt x="375313" y="62552"/>
                    <a:pt x="386192" y="67992"/>
                    <a:pt x="386192" y="73431"/>
                  </a:cubicBezTo>
                  <a:cubicBezTo>
                    <a:pt x="391631" y="84310"/>
                    <a:pt x="402510" y="92469"/>
                    <a:pt x="407949" y="103347"/>
                  </a:cubicBezTo>
                  <a:cubicBezTo>
                    <a:pt x="413388" y="116945"/>
                    <a:pt x="416108" y="130544"/>
                    <a:pt x="416108" y="141422"/>
                  </a:cubicBezTo>
                  <a:cubicBezTo>
                    <a:pt x="416108" y="152301"/>
                    <a:pt x="418828" y="157740"/>
                    <a:pt x="418828" y="163179"/>
                  </a:cubicBezTo>
                  <a:cubicBezTo>
                    <a:pt x="418828" y="165899"/>
                    <a:pt x="418828" y="168619"/>
                    <a:pt x="418828" y="171339"/>
                  </a:cubicBezTo>
                  <a:cubicBezTo>
                    <a:pt x="418828" y="174058"/>
                    <a:pt x="421547" y="182217"/>
                    <a:pt x="421547" y="187656"/>
                  </a:cubicBezTo>
                  <a:cubicBezTo>
                    <a:pt x="421547" y="193096"/>
                    <a:pt x="418828" y="201255"/>
                    <a:pt x="418828" y="206694"/>
                  </a:cubicBezTo>
                  <a:cubicBezTo>
                    <a:pt x="418828" y="217573"/>
                    <a:pt x="418828" y="223012"/>
                    <a:pt x="416108" y="233891"/>
                  </a:cubicBezTo>
                  <a:cubicBezTo>
                    <a:pt x="413388" y="244769"/>
                    <a:pt x="410668" y="255648"/>
                    <a:pt x="405229" y="263807"/>
                  </a:cubicBezTo>
                  <a:cubicBezTo>
                    <a:pt x="402510" y="269246"/>
                    <a:pt x="397070" y="269246"/>
                    <a:pt x="394351" y="274686"/>
                  </a:cubicBezTo>
                  <a:cubicBezTo>
                    <a:pt x="391631" y="277405"/>
                    <a:pt x="391631" y="282844"/>
                    <a:pt x="388912" y="285564"/>
                  </a:cubicBezTo>
                  <a:cubicBezTo>
                    <a:pt x="383472" y="291003"/>
                    <a:pt x="375313" y="301882"/>
                    <a:pt x="369874" y="304602"/>
                  </a:cubicBezTo>
                  <a:cubicBezTo>
                    <a:pt x="367154" y="307321"/>
                    <a:pt x="361715" y="307321"/>
                    <a:pt x="358995" y="310041"/>
                  </a:cubicBezTo>
                  <a:cubicBezTo>
                    <a:pt x="356275" y="312761"/>
                    <a:pt x="350836" y="318200"/>
                    <a:pt x="348117" y="320920"/>
                  </a:cubicBezTo>
                  <a:cubicBezTo>
                    <a:pt x="339958" y="326359"/>
                    <a:pt x="334518" y="334518"/>
                    <a:pt x="326359" y="339957"/>
                  </a:cubicBezTo>
                  <a:cubicBezTo>
                    <a:pt x="320920" y="342677"/>
                    <a:pt x="312761" y="342677"/>
                    <a:pt x="312761" y="353555"/>
                  </a:cubicBezTo>
                  <a:cubicBezTo>
                    <a:pt x="312761" y="361714"/>
                    <a:pt x="334518" y="372593"/>
                    <a:pt x="337238" y="380752"/>
                  </a:cubicBezTo>
                  <a:cubicBezTo>
                    <a:pt x="345397" y="394350"/>
                    <a:pt x="353556" y="407948"/>
                    <a:pt x="358995" y="421547"/>
                  </a:cubicBezTo>
                  <a:cubicBezTo>
                    <a:pt x="364434" y="435145"/>
                    <a:pt x="367154" y="446024"/>
                    <a:pt x="372593" y="459622"/>
                  </a:cubicBezTo>
                  <a:cubicBezTo>
                    <a:pt x="378033" y="478660"/>
                    <a:pt x="383472" y="494978"/>
                    <a:pt x="386192" y="514015"/>
                  </a:cubicBezTo>
                  <a:cubicBezTo>
                    <a:pt x="391631" y="533053"/>
                    <a:pt x="402510" y="549371"/>
                    <a:pt x="407949" y="568408"/>
                  </a:cubicBezTo>
                  <a:cubicBezTo>
                    <a:pt x="410668" y="579287"/>
                    <a:pt x="416108" y="590165"/>
                    <a:pt x="421547" y="598324"/>
                  </a:cubicBezTo>
                  <a:cubicBezTo>
                    <a:pt x="435146" y="614642"/>
                    <a:pt x="443305" y="622801"/>
                    <a:pt x="451463" y="628241"/>
                  </a:cubicBezTo>
                  <a:cubicBezTo>
                    <a:pt x="456903" y="630960"/>
                    <a:pt x="465062" y="636400"/>
                    <a:pt x="465062" y="644559"/>
                  </a:cubicBezTo>
                  <a:cubicBezTo>
                    <a:pt x="465062" y="647278"/>
                    <a:pt x="465062" y="647278"/>
                    <a:pt x="462342" y="649998"/>
                  </a:cubicBezTo>
                  <a:cubicBezTo>
                    <a:pt x="456903" y="655437"/>
                    <a:pt x="446024" y="658157"/>
                    <a:pt x="437865" y="658157"/>
                  </a:cubicBezTo>
                  <a:cubicBezTo>
                    <a:pt x="413388" y="658157"/>
                    <a:pt x="378033" y="641839"/>
                    <a:pt x="361715" y="622801"/>
                  </a:cubicBezTo>
                  <a:cubicBezTo>
                    <a:pt x="345397" y="606483"/>
                    <a:pt x="334518" y="584726"/>
                    <a:pt x="320920" y="565689"/>
                  </a:cubicBezTo>
                  <a:cubicBezTo>
                    <a:pt x="315480" y="554810"/>
                    <a:pt x="310041" y="543931"/>
                    <a:pt x="304602" y="530333"/>
                  </a:cubicBezTo>
                  <a:cubicBezTo>
                    <a:pt x="299163" y="519454"/>
                    <a:pt x="296443" y="508576"/>
                    <a:pt x="293723" y="497697"/>
                  </a:cubicBezTo>
                  <a:cubicBezTo>
                    <a:pt x="291004" y="486819"/>
                    <a:pt x="288284" y="473220"/>
                    <a:pt x="282845" y="462342"/>
                  </a:cubicBezTo>
                  <a:cubicBezTo>
                    <a:pt x="280125" y="448743"/>
                    <a:pt x="274686" y="437865"/>
                    <a:pt x="269246" y="424267"/>
                  </a:cubicBezTo>
                  <a:cubicBezTo>
                    <a:pt x="266527" y="416108"/>
                    <a:pt x="261087" y="402509"/>
                    <a:pt x="255648" y="391631"/>
                  </a:cubicBezTo>
                  <a:cubicBezTo>
                    <a:pt x="250209" y="380752"/>
                    <a:pt x="244770" y="375313"/>
                    <a:pt x="236610" y="367154"/>
                  </a:cubicBezTo>
                  <a:cubicBezTo>
                    <a:pt x="231171" y="361714"/>
                    <a:pt x="223012" y="361714"/>
                    <a:pt x="217573" y="361714"/>
                  </a:cubicBezTo>
                  <a:cubicBezTo>
                    <a:pt x="212134" y="361714"/>
                    <a:pt x="206694" y="361714"/>
                    <a:pt x="201255" y="361714"/>
                  </a:cubicBezTo>
                  <a:cubicBezTo>
                    <a:pt x="198535" y="361714"/>
                    <a:pt x="198535" y="364434"/>
                    <a:pt x="198535" y="367154"/>
                  </a:cubicBezTo>
                  <a:cubicBezTo>
                    <a:pt x="198535" y="375313"/>
                    <a:pt x="201255" y="386191"/>
                    <a:pt x="201255" y="388911"/>
                  </a:cubicBezTo>
                  <a:cubicBezTo>
                    <a:pt x="201255" y="402509"/>
                    <a:pt x="198535" y="413388"/>
                    <a:pt x="198535" y="426986"/>
                  </a:cubicBezTo>
                  <a:cubicBezTo>
                    <a:pt x="198535" y="446024"/>
                    <a:pt x="203975" y="456902"/>
                    <a:pt x="203975" y="478660"/>
                  </a:cubicBezTo>
                  <a:cubicBezTo>
                    <a:pt x="203975" y="503136"/>
                    <a:pt x="201255" y="527613"/>
                    <a:pt x="198535" y="552090"/>
                  </a:cubicBezTo>
                  <a:cubicBezTo>
                    <a:pt x="198535" y="560249"/>
                    <a:pt x="195816" y="568408"/>
                    <a:pt x="195816" y="576567"/>
                  </a:cubicBezTo>
                  <a:cubicBezTo>
                    <a:pt x="195816" y="582006"/>
                    <a:pt x="195816" y="587446"/>
                    <a:pt x="198535" y="592885"/>
                  </a:cubicBezTo>
                  <a:cubicBezTo>
                    <a:pt x="212134" y="592885"/>
                    <a:pt x="225732" y="592885"/>
                    <a:pt x="233891" y="592885"/>
                  </a:cubicBezTo>
                  <a:cubicBezTo>
                    <a:pt x="247489" y="592885"/>
                    <a:pt x="271966" y="592885"/>
                    <a:pt x="271966" y="611923"/>
                  </a:cubicBezTo>
                  <a:cubicBezTo>
                    <a:pt x="271966" y="620082"/>
                    <a:pt x="269246" y="622801"/>
                    <a:pt x="266527" y="628241"/>
                  </a:cubicBezTo>
                  <a:cubicBezTo>
                    <a:pt x="261087" y="633680"/>
                    <a:pt x="255648" y="636400"/>
                    <a:pt x="250209" y="636400"/>
                  </a:cubicBezTo>
                  <a:cubicBezTo>
                    <a:pt x="239330" y="639119"/>
                    <a:pt x="233891" y="639119"/>
                    <a:pt x="228451" y="639119"/>
                  </a:cubicBezTo>
                  <a:cubicBezTo>
                    <a:pt x="223012" y="639119"/>
                    <a:pt x="206694" y="639119"/>
                    <a:pt x="187657" y="639119"/>
                  </a:cubicBezTo>
                  <a:cubicBezTo>
                    <a:pt x="176778" y="647278"/>
                    <a:pt x="163180" y="649998"/>
                    <a:pt x="152301" y="652717"/>
                  </a:cubicBezTo>
                  <a:cubicBezTo>
                    <a:pt x="146862" y="652717"/>
                    <a:pt x="138703" y="655437"/>
                    <a:pt x="133263" y="655437"/>
                  </a:cubicBezTo>
                  <a:cubicBezTo>
                    <a:pt x="130544" y="655437"/>
                    <a:pt x="125104" y="655437"/>
                    <a:pt x="122385" y="652717"/>
                  </a:cubicBezTo>
                  <a:cubicBezTo>
                    <a:pt x="114226" y="649998"/>
                    <a:pt x="103347" y="644559"/>
                    <a:pt x="97908" y="639119"/>
                  </a:cubicBezTo>
                  <a:cubicBezTo>
                    <a:pt x="87029" y="639119"/>
                    <a:pt x="78870" y="639119"/>
                    <a:pt x="70711" y="639119"/>
                  </a:cubicBezTo>
                  <a:cubicBezTo>
                    <a:pt x="62552" y="639119"/>
                    <a:pt x="54393" y="639119"/>
                    <a:pt x="46234" y="639119"/>
                  </a:cubicBezTo>
                  <a:cubicBezTo>
                    <a:pt x="38075" y="639119"/>
                    <a:pt x="27197" y="633680"/>
                    <a:pt x="19038" y="630960"/>
                  </a:cubicBezTo>
                  <a:cubicBezTo>
                    <a:pt x="10879" y="628241"/>
                    <a:pt x="2720" y="620082"/>
                    <a:pt x="2720" y="614642"/>
                  </a:cubicBezTo>
                  <a:cubicBezTo>
                    <a:pt x="2720" y="611923"/>
                    <a:pt x="2720" y="609203"/>
                    <a:pt x="8159" y="606483"/>
                  </a:cubicBezTo>
                  <a:cubicBezTo>
                    <a:pt x="13599" y="603764"/>
                    <a:pt x="24477" y="601044"/>
                    <a:pt x="29916" y="598324"/>
                  </a:cubicBezTo>
                  <a:cubicBezTo>
                    <a:pt x="43515" y="595605"/>
                    <a:pt x="62552" y="595605"/>
                    <a:pt x="76151" y="592885"/>
                  </a:cubicBezTo>
                  <a:cubicBezTo>
                    <a:pt x="76151" y="587446"/>
                    <a:pt x="73431" y="582006"/>
                    <a:pt x="73431" y="573848"/>
                  </a:cubicBezTo>
                  <a:cubicBezTo>
                    <a:pt x="73431" y="565689"/>
                    <a:pt x="70711" y="516735"/>
                    <a:pt x="70711" y="500417"/>
                  </a:cubicBezTo>
                  <a:cubicBezTo>
                    <a:pt x="70711" y="481379"/>
                    <a:pt x="73431" y="456902"/>
                    <a:pt x="73431" y="437865"/>
                  </a:cubicBezTo>
                  <a:cubicBezTo>
                    <a:pt x="73431" y="416108"/>
                    <a:pt x="70711" y="391631"/>
                    <a:pt x="70711" y="369873"/>
                  </a:cubicBezTo>
                  <a:cubicBezTo>
                    <a:pt x="70711" y="345397"/>
                    <a:pt x="70711" y="318200"/>
                    <a:pt x="70711" y="293723"/>
                  </a:cubicBezTo>
                  <a:cubicBezTo>
                    <a:pt x="70711" y="266526"/>
                    <a:pt x="73431" y="239330"/>
                    <a:pt x="73431" y="212133"/>
                  </a:cubicBezTo>
                  <a:cubicBezTo>
                    <a:pt x="73431" y="187656"/>
                    <a:pt x="76151" y="179498"/>
                    <a:pt x="76151" y="155021"/>
                  </a:cubicBezTo>
                  <a:cubicBezTo>
                    <a:pt x="76151" y="144142"/>
                    <a:pt x="76151" y="130544"/>
                    <a:pt x="76151" y="119665"/>
                  </a:cubicBezTo>
                  <a:cubicBezTo>
                    <a:pt x="76151" y="106067"/>
                    <a:pt x="78870" y="95188"/>
                    <a:pt x="78870" y="84310"/>
                  </a:cubicBezTo>
                  <a:cubicBezTo>
                    <a:pt x="78870" y="78870"/>
                    <a:pt x="78870" y="70711"/>
                    <a:pt x="76151" y="62552"/>
                  </a:cubicBezTo>
                  <a:cubicBezTo>
                    <a:pt x="76151" y="62552"/>
                    <a:pt x="73431" y="62552"/>
                    <a:pt x="67992" y="62552"/>
                  </a:cubicBezTo>
                  <a:cubicBezTo>
                    <a:pt x="59833" y="62552"/>
                    <a:pt x="51674" y="62552"/>
                    <a:pt x="43515" y="62552"/>
                  </a:cubicBezTo>
                  <a:cubicBezTo>
                    <a:pt x="35356" y="62552"/>
                    <a:pt x="24477" y="59833"/>
                    <a:pt x="16318" y="57113"/>
                  </a:cubicBezTo>
                  <a:cubicBezTo>
                    <a:pt x="8159" y="54393"/>
                    <a:pt x="0" y="43515"/>
                    <a:pt x="0" y="40795"/>
                  </a:cubicBezTo>
                  <a:cubicBezTo>
                    <a:pt x="0" y="38075"/>
                    <a:pt x="0" y="35356"/>
                    <a:pt x="5439" y="32636"/>
                  </a:cubicBezTo>
                  <a:cubicBezTo>
                    <a:pt x="10879" y="29917"/>
                    <a:pt x="21758" y="27197"/>
                    <a:pt x="27197" y="24477"/>
                  </a:cubicBezTo>
                  <a:cubicBezTo>
                    <a:pt x="46234" y="21758"/>
                    <a:pt x="62552" y="19038"/>
                    <a:pt x="76151" y="19038"/>
                  </a:cubicBezTo>
                  <a:cubicBezTo>
                    <a:pt x="76151" y="16318"/>
                    <a:pt x="78870" y="16318"/>
                    <a:pt x="78870" y="13598"/>
                  </a:cubicBezTo>
                  <a:cubicBezTo>
                    <a:pt x="84309" y="10879"/>
                    <a:pt x="89749" y="8159"/>
                    <a:pt x="95188" y="5440"/>
                  </a:cubicBezTo>
                  <a:cubicBezTo>
                    <a:pt x="100628" y="2720"/>
                    <a:pt x="106067" y="0"/>
                    <a:pt x="111506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/>
            </a:p>
          </p:txBody>
        </p:sp>
        <p:sp>
          <p:nvSpPr>
            <p:cNvPr id="50" name="Freeform: Shape 49">
              <a:extLst>
                <a:ext uri="{FF2B5EF4-FFF2-40B4-BE49-F238E27FC236}">
                  <a16:creationId xmlns:a16="http://schemas.microsoft.com/office/drawing/2014/main" id="{100ABB2F-82B3-4313-9667-9D4CAE736D8E}"/>
                </a:ext>
              </a:extLst>
            </p:cNvPr>
            <p:cNvSpPr/>
            <p:nvPr/>
          </p:nvSpPr>
          <p:spPr>
            <a:xfrm>
              <a:off x="8346812" y="4186718"/>
              <a:ext cx="353556" cy="761503"/>
            </a:xfrm>
            <a:custGeom>
              <a:avLst/>
              <a:gdLst>
                <a:gd name="connsiteX0" fmla="*/ 283910 w 353555"/>
                <a:gd name="connsiteY0" fmla="*/ 672820 h 761503"/>
                <a:gd name="connsiteX1" fmla="*/ 321985 w 353555"/>
                <a:gd name="connsiteY1" fmla="*/ 689138 h 761503"/>
                <a:gd name="connsiteX2" fmla="*/ 316546 w 353555"/>
                <a:gd name="connsiteY2" fmla="*/ 705456 h 761503"/>
                <a:gd name="connsiteX3" fmla="*/ 300228 w 353555"/>
                <a:gd name="connsiteY3" fmla="*/ 713615 h 761503"/>
                <a:gd name="connsiteX4" fmla="*/ 278471 w 353555"/>
                <a:gd name="connsiteY4" fmla="*/ 716335 h 761503"/>
                <a:gd name="connsiteX5" fmla="*/ 237676 w 353555"/>
                <a:gd name="connsiteY5" fmla="*/ 716335 h 761503"/>
                <a:gd name="connsiteX6" fmla="*/ 180563 w 353555"/>
                <a:gd name="connsiteY6" fmla="*/ 719054 h 761503"/>
                <a:gd name="connsiteX7" fmla="*/ 126170 w 353555"/>
                <a:gd name="connsiteY7" fmla="*/ 719054 h 761503"/>
                <a:gd name="connsiteX8" fmla="*/ 101693 w 353555"/>
                <a:gd name="connsiteY8" fmla="*/ 719054 h 761503"/>
                <a:gd name="connsiteX9" fmla="*/ 74496 w 353555"/>
                <a:gd name="connsiteY9" fmla="*/ 713615 h 761503"/>
                <a:gd name="connsiteX10" fmla="*/ 58178 w 353555"/>
                <a:gd name="connsiteY10" fmla="*/ 697297 h 761503"/>
                <a:gd name="connsiteX11" fmla="*/ 63618 w 353555"/>
                <a:gd name="connsiteY11" fmla="*/ 689138 h 761503"/>
                <a:gd name="connsiteX12" fmla="*/ 85375 w 353555"/>
                <a:gd name="connsiteY12" fmla="*/ 680979 h 761503"/>
                <a:gd name="connsiteX13" fmla="*/ 131609 w 353555"/>
                <a:gd name="connsiteY13" fmla="*/ 675540 h 761503"/>
                <a:gd name="connsiteX14" fmla="*/ 142488 w 353555"/>
                <a:gd name="connsiteY14" fmla="*/ 675540 h 761503"/>
                <a:gd name="connsiteX15" fmla="*/ 131609 w 353555"/>
                <a:gd name="connsiteY15" fmla="*/ 653783 h 761503"/>
                <a:gd name="connsiteX16" fmla="*/ 128890 w 353555"/>
                <a:gd name="connsiteY16" fmla="*/ 640184 h 761503"/>
                <a:gd name="connsiteX17" fmla="*/ 128890 w 353555"/>
                <a:gd name="connsiteY17" fmla="*/ 629306 h 761503"/>
                <a:gd name="connsiteX18" fmla="*/ 128890 w 353555"/>
                <a:gd name="connsiteY18" fmla="*/ 621147 h 761503"/>
                <a:gd name="connsiteX19" fmla="*/ 128890 w 353555"/>
                <a:gd name="connsiteY19" fmla="*/ 593950 h 761503"/>
                <a:gd name="connsiteX20" fmla="*/ 128890 w 353555"/>
                <a:gd name="connsiteY20" fmla="*/ 583072 h 761503"/>
                <a:gd name="connsiteX21" fmla="*/ 128890 w 353555"/>
                <a:gd name="connsiteY21" fmla="*/ 436210 h 761503"/>
                <a:gd name="connsiteX22" fmla="*/ 128890 w 353555"/>
                <a:gd name="connsiteY22" fmla="*/ 357340 h 761503"/>
                <a:gd name="connsiteX23" fmla="*/ 131609 w 353555"/>
                <a:gd name="connsiteY23" fmla="*/ 289349 h 761503"/>
                <a:gd name="connsiteX24" fmla="*/ 131609 w 353555"/>
                <a:gd name="connsiteY24" fmla="*/ 251274 h 761503"/>
                <a:gd name="connsiteX25" fmla="*/ 131609 w 353555"/>
                <a:gd name="connsiteY25" fmla="*/ 205040 h 761503"/>
                <a:gd name="connsiteX26" fmla="*/ 131609 w 353555"/>
                <a:gd name="connsiteY26" fmla="*/ 139768 h 761503"/>
                <a:gd name="connsiteX27" fmla="*/ 131609 w 353555"/>
                <a:gd name="connsiteY27" fmla="*/ 128889 h 761503"/>
                <a:gd name="connsiteX28" fmla="*/ 126170 w 353555"/>
                <a:gd name="connsiteY28" fmla="*/ 128889 h 761503"/>
                <a:gd name="connsiteX29" fmla="*/ 101693 w 353555"/>
                <a:gd name="connsiteY29" fmla="*/ 128889 h 761503"/>
                <a:gd name="connsiteX30" fmla="*/ 74496 w 353555"/>
                <a:gd name="connsiteY30" fmla="*/ 123450 h 761503"/>
                <a:gd name="connsiteX31" fmla="*/ 58178 w 353555"/>
                <a:gd name="connsiteY31" fmla="*/ 107132 h 761503"/>
                <a:gd name="connsiteX32" fmla="*/ 60898 w 353555"/>
                <a:gd name="connsiteY32" fmla="*/ 98973 h 761503"/>
                <a:gd name="connsiteX33" fmla="*/ 82655 w 353555"/>
                <a:gd name="connsiteY33" fmla="*/ 93534 h 761503"/>
                <a:gd name="connsiteX34" fmla="*/ 131609 w 353555"/>
                <a:gd name="connsiteY34" fmla="*/ 88094 h 761503"/>
                <a:gd name="connsiteX35" fmla="*/ 131609 w 353555"/>
                <a:gd name="connsiteY35" fmla="*/ 82655 h 761503"/>
                <a:gd name="connsiteX36" fmla="*/ 134329 w 353555"/>
                <a:gd name="connsiteY36" fmla="*/ 71776 h 761503"/>
                <a:gd name="connsiteX37" fmla="*/ 147927 w 353555"/>
                <a:gd name="connsiteY37" fmla="*/ 63617 h 761503"/>
                <a:gd name="connsiteX38" fmla="*/ 164245 w 353555"/>
                <a:gd name="connsiteY38" fmla="*/ 58178 h 761503"/>
                <a:gd name="connsiteX39" fmla="*/ 177843 w 353555"/>
                <a:gd name="connsiteY39" fmla="*/ 58178 h 761503"/>
                <a:gd name="connsiteX40" fmla="*/ 196881 w 353555"/>
                <a:gd name="connsiteY40" fmla="*/ 60898 h 761503"/>
                <a:gd name="connsiteX41" fmla="*/ 232237 w 353555"/>
                <a:gd name="connsiteY41" fmla="*/ 88094 h 761503"/>
                <a:gd name="connsiteX42" fmla="*/ 278471 w 353555"/>
                <a:gd name="connsiteY42" fmla="*/ 88094 h 761503"/>
                <a:gd name="connsiteX43" fmla="*/ 316546 w 353555"/>
                <a:gd name="connsiteY43" fmla="*/ 104412 h 761503"/>
                <a:gd name="connsiteX44" fmla="*/ 311107 w 353555"/>
                <a:gd name="connsiteY44" fmla="*/ 120730 h 761503"/>
                <a:gd name="connsiteX45" fmla="*/ 294789 w 353555"/>
                <a:gd name="connsiteY45" fmla="*/ 128889 h 761503"/>
                <a:gd name="connsiteX46" fmla="*/ 273032 w 353555"/>
                <a:gd name="connsiteY46" fmla="*/ 131609 h 761503"/>
                <a:gd name="connsiteX47" fmla="*/ 243115 w 353555"/>
                <a:gd name="connsiteY47" fmla="*/ 131609 h 761503"/>
                <a:gd name="connsiteX48" fmla="*/ 243115 w 353555"/>
                <a:gd name="connsiteY48" fmla="*/ 134329 h 761503"/>
                <a:gd name="connsiteX49" fmla="*/ 248554 w 353555"/>
                <a:gd name="connsiteY49" fmla="*/ 169684 h 761503"/>
                <a:gd name="connsiteX50" fmla="*/ 251274 w 353555"/>
                <a:gd name="connsiteY50" fmla="*/ 205040 h 761503"/>
                <a:gd name="connsiteX51" fmla="*/ 251274 w 353555"/>
                <a:gd name="connsiteY51" fmla="*/ 240395 h 761503"/>
                <a:gd name="connsiteX52" fmla="*/ 251274 w 353555"/>
                <a:gd name="connsiteY52" fmla="*/ 256713 h 761503"/>
                <a:gd name="connsiteX53" fmla="*/ 253994 w 353555"/>
                <a:gd name="connsiteY53" fmla="*/ 270311 h 761503"/>
                <a:gd name="connsiteX54" fmla="*/ 259433 w 353555"/>
                <a:gd name="connsiteY54" fmla="*/ 343742 h 761503"/>
                <a:gd name="connsiteX55" fmla="*/ 262153 w 353555"/>
                <a:gd name="connsiteY55" fmla="*/ 425332 h 761503"/>
                <a:gd name="connsiteX56" fmla="*/ 264872 w 353555"/>
                <a:gd name="connsiteY56" fmla="*/ 490603 h 761503"/>
                <a:gd name="connsiteX57" fmla="*/ 270312 w 353555"/>
                <a:gd name="connsiteY57" fmla="*/ 564034 h 761503"/>
                <a:gd name="connsiteX58" fmla="*/ 270312 w 353555"/>
                <a:gd name="connsiteY58" fmla="*/ 599390 h 761503"/>
                <a:gd name="connsiteX59" fmla="*/ 270312 w 353555"/>
                <a:gd name="connsiteY59" fmla="*/ 637465 h 761503"/>
                <a:gd name="connsiteX60" fmla="*/ 264872 w 353555"/>
                <a:gd name="connsiteY60" fmla="*/ 670101 h 761503"/>
                <a:gd name="connsiteX61" fmla="*/ 283910 w 353555"/>
                <a:gd name="connsiteY61" fmla="*/ 672820 h 761503"/>
                <a:gd name="connsiteX62" fmla="*/ 283910 w 353555"/>
                <a:gd name="connsiteY62" fmla="*/ 672820 h 761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</a:cxnLst>
              <a:rect l="l" t="t" r="r" b="b"/>
              <a:pathLst>
                <a:path w="353555" h="761503">
                  <a:moveTo>
                    <a:pt x="283910" y="672820"/>
                  </a:moveTo>
                  <a:cubicBezTo>
                    <a:pt x="297508" y="672820"/>
                    <a:pt x="321985" y="672820"/>
                    <a:pt x="321985" y="689138"/>
                  </a:cubicBezTo>
                  <a:cubicBezTo>
                    <a:pt x="321985" y="697297"/>
                    <a:pt x="319266" y="697297"/>
                    <a:pt x="316546" y="705456"/>
                  </a:cubicBezTo>
                  <a:cubicBezTo>
                    <a:pt x="311107" y="710895"/>
                    <a:pt x="305667" y="713615"/>
                    <a:pt x="300228" y="713615"/>
                  </a:cubicBezTo>
                  <a:cubicBezTo>
                    <a:pt x="292069" y="716335"/>
                    <a:pt x="283910" y="716335"/>
                    <a:pt x="278471" y="716335"/>
                  </a:cubicBezTo>
                  <a:cubicBezTo>
                    <a:pt x="275751" y="716335"/>
                    <a:pt x="256713" y="716335"/>
                    <a:pt x="237676" y="716335"/>
                  </a:cubicBezTo>
                  <a:cubicBezTo>
                    <a:pt x="213199" y="716335"/>
                    <a:pt x="186003" y="719054"/>
                    <a:pt x="180563" y="719054"/>
                  </a:cubicBezTo>
                  <a:cubicBezTo>
                    <a:pt x="166965" y="719054"/>
                    <a:pt x="142488" y="719054"/>
                    <a:pt x="126170" y="719054"/>
                  </a:cubicBezTo>
                  <a:cubicBezTo>
                    <a:pt x="118011" y="719054"/>
                    <a:pt x="109852" y="719054"/>
                    <a:pt x="101693" y="719054"/>
                  </a:cubicBezTo>
                  <a:cubicBezTo>
                    <a:pt x="93534" y="719054"/>
                    <a:pt x="82655" y="719054"/>
                    <a:pt x="74496" y="713615"/>
                  </a:cubicBezTo>
                  <a:cubicBezTo>
                    <a:pt x="66337" y="710895"/>
                    <a:pt x="58178" y="702736"/>
                    <a:pt x="58178" y="697297"/>
                  </a:cubicBezTo>
                  <a:cubicBezTo>
                    <a:pt x="58178" y="694578"/>
                    <a:pt x="58178" y="691858"/>
                    <a:pt x="63618" y="689138"/>
                  </a:cubicBezTo>
                  <a:cubicBezTo>
                    <a:pt x="69057" y="686418"/>
                    <a:pt x="79936" y="683699"/>
                    <a:pt x="85375" y="680979"/>
                  </a:cubicBezTo>
                  <a:cubicBezTo>
                    <a:pt x="104413" y="678260"/>
                    <a:pt x="123450" y="675540"/>
                    <a:pt x="131609" y="675540"/>
                  </a:cubicBezTo>
                  <a:cubicBezTo>
                    <a:pt x="134329" y="675540"/>
                    <a:pt x="137049" y="675540"/>
                    <a:pt x="142488" y="675540"/>
                  </a:cubicBezTo>
                  <a:cubicBezTo>
                    <a:pt x="134329" y="670101"/>
                    <a:pt x="131609" y="661942"/>
                    <a:pt x="131609" y="653783"/>
                  </a:cubicBezTo>
                  <a:cubicBezTo>
                    <a:pt x="131609" y="648343"/>
                    <a:pt x="131609" y="642904"/>
                    <a:pt x="128890" y="640184"/>
                  </a:cubicBezTo>
                  <a:cubicBezTo>
                    <a:pt x="128890" y="637465"/>
                    <a:pt x="128890" y="634745"/>
                    <a:pt x="128890" y="629306"/>
                  </a:cubicBezTo>
                  <a:cubicBezTo>
                    <a:pt x="128890" y="626586"/>
                    <a:pt x="128890" y="623867"/>
                    <a:pt x="128890" y="621147"/>
                  </a:cubicBezTo>
                  <a:cubicBezTo>
                    <a:pt x="128890" y="612988"/>
                    <a:pt x="128890" y="604829"/>
                    <a:pt x="128890" y="593950"/>
                  </a:cubicBezTo>
                  <a:cubicBezTo>
                    <a:pt x="128890" y="591231"/>
                    <a:pt x="128890" y="585791"/>
                    <a:pt x="128890" y="583072"/>
                  </a:cubicBezTo>
                  <a:cubicBezTo>
                    <a:pt x="128890" y="534118"/>
                    <a:pt x="131609" y="485164"/>
                    <a:pt x="128890" y="436210"/>
                  </a:cubicBezTo>
                  <a:cubicBezTo>
                    <a:pt x="128890" y="409014"/>
                    <a:pt x="128890" y="384537"/>
                    <a:pt x="128890" y="357340"/>
                  </a:cubicBezTo>
                  <a:cubicBezTo>
                    <a:pt x="128890" y="335583"/>
                    <a:pt x="131609" y="313826"/>
                    <a:pt x="131609" y="289349"/>
                  </a:cubicBezTo>
                  <a:cubicBezTo>
                    <a:pt x="131609" y="275751"/>
                    <a:pt x="131609" y="264872"/>
                    <a:pt x="131609" y="251274"/>
                  </a:cubicBezTo>
                  <a:cubicBezTo>
                    <a:pt x="131609" y="234956"/>
                    <a:pt x="131609" y="221357"/>
                    <a:pt x="131609" y="205040"/>
                  </a:cubicBezTo>
                  <a:cubicBezTo>
                    <a:pt x="131609" y="183282"/>
                    <a:pt x="131609" y="161525"/>
                    <a:pt x="131609" y="139768"/>
                  </a:cubicBezTo>
                  <a:cubicBezTo>
                    <a:pt x="131609" y="137048"/>
                    <a:pt x="131609" y="134329"/>
                    <a:pt x="131609" y="128889"/>
                  </a:cubicBezTo>
                  <a:cubicBezTo>
                    <a:pt x="128890" y="128889"/>
                    <a:pt x="126170" y="128889"/>
                    <a:pt x="126170" y="128889"/>
                  </a:cubicBezTo>
                  <a:cubicBezTo>
                    <a:pt x="118011" y="128889"/>
                    <a:pt x="109852" y="128889"/>
                    <a:pt x="101693" y="128889"/>
                  </a:cubicBezTo>
                  <a:cubicBezTo>
                    <a:pt x="93534" y="128889"/>
                    <a:pt x="82655" y="128889"/>
                    <a:pt x="74496" y="123450"/>
                  </a:cubicBezTo>
                  <a:cubicBezTo>
                    <a:pt x="66337" y="120730"/>
                    <a:pt x="58178" y="112571"/>
                    <a:pt x="58178" y="107132"/>
                  </a:cubicBezTo>
                  <a:cubicBezTo>
                    <a:pt x="58178" y="104412"/>
                    <a:pt x="58178" y="101693"/>
                    <a:pt x="60898" y="98973"/>
                  </a:cubicBezTo>
                  <a:cubicBezTo>
                    <a:pt x="63618" y="96253"/>
                    <a:pt x="77216" y="93534"/>
                    <a:pt x="82655" y="93534"/>
                  </a:cubicBezTo>
                  <a:cubicBezTo>
                    <a:pt x="98973" y="90814"/>
                    <a:pt x="123450" y="88094"/>
                    <a:pt x="131609" y="88094"/>
                  </a:cubicBezTo>
                  <a:cubicBezTo>
                    <a:pt x="131609" y="85375"/>
                    <a:pt x="131609" y="85375"/>
                    <a:pt x="131609" y="82655"/>
                  </a:cubicBezTo>
                  <a:cubicBezTo>
                    <a:pt x="131609" y="77216"/>
                    <a:pt x="131609" y="74496"/>
                    <a:pt x="134329" y="71776"/>
                  </a:cubicBezTo>
                  <a:cubicBezTo>
                    <a:pt x="137049" y="69057"/>
                    <a:pt x="145208" y="66337"/>
                    <a:pt x="147927" y="63617"/>
                  </a:cubicBezTo>
                  <a:cubicBezTo>
                    <a:pt x="153366" y="60898"/>
                    <a:pt x="158806" y="58178"/>
                    <a:pt x="164245" y="58178"/>
                  </a:cubicBezTo>
                  <a:cubicBezTo>
                    <a:pt x="169684" y="58178"/>
                    <a:pt x="175124" y="58178"/>
                    <a:pt x="177843" y="58178"/>
                  </a:cubicBezTo>
                  <a:cubicBezTo>
                    <a:pt x="183283" y="58178"/>
                    <a:pt x="191442" y="58178"/>
                    <a:pt x="196881" y="60898"/>
                  </a:cubicBezTo>
                  <a:cubicBezTo>
                    <a:pt x="213199" y="63617"/>
                    <a:pt x="224078" y="74496"/>
                    <a:pt x="232237" y="88094"/>
                  </a:cubicBezTo>
                  <a:cubicBezTo>
                    <a:pt x="253994" y="88094"/>
                    <a:pt x="270312" y="88094"/>
                    <a:pt x="278471" y="88094"/>
                  </a:cubicBezTo>
                  <a:cubicBezTo>
                    <a:pt x="292069" y="88094"/>
                    <a:pt x="316546" y="88094"/>
                    <a:pt x="316546" y="104412"/>
                  </a:cubicBezTo>
                  <a:cubicBezTo>
                    <a:pt x="316546" y="112571"/>
                    <a:pt x="313826" y="112571"/>
                    <a:pt x="311107" y="120730"/>
                  </a:cubicBezTo>
                  <a:cubicBezTo>
                    <a:pt x="305667" y="126170"/>
                    <a:pt x="300228" y="128889"/>
                    <a:pt x="294789" y="128889"/>
                  </a:cubicBezTo>
                  <a:cubicBezTo>
                    <a:pt x="286630" y="131609"/>
                    <a:pt x="278471" y="131609"/>
                    <a:pt x="273032" y="131609"/>
                  </a:cubicBezTo>
                  <a:cubicBezTo>
                    <a:pt x="270312" y="131609"/>
                    <a:pt x="259433" y="131609"/>
                    <a:pt x="243115" y="131609"/>
                  </a:cubicBezTo>
                  <a:lnTo>
                    <a:pt x="243115" y="134329"/>
                  </a:lnTo>
                  <a:cubicBezTo>
                    <a:pt x="245835" y="145207"/>
                    <a:pt x="245835" y="158805"/>
                    <a:pt x="248554" y="169684"/>
                  </a:cubicBezTo>
                  <a:cubicBezTo>
                    <a:pt x="251274" y="180563"/>
                    <a:pt x="251274" y="194161"/>
                    <a:pt x="251274" y="205040"/>
                  </a:cubicBezTo>
                  <a:cubicBezTo>
                    <a:pt x="251274" y="215918"/>
                    <a:pt x="251274" y="226797"/>
                    <a:pt x="251274" y="240395"/>
                  </a:cubicBezTo>
                  <a:cubicBezTo>
                    <a:pt x="251274" y="245834"/>
                    <a:pt x="251274" y="251274"/>
                    <a:pt x="251274" y="256713"/>
                  </a:cubicBezTo>
                  <a:cubicBezTo>
                    <a:pt x="251274" y="262152"/>
                    <a:pt x="251274" y="267592"/>
                    <a:pt x="253994" y="270311"/>
                  </a:cubicBezTo>
                  <a:cubicBezTo>
                    <a:pt x="256713" y="294788"/>
                    <a:pt x="256713" y="319265"/>
                    <a:pt x="259433" y="343742"/>
                  </a:cubicBezTo>
                  <a:cubicBezTo>
                    <a:pt x="259433" y="370939"/>
                    <a:pt x="262153" y="398135"/>
                    <a:pt x="262153" y="425332"/>
                  </a:cubicBezTo>
                  <a:cubicBezTo>
                    <a:pt x="262153" y="447089"/>
                    <a:pt x="262153" y="468846"/>
                    <a:pt x="264872" y="490603"/>
                  </a:cubicBezTo>
                  <a:cubicBezTo>
                    <a:pt x="264872" y="515080"/>
                    <a:pt x="270312" y="539557"/>
                    <a:pt x="270312" y="564034"/>
                  </a:cubicBezTo>
                  <a:cubicBezTo>
                    <a:pt x="270312" y="574913"/>
                    <a:pt x="270312" y="588511"/>
                    <a:pt x="270312" y="599390"/>
                  </a:cubicBezTo>
                  <a:cubicBezTo>
                    <a:pt x="270312" y="612988"/>
                    <a:pt x="270312" y="623867"/>
                    <a:pt x="270312" y="637465"/>
                  </a:cubicBezTo>
                  <a:cubicBezTo>
                    <a:pt x="270312" y="648343"/>
                    <a:pt x="270312" y="661942"/>
                    <a:pt x="264872" y="670101"/>
                  </a:cubicBezTo>
                  <a:cubicBezTo>
                    <a:pt x="273032" y="672820"/>
                    <a:pt x="278471" y="672820"/>
                    <a:pt x="283910" y="672820"/>
                  </a:cubicBezTo>
                  <a:lnTo>
                    <a:pt x="283910" y="672820"/>
                  </a:ln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/>
            </a:p>
          </p:txBody>
        </p:sp>
        <p:sp>
          <p:nvSpPr>
            <p:cNvPr id="51" name="Freeform: Shape 50">
              <a:extLst>
                <a:ext uri="{FF2B5EF4-FFF2-40B4-BE49-F238E27FC236}">
                  <a16:creationId xmlns:a16="http://schemas.microsoft.com/office/drawing/2014/main" id="{BF1535FC-5A93-427B-B4B5-A62EC2FC69C2}"/>
                </a:ext>
              </a:extLst>
            </p:cNvPr>
            <p:cNvSpPr/>
            <p:nvPr/>
          </p:nvSpPr>
          <p:spPr>
            <a:xfrm>
              <a:off x="8652924" y="4192158"/>
              <a:ext cx="516735" cy="788700"/>
            </a:xfrm>
            <a:custGeom>
              <a:avLst/>
              <a:gdLst>
                <a:gd name="connsiteX0" fmla="*/ 464616 w 516735"/>
                <a:gd name="connsiteY0" fmla="*/ 436210 h 788699"/>
                <a:gd name="connsiteX1" fmla="*/ 445578 w 516735"/>
                <a:gd name="connsiteY1" fmla="*/ 455248 h 788699"/>
                <a:gd name="connsiteX2" fmla="*/ 404783 w 516735"/>
                <a:gd name="connsiteY2" fmla="*/ 466126 h 788699"/>
                <a:gd name="connsiteX3" fmla="*/ 385746 w 516735"/>
                <a:gd name="connsiteY3" fmla="*/ 479725 h 788699"/>
                <a:gd name="connsiteX4" fmla="*/ 388466 w 516735"/>
                <a:gd name="connsiteY4" fmla="*/ 512361 h 788699"/>
                <a:gd name="connsiteX5" fmla="*/ 388466 w 516735"/>
                <a:gd name="connsiteY5" fmla="*/ 544997 h 788699"/>
                <a:gd name="connsiteX6" fmla="*/ 388466 w 516735"/>
                <a:gd name="connsiteY6" fmla="*/ 566754 h 788699"/>
                <a:gd name="connsiteX7" fmla="*/ 391185 w 516735"/>
                <a:gd name="connsiteY7" fmla="*/ 632026 h 788699"/>
                <a:gd name="connsiteX8" fmla="*/ 393905 w 516735"/>
                <a:gd name="connsiteY8" fmla="*/ 683699 h 788699"/>
                <a:gd name="connsiteX9" fmla="*/ 377587 w 516735"/>
                <a:gd name="connsiteY9" fmla="*/ 724494 h 788699"/>
                <a:gd name="connsiteX10" fmla="*/ 361269 w 516735"/>
                <a:gd name="connsiteY10" fmla="*/ 719054 h 788699"/>
                <a:gd name="connsiteX11" fmla="*/ 353110 w 516735"/>
                <a:gd name="connsiteY11" fmla="*/ 702737 h 788699"/>
                <a:gd name="connsiteX12" fmla="*/ 350390 w 516735"/>
                <a:gd name="connsiteY12" fmla="*/ 686419 h 788699"/>
                <a:gd name="connsiteX13" fmla="*/ 353110 w 516735"/>
                <a:gd name="connsiteY13" fmla="*/ 659222 h 788699"/>
                <a:gd name="connsiteX14" fmla="*/ 353110 w 516735"/>
                <a:gd name="connsiteY14" fmla="*/ 656502 h 788699"/>
                <a:gd name="connsiteX15" fmla="*/ 317754 w 516735"/>
                <a:gd name="connsiteY15" fmla="*/ 708176 h 788699"/>
                <a:gd name="connsiteX16" fmla="*/ 241604 w 516735"/>
                <a:gd name="connsiteY16" fmla="*/ 735372 h 788699"/>
                <a:gd name="connsiteX17" fmla="*/ 187211 w 516735"/>
                <a:gd name="connsiteY17" fmla="*/ 727214 h 788699"/>
                <a:gd name="connsiteX18" fmla="*/ 135537 w 516735"/>
                <a:gd name="connsiteY18" fmla="*/ 694578 h 788699"/>
                <a:gd name="connsiteX19" fmla="*/ 86583 w 516735"/>
                <a:gd name="connsiteY19" fmla="*/ 621147 h 788699"/>
                <a:gd name="connsiteX20" fmla="*/ 67546 w 516735"/>
                <a:gd name="connsiteY20" fmla="*/ 555875 h 788699"/>
                <a:gd name="connsiteX21" fmla="*/ 59387 w 516735"/>
                <a:gd name="connsiteY21" fmla="*/ 509641 h 788699"/>
                <a:gd name="connsiteX22" fmla="*/ 59387 w 516735"/>
                <a:gd name="connsiteY22" fmla="*/ 468846 h 788699"/>
                <a:gd name="connsiteX23" fmla="*/ 86583 w 516735"/>
                <a:gd name="connsiteY23" fmla="*/ 302947 h 788699"/>
                <a:gd name="connsiteX24" fmla="*/ 108341 w 516735"/>
                <a:gd name="connsiteY24" fmla="*/ 224077 h 788699"/>
                <a:gd name="connsiteX25" fmla="*/ 146416 w 516735"/>
                <a:gd name="connsiteY25" fmla="*/ 145207 h 788699"/>
                <a:gd name="connsiteX26" fmla="*/ 198090 w 516735"/>
                <a:gd name="connsiteY26" fmla="*/ 85375 h 788699"/>
                <a:gd name="connsiteX27" fmla="*/ 228006 w 516735"/>
                <a:gd name="connsiteY27" fmla="*/ 69057 h 788699"/>
                <a:gd name="connsiteX28" fmla="*/ 268801 w 516735"/>
                <a:gd name="connsiteY28" fmla="*/ 58178 h 788699"/>
                <a:gd name="connsiteX29" fmla="*/ 274240 w 516735"/>
                <a:gd name="connsiteY29" fmla="*/ 58178 h 788699"/>
                <a:gd name="connsiteX30" fmla="*/ 295997 w 516735"/>
                <a:gd name="connsiteY30" fmla="*/ 60898 h 788699"/>
                <a:gd name="connsiteX31" fmla="*/ 331353 w 516735"/>
                <a:gd name="connsiteY31" fmla="*/ 71776 h 788699"/>
                <a:gd name="connsiteX32" fmla="*/ 350390 w 516735"/>
                <a:gd name="connsiteY32" fmla="*/ 93534 h 788699"/>
                <a:gd name="connsiteX33" fmla="*/ 353110 w 516735"/>
                <a:gd name="connsiteY33" fmla="*/ 74496 h 788699"/>
                <a:gd name="connsiteX34" fmla="*/ 358549 w 516735"/>
                <a:gd name="connsiteY34" fmla="*/ 63618 h 788699"/>
                <a:gd name="connsiteX35" fmla="*/ 366708 w 516735"/>
                <a:gd name="connsiteY35" fmla="*/ 58178 h 788699"/>
                <a:gd name="connsiteX36" fmla="*/ 374867 w 516735"/>
                <a:gd name="connsiteY36" fmla="*/ 63618 h 788699"/>
                <a:gd name="connsiteX37" fmla="*/ 383027 w 516735"/>
                <a:gd name="connsiteY37" fmla="*/ 82655 h 788699"/>
                <a:gd name="connsiteX38" fmla="*/ 385746 w 516735"/>
                <a:gd name="connsiteY38" fmla="*/ 126170 h 788699"/>
                <a:gd name="connsiteX39" fmla="*/ 388466 w 516735"/>
                <a:gd name="connsiteY39" fmla="*/ 186002 h 788699"/>
                <a:gd name="connsiteX40" fmla="*/ 391185 w 516735"/>
                <a:gd name="connsiteY40" fmla="*/ 237676 h 788699"/>
                <a:gd name="connsiteX41" fmla="*/ 374867 w 516735"/>
                <a:gd name="connsiteY41" fmla="*/ 278470 h 788699"/>
                <a:gd name="connsiteX42" fmla="*/ 358549 w 516735"/>
                <a:gd name="connsiteY42" fmla="*/ 273031 h 788699"/>
                <a:gd name="connsiteX43" fmla="*/ 350390 w 516735"/>
                <a:gd name="connsiteY43" fmla="*/ 256713 h 788699"/>
                <a:gd name="connsiteX44" fmla="*/ 347671 w 516735"/>
                <a:gd name="connsiteY44" fmla="*/ 240395 h 788699"/>
                <a:gd name="connsiteX45" fmla="*/ 347671 w 516735"/>
                <a:gd name="connsiteY45" fmla="*/ 213199 h 788699"/>
                <a:gd name="connsiteX46" fmla="*/ 344951 w 516735"/>
                <a:gd name="connsiteY46" fmla="*/ 194161 h 788699"/>
                <a:gd name="connsiteX47" fmla="*/ 339512 w 516735"/>
                <a:gd name="connsiteY47" fmla="*/ 150647 h 788699"/>
                <a:gd name="connsiteX48" fmla="*/ 323194 w 516735"/>
                <a:gd name="connsiteY48" fmla="*/ 112571 h 788699"/>
                <a:gd name="connsiteX49" fmla="*/ 293278 w 516735"/>
                <a:gd name="connsiteY49" fmla="*/ 101693 h 788699"/>
                <a:gd name="connsiteX50" fmla="*/ 263361 w 516735"/>
                <a:gd name="connsiteY50" fmla="*/ 120730 h 788699"/>
                <a:gd name="connsiteX51" fmla="*/ 241604 w 516735"/>
                <a:gd name="connsiteY51" fmla="*/ 153366 h 788699"/>
                <a:gd name="connsiteX52" fmla="*/ 233445 w 516735"/>
                <a:gd name="connsiteY52" fmla="*/ 194161 h 788699"/>
                <a:gd name="connsiteX53" fmla="*/ 225286 w 516735"/>
                <a:gd name="connsiteY53" fmla="*/ 232236 h 788699"/>
                <a:gd name="connsiteX54" fmla="*/ 217127 w 516735"/>
                <a:gd name="connsiteY54" fmla="*/ 275751 h 788699"/>
                <a:gd name="connsiteX55" fmla="*/ 211688 w 516735"/>
                <a:gd name="connsiteY55" fmla="*/ 316545 h 788699"/>
                <a:gd name="connsiteX56" fmla="*/ 206249 w 516735"/>
                <a:gd name="connsiteY56" fmla="*/ 354621 h 788699"/>
                <a:gd name="connsiteX57" fmla="*/ 200809 w 516735"/>
                <a:gd name="connsiteY57" fmla="*/ 398135 h 788699"/>
                <a:gd name="connsiteX58" fmla="*/ 195370 w 516735"/>
                <a:gd name="connsiteY58" fmla="*/ 438930 h 788699"/>
                <a:gd name="connsiteX59" fmla="*/ 192650 w 516735"/>
                <a:gd name="connsiteY59" fmla="*/ 474286 h 788699"/>
                <a:gd name="connsiteX60" fmla="*/ 195370 w 516735"/>
                <a:gd name="connsiteY60" fmla="*/ 525959 h 788699"/>
                <a:gd name="connsiteX61" fmla="*/ 208968 w 516735"/>
                <a:gd name="connsiteY61" fmla="*/ 596670 h 788699"/>
                <a:gd name="connsiteX62" fmla="*/ 214407 w 516735"/>
                <a:gd name="connsiteY62" fmla="*/ 623867 h 788699"/>
                <a:gd name="connsiteX63" fmla="*/ 228006 w 516735"/>
                <a:gd name="connsiteY63" fmla="*/ 656502 h 788699"/>
                <a:gd name="connsiteX64" fmla="*/ 271520 w 516735"/>
                <a:gd name="connsiteY64" fmla="*/ 689138 h 788699"/>
                <a:gd name="connsiteX65" fmla="*/ 306876 w 516735"/>
                <a:gd name="connsiteY65" fmla="*/ 664661 h 788699"/>
                <a:gd name="connsiteX66" fmla="*/ 331353 w 516735"/>
                <a:gd name="connsiteY66" fmla="*/ 602109 h 788699"/>
                <a:gd name="connsiteX67" fmla="*/ 336792 w 516735"/>
                <a:gd name="connsiteY67" fmla="*/ 544997 h 788699"/>
                <a:gd name="connsiteX68" fmla="*/ 336792 w 516735"/>
                <a:gd name="connsiteY68" fmla="*/ 498762 h 788699"/>
                <a:gd name="connsiteX69" fmla="*/ 336792 w 516735"/>
                <a:gd name="connsiteY69" fmla="*/ 490603 h 788699"/>
                <a:gd name="connsiteX70" fmla="*/ 320474 w 516735"/>
                <a:gd name="connsiteY70" fmla="*/ 477005 h 788699"/>
                <a:gd name="connsiteX71" fmla="*/ 282399 w 516735"/>
                <a:gd name="connsiteY71" fmla="*/ 479725 h 788699"/>
                <a:gd name="connsiteX72" fmla="*/ 252483 w 516735"/>
                <a:gd name="connsiteY72" fmla="*/ 474286 h 788699"/>
                <a:gd name="connsiteX73" fmla="*/ 247044 w 516735"/>
                <a:gd name="connsiteY73" fmla="*/ 466126 h 788699"/>
                <a:gd name="connsiteX74" fmla="*/ 249763 w 516735"/>
                <a:gd name="connsiteY74" fmla="*/ 457968 h 788699"/>
                <a:gd name="connsiteX75" fmla="*/ 268801 w 516735"/>
                <a:gd name="connsiteY75" fmla="*/ 447089 h 788699"/>
                <a:gd name="connsiteX76" fmla="*/ 312315 w 516735"/>
                <a:gd name="connsiteY76" fmla="*/ 436210 h 788699"/>
                <a:gd name="connsiteX77" fmla="*/ 353110 w 516735"/>
                <a:gd name="connsiteY77" fmla="*/ 430771 h 788699"/>
                <a:gd name="connsiteX78" fmla="*/ 385746 w 516735"/>
                <a:gd name="connsiteY78" fmla="*/ 430771 h 788699"/>
                <a:gd name="connsiteX79" fmla="*/ 437420 w 516735"/>
                <a:gd name="connsiteY79" fmla="*/ 428051 h 788699"/>
                <a:gd name="connsiteX80" fmla="*/ 464616 w 516735"/>
                <a:gd name="connsiteY80" fmla="*/ 436210 h 7886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</a:cxnLst>
              <a:rect l="l" t="t" r="r" b="b"/>
              <a:pathLst>
                <a:path w="516735" h="788699">
                  <a:moveTo>
                    <a:pt x="464616" y="436210"/>
                  </a:moveTo>
                  <a:cubicBezTo>
                    <a:pt x="464616" y="447089"/>
                    <a:pt x="453738" y="452528"/>
                    <a:pt x="445578" y="455248"/>
                  </a:cubicBezTo>
                  <a:cubicBezTo>
                    <a:pt x="434700" y="460687"/>
                    <a:pt x="415662" y="463407"/>
                    <a:pt x="404783" y="466126"/>
                  </a:cubicBezTo>
                  <a:cubicBezTo>
                    <a:pt x="393905" y="466126"/>
                    <a:pt x="385746" y="468846"/>
                    <a:pt x="385746" y="479725"/>
                  </a:cubicBezTo>
                  <a:cubicBezTo>
                    <a:pt x="385746" y="487884"/>
                    <a:pt x="388466" y="506921"/>
                    <a:pt x="388466" y="512361"/>
                  </a:cubicBezTo>
                  <a:cubicBezTo>
                    <a:pt x="388466" y="515080"/>
                    <a:pt x="388466" y="539557"/>
                    <a:pt x="388466" y="544997"/>
                  </a:cubicBezTo>
                  <a:cubicBezTo>
                    <a:pt x="388466" y="550436"/>
                    <a:pt x="388466" y="558595"/>
                    <a:pt x="388466" y="566754"/>
                  </a:cubicBezTo>
                  <a:cubicBezTo>
                    <a:pt x="388466" y="591231"/>
                    <a:pt x="388466" y="621147"/>
                    <a:pt x="391185" y="632026"/>
                  </a:cubicBezTo>
                  <a:cubicBezTo>
                    <a:pt x="393905" y="653783"/>
                    <a:pt x="393905" y="661942"/>
                    <a:pt x="393905" y="683699"/>
                  </a:cubicBezTo>
                  <a:cubicBezTo>
                    <a:pt x="393905" y="694578"/>
                    <a:pt x="393905" y="724494"/>
                    <a:pt x="377587" y="724494"/>
                  </a:cubicBezTo>
                  <a:cubicBezTo>
                    <a:pt x="369428" y="724494"/>
                    <a:pt x="366708" y="721774"/>
                    <a:pt x="361269" y="719054"/>
                  </a:cubicBezTo>
                  <a:cubicBezTo>
                    <a:pt x="355830" y="716335"/>
                    <a:pt x="353110" y="708176"/>
                    <a:pt x="353110" y="702737"/>
                  </a:cubicBezTo>
                  <a:cubicBezTo>
                    <a:pt x="350390" y="694578"/>
                    <a:pt x="350390" y="689138"/>
                    <a:pt x="350390" y="686419"/>
                  </a:cubicBezTo>
                  <a:cubicBezTo>
                    <a:pt x="350390" y="678260"/>
                    <a:pt x="353110" y="672820"/>
                    <a:pt x="353110" y="659222"/>
                  </a:cubicBezTo>
                  <a:lnTo>
                    <a:pt x="353110" y="656502"/>
                  </a:lnTo>
                  <a:cubicBezTo>
                    <a:pt x="347671" y="675540"/>
                    <a:pt x="334073" y="694578"/>
                    <a:pt x="317754" y="708176"/>
                  </a:cubicBezTo>
                  <a:cubicBezTo>
                    <a:pt x="293278" y="727214"/>
                    <a:pt x="274240" y="735372"/>
                    <a:pt x="241604" y="735372"/>
                  </a:cubicBezTo>
                  <a:cubicBezTo>
                    <a:pt x="222566" y="735372"/>
                    <a:pt x="203529" y="732653"/>
                    <a:pt x="187211" y="727214"/>
                  </a:cubicBezTo>
                  <a:cubicBezTo>
                    <a:pt x="165454" y="719054"/>
                    <a:pt x="149136" y="708176"/>
                    <a:pt x="135537" y="694578"/>
                  </a:cubicBezTo>
                  <a:cubicBezTo>
                    <a:pt x="113780" y="672820"/>
                    <a:pt x="100182" y="648343"/>
                    <a:pt x="86583" y="621147"/>
                  </a:cubicBezTo>
                  <a:cubicBezTo>
                    <a:pt x="75705" y="599390"/>
                    <a:pt x="70266" y="580352"/>
                    <a:pt x="67546" y="555875"/>
                  </a:cubicBezTo>
                  <a:cubicBezTo>
                    <a:pt x="64826" y="539557"/>
                    <a:pt x="62107" y="525959"/>
                    <a:pt x="59387" y="509641"/>
                  </a:cubicBezTo>
                  <a:cubicBezTo>
                    <a:pt x="56667" y="493323"/>
                    <a:pt x="59387" y="485164"/>
                    <a:pt x="59387" y="468846"/>
                  </a:cubicBezTo>
                  <a:cubicBezTo>
                    <a:pt x="59387" y="414453"/>
                    <a:pt x="72985" y="362780"/>
                    <a:pt x="86583" y="302947"/>
                  </a:cubicBezTo>
                  <a:cubicBezTo>
                    <a:pt x="92023" y="275751"/>
                    <a:pt x="100182" y="248554"/>
                    <a:pt x="108341" y="224077"/>
                  </a:cubicBezTo>
                  <a:cubicBezTo>
                    <a:pt x="116500" y="196881"/>
                    <a:pt x="130098" y="169684"/>
                    <a:pt x="146416" y="145207"/>
                  </a:cubicBezTo>
                  <a:cubicBezTo>
                    <a:pt x="160014" y="123450"/>
                    <a:pt x="176332" y="101693"/>
                    <a:pt x="198090" y="85375"/>
                  </a:cubicBezTo>
                  <a:cubicBezTo>
                    <a:pt x="206249" y="77216"/>
                    <a:pt x="217127" y="71776"/>
                    <a:pt x="228006" y="69057"/>
                  </a:cubicBezTo>
                  <a:cubicBezTo>
                    <a:pt x="241604" y="63618"/>
                    <a:pt x="255202" y="58178"/>
                    <a:pt x="268801" y="58178"/>
                  </a:cubicBezTo>
                  <a:cubicBezTo>
                    <a:pt x="271520" y="58178"/>
                    <a:pt x="274240" y="58178"/>
                    <a:pt x="274240" y="58178"/>
                  </a:cubicBezTo>
                  <a:cubicBezTo>
                    <a:pt x="279679" y="58178"/>
                    <a:pt x="285119" y="58178"/>
                    <a:pt x="295997" y="60898"/>
                  </a:cubicBezTo>
                  <a:cubicBezTo>
                    <a:pt x="309595" y="63618"/>
                    <a:pt x="320474" y="66337"/>
                    <a:pt x="331353" y="71776"/>
                  </a:cubicBezTo>
                  <a:cubicBezTo>
                    <a:pt x="339512" y="77216"/>
                    <a:pt x="347671" y="85375"/>
                    <a:pt x="350390" y="93534"/>
                  </a:cubicBezTo>
                  <a:cubicBezTo>
                    <a:pt x="350390" y="88095"/>
                    <a:pt x="353110" y="79936"/>
                    <a:pt x="353110" y="74496"/>
                  </a:cubicBezTo>
                  <a:cubicBezTo>
                    <a:pt x="355830" y="71776"/>
                    <a:pt x="355830" y="69057"/>
                    <a:pt x="358549" y="63618"/>
                  </a:cubicBezTo>
                  <a:cubicBezTo>
                    <a:pt x="361269" y="60898"/>
                    <a:pt x="363989" y="58178"/>
                    <a:pt x="366708" y="58178"/>
                  </a:cubicBezTo>
                  <a:cubicBezTo>
                    <a:pt x="369428" y="58178"/>
                    <a:pt x="372148" y="60898"/>
                    <a:pt x="374867" y="63618"/>
                  </a:cubicBezTo>
                  <a:cubicBezTo>
                    <a:pt x="377587" y="69057"/>
                    <a:pt x="380307" y="77216"/>
                    <a:pt x="383027" y="82655"/>
                  </a:cubicBezTo>
                  <a:cubicBezTo>
                    <a:pt x="383027" y="90814"/>
                    <a:pt x="385746" y="107132"/>
                    <a:pt x="385746" y="126170"/>
                  </a:cubicBezTo>
                  <a:cubicBezTo>
                    <a:pt x="385746" y="150647"/>
                    <a:pt x="385746" y="177843"/>
                    <a:pt x="388466" y="186002"/>
                  </a:cubicBezTo>
                  <a:cubicBezTo>
                    <a:pt x="391185" y="207759"/>
                    <a:pt x="391185" y="215918"/>
                    <a:pt x="391185" y="237676"/>
                  </a:cubicBezTo>
                  <a:cubicBezTo>
                    <a:pt x="391185" y="248554"/>
                    <a:pt x="391185" y="278470"/>
                    <a:pt x="374867" y="278470"/>
                  </a:cubicBezTo>
                  <a:cubicBezTo>
                    <a:pt x="366708" y="278470"/>
                    <a:pt x="363989" y="275751"/>
                    <a:pt x="358549" y="273031"/>
                  </a:cubicBezTo>
                  <a:cubicBezTo>
                    <a:pt x="353110" y="270311"/>
                    <a:pt x="350390" y="262152"/>
                    <a:pt x="350390" y="256713"/>
                  </a:cubicBezTo>
                  <a:cubicBezTo>
                    <a:pt x="350390" y="251274"/>
                    <a:pt x="347671" y="245834"/>
                    <a:pt x="347671" y="240395"/>
                  </a:cubicBezTo>
                  <a:cubicBezTo>
                    <a:pt x="347671" y="232236"/>
                    <a:pt x="347671" y="224077"/>
                    <a:pt x="347671" y="213199"/>
                  </a:cubicBezTo>
                  <a:cubicBezTo>
                    <a:pt x="347671" y="207759"/>
                    <a:pt x="347671" y="199600"/>
                    <a:pt x="344951" y="194161"/>
                  </a:cubicBezTo>
                  <a:cubicBezTo>
                    <a:pt x="342232" y="180563"/>
                    <a:pt x="342232" y="164245"/>
                    <a:pt x="339512" y="150647"/>
                  </a:cubicBezTo>
                  <a:cubicBezTo>
                    <a:pt x="336792" y="137048"/>
                    <a:pt x="331353" y="123450"/>
                    <a:pt x="323194" y="112571"/>
                  </a:cubicBezTo>
                  <a:cubicBezTo>
                    <a:pt x="317754" y="104412"/>
                    <a:pt x="304156" y="101693"/>
                    <a:pt x="293278" y="101693"/>
                  </a:cubicBezTo>
                  <a:cubicBezTo>
                    <a:pt x="279679" y="101693"/>
                    <a:pt x="271520" y="109852"/>
                    <a:pt x="263361" y="120730"/>
                  </a:cubicBezTo>
                  <a:cubicBezTo>
                    <a:pt x="257922" y="131609"/>
                    <a:pt x="247044" y="139768"/>
                    <a:pt x="241604" y="153366"/>
                  </a:cubicBezTo>
                  <a:cubicBezTo>
                    <a:pt x="236165" y="166964"/>
                    <a:pt x="233445" y="180563"/>
                    <a:pt x="233445" y="194161"/>
                  </a:cubicBezTo>
                  <a:cubicBezTo>
                    <a:pt x="233445" y="207759"/>
                    <a:pt x="230725" y="218638"/>
                    <a:pt x="225286" y="232236"/>
                  </a:cubicBezTo>
                  <a:cubicBezTo>
                    <a:pt x="219847" y="245834"/>
                    <a:pt x="219847" y="262152"/>
                    <a:pt x="217127" y="275751"/>
                  </a:cubicBezTo>
                  <a:cubicBezTo>
                    <a:pt x="214407" y="289349"/>
                    <a:pt x="214407" y="302947"/>
                    <a:pt x="211688" y="316545"/>
                  </a:cubicBezTo>
                  <a:cubicBezTo>
                    <a:pt x="211688" y="330144"/>
                    <a:pt x="206249" y="341022"/>
                    <a:pt x="206249" y="354621"/>
                  </a:cubicBezTo>
                  <a:cubicBezTo>
                    <a:pt x="203529" y="368219"/>
                    <a:pt x="203529" y="381817"/>
                    <a:pt x="200809" y="398135"/>
                  </a:cubicBezTo>
                  <a:cubicBezTo>
                    <a:pt x="198090" y="411733"/>
                    <a:pt x="198090" y="425332"/>
                    <a:pt x="195370" y="438930"/>
                  </a:cubicBezTo>
                  <a:cubicBezTo>
                    <a:pt x="195370" y="449809"/>
                    <a:pt x="192650" y="463407"/>
                    <a:pt x="192650" y="474286"/>
                  </a:cubicBezTo>
                  <a:cubicBezTo>
                    <a:pt x="192650" y="490603"/>
                    <a:pt x="195370" y="509641"/>
                    <a:pt x="195370" y="525959"/>
                  </a:cubicBezTo>
                  <a:cubicBezTo>
                    <a:pt x="195370" y="550436"/>
                    <a:pt x="203529" y="572193"/>
                    <a:pt x="208968" y="596670"/>
                  </a:cubicBezTo>
                  <a:cubicBezTo>
                    <a:pt x="211688" y="604829"/>
                    <a:pt x="211688" y="615708"/>
                    <a:pt x="214407" y="623867"/>
                  </a:cubicBezTo>
                  <a:cubicBezTo>
                    <a:pt x="217127" y="634745"/>
                    <a:pt x="222566" y="645624"/>
                    <a:pt x="228006" y="656502"/>
                  </a:cubicBezTo>
                  <a:cubicBezTo>
                    <a:pt x="236165" y="670101"/>
                    <a:pt x="252483" y="689138"/>
                    <a:pt x="271520" y="689138"/>
                  </a:cubicBezTo>
                  <a:cubicBezTo>
                    <a:pt x="287838" y="689138"/>
                    <a:pt x="298717" y="675540"/>
                    <a:pt x="306876" y="664661"/>
                  </a:cubicBezTo>
                  <a:cubicBezTo>
                    <a:pt x="320474" y="645624"/>
                    <a:pt x="325914" y="623867"/>
                    <a:pt x="331353" y="602109"/>
                  </a:cubicBezTo>
                  <a:cubicBezTo>
                    <a:pt x="334073" y="583072"/>
                    <a:pt x="336792" y="564034"/>
                    <a:pt x="336792" y="544997"/>
                  </a:cubicBezTo>
                  <a:cubicBezTo>
                    <a:pt x="336792" y="531398"/>
                    <a:pt x="336792" y="512361"/>
                    <a:pt x="336792" y="498762"/>
                  </a:cubicBezTo>
                  <a:cubicBezTo>
                    <a:pt x="336792" y="496043"/>
                    <a:pt x="336792" y="493323"/>
                    <a:pt x="336792" y="490603"/>
                  </a:cubicBezTo>
                  <a:cubicBezTo>
                    <a:pt x="336792" y="479725"/>
                    <a:pt x="336792" y="477005"/>
                    <a:pt x="320474" y="477005"/>
                  </a:cubicBezTo>
                  <a:cubicBezTo>
                    <a:pt x="309595" y="477005"/>
                    <a:pt x="295997" y="479725"/>
                    <a:pt x="282399" y="479725"/>
                  </a:cubicBezTo>
                  <a:cubicBezTo>
                    <a:pt x="271520" y="479725"/>
                    <a:pt x="260642" y="479725"/>
                    <a:pt x="252483" y="474286"/>
                  </a:cubicBezTo>
                  <a:cubicBezTo>
                    <a:pt x="249763" y="471566"/>
                    <a:pt x="247044" y="468846"/>
                    <a:pt x="247044" y="466126"/>
                  </a:cubicBezTo>
                  <a:cubicBezTo>
                    <a:pt x="247044" y="463407"/>
                    <a:pt x="247044" y="460687"/>
                    <a:pt x="249763" y="457968"/>
                  </a:cubicBezTo>
                  <a:cubicBezTo>
                    <a:pt x="255202" y="452528"/>
                    <a:pt x="260642" y="449809"/>
                    <a:pt x="268801" y="447089"/>
                  </a:cubicBezTo>
                  <a:cubicBezTo>
                    <a:pt x="282399" y="441650"/>
                    <a:pt x="295997" y="438930"/>
                    <a:pt x="312315" y="436210"/>
                  </a:cubicBezTo>
                  <a:cubicBezTo>
                    <a:pt x="325914" y="433491"/>
                    <a:pt x="339512" y="433491"/>
                    <a:pt x="353110" y="430771"/>
                  </a:cubicBezTo>
                  <a:cubicBezTo>
                    <a:pt x="363989" y="430771"/>
                    <a:pt x="374867" y="430771"/>
                    <a:pt x="385746" y="430771"/>
                  </a:cubicBezTo>
                  <a:cubicBezTo>
                    <a:pt x="402064" y="430771"/>
                    <a:pt x="426541" y="428051"/>
                    <a:pt x="437420" y="428051"/>
                  </a:cubicBezTo>
                  <a:cubicBezTo>
                    <a:pt x="451018" y="422612"/>
                    <a:pt x="464616" y="425332"/>
                    <a:pt x="464616" y="436210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/>
            </a:p>
          </p:txBody>
        </p:sp>
        <p:sp>
          <p:nvSpPr>
            <p:cNvPr id="52" name="Freeform: Shape 51">
              <a:extLst>
                <a:ext uri="{FF2B5EF4-FFF2-40B4-BE49-F238E27FC236}">
                  <a16:creationId xmlns:a16="http://schemas.microsoft.com/office/drawing/2014/main" id="{B88832EF-632C-43A0-AFE1-06D043A20CAF}"/>
                </a:ext>
              </a:extLst>
            </p:cNvPr>
            <p:cNvSpPr/>
            <p:nvPr/>
          </p:nvSpPr>
          <p:spPr>
            <a:xfrm>
              <a:off x="9053923" y="4178559"/>
              <a:ext cx="625521" cy="788700"/>
            </a:xfrm>
            <a:custGeom>
              <a:avLst/>
              <a:gdLst>
                <a:gd name="connsiteX0" fmla="*/ 536838 w 625521"/>
                <a:gd name="connsiteY0" fmla="*/ 680979 h 788699"/>
                <a:gd name="connsiteX1" fmla="*/ 574913 w 625521"/>
                <a:gd name="connsiteY1" fmla="*/ 697297 h 788699"/>
                <a:gd name="connsiteX2" fmla="*/ 566755 w 625521"/>
                <a:gd name="connsiteY2" fmla="*/ 713615 h 788699"/>
                <a:gd name="connsiteX3" fmla="*/ 550437 w 625521"/>
                <a:gd name="connsiteY3" fmla="*/ 721774 h 788699"/>
                <a:gd name="connsiteX4" fmla="*/ 528680 w 625521"/>
                <a:gd name="connsiteY4" fmla="*/ 724494 h 788699"/>
                <a:gd name="connsiteX5" fmla="*/ 417174 w 625521"/>
                <a:gd name="connsiteY5" fmla="*/ 724494 h 788699"/>
                <a:gd name="connsiteX6" fmla="*/ 398136 w 625521"/>
                <a:gd name="connsiteY6" fmla="*/ 724494 h 788699"/>
                <a:gd name="connsiteX7" fmla="*/ 373659 w 625521"/>
                <a:gd name="connsiteY7" fmla="*/ 724494 h 788699"/>
                <a:gd name="connsiteX8" fmla="*/ 346462 w 625521"/>
                <a:gd name="connsiteY8" fmla="*/ 719054 h 788699"/>
                <a:gd name="connsiteX9" fmla="*/ 330144 w 625521"/>
                <a:gd name="connsiteY9" fmla="*/ 702737 h 788699"/>
                <a:gd name="connsiteX10" fmla="*/ 335584 w 625521"/>
                <a:gd name="connsiteY10" fmla="*/ 694578 h 788699"/>
                <a:gd name="connsiteX11" fmla="*/ 357341 w 625521"/>
                <a:gd name="connsiteY11" fmla="*/ 686419 h 788699"/>
                <a:gd name="connsiteX12" fmla="*/ 395416 w 625521"/>
                <a:gd name="connsiteY12" fmla="*/ 680979 h 788699"/>
                <a:gd name="connsiteX13" fmla="*/ 381817 w 625521"/>
                <a:gd name="connsiteY13" fmla="*/ 656502 h 788699"/>
                <a:gd name="connsiteX14" fmla="*/ 379098 w 625521"/>
                <a:gd name="connsiteY14" fmla="*/ 585791 h 788699"/>
                <a:gd name="connsiteX15" fmla="*/ 379098 w 625521"/>
                <a:gd name="connsiteY15" fmla="*/ 517800 h 788699"/>
                <a:gd name="connsiteX16" fmla="*/ 379098 w 625521"/>
                <a:gd name="connsiteY16" fmla="*/ 474286 h 788699"/>
                <a:gd name="connsiteX17" fmla="*/ 379098 w 625521"/>
                <a:gd name="connsiteY17" fmla="*/ 430771 h 788699"/>
                <a:gd name="connsiteX18" fmla="*/ 381817 w 625521"/>
                <a:gd name="connsiteY18" fmla="*/ 411733 h 788699"/>
                <a:gd name="connsiteX19" fmla="*/ 379098 w 625521"/>
                <a:gd name="connsiteY19" fmla="*/ 400855 h 788699"/>
                <a:gd name="connsiteX20" fmla="*/ 370939 w 625521"/>
                <a:gd name="connsiteY20" fmla="*/ 398135 h 788699"/>
                <a:gd name="connsiteX21" fmla="*/ 338304 w 625521"/>
                <a:gd name="connsiteY21" fmla="*/ 400855 h 788699"/>
                <a:gd name="connsiteX22" fmla="*/ 289349 w 625521"/>
                <a:gd name="connsiteY22" fmla="*/ 403575 h 788699"/>
                <a:gd name="connsiteX23" fmla="*/ 264872 w 625521"/>
                <a:gd name="connsiteY23" fmla="*/ 400855 h 788699"/>
                <a:gd name="connsiteX24" fmla="*/ 259433 w 625521"/>
                <a:gd name="connsiteY24" fmla="*/ 406294 h 788699"/>
                <a:gd name="connsiteX25" fmla="*/ 259433 w 625521"/>
                <a:gd name="connsiteY25" fmla="*/ 425332 h 788699"/>
                <a:gd name="connsiteX26" fmla="*/ 259433 w 625521"/>
                <a:gd name="connsiteY26" fmla="*/ 449809 h 788699"/>
                <a:gd name="connsiteX27" fmla="*/ 259433 w 625521"/>
                <a:gd name="connsiteY27" fmla="*/ 471566 h 788699"/>
                <a:gd name="connsiteX28" fmla="*/ 259433 w 625521"/>
                <a:gd name="connsiteY28" fmla="*/ 504202 h 788699"/>
                <a:gd name="connsiteX29" fmla="*/ 259433 w 625521"/>
                <a:gd name="connsiteY29" fmla="*/ 509641 h 788699"/>
                <a:gd name="connsiteX30" fmla="*/ 256714 w 625521"/>
                <a:gd name="connsiteY30" fmla="*/ 542277 h 788699"/>
                <a:gd name="connsiteX31" fmla="*/ 256714 w 625521"/>
                <a:gd name="connsiteY31" fmla="*/ 577632 h 788699"/>
                <a:gd name="connsiteX32" fmla="*/ 256714 w 625521"/>
                <a:gd name="connsiteY32" fmla="*/ 612988 h 788699"/>
                <a:gd name="connsiteX33" fmla="*/ 253994 w 625521"/>
                <a:gd name="connsiteY33" fmla="*/ 656502 h 788699"/>
                <a:gd name="connsiteX34" fmla="*/ 256714 w 625521"/>
                <a:gd name="connsiteY34" fmla="*/ 678260 h 788699"/>
                <a:gd name="connsiteX35" fmla="*/ 286629 w 625521"/>
                <a:gd name="connsiteY35" fmla="*/ 694578 h 788699"/>
                <a:gd name="connsiteX36" fmla="*/ 281191 w 625521"/>
                <a:gd name="connsiteY36" fmla="*/ 710895 h 788699"/>
                <a:gd name="connsiteX37" fmla="*/ 264872 w 625521"/>
                <a:gd name="connsiteY37" fmla="*/ 719054 h 788699"/>
                <a:gd name="connsiteX38" fmla="*/ 243116 w 625521"/>
                <a:gd name="connsiteY38" fmla="*/ 721774 h 788699"/>
                <a:gd name="connsiteX39" fmla="*/ 243116 w 625521"/>
                <a:gd name="connsiteY39" fmla="*/ 721774 h 788699"/>
                <a:gd name="connsiteX40" fmla="*/ 232236 w 625521"/>
                <a:gd name="connsiteY40" fmla="*/ 727214 h 788699"/>
                <a:gd name="connsiteX41" fmla="*/ 224078 w 625521"/>
                <a:gd name="connsiteY41" fmla="*/ 735372 h 788699"/>
                <a:gd name="connsiteX42" fmla="*/ 213199 w 625521"/>
                <a:gd name="connsiteY42" fmla="*/ 738092 h 788699"/>
                <a:gd name="connsiteX43" fmla="*/ 183283 w 625521"/>
                <a:gd name="connsiteY43" fmla="*/ 727214 h 788699"/>
                <a:gd name="connsiteX44" fmla="*/ 175124 w 625521"/>
                <a:gd name="connsiteY44" fmla="*/ 719054 h 788699"/>
                <a:gd name="connsiteX45" fmla="*/ 145208 w 625521"/>
                <a:gd name="connsiteY45" fmla="*/ 719054 h 788699"/>
                <a:gd name="connsiteX46" fmla="*/ 126170 w 625521"/>
                <a:gd name="connsiteY46" fmla="*/ 719054 h 788699"/>
                <a:gd name="connsiteX47" fmla="*/ 101693 w 625521"/>
                <a:gd name="connsiteY47" fmla="*/ 719054 h 788699"/>
                <a:gd name="connsiteX48" fmla="*/ 74496 w 625521"/>
                <a:gd name="connsiteY48" fmla="*/ 713615 h 788699"/>
                <a:gd name="connsiteX49" fmla="*/ 58178 w 625521"/>
                <a:gd name="connsiteY49" fmla="*/ 697297 h 788699"/>
                <a:gd name="connsiteX50" fmla="*/ 63618 w 625521"/>
                <a:gd name="connsiteY50" fmla="*/ 689138 h 788699"/>
                <a:gd name="connsiteX51" fmla="*/ 85375 w 625521"/>
                <a:gd name="connsiteY51" fmla="*/ 680979 h 788699"/>
                <a:gd name="connsiteX52" fmla="*/ 131609 w 625521"/>
                <a:gd name="connsiteY52" fmla="*/ 675540 h 788699"/>
                <a:gd name="connsiteX53" fmla="*/ 131609 w 625521"/>
                <a:gd name="connsiteY53" fmla="*/ 667381 h 788699"/>
                <a:gd name="connsiteX54" fmla="*/ 131609 w 625521"/>
                <a:gd name="connsiteY54" fmla="*/ 651063 h 788699"/>
                <a:gd name="connsiteX55" fmla="*/ 131609 w 625521"/>
                <a:gd name="connsiteY55" fmla="*/ 618427 h 788699"/>
                <a:gd name="connsiteX56" fmla="*/ 131609 w 625521"/>
                <a:gd name="connsiteY56" fmla="*/ 580352 h 788699"/>
                <a:gd name="connsiteX57" fmla="*/ 131609 w 625521"/>
                <a:gd name="connsiteY57" fmla="*/ 531398 h 788699"/>
                <a:gd name="connsiteX58" fmla="*/ 131609 w 625521"/>
                <a:gd name="connsiteY58" fmla="*/ 466126 h 788699"/>
                <a:gd name="connsiteX59" fmla="*/ 131609 w 625521"/>
                <a:gd name="connsiteY59" fmla="*/ 422612 h 788699"/>
                <a:gd name="connsiteX60" fmla="*/ 131609 w 625521"/>
                <a:gd name="connsiteY60" fmla="*/ 411733 h 788699"/>
                <a:gd name="connsiteX61" fmla="*/ 131609 w 625521"/>
                <a:gd name="connsiteY61" fmla="*/ 398135 h 788699"/>
                <a:gd name="connsiteX62" fmla="*/ 126170 w 625521"/>
                <a:gd name="connsiteY62" fmla="*/ 389976 h 788699"/>
                <a:gd name="connsiteX63" fmla="*/ 101693 w 625521"/>
                <a:gd name="connsiteY63" fmla="*/ 387257 h 788699"/>
                <a:gd name="connsiteX64" fmla="*/ 77216 w 625521"/>
                <a:gd name="connsiteY64" fmla="*/ 376378 h 788699"/>
                <a:gd name="connsiteX65" fmla="*/ 82655 w 625521"/>
                <a:gd name="connsiteY65" fmla="*/ 368219 h 788699"/>
                <a:gd name="connsiteX66" fmla="*/ 98973 w 625521"/>
                <a:gd name="connsiteY66" fmla="*/ 360060 h 788699"/>
                <a:gd name="connsiteX67" fmla="*/ 118011 w 625521"/>
                <a:gd name="connsiteY67" fmla="*/ 357340 h 788699"/>
                <a:gd name="connsiteX68" fmla="*/ 131609 w 625521"/>
                <a:gd name="connsiteY68" fmla="*/ 351901 h 788699"/>
                <a:gd name="connsiteX69" fmla="*/ 131609 w 625521"/>
                <a:gd name="connsiteY69" fmla="*/ 343742 h 788699"/>
                <a:gd name="connsiteX70" fmla="*/ 131609 w 625521"/>
                <a:gd name="connsiteY70" fmla="*/ 270311 h 788699"/>
                <a:gd name="connsiteX71" fmla="*/ 137048 w 625521"/>
                <a:gd name="connsiteY71" fmla="*/ 145207 h 788699"/>
                <a:gd name="connsiteX72" fmla="*/ 139768 w 625521"/>
                <a:gd name="connsiteY72" fmla="*/ 123450 h 788699"/>
                <a:gd name="connsiteX73" fmla="*/ 123450 w 625521"/>
                <a:gd name="connsiteY73" fmla="*/ 123450 h 788699"/>
                <a:gd name="connsiteX74" fmla="*/ 118011 w 625521"/>
                <a:gd name="connsiteY74" fmla="*/ 123450 h 788699"/>
                <a:gd name="connsiteX75" fmla="*/ 101693 w 625521"/>
                <a:gd name="connsiteY75" fmla="*/ 123450 h 788699"/>
                <a:gd name="connsiteX76" fmla="*/ 74496 w 625521"/>
                <a:gd name="connsiteY76" fmla="*/ 118011 h 788699"/>
                <a:gd name="connsiteX77" fmla="*/ 58178 w 625521"/>
                <a:gd name="connsiteY77" fmla="*/ 101693 h 788699"/>
                <a:gd name="connsiteX78" fmla="*/ 63618 w 625521"/>
                <a:gd name="connsiteY78" fmla="*/ 93534 h 788699"/>
                <a:gd name="connsiteX79" fmla="*/ 85375 w 625521"/>
                <a:gd name="connsiteY79" fmla="*/ 85375 h 788699"/>
                <a:gd name="connsiteX80" fmla="*/ 137048 w 625521"/>
                <a:gd name="connsiteY80" fmla="*/ 82655 h 788699"/>
                <a:gd name="connsiteX81" fmla="*/ 147927 w 625521"/>
                <a:gd name="connsiteY81" fmla="*/ 82655 h 788699"/>
                <a:gd name="connsiteX82" fmla="*/ 186003 w 625521"/>
                <a:gd name="connsiteY82" fmla="*/ 58178 h 788699"/>
                <a:gd name="connsiteX83" fmla="*/ 226797 w 625521"/>
                <a:gd name="connsiteY83" fmla="*/ 79936 h 788699"/>
                <a:gd name="connsiteX84" fmla="*/ 253994 w 625521"/>
                <a:gd name="connsiteY84" fmla="*/ 79936 h 788699"/>
                <a:gd name="connsiteX85" fmla="*/ 294789 w 625521"/>
                <a:gd name="connsiteY85" fmla="*/ 96253 h 788699"/>
                <a:gd name="connsiteX86" fmla="*/ 283910 w 625521"/>
                <a:gd name="connsiteY86" fmla="*/ 112571 h 788699"/>
                <a:gd name="connsiteX87" fmla="*/ 267592 w 625521"/>
                <a:gd name="connsiteY87" fmla="*/ 120730 h 788699"/>
                <a:gd name="connsiteX88" fmla="*/ 245835 w 625521"/>
                <a:gd name="connsiteY88" fmla="*/ 123450 h 788699"/>
                <a:gd name="connsiteX89" fmla="*/ 237676 w 625521"/>
                <a:gd name="connsiteY89" fmla="*/ 123450 h 788699"/>
                <a:gd name="connsiteX90" fmla="*/ 240396 w 625521"/>
                <a:gd name="connsiteY90" fmla="*/ 128889 h 788699"/>
                <a:gd name="connsiteX91" fmla="*/ 251274 w 625521"/>
                <a:gd name="connsiteY91" fmla="*/ 177843 h 788699"/>
                <a:gd name="connsiteX92" fmla="*/ 256714 w 625521"/>
                <a:gd name="connsiteY92" fmla="*/ 226797 h 788699"/>
                <a:gd name="connsiteX93" fmla="*/ 262153 w 625521"/>
                <a:gd name="connsiteY93" fmla="*/ 273031 h 788699"/>
                <a:gd name="connsiteX94" fmla="*/ 262153 w 625521"/>
                <a:gd name="connsiteY94" fmla="*/ 289349 h 788699"/>
                <a:gd name="connsiteX95" fmla="*/ 262153 w 625521"/>
                <a:gd name="connsiteY95" fmla="*/ 297508 h 788699"/>
                <a:gd name="connsiteX96" fmla="*/ 264872 w 625521"/>
                <a:gd name="connsiteY96" fmla="*/ 321985 h 788699"/>
                <a:gd name="connsiteX97" fmla="*/ 270312 w 625521"/>
                <a:gd name="connsiteY97" fmla="*/ 335583 h 788699"/>
                <a:gd name="connsiteX98" fmla="*/ 270312 w 625521"/>
                <a:gd name="connsiteY98" fmla="*/ 338303 h 788699"/>
                <a:gd name="connsiteX99" fmla="*/ 270312 w 625521"/>
                <a:gd name="connsiteY99" fmla="*/ 346462 h 788699"/>
                <a:gd name="connsiteX100" fmla="*/ 278471 w 625521"/>
                <a:gd name="connsiteY100" fmla="*/ 354621 h 788699"/>
                <a:gd name="connsiteX101" fmla="*/ 338304 w 625521"/>
                <a:gd name="connsiteY101" fmla="*/ 349181 h 788699"/>
                <a:gd name="connsiteX102" fmla="*/ 365500 w 625521"/>
                <a:gd name="connsiteY102" fmla="*/ 349181 h 788699"/>
                <a:gd name="connsiteX103" fmla="*/ 381817 w 625521"/>
                <a:gd name="connsiteY103" fmla="*/ 349181 h 788699"/>
                <a:gd name="connsiteX104" fmla="*/ 392697 w 625521"/>
                <a:gd name="connsiteY104" fmla="*/ 338303 h 788699"/>
                <a:gd name="connsiteX105" fmla="*/ 389977 w 625521"/>
                <a:gd name="connsiteY105" fmla="*/ 313826 h 788699"/>
                <a:gd name="connsiteX106" fmla="*/ 392697 w 625521"/>
                <a:gd name="connsiteY106" fmla="*/ 262152 h 788699"/>
                <a:gd name="connsiteX107" fmla="*/ 395416 w 625521"/>
                <a:gd name="connsiteY107" fmla="*/ 224077 h 788699"/>
                <a:gd name="connsiteX108" fmla="*/ 398136 w 625521"/>
                <a:gd name="connsiteY108" fmla="*/ 177843 h 788699"/>
                <a:gd name="connsiteX109" fmla="*/ 395416 w 625521"/>
                <a:gd name="connsiteY109" fmla="*/ 153366 h 788699"/>
                <a:gd name="connsiteX110" fmla="*/ 395416 w 625521"/>
                <a:gd name="connsiteY110" fmla="*/ 137048 h 788699"/>
                <a:gd name="connsiteX111" fmla="*/ 379098 w 625521"/>
                <a:gd name="connsiteY111" fmla="*/ 137048 h 788699"/>
                <a:gd name="connsiteX112" fmla="*/ 351902 w 625521"/>
                <a:gd name="connsiteY112" fmla="*/ 131609 h 788699"/>
                <a:gd name="connsiteX113" fmla="*/ 338304 w 625521"/>
                <a:gd name="connsiteY113" fmla="*/ 115291 h 788699"/>
                <a:gd name="connsiteX114" fmla="*/ 343742 w 625521"/>
                <a:gd name="connsiteY114" fmla="*/ 107132 h 788699"/>
                <a:gd name="connsiteX115" fmla="*/ 362780 w 625521"/>
                <a:gd name="connsiteY115" fmla="*/ 98973 h 788699"/>
                <a:gd name="connsiteX116" fmla="*/ 395416 w 625521"/>
                <a:gd name="connsiteY116" fmla="*/ 96253 h 788699"/>
                <a:gd name="connsiteX117" fmla="*/ 403575 w 625521"/>
                <a:gd name="connsiteY117" fmla="*/ 90814 h 788699"/>
                <a:gd name="connsiteX118" fmla="*/ 422612 w 625521"/>
                <a:gd name="connsiteY118" fmla="*/ 88095 h 788699"/>
                <a:gd name="connsiteX119" fmla="*/ 428052 w 625521"/>
                <a:gd name="connsiteY119" fmla="*/ 88095 h 788699"/>
                <a:gd name="connsiteX120" fmla="*/ 447090 w 625521"/>
                <a:gd name="connsiteY120" fmla="*/ 90814 h 788699"/>
                <a:gd name="connsiteX121" fmla="*/ 455249 w 625521"/>
                <a:gd name="connsiteY121" fmla="*/ 96253 h 788699"/>
                <a:gd name="connsiteX122" fmla="*/ 525960 w 625521"/>
                <a:gd name="connsiteY122" fmla="*/ 93534 h 788699"/>
                <a:gd name="connsiteX123" fmla="*/ 561315 w 625521"/>
                <a:gd name="connsiteY123" fmla="*/ 109852 h 788699"/>
                <a:gd name="connsiteX124" fmla="*/ 555876 w 625521"/>
                <a:gd name="connsiteY124" fmla="*/ 126170 h 788699"/>
                <a:gd name="connsiteX125" fmla="*/ 539558 w 625521"/>
                <a:gd name="connsiteY125" fmla="*/ 134329 h 788699"/>
                <a:gd name="connsiteX126" fmla="*/ 517800 w 625521"/>
                <a:gd name="connsiteY126" fmla="*/ 137048 h 788699"/>
                <a:gd name="connsiteX127" fmla="*/ 477006 w 625521"/>
                <a:gd name="connsiteY127" fmla="*/ 137048 h 788699"/>
                <a:gd name="connsiteX128" fmla="*/ 485165 w 625521"/>
                <a:gd name="connsiteY128" fmla="*/ 161525 h 788699"/>
                <a:gd name="connsiteX129" fmla="*/ 496043 w 625521"/>
                <a:gd name="connsiteY129" fmla="*/ 210479 h 788699"/>
                <a:gd name="connsiteX130" fmla="*/ 501483 w 625521"/>
                <a:gd name="connsiteY130" fmla="*/ 251274 h 788699"/>
                <a:gd name="connsiteX131" fmla="*/ 506922 w 625521"/>
                <a:gd name="connsiteY131" fmla="*/ 292069 h 788699"/>
                <a:gd name="connsiteX132" fmla="*/ 506922 w 625521"/>
                <a:gd name="connsiteY132" fmla="*/ 321985 h 788699"/>
                <a:gd name="connsiteX133" fmla="*/ 509642 w 625521"/>
                <a:gd name="connsiteY133" fmla="*/ 341022 h 788699"/>
                <a:gd name="connsiteX134" fmla="*/ 509642 w 625521"/>
                <a:gd name="connsiteY134" fmla="*/ 343742 h 788699"/>
                <a:gd name="connsiteX135" fmla="*/ 517800 w 625521"/>
                <a:gd name="connsiteY135" fmla="*/ 349181 h 788699"/>
                <a:gd name="connsiteX136" fmla="*/ 528680 w 625521"/>
                <a:gd name="connsiteY136" fmla="*/ 349181 h 788699"/>
                <a:gd name="connsiteX137" fmla="*/ 550437 w 625521"/>
                <a:gd name="connsiteY137" fmla="*/ 357340 h 788699"/>
                <a:gd name="connsiteX138" fmla="*/ 550437 w 625521"/>
                <a:gd name="connsiteY138" fmla="*/ 362780 h 788699"/>
                <a:gd name="connsiteX139" fmla="*/ 534119 w 625521"/>
                <a:gd name="connsiteY139" fmla="*/ 384537 h 788699"/>
                <a:gd name="connsiteX140" fmla="*/ 520520 w 625521"/>
                <a:gd name="connsiteY140" fmla="*/ 389976 h 788699"/>
                <a:gd name="connsiteX141" fmla="*/ 512362 w 625521"/>
                <a:gd name="connsiteY141" fmla="*/ 395415 h 788699"/>
                <a:gd name="connsiteX142" fmla="*/ 512362 w 625521"/>
                <a:gd name="connsiteY142" fmla="*/ 398135 h 788699"/>
                <a:gd name="connsiteX143" fmla="*/ 512362 w 625521"/>
                <a:gd name="connsiteY143" fmla="*/ 409014 h 788699"/>
                <a:gd name="connsiteX144" fmla="*/ 512362 w 625521"/>
                <a:gd name="connsiteY144" fmla="*/ 414453 h 788699"/>
                <a:gd name="connsiteX145" fmla="*/ 512362 w 625521"/>
                <a:gd name="connsiteY145" fmla="*/ 438930 h 788699"/>
                <a:gd name="connsiteX146" fmla="*/ 515081 w 625521"/>
                <a:gd name="connsiteY146" fmla="*/ 504202 h 788699"/>
                <a:gd name="connsiteX147" fmla="*/ 520520 w 625521"/>
                <a:gd name="connsiteY147" fmla="*/ 572193 h 788699"/>
                <a:gd name="connsiteX148" fmla="*/ 517800 w 625521"/>
                <a:gd name="connsiteY148" fmla="*/ 604829 h 788699"/>
                <a:gd name="connsiteX149" fmla="*/ 512362 w 625521"/>
                <a:gd name="connsiteY149" fmla="*/ 661942 h 788699"/>
                <a:gd name="connsiteX150" fmla="*/ 509642 w 625521"/>
                <a:gd name="connsiteY150" fmla="*/ 670101 h 788699"/>
                <a:gd name="connsiteX151" fmla="*/ 512362 w 625521"/>
                <a:gd name="connsiteY151" fmla="*/ 680979 h 788699"/>
                <a:gd name="connsiteX152" fmla="*/ 512362 w 625521"/>
                <a:gd name="connsiteY152" fmla="*/ 686419 h 788699"/>
                <a:gd name="connsiteX153" fmla="*/ 536838 w 625521"/>
                <a:gd name="connsiteY153" fmla="*/ 680979 h 788699"/>
                <a:gd name="connsiteX154" fmla="*/ 536838 w 625521"/>
                <a:gd name="connsiteY154" fmla="*/ 680979 h 7886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</a:cxnLst>
              <a:rect l="l" t="t" r="r" b="b"/>
              <a:pathLst>
                <a:path w="625521" h="788699">
                  <a:moveTo>
                    <a:pt x="536838" y="680979"/>
                  </a:moveTo>
                  <a:cubicBezTo>
                    <a:pt x="550437" y="680979"/>
                    <a:pt x="574913" y="680979"/>
                    <a:pt x="574913" y="697297"/>
                  </a:cubicBezTo>
                  <a:cubicBezTo>
                    <a:pt x="574913" y="705456"/>
                    <a:pt x="572194" y="708176"/>
                    <a:pt x="566755" y="713615"/>
                  </a:cubicBezTo>
                  <a:cubicBezTo>
                    <a:pt x="561315" y="719054"/>
                    <a:pt x="555876" y="721774"/>
                    <a:pt x="550437" y="721774"/>
                  </a:cubicBezTo>
                  <a:cubicBezTo>
                    <a:pt x="539558" y="724494"/>
                    <a:pt x="534119" y="724494"/>
                    <a:pt x="528680" y="724494"/>
                  </a:cubicBezTo>
                  <a:cubicBezTo>
                    <a:pt x="517800" y="724494"/>
                    <a:pt x="428052" y="724494"/>
                    <a:pt x="417174" y="724494"/>
                  </a:cubicBezTo>
                  <a:cubicBezTo>
                    <a:pt x="403575" y="724494"/>
                    <a:pt x="414454" y="724494"/>
                    <a:pt x="398136" y="724494"/>
                  </a:cubicBezTo>
                  <a:cubicBezTo>
                    <a:pt x="389977" y="724494"/>
                    <a:pt x="381817" y="724494"/>
                    <a:pt x="373659" y="724494"/>
                  </a:cubicBezTo>
                  <a:cubicBezTo>
                    <a:pt x="365500" y="724494"/>
                    <a:pt x="354621" y="721774"/>
                    <a:pt x="346462" y="719054"/>
                  </a:cubicBezTo>
                  <a:cubicBezTo>
                    <a:pt x="338304" y="716335"/>
                    <a:pt x="330144" y="708176"/>
                    <a:pt x="330144" y="702737"/>
                  </a:cubicBezTo>
                  <a:cubicBezTo>
                    <a:pt x="330144" y="700017"/>
                    <a:pt x="330144" y="697297"/>
                    <a:pt x="335584" y="694578"/>
                  </a:cubicBezTo>
                  <a:cubicBezTo>
                    <a:pt x="341023" y="691858"/>
                    <a:pt x="351902" y="689138"/>
                    <a:pt x="357341" y="686419"/>
                  </a:cubicBezTo>
                  <a:cubicBezTo>
                    <a:pt x="373659" y="683699"/>
                    <a:pt x="387257" y="680979"/>
                    <a:pt x="395416" y="680979"/>
                  </a:cubicBezTo>
                  <a:cubicBezTo>
                    <a:pt x="387257" y="675540"/>
                    <a:pt x="384537" y="670101"/>
                    <a:pt x="381817" y="656502"/>
                  </a:cubicBezTo>
                  <a:cubicBezTo>
                    <a:pt x="379098" y="632026"/>
                    <a:pt x="379098" y="610268"/>
                    <a:pt x="379098" y="585791"/>
                  </a:cubicBezTo>
                  <a:cubicBezTo>
                    <a:pt x="379098" y="564034"/>
                    <a:pt x="379098" y="542277"/>
                    <a:pt x="379098" y="517800"/>
                  </a:cubicBezTo>
                  <a:cubicBezTo>
                    <a:pt x="379098" y="504202"/>
                    <a:pt x="379098" y="487884"/>
                    <a:pt x="379098" y="474286"/>
                  </a:cubicBezTo>
                  <a:cubicBezTo>
                    <a:pt x="379098" y="457968"/>
                    <a:pt x="376379" y="444369"/>
                    <a:pt x="379098" y="430771"/>
                  </a:cubicBezTo>
                  <a:cubicBezTo>
                    <a:pt x="379098" y="425332"/>
                    <a:pt x="381817" y="417173"/>
                    <a:pt x="381817" y="411733"/>
                  </a:cubicBezTo>
                  <a:cubicBezTo>
                    <a:pt x="381817" y="406294"/>
                    <a:pt x="381817" y="403575"/>
                    <a:pt x="379098" y="400855"/>
                  </a:cubicBezTo>
                  <a:cubicBezTo>
                    <a:pt x="376379" y="400855"/>
                    <a:pt x="373659" y="398135"/>
                    <a:pt x="370939" y="398135"/>
                  </a:cubicBezTo>
                  <a:cubicBezTo>
                    <a:pt x="360061" y="398135"/>
                    <a:pt x="343742" y="400855"/>
                    <a:pt x="338304" y="400855"/>
                  </a:cubicBezTo>
                  <a:cubicBezTo>
                    <a:pt x="330144" y="400855"/>
                    <a:pt x="319266" y="403575"/>
                    <a:pt x="289349" y="403575"/>
                  </a:cubicBezTo>
                  <a:cubicBezTo>
                    <a:pt x="275751" y="403575"/>
                    <a:pt x="267592" y="400855"/>
                    <a:pt x="264872" y="400855"/>
                  </a:cubicBezTo>
                  <a:cubicBezTo>
                    <a:pt x="262153" y="400855"/>
                    <a:pt x="259433" y="400855"/>
                    <a:pt x="259433" y="406294"/>
                  </a:cubicBezTo>
                  <a:cubicBezTo>
                    <a:pt x="259433" y="414453"/>
                    <a:pt x="259433" y="419892"/>
                    <a:pt x="259433" y="425332"/>
                  </a:cubicBezTo>
                  <a:cubicBezTo>
                    <a:pt x="259433" y="433491"/>
                    <a:pt x="259433" y="441650"/>
                    <a:pt x="259433" y="449809"/>
                  </a:cubicBezTo>
                  <a:cubicBezTo>
                    <a:pt x="259433" y="457968"/>
                    <a:pt x="259433" y="463407"/>
                    <a:pt x="259433" y="471566"/>
                  </a:cubicBezTo>
                  <a:cubicBezTo>
                    <a:pt x="259433" y="482445"/>
                    <a:pt x="259433" y="493323"/>
                    <a:pt x="259433" y="504202"/>
                  </a:cubicBezTo>
                  <a:cubicBezTo>
                    <a:pt x="259433" y="506921"/>
                    <a:pt x="259433" y="506921"/>
                    <a:pt x="259433" y="509641"/>
                  </a:cubicBezTo>
                  <a:cubicBezTo>
                    <a:pt x="259433" y="520520"/>
                    <a:pt x="256714" y="531398"/>
                    <a:pt x="256714" y="542277"/>
                  </a:cubicBezTo>
                  <a:cubicBezTo>
                    <a:pt x="256714" y="553156"/>
                    <a:pt x="256714" y="566754"/>
                    <a:pt x="256714" y="577632"/>
                  </a:cubicBezTo>
                  <a:cubicBezTo>
                    <a:pt x="256714" y="588511"/>
                    <a:pt x="256714" y="599390"/>
                    <a:pt x="256714" y="612988"/>
                  </a:cubicBezTo>
                  <a:cubicBezTo>
                    <a:pt x="256714" y="629306"/>
                    <a:pt x="253994" y="642904"/>
                    <a:pt x="253994" y="656502"/>
                  </a:cubicBezTo>
                  <a:cubicBezTo>
                    <a:pt x="253994" y="664661"/>
                    <a:pt x="256714" y="672820"/>
                    <a:pt x="256714" y="678260"/>
                  </a:cubicBezTo>
                  <a:cubicBezTo>
                    <a:pt x="270312" y="678260"/>
                    <a:pt x="286629" y="680979"/>
                    <a:pt x="286629" y="694578"/>
                  </a:cubicBezTo>
                  <a:cubicBezTo>
                    <a:pt x="286629" y="702737"/>
                    <a:pt x="283910" y="705456"/>
                    <a:pt x="281191" y="710895"/>
                  </a:cubicBezTo>
                  <a:cubicBezTo>
                    <a:pt x="275751" y="716335"/>
                    <a:pt x="270312" y="719054"/>
                    <a:pt x="264872" y="719054"/>
                  </a:cubicBezTo>
                  <a:cubicBezTo>
                    <a:pt x="256714" y="721774"/>
                    <a:pt x="248554" y="721774"/>
                    <a:pt x="243116" y="721774"/>
                  </a:cubicBezTo>
                  <a:cubicBezTo>
                    <a:pt x="243116" y="721774"/>
                    <a:pt x="243116" y="721774"/>
                    <a:pt x="243116" y="721774"/>
                  </a:cubicBezTo>
                  <a:cubicBezTo>
                    <a:pt x="237676" y="724494"/>
                    <a:pt x="237676" y="724494"/>
                    <a:pt x="232236" y="727214"/>
                  </a:cubicBezTo>
                  <a:cubicBezTo>
                    <a:pt x="229517" y="729933"/>
                    <a:pt x="229517" y="732653"/>
                    <a:pt x="224078" y="735372"/>
                  </a:cubicBezTo>
                  <a:cubicBezTo>
                    <a:pt x="221358" y="738092"/>
                    <a:pt x="215919" y="738092"/>
                    <a:pt x="213199" y="738092"/>
                  </a:cubicBezTo>
                  <a:cubicBezTo>
                    <a:pt x="199601" y="738092"/>
                    <a:pt x="188722" y="735372"/>
                    <a:pt x="183283" y="727214"/>
                  </a:cubicBezTo>
                  <a:cubicBezTo>
                    <a:pt x="180563" y="724494"/>
                    <a:pt x="177843" y="721774"/>
                    <a:pt x="175124" y="719054"/>
                  </a:cubicBezTo>
                  <a:cubicBezTo>
                    <a:pt x="161526" y="719054"/>
                    <a:pt x="150646" y="719054"/>
                    <a:pt x="145208" y="719054"/>
                  </a:cubicBezTo>
                  <a:cubicBezTo>
                    <a:pt x="131609" y="719054"/>
                    <a:pt x="142488" y="719054"/>
                    <a:pt x="126170" y="719054"/>
                  </a:cubicBezTo>
                  <a:cubicBezTo>
                    <a:pt x="118011" y="719054"/>
                    <a:pt x="109852" y="719054"/>
                    <a:pt x="101693" y="719054"/>
                  </a:cubicBezTo>
                  <a:cubicBezTo>
                    <a:pt x="93534" y="719054"/>
                    <a:pt x="82655" y="719054"/>
                    <a:pt x="74496" y="713615"/>
                  </a:cubicBezTo>
                  <a:cubicBezTo>
                    <a:pt x="66338" y="710895"/>
                    <a:pt x="58178" y="702737"/>
                    <a:pt x="58178" y="697297"/>
                  </a:cubicBezTo>
                  <a:cubicBezTo>
                    <a:pt x="58178" y="694578"/>
                    <a:pt x="58178" y="691858"/>
                    <a:pt x="63618" y="689138"/>
                  </a:cubicBezTo>
                  <a:cubicBezTo>
                    <a:pt x="69057" y="686419"/>
                    <a:pt x="79936" y="683699"/>
                    <a:pt x="85375" y="680979"/>
                  </a:cubicBezTo>
                  <a:cubicBezTo>
                    <a:pt x="98973" y="678260"/>
                    <a:pt x="118011" y="678260"/>
                    <a:pt x="131609" y="675540"/>
                  </a:cubicBezTo>
                  <a:cubicBezTo>
                    <a:pt x="131609" y="672820"/>
                    <a:pt x="131609" y="670101"/>
                    <a:pt x="131609" y="667381"/>
                  </a:cubicBezTo>
                  <a:cubicBezTo>
                    <a:pt x="131609" y="661942"/>
                    <a:pt x="131609" y="656502"/>
                    <a:pt x="131609" y="651063"/>
                  </a:cubicBezTo>
                  <a:cubicBezTo>
                    <a:pt x="131609" y="640184"/>
                    <a:pt x="131609" y="629306"/>
                    <a:pt x="131609" y="618427"/>
                  </a:cubicBezTo>
                  <a:cubicBezTo>
                    <a:pt x="131609" y="604829"/>
                    <a:pt x="131609" y="593950"/>
                    <a:pt x="131609" y="580352"/>
                  </a:cubicBezTo>
                  <a:cubicBezTo>
                    <a:pt x="131609" y="564034"/>
                    <a:pt x="131609" y="547716"/>
                    <a:pt x="131609" y="531398"/>
                  </a:cubicBezTo>
                  <a:cubicBezTo>
                    <a:pt x="131609" y="509641"/>
                    <a:pt x="131609" y="487884"/>
                    <a:pt x="131609" y="466126"/>
                  </a:cubicBezTo>
                  <a:cubicBezTo>
                    <a:pt x="131609" y="452528"/>
                    <a:pt x="131609" y="436210"/>
                    <a:pt x="131609" y="422612"/>
                  </a:cubicBezTo>
                  <a:cubicBezTo>
                    <a:pt x="131609" y="419892"/>
                    <a:pt x="131609" y="414453"/>
                    <a:pt x="131609" y="411733"/>
                  </a:cubicBezTo>
                  <a:cubicBezTo>
                    <a:pt x="131609" y="409014"/>
                    <a:pt x="131609" y="400855"/>
                    <a:pt x="131609" y="398135"/>
                  </a:cubicBezTo>
                  <a:cubicBezTo>
                    <a:pt x="131609" y="392696"/>
                    <a:pt x="131609" y="392696"/>
                    <a:pt x="126170" y="389976"/>
                  </a:cubicBezTo>
                  <a:cubicBezTo>
                    <a:pt x="123450" y="389976"/>
                    <a:pt x="109852" y="387257"/>
                    <a:pt x="101693" y="387257"/>
                  </a:cubicBezTo>
                  <a:cubicBezTo>
                    <a:pt x="90814" y="384537"/>
                    <a:pt x="77216" y="381817"/>
                    <a:pt x="77216" y="376378"/>
                  </a:cubicBezTo>
                  <a:cubicBezTo>
                    <a:pt x="77216" y="373658"/>
                    <a:pt x="79936" y="370939"/>
                    <a:pt x="82655" y="368219"/>
                  </a:cubicBezTo>
                  <a:cubicBezTo>
                    <a:pt x="88095" y="365499"/>
                    <a:pt x="93534" y="362780"/>
                    <a:pt x="98973" y="360060"/>
                  </a:cubicBezTo>
                  <a:cubicBezTo>
                    <a:pt x="104413" y="360060"/>
                    <a:pt x="112571" y="357340"/>
                    <a:pt x="118011" y="357340"/>
                  </a:cubicBezTo>
                  <a:cubicBezTo>
                    <a:pt x="126170" y="354621"/>
                    <a:pt x="128890" y="357340"/>
                    <a:pt x="131609" y="351901"/>
                  </a:cubicBezTo>
                  <a:cubicBezTo>
                    <a:pt x="131609" y="349181"/>
                    <a:pt x="131609" y="346462"/>
                    <a:pt x="131609" y="343742"/>
                  </a:cubicBezTo>
                  <a:cubicBezTo>
                    <a:pt x="131609" y="319265"/>
                    <a:pt x="131609" y="294788"/>
                    <a:pt x="131609" y="270311"/>
                  </a:cubicBezTo>
                  <a:cubicBezTo>
                    <a:pt x="131609" y="226797"/>
                    <a:pt x="131609" y="186002"/>
                    <a:pt x="137048" y="145207"/>
                  </a:cubicBezTo>
                  <a:cubicBezTo>
                    <a:pt x="137048" y="139768"/>
                    <a:pt x="137048" y="131609"/>
                    <a:pt x="139768" y="123450"/>
                  </a:cubicBezTo>
                  <a:cubicBezTo>
                    <a:pt x="134329" y="123450"/>
                    <a:pt x="137048" y="123450"/>
                    <a:pt x="123450" y="123450"/>
                  </a:cubicBezTo>
                  <a:cubicBezTo>
                    <a:pt x="120731" y="123450"/>
                    <a:pt x="120731" y="123450"/>
                    <a:pt x="118011" y="123450"/>
                  </a:cubicBezTo>
                  <a:cubicBezTo>
                    <a:pt x="112571" y="123450"/>
                    <a:pt x="107133" y="123450"/>
                    <a:pt x="101693" y="123450"/>
                  </a:cubicBezTo>
                  <a:cubicBezTo>
                    <a:pt x="93534" y="123450"/>
                    <a:pt x="82655" y="120730"/>
                    <a:pt x="74496" y="118011"/>
                  </a:cubicBezTo>
                  <a:cubicBezTo>
                    <a:pt x="66338" y="115291"/>
                    <a:pt x="58178" y="107132"/>
                    <a:pt x="58178" y="101693"/>
                  </a:cubicBezTo>
                  <a:cubicBezTo>
                    <a:pt x="58178" y="98973"/>
                    <a:pt x="58178" y="96253"/>
                    <a:pt x="63618" y="93534"/>
                  </a:cubicBezTo>
                  <a:cubicBezTo>
                    <a:pt x="66338" y="90814"/>
                    <a:pt x="77216" y="88095"/>
                    <a:pt x="85375" y="85375"/>
                  </a:cubicBezTo>
                  <a:cubicBezTo>
                    <a:pt x="104413" y="82655"/>
                    <a:pt x="128890" y="82655"/>
                    <a:pt x="137048" y="82655"/>
                  </a:cubicBezTo>
                  <a:cubicBezTo>
                    <a:pt x="139768" y="82655"/>
                    <a:pt x="142488" y="82655"/>
                    <a:pt x="147927" y="82655"/>
                  </a:cubicBezTo>
                  <a:cubicBezTo>
                    <a:pt x="153366" y="69057"/>
                    <a:pt x="164245" y="58178"/>
                    <a:pt x="186003" y="58178"/>
                  </a:cubicBezTo>
                  <a:cubicBezTo>
                    <a:pt x="202321" y="58178"/>
                    <a:pt x="215919" y="66337"/>
                    <a:pt x="226797" y="79936"/>
                  </a:cubicBezTo>
                  <a:cubicBezTo>
                    <a:pt x="237676" y="79936"/>
                    <a:pt x="248554" y="79936"/>
                    <a:pt x="253994" y="79936"/>
                  </a:cubicBezTo>
                  <a:cubicBezTo>
                    <a:pt x="267592" y="79936"/>
                    <a:pt x="294789" y="79936"/>
                    <a:pt x="294789" y="96253"/>
                  </a:cubicBezTo>
                  <a:cubicBezTo>
                    <a:pt x="294789" y="104412"/>
                    <a:pt x="289349" y="107132"/>
                    <a:pt x="283910" y="112571"/>
                  </a:cubicBezTo>
                  <a:cubicBezTo>
                    <a:pt x="278471" y="118011"/>
                    <a:pt x="273031" y="120730"/>
                    <a:pt x="267592" y="120730"/>
                  </a:cubicBezTo>
                  <a:cubicBezTo>
                    <a:pt x="259433" y="123450"/>
                    <a:pt x="251274" y="123450"/>
                    <a:pt x="245835" y="123450"/>
                  </a:cubicBezTo>
                  <a:cubicBezTo>
                    <a:pt x="245835" y="123450"/>
                    <a:pt x="243116" y="123450"/>
                    <a:pt x="237676" y="123450"/>
                  </a:cubicBezTo>
                  <a:cubicBezTo>
                    <a:pt x="237676" y="126170"/>
                    <a:pt x="237676" y="126170"/>
                    <a:pt x="240396" y="128889"/>
                  </a:cubicBezTo>
                  <a:cubicBezTo>
                    <a:pt x="245835" y="145207"/>
                    <a:pt x="248554" y="161525"/>
                    <a:pt x="251274" y="177843"/>
                  </a:cubicBezTo>
                  <a:cubicBezTo>
                    <a:pt x="253994" y="194161"/>
                    <a:pt x="253994" y="210479"/>
                    <a:pt x="256714" y="226797"/>
                  </a:cubicBezTo>
                  <a:cubicBezTo>
                    <a:pt x="259433" y="243115"/>
                    <a:pt x="262153" y="256713"/>
                    <a:pt x="262153" y="273031"/>
                  </a:cubicBezTo>
                  <a:cubicBezTo>
                    <a:pt x="262153" y="278470"/>
                    <a:pt x="262153" y="283910"/>
                    <a:pt x="262153" y="289349"/>
                  </a:cubicBezTo>
                  <a:lnTo>
                    <a:pt x="262153" y="297508"/>
                  </a:lnTo>
                  <a:cubicBezTo>
                    <a:pt x="262153" y="305667"/>
                    <a:pt x="262153" y="313826"/>
                    <a:pt x="264872" y="321985"/>
                  </a:cubicBezTo>
                  <a:cubicBezTo>
                    <a:pt x="264872" y="327424"/>
                    <a:pt x="270312" y="330144"/>
                    <a:pt x="270312" y="335583"/>
                  </a:cubicBezTo>
                  <a:cubicBezTo>
                    <a:pt x="270312" y="335583"/>
                    <a:pt x="270312" y="338303"/>
                    <a:pt x="270312" y="338303"/>
                  </a:cubicBezTo>
                  <a:cubicBezTo>
                    <a:pt x="270312" y="341022"/>
                    <a:pt x="270312" y="343742"/>
                    <a:pt x="270312" y="346462"/>
                  </a:cubicBezTo>
                  <a:cubicBezTo>
                    <a:pt x="270312" y="351901"/>
                    <a:pt x="273031" y="354621"/>
                    <a:pt x="278471" y="354621"/>
                  </a:cubicBezTo>
                  <a:cubicBezTo>
                    <a:pt x="289349" y="354621"/>
                    <a:pt x="335584" y="351901"/>
                    <a:pt x="338304" y="349181"/>
                  </a:cubicBezTo>
                  <a:cubicBezTo>
                    <a:pt x="346462" y="349181"/>
                    <a:pt x="357341" y="349181"/>
                    <a:pt x="365500" y="349181"/>
                  </a:cubicBezTo>
                  <a:cubicBezTo>
                    <a:pt x="370939" y="349181"/>
                    <a:pt x="376379" y="349181"/>
                    <a:pt x="381817" y="349181"/>
                  </a:cubicBezTo>
                  <a:cubicBezTo>
                    <a:pt x="387257" y="349181"/>
                    <a:pt x="392697" y="346462"/>
                    <a:pt x="392697" y="338303"/>
                  </a:cubicBezTo>
                  <a:cubicBezTo>
                    <a:pt x="392697" y="330144"/>
                    <a:pt x="389977" y="316545"/>
                    <a:pt x="389977" y="313826"/>
                  </a:cubicBezTo>
                  <a:cubicBezTo>
                    <a:pt x="389977" y="294788"/>
                    <a:pt x="389977" y="278470"/>
                    <a:pt x="392697" y="262152"/>
                  </a:cubicBezTo>
                  <a:cubicBezTo>
                    <a:pt x="392697" y="259433"/>
                    <a:pt x="395416" y="243115"/>
                    <a:pt x="395416" y="224077"/>
                  </a:cubicBezTo>
                  <a:cubicBezTo>
                    <a:pt x="395416" y="207759"/>
                    <a:pt x="398136" y="188722"/>
                    <a:pt x="398136" y="177843"/>
                  </a:cubicBezTo>
                  <a:cubicBezTo>
                    <a:pt x="398136" y="169684"/>
                    <a:pt x="395416" y="158806"/>
                    <a:pt x="395416" y="153366"/>
                  </a:cubicBezTo>
                  <a:cubicBezTo>
                    <a:pt x="395416" y="145207"/>
                    <a:pt x="395416" y="142488"/>
                    <a:pt x="395416" y="137048"/>
                  </a:cubicBezTo>
                  <a:cubicBezTo>
                    <a:pt x="389977" y="137048"/>
                    <a:pt x="384537" y="137048"/>
                    <a:pt x="379098" y="137048"/>
                  </a:cubicBezTo>
                  <a:cubicBezTo>
                    <a:pt x="370939" y="137048"/>
                    <a:pt x="360061" y="134329"/>
                    <a:pt x="351902" y="131609"/>
                  </a:cubicBezTo>
                  <a:cubicBezTo>
                    <a:pt x="343742" y="128889"/>
                    <a:pt x="338304" y="120730"/>
                    <a:pt x="338304" y="115291"/>
                  </a:cubicBezTo>
                  <a:cubicBezTo>
                    <a:pt x="338304" y="112571"/>
                    <a:pt x="338304" y="109852"/>
                    <a:pt x="343742" y="107132"/>
                  </a:cubicBezTo>
                  <a:cubicBezTo>
                    <a:pt x="349182" y="104412"/>
                    <a:pt x="357341" y="101693"/>
                    <a:pt x="362780" y="98973"/>
                  </a:cubicBezTo>
                  <a:cubicBezTo>
                    <a:pt x="373659" y="96253"/>
                    <a:pt x="387257" y="96253"/>
                    <a:pt x="395416" y="96253"/>
                  </a:cubicBezTo>
                  <a:cubicBezTo>
                    <a:pt x="398136" y="93534"/>
                    <a:pt x="400855" y="90814"/>
                    <a:pt x="403575" y="90814"/>
                  </a:cubicBezTo>
                  <a:cubicBezTo>
                    <a:pt x="411734" y="90814"/>
                    <a:pt x="419893" y="88095"/>
                    <a:pt x="422612" y="88095"/>
                  </a:cubicBezTo>
                  <a:cubicBezTo>
                    <a:pt x="425332" y="88095"/>
                    <a:pt x="425332" y="88095"/>
                    <a:pt x="428052" y="88095"/>
                  </a:cubicBezTo>
                  <a:cubicBezTo>
                    <a:pt x="433492" y="88095"/>
                    <a:pt x="441650" y="88095"/>
                    <a:pt x="447090" y="90814"/>
                  </a:cubicBezTo>
                  <a:cubicBezTo>
                    <a:pt x="449809" y="90814"/>
                    <a:pt x="452529" y="93534"/>
                    <a:pt x="455249" y="96253"/>
                  </a:cubicBezTo>
                  <a:cubicBezTo>
                    <a:pt x="482445" y="96253"/>
                    <a:pt x="509642" y="93534"/>
                    <a:pt x="525960" y="93534"/>
                  </a:cubicBezTo>
                  <a:cubicBezTo>
                    <a:pt x="539558" y="93534"/>
                    <a:pt x="561315" y="93534"/>
                    <a:pt x="561315" y="109852"/>
                  </a:cubicBezTo>
                  <a:cubicBezTo>
                    <a:pt x="561315" y="118011"/>
                    <a:pt x="561315" y="120730"/>
                    <a:pt x="555876" y="126170"/>
                  </a:cubicBezTo>
                  <a:cubicBezTo>
                    <a:pt x="550437" y="131609"/>
                    <a:pt x="544997" y="134329"/>
                    <a:pt x="539558" y="134329"/>
                  </a:cubicBezTo>
                  <a:cubicBezTo>
                    <a:pt x="531399" y="137048"/>
                    <a:pt x="523240" y="137048"/>
                    <a:pt x="517800" y="137048"/>
                  </a:cubicBezTo>
                  <a:cubicBezTo>
                    <a:pt x="515081" y="137048"/>
                    <a:pt x="498763" y="137048"/>
                    <a:pt x="477006" y="137048"/>
                  </a:cubicBezTo>
                  <a:cubicBezTo>
                    <a:pt x="479725" y="145207"/>
                    <a:pt x="485165" y="153366"/>
                    <a:pt x="485165" y="161525"/>
                  </a:cubicBezTo>
                  <a:cubicBezTo>
                    <a:pt x="487885" y="177843"/>
                    <a:pt x="493324" y="194161"/>
                    <a:pt x="496043" y="210479"/>
                  </a:cubicBezTo>
                  <a:cubicBezTo>
                    <a:pt x="498763" y="224077"/>
                    <a:pt x="498763" y="237676"/>
                    <a:pt x="501483" y="251274"/>
                  </a:cubicBezTo>
                  <a:cubicBezTo>
                    <a:pt x="504202" y="264872"/>
                    <a:pt x="506922" y="275751"/>
                    <a:pt x="506922" y="292069"/>
                  </a:cubicBezTo>
                  <a:cubicBezTo>
                    <a:pt x="506922" y="302947"/>
                    <a:pt x="506922" y="311106"/>
                    <a:pt x="506922" y="321985"/>
                  </a:cubicBezTo>
                  <a:cubicBezTo>
                    <a:pt x="506922" y="327424"/>
                    <a:pt x="509642" y="335583"/>
                    <a:pt x="509642" y="341022"/>
                  </a:cubicBezTo>
                  <a:cubicBezTo>
                    <a:pt x="509642" y="343742"/>
                    <a:pt x="509642" y="343742"/>
                    <a:pt x="509642" y="343742"/>
                  </a:cubicBezTo>
                  <a:cubicBezTo>
                    <a:pt x="509642" y="349181"/>
                    <a:pt x="515081" y="349181"/>
                    <a:pt x="517800" y="349181"/>
                  </a:cubicBezTo>
                  <a:cubicBezTo>
                    <a:pt x="520520" y="349181"/>
                    <a:pt x="523240" y="349181"/>
                    <a:pt x="528680" y="349181"/>
                  </a:cubicBezTo>
                  <a:cubicBezTo>
                    <a:pt x="536838" y="349181"/>
                    <a:pt x="547717" y="349181"/>
                    <a:pt x="550437" y="357340"/>
                  </a:cubicBezTo>
                  <a:cubicBezTo>
                    <a:pt x="550437" y="360060"/>
                    <a:pt x="550437" y="360060"/>
                    <a:pt x="550437" y="362780"/>
                  </a:cubicBezTo>
                  <a:cubicBezTo>
                    <a:pt x="550437" y="370939"/>
                    <a:pt x="539558" y="381817"/>
                    <a:pt x="534119" y="384537"/>
                  </a:cubicBezTo>
                  <a:cubicBezTo>
                    <a:pt x="531399" y="387257"/>
                    <a:pt x="523240" y="387257"/>
                    <a:pt x="520520" y="389976"/>
                  </a:cubicBezTo>
                  <a:cubicBezTo>
                    <a:pt x="515081" y="389976"/>
                    <a:pt x="512362" y="392696"/>
                    <a:pt x="512362" y="395415"/>
                  </a:cubicBezTo>
                  <a:cubicBezTo>
                    <a:pt x="512362" y="395415"/>
                    <a:pt x="512362" y="398135"/>
                    <a:pt x="512362" y="398135"/>
                  </a:cubicBezTo>
                  <a:cubicBezTo>
                    <a:pt x="512362" y="400855"/>
                    <a:pt x="512362" y="406294"/>
                    <a:pt x="512362" y="409014"/>
                  </a:cubicBezTo>
                  <a:cubicBezTo>
                    <a:pt x="512362" y="411733"/>
                    <a:pt x="512362" y="411733"/>
                    <a:pt x="512362" y="414453"/>
                  </a:cubicBezTo>
                  <a:cubicBezTo>
                    <a:pt x="512362" y="422612"/>
                    <a:pt x="512362" y="430771"/>
                    <a:pt x="512362" y="438930"/>
                  </a:cubicBezTo>
                  <a:cubicBezTo>
                    <a:pt x="512362" y="460687"/>
                    <a:pt x="512362" y="482445"/>
                    <a:pt x="515081" y="504202"/>
                  </a:cubicBezTo>
                  <a:cubicBezTo>
                    <a:pt x="517800" y="525959"/>
                    <a:pt x="520520" y="550436"/>
                    <a:pt x="520520" y="572193"/>
                  </a:cubicBezTo>
                  <a:cubicBezTo>
                    <a:pt x="520520" y="583072"/>
                    <a:pt x="520520" y="593950"/>
                    <a:pt x="517800" y="604829"/>
                  </a:cubicBezTo>
                  <a:cubicBezTo>
                    <a:pt x="515081" y="623867"/>
                    <a:pt x="515081" y="642904"/>
                    <a:pt x="512362" y="661942"/>
                  </a:cubicBezTo>
                  <a:cubicBezTo>
                    <a:pt x="512362" y="664661"/>
                    <a:pt x="509642" y="667381"/>
                    <a:pt x="509642" y="670101"/>
                  </a:cubicBezTo>
                  <a:cubicBezTo>
                    <a:pt x="509642" y="672820"/>
                    <a:pt x="512362" y="678260"/>
                    <a:pt x="512362" y="680979"/>
                  </a:cubicBezTo>
                  <a:cubicBezTo>
                    <a:pt x="512362" y="683699"/>
                    <a:pt x="512362" y="686419"/>
                    <a:pt x="512362" y="686419"/>
                  </a:cubicBezTo>
                  <a:cubicBezTo>
                    <a:pt x="517800" y="680979"/>
                    <a:pt x="528680" y="680979"/>
                    <a:pt x="536838" y="680979"/>
                  </a:cubicBezTo>
                  <a:lnTo>
                    <a:pt x="536838" y="680979"/>
                  </a:ln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/>
            </a:p>
          </p:txBody>
        </p:sp>
        <p:sp>
          <p:nvSpPr>
            <p:cNvPr id="53" name="Freeform: Shape 52">
              <a:extLst>
                <a:ext uri="{FF2B5EF4-FFF2-40B4-BE49-F238E27FC236}">
                  <a16:creationId xmlns:a16="http://schemas.microsoft.com/office/drawing/2014/main" id="{872BE12F-3FBC-4635-99C7-4788DC937AE2}"/>
                </a:ext>
              </a:extLst>
            </p:cNvPr>
            <p:cNvSpPr/>
            <p:nvPr/>
          </p:nvSpPr>
          <p:spPr>
            <a:xfrm>
              <a:off x="9592416" y="4192158"/>
              <a:ext cx="516735" cy="761503"/>
            </a:xfrm>
            <a:custGeom>
              <a:avLst/>
              <a:gdLst>
                <a:gd name="connsiteX0" fmla="*/ 463407 w 516735"/>
                <a:gd name="connsiteY0" fmla="*/ 194161 h 761503"/>
                <a:gd name="connsiteX1" fmla="*/ 447089 w 516735"/>
                <a:gd name="connsiteY1" fmla="*/ 226797 h 761503"/>
                <a:gd name="connsiteX2" fmla="*/ 430771 w 516735"/>
                <a:gd name="connsiteY2" fmla="*/ 221357 h 761503"/>
                <a:gd name="connsiteX3" fmla="*/ 422612 w 516735"/>
                <a:gd name="connsiteY3" fmla="*/ 207759 h 761503"/>
                <a:gd name="connsiteX4" fmla="*/ 419893 w 516735"/>
                <a:gd name="connsiteY4" fmla="*/ 188722 h 761503"/>
                <a:gd name="connsiteX5" fmla="*/ 419893 w 516735"/>
                <a:gd name="connsiteY5" fmla="*/ 139768 h 761503"/>
                <a:gd name="connsiteX6" fmla="*/ 419893 w 516735"/>
                <a:gd name="connsiteY6" fmla="*/ 120730 h 761503"/>
                <a:gd name="connsiteX7" fmla="*/ 395416 w 516735"/>
                <a:gd name="connsiteY7" fmla="*/ 120730 h 761503"/>
                <a:gd name="connsiteX8" fmla="*/ 370939 w 516735"/>
                <a:gd name="connsiteY8" fmla="*/ 120730 h 761503"/>
                <a:gd name="connsiteX9" fmla="*/ 346461 w 516735"/>
                <a:gd name="connsiteY9" fmla="*/ 123450 h 761503"/>
                <a:gd name="connsiteX10" fmla="*/ 335583 w 516735"/>
                <a:gd name="connsiteY10" fmla="*/ 123450 h 761503"/>
                <a:gd name="connsiteX11" fmla="*/ 335583 w 516735"/>
                <a:gd name="connsiteY11" fmla="*/ 123450 h 761503"/>
                <a:gd name="connsiteX12" fmla="*/ 324704 w 516735"/>
                <a:gd name="connsiteY12" fmla="*/ 128889 h 761503"/>
                <a:gd name="connsiteX13" fmla="*/ 327424 w 516735"/>
                <a:gd name="connsiteY13" fmla="*/ 139768 h 761503"/>
                <a:gd name="connsiteX14" fmla="*/ 330144 w 516735"/>
                <a:gd name="connsiteY14" fmla="*/ 175123 h 761503"/>
                <a:gd name="connsiteX15" fmla="*/ 330144 w 516735"/>
                <a:gd name="connsiteY15" fmla="*/ 199600 h 761503"/>
                <a:gd name="connsiteX16" fmla="*/ 327424 w 516735"/>
                <a:gd name="connsiteY16" fmla="*/ 224077 h 761503"/>
                <a:gd name="connsiteX17" fmla="*/ 330144 w 516735"/>
                <a:gd name="connsiteY17" fmla="*/ 251274 h 761503"/>
                <a:gd name="connsiteX18" fmla="*/ 327424 w 516735"/>
                <a:gd name="connsiteY18" fmla="*/ 278470 h 761503"/>
                <a:gd name="connsiteX19" fmla="*/ 327424 w 516735"/>
                <a:gd name="connsiteY19" fmla="*/ 332864 h 761503"/>
                <a:gd name="connsiteX20" fmla="*/ 330144 w 516735"/>
                <a:gd name="connsiteY20" fmla="*/ 357340 h 761503"/>
                <a:gd name="connsiteX21" fmla="*/ 330144 w 516735"/>
                <a:gd name="connsiteY21" fmla="*/ 368219 h 761503"/>
                <a:gd name="connsiteX22" fmla="*/ 332863 w 516735"/>
                <a:gd name="connsiteY22" fmla="*/ 387257 h 761503"/>
                <a:gd name="connsiteX23" fmla="*/ 332863 w 516735"/>
                <a:gd name="connsiteY23" fmla="*/ 433491 h 761503"/>
                <a:gd name="connsiteX24" fmla="*/ 332863 w 516735"/>
                <a:gd name="connsiteY24" fmla="*/ 487884 h 761503"/>
                <a:gd name="connsiteX25" fmla="*/ 330144 w 516735"/>
                <a:gd name="connsiteY25" fmla="*/ 512361 h 761503"/>
                <a:gd name="connsiteX26" fmla="*/ 330144 w 516735"/>
                <a:gd name="connsiteY26" fmla="*/ 539557 h 761503"/>
                <a:gd name="connsiteX27" fmla="*/ 332863 w 516735"/>
                <a:gd name="connsiteY27" fmla="*/ 593950 h 761503"/>
                <a:gd name="connsiteX28" fmla="*/ 332863 w 516735"/>
                <a:gd name="connsiteY28" fmla="*/ 648343 h 761503"/>
                <a:gd name="connsiteX29" fmla="*/ 332863 w 516735"/>
                <a:gd name="connsiteY29" fmla="*/ 656502 h 761503"/>
                <a:gd name="connsiteX30" fmla="*/ 357341 w 516735"/>
                <a:gd name="connsiteY30" fmla="*/ 656502 h 761503"/>
                <a:gd name="connsiteX31" fmla="*/ 395416 w 516735"/>
                <a:gd name="connsiteY31" fmla="*/ 675540 h 761503"/>
                <a:gd name="connsiteX32" fmla="*/ 389976 w 516735"/>
                <a:gd name="connsiteY32" fmla="*/ 691858 h 761503"/>
                <a:gd name="connsiteX33" fmla="*/ 373658 w 516735"/>
                <a:gd name="connsiteY33" fmla="*/ 700017 h 761503"/>
                <a:gd name="connsiteX34" fmla="*/ 351901 w 516735"/>
                <a:gd name="connsiteY34" fmla="*/ 702737 h 761503"/>
                <a:gd name="connsiteX35" fmla="*/ 319265 w 516735"/>
                <a:gd name="connsiteY35" fmla="*/ 702737 h 761503"/>
                <a:gd name="connsiteX36" fmla="*/ 311106 w 516735"/>
                <a:gd name="connsiteY36" fmla="*/ 708176 h 761503"/>
                <a:gd name="connsiteX37" fmla="*/ 289349 w 516735"/>
                <a:gd name="connsiteY37" fmla="*/ 713615 h 761503"/>
                <a:gd name="connsiteX38" fmla="*/ 270311 w 516735"/>
                <a:gd name="connsiteY38" fmla="*/ 713615 h 761503"/>
                <a:gd name="connsiteX39" fmla="*/ 243115 w 516735"/>
                <a:gd name="connsiteY39" fmla="*/ 705456 h 761503"/>
                <a:gd name="connsiteX40" fmla="*/ 237675 w 516735"/>
                <a:gd name="connsiteY40" fmla="*/ 702737 h 761503"/>
                <a:gd name="connsiteX41" fmla="*/ 199600 w 516735"/>
                <a:gd name="connsiteY41" fmla="*/ 702737 h 761503"/>
                <a:gd name="connsiteX42" fmla="*/ 175123 w 516735"/>
                <a:gd name="connsiteY42" fmla="*/ 702737 h 761503"/>
                <a:gd name="connsiteX43" fmla="*/ 147927 w 516735"/>
                <a:gd name="connsiteY43" fmla="*/ 697297 h 761503"/>
                <a:gd name="connsiteX44" fmla="*/ 131609 w 516735"/>
                <a:gd name="connsiteY44" fmla="*/ 678260 h 761503"/>
                <a:gd name="connsiteX45" fmla="*/ 137048 w 516735"/>
                <a:gd name="connsiteY45" fmla="*/ 670101 h 761503"/>
                <a:gd name="connsiteX46" fmla="*/ 158805 w 516735"/>
                <a:gd name="connsiteY46" fmla="*/ 661942 h 761503"/>
                <a:gd name="connsiteX47" fmla="*/ 199600 w 516735"/>
                <a:gd name="connsiteY47" fmla="*/ 659222 h 761503"/>
                <a:gd name="connsiteX48" fmla="*/ 199600 w 516735"/>
                <a:gd name="connsiteY48" fmla="*/ 659222 h 761503"/>
                <a:gd name="connsiteX49" fmla="*/ 196880 w 516735"/>
                <a:gd name="connsiteY49" fmla="*/ 629306 h 761503"/>
                <a:gd name="connsiteX50" fmla="*/ 199600 w 516735"/>
                <a:gd name="connsiteY50" fmla="*/ 574913 h 761503"/>
                <a:gd name="connsiteX51" fmla="*/ 202320 w 516735"/>
                <a:gd name="connsiteY51" fmla="*/ 523239 h 761503"/>
                <a:gd name="connsiteX52" fmla="*/ 205040 w 516735"/>
                <a:gd name="connsiteY52" fmla="*/ 460687 h 761503"/>
                <a:gd name="connsiteX53" fmla="*/ 205040 w 516735"/>
                <a:gd name="connsiteY53" fmla="*/ 417173 h 761503"/>
                <a:gd name="connsiteX54" fmla="*/ 207759 w 516735"/>
                <a:gd name="connsiteY54" fmla="*/ 392696 h 761503"/>
                <a:gd name="connsiteX55" fmla="*/ 210478 w 516735"/>
                <a:gd name="connsiteY55" fmla="*/ 368219 h 761503"/>
                <a:gd name="connsiteX56" fmla="*/ 210478 w 516735"/>
                <a:gd name="connsiteY56" fmla="*/ 313826 h 761503"/>
                <a:gd name="connsiteX57" fmla="*/ 210478 w 516735"/>
                <a:gd name="connsiteY57" fmla="*/ 259433 h 761503"/>
                <a:gd name="connsiteX58" fmla="*/ 210478 w 516735"/>
                <a:gd name="connsiteY58" fmla="*/ 213199 h 761503"/>
                <a:gd name="connsiteX59" fmla="*/ 210478 w 516735"/>
                <a:gd name="connsiteY59" fmla="*/ 145207 h 761503"/>
                <a:gd name="connsiteX60" fmla="*/ 213198 w 516735"/>
                <a:gd name="connsiteY60" fmla="*/ 131609 h 761503"/>
                <a:gd name="connsiteX61" fmla="*/ 205040 w 516735"/>
                <a:gd name="connsiteY61" fmla="*/ 123450 h 761503"/>
                <a:gd name="connsiteX62" fmla="*/ 161525 w 516735"/>
                <a:gd name="connsiteY62" fmla="*/ 123450 h 761503"/>
                <a:gd name="connsiteX63" fmla="*/ 112571 w 516735"/>
                <a:gd name="connsiteY63" fmla="*/ 120730 h 761503"/>
                <a:gd name="connsiteX64" fmla="*/ 104412 w 516735"/>
                <a:gd name="connsiteY64" fmla="*/ 118011 h 761503"/>
                <a:gd name="connsiteX65" fmla="*/ 107132 w 516735"/>
                <a:gd name="connsiteY65" fmla="*/ 191441 h 761503"/>
                <a:gd name="connsiteX66" fmla="*/ 90814 w 516735"/>
                <a:gd name="connsiteY66" fmla="*/ 224077 h 761503"/>
                <a:gd name="connsiteX67" fmla="*/ 74496 w 516735"/>
                <a:gd name="connsiteY67" fmla="*/ 218638 h 761503"/>
                <a:gd name="connsiteX68" fmla="*/ 66337 w 516735"/>
                <a:gd name="connsiteY68" fmla="*/ 205040 h 761503"/>
                <a:gd name="connsiteX69" fmla="*/ 63617 w 516735"/>
                <a:gd name="connsiteY69" fmla="*/ 186002 h 761503"/>
                <a:gd name="connsiteX70" fmla="*/ 63617 w 516735"/>
                <a:gd name="connsiteY70" fmla="*/ 145207 h 761503"/>
                <a:gd name="connsiteX71" fmla="*/ 63617 w 516735"/>
                <a:gd name="connsiteY71" fmla="*/ 109852 h 761503"/>
                <a:gd name="connsiteX72" fmla="*/ 58178 w 516735"/>
                <a:gd name="connsiteY72" fmla="*/ 96253 h 761503"/>
                <a:gd name="connsiteX73" fmla="*/ 66337 w 516735"/>
                <a:gd name="connsiteY73" fmla="*/ 85375 h 761503"/>
                <a:gd name="connsiteX74" fmla="*/ 93533 w 516735"/>
                <a:gd name="connsiteY74" fmla="*/ 77216 h 761503"/>
                <a:gd name="connsiteX75" fmla="*/ 115290 w 516735"/>
                <a:gd name="connsiteY75" fmla="*/ 77216 h 761503"/>
                <a:gd name="connsiteX76" fmla="*/ 169684 w 516735"/>
                <a:gd name="connsiteY76" fmla="*/ 74496 h 761503"/>
                <a:gd name="connsiteX77" fmla="*/ 194161 w 516735"/>
                <a:gd name="connsiteY77" fmla="*/ 71776 h 761503"/>
                <a:gd name="connsiteX78" fmla="*/ 196880 w 516735"/>
                <a:gd name="connsiteY78" fmla="*/ 71776 h 761503"/>
                <a:gd name="connsiteX79" fmla="*/ 210478 w 516735"/>
                <a:gd name="connsiteY79" fmla="*/ 71776 h 761503"/>
                <a:gd name="connsiteX80" fmla="*/ 218638 w 516735"/>
                <a:gd name="connsiteY80" fmla="*/ 71776 h 761503"/>
                <a:gd name="connsiteX81" fmla="*/ 237675 w 516735"/>
                <a:gd name="connsiteY81" fmla="*/ 60898 h 761503"/>
                <a:gd name="connsiteX82" fmla="*/ 253993 w 516735"/>
                <a:gd name="connsiteY82" fmla="*/ 58178 h 761503"/>
                <a:gd name="connsiteX83" fmla="*/ 283910 w 516735"/>
                <a:gd name="connsiteY83" fmla="*/ 60898 h 761503"/>
                <a:gd name="connsiteX84" fmla="*/ 294788 w 516735"/>
                <a:gd name="connsiteY84" fmla="*/ 66337 h 761503"/>
                <a:gd name="connsiteX85" fmla="*/ 305667 w 516735"/>
                <a:gd name="connsiteY85" fmla="*/ 74496 h 761503"/>
                <a:gd name="connsiteX86" fmla="*/ 313826 w 516735"/>
                <a:gd name="connsiteY86" fmla="*/ 74496 h 761503"/>
                <a:gd name="connsiteX87" fmla="*/ 327424 w 516735"/>
                <a:gd name="connsiteY87" fmla="*/ 74496 h 761503"/>
                <a:gd name="connsiteX88" fmla="*/ 354621 w 516735"/>
                <a:gd name="connsiteY88" fmla="*/ 74496 h 761503"/>
                <a:gd name="connsiteX89" fmla="*/ 422612 w 516735"/>
                <a:gd name="connsiteY89" fmla="*/ 74496 h 761503"/>
                <a:gd name="connsiteX90" fmla="*/ 455248 w 516735"/>
                <a:gd name="connsiteY90" fmla="*/ 79936 h 761503"/>
                <a:gd name="connsiteX91" fmla="*/ 466127 w 516735"/>
                <a:gd name="connsiteY91" fmla="*/ 98973 h 761503"/>
                <a:gd name="connsiteX92" fmla="*/ 463407 w 516735"/>
                <a:gd name="connsiteY92" fmla="*/ 109852 h 761503"/>
                <a:gd name="connsiteX93" fmla="*/ 463407 w 516735"/>
                <a:gd name="connsiteY93" fmla="*/ 120730 h 761503"/>
                <a:gd name="connsiteX94" fmla="*/ 463407 w 516735"/>
                <a:gd name="connsiteY94" fmla="*/ 194161 h 761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</a:cxnLst>
              <a:rect l="l" t="t" r="r" b="b"/>
              <a:pathLst>
                <a:path w="516735" h="761503">
                  <a:moveTo>
                    <a:pt x="463407" y="194161"/>
                  </a:moveTo>
                  <a:cubicBezTo>
                    <a:pt x="463407" y="205040"/>
                    <a:pt x="463407" y="226797"/>
                    <a:pt x="447089" y="226797"/>
                  </a:cubicBezTo>
                  <a:cubicBezTo>
                    <a:pt x="438930" y="226797"/>
                    <a:pt x="436211" y="226797"/>
                    <a:pt x="430771" y="221357"/>
                  </a:cubicBezTo>
                  <a:cubicBezTo>
                    <a:pt x="425332" y="218638"/>
                    <a:pt x="422612" y="210479"/>
                    <a:pt x="422612" y="207759"/>
                  </a:cubicBezTo>
                  <a:cubicBezTo>
                    <a:pt x="419893" y="199600"/>
                    <a:pt x="419893" y="194161"/>
                    <a:pt x="419893" y="188722"/>
                  </a:cubicBezTo>
                  <a:cubicBezTo>
                    <a:pt x="419893" y="183282"/>
                    <a:pt x="419893" y="147927"/>
                    <a:pt x="419893" y="139768"/>
                  </a:cubicBezTo>
                  <a:cubicBezTo>
                    <a:pt x="419893" y="134329"/>
                    <a:pt x="419893" y="128889"/>
                    <a:pt x="419893" y="120730"/>
                  </a:cubicBezTo>
                  <a:cubicBezTo>
                    <a:pt x="411734" y="120730"/>
                    <a:pt x="403574" y="120730"/>
                    <a:pt x="395416" y="120730"/>
                  </a:cubicBezTo>
                  <a:cubicBezTo>
                    <a:pt x="387256" y="120730"/>
                    <a:pt x="379098" y="120730"/>
                    <a:pt x="370939" y="120730"/>
                  </a:cubicBezTo>
                  <a:cubicBezTo>
                    <a:pt x="362780" y="120730"/>
                    <a:pt x="354621" y="123450"/>
                    <a:pt x="346461" y="123450"/>
                  </a:cubicBezTo>
                  <a:cubicBezTo>
                    <a:pt x="343742" y="123450"/>
                    <a:pt x="341023" y="123450"/>
                    <a:pt x="335583" y="123450"/>
                  </a:cubicBezTo>
                  <a:cubicBezTo>
                    <a:pt x="335583" y="123450"/>
                    <a:pt x="335583" y="123450"/>
                    <a:pt x="335583" y="123450"/>
                  </a:cubicBezTo>
                  <a:cubicBezTo>
                    <a:pt x="327424" y="123450"/>
                    <a:pt x="324704" y="126170"/>
                    <a:pt x="324704" y="128889"/>
                  </a:cubicBezTo>
                  <a:cubicBezTo>
                    <a:pt x="324704" y="131609"/>
                    <a:pt x="324704" y="137048"/>
                    <a:pt x="327424" y="139768"/>
                  </a:cubicBezTo>
                  <a:cubicBezTo>
                    <a:pt x="330144" y="147927"/>
                    <a:pt x="330144" y="166964"/>
                    <a:pt x="330144" y="175123"/>
                  </a:cubicBezTo>
                  <a:cubicBezTo>
                    <a:pt x="330144" y="183282"/>
                    <a:pt x="330144" y="191441"/>
                    <a:pt x="330144" y="199600"/>
                  </a:cubicBezTo>
                  <a:cubicBezTo>
                    <a:pt x="330144" y="207759"/>
                    <a:pt x="327424" y="215918"/>
                    <a:pt x="327424" y="224077"/>
                  </a:cubicBezTo>
                  <a:cubicBezTo>
                    <a:pt x="327424" y="232236"/>
                    <a:pt x="330144" y="243115"/>
                    <a:pt x="330144" y="251274"/>
                  </a:cubicBezTo>
                  <a:cubicBezTo>
                    <a:pt x="330144" y="259433"/>
                    <a:pt x="330144" y="267592"/>
                    <a:pt x="327424" y="278470"/>
                  </a:cubicBezTo>
                  <a:cubicBezTo>
                    <a:pt x="327424" y="294788"/>
                    <a:pt x="327424" y="313826"/>
                    <a:pt x="327424" y="332864"/>
                  </a:cubicBezTo>
                  <a:cubicBezTo>
                    <a:pt x="327424" y="341022"/>
                    <a:pt x="327424" y="349181"/>
                    <a:pt x="330144" y="357340"/>
                  </a:cubicBezTo>
                  <a:cubicBezTo>
                    <a:pt x="330144" y="360060"/>
                    <a:pt x="330144" y="365499"/>
                    <a:pt x="330144" y="368219"/>
                  </a:cubicBezTo>
                  <a:cubicBezTo>
                    <a:pt x="330144" y="373658"/>
                    <a:pt x="332863" y="384537"/>
                    <a:pt x="332863" y="387257"/>
                  </a:cubicBezTo>
                  <a:cubicBezTo>
                    <a:pt x="332863" y="406294"/>
                    <a:pt x="332863" y="414453"/>
                    <a:pt x="332863" y="433491"/>
                  </a:cubicBezTo>
                  <a:cubicBezTo>
                    <a:pt x="332863" y="452528"/>
                    <a:pt x="335583" y="468846"/>
                    <a:pt x="332863" y="487884"/>
                  </a:cubicBezTo>
                  <a:cubicBezTo>
                    <a:pt x="332863" y="496043"/>
                    <a:pt x="330144" y="504202"/>
                    <a:pt x="330144" y="512361"/>
                  </a:cubicBezTo>
                  <a:cubicBezTo>
                    <a:pt x="330144" y="520520"/>
                    <a:pt x="330144" y="531398"/>
                    <a:pt x="330144" y="539557"/>
                  </a:cubicBezTo>
                  <a:cubicBezTo>
                    <a:pt x="330144" y="558595"/>
                    <a:pt x="330144" y="574913"/>
                    <a:pt x="332863" y="593950"/>
                  </a:cubicBezTo>
                  <a:cubicBezTo>
                    <a:pt x="332863" y="610268"/>
                    <a:pt x="332863" y="632026"/>
                    <a:pt x="332863" y="648343"/>
                  </a:cubicBezTo>
                  <a:cubicBezTo>
                    <a:pt x="332863" y="651063"/>
                    <a:pt x="332863" y="653783"/>
                    <a:pt x="332863" y="656502"/>
                  </a:cubicBezTo>
                  <a:cubicBezTo>
                    <a:pt x="343742" y="656502"/>
                    <a:pt x="351901" y="656502"/>
                    <a:pt x="357341" y="656502"/>
                  </a:cubicBezTo>
                  <a:cubicBezTo>
                    <a:pt x="370939" y="656502"/>
                    <a:pt x="395416" y="659222"/>
                    <a:pt x="395416" y="675540"/>
                  </a:cubicBezTo>
                  <a:cubicBezTo>
                    <a:pt x="395416" y="683699"/>
                    <a:pt x="392696" y="686419"/>
                    <a:pt x="389976" y="691858"/>
                  </a:cubicBezTo>
                  <a:cubicBezTo>
                    <a:pt x="384537" y="697297"/>
                    <a:pt x="379098" y="700017"/>
                    <a:pt x="373658" y="700017"/>
                  </a:cubicBezTo>
                  <a:cubicBezTo>
                    <a:pt x="365499" y="702737"/>
                    <a:pt x="357341" y="702737"/>
                    <a:pt x="351901" y="702737"/>
                  </a:cubicBezTo>
                  <a:cubicBezTo>
                    <a:pt x="349181" y="702737"/>
                    <a:pt x="335583" y="702737"/>
                    <a:pt x="319265" y="702737"/>
                  </a:cubicBezTo>
                  <a:cubicBezTo>
                    <a:pt x="316546" y="705456"/>
                    <a:pt x="313826" y="705456"/>
                    <a:pt x="311106" y="708176"/>
                  </a:cubicBezTo>
                  <a:cubicBezTo>
                    <a:pt x="302948" y="713615"/>
                    <a:pt x="297508" y="713615"/>
                    <a:pt x="289349" y="713615"/>
                  </a:cubicBezTo>
                  <a:cubicBezTo>
                    <a:pt x="283910" y="713615"/>
                    <a:pt x="278470" y="713615"/>
                    <a:pt x="270311" y="713615"/>
                  </a:cubicBezTo>
                  <a:cubicBezTo>
                    <a:pt x="259433" y="713615"/>
                    <a:pt x="251273" y="710895"/>
                    <a:pt x="243115" y="705456"/>
                  </a:cubicBezTo>
                  <a:cubicBezTo>
                    <a:pt x="240395" y="705456"/>
                    <a:pt x="237675" y="702737"/>
                    <a:pt x="237675" y="702737"/>
                  </a:cubicBezTo>
                  <a:cubicBezTo>
                    <a:pt x="224077" y="702737"/>
                    <a:pt x="213198" y="702737"/>
                    <a:pt x="199600" y="702737"/>
                  </a:cubicBezTo>
                  <a:cubicBezTo>
                    <a:pt x="191441" y="702737"/>
                    <a:pt x="183282" y="702737"/>
                    <a:pt x="175123" y="702737"/>
                  </a:cubicBezTo>
                  <a:cubicBezTo>
                    <a:pt x="166965" y="702737"/>
                    <a:pt x="156085" y="702737"/>
                    <a:pt x="147927" y="697297"/>
                  </a:cubicBezTo>
                  <a:cubicBezTo>
                    <a:pt x="139768" y="694578"/>
                    <a:pt x="131609" y="680979"/>
                    <a:pt x="131609" y="678260"/>
                  </a:cubicBezTo>
                  <a:cubicBezTo>
                    <a:pt x="131609" y="675540"/>
                    <a:pt x="131609" y="672820"/>
                    <a:pt x="137048" y="670101"/>
                  </a:cubicBezTo>
                  <a:cubicBezTo>
                    <a:pt x="142487" y="667381"/>
                    <a:pt x="153366" y="664661"/>
                    <a:pt x="158805" y="661942"/>
                  </a:cubicBezTo>
                  <a:cubicBezTo>
                    <a:pt x="175123" y="659222"/>
                    <a:pt x="191441" y="659222"/>
                    <a:pt x="199600" y="659222"/>
                  </a:cubicBezTo>
                  <a:lnTo>
                    <a:pt x="199600" y="659222"/>
                  </a:lnTo>
                  <a:cubicBezTo>
                    <a:pt x="199600" y="648343"/>
                    <a:pt x="196880" y="640184"/>
                    <a:pt x="196880" y="629306"/>
                  </a:cubicBezTo>
                  <a:cubicBezTo>
                    <a:pt x="196880" y="612988"/>
                    <a:pt x="196880" y="591231"/>
                    <a:pt x="199600" y="574913"/>
                  </a:cubicBezTo>
                  <a:cubicBezTo>
                    <a:pt x="199600" y="558595"/>
                    <a:pt x="199600" y="539557"/>
                    <a:pt x="202320" y="523239"/>
                  </a:cubicBezTo>
                  <a:cubicBezTo>
                    <a:pt x="202320" y="501482"/>
                    <a:pt x="205040" y="482445"/>
                    <a:pt x="205040" y="460687"/>
                  </a:cubicBezTo>
                  <a:cubicBezTo>
                    <a:pt x="205040" y="447089"/>
                    <a:pt x="205040" y="430771"/>
                    <a:pt x="205040" y="417173"/>
                  </a:cubicBezTo>
                  <a:cubicBezTo>
                    <a:pt x="205040" y="409014"/>
                    <a:pt x="207759" y="400855"/>
                    <a:pt x="207759" y="392696"/>
                  </a:cubicBezTo>
                  <a:cubicBezTo>
                    <a:pt x="207759" y="384537"/>
                    <a:pt x="210478" y="376378"/>
                    <a:pt x="210478" y="368219"/>
                  </a:cubicBezTo>
                  <a:cubicBezTo>
                    <a:pt x="210478" y="351901"/>
                    <a:pt x="210478" y="332864"/>
                    <a:pt x="210478" y="313826"/>
                  </a:cubicBezTo>
                  <a:cubicBezTo>
                    <a:pt x="210478" y="294788"/>
                    <a:pt x="210478" y="275751"/>
                    <a:pt x="210478" y="259433"/>
                  </a:cubicBezTo>
                  <a:cubicBezTo>
                    <a:pt x="210478" y="243115"/>
                    <a:pt x="210478" y="226797"/>
                    <a:pt x="210478" y="213199"/>
                  </a:cubicBezTo>
                  <a:cubicBezTo>
                    <a:pt x="210478" y="194161"/>
                    <a:pt x="210478" y="164245"/>
                    <a:pt x="210478" y="145207"/>
                  </a:cubicBezTo>
                  <a:cubicBezTo>
                    <a:pt x="210478" y="139768"/>
                    <a:pt x="213198" y="134329"/>
                    <a:pt x="213198" y="131609"/>
                  </a:cubicBezTo>
                  <a:cubicBezTo>
                    <a:pt x="213198" y="126170"/>
                    <a:pt x="207759" y="123450"/>
                    <a:pt x="205040" y="123450"/>
                  </a:cubicBezTo>
                  <a:cubicBezTo>
                    <a:pt x="199600" y="123450"/>
                    <a:pt x="166965" y="123450"/>
                    <a:pt x="161525" y="123450"/>
                  </a:cubicBezTo>
                  <a:cubicBezTo>
                    <a:pt x="145207" y="123450"/>
                    <a:pt x="128889" y="123450"/>
                    <a:pt x="112571" y="120730"/>
                  </a:cubicBezTo>
                  <a:cubicBezTo>
                    <a:pt x="109852" y="120730"/>
                    <a:pt x="107132" y="120730"/>
                    <a:pt x="104412" y="118011"/>
                  </a:cubicBezTo>
                  <a:cubicBezTo>
                    <a:pt x="107132" y="137048"/>
                    <a:pt x="107132" y="172404"/>
                    <a:pt x="107132" y="191441"/>
                  </a:cubicBezTo>
                  <a:cubicBezTo>
                    <a:pt x="107132" y="202320"/>
                    <a:pt x="107132" y="224077"/>
                    <a:pt x="90814" y="224077"/>
                  </a:cubicBezTo>
                  <a:cubicBezTo>
                    <a:pt x="82655" y="224077"/>
                    <a:pt x="79935" y="221357"/>
                    <a:pt x="74496" y="218638"/>
                  </a:cubicBezTo>
                  <a:cubicBezTo>
                    <a:pt x="69057" y="215918"/>
                    <a:pt x="66337" y="210479"/>
                    <a:pt x="66337" y="205040"/>
                  </a:cubicBezTo>
                  <a:cubicBezTo>
                    <a:pt x="63617" y="196881"/>
                    <a:pt x="63617" y="191441"/>
                    <a:pt x="63617" y="186002"/>
                  </a:cubicBezTo>
                  <a:cubicBezTo>
                    <a:pt x="63617" y="180563"/>
                    <a:pt x="63617" y="153366"/>
                    <a:pt x="63617" y="145207"/>
                  </a:cubicBezTo>
                  <a:cubicBezTo>
                    <a:pt x="63617" y="134329"/>
                    <a:pt x="63617" y="120730"/>
                    <a:pt x="63617" y="109852"/>
                  </a:cubicBezTo>
                  <a:cubicBezTo>
                    <a:pt x="60897" y="104412"/>
                    <a:pt x="58178" y="101693"/>
                    <a:pt x="58178" y="96253"/>
                  </a:cubicBezTo>
                  <a:cubicBezTo>
                    <a:pt x="58178" y="93534"/>
                    <a:pt x="60897" y="88095"/>
                    <a:pt x="66337" y="85375"/>
                  </a:cubicBezTo>
                  <a:cubicBezTo>
                    <a:pt x="74496" y="79936"/>
                    <a:pt x="77215" y="77216"/>
                    <a:pt x="93533" y="77216"/>
                  </a:cubicBezTo>
                  <a:cubicBezTo>
                    <a:pt x="101692" y="77216"/>
                    <a:pt x="109852" y="77216"/>
                    <a:pt x="115290" y="77216"/>
                  </a:cubicBezTo>
                  <a:cubicBezTo>
                    <a:pt x="134328" y="77216"/>
                    <a:pt x="150646" y="77216"/>
                    <a:pt x="169684" y="74496"/>
                  </a:cubicBezTo>
                  <a:cubicBezTo>
                    <a:pt x="177843" y="74496"/>
                    <a:pt x="186002" y="71776"/>
                    <a:pt x="194161" y="71776"/>
                  </a:cubicBezTo>
                  <a:cubicBezTo>
                    <a:pt x="194161" y="71776"/>
                    <a:pt x="196880" y="71776"/>
                    <a:pt x="196880" y="71776"/>
                  </a:cubicBezTo>
                  <a:cubicBezTo>
                    <a:pt x="199600" y="71776"/>
                    <a:pt x="205040" y="71776"/>
                    <a:pt x="210478" y="71776"/>
                  </a:cubicBezTo>
                  <a:cubicBezTo>
                    <a:pt x="213198" y="71776"/>
                    <a:pt x="215918" y="71776"/>
                    <a:pt x="218638" y="71776"/>
                  </a:cubicBezTo>
                  <a:cubicBezTo>
                    <a:pt x="224077" y="69057"/>
                    <a:pt x="229516" y="63618"/>
                    <a:pt x="237675" y="60898"/>
                  </a:cubicBezTo>
                  <a:cubicBezTo>
                    <a:pt x="243115" y="58178"/>
                    <a:pt x="248554" y="58178"/>
                    <a:pt x="253993" y="58178"/>
                  </a:cubicBezTo>
                  <a:cubicBezTo>
                    <a:pt x="264872" y="58178"/>
                    <a:pt x="273031" y="58178"/>
                    <a:pt x="283910" y="60898"/>
                  </a:cubicBezTo>
                  <a:cubicBezTo>
                    <a:pt x="286629" y="60898"/>
                    <a:pt x="292068" y="63618"/>
                    <a:pt x="294788" y="66337"/>
                  </a:cubicBezTo>
                  <a:cubicBezTo>
                    <a:pt x="297508" y="69057"/>
                    <a:pt x="302948" y="71776"/>
                    <a:pt x="305667" y="74496"/>
                  </a:cubicBezTo>
                  <a:cubicBezTo>
                    <a:pt x="308386" y="74496"/>
                    <a:pt x="311106" y="74496"/>
                    <a:pt x="313826" y="74496"/>
                  </a:cubicBezTo>
                  <a:cubicBezTo>
                    <a:pt x="319265" y="74496"/>
                    <a:pt x="321985" y="74496"/>
                    <a:pt x="327424" y="74496"/>
                  </a:cubicBezTo>
                  <a:cubicBezTo>
                    <a:pt x="335583" y="74496"/>
                    <a:pt x="346461" y="74496"/>
                    <a:pt x="354621" y="74496"/>
                  </a:cubicBezTo>
                  <a:cubicBezTo>
                    <a:pt x="376378" y="74496"/>
                    <a:pt x="400855" y="74496"/>
                    <a:pt x="422612" y="74496"/>
                  </a:cubicBezTo>
                  <a:cubicBezTo>
                    <a:pt x="433491" y="74496"/>
                    <a:pt x="447089" y="74496"/>
                    <a:pt x="455248" y="79936"/>
                  </a:cubicBezTo>
                  <a:cubicBezTo>
                    <a:pt x="460687" y="82655"/>
                    <a:pt x="466127" y="90814"/>
                    <a:pt x="466127" y="98973"/>
                  </a:cubicBezTo>
                  <a:cubicBezTo>
                    <a:pt x="466127" y="101693"/>
                    <a:pt x="466127" y="107132"/>
                    <a:pt x="463407" y="109852"/>
                  </a:cubicBezTo>
                  <a:cubicBezTo>
                    <a:pt x="463407" y="112571"/>
                    <a:pt x="463407" y="112571"/>
                    <a:pt x="463407" y="120730"/>
                  </a:cubicBezTo>
                  <a:cubicBezTo>
                    <a:pt x="463407" y="142488"/>
                    <a:pt x="463407" y="172404"/>
                    <a:pt x="463407" y="194161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/>
            </a:p>
          </p:txBody>
        </p:sp>
      </p:grpSp>
      <p:pic>
        <p:nvPicPr>
          <p:cNvPr id="54" name="Graphic 53">
            <a:extLst>
              <a:ext uri="{FF2B5EF4-FFF2-40B4-BE49-F238E27FC236}">
                <a16:creationId xmlns:a16="http://schemas.microsoft.com/office/drawing/2014/main" id="{7044E344-4143-45A0-BB19-DE4ABD7362F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716080" y="5240354"/>
            <a:ext cx="45719" cy="13487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001375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>
  <p:cSld name="Section Header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2AA6159-B06A-4786-B440-2BBF2AD8CEE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1" y="914400"/>
            <a:ext cx="7353300" cy="3467100"/>
          </a:xfrm>
        </p:spPr>
        <p:txBody>
          <a:bodyPr anchor="b"/>
          <a:lstStyle>
            <a:lvl1pPr>
              <a:lnSpc>
                <a:spcPct val="82000"/>
              </a:lnSpc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61094D5-7DA6-4745-8DC9-C1C7B6A35847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609602" y="4726213"/>
            <a:ext cx="7353300" cy="73152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t>Subtitle text (optional)</a:t>
            </a:r>
          </a:p>
        </p:txBody>
      </p:sp>
    </p:spTree>
    <p:extLst>
      <p:ext uri="{BB962C8B-B14F-4D97-AF65-F5344CB8AC3E}">
        <p14:creationId xmlns:p14="http://schemas.microsoft.com/office/powerpoint/2010/main" val="319572440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451214" y="518651"/>
            <a:ext cx="11430001" cy="485335"/>
          </a:xfrm>
          <a:prstGeom prst="rect">
            <a:avLst/>
          </a:prstGeom>
        </p:spPr>
        <p:txBody>
          <a:bodyPr/>
          <a:lstStyle>
            <a:lvl1pPr>
              <a:defRPr sz="3600" baseline="0">
                <a:solidFill>
                  <a:srgbClr val="E18719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DBCD2B53-A30F-4FC9-9906-880BE98B041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-1569190" y="-3909928"/>
            <a:ext cx="5545615" cy="5346912"/>
          </a:xfrm>
          <a:prstGeom prst="rect">
            <a:avLst/>
          </a:prstGeom>
        </p:spPr>
      </p:pic>
      <p:sp>
        <p:nvSpPr>
          <p:cNvPr id="7" name="Free Form 97">
            <a:extLst>
              <a:ext uri="{FF2B5EF4-FFF2-40B4-BE49-F238E27FC236}">
                <a16:creationId xmlns:a16="http://schemas.microsoft.com/office/drawing/2014/main" id="{C3405FB7-4A51-4439-B64A-459E1F1BC15B}"/>
              </a:ext>
            </a:extLst>
          </p:cNvPr>
          <p:cNvSpPr/>
          <p:nvPr userDrawn="1"/>
        </p:nvSpPr>
        <p:spPr>
          <a:xfrm>
            <a:off x="2043015" y="1209728"/>
            <a:ext cx="11430000" cy="64008"/>
          </a:xfrm>
          <a:custGeom>
            <a:avLst/>
            <a:gdLst/>
            <a:ahLst/>
            <a:cxnLst/>
            <a:rect l="0" t="0" r="0" b="0"/>
            <a:pathLst>
              <a:path w="8732704" h="216115">
                <a:moveTo>
                  <a:pt x="8732704" y="68302"/>
                </a:moveTo>
                <a:cubicBezTo>
                  <a:pt x="8732704" y="56280"/>
                  <a:pt x="8713647" y="47444"/>
                  <a:pt x="8679457" y="47428"/>
                </a:cubicBezTo>
                <a:cubicBezTo>
                  <a:pt x="5940644" y="45781"/>
                  <a:pt x="3072661" y="0"/>
                  <a:pt x="335880" y="33943"/>
                </a:cubicBezTo>
                <a:cubicBezTo>
                  <a:pt x="251906" y="33943"/>
                  <a:pt x="0" y="68056"/>
                  <a:pt x="0" y="102662"/>
                </a:cubicBezTo>
                <a:cubicBezTo>
                  <a:pt x="0" y="216115"/>
                  <a:pt x="839693" y="137021"/>
                  <a:pt x="1259532" y="137021"/>
                </a:cubicBezTo>
                <a:cubicBezTo>
                  <a:pt x="1931277" y="102662"/>
                  <a:pt x="2603022" y="102662"/>
                  <a:pt x="3274768" y="102662"/>
                </a:cubicBezTo>
                <a:cubicBezTo>
                  <a:pt x="5038097" y="171380"/>
                  <a:pt x="6717468" y="137021"/>
                  <a:pt x="8480813" y="137021"/>
                </a:cubicBezTo>
                <a:cubicBezTo>
                  <a:pt x="8564772" y="137021"/>
                  <a:pt x="8732704" y="137021"/>
                  <a:pt x="8732704" y="68302"/>
                </a:cubicBezTo>
                <a:close/>
              </a:path>
            </a:pathLst>
          </a:custGeom>
          <a:solidFill>
            <a:srgbClr val="4F206F">
              <a:alpha val="100000"/>
            </a:srgbClr>
          </a:solidFill>
          <a:ln w="12700" cap="flat" cmpd="sng">
            <a:noFill/>
            <a:prstDash val="solid"/>
            <a:miter lim="800000"/>
          </a:ln>
        </p:spPr>
        <p:txBody>
          <a:bodyPr anchor="ctr">
            <a:spAutoFit/>
          </a:bodyPr>
          <a:lstStyle/>
          <a:p>
            <a:pPr algn="ctr"/>
            <a:endParaRPr lang="en-US" sz="1485"/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F2257C3D-9932-4452-82C6-B5C9E5DE453C}"/>
              </a:ext>
            </a:extLst>
          </p:cNvPr>
          <p:cNvGrpSpPr/>
          <p:nvPr userDrawn="1"/>
        </p:nvGrpSpPr>
        <p:grpSpPr>
          <a:xfrm>
            <a:off x="246919" y="254412"/>
            <a:ext cx="2363121" cy="588647"/>
            <a:chOff x="246919" y="254412"/>
            <a:chExt cx="2363121" cy="588647"/>
          </a:xfrm>
        </p:grpSpPr>
        <p:sp>
          <p:nvSpPr>
            <p:cNvPr id="9" name="Freeform: Shape 6">
              <a:extLst>
                <a:ext uri="{FF2B5EF4-FFF2-40B4-BE49-F238E27FC236}">
                  <a16:creationId xmlns:a16="http://schemas.microsoft.com/office/drawing/2014/main" id="{E2A6EBA8-A91A-4CC8-B977-C61FC81A528A}"/>
                </a:ext>
              </a:extLst>
            </p:cNvPr>
            <p:cNvSpPr/>
            <p:nvPr/>
          </p:nvSpPr>
          <p:spPr>
            <a:xfrm>
              <a:off x="246919" y="544204"/>
              <a:ext cx="280308" cy="192211"/>
            </a:xfrm>
            <a:custGeom>
              <a:avLst/>
              <a:gdLst>
                <a:gd name="connsiteX0" fmla="*/ 903041 w 951880"/>
                <a:gd name="connsiteY0" fmla="*/ 330574 h 652717"/>
                <a:gd name="connsiteX1" fmla="*/ 780656 w 951880"/>
                <a:gd name="connsiteY1" fmla="*/ 379528 h 652717"/>
                <a:gd name="connsiteX2" fmla="*/ 598439 w 951880"/>
                <a:gd name="connsiteY2" fmla="*/ 311537 h 652717"/>
                <a:gd name="connsiteX3" fmla="*/ 505970 w 951880"/>
                <a:gd name="connsiteY3" fmla="*/ 164675 h 652717"/>
                <a:gd name="connsiteX4" fmla="*/ 266640 w 951880"/>
                <a:gd name="connsiteY4" fmla="*/ 61329 h 652717"/>
                <a:gd name="connsiteX5" fmla="*/ 103461 w 951880"/>
                <a:gd name="connsiteY5" fmla="*/ 458398 h 652717"/>
                <a:gd name="connsiteX6" fmla="*/ 756179 w 951880"/>
                <a:gd name="connsiteY6" fmla="*/ 485595 h 652717"/>
                <a:gd name="connsiteX7" fmla="*/ 903041 w 951880"/>
                <a:gd name="connsiteY7" fmla="*/ 330574 h 6527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51880" h="652717">
                  <a:moveTo>
                    <a:pt x="903041" y="330574"/>
                  </a:moveTo>
                  <a:cubicBezTo>
                    <a:pt x="867685" y="363210"/>
                    <a:pt x="813292" y="374089"/>
                    <a:pt x="780656" y="379528"/>
                  </a:cubicBezTo>
                  <a:cubicBezTo>
                    <a:pt x="712664" y="387687"/>
                    <a:pt x="641953" y="365930"/>
                    <a:pt x="598439" y="311537"/>
                  </a:cubicBezTo>
                  <a:cubicBezTo>
                    <a:pt x="563083" y="268022"/>
                    <a:pt x="544046" y="210910"/>
                    <a:pt x="505970" y="164675"/>
                  </a:cubicBezTo>
                  <a:cubicBezTo>
                    <a:pt x="448858" y="93964"/>
                    <a:pt x="359109" y="45011"/>
                    <a:pt x="266640" y="61329"/>
                  </a:cubicBezTo>
                  <a:cubicBezTo>
                    <a:pt x="81704" y="93964"/>
                    <a:pt x="114" y="308817"/>
                    <a:pt x="103461" y="458398"/>
                  </a:cubicBezTo>
                  <a:cubicBezTo>
                    <a:pt x="253042" y="670531"/>
                    <a:pt x="584840" y="635176"/>
                    <a:pt x="756179" y="485595"/>
                  </a:cubicBezTo>
                  <a:cubicBezTo>
                    <a:pt x="813292" y="442080"/>
                    <a:pt x="862246" y="390407"/>
                    <a:pt x="903041" y="330574"/>
                  </a:cubicBezTo>
                </a:path>
              </a:pathLst>
            </a:custGeom>
            <a:solidFill>
              <a:srgbClr val="FFFFFF"/>
            </a:solidFill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" name="Freeform: Shape 8">
              <a:extLst>
                <a:ext uri="{FF2B5EF4-FFF2-40B4-BE49-F238E27FC236}">
                  <a16:creationId xmlns:a16="http://schemas.microsoft.com/office/drawing/2014/main" id="{D718DFEE-CCCF-4806-9B04-B65866E5FF92}"/>
                </a:ext>
              </a:extLst>
            </p:cNvPr>
            <p:cNvSpPr/>
            <p:nvPr/>
          </p:nvSpPr>
          <p:spPr>
            <a:xfrm>
              <a:off x="2329732" y="544204"/>
              <a:ext cx="280308" cy="192211"/>
            </a:xfrm>
            <a:custGeom>
              <a:avLst/>
              <a:gdLst>
                <a:gd name="connsiteX0" fmla="*/ 58178 w 951880"/>
                <a:gd name="connsiteY0" fmla="*/ 330574 h 652717"/>
                <a:gd name="connsiteX1" fmla="*/ 180563 w 951880"/>
                <a:gd name="connsiteY1" fmla="*/ 379528 h 652717"/>
                <a:gd name="connsiteX2" fmla="*/ 362780 w 951880"/>
                <a:gd name="connsiteY2" fmla="*/ 311537 h 652717"/>
                <a:gd name="connsiteX3" fmla="*/ 455249 w 951880"/>
                <a:gd name="connsiteY3" fmla="*/ 164675 h 652717"/>
                <a:gd name="connsiteX4" fmla="*/ 694578 w 951880"/>
                <a:gd name="connsiteY4" fmla="*/ 61329 h 652717"/>
                <a:gd name="connsiteX5" fmla="*/ 857758 w 951880"/>
                <a:gd name="connsiteY5" fmla="*/ 458398 h 652717"/>
                <a:gd name="connsiteX6" fmla="*/ 205040 w 951880"/>
                <a:gd name="connsiteY6" fmla="*/ 485595 h 652717"/>
                <a:gd name="connsiteX7" fmla="*/ 58178 w 951880"/>
                <a:gd name="connsiteY7" fmla="*/ 330574 h 6527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51880" h="652717">
                  <a:moveTo>
                    <a:pt x="58178" y="330574"/>
                  </a:moveTo>
                  <a:cubicBezTo>
                    <a:pt x="96253" y="363210"/>
                    <a:pt x="147927" y="374089"/>
                    <a:pt x="180563" y="379528"/>
                  </a:cubicBezTo>
                  <a:cubicBezTo>
                    <a:pt x="248554" y="387687"/>
                    <a:pt x="319266" y="365930"/>
                    <a:pt x="362780" y="311537"/>
                  </a:cubicBezTo>
                  <a:cubicBezTo>
                    <a:pt x="398136" y="268022"/>
                    <a:pt x="417174" y="210910"/>
                    <a:pt x="455249" y="164675"/>
                  </a:cubicBezTo>
                  <a:cubicBezTo>
                    <a:pt x="512362" y="93964"/>
                    <a:pt x="602110" y="45011"/>
                    <a:pt x="694578" y="61329"/>
                  </a:cubicBezTo>
                  <a:cubicBezTo>
                    <a:pt x="879515" y="93964"/>
                    <a:pt x="961105" y="308817"/>
                    <a:pt x="857758" y="458398"/>
                  </a:cubicBezTo>
                  <a:cubicBezTo>
                    <a:pt x="708176" y="670531"/>
                    <a:pt x="376379" y="635176"/>
                    <a:pt x="205040" y="485595"/>
                  </a:cubicBezTo>
                  <a:cubicBezTo>
                    <a:pt x="150646" y="442080"/>
                    <a:pt x="101693" y="390407"/>
                    <a:pt x="58178" y="330574"/>
                  </a:cubicBezTo>
                </a:path>
              </a:pathLst>
            </a:custGeom>
            <a:solidFill>
              <a:srgbClr val="FFFFFF"/>
            </a:solidFill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F6E34884-3142-46B5-8FC9-7652AEACBAE5}"/>
                </a:ext>
              </a:extLst>
            </p:cNvPr>
            <p:cNvSpPr/>
            <p:nvPr/>
          </p:nvSpPr>
          <p:spPr>
            <a:xfrm>
              <a:off x="1990923" y="290452"/>
              <a:ext cx="216238" cy="88097"/>
            </a:xfrm>
            <a:custGeom>
              <a:avLst/>
              <a:gdLst>
                <a:gd name="connsiteX0" fmla="*/ 596792 w 734307"/>
                <a:gd name="connsiteY0" fmla="*/ 58178 h 299162"/>
                <a:gd name="connsiteX1" fmla="*/ 148048 w 734307"/>
                <a:gd name="connsiteY1" fmla="*/ 58178 h 299162"/>
                <a:gd name="connsiteX2" fmla="*/ 58299 w 734307"/>
                <a:gd name="connsiteY2" fmla="*/ 150646 h 299162"/>
                <a:gd name="connsiteX3" fmla="*/ 148048 w 734307"/>
                <a:gd name="connsiteY3" fmla="*/ 251274 h 299162"/>
                <a:gd name="connsiteX4" fmla="*/ 596792 w 734307"/>
                <a:gd name="connsiteY4" fmla="*/ 251274 h 299162"/>
                <a:gd name="connsiteX5" fmla="*/ 686541 w 734307"/>
                <a:gd name="connsiteY5" fmla="*/ 158805 h 299162"/>
                <a:gd name="connsiteX6" fmla="*/ 596792 w 734307"/>
                <a:gd name="connsiteY6" fmla="*/ 58178 h 2991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34307" h="299162">
                  <a:moveTo>
                    <a:pt x="596792" y="58178"/>
                  </a:moveTo>
                  <a:cubicBezTo>
                    <a:pt x="591353" y="58178"/>
                    <a:pt x="153487" y="58178"/>
                    <a:pt x="148048" y="58178"/>
                  </a:cubicBezTo>
                  <a:cubicBezTo>
                    <a:pt x="99094" y="60898"/>
                    <a:pt x="61019" y="104412"/>
                    <a:pt x="58299" y="150646"/>
                  </a:cubicBezTo>
                  <a:cubicBezTo>
                    <a:pt x="55580" y="199600"/>
                    <a:pt x="99094" y="248554"/>
                    <a:pt x="148048" y="251274"/>
                  </a:cubicBezTo>
                  <a:cubicBezTo>
                    <a:pt x="153487" y="251274"/>
                    <a:pt x="591353" y="251274"/>
                    <a:pt x="596792" y="251274"/>
                  </a:cubicBezTo>
                  <a:cubicBezTo>
                    <a:pt x="645746" y="248554"/>
                    <a:pt x="683821" y="205040"/>
                    <a:pt x="686541" y="158805"/>
                  </a:cubicBezTo>
                  <a:cubicBezTo>
                    <a:pt x="689260" y="109852"/>
                    <a:pt x="648465" y="60898"/>
                    <a:pt x="596792" y="58178"/>
                  </a:cubicBezTo>
                </a:path>
              </a:pathLst>
            </a:custGeom>
            <a:solidFill>
              <a:srgbClr val="FFFFFF"/>
            </a:solidFill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2B9ABB82-9A23-4E6C-8E86-0BEA09232873}"/>
                </a:ext>
              </a:extLst>
            </p:cNvPr>
            <p:cNvSpPr/>
            <p:nvPr/>
          </p:nvSpPr>
          <p:spPr>
            <a:xfrm>
              <a:off x="1083560" y="368938"/>
              <a:ext cx="296326" cy="280308"/>
            </a:xfrm>
            <a:custGeom>
              <a:avLst/>
              <a:gdLst>
                <a:gd name="connsiteX0" fmla="*/ 884954 w 1006273"/>
                <a:gd name="connsiteY0" fmla="*/ 746251 h 951879"/>
                <a:gd name="connsiteX1" fmla="*/ 874076 w 1006273"/>
                <a:gd name="connsiteY1" fmla="*/ 670101 h 951879"/>
                <a:gd name="connsiteX2" fmla="*/ 874076 w 1006273"/>
                <a:gd name="connsiteY2" fmla="*/ 536837 h 951879"/>
                <a:gd name="connsiteX3" fmla="*/ 689139 w 1006273"/>
                <a:gd name="connsiteY3" fmla="*/ 88094 h 951879"/>
                <a:gd name="connsiteX4" fmla="*/ 428052 w 1006273"/>
                <a:gd name="connsiteY4" fmla="*/ 253993 h 951879"/>
                <a:gd name="connsiteX5" fmla="*/ 196881 w 1006273"/>
                <a:gd name="connsiteY5" fmla="*/ 58178 h 951879"/>
                <a:gd name="connsiteX6" fmla="*/ 58178 w 1006273"/>
                <a:gd name="connsiteY6" fmla="*/ 128889 h 951879"/>
                <a:gd name="connsiteX7" fmla="*/ 142488 w 1006273"/>
                <a:gd name="connsiteY7" fmla="*/ 273031 h 951879"/>
                <a:gd name="connsiteX8" fmla="*/ 142488 w 1006273"/>
                <a:gd name="connsiteY8" fmla="*/ 757130 h 951879"/>
                <a:gd name="connsiteX9" fmla="*/ 283910 w 1006273"/>
                <a:gd name="connsiteY9" fmla="*/ 895832 h 951879"/>
                <a:gd name="connsiteX10" fmla="*/ 428052 w 1006273"/>
                <a:gd name="connsiteY10" fmla="*/ 757130 h 951879"/>
                <a:gd name="connsiteX11" fmla="*/ 428052 w 1006273"/>
                <a:gd name="connsiteY11" fmla="*/ 400855 h 951879"/>
                <a:gd name="connsiteX12" fmla="*/ 523240 w 1006273"/>
                <a:gd name="connsiteY12" fmla="*/ 283910 h 951879"/>
                <a:gd name="connsiteX13" fmla="*/ 591231 w 1006273"/>
                <a:gd name="connsiteY13" fmla="*/ 354621 h 951879"/>
                <a:gd name="connsiteX14" fmla="*/ 591231 w 1006273"/>
                <a:gd name="connsiteY14" fmla="*/ 697297 h 951879"/>
                <a:gd name="connsiteX15" fmla="*/ 593951 w 1006273"/>
                <a:gd name="connsiteY15" fmla="*/ 729933 h 951879"/>
                <a:gd name="connsiteX16" fmla="*/ 610269 w 1006273"/>
                <a:gd name="connsiteY16" fmla="*/ 778887 h 951879"/>
                <a:gd name="connsiteX17" fmla="*/ 822402 w 1006273"/>
                <a:gd name="connsiteY17" fmla="*/ 893112 h 951879"/>
                <a:gd name="connsiteX18" fmla="*/ 961105 w 1006273"/>
                <a:gd name="connsiteY18" fmla="*/ 822401 h 951879"/>
                <a:gd name="connsiteX19" fmla="*/ 884954 w 1006273"/>
                <a:gd name="connsiteY19" fmla="*/ 746251 h 9518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006273" h="951879">
                  <a:moveTo>
                    <a:pt x="884954" y="746251"/>
                  </a:moveTo>
                  <a:cubicBezTo>
                    <a:pt x="879515" y="721774"/>
                    <a:pt x="876795" y="694578"/>
                    <a:pt x="874076" y="670101"/>
                  </a:cubicBezTo>
                  <a:cubicBezTo>
                    <a:pt x="874076" y="634745"/>
                    <a:pt x="874076" y="583072"/>
                    <a:pt x="874076" y="536837"/>
                  </a:cubicBezTo>
                  <a:cubicBezTo>
                    <a:pt x="879515" y="373658"/>
                    <a:pt x="909431" y="88094"/>
                    <a:pt x="689139" y="88094"/>
                  </a:cubicBezTo>
                  <a:cubicBezTo>
                    <a:pt x="539558" y="88094"/>
                    <a:pt x="452529" y="213199"/>
                    <a:pt x="428052" y="253993"/>
                  </a:cubicBezTo>
                  <a:cubicBezTo>
                    <a:pt x="425332" y="139768"/>
                    <a:pt x="335583" y="58178"/>
                    <a:pt x="196881" y="58178"/>
                  </a:cubicBezTo>
                  <a:cubicBezTo>
                    <a:pt x="109852" y="58178"/>
                    <a:pt x="58178" y="128889"/>
                    <a:pt x="58178" y="128889"/>
                  </a:cubicBezTo>
                  <a:cubicBezTo>
                    <a:pt x="58178" y="128889"/>
                    <a:pt x="142488" y="158805"/>
                    <a:pt x="142488" y="273031"/>
                  </a:cubicBezTo>
                  <a:cubicBezTo>
                    <a:pt x="142488" y="354621"/>
                    <a:pt x="142488" y="757130"/>
                    <a:pt x="142488" y="757130"/>
                  </a:cubicBezTo>
                  <a:cubicBezTo>
                    <a:pt x="145207" y="827841"/>
                    <a:pt x="194161" y="895832"/>
                    <a:pt x="283910" y="895832"/>
                  </a:cubicBezTo>
                  <a:cubicBezTo>
                    <a:pt x="373659" y="895832"/>
                    <a:pt x="428052" y="827841"/>
                    <a:pt x="428052" y="757130"/>
                  </a:cubicBezTo>
                  <a:lnTo>
                    <a:pt x="428052" y="400855"/>
                  </a:lnTo>
                  <a:cubicBezTo>
                    <a:pt x="441650" y="343742"/>
                    <a:pt x="474286" y="283910"/>
                    <a:pt x="523240" y="283910"/>
                  </a:cubicBezTo>
                  <a:cubicBezTo>
                    <a:pt x="585792" y="283910"/>
                    <a:pt x="591231" y="354621"/>
                    <a:pt x="591231" y="354621"/>
                  </a:cubicBezTo>
                  <a:lnTo>
                    <a:pt x="591231" y="697297"/>
                  </a:lnTo>
                  <a:cubicBezTo>
                    <a:pt x="591231" y="708176"/>
                    <a:pt x="593951" y="719054"/>
                    <a:pt x="593951" y="729933"/>
                  </a:cubicBezTo>
                  <a:cubicBezTo>
                    <a:pt x="596671" y="748971"/>
                    <a:pt x="602110" y="765289"/>
                    <a:pt x="610269" y="778887"/>
                  </a:cubicBezTo>
                  <a:cubicBezTo>
                    <a:pt x="645624" y="846878"/>
                    <a:pt x="719055" y="893112"/>
                    <a:pt x="822402" y="893112"/>
                  </a:cubicBezTo>
                  <a:cubicBezTo>
                    <a:pt x="909431" y="893112"/>
                    <a:pt x="961105" y="822401"/>
                    <a:pt x="961105" y="822401"/>
                  </a:cubicBezTo>
                  <a:cubicBezTo>
                    <a:pt x="961105" y="822401"/>
                    <a:pt x="909431" y="808803"/>
                    <a:pt x="884954" y="746251"/>
                  </a:cubicBezTo>
                </a:path>
              </a:pathLst>
            </a:custGeom>
            <a:solidFill>
              <a:srgbClr val="FFFFFF"/>
            </a:solidFill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9B1131D4-D2AE-492F-9B86-D7FB518AB5BF}"/>
                </a:ext>
              </a:extLst>
            </p:cNvPr>
            <p:cNvSpPr/>
            <p:nvPr/>
          </p:nvSpPr>
          <p:spPr>
            <a:xfrm>
              <a:off x="1858713" y="254412"/>
              <a:ext cx="144159" cy="392432"/>
            </a:xfrm>
            <a:custGeom>
              <a:avLst/>
              <a:gdLst>
                <a:gd name="connsiteX0" fmla="*/ 368560 w 489538"/>
                <a:gd name="connsiteY0" fmla="*/ 1135162 h 1332630"/>
                <a:gd name="connsiteX1" fmla="*/ 357681 w 489538"/>
                <a:gd name="connsiteY1" fmla="*/ 1059011 h 1332630"/>
                <a:gd name="connsiteX2" fmla="*/ 357681 w 489538"/>
                <a:gd name="connsiteY2" fmla="*/ 207759 h 1332630"/>
                <a:gd name="connsiteX3" fmla="*/ 208099 w 489538"/>
                <a:gd name="connsiteY3" fmla="*/ 58178 h 1332630"/>
                <a:gd name="connsiteX4" fmla="*/ 58518 w 489538"/>
                <a:gd name="connsiteY4" fmla="*/ 207759 h 1332630"/>
                <a:gd name="connsiteX5" fmla="*/ 58518 w 489538"/>
                <a:gd name="connsiteY5" fmla="*/ 961104 h 1332630"/>
                <a:gd name="connsiteX6" fmla="*/ 85715 w 489538"/>
                <a:gd name="connsiteY6" fmla="*/ 1159639 h 1332630"/>
                <a:gd name="connsiteX7" fmla="*/ 306007 w 489538"/>
                <a:gd name="connsiteY7" fmla="*/ 1282023 h 1332630"/>
                <a:gd name="connsiteX8" fmla="*/ 444710 w 489538"/>
                <a:gd name="connsiteY8" fmla="*/ 1211312 h 1332630"/>
                <a:gd name="connsiteX9" fmla="*/ 368560 w 489538"/>
                <a:gd name="connsiteY9" fmla="*/ 1135162 h 13326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89538" h="1332630">
                  <a:moveTo>
                    <a:pt x="368560" y="1135162"/>
                  </a:moveTo>
                  <a:cubicBezTo>
                    <a:pt x="363120" y="1110685"/>
                    <a:pt x="357681" y="1083488"/>
                    <a:pt x="357681" y="1059011"/>
                  </a:cubicBezTo>
                  <a:lnTo>
                    <a:pt x="357681" y="207759"/>
                  </a:lnTo>
                  <a:cubicBezTo>
                    <a:pt x="357681" y="126170"/>
                    <a:pt x="289689" y="58178"/>
                    <a:pt x="208099" y="58178"/>
                  </a:cubicBezTo>
                  <a:cubicBezTo>
                    <a:pt x="126510" y="58178"/>
                    <a:pt x="58518" y="126170"/>
                    <a:pt x="58518" y="207759"/>
                  </a:cubicBezTo>
                  <a:lnTo>
                    <a:pt x="58518" y="961104"/>
                  </a:lnTo>
                  <a:cubicBezTo>
                    <a:pt x="58518" y="1029095"/>
                    <a:pt x="53079" y="1097086"/>
                    <a:pt x="85715" y="1159639"/>
                  </a:cubicBezTo>
                  <a:cubicBezTo>
                    <a:pt x="118351" y="1227630"/>
                    <a:pt x="202660" y="1282023"/>
                    <a:pt x="306007" y="1282023"/>
                  </a:cubicBezTo>
                  <a:cubicBezTo>
                    <a:pt x="393036" y="1282023"/>
                    <a:pt x="444710" y="1211312"/>
                    <a:pt x="444710" y="1211312"/>
                  </a:cubicBezTo>
                  <a:cubicBezTo>
                    <a:pt x="444710" y="1211312"/>
                    <a:pt x="393036" y="1197714"/>
                    <a:pt x="368560" y="1135162"/>
                  </a:cubicBezTo>
                </a:path>
              </a:pathLst>
            </a:custGeom>
            <a:solidFill>
              <a:srgbClr val="FFFFFF"/>
            </a:solidFill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97935BDF-D835-4A48-A6AF-5DA9639D0464}"/>
                </a:ext>
              </a:extLst>
            </p:cNvPr>
            <p:cNvSpPr/>
            <p:nvPr/>
          </p:nvSpPr>
          <p:spPr>
            <a:xfrm>
              <a:off x="860428" y="392477"/>
              <a:ext cx="240265" cy="240265"/>
            </a:xfrm>
            <a:custGeom>
              <a:avLst/>
              <a:gdLst>
                <a:gd name="connsiteX0" fmla="*/ 407949 w 815899"/>
                <a:gd name="connsiteY0" fmla="*/ 174058 h 815898"/>
                <a:gd name="connsiteX1" fmla="*/ 293723 w 815899"/>
                <a:gd name="connsiteY1" fmla="*/ 407950 h 815898"/>
                <a:gd name="connsiteX2" fmla="*/ 410669 w 815899"/>
                <a:gd name="connsiteY2" fmla="*/ 641840 h 815898"/>
                <a:gd name="connsiteX3" fmla="*/ 522175 w 815899"/>
                <a:gd name="connsiteY3" fmla="*/ 407950 h 815898"/>
                <a:gd name="connsiteX4" fmla="*/ 407949 w 815899"/>
                <a:gd name="connsiteY4" fmla="*/ 174058 h 815898"/>
                <a:gd name="connsiteX5" fmla="*/ 407950 w 815899"/>
                <a:gd name="connsiteY5" fmla="*/ 0 h 815898"/>
                <a:gd name="connsiteX6" fmla="*/ 815899 w 815899"/>
                <a:gd name="connsiteY6" fmla="*/ 407949 h 815898"/>
                <a:gd name="connsiteX7" fmla="*/ 407950 w 815899"/>
                <a:gd name="connsiteY7" fmla="*/ 815898 h 815898"/>
                <a:gd name="connsiteX8" fmla="*/ 0 w 815899"/>
                <a:gd name="connsiteY8" fmla="*/ 407949 h 815898"/>
                <a:gd name="connsiteX9" fmla="*/ 407950 w 815899"/>
                <a:gd name="connsiteY9" fmla="*/ 0 h 815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15899" h="815898">
                  <a:moveTo>
                    <a:pt x="407949" y="174058"/>
                  </a:moveTo>
                  <a:cubicBezTo>
                    <a:pt x="342677" y="174058"/>
                    <a:pt x="293723" y="263807"/>
                    <a:pt x="293723" y="407950"/>
                  </a:cubicBezTo>
                  <a:cubicBezTo>
                    <a:pt x="293723" y="552091"/>
                    <a:pt x="331799" y="639120"/>
                    <a:pt x="410669" y="641840"/>
                  </a:cubicBezTo>
                  <a:cubicBezTo>
                    <a:pt x="489539" y="641840"/>
                    <a:pt x="527614" y="552091"/>
                    <a:pt x="522175" y="407950"/>
                  </a:cubicBezTo>
                  <a:cubicBezTo>
                    <a:pt x="522175" y="263807"/>
                    <a:pt x="473221" y="176778"/>
                    <a:pt x="407949" y="174058"/>
                  </a:cubicBezTo>
                  <a:close/>
                  <a:moveTo>
                    <a:pt x="407950" y="0"/>
                  </a:moveTo>
                  <a:cubicBezTo>
                    <a:pt x="633682" y="0"/>
                    <a:pt x="815899" y="182217"/>
                    <a:pt x="815899" y="407949"/>
                  </a:cubicBezTo>
                  <a:cubicBezTo>
                    <a:pt x="815899" y="633681"/>
                    <a:pt x="633682" y="815898"/>
                    <a:pt x="407950" y="815898"/>
                  </a:cubicBezTo>
                  <a:cubicBezTo>
                    <a:pt x="182218" y="815898"/>
                    <a:pt x="0" y="633681"/>
                    <a:pt x="0" y="407949"/>
                  </a:cubicBezTo>
                  <a:cubicBezTo>
                    <a:pt x="0" y="182217"/>
                    <a:pt x="182218" y="0"/>
                    <a:pt x="407950" y="0"/>
                  </a:cubicBezTo>
                  <a:close/>
                </a:path>
              </a:pathLst>
            </a:custGeom>
            <a:solidFill>
              <a:srgbClr val="FFFFFF"/>
            </a:solidFill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DEDACB9B-77C7-4D7B-86A8-863585F8650B}"/>
                </a:ext>
              </a:extLst>
            </p:cNvPr>
            <p:cNvSpPr/>
            <p:nvPr/>
          </p:nvSpPr>
          <p:spPr>
            <a:xfrm>
              <a:off x="1367681" y="271544"/>
              <a:ext cx="268801" cy="360397"/>
            </a:xfrm>
            <a:custGeom>
              <a:avLst/>
              <a:gdLst>
                <a:gd name="connsiteX0" fmla="*/ 387907 w 912802"/>
                <a:gd name="connsiteY0" fmla="*/ 620081 h 1223846"/>
                <a:gd name="connsiteX1" fmla="*/ 273681 w 912802"/>
                <a:gd name="connsiteY1" fmla="*/ 824055 h 1223846"/>
                <a:gd name="connsiteX2" fmla="*/ 390627 w 912802"/>
                <a:gd name="connsiteY2" fmla="*/ 1028029 h 1223846"/>
                <a:gd name="connsiteX3" fmla="*/ 502132 w 912802"/>
                <a:gd name="connsiteY3" fmla="*/ 824055 h 1223846"/>
                <a:gd name="connsiteX4" fmla="*/ 387907 w 912802"/>
                <a:gd name="connsiteY4" fmla="*/ 620081 h 1223846"/>
                <a:gd name="connsiteX5" fmla="*/ 676192 w 912802"/>
                <a:gd name="connsiteY5" fmla="*/ 0 h 1223846"/>
                <a:gd name="connsiteX6" fmla="*/ 825773 w 912802"/>
                <a:gd name="connsiteY6" fmla="*/ 149581 h 1223846"/>
                <a:gd name="connsiteX7" fmla="*/ 825773 w 912802"/>
                <a:gd name="connsiteY7" fmla="*/ 1000834 h 1223846"/>
                <a:gd name="connsiteX8" fmla="*/ 836651 w 912802"/>
                <a:gd name="connsiteY8" fmla="*/ 1076985 h 1223846"/>
                <a:gd name="connsiteX9" fmla="*/ 912802 w 912802"/>
                <a:gd name="connsiteY9" fmla="*/ 1150415 h 1223846"/>
                <a:gd name="connsiteX10" fmla="*/ 774099 w 912802"/>
                <a:gd name="connsiteY10" fmla="*/ 1221126 h 1223846"/>
                <a:gd name="connsiteX11" fmla="*/ 553807 w 912802"/>
                <a:gd name="connsiteY11" fmla="*/ 1098742 h 1223846"/>
                <a:gd name="connsiteX12" fmla="*/ 548367 w 912802"/>
                <a:gd name="connsiteY12" fmla="*/ 1085144 h 1223846"/>
                <a:gd name="connsiteX13" fmla="*/ 398786 w 912802"/>
                <a:gd name="connsiteY13" fmla="*/ 1212967 h 1223846"/>
                <a:gd name="connsiteX14" fmla="*/ 156736 w 912802"/>
                <a:gd name="connsiteY14" fmla="*/ 1180332 h 1223846"/>
                <a:gd name="connsiteX15" fmla="*/ 287280 w 912802"/>
                <a:gd name="connsiteY15" fmla="*/ 416107 h 1223846"/>
                <a:gd name="connsiteX16" fmla="*/ 526611 w 912802"/>
                <a:gd name="connsiteY16" fmla="*/ 552091 h 1223846"/>
                <a:gd name="connsiteX17" fmla="*/ 526611 w 912802"/>
                <a:gd name="connsiteY17" fmla="*/ 149581 h 1223846"/>
                <a:gd name="connsiteX18" fmla="*/ 676192 w 912802"/>
                <a:gd name="connsiteY18" fmla="*/ 0 h 1223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912802" h="1223846">
                  <a:moveTo>
                    <a:pt x="387907" y="620081"/>
                  </a:moveTo>
                  <a:cubicBezTo>
                    <a:pt x="322635" y="620081"/>
                    <a:pt x="273681" y="698951"/>
                    <a:pt x="273681" y="824055"/>
                  </a:cubicBezTo>
                  <a:cubicBezTo>
                    <a:pt x="273681" y="949160"/>
                    <a:pt x="311756" y="1028029"/>
                    <a:pt x="390627" y="1028029"/>
                  </a:cubicBezTo>
                  <a:cubicBezTo>
                    <a:pt x="466777" y="1025310"/>
                    <a:pt x="504852" y="949160"/>
                    <a:pt x="502132" y="824055"/>
                  </a:cubicBezTo>
                  <a:cubicBezTo>
                    <a:pt x="502132" y="698951"/>
                    <a:pt x="455898" y="622801"/>
                    <a:pt x="387907" y="620081"/>
                  </a:cubicBezTo>
                  <a:close/>
                  <a:moveTo>
                    <a:pt x="676192" y="0"/>
                  </a:moveTo>
                  <a:cubicBezTo>
                    <a:pt x="757781" y="0"/>
                    <a:pt x="825773" y="67992"/>
                    <a:pt x="825773" y="149581"/>
                  </a:cubicBezTo>
                  <a:lnTo>
                    <a:pt x="825773" y="1000834"/>
                  </a:lnTo>
                  <a:cubicBezTo>
                    <a:pt x="828492" y="1025311"/>
                    <a:pt x="831212" y="1052508"/>
                    <a:pt x="836651" y="1076985"/>
                  </a:cubicBezTo>
                  <a:cubicBezTo>
                    <a:pt x="861128" y="1139537"/>
                    <a:pt x="912802" y="1150415"/>
                    <a:pt x="912802" y="1150415"/>
                  </a:cubicBezTo>
                  <a:cubicBezTo>
                    <a:pt x="912802" y="1150415"/>
                    <a:pt x="861128" y="1221126"/>
                    <a:pt x="774099" y="1221126"/>
                  </a:cubicBezTo>
                  <a:cubicBezTo>
                    <a:pt x="670752" y="1221126"/>
                    <a:pt x="589162" y="1166733"/>
                    <a:pt x="553807" y="1098742"/>
                  </a:cubicBezTo>
                  <a:cubicBezTo>
                    <a:pt x="551087" y="1093303"/>
                    <a:pt x="551087" y="1090583"/>
                    <a:pt x="548367" y="1085144"/>
                  </a:cubicBezTo>
                  <a:cubicBezTo>
                    <a:pt x="534769" y="1147696"/>
                    <a:pt x="450460" y="1199369"/>
                    <a:pt x="398786" y="1212967"/>
                  </a:cubicBezTo>
                  <a:cubicBezTo>
                    <a:pt x="322636" y="1234725"/>
                    <a:pt x="222008" y="1223846"/>
                    <a:pt x="156736" y="1180332"/>
                  </a:cubicBezTo>
                  <a:cubicBezTo>
                    <a:pt x="-79874" y="1028031"/>
                    <a:pt x="-58117" y="416107"/>
                    <a:pt x="287280" y="416107"/>
                  </a:cubicBezTo>
                  <a:cubicBezTo>
                    <a:pt x="412385" y="416107"/>
                    <a:pt x="491255" y="503137"/>
                    <a:pt x="526611" y="552091"/>
                  </a:cubicBezTo>
                  <a:lnTo>
                    <a:pt x="526611" y="149581"/>
                  </a:lnTo>
                  <a:cubicBezTo>
                    <a:pt x="526611" y="67992"/>
                    <a:pt x="594602" y="0"/>
                    <a:pt x="676192" y="0"/>
                  </a:cubicBezTo>
                  <a:close/>
                </a:path>
              </a:pathLst>
            </a:custGeom>
            <a:solidFill>
              <a:srgbClr val="FFFFFF"/>
            </a:solidFill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68DBE358-78A9-4A94-A6F9-8F3A8AC620ED}"/>
                </a:ext>
              </a:extLst>
            </p:cNvPr>
            <p:cNvSpPr/>
            <p:nvPr/>
          </p:nvSpPr>
          <p:spPr>
            <a:xfrm>
              <a:off x="1634079" y="394079"/>
              <a:ext cx="220242" cy="238663"/>
            </a:xfrm>
            <a:custGeom>
              <a:avLst/>
              <a:gdLst>
                <a:gd name="connsiteX0" fmla="*/ 394818 w 747906"/>
                <a:gd name="connsiteY0" fmla="*/ 163222 h 810458"/>
                <a:gd name="connsiteX1" fmla="*/ 356275 w 747906"/>
                <a:gd name="connsiteY1" fmla="*/ 174058 h 810458"/>
                <a:gd name="connsiteX2" fmla="*/ 274685 w 747906"/>
                <a:gd name="connsiteY2" fmla="*/ 356275 h 810458"/>
                <a:gd name="connsiteX3" fmla="*/ 375313 w 747906"/>
                <a:gd name="connsiteY3" fmla="*/ 358994 h 810458"/>
                <a:gd name="connsiteX4" fmla="*/ 473220 w 747906"/>
                <a:gd name="connsiteY4" fmla="*/ 239329 h 810458"/>
                <a:gd name="connsiteX5" fmla="*/ 394818 w 747906"/>
                <a:gd name="connsiteY5" fmla="*/ 163222 h 810458"/>
                <a:gd name="connsiteX6" fmla="*/ 386192 w 747906"/>
                <a:gd name="connsiteY6" fmla="*/ 0 h 810458"/>
                <a:gd name="connsiteX7" fmla="*/ 747906 w 747906"/>
                <a:gd name="connsiteY7" fmla="*/ 266526 h 810458"/>
                <a:gd name="connsiteX8" fmla="*/ 291004 w 747906"/>
                <a:gd name="connsiteY8" fmla="*/ 484100 h 810458"/>
                <a:gd name="connsiteX9" fmla="*/ 497698 w 747906"/>
                <a:gd name="connsiteY9" fmla="*/ 617363 h 810458"/>
                <a:gd name="connsiteX10" fmla="*/ 712551 w 747906"/>
                <a:gd name="connsiteY10" fmla="*/ 557530 h 810458"/>
                <a:gd name="connsiteX11" fmla="*/ 388912 w 747906"/>
                <a:gd name="connsiteY11" fmla="*/ 810458 h 810458"/>
                <a:gd name="connsiteX12" fmla="*/ 0 w 747906"/>
                <a:gd name="connsiteY12" fmla="*/ 413389 h 810458"/>
                <a:gd name="connsiteX13" fmla="*/ 386192 w 747906"/>
                <a:gd name="connsiteY13" fmla="*/ 0 h 8104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747906" h="810458">
                  <a:moveTo>
                    <a:pt x="394818" y="163222"/>
                  </a:moveTo>
                  <a:cubicBezTo>
                    <a:pt x="381772" y="163179"/>
                    <a:pt x="368514" y="166579"/>
                    <a:pt x="356275" y="174058"/>
                  </a:cubicBezTo>
                  <a:cubicBezTo>
                    <a:pt x="299162" y="212133"/>
                    <a:pt x="282844" y="291003"/>
                    <a:pt x="274685" y="356275"/>
                  </a:cubicBezTo>
                  <a:cubicBezTo>
                    <a:pt x="274685" y="364434"/>
                    <a:pt x="369873" y="358994"/>
                    <a:pt x="375313" y="358994"/>
                  </a:cubicBezTo>
                  <a:cubicBezTo>
                    <a:pt x="432425" y="345396"/>
                    <a:pt x="473220" y="301881"/>
                    <a:pt x="473220" y="239329"/>
                  </a:cubicBezTo>
                  <a:cubicBezTo>
                    <a:pt x="471181" y="194455"/>
                    <a:pt x="433956" y="163349"/>
                    <a:pt x="394818" y="163222"/>
                  </a:cubicBezTo>
                  <a:close/>
                  <a:moveTo>
                    <a:pt x="386192" y="0"/>
                  </a:moveTo>
                  <a:cubicBezTo>
                    <a:pt x="519455" y="0"/>
                    <a:pt x="747906" y="65272"/>
                    <a:pt x="747906" y="266526"/>
                  </a:cubicBezTo>
                  <a:cubicBezTo>
                    <a:pt x="747906" y="467782"/>
                    <a:pt x="538493" y="484100"/>
                    <a:pt x="291004" y="484100"/>
                  </a:cubicBezTo>
                  <a:cubicBezTo>
                    <a:pt x="291004" y="484100"/>
                    <a:pt x="326359" y="617363"/>
                    <a:pt x="497698" y="617363"/>
                  </a:cubicBezTo>
                  <a:cubicBezTo>
                    <a:pt x="669036" y="617363"/>
                    <a:pt x="712551" y="557530"/>
                    <a:pt x="712551" y="557530"/>
                  </a:cubicBezTo>
                  <a:cubicBezTo>
                    <a:pt x="712551" y="557530"/>
                    <a:pt x="696233" y="810458"/>
                    <a:pt x="388912" y="810458"/>
                  </a:cubicBezTo>
                  <a:cubicBezTo>
                    <a:pt x="212134" y="810458"/>
                    <a:pt x="0" y="677195"/>
                    <a:pt x="0" y="413389"/>
                  </a:cubicBezTo>
                  <a:cubicBezTo>
                    <a:pt x="0" y="176778"/>
                    <a:pt x="163180" y="0"/>
                    <a:pt x="386192" y="0"/>
                  </a:cubicBezTo>
                  <a:close/>
                </a:path>
              </a:pathLst>
            </a:custGeom>
            <a:solidFill>
              <a:srgbClr val="FFFFFF"/>
            </a:solidFill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6C3BCDA8-E0D6-47C2-A2AF-52151D12E9A8}"/>
                </a:ext>
              </a:extLst>
            </p:cNvPr>
            <p:cNvSpPr/>
            <p:nvPr/>
          </p:nvSpPr>
          <p:spPr>
            <a:xfrm>
              <a:off x="1987268" y="394079"/>
              <a:ext cx="220242" cy="238663"/>
            </a:xfrm>
            <a:custGeom>
              <a:avLst/>
              <a:gdLst>
                <a:gd name="connsiteX0" fmla="*/ 394818 w 747906"/>
                <a:gd name="connsiteY0" fmla="*/ 163222 h 810458"/>
                <a:gd name="connsiteX1" fmla="*/ 356275 w 747906"/>
                <a:gd name="connsiteY1" fmla="*/ 174058 h 810458"/>
                <a:gd name="connsiteX2" fmla="*/ 274685 w 747906"/>
                <a:gd name="connsiteY2" fmla="*/ 356275 h 810458"/>
                <a:gd name="connsiteX3" fmla="*/ 375313 w 747906"/>
                <a:gd name="connsiteY3" fmla="*/ 358994 h 810458"/>
                <a:gd name="connsiteX4" fmla="*/ 473220 w 747906"/>
                <a:gd name="connsiteY4" fmla="*/ 239329 h 810458"/>
                <a:gd name="connsiteX5" fmla="*/ 394818 w 747906"/>
                <a:gd name="connsiteY5" fmla="*/ 163222 h 810458"/>
                <a:gd name="connsiteX6" fmla="*/ 386192 w 747906"/>
                <a:gd name="connsiteY6" fmla="*/ 0 h 810458"/>
                <a:gd name="connsiteX7" fmla="*/ 747906 w 747906"/>
                <a:gd name="connsiteY7" fmla="*/ 266526 h 810458"/>
                <a:gd name="connsiteX8" fmla="*/ 291004 w 747906"/>
                <a:gd name="connsiteY8" fmla="*/ 484100 h 810458"/>
                <a:gd name="connsiteX9" fmla="*/ 497697 w 747906"/>
                <a:gd name="connsiteY9" fmla="*/ 617363 h 810458"/>
                <a:gd name="connsiteX10" fmla="*/ 712551 w 747906"/>
                <a:gd name="connsiteY10" fmla="*/ 557530 h 810458"/>
                <a:gd name="connsiteX11" fmla="*/ 388911 w 747906"/>
                <a:gd name="connsiteY11" fmla="*/ 810458 h 810458"/>
                <a:gd name="connsiteX12" fmla="*/ 0 w 747906"/>
                <a:gd name="connsiteY12" fmla="*/ 413389 h 810458"/>
                <a:gd name="connsiteX13" fmla="*/ 386192 w 747906"/>
                <a:gd name="connsiteY13" fmla="*/ 0 h 8104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747906" h="810458">
                  <a:moveTo>
                    <a:pt x="394818" y="163222"/>
                  </a:moveTo>
                  <a:cubicBezTo>
                    <a:pt x="381772" y="163179"/>
                    <a:pt x="368514" y="166579"/>
                    <a:pt x="356275" y="174058"/>
                  </a:cubicBezTo>
                  <a:cubicBezTo>
                    <a:pt x="299162" y="212133"/>
                    <a:pt x="282844" y="291003"/>
                    <a:pt x="274685" y="356275"/>
                  </a:cubicBezTo>
                  <a:cubicBezTo>
                    <a:pt x="274685" y="364434"/>
                    <a:pt x="369873" y="358994"/>
                    <a:pt x="375313" y="358994"/>
                  </a:cubicBezTo>
                  <a:cubicBezTo>
                    <a:pt x="432426" y="345396"/>
                    <a:pt x="473220" y="301881"/>
                    <a:pt x="473220" y="239329"/>
                  </a:cubicBezTo>
                  <a:cubicBezTo>
                    <a:pt x="471181" y="194455"/>
                    <a:pt x="433955" y="163349"/>
                    <a:pt x="394818" y="163222"/>
                  </a:cubicBezTo>
                  <a:close/>
                  <a:moveTo>
                    <a:pt x="386192" y="0"/>
                  </a:moveTo>
                  <a:cubicBezTo>
                    <a:pt x="519455" y="0"/>
                    <a:pt x="747906" y="65272"/>
                    <a:pt x="747906" y="266526"/>
                  </a:cubicBezTo>
                  <a:cubicBezTo>
                    <a:pt x="747906" y="467782"/>
                    <a:pt x="538492" y="484100"/>
                    <a:pt x="291004" y="484100"/>
                  </a:cubicBezTo>
                  <a:cubicBezTo>
                    <a:pt x="291004" y="484100"/>
                    <a:pt x="326359" y="617363"/>
                    <a:pt x="497697" y="617363"/>
                  </a:cubicBezTo>
                  <a:cubicBezTo>
                    <a:pt x="669036" y="617363"/>
                    <a:pt x="712551" y="557530"/>
                    <a:pt x="712551" y="557530"/>
                  </a:cubicBezTo>
                  <a:cubicBezTo>
                    <a:pt x="712551" y="557530"/>
                    <a:pt x="696233" y="810458"/>
                    <a:pt x="388911" y="810458"/>
                  </a:cubicBezTo>
                  <a:cubicBezTo>
                    <a:pt x="212133" y="810458"/>
                    <a:pt x="0" y="677195"/>
                    <a:pt x="0" y="413389"/>
                  </a:cubicBezTo>
                  <a:cubicBezTo>
                    <a:pt x="0" y="176778"/>
                    <a:pt x="163180" y="0"/>
                    <a:pt x="386192" y="0"/>
                  </a:cubicBezTo>
                  <a:close/>
                </a:path>
              </a:pathLst>
            </a:custGeom>
            <a:solidFill>
              <a:srgbClr val="FFFFFF"/>
            </a:solidFill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9F0CC119-4F7D-4E52-B14F-6D057AEF824D}"/>
                </a:ext>
              </a:extLst>
            </p:cNvPr>
            <p:cNvSpPr/>
            <p:nvPr/>
          </p:nvSpPr>
          <p:spPr>
            <a:xfrm>
              <a:off x="2191793" y="368137"/>
              <a:ext cx="264291" cy="280308"/>
            </a:xfrm>
            <a:custGeom>
              <a:avLst/>
              <a:gdLst>
                <a:gd name="connsiteX0" fmla="*/ 580988 w 897487"/>
                <a:gd name="connsiteY0" fmla="*/ 667381 h 951879"/>
                <a:gd name="connsiteX1" fmla="*/ 409649 w 897487"/>
                <a:gd name="connsiteY1" fmla="*/ 667381 h 951879"/>
                <a:gd name="connsiteX2" fmla="*/ 591866 w 897487"/>
                <a:gd name="connsiteY2" fmla="*/ 525959 h 951879"/>
                <a:gd name="connsiteX3" fmla="*/ 842075 w 897487"/>
                <a:gd name="connsiteY3" fmla="*/ 123450 h 951879"/>
                <a:gd name="connsiteX4" fmla="*/ 842075 w 897487"/>
                <a:gd name="connsiteY4" fmla="*/ 123450 h 951879"/>
                <a:gd name="connsiteX5" fmla="*/ 798560 w 897487"/>
                <a:gd name="connsiteY5" fmla="*/ 58178 h 951879"/>
                <a:gd name="connsiteX6" fmla="*/ 746887 w 897487"/>
                <a:gd name="connsiteY6" fmla="*/ 107132 h 951879"/>
                <a:gd name="connsiteX7" fmla="*/ 697933 w 897487"/>
                <a:gd name="connsiteY7" fmla="*/ 115291 h 951879"/>
                <a:gd name="connsiteX8" fmla="*/ 219273 w 897487"/>
                <a:gd name="connsiteY8" fmla="*/ 115291 h 951879"/>
                <a:gd name="connsiteX9" fmla="*/ 102328 w 897487"/>
                <a:gd name="connsiteY9" fmla="*/ 224077 h 951879"/>
                <a:gd name="connsiteX10" fmla="*/ 213834 w 897487"/>
                <a:gd name="connsiteY10" fmla="*/ 332863 h 951879"/>
                <a:gd name="connsiteX11" fmla="*/ 485800 w 897487"/>
                <a:gd name="connsiteY11" fmla="*/ 335583 h 951879"/>
                <a:gd name="connsiteX12" fmla="*/ 134964 w 897487"/>
                <a:gd name="connsiteY12" fmla="*/ 615708 h 951879"/>
                <a:gd name="connsiteX13" fmla="*/ 61533 w 897487"/>
                <a:gd name="connsiteY13" fmla="*/ 884953 h 951879"/>
                <a:gd name="connsiteX14" fmla="*/ 398771 w 897487"/>
                <a:gd name="connsiteY14" fmla="*/ 806083 h 951879"/>
                <a:gd name="connsiteX15" fmla="*/ 529314 w 897487"/>
                <a:gd name="connsiteY15" fmla="*/ 863196 h 951879"/>
                <a:gd name="connsiteX16" fmla="*/ 782242 w 897487"/>
                <a:gd name="connsiteY16" fmla="*/ 607549 h 951879"/>
                <a:gd name="connsiteX17" fmla="*/ 580988 w 897487"/>
                <a:gd name="connsiteY17" fmla="*/ 667381 h 9518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897487" h="951879">
                  <a:moveTo>
                    <a:pt x="580988" y="667381"/>
                  </a:moveTo>
                  <a:lnTo>
                    <a:pt x="409649" y="667381"/>
                  </a:lnTo>
                  <a:cubicBezTo>
                    <a:pt x="423248" y="667381"/>
                    <a:pt x="548352" y="561314"/>
                    <a:pt x="591866" y="525959"/>
                  </a:cubicBezTo>
                  <a:cubicBezTo>
                    <a:pt x="700653" y="433491"/>
                    <a:pt x="899188" y="297508"/>
                    <a:pt x="842075" y="123450"/>
                  </a:cubicBezTo>
                  <a:lnTo>
                    <a:pt x="842075" y="123450"/>
                  </a:lnTo>
                  <a:cubicBezTo>
                    <a:pt x="831197" y="82655"/>
                    <a:pt x="798560" y="58178"/>
                    <a:pt x="798560" y="58178"/>
                  </a:cubicBezTo>
                  <a:cubicBezTo>
                    <a:pt x="798560" y="58178"/>
                    <a:pt x="787682" y="90814"/>
                    <a:pt x="746887" y="107132"/>
                  </a:cubicBezTo>
                  <a:cubicBezTo>
                    <a:pt x="730569" y="109852"/>
                    <a:pt x="714251" y="115291"/>
                    <a:pt x="697933" y="115291"/>
                  </a:cubicBezTo>
                  <a:cubicBezTo>
                    <a:pt x="684334" y="115291"/>
                    <a:pt x="219273" y="115291"/>
                    <a:pt x="219273" y="115291"/>
                  </a:cubicBezTo>
                  <a:cubicBezTo>
                    <a:pt x="156721" y="115291"/>
                    <a:pt x="105048" y="166964"/>
                    <a:pt x="102328" y="224077"/>
                  </a:cubicBezTo>
                  <a:cubicBezTo>
                    <a:pt x="102328" y="283910"/>
                    <a:pt x="151282" y="332863"/>
                    <a:pt x="213834" y="332863"/>
                  </a:cubicBezTo>
                  <a:lnTo>
                    <a:pt x="485800" y="335583"/>
                  </a:lnTo>
                  <a:cubicBezTo>
                    <a:pt x="360695" y="406294"/>
                    <a:pt x="211114" y="487884"/>
                    <a:pt x="134964" y="615708"/>
                  </a:cubicBezTo>
                  <a:cubicBezTo>
                    <a:pt x="91449" y="689138"/>
                    <a:pt x="45215" y="800644"/>
                    <a:pt x="61533" y="884953"/>
                  </a:cubicBezTo>
                  <a:cubicBezTo>
                    <a:pt x="121366" y="830560"/>
                    <a:pt x="279106" y="778887"/>
                    <a:pt x="398771" y="806083"/>
                  </a:cubicBezTo>
                  <a:cubicBezTo>
                    <a:pt x="445005" y="814242"/>
                    <a:pt x="491239" y="838719"/>
                    <a:pt x="529314" y="863196"/>
                  </a:cubicBezTo>
                  <a:cubicBezTo>
                    <a:pt x="755046" y="1004618"/>
                    <a:pt x="891029" y="727213"/>
                    <a:pt x="782242" y="607549"/>
                  </a:cubicBezTo>
                  <a:cubicBezTo>
                    <a:pt x="784962" y="607549"/>
                    <a:pt x="722410" y="667381"/>
                    <a:pt x="580988" y="667381"/>
                  </a:cubicBezTo>
                </a:path>
              </a:pathLst>
            </a:custGeom>
            <a:solidFill>
              <a:srgbClr val="FFFFFF"/>
            </a:solidFill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036E956D-057B-4544-9B1F-6F10ED1D1D12}"/>
                </a:ext>
              </a:extLst>
            </p:cNvPr>
            <p:cNvSpPr/>
            <p:nvPr/>
          </p:nvSpPr>
          <p:spPr>
            <a:xfrm>
              <a:off x="407616" y="272031"/>
              <a:ext cx="560617" cy="464511"/>
            </a:xfrm>
            <a:custGeom>
              <a:avLst/>
              <a:gdLst>
                <a:gd name="connsiteX0" fmla="*/ 1559430 w 1903760"/>
                <a:gd name="connsiteY0" fmla="*/ 1165078 h 1577399"/>
                <a:gd name="connsiteX1" fmla="*/ 1369054 w 1903760"/>
                <a:gd name="connsiteY1" fmla="*/ 593950 h 1577399"/>
                <a:gd name="connsiteX2" fmla="*/ 1483279 w 1903760"/>
                <a:gd name="connsiteY2" fmla="*/ 126170 h 1577399"/>
                <a:gd name="connsiteX3" fmla="*/ 1311941 w 1903760"/>
                <a:gd name="connsiteY3" fmla="*/ 58178 h 1577399"/>
                <a:gd name="connsiteX4" fmla="*/ 1078050 w 1903760"/>
                <a:gd name="connsiteY4" fmla="*/ 205040 h 1577399"/>
                <a:gd name="connsiteX5" fmla="*/ 846879 w 1903760"/>
                <a:gd name="connsiteY5" fmla="*/ 523239 h 1577399"/>
                <a:gd name="connsiteX6" fmla="*/ 645624 w 1903760"/>
                <a:gd name="connsiteY6" fmla="*/ 210479 h 1577399"/>
                <a:gd name="connsiteX7" fmla="*/ 455248 w 1903760"/>
                <a:gd name="connsiteY7" fmla="*/ 63617 h 1577399"/>
                <a:gd name="connsiteX8" fmla="*/ 234956 w 1903760"/>
                <a:gd name="connsiteY8" fmla="*/ 137048 h 1577399"/>
                <a:gd name="connsiteX9" fmla="*/ 316546 w 1903760"/>
                <a:gd name="connsiteY9" fmla="*/ 588511 h 1577399"/>
                <a:gd name="connsiteX10" fmla="*/ 58178 w 1903760"/>
                <a:gd name="connsiteY10" fmla="*/ 1072610 h 1577399"/>
                <a:gd name="connsiteX11" fmla="*/ 474286 w 1903760"/>
                <a:gd name="connsiteY11" fmla="*/ 1020936 h 1577399"/>
                <a:gd name="connsiteX12" fmla="*/ 555876 w 1903760"/>
                <a:gd name="connsiteY12" fmla="*/ 572193 h 1577399"/>
                <a:gd name="connsiteX13" fmla="*/ 830561 w 1903760"/>
                <a:gd name="connsiteY13" fmla="*/ 993740 h 1577399"/>
                <a:gd name="connsiteX14" fmla="*/ 1140602 w 1903760"/>
                <a:gd name="connsiteY14" fmla="*/ 574913 h 1577399"/>
                <a:gd name="connsiteX15" fmla="*/ 1567589 w 1903760"/>
                <a:gd name="connsiteY15" fmla="*/ 1526792 h 1577399"/>
                <a:gd name="connsiteX16" fmla="*/ 1866751 w 1903760"/>
                <a:gd name="connsiteY16" fmla="*/ 1322818 h 1577399"/>
                <a:gd name="connsiteX17" fmla="*/ 1559430 w 1903760"/>
                <a:gd name="connsiteY17" fmla="*/ 1165078 h 15773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903760" h="1577399">
                  <a:moveTo>
                    <a:pt x="1559430" y="1165078"/>
                  </a:moveTo>
                  <a:cubicBezTo>
                    <a:pt x="1420727" y="1012777"/>
                    <a:pt x="1377213" y="762569"/>
                    <a:pt x="1369054" y="593950"/>
                  </a:cubicBezTo>
                  <a:cubicBezTo>
                    <a:pt x="1360895" y="449809"/>
                    <a:pt x="1369054" y="199600"/>
                    <a:pt x="1483279" y="126170"/>
                  </a:cubicBezTo>
                  <a:cubicBezTo>
                    <a:pt x="1445204" y="77216"/>
                    <a:pt x="1369054" y="58178"/>
                    <a:pt x="1311941" y="58178"/>
                  </a:cubicBezTo>
                  <a:cubicBezTo>
                    <a:pt x="1184117" y="58178"/>
                    <a:pt x="1121565" y="142488"/>
                    <a:pt x="1078050" y="205040"/>
                  </a:cubicBezTo>
                  <a:cubicBezTo>
                    <a:pt x="1064452" y="224077"/>
                    <a:pt x="846879" y="523239"/>
                    <a:pt x="846879" y="523239"/>
                  </a:cubicBezTo>
                  <a:cubicBezTo>
                    <a:pt x="846879" y="523239"/>
                    <a:pt x="667382" y="243115"/>
                    <a:pt x="645624" y="210479"/>
                  </a:cubicBezTo>
                  <a:cubicBezTo>
                    <a:pt x="615708" y="164245"/>
                    <a:pt x="555876" y="77216"/>
                    <a:pt x="455248" y="63617"/>
                  </a:cubicBezTo>
                  <a:cubicBezTo>
                    <a:pt x="411734" y="58178"/>
                    <a:pt x="297508" y="52739"/>
                    <a:pt x="234956" y="137048"/>
                  </a:cubicBezTo>
                  <a:cubicBezTo>
                    <a:pt x="341023" y="221357"/>
                    <a:pt x="338303" y="438930"/>
                    <a:pt x="316546" y="588511"/>
                  </a:cubicBezTo>
                  <a:cubicBezTo>
                    <a:pt x="248554" y="1031815"/>
                    <a:pt x="58178" y="1072610"/>
                    <a:pt x="58178" y="1072610"/>
                  </a:cubicBezTo>
                  <a:cubicBezTo>
                    <a:pt x="156086" y="1333696"/>
                    <a:pt x="403575" y="1230350"/>
                    <a:pt x="474286" y="1020936"/>
                  </a:cubicBezTo>
                  <a:cubicBezTo>
                    <a:pt x="520520" y="884953"/>
                    <a:pt x="550436" y="713615"/>
                    <a:pt x="555876" y="572193"/>
                  </a:cubicBezTo>
                  <a:lnTo>
                    <a:pt x="830561" y="993740"/>
                  </a:lnTo>
                  <a:cubicBezTo>
                    <a:pt x="830561" y="993740"/>
                    <a:pt x="1140602" y="574913"/>
                    <a:pt x="1140602" y="574913"/>
                  </a:cubicBezTo>
                  <a:cubicBezTo>
                    <a:pt x="1088929" y="1314659"/>
                    <a:pt x="1344577" y="1526792"/>
                    <a:pt x="1567589" y="1526792"/>
                  </a:cubicBezTo>
                  <a:cubicBezTo>
                    <a:pt x="1790601" y="1526792"/>
                    <a:pt x="1866751" y="1322818"/>
                    <a:pt x="1866751" y="1322818"/>
                  </a:cubicBezTo>
                  <a:cubicBezTo>
                    <a:pt x="1744367" y="1314659"/>
                    <a:pt x="1641019" y="1252107"/>
                    <a:pt x="1559430" y="1165078"/>
                  </a:cubicBezTo>
                </a:path>
              </a:pathLst>
            </a:custGeom>
            <a:solidFill>
              <a:srgbClr val="FFFFFF"/>
            </a:solidFill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38445FE2-B427-4746-8DF8-B635BF355D5E}"/>
                </a:ext>
              </a:extLst>
            </p:cNvPr>
            <p:cNvSpPr/>
            <p:nvPr/>
          </p:nvSpPr>
          <p:spPr>
            <a:xfrm>
              <a:off x="1045918" y="650848"/>
              <a:ext cx="80088" cy="192211"/>
            </a:xfrm>
            <a:custGeom>
              <a:avLst/>
              <a:gdLst>
                <a:gd name="connsiteX0" fmla="*/ 88095 w 271965"/>
                <a:gd name="connsiteY0" fmla="*/ 120730 h 652717"/>
                <a:gd name="connsiteX1" fmla="*/ 93534 w 271965"/>
                <a:gd name="connsiteY1" fmla="*/ 153366 h 652717"/>
                <a:gd name="connsiteX2" fmla="*/ 93534 w 271965"/>
                <a:gd name="connsiteY2" fmla="*/ 544997 h 652717"/>
                <a:gd name="connsiteX3" fmla="*/ 156086 w 271965"/>
                <a:gd name="connsiteY3" fmla="*/ 604829 h 652717"/>
                <a:gd name="connsiteX4" fmla="*/ 221358 w 271965"/>
                <a:gd name="connsiteY4" fmla="*/ 544997 h 652717"/>
                <a:gd name="connsiteX5" fmla="*/ 221358 w 271965"/>
                <a:gd name="connsiteY5" fmla="*/ 194161 h 652717"/>
                <a:gd name="connsiteX6" fmla="*/ 210479 w 271965"/>
                <a:gd name="connsiteY6" fmla="*/ 109852 h 652717"/>
                <a:gd name="connsiteX7" fmla="*/ 118011 w 271965"/>
                <a:gd name="connsiteY7" fmla="*/ 58178 h 652717"/>
                <a:gd name="connsiteX8" fmla="*/ 58178 w 271965"/>
                <a:gd name="connsiteY8" fmla="*/ 88094 h 652717"/>
                <a:gd name="connsiteX9" fmla="*/ 88095 w 271965"/>
                <a:gd name="connsiteY9" fmla="*/ 120730 h 6527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71965" h="652717">
                  <a:moveTo>
                    <a:pt x="88095" y="120730"/>
                  </a:moveTo>
                  <a:cubicBezTo>
                    <a:pt x="90814" y="131609"/>
                    <a:pt x="90814" y="142487"/>
                    <a:pt x="93534" y="153366"/>
                  </a:cubicBezTo>
                  <a:cubicBezTo>
                    <a:pt x="93534" y="156086"/>
                    <a:pt x="93534" y="542277"/>
                    <a:pt x="93534" y="544997"/>
                  </a:cubicBezTo>
                  <a:cubicBezTo>
                    <a:pt x="93534" y="577632"/>
                    <a:pt x="123450" y="604829"/>
                    <a:pt x="156086" y="604829"/>
                  </a:cubicBezTo>
                  <a:cubicBezTo>
                    <a:pt x="188722" y="607548"/>
                    <a:pt x="221358" y="577632"/>
                    <a:pt x="221358" y="544997"/>
                  </a:cubicBezTo>
                  <a:cubicBezTo>
                    <a:pt x="221358" y="539557"/>
                    <a:pt x="221358" y="194161"/>
                    <a:pt x="221358" y="194161"/>
                  </a:cubicBezTo>
                  <a:cubicBezTo>
                    <a:pt x="221358" y="164245"/>
                    <a:pt x="224078" y="134329"/>
                    <a:pt x="210479" y="109852"/>
                  </a:cubicBezTo>
                  <a:cubicBezTo>
                    <a:pt x="196881" y="79935"/>
                    <a:pt x="158806" y="58178"/>
                    <a:pt x="118011" y="58178"/>
                  </a:cubicBezTo>
                  <a:cubicBezTo>
                    <a:pt x="79936" y="58178"/>
                    <a:pt x="58178" y="88094"/>
                    <a:pt x="58178" y="88094"/>
                  </a:cubicBezTo>
                  <a:cubicBezTo>
                    <a:pt x="58178" y="88094"/>
                    <a:pt x="77216" y="93534"/>
                    <a:pt x="88095" y="120730"/>
                  </a:cubicBezTo>
                </a:path>
              </a:pathLst>
            </a:custGeom>
            <a:solidFill>
              <a:srgbClr val="FFFFFF"/>
            </a:solidFill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185F8DC5-F9D4-49E8-A475-459AA642E656}"/>
                </a:ext>
              </a:extLst>
            </p:cNvPr>
            <p:cNvSpPr/>
            <p:nvPr/>
          </p:nvSpPr>
          <p:spPr>
            <a:xfrm>
              <a:off x="2211937" y="650797"/>
              <a:ext cx="80088" cy="192211"/>
            </a:xfrm>
            <a:custGeom>
              <a:avLst/>
              <a:gdLst>
                <a:gd name="connsiteX0" fmla="*/ 191663 w 271965"/>
                <a:gd name="connsiteY0" fmla="*/ 542449 h 652717"/>
                <a:gd name="connsiteX1" fmla="*/ 186224 w 271965"/>
                <a:gd name="connsiteY1" fmla="*/ 509813 h 652717"/>
                <a:gd name="connsiteX2" fmla="*/ 186224 w 271965"/>
                <a:gd name="connsiteY2" fmla="*/ 118183 h 652717"/>
                <a:gd name="connsiteX3" fmla="*/ 123672 w 271965"/>
                <a:gd name="connsiteY3" fmla="*/ 58350 h 652717"/>
                <a:gd name="connsiteX4" fmla="*/ 58400 w 271965"/>
                <a:gd name="connsiteY4" fmla="*/ 118183 h 652717"/>
                <a:gd name="connsiteX5" fmla="*/ 58400 w 271965"/>
                <a:gd name="connsiteY5" fmla="*/ 469018 h 652717"/>
                <a:gd name="connsiteX6" fmla="*/ 69279 w 271965"/>
                <a:gd name="connsiteY6" fmla="*/ 553328 h 652717"/>
                <a:gd name="connsiteX7" fmla="*/ 161747 w 271965"/>
                <a:gd name="connsiteY7" fmla="*/ 605001 h 652717"/>
                <a:gd name="connsiteX8" fmla="*/ 221580 w 271965"/>
                <a:gd name="connsiteY8" fmla="*/ 575085 h 652717"/>
                <a:gd name="connsiteX9" fmla="*/ 191663 w 271965"/>
                <a:gd name="connsiteY9" fmla="*/ 542449 h 6527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71965" h="652717">
                  <a:moveTo>
                    <a:pt x="191663" y="542449"/>
                  </a:moveTo>
                  <a:cubicBezTo>
                    <a:pt x="188944" y="531570"/>
                    <a:pt x="186224" y="520692"/>
                    <a:pt x="186224" y="509813"/>
                  </a:cubicBezTo>
                  <a:cubicBezTo>
                    <a:pt x="186224" y="507093"/>
                    <a:pt x="186224" y="120902"/>
                    <a:pt x="186224" y="118183"/>
                  </a:cubicBezTo>
                  <a:cubicBezTo>
                    <a:pt x="186224" y="85547"/>
                    <a:pt x="156308" y="58350"/>
                    <a:pt x="123672" y="58350"/>
                  </a:cubicBezTo>
                  <a:cubicBezTo>
                    <a:pt x="91036" y="55631"/>
                    <a:pt x="58400" y="85547"/>
                    <a:pt x="58400" y="118183"/>
                  </a:cubicBezTo>
                  <a:cubicBezTo>
                    <a:pt x="58400" y="123622"/>
                    <a:pt x="58400" y="469018"/>
                    <a:pt x="58400" y="469018"/>
                  </a:cubicBezTo>
                  <a:cubicBezTo>
                    <a:pt x="58400" y="498934"/>
                    <a:pt x="55680" y="528851"/>
                    <a:pt x="69279" y="553328"/>
                  </a:cubicBezTo>
                  <a:cubicBezTo>
                    <a:pt x="82877" y="583244"/>
                    <a:pt x="120953" y="605001"/>
                    <a:pt x="161747" y="605001"/>
                  </a:cubicBezTo>
                  <a:cubicBezTo>
                    <a:pt x="199822" y="605001"/>
                    <a:pt x="221580" y="575085"/>
                    <a:pt x="221580" y="575085"/>
                  </a:cubicBezTo>
                  <a:cubicBezTo>
                    <a:pt x="221580" y="575085"/>
                    <a:pt x="202542" y="566926"/>
                    <a:pt x="191663" y="542449"/>
                  </a:cubicBezTo>
                </a:path>
              </a:pathLst>
            </a:custGeom>
            <a:solidFill>
              <a:srgbClr val="FFFFFF"/>
            </a:solidFill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73369137-60D0-454D-821D-42F23AEE3575}"/>
                </a:ext>
              </a:extLst>
            </p:cNvPr>
            <p:cNvSpPr/>
            <p:nvPr/>
          </p:nvSpPr>
          <p:spPr>
            <a:xfrm>
              <a:off x="1496014" y="704452"/>
              <a:ext cx="128141" cy="136150"/>
            </a:xfrm>
            <a:custGeom>
              <a:avLst/>
              <a:gdLst>
                <a:gd name="connsiteX0" fmla="*/ 302948 w 435145"/>
                <a:gd name="connsiteY0" fmla="*/ 74684 h 462341"/>
                <a:gd name="connsiteX1" fmla="*/ 186003 w 435145"/>
                <a:gd name="connsiteY1" fmla="*/ 148115 h 462341"/>
                <a:gd name="connsiteX2" fmla="*/ 186003 w 435145"/>
                <a:gd name="connsiteY2" fmla="*/ 148115 h 462341"/>
                <a:gd name="connsiteX3" fmla="*/ 186003 w 435145"/>
                <a:gd name="connsiteY3" fmla="*/ 115479 h 462341"/>
                <a:gd name="connsiteX4" fmla="*/ 123450 w 435145"/>
                <a:gd name="connsiteY4" fmla="*/ 58366 h 462341"/>
                <a:gd name="connsiteX5" fmla="*/ 58178 w 435145"/>
                <a:gd name="connsiteY5" fmla="*/ 115479 h 462341"/>
                <a:gd name="connsiteX6" fmla="*/ 58178 w 435145"/>
                <a:gd name="connsiteY6" fmla="*/ 362967 h 462341"/>
                <a:gd name="connsiteX7" fmla="*/ 120730 w 435145"/>
                <a:gd name="connsiteY7" fmla="*/ 422800 h 462341"/>
                <a:gd name="connsiteX8" fmla="*/ 186003 w 435145"/>
                <a:gd name="connsiteY8" fmla="*/ 362967 h 462341"/>
                <a:gd name="connsiteX9" fmla="*/ 186003 w 435145"/>
                <a:gd name="connsiteY9" fmla="*/ 213386 h 462341"/>
                <a:gd name="connsiteX10" fmla="*/ 186003 w 435145"/>
                <a:gd name="connsiteY10" fmla="*/ 213386 h 462341"/>
                <a:gd name="connsiteX11" fmla="*/ 229517 w 435145"/>
                <a:gd name="connsiteY11" fmla="*/ 161713 h 462341"/>
                <a:gd name="connsiteX12" fmla="*/ 259433 w 435145"/>
                <a:gd name="connsiteY12" fmla="*/ 194349 h 462341"/>
                <a:gd name="connsiteX13" fmla="*/ 259433 w 435145"/>
                <a:gd name="connsiteY13" fmla="*/ 362967 h 462341"/>
                <a:gd name="connsiteX14" fmla="*/ 321985 w 435145"/>
                <a:gd name="connsiteY14" fmla="*/ 422800 h 462341"/>
                <a:gd name="connsiteX15" fmla="*/ 387257 w 435145"/>
                <a:gd name="connsiteY15" fmla="*/ 362967 h 462341"/>
                <a:gd name="connsiteX16" fmla="*/ 387257 w 435145"/>
                <a:gd name="connsiteY16" fmla="*/ 273219 h 462341"/>
                <a:gd name="connsiteX17" fmla="*/ 302948 w 435145"/>
                <a:gd name="connsiteY17" fmla="*/ 74684 h 4623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435145" h="462341">
                  <a:moveTo>
                    <a:pt x="302948" y="74684"/>
                  </a:moveTo>
                  <a:cubicBezTo>
                    <a:pt x="234956" y="74684"/>
                    <a:pt x="196881" y="131797"/>
                    <a:pt x="186003" y="148115"/>
                  </a:cubicBezTo>
                  <a:lnTo>
                    <a:pt x="186003" y="148115"/>
                  </a:lnTo>
                  <a:cubicBezTo>
                    <a:pt x="186003" y="129077"/>
                    <a:pt x="186003" y="115479"/>
                    <a:pt x="186003" y="115479"/>
                  </a:cubicBezTo>
                  <a:cubicBezTo>
                    <a:pt x="186003" y="82843"/>
                    <a:pt x="156086" y="58366"/>
                    <a:pt x="123450" y="58366"/>
                  </a:cubicBezTo>
                  <a:cubicBezTo>
                    <a:pt x="90814" y="55646"/>
                    <a:pt x="58178" y="82843"/>
                    <a:pt x="58178" y="115479"/>
                  </a:cubicBezTo>
                  <a:cubicBezTo>
                    <a:pt x="58178" y="120918"/>
                    <a:pt x="58178" y="360248"/>
                    <a:pt x="58178" y="362967"/>
                  </a:cubicBezTo>
                  <a:cubicBezTo>
                    <a:pt x="58178" y="395603"/>
                    <a:pt x="88095" y="422800"/>
                    <a:pt x="120730" y="422800"/>
                  </a:cubicBezTo>
                  <a:cubicBezTo>
                    <a:pt x="153366" y="425519"/>
                    <a:pt x="186003" y="395603"/>
                    <a:pt x="186003" y="362967"/>
                  </a:cubicBezTo>
                  <a:cubicBezTo>
                    <a:pt x="186003" y="360248"/>
                    <a:pt x="186003" y="281378"/>
                    <a:pt x="186003" y="213386"/>
                  </a:cubicBezTo>
                  <a:lnTo>
                    <a:pt x="186003" y="213386"/>
                  </a:lnTo>
                  <a:cubicBezTo>
                    <a:pt x="191442" y="186190"/>
                    <a:pt x="205040" y="161713"/>
                    <a:pt x="229517" y="161713"/>
                  </a:cubicBezTo>
                  <a:cubicBezTo>
                    <a:pt x="259433" y="161713"/>
                    <a:pt x="259433" y="194349"/>
                    <a:pt x="259433" y="194349"/>
                  </a:cubicBezTo>
                  <a:lnTo>
                    <a:pt x="259433" y="362967"/>
                  </a:lnTo>
                  <a:cubicBezTo>
                    <a:pt x="259433" y="395603"/>
                    <a:pt x="289349" y="422800"/>
                    <a:pt x="321985" y="422800"/>
                  </a:cubicBezTo>
                  <a:cubicBezTo>
                    <a:pt x="354621" y="425519"/>
                    <a:pt x="387257" y="395603"/>
                    <a:pt x="387257" y="362967"/>
                  </a:cubicBezTo>
                  <a:lnTo>
                    <a:pt x="387257" y="273219"/>
                  </a:lnTo>
                  <a:cubicBezTo>
                    <a:pt x="387257" y="183470"/>
                    <a:pt x="395416" y="71964"/>
                    <a:pt x="302948" y="74684"/>
                  </a:cubicBezTo>
                </a:path>
              </a:pathLst>
            </a:custGeom>
            <a:solidFill>
              <a:srgbClr val="FFFFFF"/>
            </a:solidFill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69D35008-CF76-4804-A603-6C8130DF4BAC}"/>
                </a:ext>
              </a:extLst>
            </p:cNvPr>
            <p:cNvSpPr/>
            <p:nvPr/>
          </p:nvSpPr>
          <p:spPr>
            <a:xfrm>
              <a:off x="1978945" y="704452"/>
              <a:ext cx="128141" cy="136150"/>
            </a:xfrm>
            <a:custGeom>
              <a:avLst/>
              <a:gdLst>
                <a:gd name="connsiteX0" fmla="*/ 302948 w 435145"/>
                <a:gd name="connsiteY0" fmla="*/ 74684 h 462341"/>
                <a:gd name="connsiteX1" fmla="*/ 186002 w 435145"/>
                <a:gd name="connsiteY1" fmla="*/ 148115 h 462341"/>
                <a:gd name="connsiteX2" fmla="*/ 186002 w 435145"/>
                <a:gd name="connsiteY2" fmla="*/ 148115 h 462341"/>
                <a:gd name="connsiteX3" fmla="*/ 186002 w 435145"/>
                <a:gd name="connsiteY3" fmla="*/ 115479 h 462341"/>
                <a:gd name="connsiteX4" fmla="*/ 123450 w 435145"/>
                <a:gd name="connsiteY4" fmla="*/ 58366 h 462341"/>
                <a:gd name="connsiteX5" fmla="*/ 58178 w 435145"/>
                <a:gd name="connsiteY5" fmla="*/ 115479 h 462341"/>
                <a:gd name="connsiteX6" fmla="*/ 58178 w 435145"/>
                <a:gd name="connsiteY6" fmla="*/ 362967 h 462341"/>
                <a:gd name="connsiteX7" fmla="*/ 120730 w 435145"/>
                <a:gd name="connsiteY7" fmla="*/ 422800 h 462341"/>
                <a:gd name="connsiteX8" fmla="*/ 186002 w 435145"/>
                <a:gd name="connsiteY8" fmla="*/ 362967 h 462341"/>
                <a:gd name="connsiteX9" fmla="*/ 186002 w 435145"/>
                <a:gd name="connsiteY9" fmla="*/ 213386 h 462341"/>
                <a:gd name="connsiteX10" fmla="*/ 186002 w 435145"/>
                <a:gd name="connsiteY10" fmla="*/ 213386 h 462341"/>
                <a:gd name="connsiteX11" fmla="*/ 229517 w 435145"/>
                <a:gd name="connsiteY11" fmla="*/ 161713 h 462341"/>
                <a:gd name="connsiteX12" fmla="*/ 259433 w 435145"/>
                <a:gd name="connsiteY12" fmla="*/ 194349 h 462341"/>
                <a:gd name="connsiteX13" fmla="*/ 259433 w 435145"/>
                <a:gd name="connsiteY13" fmla="*/ 362967 h 462341"/>
                <a:gd name="connsiteX14" fmla="*/ 321985 w 435145"/>
                <a:gd name="connsiteY14" fmla="*/ 422800 h 462341"/>
                <a:gd name="connsiteX15" fmla="*/ 387257 w 435145"/>
                <a:gd name="connsiteY15" fmla="*/ 362967 h 462341"/>
                <a:gd name="connsiteX16" fmla="*/ 387257 w 435145"/>
                <a:gd name="connsiteY16" fmla="*/ 273219 h 462341"/>
                <a:gd name="connsiteX17" fmla="*/ 302948 w 435145"/>
                <a:gd name="connsiteY17" fmla="*/ 74684 h 4623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435145" h="462341">
                  <a:moveTo>
                    <a:pt x="302948" y="74684"/>
                  </a:moveTo>
                  <a:cubicBezTo>
                    <a:pt x="234956" y="74684"/>
                    <a:pt x="196881" y="131797"/>
                    <a:pt x="186002" y="148115"/>
                  </a:cubicBezTo>
                  <a:lnTo>
                    <a:pt x="186002" y="148115"/>
                  </a:lnTo>
                  <a:cubicBezTo>
                    <a:pt x="186002" y="129077"/>
                    <a:pt x="186002" y="115479"/>
                    <a:pt x="186002" y="115479"/>
                  </a:cubicBezTo>
                  <a:cubicBezTo>
                    <a:pt x="186002" y="82843"/>
                    <a:pt x="156086" y="58366"/>
                    <a:pt x="123450" y="58366"/>
                  </a:cubicBezTo>
                  <a:cubicBezTo>
                    <a:pt x="90814" y="55646"/>
                    <a:pt x="58178" y="82843"/>
                    <a:pt x="58178" y="115479"/>
                  </a:cubicBezTo>
                  <a:cubicBezTo>
                    <a:pt x="58178" y="120918"/>
                    <a:pt x="58178" y="360248"/>
                    <a:pt x="58178" y="362967"/>
                  </a:cubicBezTo>
                  <a:cubicBezTo>
                    <a:pt x="58178" y="395603"/>
                    <a:pt x="88095" y="422800"/>
                    <a:pt x="120730" y="422800"/>
                  </a:cubicBezTo>
                  <a:cubicBezTo>
                    <a:pt x="153366" y="425519"/>
                    <a:pt x="186002" y="395603"/>
                    <a:pt x="186002" y="362967"/>
                  </a:cubicBezTo>
                  <a:cubicBezTo>
                    <a:pt x="186002" y="360248"/>
                    <a:pt x="186002" y="281378"/>
                    <a:pt x="186002" y="213386"/>
                  </a:cubicBezTo>
                  <a:lnTo>
                    <a:pt x="186002" y="213386"/>
                  </a:lnTo>
                  <a:cubicBezTo>
                    <a:pt x="191442" y="186190"/>
                    <a:pt x="205040" y="161713"/>
                    <a:pt x="229517" y="161713"/>
                  </a:cubicBezTo>
                  <a:cubicBezTo>
                    <a:pt x="259433" y="161713"/>
                    <a:pt x="259433" y="194349"/>
                    <a:pt x="259433" y="194349"/>
                  </a:cubicBezTo>
                  <a:lnTo>
                    <a:pt x="259433" y="362967"/>
                  </a:lnTo>
                  <a:cubicBezTo>
                    <a:pt x="259433" y="395603"/>
                    <a:pt x="289349" y="422800"/>
                    <a:pt x="321985" y="422800"/>
                  </a:cubicBezTo>
                  <a:cubicBezTo>
                    <a:pt x="354621" y="425519"/>
                    <a:pt x="387257" y="395603"/>
                    <a:pt x="387257" y="362967"/>
                  </a:cubicBezTo>
                  <a:lnTo>
                    <a:pt x="387257" y="273219"/>
                  </a:lnTo>
                  <a:cubicBezTo>
                    <a:pt x="384537" y="183470"/>
                    <a:pt x="395416" y="71964"/>
                    <a:pt x="302948" y="74684"/>
                  </a:cubicBezTo>
                </a:path>
              </a:pathLst>
            </a:custGeom>
            <a:solidFill>
              <a:srgbClr val="FFFFFF"/>
            </a:solidFill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70ECA3BC-07C2-4B47-B5E2-312D7DA6E6C9}"/>
                </a:ext>
              </a:extLst>
            </p:cNvPr>
            <p:cNvSpPr/>
            <p:nvPr/>
          </p:nvSpPr>
          <p:spPr>
            <a:xfrm>
              <a:off x="1113192" y="704452"/>
              <a:ext cx="128141" cy="136150"/>
            </a:xfrm>
            <a:custGeom>
              <a:avLst/>
              <a:gdLst>
                <a:gd name="connsiteX0" fmla="*/ 302948 w 435145"/>
                <a:gd name="connsiteY0" fmla="*/ 74684 h 462341"/>
                <a:gd name="connsiteX1" fmla="*/ 186002 w 435145"/>
                <a:gd name="connsiteY1" fmla="*/ 148115 h 462341"/>
                <a:gd name="connsiteX2" fmla="*/ 186002 w 435145"/>
                <a:gd name="connsiteY2" fmla="*/ 148115 h 462341"/>
                <a:gd name="connsiteX3" fmla="*/ 186002 w 435145"/>
                <a:gd name="connsiteY3" fmla="*/ 115479 h 462341"/>
                <a:gd name="connsiteX4" fmla="*/ 123450 w 435145"/>
                <a:gd name="connsiteY4" fmla="*/ 58366 h 462341"/>
                <a:gd name="connsiteX5" fmla="*/ 58178 w 435145"/>
                <a:gd name="connsiteY5" fmla="*/ 115479 h 462341"/>
                <a:gd name="connsiteX6" fmla="*/ 58178 w 435145"/>
                <a:gd name="connsiteY6" fmla="*/ 362967 h 462341"/>
                <a:gd name="connsiteX7" fmla="*/ 120730 w 435145"/>
                <a:gd name="connsiteY7" fmla="*/ 422800 h 462341"/>
                <a:gd name="connsiteX8" fmla="*/ 186002 w 435145"/>
                <a:gd name="connsiteY8" fmla="*/ 362967 h 462341"/>
                <a:gd name="connsiteX9" fmla="*/ 186002 w 435145"/>
                <a:gd name="connsiteY9" fmla="*/ 213386 h 462341"/>
                <a:gd name="connsiteX10" fmla="*/ 186002 w 435145"/>
                <a:gd name="connsiteY10" fmla="*/ 213386 h 462341"/>
                <a:gd name="connsiteX11" fmla="*/ 229517 w 435145"/>
                <a:gd name="connsiteY11" fmla="*/ 161713 h 462341"/>
                <a:gd name="connsiteX12" fmla="*/ 259433 w 435145"/>
                <a:gd name="connsiteY12" fmla="*/ 194349 h 462341"/>
                <a:gd name="connsiteX13" fmla="*/ 259433 w 435145"/>
                <a:gd name="connsiteY13" fmla="*/ 362967 h 462341"/>
                <a:gd name="connsiteX14" fmla="*/ 321985 w 435145"/>
                <a:gd name="connsiteY14" fmla="*/ 422800 h 462341"/>
                <a:gd name="connsiteX15" fmla="*/ 387257 w 435145"/>
                <a:gd name="connsiteY15" fmla="*/ 362967 h 462341"/>
                <a:gd name="connsiteX16" fmla="*/ 387257 w 435145"/>
                <a:gd name="connsiteY16" fmla="*/ 273219 h 462341"/>
                <a:gd name="connsiteX17" fmla="*/ 302948 w 435145"/>
                <a:gd name="connsiteY17" fmla="*/ 74684 h 4623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435145" h="462341">
                  <a:moveTo>
                    <a:pt x="302948" y="74684"/>
                  </a:moveTo>
                  <a:cubicBezTo>
                    <a:pt x="234956" y="74684"/>
                    <a:pt x="196881" y="131797"/>
                    <a:pt x="186002" y="148115"/>
                  </a:cubicBezTo>
                  <a:lnTo>
                    <a:pt x="186002" y="148115"/>
                  </a:lnTo>
                  <a:cubicBezTo>
                    <a:pt x="186002" y="129077"/>
                    <a:pt x="186002" y="115479"/>
                    <a:pt x="186002" y="115479"/>
                  </a:cubicBezTo>
                  <a:cubicBezTo>
                    <a:pt x="186002" y="82843"/>
                    <a:pt x="156086" y="58366"/>
                    <a:pt x="123450" y="58366"/>
                  </a:cubicBezTo>
                  <a:cubicBezTo>
                    <a:pt x="90814" y="55646"/>
                    <a:pt x="58178" y="82843"/>
                    <a:pt x="58178" y="115479"/>
                  </a:cubicBezTo>
                  <a:cubicBezTo>
                    <a:pt x="58178" y="120918"/>
                    <a:pt x="58178" y="360248"/>
                    <a:pt x="58178" y="362967"/>
                  </a:cubicBezTo>
                  <a:cubicBezTo>
                    <a:pt x="58178" y="395603"/>
                    <a:pt x="88094" y="422800"/>
                    <a:pt x="120730" y="422800"/>
                  </a:cubicBezTo>
                  <a:cubicBezTo>
                    <a:pt x="153366" y="425519"/>
                    <a:pt x="186002" y="395603"/>
                    <a:pt x="186002" y="362967"/>
                  </a:cubicBezTo>
                  <a:cubicBezTo>
                    <a:pt x="186002" y="360248"/>
                    <a:pt x="186002" y="281378"/>
                    <a:pt x="186002" y="213386"/>
                  </a:cubicBezTo>
                  <a:lnTo>
                    <a:pt x="186002" y="213386"/>
                  </a:lnTo>
                  <a:cubicBezTo>
                    <a:pt x="191442" y="186190"/>
                    <a:pt x="205040" y="161713"/>
                    <a:pt x="229517" y="161713"/>
                  </a:cubicBezTo>
                  <a:cubicBezTo>
                    <a:pt x="259433" y="161713"/>
                    <a:pt x="259433" y="194349"/>
                    <a:pt x="259433" y="194349"/>
                  </a:cubicBezTo>
                  <a:lnTo>
                    <a:pt x="259433" y="362967"/>
                  </a:lnTo>
                  <a:cubicBezTo>
                    <a:pt x="259433" y="395603"/>
                    <a:pt x="289349" y="422800"/>
                    <a:pt x="321985" y="422800"/>
                  </a:cubicBezTo>
                  <a:cubicBezTo>
                    <a:pt x="354621" y="425519"/>
                    <a:pt x="387257" y="395603"/>
                    <a:pt x="387257" y="362967"/>
                  </a:cubicBezTo>
                  <a:lnTo>
                    <a:pt x="387257" y="273219"/>
                  </a:lnTo>
                  <a:cubicBezTo>
                    <a:pt x="384537" y="183470"/>
                    <a:pt x="395416" y="71964"/>
                    <a:pt x="302948" y="74684"/>
                  </a:cubicBezTo>
                </a:path>
              </a:pathLst>
            </a:custGeom>
            <a:solidFill>
              <a:srgbClr val="FFFFFF"/>
            </a:solidFill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E3964362-9201-4761-9A48-C0B87C180823}"/>
                </a:ext>
              </a:extLst>
            </p:cNvPr>
            <p:cNvSpPr/>
            <p:nvPr/>
          </p:nvSpPr>
          <p:spPr>
            <a:xfrm>
              <a:off x="1877547" y="721639"/>
              <a:ext cx="107319" cy="107318"/>
            </a:xfrm>
            <a:custGeom>
              <a:avLst/>
              <a:gdLst>
                <a:gd name="connsiteX0" fmla="*/ 182218 w 364436"/>
                <a:gd name="connsiteY0" fmla="*/ 73431 h 364434"/>
                <a:gd name="connsiteX1" fmla="*/ 130544 w 364436"/>
                <a:gd name="connsiteY1" fmla="*/ 179499 h 364434"/>
                <a:gd name="connsiteX2" fmla="*/ 182218 w 364436"/>
                <a:gd name="connsiteY2" fmla="*/ 285565 h 364434"/>
                <a:gd name="connsiteX3" fmla="*/ 233891 w 364436"/>
                <a:gd name="connsiteY3" fmla="*/ 179499 h 364434"/>
                <a:gd name="connsiteX4" fmla="*/ 182218 w 364436"/>
                <a:gd name="connsiteY4" fmla="*/ 73431 h 364434"/>
                <a:gd name="connsiteX5" fmla="*/ 182219 w 364436"/>
                <a:gd name="connsiteY5" fmla="*/ 0 h 364434"/>
                <a:gd name="connsiteX6" fmla="*/ 364436 w 364436"/>
                <a:gd name="connsiteY6" fmla="*/ 182217 h 364434"/>
                <a:gd name="connsiteX7" fmla="*/ 182219 w 364436"/>
                <a:gd name="connsiteY7" fmla="*/ 364434 h 364434"/>
                <a:gd name="connsiteX8" fmla="*/ 0 w 364436"/>
                <a:gd name="connsiteY8" fmla="*/ 182217 h 364434"/>
                <a:gd name="connsiteX9" fmla="*/ 182219 w 364436"/>
                <a:gd name="connsiteY9" fmla="*/ 0 h 3644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64436" h="364434">
                  <a:moveTo>
                    <a:pt x="182218" y="73431"/>
                  </a:moveTo>
                  <a:cubicBezTo>
                    <a:pt x="152302" y="76151"/>
                    <a:pt x="130544" y="114226"/>
                    <a:pt x="130544" y="179499"/>
                  </a:cubicBezTo>
                  <a:cubicBezTo>
                    <a:pt x="130544" y="244770"/>
                    <a:pt x="146862" y="285565"/>
                    <a:pt x="182218" y="285565"/>
                  </a:cubicBezTo>
                  <a:cubicBezTo>
                    <a:pt x="217573" y="285565"/>
                    <a:pt x="233891" y="247490"/>
                    <a:pt x="233891" y="179499"/>
                  </a:cubicBezTo>
                  <a:cubicBezTo>
                    <a:pt x="233891" y="114226"/>
                    <a:pt x="212134" y="73431"/>
                    <a:pt x="182218" y="73431"/>
                  </a:cubicBezTo>
                  <a:close/>
                  <a:moveTo>
                    <a:pt x="182219" y="0"/>
                  </a:moveTo>
                  <a:cubicBezTo>
                    <a:pt x="282846" y="0"/>
                    <a:pt x="364436" y="81590"/>
                    <a:pt x="364436" y="182217"/>
                  </a:cubicBezTo>
                  <a:cubicBezTo>
                    <a:pt x="364436" y="282844"/>
                    <a:pt x="282846" y="364434"/>
                    <a:pt x="182219" y="364434"/>
                  </a:cubicBezTo>
                  <a:cubicBezTo>
                    <a:pt x="81591" y="364434"/>
                    <a:pt x="0" y="282844"/>
                    <a:pt x="0" y="182217"/>
                  </a:cubicBezTo>
                  <a:cubicBezTo>
                    <a:pt x="0" y="81590"/>
                    <a:pt x="81591" y="0"/>
                    <a:pt x="182219" y="0"/>
                  </a:cubicBezTo>
                  <a:close/>
                </a:path>
              </a:pathLst>
            </a:custGeom>
            <a:solidFill>
              <a:srgbClr val="FFFFFF"/>
            </a:solidFill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73656213-9D5F-4892-9BAE-D1FBE4DD8417}"/>
                </a:ext>
              </a:extLst>
            </p:cNvPr>
            <p:cNvSpPr/>
            <p:nvPr/>
          </p:nvSpPr>
          <p:spPr>
            <a:xfrm>
              <a:off x="1620412" y="718385"/>
              <a:ext cx="109774" cy="110623"/>
            </a:xfrm>
            <a:custGeom>
              <a:avLst/>
              <a:gdLst>
                <a:gd name="connsiteX0" fmla="*/ 176958 w 372773"/>
                <a:gd name="connsiteY0" fmla="*/ 98080 h 375657"/>
                <a:gd name="connsiteX1" fmla="*/ 125284 w 372773"/>
                <a:gd name="connsiteY1" fmla="*/ 190548 h 375657"/>
                <a:gd name="connsiteX2" fmla="*/ 176958 w 372773"/>
                <a:gd name="connsiteY2" fmla="*/ 283017 h 375657"/>
                <a:gd name="connsiteX3" fmla="*/ 228631 w 372773"/>
                <a:gd name="connsiteY3" fmla="*/ 190548 h 375657"/>
                <a:gd name="connsiteX4" fmla="*/ 176958 w 372773"/>
                <a:gd name="connsiteY4" fmla="*/ 98080 h 375657"/>
                <a:gd name="connsiteX5" fmla="*/ 307501 w 372773"/>
                <a:gd name="connsiteY5" fmla="*/ 172 h 375657"/>
                <a:gd name="connsiteX6" fmla="*/ 372773 w 372773"/>
                <a:gd name="connsiteY6" fmla="*/ 62724 h 375657"/>
                <a:gd name="connsiteX7" fmla="*/ 372773 w 372773"/>
                <a:gd name="connsiteY7" fmla="*/ 312934 h 375657"/>
                <a:gd name="connsiteX8" fmla="*/ 302061 w 372773"/>
                <a:gd name="connsiteY8" fmla="*/ 375486 h 375657"/>
                <a:gd name="connsiteX9" fmla="*/ 239509 w 372773"/>
                <a:gd name="connsiteY9" fmla="*/ 326532 h 375657"/>
                <a:gd name="connsiteX10" fmla="*/ 179677 w 372773"/>
                <a:gd name="connsiteY10" fmla="*/ 370046 h 375657"/>
                <a:gd name="connsiteX11" fmla="*/ 70890 w 372773"/>
                <a:gd name="connsiteY11" fmla="*/ 353728 h 375657"/>
                <a:gd name="connsiteX12" fmla="*/ 128003 w 372773"/>
                <a:gd name="connsiteY12" fmla="*/ 11051 h 375657"/>
                <a:gd name="connsiteX13" fmla="*/ 236790 w 372773"/>
                <a:gd name="connsiteY13" fmla="*/ 70883 h 375657"/>
                <a:gd name="connsiteX14" fmla="*/ 236790 w 372773"/>
                <a:gd name="connsiteY14" fmla="*/ 62724 h 375657"/>
                <a:gd name="connsiteX15" fmla="*/ 307501 w 372773"/>
                <a:gd name="connsiteY15" fmla="*/ 172 h 3756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72773" h="375657">
                  <a:moveTo>
                    <a:pt x="176958" y="98080"/>
                  </a:moveTo>
                  <a:cubicBezTo>
                    <a:pt x="147042" y="100800"/>
                    <a:pt x="125284" y="133436"/>
                    <a:pt x="125284" y="190548"/>
                  </a:cubicBezTo>
                  <a:cubicBezTo>
                    <a:pt x="125284" y="247661"/>
                    <a:pt x="141602" y="283017"/>
                    <a:pt x="176958" y="283017"/>
                  </a:cubicBezTo>
                  <a:cubicBezTo>
                    <a:pt x="212314" y="283017"/>
                    <a:pt x="228631" y="247661"/>
                    <a:pt x="228631" y="190548"/>
                  </a:cubicBezTo>
                  <a:cubicBezTo>
                    <a:pt x="228631" y="133436"/>
                    <a:pt x="206874" y="98080"/>
                    <a:pt x="176958" y="98080"/>
                  </a:cubicBezTo>
                  <a:close/>
                  <a:moveTo>
                    <a:pt x="307501" y="172"/>
                  </a:moveTo>
                  <a:cubicBezTo>
                    <a:pt x="340137" y="172"/>
                    <a:pt x="372773" y="30088"/>
                    <a:pt x="372773" y="62724"/>
                  </a:cubicBezTo>
                  <a:cubicBezTo>
                    <a:pt x="372773" y="65444"/>
                    <a:pt x="372773" y="307494"/>
                    <a:pt x="372773" y="312934"/>
                  </a:cubicBezTo>
                  <a:cubicBezTo>
                    <a:pt x="370053" y="348289"/>
                    <a:pt x="337417" y="378205"/>
                    <a:pt x="302061" y="375486"/>
                  </a:cubicBezTo>
                  <a:cubicBezTo>
                    <a:pt x="274865" y="372766"/>
                    <a:pt x="247668" y="353728"/>
                    <a:pt x="239509" y="326532"/>
                  </a:cubicBezTo>
                  <a:cubicBezTo>
                    <a:pt x="225911" y="348289"/>
                    <a:pt x="198715" y="364607"/>
                    <a:pt x="179677" y="370046"/>
                  </a:cubicBezTo>
                  <a:cubicBezTo>
                    <a:pt x="147041" y="378205"/>
                    <a:pt x="100807" y="372766"/>
                    <a:pt x="70890" y="353728"/>
                  </a:cubicBezTo>
                  <a:cubicBezTo>
                    <a:pt x="-35177" y="285737"/>
                    <a:pt x="-27018" y="11051"/>
                    <a:pt x="128003" y="11051"/>
                  </a:cubicBezTo>
                  <a:cubicBezTo>
                    <a:pt x="185116" y="11051"/>
                    <a:pt x="220471" y="49126"/>
                    <a:pt x="236790" y="70883"/>
                  </a:cubicBezTo>
                  <a:cubicBezTo>
                    <a:pt x="236790" y="70883"/>
                    <a:pt x="236790" y="65444"/>
                    <a:pt x="236790" y="62724"/>
                  </a:cubicBezTo>
                  <a:cubicBezTo>
                    <a:pt x="239509" y="27369"/>
                    <a:pt x="272145" y="-2547"/>
                    <a:pt x="307501" y="172"/>
                  </a:cubicBezTo>
                  <a:close/>
                </a:path>
              </a:pathLst>
            </a:custGeom>
            <a:solidFill>
              <a:srgbClr val="FFFFFF"/>
            </a:solidFill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67920402-9F02-42D6-B93E-36B5E194A375}"/>
                </a:ext>
              </a:extLst>
            </p:cNvPr>
            <p:cNvSpPr/>
            <p:nvPr/>
          </p:nvSpPr>
          <p:spPr>
            <a:xfrm>
              <a:off x="2102542" y="718385"/>
              <a:ext cx="109773" cy="110623"/>
            </a:xfrm>
            <a:custGeom>
              <a:avLst/>
              <a:gdLst>
                <a:gd name="connsiteX0" fmla="*/ 176957 w 372772"/>
                <a:gd name="connsiteY0" fmla="*/ 98080 h 375657"/>
                <a:gd name="connsiteX1" fmla="*/ 125282 w 372772"/>
                <a:gd name="connsiteY1" fmla="*/ 190548 h 375657"/>
                <a:gd name="connsiteX2" fmla="*/ 176957 w 372772"/>
                <a:gd name="connsiteY2" fmla="*/ 283017 h 375657"/>
                <a:gd name="connsiteX3" fmla="*/ 228630 w 372772"/>
                <a:gd name="connsiteY3" fmla="*/ 190548 h 375657"/>
                <a:gd name="connsiteX4" fmla="*/ 176957 w 372772"/>
                <a:gd name="connsiteY4" fmla="*/ 98080 h 375657"/>
                <a:gd name="connsiteX5" fmla="*/ 307501 w 372772"/>
                <a:gd name="connsiteY5" fmla="*/ 172 h 375657"/>
                <a:gd name="connsiteX6" fmla="*/ 372772 w 372772"/>
                <a:gd name="connsiteY6" fmla="*/ 62724 h 375657"/>
                <a:gd name="connsiteX7" fmla="*/ 372772 w 372772"/>
                <a:gd name="connsiteY7" fmla="*/ 312934 h 375657"/>
                <a:gd name="connsiteX8" fmla="*/ 302062 w 372772"/>
                <a:gd name="connsiteY8" fmla="*/ 375486 h 375657"/>
                <a:gd name="connsiteX9" fmla="*/ 239509 w 372772"/>
                <a:gd name="connsiteY9" fmla="*/ 326532 h 375657"/>
                <a:gd name="connsiteX10" fmla="*/ 179677 w 372772"/>
                <a:gd name="connsiteY10" fmla="*/ 370046 h 375657"/>
                <a:gd name="connsiteX11" fmla="*/ 70890 w 372772"/>
                <a:gd name="connsiteY11" fmla="*/ 353728 h 375657"/>
                <a:gd name="connsiteX12" fmla="*/ 128002 w 372772"/>
                <a:gd name="connsiteY12" fmla="*/ 11051 h 375657"/>
                <a:gd name="connsiteX13" fmla="*/ 236790 w 372772"/>
                <a:gd name="connsiteY13" fmla="*/ 70883 h 375657"/>
                <a:gd name="connsiteX14" fmla="*/ 236790 w 372772"/>
                <a:gd name="connsiteY14" fmla="*/ 62724 h 375657"/>
                <a:gd name="connsiteX15" fmla="*/ 307501 w 372772"/>
                <a:gd name="connsiteY15" fmla="*/ 172 h 3756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72772" h="375657">
                  <a:moveTo>
                    <a:pt x="176957" y="98080"/>
                  </a:moveTo>
                  <a:cubicBezTo>
                    <a:pt x="147039" y="100800"/>
                    <a:pt x="125282" y="133436"/>
                    <a:pt x="125282" y="190548"/>
                  </a:cubicBezTo>
                  <a:cubicBezTo>
                    <a:pt x="125282" y="247661"/>
                    <a:pt x="141600" y="283017"/>
                    <a:pt x="176957" y="283017"/>
                  </a:cubicBezTo>
                  <a:cubicBezTo>
                    <a:pt x="212312" y="283017"/>
                    <a:pt x="228630" y="247661"/>
                    <a:pt x="228630" y="190548"/>
                  </a:cubicBezTo>
                  <a:cubicBezTo>
                    <a:pt x="228630" y="133436"/>
                    <a:pt x="206873" y="98080"/>
                    <a:pt x="176957" y="98080"/>
                  </a:cubicBezTo>
                  <a:close/>
                  <a:moveTo>
                    <a:pt x="307501" y="172"/>
                  </a:moveTo>
                  <a:cubicBezTo>
                    <a:pt x="340137" y="172"/>
                    <a:pt x="372772" y="30088"/>
                    <a:pt x="372772" y="62724"/>
                  </a:cubicBezTo>
                  <a:cubicBezTo>
                    <a:pt x="372772" y="65444"/>
                    <a:pt x="372772" y="307494"/>
                    <a:pt x="372772" y="312934"/>
                  </a:cubicBezTo>
                  <a:cubicBezTo>
                    <a:pt x="370053" y="348289"/>
                    <a:pt x="337417" y="378205"/>
                    <a:pt x="302062" y="375486"/>
                  </a:cubicBezTo>
                  <a:cubicBezTo>
                    <a:pt x="274865" y="372766"/>
                    <a:pt x="247668" y="353728"/>
                    <a:pt x="239509" y="326532"/>
                  </a:cubicBezTo>
                  <a:cubicBezTo>
                    <a:pt x="228630" y="348289"/>
                    <a:pt x="198714" y="364607"/>
                    <a:pt x="179677" y="370046"/>
                  </a:cubicBezTo>
                  <a:cubicBezTo>
                    <a:pt x="147040" y="378205"/>
                    <a:pt x="100806" y="372766"/>
                    <a:pt x="70890" y="353728"/>
                  </a:cubicBezTo>
                  <a:cubicBezTo>
                    <a:pt x="-35177" y="285737"/>
                    <a:pt x="-27018" y="11051"/>
                    <a:pt x="128002" y="11051"/>
                  </a:cubicBezTo>
                  <a:cubicBezTo>
                    <a:pt x="185116" y="11051"/>
                    <a:pt x="220472" y="49126"/>
                    <a:pt x="236790" y="70883"/>
                  </a:cubicBezTo>
                  <a:cubicBezTo>
                    <a:pt x="236790" y="70883"/>
                    <a:pt x="236790" y="65444"/>
                    <a:pt x="236790" y="62724"/>
                  </a:cubicBezTo>
                  <a:cubicBezTo>
                    <a:pt x="239509" y="27369"/>
                    <a:pt x="272145" y="-2547"/>
                    <a:pt x="307501" y="172"/>
                  </a:cubicBezTo>
                  <a:close/>
                </a:path>
              </a:pathLst>
            </a:custGeom>
            <a:solidFill>
              <a:srgbClr val="FFFFFF"/>
            </a:solidFill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49B87069-D313-4E85-AF3B-5104B787FDFE}"/>
                </a:ext>
              </a:extLst>
            </p:cNvPr>
            <p:cNvSpPr/>
            <p:nvPr/>
          </p:nvSpPr>
          <p:spPr>
            <a:xfrm>
              <a:off x="1810760" y="712516"/>
              <a:ext cx="64071" cy="128141"/>
            </a:xfrm>
            <a:custGeom>
              <a:avLst/>
              <a:gdLst>
                <a:gd name="connsiteX0" fmla="*/ 186002 w 217572"/>
                <a:gd name="connsiteY0" fmla="*/ 118011 h 435144"/>
                <a:gd name="connsiteX1" fmla="*/ 128890 w 217572"/>
                <a:gd name="connsiteY1" fmla="*/ 58178 h 435144"/>
                <a:gd name="connsiteX2" fmla="*/ 123450 w 217572"/>
                <a:gd name="connsiteY2" fmla="*/ 58178 h 435144"/>
                <a:gd name="connsiteX3" fmla="*/ 58178 w 217572"/>
                <a:gd name="connsiteY3" fmla="*/ 115291 h 435144"/>
                <a:gd name="connsiteX4" fmla="*/ 58178 w 217572"/>
                <a:gd name="connsiteY4" fmla="*/ 232236 h 435144"/>
                <a:gd name="connsiteX5" fmla="*/ 58178 w 217572"/>
                <a:gd name="connsiteY5" fmla="*/ 232236 h 435144"/>
                <a:gd name="connsiteX6" fmla="*/ 58178 w 217572"/>
                <a:gd name="connsiteY6" fmla="*/ 335583 h 435144"/>
                <a:gd name="connsiteX7" fmla="*/ 115291 w 217572"/>
                <a:gd name="connsiteY7" fmla="*/ 395415 h 435144"/>
                <a:gd name="connsiteX8" fmla="*/ 120730 w 217572"/>
                <a:gd name="connsiteY8" fmla="*/ 395415 h 435144"/>
                <a:gd name="connsiteX9" fmla="*/ 186002 w 217572"/>
                <a:gd name="connsiteY9" fmla="*/ 338303 h 435144"/>
                <a:gd name="connsiteX10" fmla="*/ 186002 w 217572"/>
                <a:gd name="connsiteY10" fmla="*/ 240395 h 435144"/>
                <a:gd name="connsiteX11" fmla="*/ 186002 w 217572"/>
                <a:gd name="connsiteY11" fmla="*/ 240395 h 435144"/>
                <a:gd name="connsiteX12" fmla="*/ 186002 w 217572"/>
                <a:gd name="connsiteY12" fmla="*/ 118011 h 4351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17572" h="435144">
                  <a:moveTo>
                    <a:pt x="186002" y="118011"/>
                  </a:moveTo>
                  <a:cubicBezTo>
                    <a:pt x="183283" y="85375"/>
                    <a:pt x="158806" y="60898"/>
                    <a:pt x="128890" y="58178"/>
                  </a:cubicBezTo>
                  <a:cubicBezTo>
                    <a:pt x="126170" y="58178"/>
                    <a:pt x="126170" y="58178"/>
                    <a:pt x="123450" y="58178"/>
                  </a:cubicBezTo>
                  <a:cubicBezTo>
                    <a:pt x="96254" y="58178"/>
                    <a:pt x="58178" y="82655"/>
                    <a:pt x="58178" y="115291"/>
                  </a:cubicBezTo>
                  <a:lnTo>
                    <a:pt x="58178" y="232236"/>
                  </a:lnTo>
                  <a:lnTo>
                    <a:pt x="58178" y="232236"/>
                  </a:lnTo>
                  <a:cubicBezTo>
                    <a:pt x="58178" y="270311"/>
                    <a:pt x="58178" y="335583"/>
                    <a:pt x="58178" y="335583"/>
                  </a:cubicBezTo>
                  <a:cubicBezTo>
                    <a:pt x="60898" y="368219"/>
                    <a:pt x="85375" y="392696"/>
                    <a:pt x="115291" y="395415"/>
                  </a:cubicBezTo>
                  <a:cubicBezTo>
                    <a:pt x="118011" y="395415"/>
                    <a:pt x="118011" y="395415"/>
                    <a:pt x="120730" y="395415"/>
                  </a:cubicBezTo>
                  <a:cubicBezTo>
                    <a:pt x="147927" y="395415"/>
                    <a:pt x="186002" y="370938"/>
                    <a:pt x="186002" y="338303"/>
                  </a:cubicBezTo>
                  <a:lnTo>
                    <a:pt x="186002" y="240395"/>
                  </a:lnTo>
                  <a:lnTo>
                    <a:pt x="186002" y="240395"/>
                  </a:lnTo>
                  <a:cubicBezTo>
                    <a:pt x="186002" y="202320"/>
                    <a:pt x="186002" y="118011"/>
                    <a:pt x="186002" y="118011"/>
                  </a:cubicBezTo>
                </a:path>
              </a:pathLst>
            </a:custGeom>
            <a:solidFill>
              <a:srgbClr val="FFFFFF"/>
            </a:solidFill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D8D7181F-2284-4A80-89F5-C8D0717B18E5}"/>
                </a:ext>
              </a:extLst>
            </p:cNvPr>
            <p:cNvSpPr/>
            <p:nvPr/>
          </p:nvSpPr>
          <p:spPr>
            <a:xfrm>
              <a:off x="1811561" y="664412"/>
              <a:ext cx="64071" cy="64070"/>
            </a:xfrm>
            <a:custGeom>
              <a:avLst/>
              <a:gdLst>
                <a:gd name="connsiteX0" fmla="*/ 183282 w 217572"/>
                <a:gd name="connsiteY0" fmla="*/ 120902 h 217572"/>
                <a:gd name="connsiteX1" fmla="*/ 120730 w 217572"/>
                <a:gd name="connsiteY1" fmla="*/ 183454 h 217572"/>
                <a:gd name="connsiteX2" fmla="*/ 58178 w 217572"/>
                <a:gd name="connsiteY2" fmla="*/ 120902 h 217572"/>
                <a:gd name="connsiteX3" fmla="*/ 120730 w 217572"/>
                <a:gd name="connsiteY3" fmla="*/ 58350 h 217572"/>
                <a:gd name="connsiteX4" fmla="*/ 183282 w 217572"/>
                <a:gd name="connsiteY4" fmla="*/ 120902 h 2175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17572" h="217572">
                  <a:moveTo>
                    <a:pt x="183282" y="120902"/>
                  </a:moveTo>
                  <a:cubicBezTo>
                    <a:pt x="183282" y="156258"/>
                    <a:pt x="156086" y="183454"/>
                    <a:pt x="120730" y="183454"/>
                  </a:cubicBezTo>
                  <a:cubicBezTo>
                    <a:pt x="85375" y="183454"/>
                    <a:pt x="58178" y="156258"/>
                    <a:pt x="58178" y="120902"/>
                  </a:cubicBezTo>
                  <a:cubicBezTo>
                    <a:pt x="58178" y="85547"/>
                    <a:pt x="85375" y="58350"/>
                    <a:pt x="120730" y="58350"/>
                  </a:cubicBezTo>
                  <a:cubicBezTo>
                    <a:pt x="153366" y="55630"/>
                    <a:pt x="183282" y="85547"/>
                    <a:pt x="183282" y="120902"/>
                  </a:cubicBezTo>
                </a:path>
              </a:pathLst>
            </a:custGeom>
            <a:solidFill>
              <a:srgbClr val="FFFFFF"/>
            </a:solidFill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E5C16C19-9C8C-4B42-AD26-3BEAA1810DE1}"/>
                </a:ext>
              </a:extLst>
            </p:cNvPr>
            <p:cNvSpPr/>
            <p:nvPr/>
          </p:nvSpPr>
          <p:spPr>
            <a:xfrm>
              <a:off x="1403112" y="704457"/>
              <a:ext cx="112123" cy="136150"/>
            </a:xfrm>
            <a:custGeom>
              <a:avLst/>
              <a:gdLst>
                <a:gd name="connsiteX0" fmla="*/ 270312 w 380752"/>
                <a:gd name="connsiteY0" fmla="*/ 69229 h 462341"/>
                <a:gd name="connsiteX1" fmla="*/ 188722 w 380752"/>
                <a:gd name="connsiteY1" fmla="*/ 134501 h 462341"/>
                <a:gd name="connsiteX2" fmla="*/ 188722 w 380752"/>
                <a:gd name="connsiteY2" fmla="*/ 118183 h 462341"/>
                <a:gd name="connsiteX3" fmla="*/ 126170 w 380752"/>
                <a:gd name="connsiteY3" fmla="*/ 58350 h 462341"/>
                <a:gd name="connsiteX4" fmla="*/ 58178 w 380752"/>
                <a:gd name="connsiteY4" fmla="*/ 118183 h 462341"/>
                <a:gd name="connsiteX5" fmla="*/ 58178 w 380752"/>
                <a:gd name="connsiteY5" fmla="*/ 210651 h 462341"/>
                <a:gd name="connsiteX6" fmla="*/ 58178 w 380752"/>
                <a:gd name="connsiteY6" fmla="*/ 365671 h 462341"/>
                <a:gd name="connsiteX7" fmla="*/ 58178 w 380752"/>
                <a:gd name="connsiteY7" fmla="*/ 365671 h 462341"/>
                <a:gd name="connsiteX8" fmla="*/ 120730 w 380752"/>
                <a:gd name="connsiteY8" fmla="*/ 425504 h 462341"/>
                <a:gd name="connsiteX9" fmla="*/ 186002 w 380752"/>
                <a:gd name="connsiteY9" fmla="*/ 365671 h 462341"/>
                <a:gd name="connsiteX10" fmla="*/ 186002 w 380752"/>
                <a:gd name="connsiteY10" fmla="*/ 365671 h 462341"/>
                <a:gd name="connsiteX11" fmla="*/ 186002 w 380752"/>
                <a:gd name="connsiteY11" fmla="*/ 210651 h 462341"/>
                <a:gd name="connsiteX12" fmla="*/ 215919 w 380752"/>
                <a:gd name="connsiteY12" fmla="*/ 158978 h 462341"/>
                <a:gd name="connsiteX13" fmla="*/ 275751 w 380752"/>
                <a:gd name="connsiteY13" fmla="*/ 221530 h 462341"/>
                <a:gd name="connsiteX14" fmla="*/ 270312 w 380752"/>
                <a:gd name="connsiteY14" fmla="*/ 69229 h 4623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80752" h="462341">
                  <a:moveTo>
                    <a:pt x="270312" y="69229"/>
                  </a:moveTo>
                  <a:cubicBezTo>
                    <a:pt x="232236" y="71949"/>
                    <a:pt x="213199" y="99145"/>
                    <a:pt x="188722" y="134501"/>
                  </a:cubicBezTo>
                  <a:cubicBezTo>
                    <a:pt x="188722" y="134501"/>
                    <a:pt x="188722" y="118183"/>
                    <a:pt x="188722" y="118183"/>
                  </a:cubicBezTo>
                  <a:cubicBezTo>
                    <a:pt x="188722" y="85547"/>
                    <a:pt x="158806" y="58350"/>
                    <a:pt x="126170" y="58350"/>
                  </a:cubicBezTo>
                  <a:cubicBezTo>
                    <a:pt x="93534" y="55631"/>
                    <a:pt x="60898" y="85547"/>
                    <a:pt x="58178" y="118183"/>
                  </a:cubicBezTo>
                  <a:lnTo>
                    <a:pt x="58178" y="210651"/>
                  </a:lnTo>
                  <a:lnTo>
                    <a:pt x="58178" y="365671"/>
                  </a:lnTo>
                  <a:lnTo>
                    <a:pt x="58178" y="365671"/>
                  </a:lnTo>
                  <a:cubicBezTo>
                    <a:pt x="58178" y="398307"/>
                    <a:pt x="88094" y="425504"/>
                    <a:pt x="120730" y="425504"/>
                  </a:cubicBezTo>
                  <a:cubicBezTo>
                    <a:pt x="153366" y="428224"/>
                    <a:pt x="186002" y="398307"/>
                    <a:pt x="186002" y="365671"/>
                  </a:cubicBezTo>
                  <a:lnTo>
                    <a:pt x="186002" y="365671"/>
                  </a:lnTo>
                  <a:lnTo>
                    <a:pt x="186002" y="210651"/>
                  </a:lnTo>
                  <a:cubicBezTo>
                    <a:pt x="188722" y="188894"/>
                    <a:pt x="196881" y="158978"/>
                    <a:pt x="215919" y="158978"/>
                  </a:cubicBezTo>
                  <a:cubicBezTo>
                    <a:pt x="243115" y="158978"/>
                    <a:pt x="215919" y="221530"/>
                    <a:pt x="275751" y="221530"/>
                  </a:cubicBezTo>
                  <a:cubicBezTo>
                    <a:pt x="362780" y="221530"/>
                    <a:pt x="373658" y="63790"/>
                    <a:pt x="270312" y="69229"/>
                  </a:cubicBezTo>
                </a:path>
              </a:pathLst>
            </a:custGeom>
            <a:solidFill>
              <a:srgbClr val="FFFFFF"/>
            </a:solidFill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7E54EE48-BDC8-4FC7-95E6-E6761E8E0BB2}"/>
                </a:ext>
              </a:extLst>
            </p:cNvPr>
            <p:cNvSpPr/>
            <p:nvPr/>
          </p:nvSpPr>
          <p:spPr>
            <a:xfrm>
              <a:off x="1311324" y="721639"/>
              <a:ext cx="99309" cy="107318"/>
            </a:xfrm>
            <a:custGeom>
              <a:avLst/>
              <a:gdLst>
                <a:gd name="connsiteX0" fmla="*/ 180433 w 337238"/>
                <a:gd name="connsiteY0" fmla="*/ 73984 h 364434"/>
                <a:gd name="connsiteX1" fmla="*/ 163180 w 337238"/>
                <a:gd name="connsiteY1" fmla="*/ 78870 h 364434"/>
                <a:gd name="connsiteX2" fmla="*/ 125105 w 337238"/>
                <a:gd name="connsiteY2" fmla="*/ 160461 h 364434"/>
                <a:gd name="connsiteX3" fmla="*/ 171339 w 337238"/>
                <a:gd name="connsiteY3" fmla="*/ 163180 h 364434"/>
                <a:gd name="connsiteX4" fmla="*/ 214854 w 337238"/>
                <a:gd name="connsiteY4" fmla="*/ 108787 h 364434"/>
                <a:gd name="connsiteX5" fmla="*/ 180433 w 337238"/>
                <a:gd name="connsiteY5" fmla="*/ 73984 h 364434"/>
                <a:gd name="connsiteX6" fmla="*/ 174059 w 337238"/>
                <a:gd name="connsiteY6" fmla="*/ 0 h 364434"/>
                <a:gd name="connsiteX7" fmla="*/ 337238 w 337238"/>
                <a:gd name="connsiteY7" fmla="*/ 119665 h 364434"/>
                <a:gd name="connsiteX8" fmla="*/ 133264 w 337238"/>
                <a:gd name="connsiteY8" fmla="*/ 217573 h 364434"/>
                <a:gd name="connsiteX9" fmla="*/ 225732 w 337238"/>
                <a:gd name="connsiteY9" fmla="*/ 277405 h 364434"/>
                <a:gd name="connsiteX10" fmla="*/ 320920 w 337238"/>
                <a:gd name="connsiteY10" fmla="*/ 250208 h 364434"/>
                <a:gd name="connsiteX11" fmla="*/ 174059 w 337238"/>
                <a:gd name="connsiteY11" fmla="*/ 364434 h 364434"/>
                <a:gd name="connsiteX12" fmla="*/ 0 w 337238"/>
                <a:gd name="connsiteY12" fmla="*/ 184937 h 364434"/>
                <a:gd name="connsiteX13" fmla="*/ 174059 w 337238"/>
                <a:gd name="connsiteY13" fmla="*/ 0 h 3644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37238" h="364434">
                  <a:moveTo>
                    <a:pt x="180433" y="73984"/>
                  </a:moveTo>
                  <a:cubicBezTo>
                    <a:pt x="174569" y="73941"/>
                    <a:pt x="168620" y="75471"/>
                    <a:pt x="163180" y="78870"/>
                  </a:cubicBezTo>
                  <a:cubicBezTo>
                    <a:pt x="135984" y="95189"/>
                    <a:pt x="127825" y="130544"/>
                    <a:pt x="125105" y="160461"/>
                  </a:cubicBezTo>
                  <a:cubicBezTo>
                    <a:pt x="125105" y="163180"/>
                    <a:pt x="168620" y="160461"/>
                    <a:pt x="171339" y="163180"/>
                  </a:cubicBezTo>
                  <a:cubicBezTo>
                    <a:pt x="195816" y="157741"/>
                    <a:pt x="214854" y="135984"/>
                    <a:pt x="214854" y="108787"/>
                  </a:cubicBezTo>
                  <a:cubicBezTo>
                    <a:pt x="214854" y="88389"/>
                    <a:pt x="198026" y="74111"/>
                    <a:pt x="180433" y="73984"/>
                  </a:cubicBezTo>
                  <a:close/>
                  <a:moveTo>
                    <a:pt x="174059" y="0"/>
                  </a:moveTo>
                  <a:cubicBezTo>
                    <a:pt x="233891" y="0"/>
                    <a:pt x="337238" y="29916"/>
                    <a:pt x="337238" y="119665"/>
                  </a:cubicBezTo>
                  <a:cubicBezTo>
                    <a:pt x="337238" y="209414"/>
                    <a:pt x="244770" y="217573"/>
                    <a:pt x="133264" y="217573"/>
                  </a:cubicBezTo>
                  <a:cubicBezTo>
                    <a:pt x="133264" y="217573"/>
                    <a:pt x="149581" y="277405"/>
                    <a:pt x="225732" y="277405"/>
                  </a:cubicBezTo>
                  <a:cubicBezTo>
                    <a:pt x="301883" y="277405"/>
                    <a:pt x="320920" y="250208"/>
                    <a:pt x="320920" y="250208"/>
                  </a:cubicBezTo>
                  <a:cubicBezTo>
                    <a:pt x="320920" y="250208"/>
                    <a:pt x="315481" y="364434"/>
                    <a:pt x="174059" y="364434"/>
                  </a:cubicBezTo>
                  <a:cubicBezTo>
                    <a:pt x="95188" y="364434"/>
                    <a:pt x="0" y="304602"/>
                    <a:pt x="0" y="184937"/>
                  </a:cubicBezTo>
                  <a:cubicBezTo>
                    <a:pt x="0" y="78870"/>
                    <a:pt x="73431" y="0"/>
                    <a:pt x="174059" y="0"/>
                  </a:cubicBezTo>
                  <a:close/>
                </a:path>
              </a:pathLst>
            </a:custGeom>
            <a:solidFill>
              <a:srgbClr val="FFFFFF"/>
            </a:solidFill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807FB7B5-29BD-4658-B0F4-3060DF3C6929}"/>
                </a:ext>
              </a:extLst>
            </p:cNvPr>
            <p:cNvSpPr/>
            <p:nvPr/>
          </p:nvSpPr>
          <p:spPr>
            <a:xfrm>
              <a:off x="1218108" y="681231"/>
              <a:ext cx="104115" cy="160176"/>
            </a:xfrm>
            <a:custGeom>
              <a:avLst/>
              <a:gdLst>
                <a:gd name="connsiteX0" fmla="*/ 311107 w 353555"/>
                <a:gd name="connsiteY0" fmla="*/ 433663 h 543931"/>
                <a:gd name="connsiteX1" fmla="*/ 215919 w 353555"/>
                <a:gd name="connsiteY1" fmla="*/ 501654 h 543931"/>
                <a:gd name="connsiteX2" fmla="*/ 98973 w 353555"/>
                <a:gd name="connsiteY2" fmla="*/ 392868 h 543931"/>
                <a:gd name="connsiteX3" fmla="*/ 98973 w 353555"/>
                <a:gd name="connsiteY3" fmla="*/ 221530 h 543931"/>
                <a:gd name="connsiteX4" fmla="*/ 82655 w 353555"/>
                <a:gd name="connsiteY4" fmla="*/ 221530 h 543931"/>
                <a:gd name="connsiteX5" fmla="*/ 58178 w 353555"/>
                <a:gd name="connsiteY5" fmla="*/ 191614 h 543931"/>
                <a:gd name="connsiteX6" fmla="*/ 85375 w 353555"/>
                <a:gd name="connsiteY6" fmla="*/ 164417 h 543931"/>
                <a:gd name="connsiteX7" fmla="*/ 101693 w 353555"/>
                <a:gd name="connsiteY7" fmla="*/ 164417 h 543931"/>
                <a:gd name="connsiteX8" fmla="*/ 101693 w 353555"/>
                <a:gd name="connsiteY8" fmla="*/ 118183 h 543931"/>
                <a:gd name="connsiteX9" fmla="*/ 166965 w 353555"/>
                <a:gd name="connsiteY9" fmla="*/ 58350 h 543931"/>
                <a:gd name="connsiteX10" fmla="*/ 229517 w 353555"/>
                <a:gd name="connsiteY10" fmla="*/ 118183 h 543931"/>
                <a:gd name="connsiteX11" fmla="*/ 229517 w 353555"/>
                <a:gd name="connsiteY11" fmla="*/ 118183 h 543931"/>
                <a:gd name="connsiteX12" fmla="*/ 229517 w 353555"/>
                <a:gd name="connsiteY12" fmla="*/ 164417 h 543931"/>
                <a:gd name="connsiteX13" fmla="*/ 283910 w 353555"/>
                <a:gd name="connsiteY13" fmla="*/ 164417 h 543931"/>
                <a:gd name="connsiteX14" fmla="*/ 308387 w 353555"/>
                <a:gd name="connsiteY14" fmla="*/ 194333 h 543931"/>
                <a:gd name="connsiteX15" fmla="*/ 281190 w 353555"/>
                <a:gd name="connsiteY15" fmla="*/ 221530 h 543931"/>
                <a:gd name="connsiteX16" fmla="*/ 229517 w 353555"/>
                <a:gd name="connsiteY16" fmla="*/ 221530 h 543931"/>
                <a:gd name="connsiteX17" fmla="*/ 229517 w 353555"/>
                <a:gd name="connsiteY17" fmla="*/ 365671 h 543931"/>
                <a:gd name="connsiteX18" fmla="*/ 311107 w 353555"/>
                <a:gd name="connsiteY18" fmla="*/ 433663 h 5439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353555" h="543931">
                  <a:moveTo>
                    <a:pt x="311107" y="433663"/>
                  </a:moveTo>
                  <a:cubicBezTo>
                    <a:pt x="311107" y="433663"/>
                    <a:pt x="278471" y="501654"/>
                    <a:pt x="215919" y="501654"/>
                  </a:cubicBezTo>
                  <a:cubicBezTo>
                    <a:pt x="164245" y="501654"/>
                    <a:pt x="101693" y="458140"/>
                    <a:pt x="98973" y="392868"/>
                  </a:cubicBezTo>
                  <a:cubicBezTo>
                    <a:pt x="98973" y="392868"/>
                    <a:pt x="98973" y="297680"/>
                    <a:pt x="98973" y="221530"/>
                  </a:cubicBezTo>
                  <a:lnTo>
                    <a:pt x="82655" y="221530"/>
                  </a:lnTo>
                  <a:cubicBezTo>
                    <a:pt x="74496" y="221530"/>
                    <a:pt x="58178" y="216090"/>
                    <a:pt x="58178" y="191614"/>
                  </a:cubicBezTo>
                  <a:cubicBezTo>
                    <a:pt x="58178" y="167137"/>
                    <a:pt x="77216" y="164417"/>
                    <a:pt x="85375" y="164417"/>
                  </a:cubicBezTo>
                  <a:lnTo>
                    <a:pt x="101693" y="164417"/>
                  </a:lnTo>
                  <a:cubicBezTo>
                    <a:pt x="101693" y="137220"/>
                    <a:pt x="101693" y="118183"/>
                    <a:pt x="101693" y="118183"/>
                  </a:cubicBezTo>
                  <a:cubicBezTo>
                    <a:pt x="104413" y="85547"/>
                    <a:pt x="134329" y="55631"/>
                    <a:pt x="166965" y="58350"/>
                  </a:cubicBezTo>
                  <a:cubicBezTo>
                    <a:pt x="196881" y="61070"/>
                    <a:pt x="229517" y="85547"/>
                    <a:pt x="229517" y="118183"/>
                  </a:cubicBezTo>
                  <a:lnTo>
                    <a:pt x="229517" y="118183"/>
                  </a:lnTo>
                  <a:lnTo>
                    <a:pt x="229517" y="164417"/>
                  </a:lnTo>
                  <a:lnTo>
                    <a:pt x="283910" y="164417"/>
                  </a:lnTo>
                  <a:cubicBezTo>
                    <a:pt x="292069" y="164417"/>
                    <a:pt x="308387" y="169856"/>
                    <a:pt x="308387" y="194333"/>
                  </a:cubicBezTo>
                  <a:cubicBezTo>
                    <a:pt x="308387" y="218810"/>
                    <a:pt x="292069" y="221530"/>
                    <a:pt x="281190" y="221530"/>
                  </a:cubicBezTo>
                  <a:lnTo>
                    <a:pt x="229517" y="221530"/>
                  </a:lnTo>
                  <a:lnTo>
                    <a:pt x="229517" y="365671"/>
                  </a:lnTo>
                  <a:cubicBezTo>
                    <a:pt x="226797" y="409186"/>
                    <a:pt x="267592" y="433663"/>
                    <a:pt x="311107" y="433663"/>
                  </a:cubicBezTo>
                </a:path>
              </a:pathLst>
            </a:custGeom>
            <a:solidFill>
              <a:srgbClr val="FFFFFF"/>
            </a:solidFill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B3D9ECEB-1AF5-494A-ABA9-58D2377DA5A4}"/>
                </a:ext>
              </a:extLst>
            </p:cNvPr>
            <p:cNvSpPr/>
            <p:nvPr/>
          </p:nvSpPr>
          <p:spPr>
            <a:xfrm>
              <a:off x="1722663" y="681231"/>
              <a:ext cx="104115" cy="160176"/>
            </a:xfrm>
            <a:custGeom>
              <a:avLst/>
              <a:gdLst>
                <a:gd name="connsiteX0" fmla="*/ 311107 w 353555"/>
                <a:gd name="connsiteY0" fmla="*/ 433663 h 543931"/>
                <a:gd name="connsiteX1" fmla="*/ 215919 w 353555"/>
                <a:gd name="connsiteY1" fmla="*/ 501654 h 543931"/>
                <a:gd name="connsiteX2" fmla="*/ 98973 w 353555"/>
                <a:gd name="connsiteY2" fmla="*/ 392868 h 543931"/>
                <a:gd name="connsiteX3" fmla="*/ 98973 w 353555"/>
                <a:gd name="connsiteY3" fmla="*/ 221530 h 543931"/>
                <a:gd name="connsiteX4" fmla="*/ 82655 w 353555"/>
                <a:gd name="connsiteY4" fmla="*/ 221530 h 543931"/>
                <a:gd name="connsiteX5" fmla="*/ 58178 w 353555"/>
                <a:gd name="connsiteY5" fmla="*/ 191614 h 543931"/>
                <a:gd name="connsiteX6" fmla="*/ 85375 w 353555"/>
                <a:gd name="connsiteY6" fmla="*/ 164417 h 543931"/>
                <a:gd name="connsiteX7" fmla="*/ 101693 w 353555"/>
                <a:gd name="connsiteY7" fmla="*/ 164417 h 543931"/>
                <a:gd name="connsiteX8" fmla="*/ 101693 w 353555"/>
                <a:gd name="connsiteY8" fmla="*/ 118183 h 543931"/>
                <a:gd name="connsiteX9" fmla="*/ 166965 w 353555"/>
                <a:gd name="connsiteY9" fmla="*/ 58350 h 543931"/>
                <a:gd name="connsiteX10" fmla="*/ 229517 w 353555"/>
                <a:gd name="connsiteY10" fmla="*/ 118183 h 543931"/>
                <a:gd name="connsiteX11" fmla="*/ 229517 w 353555"/>
                <a:gd name="connsiteY11" fmla="*/ 118183 h 543931"/>
                <a:gd name="connsiteX12" fmla="*/ 229517 w 353555"/>
                <a:gd name="connsiteY12" fmla="*/ 164417 h 543931"/>
                <a:gd name="connsiteX13" fmla="*/ 283910 w 353555"/>
                <a:gd name="connsiteY13" fmla="*/ 164417 h 543931"/>
                <a:gd name="connsiteX14" fmla="*/ 308387 w 353555"/>
                <a:gd name="connsiteY14" fmla="*/ 194333 h 543931"/>
                <a:gd name="connsiteX15" fmla="*/ 281190 w 353555"/>
                <a:gd name="connsiteY15" fmla="*/ 221530 h 543931"/>
                <a:gd name="connsiteX16" fmla="*/ 229517 w 353555"/>
                <a:gd name="connsiteY16" fmla="*/ 221530 h 543931"/>
                <a:gd name="connsiteX17" fmla="*/ 229517 w 353555"/>
                <a:gd name="connsiteY17" fmla="*/ 365671 h 543931"/>
                <a:gd name="connsiteX18" fmla="*/ 311107 w 353555"/>
                <a:gd name="connsiteY18" fmla="*/ 433663 h 5439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353555" h="543931">
                  <a:moveTo>
                    <a:pt x="311107" y="433663"/>
                  </a:moveTo>
                  <a:cubicBezTo>
                    <a:pt x="311107" y="433663"/>
                    <a:pt x="278471" y="501654"/>
                    <a:pt x="215919" y="501654"/>
                  </a:cubicBezTo>
                  <a:cubicBezTo>
                    <a:pt x="164245" y="501654"/>
                    <a:pt x="101693" y="458140"/>
                    <a:pt x="98973" y="392868"/>
                  </a:cubicBezTo>
                  <a:cubicBezTo>
                    <a:pt x="98973" y="392868"/>
                    <a:pt x="98973" y="297680"/>
                    <a:pt x="98973" y="221530"/>
                  </a:cubicBezTo>
                  <a:lnTo>
                    <a:pt x="82655" y="221530"/>
                  </a:lnTo>
                  <a:cubicBezTo>
                    <a:pt x="74496" y="221530"/>
                    <a:pt x="58178" y="216090"/>
                    <a:pt x="58178" y="191614"/>
                  </a:cubicBezTo>
                  <a:cubicBezTo>
                    <a:pt x="58178" y="167137"/>
                    <a:pt x="77216" y="164417"/>
                    <a:pt x="85375" y="164417"/>
                  </a:cubicBezTo>
                  <a:lnTo>
                    <a:pt x="101693" y="164417"/>
                  </a:lnTo>
                  <a:cubicBezTo>
                    <a:pt x="101693" y="137220"/>
                    <a:pt x="101693" y="118183"/>
                    <a:pt x="101693" y="118183"/>
                  </a:cubicBezTo>
                  <a:cubicBezTo>
                    <a:pt x="104412" y="85547"/>
                    <a:pt x="134329" y="55631"/>
                    <a:pt x="166965" y="58350"/>
                  </a:cubicBezTo>
                  <a:cubicBezTo>
                    <a:pt x="196881" y="61070"/>
                    <a:pt x="229517" y="85547"/>
                    <a:pt x="229517" y="118183"/>
                  </a:cubicBezTo>
                  <a:lnTo>
                    <a:pt x="229517" y="118183"/>
                  </a:lnTo>
                  <a:lnTo>
                    <a:pt x="229517" y="164417"/>
                  </a:lnTo>
                  <a:lnTo>
                    <a:pt x="283910" y="164417"/>
                  </a:lnTo>
                  <a:cubicBezTo>
                    <a:pt x="292069" y="164417"/>
                    <a:pt x="308387" y="169856"/>
                    <a:pt x="308387" y="194333"/>
                  </a:cubicBezTo>
                  <a:cubicBezTo>
                    <a:pt x="308387" y="218810"/>
                    <a:pt x="292069" y="221530"/>
                    <a:pt x="281190" y="221530"/>
                  </a:cubicBezTo>
                  <a:lnTo>
                    <a:pt x="229517" y="221530"/>
                  </a:lnTo>
                  <a:lnTo>
                    <a:pt x="229517" y="365671"/>
                  </a:lnTo>
                  <a:cubicBezTo>
                    <a:pt x="229517" y="409186"/>
                    <a:pt x="270312" y="433663"/>
                    <a:pt x="311107" y="433663"/>
                  </a:cubicBezTo>
                </a:path>
              </a:pathLst>
            </a:custGeom>
            <a:solidFill>
              <a:srgbClr val="FFFFFF"/>
            </a:solidFill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56035051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Wor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>
            <a:extLst>
              <a:ext uri="{FF2B5EF4-FFF2-40B4-BE49-F238E27FC236}">
                <a16:creationId xmlns:a16="http://schemas.microsoft.com/office/drawing/2014/main" id="{CA58538C-6DCE-48AB-8A34-6553092FE476}"/>
              </a:ext>
            </a:extLst>
          </p:cNvPr>
          <p:cNvGrpSpPr/>
          <p:nvPr/>
        </p:nvGrpSpPr>
        <p:grpSpPr bwMode="ltGray">
          <a:xfrm>
            <a:off x="0" y="1"/>
            <a:ext cx="5266036" cy="6858000"/>
            <a:chOff x="0" y="1"/>
            <a:chExt cx="5266036" cy="6858000"/>
          </a:xfrm>
        </p:grpSpPr>
        <p:sp>
          <p:nvSpPr>
            <p:cNvPr id="8" name="Freeform: Shape 7">
              <a:extLst>
                <a:ext uri="{FF2B5EF4-FFF2-40B4-BE49-F238E27FC236}">
                  <a16:creationId xmlns:a16="http://schemas.microsoft.com/office/drawing/2014/main" id="{284F7992-9D3F-4C17-B64D-6183DCA4456E}"/>
                </a:ext>
              </a:extLst>
            </p:cNvPr>
            <p:cNvSpPr/>
            <p:nvPr/>
          </p:nvSpPr>
          <p:spPr bwMode="ltGray">
            <a:xfrm>
              <a:off x="0" y="1"/>
              <a:ext cx="5266036" cy="6858000"/>
            </a:xfrm>
            <a:custGeom>
              <a:avLst/>
              <a:gdLst>
                <a:gd name="connsiteX0" fmla="*/ 0 w 5266036"/>
                <a:gd name="connsiteY0" fmla="*/ 0 h 6858000"/>
                <a:gd name="connsiteX1" fmla="*/ 3014696 w 5266036"/>
                <a:gd name="connsiteY1" fmla="*/ 0 h 6858000"/>
                <a:gd name="connsiteX2" fmla="*/ 3040982 w 5266036"/>
                <a:gd name="connsiteY2" fmla="*/ 11408 h 6858000"/>
                <a:gd name="connsiteX3" fmla="*/ 5250901 w 5266036"/>
                <a:gd name="connsiteY3" fmla="*/ 4085922 h 6858000"/>
                <a:gd name="connsiteX4" fmla="*/ 3435696 w 5266036"/>
                <a:gd name="connsiteY4" fmla="*/ 6839477 h 6858000"/>
                <a:gd name="connsiteX5" fmla="*/ 3398836 w 5266036"/>
                <a:gd name="connsiteY5" fmla="*/ 6858000 h 6858000"/>
                <a:gd name="connsiteX6" fmla="*/ 0 w 5266036"/>
                <a:gd name="connsiteY6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266036" h="6858000">
                  <a:moveTo>
                    <a:pt x="0" y="0"/>
                  </a:moveTo>
                  <a:lnTo>
                    <a:pt x="3014696" y="0"/>
                  </a:lnTo>
                  <a:lnTo>
                    <a:pt x="3040982" y="11408"/>
                  </a:lnTo>
                  <a:cubicBezTo>
                    <a:pt x="4562919" y="717837"/>
                    <a:pt x="5390071" y="2397951"/>
                    <a:pt x="5250901" y="4085922"/>
                  </a:cubicBezTo>
                  <a:cubicBezTo>
                    <a:pt x="5138669" y="5484335"/>
                    <a:pt x="4361602" y="6343612"/>
                    <a:pt x="3435696" y="6839477"/>
                  </a:cubicBezTo>
                  <a:lnTo>
                    <a:pt x="3398836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4F2170"/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dirty="0"/>
            </a:p>
          </p:txBody>
        </p:sp>
        <p:sp>
          <p:nvSpPr>
            <p:cNvPr id="9" name="Freeform: Shape 8">
              <a:extLst>
                <a:ext uri="{FF2B5EF4-FFF2-40B4-BE49-F238E27FC236}">
                  <a16:creationId xmlns:a16="http://schemas.microsoft.com/office/drawing/2014/main" id="{768B0534-2EEE-4824-8F44-ACC22A3132AF}"/>
                </a:ext>
              </a:extLst>
            </p:cNvPr>
            <p:cNvSpPr/>
            <p:nvPr/>
          </p:nvSpPr>
          <p:spPr bwMode="ltGray">
            <a:xfrm>
              <a:off x="1" y="99439"/>
              <a:ext cx="287275" cy="1443098"/>
            </a:xfrm>
            <a:custGeom>
              <a:avLst/>
              <a:gdLst>
                <a:gd name="connsiteX0" fmla="*/ 94635 w 287275"/>
                <a:gd name="connsiteY0" fmla="*/ 646457 h 1443098"/>
                <a:gd name="connsiteX1" fmla="*/ 110030 w 287275"/>
                <a:gd name="connsiteY1" fmla="*/ 646457 h 1443098"/>
                <a:gd name="connsiteX2" fmla="*/ 176725 w 287275"/>
                <a:gd name="connsiteY2" fmla="*/ 1205691 h 1443098"/>
                <a:gd name="connsiteX3" fmla="*/ 17148 w 287275"/>
                <a:gd name="connsiteY3" fmla="*/ 1435626 h 1443098"/>
                <a:gd name="connsiteX4" fmla="*/ 0 w 287275"/>
                <a:gd name="connsiteY4" fmla="*/ 1443098 h 1443098"/>
                <a:gd name="connsiteX5" fmla="*/ 0 w 287275"/>
                <a:gd name="connsiteY5" fmla="*/ 675806 h 1443098"/>
                <a:gd name="connsiteX6" fmla="*/ 79246 w 287275"/>
                <a:gd name="connsiteY6" fmla="*/ 0 h 1443098"/>
                <a:gd name="connsiteX7" fmla="*/ 161336 w 287275"/>
                <a:gd name="connsiteY7" fmla="*/ 10261 h 1443098"/>
                <a:gd name="connsiteX8" fmla="*/ 145941 w 287275"/>
                <a:gd name="connsiteY8" fmla="*/ 287314 h 1443098"/>
                <a:gd name="connsiteX9" fmla="*/ 62169 w 287275"/>
                <a:gd name="connsiteY9" fmla="*/ 305030 h 1443098"/>
                <a:gd name="connsiteX10" fmla="*/ 0 w 287275"/>
                <a:gd name="connsiteY10" fmla="*/ 311825 h 1443098"/>
                <a:gd name="connsiteX11" fmla="*/ 0 w 287275"/>
                <a:gd name="connsiteY11" fmla="*/ 20391 h 14430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87275" h="1443098">
                  <a:moveTo>
                    <a:pt x="94635" y="646457"/>
                  </a:moveTo>
                  <a:cubicBezTo>
                    <a:pt x="99769" y="646457"/>
                    <a:pt x="104897" y="646457"/>
                    <a:pt x="110030" y="646457"/>
                  </a:cubicBezTo>
                  <a:cubicBezTo>
                    <a:pt x="438389" y="692630"/>
                    <a:pt x="217770" y="1000466"/>
                    <a:pt x="176725" y="1205691"/>
                  </a:cubicBezTo>
                  <a:cubicBezTo>
                    <a:pt x="145302" y="1376283"/>
                    <a:pt x="141374" y="1381895"/>
                    <a:pt x="17148" y="1435626"/>
                  </a:cubicBezTo>
                  <a:lnTo>
                    <a:pt x="0" y="1443098"/>
                  </a:lnTo>
                  <a:lnTo>
                    <a:pt x="0" y="675806"/>
                  </a:lnTo>
                  <a:close/>
                  <a:moveTo>
                    <a:pt x="79246" y="0"/>
                  </a:moveTo>
                  <a:cubicBezTo>
                    <a:pt x="99769" y="0"/>
                    <a:pt x="120291" y="5128"/>
                    <a:pt x="161336" y="10261"/>
                  </a:cubicBezTo>
                  <a:cubicBezTo>
                    <a:pt x="325515" y="92351"/>
                    <a:pt x="274209" y="246269"/>
                    <a:pt x="145941" y="287314"/>
                  </a:cubicBezTo>
                  <a:cubicBezTo>
                    <a:pt x="116441" y="296292"/>
                    <a:pt x="88864" y="301422"/>
                    <a:pt x="62169" y="305030"/>
                  </a:cubicBezTo>
                  <a:lnTo>
                    <a:pt x="0" y="311825"/>
                  </a:lnTo>
                  <a:lnTo>
                    <a:pt x="0" y="20391"/>
                  </a:lnTo>
                  <a:close/>
                </a:path>
              </a:pathLst>
            </a:custGeom>
            <a:solidFill>
              <a:srgbClr val="724D8D"/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dirty="0"/>
            </a:p>
          </p:txBody>
        </p:sp>
        <p:sp>
          <p:nvSpPr>
            <p:cNvPr id="10" name="Freeform: Shape 9">
              <a:extLst>
                <a:ext uri="{FF2B5EF4-FFF2-40B4-BE49-F238E27FC236}">
                  <a16:creationId xmlns:a16="http://schemas.microsoft.com/office/drawing/2014/main" id="{89E5AB32-14B9-4441-BD18-CA3B7FA72F4A}"/>
                </a:ext>
              </a:extLst>
            </p:cNvPr>
            <p:cNvSpPr/>
            <p:nvPr/>
          </p:nvSpPr>
          <p:spPr bwMode="ltGray">
            <a:xfrm>
              <a:off x="0" y="3622695"/>
              <a:ext cx="911379" cy="2599608"/>
            </a:xfrm>
            <a:custGeom>
              <a:avLst/>
              <a:gdLst>
                <a:gd name="connsiteX0" fmla="*/ 0 w 911379"/>
                <a:gd name="connsiteY0" fmla="*/ 3000131 h 3315846"/>
                <a:gd name="connsiteX1" fmla="*/ 9176 w 911379"/>
                <a:gd name="connsiteY1" fmla="*/ 3027252 h 3315846"/>
                <a:gd name="connsiteX2" fmla="*/ 27935 w 911379"/>
                <a:gd name="connsiteY2" fmla="*/ 3315846 h 3315846"/>
                <a:gd name="connsiteX3" fmla="*/ 17673 w 911379"/>
                <a:gd name="connsiteY3" fmla="*/ 3315846 h 3315846"/>
                <a:gd name="connsiteX4" fmla="*/ 0 w 911379"/>
                <a:gd name="connsiteY4" fmla="*/ 3309186 h 3315846"/>
                <a:gd name="connsiteX5" fmla="*/ 0 w 911379"/>
                <a:gd name="connsiteY5" fmla="*/ 0 h 3315846"/>
                <a:gd name="connsiteX6" fmla="*/ 63852 w 911379"/>
                <a:gd name="connsiteY6" fmla="*/ 32258 h 3315846"/>
                <a:gd name="connsiteX7" fmla="*/ 253681 w 911379"/>
                <a:gd name="connsiteY7" fmla="*/ 140003 h 3315846"/>
                <a:gd name="connsiteX8" fmla="*/ 376816 w 911379"/>
                <a:gd name="connsiteY8" fmla="*/ 432445 h 3315846"/>
                <a:gd name="connsiteX9" fmla="*/ 587173 w 911379"/>
                <a:gd name="connsiteY9" fmla="*/ 545318 h 3315846"/>
                <a:gd name="connsiteX10" fmla="*/ 900137 w 911379"/>
                <a:gd name="connsiteY10" fmla="*/ 919855 h 3315846"/>
                <a:gd name="connsiteX11" fmla="*/ 664129 w 911379"/>
                <a:gd name="connsiteY11" fmla="*/ 1284126 h 3315846"/>
                <a:gd name="connsiteX12" fmla="*/ 566651 w 911379"/>
                <a:gd name="connsiteY12" fmla="*/ 1684313 h 3315846"/>
                <a:gd name="connsiteX13" fmla="*/ 304987 w 911379"/>
                <a:gd name="connsiteY13" fmla="*/ 2002411 h 3315846"/>
                <a:gd name="connsiteX14" fmla="*/ 63852 w 911379"/>
                <a:gd name="connsiteY14" fmla="*/ 2489821 h 3315846"/>
                <a:gd name="connsiteX15" fmla="*/ 0 w 911379"/>
                <a:gd name="connsiteY15" fmla="*/ 2599608 h 3315846"/>
                <a:gd name="connsiteX0" fmla="*/ 0 w 911379"/>
                <a:gd name="connsiteY0" fmla="*/ 3000131 h 3315846"/>
                <a:gd name="connsiteX1" fmla="*/ 9176 w 911379"/>
                <a:gd name="connsiteY1" fmla="*/ 3027252 h 3315846"/>
                <a:gd name="connsiteX2" fmla="*/ 27935 w 911379"/>
                <a:gd name="connsiteY2" fmla="*/ 3315846 h 3315846"/>
                <a:gd name="connsiteX3" fmla="*/ 17673 w 911379"/>
                <a:gd name="connsiteY3" fmla="*/ 3315846 h 3315846"/>
                <a:gd name="connsiteX4" fmla="*/ 0 w 911379"/>
                <a:gd name="connsiteY4" fmla="*/ 3000131 h 3315846"/>
                <a:gd name="connsiteX5" fmla="*/ 0 w 911379"/>
                <a:gd name="connsiteY5" fmla="*/ 0 h 3315846"/>
                <a:gd name="connsiteX6" fmla="*/ 63852 w 911379"/>
                <a:gd name="connsiteY6" fmla="*/ 32258 h 3315846"/>
                <a:gd name="connsiteX7" fmla="*/ 253681 w 911379"/>
                <a:gd name="connsiteY7" fmla="*/ 140003 h 3315846"/>
                <a:gd name="connsiteX8" fmla="*/ 376816 w 911379"/>
                <a:gd name="connsiteY8" fmla="*/ 432445 h 3315846"/>
                <a:gd name="connsiteX9" fmla="*/ 587173 w 911379"/>
                <a:gd name="connsiteY9" fmla="*/ 545318 h 3315846"/>
                <a:gd name="connsiteX10" fmla="*/ 900137 w 911379"/>
                <a:gd name="connsiteY10" fmla="*/ 919855 h 3315846"/>
                <a:gd name="connsiteX11" fmla="*/ 664129 w 911379"/>
                <a:gd name="connsiteY11" fmla="*/ 1284126 h 3315846"/>
                <a:gd name="connsiteX12" fmla="*/ 566651 w 911379"/>
                <a:gd name="connsiteY12" fmla="*/ 1684313 h 3315846"/>
                <a:gd name="connsiteX13" fmla="*/ 304987 w 911379"/>
                <a:gd name="connsiteY13" fmla="*/ 2002411 h 3315846"/>
                <a:gd name="connsiteX14" fmla="*/ 63852 w 911379"/>
                <a:gd name="connsiteY14" fmla="*/ 2489821 h 3315846"/>
                <a:gd name="connsiteX15" fmla="*/ 0 w 911379"/>
                <a:gd name="connsiteY15" fmla="*/ 2599608 h 3315846"/>
                <a:gd name="connsiteX16" fmla="*/ 0 w 911379"/>
                <a:gd name="connsiteY16" fmla="*/ 0 h 3315846"/>
                <a:gd name="connsiteX0" fmla="*/ 0 w 911379"/>
                <a:gd name="connsiteY0" fmla="*/ 3000131 h 3315846"/>
                <a:gd name="connsiteX1" fmla="*/ 9176 w 911379"/>
                <a:gd name="connsiteY1" fmla="*/ 3027252 h 3315846"/>
                <a:gd name="connsiteX2" fmla="*/ 27935 w 911379"/>
                <a:gd name="connsiteY2" fmla="*/ 3315846 h 3315846"/>
                <a:gd name="connsiteX3" fmla="*/ 0 w 911379"/>
                <a:gd name="connsiteY3" fmla="*/ 3000131 h 3315846"/>
                <a:gd name="connsiteX4" fmla="*/ 0 w 911379"/>
                <a:gd name="connsiteY4" fmla="*/ 0 h 3315846"/>
                <a:gd name="connsiteX5" fmla="*/ 63852 w 911379"/>
                <a:gd name="connsiteY5" fmla="*/ 32258 h 3315846"/>
                <a:gd name="connsiteX6" fmla="*/ 253681 w 911379"/>
                <a:gd name="connsiteY6" fmla="*/ 140003 h 3315846"/>
                <a:gd name="connsiteX7" fmla="*/ 376816 w 911379"/>
                <a:gd name="connsiteY7" fmla="*/ 432445 h 3315846"/>
                <a:gd name="connsiteX8" fmla="*/ 587173 w 911379"/>
                <a:gd name="connsiteY8" fmla="*/ 545318 h 3315846"/>
                <a:gd name="connsiteX9" fmla="*/ 900137 w 911379"/>
                <a:gd name="connsiteY9" fmla="*/ 919855 h 3315846"/>
                <a:gd name="connsiteX10" fmla="*/ 664129 w 911379"/>
                <a:gd name="connsiteY10" fmla="*/ 1284126 h 3315846"/>
                <a:gd name="connsiteX11" fmla="*/ 566651 w 911379"/>
                <a:gd name="connsiteY11" fmla="*/ 1684313 h 3315846"/>
                <a:gd name="connsiteX12" fmla="*/ 304987 w 911379"/>
                <a:gd name="connsiteY12" fmla="*/ 2002411 h 3315846"/>
                <a:gd name="connsiteX13" fmla="*/ 63852 w 911379"/>
                <a:gd name="connsiteY13" fmla="*/ 2489821 h 3315846"/>
                <a:gd name="connsiteX14" fmla="*/ 0 w 911379"/>
                <a:gd name="connsiteY14" fmla="*/ 2599608 h 3315846"/>
                <a:gd name="connsiteX15" fmla="*/ 0 w 911379"/>
                <a:gd name="connsiteY15" fmla="*/ 0 h 3315846"/>
                <a:gd name="connsiteX0" fmla="*/ 0 w 911379"/>
                <a:gd name="connsiteY0" fmla="*/ 3000131 h 3027252"/>
                <a:gd name="connsiteX1" fmla="*/ 9176 w 911379"/>
                <a:gd name="connsiteY1" fmla="*/ 3027252 h 3027252"/>
                <a:gd name="connsiteX2" fmla="*/ 0 w 911379"/>
                <a:gd name="connsiteY2" fmla="*/ 3000131 h 3027252"/>
                <a:gd name="connsiteX3" fmla="*/ 0 w 911379"/>
                <a:gd name="connsiteY3" fmla="*/ 0 h 3027252"/>
                <a:gd name="connsiteX4" fmla="*/ 63852 w 911379"/>
                <a:gd name="connsiteY4" fmla="*/ 32258 h 3027252"/>
                <a:gd name="connsiteX5" fmla="*/ 253681 w 911379"/>
                <a:gd name="connsiteY5" fmla="*/ 140003 h 3027252"/>
                <a:gd name="connsiteX6" fmla="*/ 376816 w 911379"/>
                <a:gd name="connsiteY6" fmla="*/ 432445 h 3027252"/>
                <a:gd name="connsiteX7" fmla="*/ 587173 w 911379"/>
                <a:gd name="connsiteY7" fmla="*/ 545318 h 3027252"/>
                <a:gd name="connsiteX8" fmla="*/ 900137 w 911379"/>
                <a:gd name="connsiteY8" fmla="*/ 919855 h 3027252"/>
                <a:gd name="connsiteX9" fmla="*/ 664129 w 911379"/>
                <a:gd name="connsiteY9" fmla="*/ 1284126 h 3027252"/>
                <a:gd name="connsiteX10" fmla="*/ 566651 w 911379"/>
                <a:gd name="connsiteY10" fmla="*/ 1684313 h 3027252"/>
                <a:gd name="connsiteX11" fmla="*/ 304987 w 911379"/>
                <a:gd name="connsiteY11" fmla="*/ 2002411 h 3027252"/>
                <a:gd name="connsiteX12" fmla="*/ 63852 w 911379"/>
                <a:gd name="connsiteY12" fmla="*/ 2489821 h 3027252"/>
                <a:gd name="connsiteX13" fmla="*/ 0 w 911379"/>
                <a:gd name="connsiteY13" fmla="*/ 2599608 h 3027252"/>
                <a:gd name="connsiteX14" fmla="*/ 0 w 911379"/>
                <a:gd name="connsiteY14" fmla="*/ 0 h 3027252"/>
                <a:gd name="connsiteX0" fmla="*/ 0 w 911379"/>
                <a:gd name="connsiteY0" fmla="*/ 0 h 2599608"/>
                <a:gd name="connsiteX1" fmla="*/ 63852 w 911379"/>
                <a:gd name="connsiteY1" fmla="*/ 32258 h 2599608"/>
                <a:gd name="connsiteX2" fmla="*/ 253681 w 911379"/>
                <a:gd name="connsiteY2" fmla="*/ 140003 h 2599608"/>
                <a:gd name="connsiteX3" fmla="*/ 376816 w 911379"/>
                <a:gd name="connsiteY3" fmla="*/ 432445 h 2599608"/>
                <a:gd name="connsiteX4" fmla="*/ 587173 w 911379"/>
                <a:gd name="connsiteY4" fmla="*/ 545318 h 2599608"/>
                <a:gd name="connsiteX5" fmla="*/ 900137 w 911379"/>
                <a:gd name="connsiteY5" fmla="*/ 919855 h 2599608"/>
                <a:gd name="connsiteX6" fmla="*/ 664129 w 911379"/>
                <a:gd name="connsiteY6" fmla="*/ 1284126 h 2599608"/>
                <a:gd name="connsiteX7" fmla="*/ 566651 w 911379"/>
                <a:gd name="connsiteY7" fmla="*/ 1684313 h 2599608"/>
                <a:gd name="connsiteX8" fmla="*/ 304987 w 911379"/>
                <a:gd name="connsiteY8" fmla="*/ 2002411 h 2599608"/>
                <a:gd name="connsiteX9" fmla="*/ 63852 w 911379"/>
                <a:gd name="connsiteY9" fmla="*/ 2489821 h 2599608"/>
                <a:gd name="connsiteX10" fmla="*/ 0 w 911379"/>
                <a:gd name="connsiteY10" fmla="*/ 2599608 h 2599608"/>
                <a:gd name="connsiteX11" fmla="*/ 0 w 911379"/>
                <a:gd name="connsiteY11" fmla="*/ 0 h 25996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911379" h="2599608">
                  <a:moveTo>
                    <a:pt x="0" y="0"/>
                  </a:moveTo>
                  <a:lnTo>
                    <a:pt x="63852" y="32258"/>
                  </a:lnTo>
                  <a:cubicBezTo>
                    <a:pt x="140808" y="68175"/>
                    <a:pt x="192114" y="57913"/>
                    <a:pt x="253681" y="140003"/>
                  </a:cubicBezTo>
                  <a:cubicBezTo>
                    <a:pt x="320382" y="232354"/>
                    <a:pt x="289598" y="340094"/>
                    <a:pt x="376816" y="432445"/>
                  </a:cubicBezTo>
                  <a:cubicBezTo>
                    <a:pt x="433255" y="494012"/>
                    <a:pt x="520473" y="504273"/>
                    <a:pt x="587173" y="545318"/>
                  </a:cubicBezTo>
                  <a:cubicBezTo>
                    <a:pt x="720569" y="627408"/>
                    <a:pt x="966838" y="724892"/>
                    <a:pt x="900137" y="919855"/>
                  </a:cubicBezTo>
                  <a:cubicBezTo>
                    <a:pt x="843703" y="1089163"/>
                    <a:pt x="623085" y="1058379"/>
                    <a:pt x="664129" y="1284126"/>
                  </a:cubicBezTo>
                  <a:cubicBezTo>
                    <a:pt x="700046" y="1509872"/>
                    <a:pt x="828309" y="1550917"/>
                    <a:pt x="566651" y="1684313"/>
                  </a:cubicBezTo>
                  <a:cubicBezTo>
                    <a:pt x="366555" y="1786925"/>
                    <a:pt x="366555" y="1812581"/>
                    <a:pt x="304987" y="2002411"/>
                  </a:cubicBezTo>
                  <a:cubicBezTo>
                    <a:pt x="253681" y="2166590"/>
                    <a:pt x="156202" y="2341031"/>
                    <a:pt x="63852" y="2489821"/>
                  </a:cubicBezTo>
                  <a:lnTo>
                    <a:pt x="0" y="259960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724D8D"/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dirty="0"/>
            </a:p>
          </p:txBody>
        </p:sp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DD488622-94FE-4C3B-93ED-066BAA75BF59}"/>
                </a:ext>
              </a:extLst>
            </p:cNvPr>
            <p:cNvSpPr/>
            <p:nvPr/>
          </p:nvSpPr>
          <p:spPr bwMode="ltGray">
            <a:xfrm>
              <a:off x="266515" y="81480"/>
              <a:ext cx="1128733" cy="1128733"/>
            </a:xfrm>
            <a:custGeom>
              <a:avLst/>
              <a:gdLst>
                <a:gd name="connsiteX0" fmla="*/ 92869 w 209550"/>
                <a:gd name="connsiteY0" fmla="*/ 7144 h 209550"/>
                <a:gd name="connsiteX1" fmla="*/ 92869 w 209550"/>
                <a:gd name="connsiteY1" fmla="*/ 7144 h 209550"/>
                <a:gd name="connsiteX2" fmla="*/ 7144 w 209550"/>
                <a:gd name="connsiteY2" fmla="*/ 29051 h 209550"/>
                <a:gd name="connsiteX3" fmla="*/ 7144 w 209550"/>
                <a:gd name="connsiteY3" fmla="*/ 30004 h 209550"/>
                <a:gd name="connsiteX4" fmla="*/ 16669 w 209550"/>
                <a:gd name="connsiteY4" fmla="*/ 42386 h 209550"/>
                <a:gd name="connsiteX5" fmla="*/ 25241 w 209550"/>
                <a:gd name="connsiteY5" fmla="*/ 41434 h 209550"/>
                <a:gd name="connsiteX6" fmla="*/ 63341 w 209550"/>
                <a:gd name="connsiteY6" fmla="*/ 165259 h 209550"/>
                <a:gd name="connsiteX7" fmla="*/ 88106 w 209550"/>
                <a:gd name="connsiteY7" fmla="*/ 202406 h 209550"/>
                <a:gd name="connsiteX8" fmla="*/ 105251 w 209550"/>
                <a:gd name="connsiteY8" fmla="*/ 193834 h 209550"/>
                <a:gd name="connsiteX9" fmla="*/ 128111 w 209550"/>
                <a:gd name="connsiteY9" fmla="*/ 149066 h 209550"/>
                <a:gd name="connsiteX10" fmla="*/ 165259 w 209550"/>
                <a:gd name="connsiteY10" fmla="*/ 120491 h 209550"/>
                <a:gd name="connsiteX11" fmla="*/ 92869 w 209550"/>
                <a:gd name="connsiteY11" fmla="*/ 7144 h 2095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9550" h="209550">
                  <a:moveTo>
                    <a:pt x="92869" y="7144"/>
                  </a:moveTo>
                  <a:cubicBezTo>
                    <a:pt x="91916" y="7144"/>
                    <a:pt x="91916" y="7144"/>
                    <a:pt x="92869" y="7144"/>
                  </a:cubicBezTo>
                  <a:cubicBezTo>
                    <a:pt x="63341" y="12859"/>
                    <a:pt x="34766" y="20479"/>
                    <a:pt x="7144" y="29051"/>
                  </a:cubicBezTo>
                  <a:cubicBezTo>
                    <a:pt x="7144" y="29051"/>
                    <a:pt x="7144" y="30004"/>
                    <a:pt x="7144" y="30004"/>
                  </a:cubicBezTo>
                  <a:lnTo>
                    <a:pt x="16669" y="42386"/>
                  </a:lnTo>
                  <a:cubicBezTo>
                    <a:pt x="19526" y="41434"/>
                    <a:pt x="22384" y="41434"/>
                    <a:pt x="25241" y="41434"/>
                  </a:cubicBezTo>
                  <a:cubicBezTo>
                    <a:pt x="74771" y="41434"/>
                    <a:pt x="57626" y="134779"/>
                    <a:pt x="63341" y="165259"/>
                  </a:cubicBezTo>
                  <a:cubicBezTo>
                    <a:pt x="67151" y="183356"/>
                    <a:pt x="74771" y="202406"/>
                    <a:pt x="88106" y="202406"/>
                  </a:cubicBezTo>
                  <a:cubicBezTo>
                    <a:pt x="92869" y="202406"/>
                    <a:pt x="98584" y="199549"/>
                    <a:pt x="105251" y="193834"/>
                  </a:cubicBezTo>
                  <a:cubicBezTo>
                    <a:pt x="115729" y="183356"/>
                    <a:pt x="116681" y="162401"/>
                    <a:pt x="128111" y="149066"/>
                  </a:cubicBezTo>
                  <a:cubicBezTo>
                    <a:pt x="138589" y="136684"/>
                    <a:pt x="152876" y="130969"/>
                    <a:pt x="165259" y="120491"/>
                  </a:cubicBezTo>
                  <a:cubicBezTo>
                    <a:pt x="265271" y="38576"/>
                    <a:pt x="172879" y="7144"/>
                    <a:pt x="92869" y="7144"/>
                  </a:cubicBezTo>
                </a:path>
              </a:pathLst>
            </a:custGeom>
            <a:solidFill>
              <a:srgbClr val="724D8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/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0C0FA815-C9EC-4D30-BDA4-05095D08506E}"/>
                </a:ext>
              </a:extLst>
            </p:cNvPr>
            <p:cNvSpPr/>
            <p:nvPr/>
          </p:nvSpPr>
          <p:spPr bwMode="ltGray">
            <a:xfrm>
              <a:off x="1807406" y="19914"/>
              <a:ext cx="3232281" cy="5848895"/>
            </a:xfrm>
            <a:custGeom>
              <a:avLst/>
              <a:gdLst>
                <a:gd name="connsiteX0" fmla="*/ 227806 w 600075"/>
                <a:gd name="connsiteY0" fmla="*/ 7144 h 1085850"/>
                <a:gd name="connsiteX1" fmla="*/ 219234 w 600075"/>
                <a:gd name="connsiteY1" fmla="*/ 18574 h 1085850"/>
                <a:gd name="connsiteX2" fmla="*/ 183039 w 600075"/>
                <a:gd name="connsiteY2" fmla="*/ 66199 h 1085850"/>
                <a:gd name="connsiteX3" fmla="*/ 161131 w 600075"/>
                <a:gd name="connsiteY3" fmla="*/ 73819 h 1085850"/>
                <a:gd name="connsiteX4" fmla="*/ 130651 w 600075"/>
                <a:gd name="connsiteY4" fmla="*/ 63341 h 1085850"/>
                <a:gd name="connsiteX5" fmla="*/ 105886 w 600075"/>
                <a:gd name="connsiteY5" fmla="*/ 57626 h 1085850"/>
                <a:gd name="connsiteX6" fmla="*/ 83979 w 600075"/>
                <a:gd name="connsiteY6" fmla="*/ 113824 h 1085850"/>
                <a:gd name="connsiteX7" fmla="*/ 104934 w 600075"/>
                <a:gd name="connsiteY7" fmla="*/ 173831 h 1085850"/>
                <a:gd name="connsiteX8" fmla="*/ 124936 w 600075"/>
                <a:gd name="connsiteY8" fmla="*/ 167164 h 1085850"/>
                <a:gd name="connsiteX9" fmla="*/ 156369 w 600075"/>
                <a:gd name="connsiteY9" fmla="*/ 135731 h 1085850"/>
                <a:gd name="connsiteX10" fmla="*/ 172561 w 600075"/>
                <a:gd name="connsiteY10" fmla="*/ 151924 h 1085850"/>
                <a:gd name="connsiteX11" fmla="*/ 157321 w 600075"/>
                <a:gd name="connsiteY11" fmla="*/ 202406 h 1085850"/>
                <a:gd name="connsiteX12" fmla="*/ 71596 w 600075"/>
                <a:gd name="connsiteY12" fmla="*/ 252889 h 1085850"/>
                <a:gd name="connsiteX13" fmla="*/ 68739 w 600075"/>
                <a:gd name="connsiteY13" fmla="*/ 294799 h 1085850"/>
                <a:gd name="connsiteX14" fmla="*/ 43021 w 600075"/>
                <a:gd name="connsiteY14" fmla="*/ 356711 h 1085850"/>
                <a:gd name="connsiteX15" fmla="*/ 62071 w 600075"/>
                <a:gd name="connsiteY15" fmla="*/ 370999 h 1085850"/>
                <a:gd name="connsiteX16" fmla="*/ 131604 w 600075"/>
                <a:gd name="connsiteY16" fmla="*/ 313849 h 1085850"/>
                <a:gd name="connsiteX17" fmla="*/ 167799 w 600075"/>
                <a:gd name="connsiteY17" fmla="*/ 295751 h 1085850"/>
                <a:gd name="connsiteX18" fmla="*/ 199231 w 600075"/>
                <a:gd name="connsiteY18" fmla="*/ 308134 h 1085850"/>
                <a:gd name="connsiteX19" fmla="*/ 237331 w 600075"/>
                <a:gd name="connsiteY19" fmla="*/ 320516 h 1085850"/>
                <a:gd name="connsiteX20" fmla="*/ 242094 w 600075"/>
                <a:gd name="connsiteY20" fmla="*/ 320516 h 1085850"/>
                <a:gd name="connsiteX21" fmla="*/ 270669 w 600075"/>
                <a:gd name="connsiteY21" fmla="*/ 291941 h 1085850"/>
                <a:gd name="connsiteX22" fmla="*/ 287814 w 600075"/>
                <a:gd name="connsiteY22" fmla="*/ 270034 h 1085850"/>
                <a:gd name="connsiteX23" fmla="*/ 290671 w 600075"/>
                <a:gd name="connsiteY23" fmla="*/ 270034 h 1085850"/>
                <a:gd name="connsiteX24" fmla="*/ 321151 w 600075"/>
                <a:gd name="connsiteY24" fmla="*/ 304324 h 1085850"/>
                <a:gd name="connsiteX25" fmla="*/ 292576 w 600075"/>
                <a:gd name="connsiteY25" fmla="*/ 355759 h 1085850"/>
                <a:gd name="connsiteX26" fmla="*/ 326866 w 600075"/>
                <a:gd name="connsiteY26" fmla="*/ 416719 h 1085850"/>
                <a:gd name="connsiteX27" fmla="*/ 291624 w 600075"/>
                <a:gd name="connsiteY27" fmla="*/ 428149 h 1085850"/>
                <a:gd name="connsiteX28" fmla="*/ 232569 w 600075"/>
                <a:gd name="connsiteY28" fmla="*/ 418624 h 1085850"/>
                <a:gd name="connsiteX29" fmla="*/ 225901 w 600075"/>
                <a:gd name="connsiteY29" fmla="*/ 418624 h 1085850"/>
                <a:gd name="connsiteX30" fmla="*/ 217329 w 600075"/>
                <a:gd name="connsiteY30" fmla="*/ 418624 h 1085850"/>
                <a:gd name="connsiteX31" fmla="*/ 208756 w 600075"/>
                <a:gd name="connsiteY31" fmla="*/ 418624 h 1085850"/>
                <a:gd name="connsiteX32" fmla="*/ 191611 w 600075"/>
                <a:gd name="connsiteY32" fmla="*/ 415766 h 1085850"/>
                <a:gd name="connsiteX33" fmla="*/ 156369 w 600075"/>
                <a:gd name="connsiteY33" fmla="*/ 390049 h 1085850"/>
                <a:gd name="connsiteX34" fmla="*/ 151606 w 600075"/>
                <a:gd name="connsiteY34" fmla="*/ 390049 h 1085850"/>
                <a:gd name="connsiteX35" fmla="*/ 68739 w 600075"/>
                <a:gd name="connsiteY35" fmla="*/ 433864 h 1085850"/>
                <a:gd name="connsiteX36" fmla="*/ 18256 w 600075"/>
                <a:gd name="connsiteY36" fmla="*/ 501491 h 1085850"/>
                <a:gd name="connsiteX37" fmla="*/ 35401 w 600075"/>
                <a:gd name="connsiteY37" fmla="*/ 668179 h 1085850"/>
                <a:gd name="connsiteX38" fmla="*/ 82074 w 600075"/>
                <a:gd name="connsiteY38" fmla="*/ 683419 h 1085850"/>
                <a:gd name="connsiteX39" fmla="*/ 130651 w 600075"/>
                <a:gd name="connsiteY39" fmla="*/ 678656 h 1085850"/>
                <a:gd name="connsiteX40" fmla="*/ 162084 w 600075"/>
                <a:gd name="connsiteY40" fmla="*/ 676751 h 1085850"/>
                <a:gd name="connsiteX41" fmla="*/ 207804 w 600075"/>
                <a:gd name="connsiteY41" fmla="*/ 731044 h 1085850"/>
                <a:gd name="connsiteX42" fmla="*/ 214471 w 600075"/>
                <a:gd name="connsiteY42" fmla="*/ 812006 h 1085850"/>
                <a:gd name="connsiteX43" fmla="*/ 233521 w 600075"/>
                <a:gd name="connsiteY43" fmla="*/ 892016 h 1085850"/>
                <a:gd name="connsiteX44" fmla="*/ 202089 w 600075"/>
                <a:gd name="connsiteY44" fmla="*/ 1046321 h 1085850"/>
                <a:gd name="connsiteX45" fmla="*/ 223044 w 600075"/>
                <a:gd name="connsiteY45" fmla="*/ 1084421 h 1085850"/>
                <a:gd name="connsiteX46" fmla="*/ 256381 w 600075"/>
                <a:gd name="connsiteY46" fmla="*/ 1060609 h 1085850"/>
                <a:gd name="connsiteX47" fmla="*/ 335439 w 600075"/>
                <a:gd name="connsiteY47" fmla="*/ 977741 h 1085850"/>
                <a:gd name="connsiteX48" fmla="*/ 402114 w 600075"/>
                <a:gd name="connsiteY48" fmla="*/ 823436 h 1085850"/>
                <a:gd name="connsiteX49" fmla="*/ 404971 w 600075"/>
                <a:gd name="connsiteY49" fmla="*/ 746284 h 1085850"/>
                <a:gd name="connsiteX50" fmla="*/ 446881 w 600075"/>
                <a:gd name="connsiteY50" fmla="*/ 645319 h 1085850"/>
                <a:gd name="connsiteX51" fmla="*/ 434499 w 600075"/>
                <a:gd name="connsiteY51" fmla="*/ 600551 h 1085850"/>
                <a:gd name="connsiteX52" fmla="*/ 444024 w 600075"/>
                <a:gd name="connsiteY52" fmla="*/ 549116 h 1085850"/>
                <a:gd name="connsiteX53" fmla="*/ 466884 w 600075"/>
                <a:gd name="connsiteY53" fmla="*/ 499586 h 1085850"/>
                <a:gd name="connsiteX54" fmla="*/ 431641 w 600075"/>
                <a:gd name="connsiteY54" fmla="*/ 443389 h 1085850"/>
                <a:gd name="connsiteX55" fmla="*/ 446881 w 600075"/>
                <a:gd name="connsiteY55" fmla="*/ 440531 h 1085850"/>
                <a:gd name="connsiteX56" fmla="*/ 528796 w 600075"/>
                <a:gd name="connsiteY56" fmla="*/ 591979 h 1085850"/>
                <a:gd name="connsiteX57" fmla="*/ 551656 w 600075"/>
                <a:gd name="connsiteY57" fmla="*/ 634841 h 1085850"/>
                <a:gd name="connsiteX58" fmla="*/ 570706 w 600075"/>
                <a:gd name="connsiteY58" fmla="*/ 602456 h 1085850"/>
                <a:gd name="connsiteX59" fmla="*/ 592614 w 600075"/>
                <a:gd name="connsiteY59" fmla="*/ 519589 h 1085850"/>
                <a:gd name="connsiteX60" fmla="*/ 563086 w 600075"/>
                <a:gd name="connsiteY60" fmla="*/ 356711 h 1085850"/>
                <a:gd name="connsiteX61" fmla="*/ 450691 w 600075"/>
                <a:gd name="connsiteY61" fmla="*/ 161449 h 1085850"/>
                <a:gd name="connsiteX62" fmla="*/ 227806 w 600075"/>
                <a:gd name="connsiteY62" fmla="*/ 7144 h 10858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</a:cxnLst>
              <a:rect l="l" t="t" r="r" b="b"/>
              <a:pathLst>
                <a:path w="600075" h="1085850">
                  <a:moveTo>
                    <a:pt x="227806" y="7144"/>
                  </a:moveTo>
                  <a:lnTo>
                    <a:pt x="219234" y="18574"/>
                  </a:lnTo>
                  <a:cubicBezTo>
                    <a:pt x="223044" y="42386"/>
                    <a:pt x="201136" y="56674"/>
                    <a:pt x="183039" y="66199"/>
                  </a:cubicBezTo>
                  <a:cubicBezTo>
                    <a:pt x="172561" y="70961"/>
                    <a:pt x="165894" y="73819"/>
                    <a:pt x="161131" y="73819"/>
                  </a:cubicBezTo>
                  <a:cubicBezTo>
                    <a:pt x="153511" y="73819"/>
                    <a:pt x="147796" y="69056"/>
                    <a:pt x="130651" y="63341"/>
                  </a:cubicBezTo>
                  <a:cubicBezTo>
                    <a:pt x="120174" y="59531"/>
                    <a:pt x="111601" y="57626"/>
                    <a:pt x="105886" y="57626"/>
                  </a:cubicBezTo>
                  <a:cubicBezTo>
                    <a:pt x="83026" y="57626"/>
                    <a:pt x="83979" y="81439"/>
                    <a:pt x="83979" y="113824"/>
                  </a:cubicBezTo>
                  <a:cubicBezTo>
                    <a:pt x="83979" y="136684"/>
                    <a:pt x="82074" y="173831"/>
                    <a:pt x="104934" y="173831"/>
                  </a:cubicBezTo>
                  <a:cubicBezTo>
                    <a:pt x="109696" y="173831"/>
                    <a:pt x="116364" y="171926"/>
                    <a:pt x="124936" y="167164"/>
                  </a:cubicBezTo>
                  <a:cubicBezTo>
                    <a:pt x="136366" y="160496"/>
                    <a:pt x="144939" y="135731"/>
                    <a:pt x="156369" y="135731"/>
                  </a:cubicBezTo>
                  <a:cubicBezTo>
                    <a:pt x="161131" y="135731"/>
                    <a:pt x="166846" y="140494"/>
                    <a:pt x="172561" y="151924"/>
                  </a:cubicBezTo>
                  <a:cubicBezTo>
                    <a:pt x="182086" y="169069"/>
                    <a:pt x="167799" y="191929"/>
                    <a:pt x="157321" y="202406"/>
                  </a:cubicBezTo>
                  <a:cubicBezTo>
                    <a:pt x="128746" y="229076"/>
                    <a:pt x="83979" y="207169"/>
                    <a:pt x="71596" y="252889"/>
                  </a:cubicBezTo>
                  <a:cubicBezTo>
                    <a:pt x="67786" y="266224"/>
                    <a:pt x="73501" y="281464"/>
                    <a:pt x="68739" y="294799"/>
                  </a:cubicBezTo>
                  <a:cubicBezTo>
                    <a:pt x="63024" y="310991"/>
                    <a:pt x="31591" y="335756"/>
                    <a:pt x="43021" y="356711"/>
                  </a:cubicBezTo>
                  <a:cubicBezTo>
                    <a:pt x="48736" y="367189"/>
                    <a:pt x="55404" y="370999"/>
                    <a:pt x="62071" y="370999"/>
                  </a:cubicBezTo>
                  <a:cubicBezTo>
                    <a:pt x="86836" y="370999"/>
                    <a:pt x="118269" y="325279"/>
                    <a:pt x="131604" y="313849"/>
                  </a:cubicBezTo>
                  <a:cubicBezTo>
                    <a:pt x="146844" y="300514"/>
                    <a:pt x="158274" y="295751"/>
                    <a:pt x="167799" y="295751"/>
                  </a:cubicBezTo>
                  <a:cubicBezTo>
                    <a:pt x="179229" y="295751"/>
                    <a:pt x="187801" y="301466"/>
                    <a:pt x="199231" y="308134"/>
                  </a:cubicBezTo>
                  <a:cubicBezTo>
                    <a:pt x="209709" y="313849"/>
                    <a:pt x="221139" y="320516"/>
                    <a:pt x="237331" y="320516"/>
                  </a:cubicBezTo>
                  <a:cubicBezTo>
                    <a:pt x="239236" y="320516"/>
                    <a:pt x="240189" y="320516"/>
                    <a:pt x="242094" y="320516"/>
                  </a:cubicBezTo>
                  <a:cubicBezTo>
                    <a:pt x="268764" y="318611"/>
                    <a:pt x="259239" y="310039"/>
                    <a:pt x="270669" y="291941"/>
                  </a:cubicBezTo>
                  <a:cubicBezTo>
                    <a:pt x="277336" y="280511"/>
                    <a:pt x="270669" y="270034"/>
                    <a:pt x="287814" y="270034"/>
                  </a:cubicBezTo>
                  <a:cubicBezTo>
                    <a:pt x="288766" y="270034"/>
                    <a:pt x="289719" y="270034"/>
                    <a:pt x="290671" y="270034"/>
                  </a:cubicBezTo>
                  <a:cubicBezTo>
                    <a:pt x="301149" y="270986"/>
                    <a:pt x="318294" y="294799"/>
                    <a:pt x="321151" y="304324"/>
                  </a:cubicBezTo>
                  <a:cubicBezTo>
                    <a:pt x="327819" y="333851"/>
                    <a:pt x="303054" y="334804"/>
                    <a:pt x="292576" y="355759"/>
                  </a:cubicBezTo>
                  <a:cubicBezTo>
                    <a:pt x="276384" y="391954"/>
                    <a:pt x="313531" y="391001"/>
                    <a:pt x="326866" y="416719"/>
                  </a:cubicBezTo>
                  <a:cubicBezTo>
                    <a:pt x="315436" y="425291"/>
                    <a:pt x="304006" y="428149"/>
                    <a:pt x="291624" y="428149"/>
                  </a:cubicBezTo>
                  <a:cubicBezTo>
                    <a:pt x="272574" y="428149"/>
                    <a:pt x="252571" y="420529"/>
                    <a:pt x="232569" y="418624"/>
                  </a:cubicBezTo>
                  <a:cubicBezTo>
                    <a:pt x="230664" y="418624"/>
                    <a:pt x="227806" y="418624"/>
                    <a:pt x="225901" y="418624"/>
                  </a:cubicBezTo>
                  <a:cubicBezTo>
                    <a:pt x="223044" y="418624"/>
                    <a:pt x="220186" y="418624"/>
                    <a:pt x="217329" y="418624"/>
                  </a:cubicBezTo>
                  <a:cubicBezTo>
                    <a:pt x="214471" y="418624"/>
                    <a:pt x="211614" y="418624"/>
                    <a:pt x="208756" y="418624"/>
                  </a:cubicBezTo>
                  <a:cubicBezTo>
                    <a:pt x="203041" y="418624"/>
                    <a:pt x="197326" y="417671"/>
                    <a:pt x="191611" y="415766"/>
                  </a:cubicBezTo>
                  <a:cubicBezTo>
                    <a:pt x="174466" y="408146"/>
                    <a:pt x="183039" y="392906"/>
                    <a:pt x="156369" y="390049"/>
                  </a:cubicBezTo>
                  <a:cubicBezTo>
                    <a:pt x="154464" y="390049"/>
                    <a:pt x="152559" y="390049"/>
                    <a:pt x="151606" y="390049"/>
                  </a:cubicBezTo>
                  <a:cubicBezTo>
                    <a:pt x="120174" y="390049"/>
                    <a:pt x="96361" y="420529"/>
                    <a:pt x="68739" y="433864"/>
                  </a:cubicBezTo>
                  <a:cubicBezTo>
                    <a:pt x="31591" y="451961"/>
                    <a:pt x="23019" y="463391"/>
                    <a:pt x="18256" y="501491"/>
                  </a:cubicBezTo>
                  <a:cubicBezTo>
                    <a:pt x="11589" y="551974"/>
                    <a:pt x="-10319" y="627221"/>
                    <a:pt x="35401" y="668179"/>
                  </a:cubicBezTo>
                  <a:cubicBezTo>
                    <a:pt x="48736" y="680561"/>
                    <a:pt x="64929" y="683419"/>
                    <a:pt x="82074" y="683419"/>
                  </a:cubicBezTo>
                  <a:cubicBezTo>
                    <a:pt x="98266" y="683419"/>
                    <a:pt x="114459" y="680561"/>
                    <a:pt x="130651" y="678656"/>
                  </a:cubicBezTo>
                  <a:cubicBezTo>
                    <a:pt x="142081" y="677704"/>
                    <a:pt x="152559" y="676751"/>
                    <a:pt x="162084" y="676751"/>
                  </a:cubicBezTo>
                  <a:cubicBezTo>
                    <a:pt x="193516" y="676751"/>
                    <a:pt x="208756" y="687229"/>
                    <a:pt x="207804" y="731044"/>
                  </a:cubicBezTo>
                  <a:cubicBezTo>
                    <a:pt x="207804" y="758666"/>
                    <a:pt x="204946" y="786289"/>
                    <a:pt x="214471" y="812006"/>
                  </a:cubicBezTo>
                  <a:cubicBezTo>
                    <a:pt x="223996" y="840581"/>
                    <a:pt x="236379" y="860584"/>
                    <a:pt x="233521" y="892016"/>
                  </a:cubicBezTo>
                  <a:cubicBezTo>
                    <a:pt x="228759" y="947261"/>
                    <a:pt x="196374" y="987266"/>
                    <a:pt x="202089" y="1046321"/>
                  </a:cubicBezTo>
                  <a:cubicBezTo>
                    <a:pt x="204946" y="1072039"/>
                    <a:pt x="211614" y="1084421"/>
                    <a:pt x="223044" y="1084421"/>
                  </a:cubicBezTo>
                  <a:cubicBezTo>
                    <a:pt x="231616" y="1084421"/>
                    <a:pt x="243046" y="1075849"/>
                    <a:pt x="256381" y="1060609"/>
                  </a:cubicBezTo>
                  <a:cubicBezTo>
                    <a:pt x="281146" y="1031081"/>
                    <a:pt x="309721" y="1006316"/>
                    <a:pt x="335439" y="977741"/>
                  </a:cubicBezTo>
                  <a:cubicBezTo>
                    <a:pt x="367824" y="942499"/>
                    <a:pt x="395446" y="870109"/>
                    <a:pt x="402114" y="823436"/>
                  </a:cubicBezTo>
                  <a:cubicBezTo>
                    <a:pt x="404971" y="797719"/>
                    <a:pt x="399256" y="771049"/>
                    <a:pt x="404971" y="746284"/>
                  </a:cubicBezTo>
                  <a:cubicBezTo>
                    <a:pt x="411639" y="709136"/>
                    <a:pt x="441166" y="680561"/>
                    <a:pt x="446881" y="645319"/>
                  </a:cubicBezTo>
                  <a:cubicBezTo>
                    <a:pt x="451644" y="617696"/>
                    <a:pt x="440214" y="623411"/>
                    <a:pt x="434499" y="600551"/>
                  </a:cubicBezTo>
                  <a:cubicBezTo>
                    <a:pt x="429736" y="583406"/>
                    <a:pt x="437356" y="563404"/>
                    <a:pt x="444024" y="549116"/>
                  </a:cubicBezTo>
                  <a:cubicBezTo>
                    <a:pt x="451644" y="532924"/>
                    <a:pt x="469741" y="519589"/>
                    <a:pt x="466884" y="499586"/>
                  </a:cubicBezTo>
                  <a:cubicBezTo>
                    <a:pt x="464026" y="477679"/>
                    <a:pt x="435451" y="464344"/>
                    <a:pt x="431641" y="443389"/>
                  </a:cubicBezTo>
                  <a:cubicBezTo>
                    <a:pt x="436404" y="441484"/>
                    <a:pt x="442119" y="440531"/>
                    <a:pt x="446881" y="440531"/>
                  </a:cubicBezTo>
                  <a:cubicBezTo>
                    <a:pt x="497364" y="440531"/>
                    <a:pt x="524034" y="557689"/>
                    <a:pt x="528796" y="591979"/>
                  </a:cubicBezTo>
                  <a:cubicBezTo>
                    <a:pt x="532606" y="618649"/>
                    <a:pt x="542131" y="634841"/>
                    <a:pt x="551656" y="634841"/>
                  </a:cubicBezTo>
                  <a:cubicBezTo>
                    <a:pt x="559276" y="634841"/>
                    <a:pt x="565944" y="625316"/>
                    <a:pt x="570706" y="602456"/>
                  </a:cubicBezTo>
                  <a:cubicBezTo>
                    <a:pt x="576421" y="572929"/>
                    <a:pt x="584994" y="546259"/>
                    <a:pt x="592614" y="519589"/>
                  </a:cubicBezTo>
                  <a:cubicBezTo>
                    <a:pt x="611664" y="448151"/>
                    <a:pt x="594519" y="416719"/>
                    <a:pt x="563086" y="356711"/>
                  </a:cubicBezTo>
                  <a:cubicBezTo>
                    <a:pt x="529749" y="293846"/>
                    <a:pt x="494506" y="219551"/>
                    <a:pt x="450691" y="161449"/>
                  </a:cubicBezTo>
                  <a:cubicBezTo>
                    <a:pt x="393541" y="91916"/>
                    <a:pt x="300196" y="51911"/>
                    <a:pt x="227806" y="7144"/>
                  </a:cubicBezTo>
                </a:path>
              </a:pathLst>
            </a:custGeom>
            <a:solidFill>
              <a:srgbClr val="724D8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9F4D19D0-5A2E-4607-8554-BC7B192680F6}"/>
                </a:ext>
              </a:extLst>
            </p:cNvPr>
            <p:cNvSpPr/>
            <p:nvPr/>
          </p:nvSpPr>
          <p:spPr bwMode="ltGray">
            <a:xfrm>
              <a:off x="3991507" y="4180841"/>
              <a:ext cx="1128733" cy="2206164"/>
            </a:xfrm>
            <a:custGeom>
              <a:avLst/>
              <a:gdLst>
                <a:gd name="connsiteX0" fmla="*/ 192849 w 209550"/>
                <a:gd name="connsiteY0" fmla="*/ 7144 h 409575"/>
                <a:gd name="connsiteX1" fmla="*/ 161417 w 209550"/>
                <a:gd name="connsiteY1" fmla="*/ 45244 h 409575"/>
                <a:gd name="connsiteX2" fmla="*/ 154749 w 209550"/>
                <a:gd name="connsiteY2" fmla="*/ 99536 h 409575"/>
                <a:gd name="connsiteX3" fmla="*/ 120459 w 209550"/>
                <a:gd name="connsiteY3" fmla="*/ 171926 h 409575"/>
                <a:gd name="connsiteX4" fmla="*/ 74739 w 209550"/>
                <a:gd name="connsiteY4" fmla="*/ 258604 h 409575"/>
                <a:gd name="connsiteX5" fmla="*/ 10921 w 209550"/>
                <a:gd name="connsiteY5" fmla="*/ 329089 h 409575"/>
                <a:gd name="connsiteX6" fmla="*/ 9969 w 209550"/>
                <a:gd name="connsiteY6" fmla="*/ 395764 h 409575"/>
                <a:gd name="connsiteX7" fmla="*/ 22351 w 209550"/>
                <a:gd name="connsiteY7" fmla="*/ 407194 h 409575"/>
                <a:gd name="connsiteX8" fmla="*/ 28066 w 209550"/>
                <a:gd name="connsiteY8" fmla="*/ 405289 h 409575"/>
                <a:gd name="connsiteX9" fmla="*/ 42354 w 209550"/>
                <a:gd name="connsiteY9" fmla="*/ 391954 h 409575"/>
                <a:gd name="connsiteX10" fmla="*/ 69976 w 209550"/>
                <a:gd name="connsiteY10" fmla="*/ 351949 h 409575"/>
                <a:gd name="connsiteX11" fmla="*/ 163321 w 209550"/>
                <a:gd name="connsiteY11" fmla="*/ 190024 h 409575"/>
                <a:gd name="connsiteX12" fmla="*/ 199517 w 209550"/>
                <a:gd name="connsiteY12" fmla="*/ 19526 h 409575"/>
                <a:gd name="connsiteX13" fmla="*/ 192849 w 209550"/>
                <a:gd name="connsiteY13" fmla="*/ 7144 h 4095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09550" h="409575">
                  <a:moveTo>
                    <a:pt x="192849" y="7144"/>
                  </a:moveTo>
                  <a:cubicBezTo>
                    <a:pt x="187134" y="24289"/>
                    <a:pt x="168084" y="30004"/>
                    <a:pt x="161417" y="45244"/>
                  </a:cubicBezTo>
                  <a:cubicBezTo>
                    <a:pt x="156654" y="58579"/>
                    <a:pt x="157606" y="84296"/>
                    <a:pt x="154749" y="99536"/>
                  </a:cubicBezTo>
                  <a:cubicBezTo>
                    <a:pt x="149034" y="131921"/>
                    <a:pt x="137604" y="144304"/>
                    <a:pt x="120459" y="171926"/>
                  </a:cubicBezTo>
                  <a:cubicBezTo>
                    <a:pt x="102361" y="199549"/>
                    <a:pt x="96646" y="233839"/>
                    <a:pt x="74739" y="258604"/>
                  </a:cubicBezTo>
                  <a:cubicBezTo>
                    <a:pt x="53784" y="282416"/>
                    <a:pt x="19494" y="295751"/>
                    <a:pt x="10921" y="329089"/>
                  </a:cubicBezTo>
                  <a:cubicBezTo>
                    <a:pt x="7111" y="341471"/>
                    <a:pt x="5206" y="383381"/>
                    <a:pt x="9969" y="395764"/>
                  </a:cubicBezTo>
                  <a:cubicBezTo>
                    <a:pt x="13779" y="403384"/>
                    <a:pt x="17589" y="407194"/>
                    <a:pt x="22351" y="407194"/>
                  </a:cubicBezTo>
                  <a:cubicBezTo>
                    <a:pt x="24256" y="407194"/>
                    <a:pt x="26161" y="406241"/>
                    <a:pt x="28066" y="405289"/>
                  </a:cubicBezTo>
                  <a:cubicBezTo>
                    <a:pt x="32829" y="401479"/>
                    <a:pt x="37591" y="396716"/>
                    <a:pt x="42354" y="391954"/>
                  </a:cubicBezTo>
                  <a:cubicBezTo>
                    <a:pt x="52831" y="379571"/>
                    <a:pt x="62356" y="362426"/>
                    <a:pt x="69976" y="351949"/>
                  </a:cubicBezTo>
                  <a:cubicBezTo>
                    <a:pt x="106171" y="300514"/>
                    <a:pt x="131889" y="243364"/>
                    <a:pt x="163321" y="190024"/>
                  </a:cubicBezTo>
                  <a:cubicBezTo>
                    <a:pt x="195706" y="135731"/>
                    <a:pt x="218567" y="82391"/>
                    <a:pt x="199517" y="19526"/>
                  </a:cubicBezTo>
                  <a:lnTo>
                    <a:pt x="192849" y="7144"/>
                  </a:lnTo>
                  <a:close/>
                </a:path>
              </a:pathLst>
            </a:custGeom>
            <a:solidFill>
              <a:srgbClr val="724D8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67B06B57-87F2-4999-9051-9130D4219140}"/>
                </a:ext>
              </a:extLst>
            </p:cNvPr>
            <p:cNvSpPr/>
            <p:nvPr/>
          </p:nvSpPr>
          <p:spPr bwMode="ltGray">
            <a:xfrm>
              <a:off x="3811259" y="4868343"/>
              <a:ext cx="359144" cy="718287"/>
            </a:xfrm>
            <a:custGeom>
              <a:avLst/>
              <a:gdLst>
                <a:gd name="connsiteX0" fmla="*/ 68197 w 66675"/>
                <a:gd name="connsiteY0" fmla="*/ 7144 h 133350"/>
                <a:gd name="connsiteX1" fmla="*/ 55814 w 66675"/>
                <a:gd name="connsiteY1" fmla="*/ 26194 h 133350"/>
                <a:gd name="connsiteX2" fmla="*/ 8189 w 66675"/>
                <a:gd name="connsiteY2" fmla="*/ 133826 h 133350"/>
                <a:gd name="connsiteX3" fmla="*/ 68197 w 66675"/>
                <a:gd name="connsiteY3" fmla="*/ 7144 h 1333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6675" h="133350">
                  <a:moveTo>
                    <a:pt x="68197" y="7144"/>
                  </a:moveTo>
                  <a:lnTo>
                    <a:pt x="55814" y="26194"/>
                  </a:lnTo>
                  <a:cubicBezTo>
                    <a:pt x="46289" y="54769"/>
                    <a:pt x="-383" y="106204"/>
                    <a:pt x="8189" y="133826"/>
                  </a:cubicBezTo>
                  <a:cubicBezTo>
                    <a:pt x="66292" y="124301"/>
                    <a:pt x="68197" y="53816"/>
                    <a:pt x="68197" y="7144"/>
                  </a:cubicBezTo>
                </a:path>
              </a:pathLst>
            </a:custGeom>
            <a:solidFill>
              <a:srgbClr val="724D8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/>
            </a:p>
          </p:txBody>
        </p:sp>
      </p:grpSp>
      <p:grpSp>
        <p:nvGrpSpPr>
          <p:cNvPr id="15" name="Group 14">
            <a:extLst>
              <a:ext uri="{FF2B5EF4-FFF2-40B4-BE49-F238E27FC236}">
                <a16:creationId xmlns:a16="http://schemas.microsoft.com/office/drawing/2014/main" id="{16E1C2E2-BB89-4D6F-9E26-4819552D2F46}"/>
              </a:ext>
            </a:extLst>
          </p:cNvPr>
          <p:cNvGrpSpPr>
            <a:grpSpLocks noChangeAspect="1"/>
          </p:cNvGrpSpPr>
          <p:nvPr/>
        </p:nvGrpSpPr>
        <p:grpSpPr>
          <a:xfrm>
            <a:off x="1075883" y="5227486"/>
            <a:ext cx="2286000" cy="880288"/>
            <a:chOff x="2078951" y="1888610"/>
            <a:chExt cx="8030200" cy="3092248"/>
          </a:xfrm>
          <a:solidFill>
            <a:srgbClr val="FFFFFF"/>
          </a:solidFill>
        </p:grpSpPr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951AEA87-C235-450A-AFCD-D7D7402D584D}"/>
                </a:ext>
              </a:extLst>
            </p:cNvPr>
            <p:cNvSpPr/>
            <p:nvPr/>
          </p:nvSpPr>
          <p:spPr>
            <a:xfrm>
              <a:off x="2078951" y="2872694"/>
              <a:ext cx="951880" cy="652717"/>
            </a:xfrm>
            <a:custGeom>
              <a:avLst/>
              <a:gdLst>
                <a:gd name="connsiteX0" fmla="*/ 903041 w 951880"/>
                <a:gd name="connsiteY0" fmla="*/ 330574 h 652717"/>
                <a:gd name="connsiteX1" fmla="*/ 780656 w 951880"/>
                <a:gd name="connsiteY1" fmla="*/ 379528 h 652717"/>
                <a:gd name="connsiteX2" fmla="*/ 598439 w 951880"/>
                <a:gd name="connsiteY2" fmla="*/ 311537 h 652717"/>
                <a:gd name="connsiteX3" fmla="*/ 505970 w 951880"/>
                <a:gd name="connsiteY3" fmla="*/ 164675 h 652717"/>
                <a:gd name="connsiteX4" fmla="*/ 266640 w 951880"/>
                <a:gd name="connsiteY4" fmla="*/ 61329 h 652717"/>
                <a:gd name="connsiteX5" fmla="*/ 103461 w 951880"/>
                <a:gd name="connsiteY5" fmla="*/ 458398 h 652717"/>
                <a:gd name="connsiteX6" fmla="*/ 756179 w 951880"/>
                <a:gd name="connsiteY6" fmla="*/ 485595 h 652717"/>
                <a:gd name="connsiteX7" fmla="*/ 903041 w 951880"/>
                <a:gd name="connsiteY7" fmla="*/ 330574 h 6527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51880" h="652717">
                  <a:moveTo>
                    <a:pt x="903041" y="330574"/>
                  </a:moveTo>
                  <a:cubicBezTo>
                    <a:pt x="867685" y="363210"/>
                    <a:pt x="813292" y="374089"/>
                    <a:pt x="780656" y="379528"/>
                  </a:cubicBezTo>
                  <a:cubicBezTo>
                    <a:pt x="712664" y="387687"/>
                    <a:pt x="641953" y="365930"/>
                    <a:pt x="598439" y="311537"/>
                  </a:cubicBezTo>
                  <a:cubicBezTo>
                    <a:pt x="563083" y="268022"/>
                    <a:pt x="544046" y="210910"/>
                    <a:pt x="505970" y="164675"/>
                  </a:cubicBezTo>
                  <a:cubicBezTo>
                    <a:pt x="448858" y="93964"/>
                    <a:pt x="359109" y="45011"/>
                    <a:pt x="266640" y="61329"/>
                  </a:cubicBezTo>
                  <a:cubicBezTo>
                    <a:pt x="81704" y="93964"/>
                    <a:pt x="114" y="308817"/>
                    <a:pt x="103461" y="458398"/>
                  </a:cubicBezTo>
                  <a:cubicBezTo>
                    <a:pt x="253042" y="670531"/>
                    <a:pt x="584840" y="635176"/>
                    <a:pt x="756179" y="485595"/>
                  </a:cubicBezTo>
                  <a:cubicBezTo>
                    <a:pt x="813292" y="442080"/>
                    <a:pt x="862246" y="390407"/>
                    <a:pt x="903041" y="330574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05CE8A05-C7FA-4C3B-8336-544EA5285D5A}"/>
                </a:ext>
              </a:extLst>
            </p:cNvPr>
            <p:cNvSpPr/>
            <p:nvPr/>
          </p:nvSpPr>
          <p:spPr>
            <a:xfrm>
              <a:off x="9151831" y="2872694"/>
              <a:ext cx="951880" cy="652717"/>
            </a:xfrm>
            <a:custGeom>
              <a:avLst/>
              <a:gdLst>
                <a:gd name="connsiteX0" fmla="*/ 58178 w 951880"/>
                <a:gd name="connsiteY0" fmla="*/ 330574 h 652717"/>
                <a:gd name="connsiteX1" fmla="*/ 180563 w 951880"/>
                <a:gd name="connsiteY1" fmla="*/ 379528 h 652717"/>
                <a:gd name="connsiteX2" fmla="*/ 362780 w 951880"/>
                <a:gd name="connsiteY2" fmla="*/ 311537 h 652717"/>
                <a:gd name="connsiteX3" fmla="*/ 455249 w 951880"/>
                <a:gd name="connsiteY3" fmla="*/ 164675 h 652717"/>
                <a:gd name="connsiteX4" fmla="*/ 694578 w 951880"/>
                <a:gd name="connsiteY4" fmla="*/ 61329 h 652717"/>
                <a:gd name="connsiteX5" fmla="*/ 857758 w 951880"/>
                <a:gd name="connsiteY5" fmla="*/ 458398 h 652717"/>
                <a:gd name="connsiteX6" fmla="*/ 205040 w 951880"/>
                <a:gd name="connsiteY6" fmla="*/ 485595 h 652717"/>
                <a:gd name="connsiteX7" fmla="*/ 58178 w 951880"/>
                <a:gd name="connsiteY7" fmla="*/ 330574 h 6527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51880" h="652717">
                  <a:moveTo>
                    <a:pt x="58178" y="330574"/>
                  </a:moveTo>
                  <a:cubicBezTo>
                    <a:pt x="96253" y="363210"/>
                    <a:pt x="147927" y="374089"/>
                    <a:pt x="180563" y="379528"/>
                  </a:cubicBezTo>
                  <a:cubicBezTo>
                    <a:pt x="248554" y="387687"/>
                    <a:pt x="319266" y="365930"/>
                    <a:pt x="362780" y="311537"/>
                  </a:cubicBezTo>
                  <a:cubicBezTo>
                    <a:pt x="398136" y="268022"/>
                    <a:pt x="417174" y="210910"/>
                    <a:pt x="455249" y="164675"/>
                  </a:cubicBezTo>
                  <a:cubicBezTo>
                    <a:pt x="512362" y="93964"/>
                    <a:pt x="602110" y="45011"/>
                    <a:pt x="694578" y="61329"/>
                  </a:cubicBezTo>
                  <a:cubicBezTo>
                    <a:pt x="879515" y="93964"/>
                    <a:pt x="961105" y="308817"/>
                    <a:pt x="857758" y="458398"/>
                  </a:cubicBezTo>
                  <a:cubicBezTo>
                    <a:pt x="708176" y="670531"/>
                    <a:pt x="376379" y="635176"/>
                    <a:pt x="205040" y="485595"/>
                  </a:cubicBezTo>
                  <a:cubicBezTo>
                    <a:pt x="150646" y="442080"/>
                    <a:pt x="101693" y="390407"/>
                    <a:pt x="58178" y="330574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3BA579D5-98DD-4625-9DD5-1FCE1B6ABB39}"/>
                </a:ext>
              </a:extLst>
            </p:cNvPr>
            <p:cNvSpPr/>
            <p:nvPr/>
          </p:nvSpPr>
          <p:spPr>
            <a:xfrm>
              <a:off x="8001294" y="2010994"/>
              <a:ext cx="734308" cy="299162"/>
            </a:xfrm>
            <a:custGeom>
              <a:avLst/>
              <a:gdLst>
                <a:gd name="connsiteX0" fmla="*/ 596792 w 734307"/>
                <a:gd name="connsiteY0" fmla="*/ 58178 h 299162"/>
                <a:gd name="connsiteX1" fmla="*/ 148048 w 734307"/>
                <a:gd name="connsiteY1" fmla="*/ 58178 h 299162"/>
                <a:gd name="connsiteX2" fmla="*/ 58299 w 734307"/>
                <a:gd name="connsiteY2" fmla="*/ 150646 h 299162"/>
                <a:gd name="connsiteX3" fmla="*/ 148048 w 734307"/>
                <a:gd name="connsiteY3" fmla="*/ 251274 h 299162"/>
                <a:gd name="connsiteX4" fmla="*/ 596792 w 734307"/>
                <a:gd name="connsiteY4" fmla="*/ 251274 h 299162"/>
                <a:gd name="connsiteX5" fmla="*/ 686541 w 734307"/>
                <a:gd name="connsiteY5" fmla="*/ 158805 h 299162"/>
                <a:gd name="connsiteX6" fmla="*/ 596792 w 734307"/>
                <a:gd name="connsiteY6" fmla="*/ 58178 h 2991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34307" h="299162">
                  <a:moveTo>
                    <a:pt x="596792" y="58178"/>
                  </a:moveTo>
                  <a:cubicBezTo>
                    <a:pt x="591353" y="58178"/>
                    <a:pt x="153487" y="58178"/>
                    <a:pt x="148048" y="58178"/>
                  </a:cubicBezTo>
                  <a:cubicBezTo>
                    <a:pt x="99094" y="60898"/>
                    <a:pt x="61019" y="104412"/>
                    <a:pt x="58299" y="150646"/>
                  </a:cubicBezTo>
                  <a:cubicBezTo>
                    <a:pt x="55580" y="199600"/>
                    <a:pt x="99094" y="248554"/>
                    <a:pt x="148048" y="251274"/>
                  </a:cubicBezTo>
                  <a:cubicBezTo>
                    <a:pt x="153487" y="251274"/>
                    <a:pt x="591353" y="251274"/>
                    <a:pt x="596792" y="251274"/>
                  </a:cubicBezTo>
                  <a:cubicBezTo>
                    <a:pt x="645746" y="248554"/>
                    <a:pt x="683821" y="205040"/>
                    <a:pt x="686541" y="158805"/>
                  </a:cubicBezTo>
                  <a:cubicBezTo>
                    <a:pt x="689260" y="109852"/>
                    <a:pt x="648465" y="60898"/>
                    <a:pt x="596792" y="58178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AE511275-1C6B-4F4E-8A9B-E40DF8FAEF2B}"/>
                </a:ext>
              </a:extLst>
            </p:cNvPr>
            <p:cNvSpPr/>
            <p:nvPr/>
          </p:nvSpPr>
          <p:spPr>
            <a:xfrm>
              <a:off x="4920042" y="2277520"/>
              <a:ext cx="1006274" cy="951879"/>
            </a:xfrm>
            <a:custGeom>
              <a:avLst/>
              <a:gdLst>
                <a:gd name="connsiteX0" fmla="*/ 884954 w 1006273"/>
                <a:gd name="connsiteY0" fmla="*/ 746251 h 951879"/>
                <a:gd name="connsiteX1" fmla="*/ 874076 w 1006273"/>
                <a:gd name="connsiteY1" fmla="*/ 670101 h 951879"/>
                <a:gd name="connsiteX2" fmla="*/ 874076 w 1006273"/>
                <a:gd name="connsiteY2" fmla="*/ 536837 h 951879"/>
                <a:gd name="connsiteX3" fmla="*/ 689139 w 1006273"/>
                <a:gd name="connsiteY3" fmla="*/ 88094 h 951879"/>
                <a:gd name="connsiteX4" fmla="*/ 428052 w 1006273"/>
                <a:gd name="connsiteY4" fmla="*/ 253993 h 951879"/>
                <a:gd name="connsiteX5" fmla="*/ 196881 w 1006273"/>
                <a:gd name="connsiteY5" fmla="*/ 58178 h 951879"/>
                <a:gd name="connsiteX6" fmla="*/ 58178 w 1006273"/>
                <a:gd name="connsiteY6" fmla="*/ 128889 h 951879"/>
                <a:gd name="connsiteX7" fmla="*/ 142488 w 1006273"/>
                <a:gd name="connsiteY7" fmla="*/ 273031 h 951879"/>
                <a:gd name="connsiteX8" fmla="*/ 142488 w 1006273"/>
                <a:gd name="connsiteY8" fmla="*/ 757130 h 951879"/>
                <a:gd name="connsiteX9" fmla="*/ 283910 w 1006273"/>
                <a:gd name="connsiteY9" fmla="*/ 895832 h 951879"/>
                <a:gd name="connsiteX10" fmla="*/ 428052 w 1006273"/>
                <a:gd name="connsiteY10" fmla="*/ 757130 h 951879"/>
                <a:gd name="connsiteX11" fmla="*/ 428052 w 1006273"/>
                <a:gd name="connsiteY11" fmla="*/ 400855 h 951879"/>
                <a:gd name="connsiteX12" fmla="*/ 523240 w 1006273"/>
                <a:gd name="connsiteY12" fmla="*/ 283910 h 951879"/>
                <a:gd name="connsiteX13" fmla="*/ 591231 w 1006273"/>
                <a:gd name="connsiteY13" fmla="*/ 354621 h 951879"/>
                <a:gd name="connsiteX14" fmla="*/ 591231 w 1006273"/>
                <a:gd name="connsiteY14" fmla="*/ 697297 h 951879"/>
                <a:gd name="connsiteX15" fmla="*/ 593951 w 1006273"/>
                <a:gd name="connsiteY15" fmla="*/ 729933 h 951879"/>
                <a:gd name="connsiteX16" fmla="*/ 610269 w 1006273"/>
                <a:gd name="connsiteY16" fmla="*/ 778887 h 951879"/>
                <a:gd name="connsiteX17" fmla="*/ 822402 w 1006273"/>
                <a:gd name="connsiteY17" fmla="*/ 893112 h 951879"/>
                <a:gd name="connsiteX18" fmla="*/ 961105 w 1006273"/>
                <a:gd name="connsiteY18" fmla="*/ 822401 h 951879"/>
                <a:gd name="connsiteX19" fmla="*/ 884954 w 1006273"/>
                <a:gd name="connsiteY19" fmla="*/ 746251 h 9518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006273" h="951879">
                  <a:moveTo>
                    <a:pt x="884954" y="746251"/>
                  </a:moveTo>
                  <a:cubicBezTo>
                    <a:pt x="879515" y="721774"/>
                    <a:pt x="876795" y="694578"/>
                    <a:pt x="874076" y="670101"/>
                  </a:cubicBezTo>
                  <a:cubicBezTo>
                    <a:pt x="874076" y="634745"/>
                    <a:pt x="874076" y="583072"/>
                    <a:pt x="874076" y="536837"/>
                  </a:cubicBezTo>
                  <a:cubicBezTo>
                    <a:pt x="879515" y="373658"/>
                    <a:pt x="909431" y="88094"/>
                    <a:pt x="689139" y="88094"/>
                  </a:cubicBezTo>
                  <a:cubicBezTo>
                    <a:pt x="539558" y="88094"/>
                    <a:pt x="452529" y="213199"/>
                    <a:pt x="428052" y="253993"/>
                  </a:cubicBezTo>
                  <a:cubicBezTo>
                    <a:pt x="425332" y="139768"/>
                    <a:pt x="335583" y="58178"/>
                    <a:pt x="196881" y="58178"/>
                  </a:cubicBezTo>
                  <a:cubicBezTo>
                    <a:pt x="109852" y="58178"/>
                    <a:pt x="58178" y="128889"/>
                    <a:pt x="58178" y="128889"/>
                  </a:cubicBezTo>
                  <a:cubicBezTo>
                    <a:pt x="58178" y="128889"/>
                    <a:pt x="142488" y="158805"/>
                    <a:pt x="142488" y="273031"/>
                  </a:cubicBezTo>
                  <a:cubicBezTo>
                    <a:pt x="142488" y="354621"/>
                    <a:pt x="142488" y="757130"/>
                    <a:pt x="142488" y="757130"/>
                  </a:cubicBezTo>
                  <a:cubicBezTo>
                    <a:pt x="145207" y="827841"/>
                    <a:pt x="194161" y="895832"/>
                    <a:pt x="283910" y="895832"/>
                  </a:cubicBezTo>
                  <a:cubicBezTo>
                    <a:pt x="373659" y="895832"/>
                    <a:pt x="428052" y="827841"/>
                    <a:pt x="428052" y="757130"/>
                  </a:cubicBezTo>
                  <a:lnTo>
                    <a:pt x="428052" y="400855"/>
                  </a:lnTo>
                  <a:cubicBezTo>
                    <a:pt x="441650" y="343742"/>
                    <a:pt x="474286" y="283910"/>
                    <a:pt x="523240" y="283910"/>
                  </a:cubicBezTo>
                  <a:cubicBezTo>
                    <a:pt x="585792" y="283910"/>
                    <a:pt x="591231" y="354621"/>
                    <a:pt x="591231" y="354621"/>
                  </a:cubicBezTo>
                  <a:lnTo>
                    <a:pt x="591231" y="697297"/>
                  </a:lnTo>
                  <a:cubicBezTo>
                    <a:pt x="591231" y="708176"/>
                    <a:pt x="593951" y="719054"/>
                    <a:pt x="593951" y="729933"/>
                  </a:cubicBezTo>
                  <a:cubicBezTo>
                    <a:pt x="596671" y="748971"/>
                    <a:pt x="602110" y="765289"/>
                    <a:pt x="610269" y="778887"/>
                  </a:cubicBezTo>
                  <a:cubicBezTo>
                    <a:pt x="645624" y="846878"/>
                    <a:pt x="719055" y="893112"/>
                    <a:pt x="822402" y="893112"/>
                  </a:cubicBezTo>
                  <a:cubicBezTo>
                    <a:pt x="909431" y="893112"/>
                    <a:pt x="961105" y="822401"/>
                    <a:pt x="961105" y="822401"/>
                  </a:cubicBezTo>
                  <a:cubicBezTo>
                    <a:pt x="961105" y="822401"/>
                    <a:pt x="909431" y="808803"/>
                    <a:pt x="884954" y="746251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/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938331E1-8771-498E-825A-8979204BF675}"/>
                </a:ext>
              </a:extLst>
            </p:cNvPr>
            <p:cNvSpPr/>
            <p:nvPr/>
          </p:nvSpPr>
          <p:spPr>
            <a:xfrm>
              <a:off x="7552331" y="1888610"/>
              <a:ext cx="489539" cy="1332631"/>
            </a:xfrm>
            <a:custGeom>
              <a:avLst/>
              <a:gdLst>
                <a:gd name="connsiteX0" fmla="*/ 368560 w 489538"/>
                <a:gd name="connsiteY0" fmla="*/ 1135162 h 1332630"/>
                <a:gd name="connsiteX1" fmla="*/ 357681 w 489538"/>
                <a:gd name="connsiteY1" fmla="*/ 1059011 h 1332630"/>
                <a:gd name="connsiteX2" fmla="*/ 357681 w 489538"/>
                <a:gd name="connsiteY2" fmla="*/ 207759 h 1332630"/>
                <a:gd name="connsiteX3" fmla="*/ 208099 w 489538"/>
                <a:gd name="connsiteY3" fmla="*/ 58178 h 1332630"/>
                <a:gd name="connsiteX4" fmla="*/ 58518 w 489538"/>
                <a:gd name="connsiteY4" fmla="*/ 207759 h 1332630"/>
                <a:gd name="connsiteX5" fmla="*/ 58518 w 489538"/>
                <a:gd name="connsiteY5" fmla="*/ 961104 h 1332630"/>
                <a:gd name="connsiteX6" fmla="*/ 85715 w 489538"/>
                <a:gd name="connsiteY6" fmla="*/ 1159639 h 1332630"/>
                <a:gd name="connsiteX7" fmla="*/ 306007 w 489538"/>
                <a:gd name="connsiteY7" fmla="*/ 1282023 h 1332630"/>
                <a:gd name="connsiteX8" fmla="*/ 444710 w 489538"/>
                <a:gd name="connsiteY8" fmla="*/ 1211312 h 1332630"/>
                <a:gd name="connsiteX9" fmla="*/ 368560 w 489538"/>
                <a:gd name="connsiteY9" fmla="*/ 1135162 h 13326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89538" h="1332630">
                  <a:moveTo>
                    <a:pt x="368560" y="1135162"/>
                  </a:moveTo>
                  <a:cubicBezTo>
                    <a:pt x="363120" y="1110685"/>
                    <a:pt x="357681" y="1083488"/>
                    <a:pt x="357681" y="1059011"/>
                  </a:cubicBezTo>
                  <a:lnTo>
                    <a:pt x="357681" y="207759"/>
                  </a:lnTo>
                  <a:cubicBezTo>
                    <a:pt x="357681" y="126170"/>
                    <a:pt x="289689" y="58178"/>
                    <a:pt x="208099" y="58178"/>
                  </a:cubicBezTo>
                  <a:cubicBezTo>
                    <a:pt x="126510" y="58178"/>
                    <a:pt x="58518" y="126170"/>
                    <a:pt x="58518" y="207759"/>
                  </a:cubicBezTo>
                  <a:lnTo>
                    <a:pt x="58518" y="961104"/>
                  </a:lnTo>
                  <a:cubicBezTo>
                    <a:pt x="58518" y="1029095"/>
                    <a:pt x="53079" y="1097086"/>
                    <a:pt x="85715" y="1159639"/>
                  </a:cubicBezTo>
                  <a:cubicBezTo>
                    <a:pt x="118351" y="1227630"/>
                    <a:pt x="202660" y="1282023"/>
                    <a:pt x="306007" y="1282023"/>
                  </a:cubicBezTo>
                  <a:cubicBezTo>
                    <a:pt x="393036" y="1282023"/>
                    <a:pt x="444710" y="1211312"/>
                    <a:pt x="444710" y="1211312"/>
                  </a:cubicBezTo>
                  <a:cubicBezTo>
                    <a:pt x="444710" y="1211312"/>
                    <a:pt x="393036" y="1197714"/>
                    <a:pt x="368560" y="1135162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4E0F7623-F722-46A3-8DCD-E4C303E014A0}"/>
                </a:ext>
              </a:extLst>
            </p:cNvPr>
            <p:cNvSpPr/>
            <p:nvPr/>
          </p:nvSpPr>
          <p:spPr>
            <a:xfrm>
              <a:off x="4162324" y="2357456"/>
              <a:ext cx="815899" cy="815898"/>
            </a:xfrm>
            <a:custGeom>
              <a:avLst/>
              <a:gdLst>
                <a:gd name="connsiteX0" fmla="*/ 407949 w 815899"/>
                <a:gd name="connsiteY0" fmla="*/ 174058 h 815898"/>
                <a:gd name="connsiteX1" fmla="*/ 293723 w 815899"/>
                <a:gd name="connsiteY1" fmla="*/ 407950 h 815898"/>
                <a:gd name="connsiteX2" fmla="*/ 410669 w 815899"/>
                <a:gd name="connsiteY2" fmla="*/ 641840 h 815898"/>
                <a:gd name="connsiteX3" fmla="*/ 522175 w 815899"/>
                <a:gd name="connsiteY3" fmla="*/ 407950 h 815898"/>
                <a:gd name="connsiteX4" fmla="*/ 407949 w 815899"/>
                <a:gd name="connsiteY4" fmla="*/ 174058 h 815898"/>
                <a:gd name="connsiteX5" fmla="*/ 407950 w 815899"/>
                <a:gd name="connsiteY5" fmla="*/ 0 h 815898"/>
                <a:gd name="connsiteX6" fmla="*/ 815899 w 815899"/>
                <a:gd name="connsiteY6" fmla="*/ 407949 h 815898"/>
                <a:gd name="connsiteX7" fmla="*/ 407950 w 815899"/>
                <a:gd name="connsiteY7" fmla="*/ 815898 h 815898"/>
                <a:gd name="connsiteX8" fmla="*/ 0 w 815899"/>
                <a:gd name="connsiteY8" fmla="*/ 407949 h 815898"/>
                <a:gd name="connsiteX9" fmla="*/ 407950 w 815899"/>
                <a:gd name="connsiteY9" fmla="*/ 0 h 815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15899" h="815898">
                  <a:moveTo>
                    <a:pt x="407949" y="174058"/>
                  </a:moveTo>
                  <a:cubicBezTo>
                    <a:pt x="342677" y="174058"/>
                    <a:pt x="293723" y="263807"/>
                    <a:pt x="293723" y="407950"/>
                  </a:cubicBezTo>
                  <a:cubicBezTo>
                    <a:pt x="293723" y="552091"/>
                    <a:pt x="331799" y="639120"/>
                    <a:pt x="410669" y="641840"/>
                  </a:cubicBezTo>
                  <a:cubicBezTo>
                    <a:pt x="489539" y="641840"/>
                    <a:pt x="527614" y="552091"/>
                    <a:pt x="522175" y="407950"/>
                  </a:cubicBezTo>
                  <a:cubicBezTo>
                    <a:pt x="522175" y="263807"/>
                    <a:pt x="473221" y="176778"/>
                    <a:pt x="407949" y="174058"/>
                  </a:cubicBezTo>
                  <a:close/>
                  <a:moveTo>
                    <a:pt x="407950" y="0"/>
                  </a:moveTo>
                  <a:cubicBezTo>
                    <a:pt x="633682" y="0"/>
                    <a:pt x="815899" y="182217"/>
                    <a:pt x="815899" y="407949"/>
                  </a:cubicBezTo>
                  <a:cubicBezTo>
                    <a:pt x="815899" y="633681"/>
                    <a:pt x="633682" y="815898"/>
                    <a:pt x="407950" y="815898"/>
                  </a:cubicBezTo>
                  <a:cubicBezTo>
                    <a:pt x="182218" y="815898"/>
                    <a:pt x="0" y="633681"/>
                    <a:pt x="0" y="407949"/>
                  </a:cubicBezTo>
                  <a:cubicBezTo>
                    <a:pt x="0" y="182217"/>
                    <a:pt x="182218" y="0"/>
                    <a:pt x="407950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492D88A5-EFC5-4878-92A8-90872B618E80}"/>
                </a:ext>
              </a:extLst>
            </p:cNvPr>
            <p:cNvSpPr/>
            <p:nvPr/>
          </p:nvSpPr>
          <p:spPr>
            <a:xfrm>
              <a:off x="5884871" y="1946788"/>
              <a:ext cx="912802" cy="1223846"/>
            </a:xfrm>
            <a:custGeom>
              <a:avLst/>
              <a:gdLst>
                <a:gd name="connsiteX0" fmla="*/ 387907 w 912802"/>
                <a:gd name="connsiteY0" fmla="*/ 620081 h 1223846"/>
                <a:gd name="connsiteX1" fmla="*/ 273681 w 912802"/>
                <a:gd name="connsiteY1" fmla="*/ 824055 h 1223846"/>
                <a:gd name="connsiteX2" fmla="*/ 390627 w 912802"/>
                <a:gd name="connsiteY2" fmla="*/ 1028029 h 1223846"/>
                <a:gd name="connsiteX3" fmla="*/ 502132 w 912802"/>
                <a:gd name="connsiteY3" fmla="*/ 824055 h 1223846"/>
                <a:gd name="connsiteX4" fmla="*/ 387907 w 912802"/>
                <a:gd name="connsiteY4" fmla="*/ 620081 h 1223846"/>
                <a:gd name="connsiteX5" fmla="*/ 676192 w 912802"/>
                <a:gd name="connsiteY5" fmla="*/ 0 h 1223846"/>
                <a:gd name="connsiteX6" fmla="*/ 825773 w 912802"/>
                <a:gd name="connsiteY6" fmla="*/ 149581 h 1223846"/>
                <a:gd name="connsiteX7" fmla="*/ 825773 w 912802"/>
                <a:gd name="connsiteY7" fmla="*/ 1000834 h 1223846"/>
                <a:gd name="connsiteX8" fmla="*/ 836651 w 912802"/>
                <a:gd name="connsiteY8" fmla="*/ 1076985 h 1223846"/>
                <a:gd name="connsiteX9" fmla="*/ 912802 w 912802"/>
                <a:gd name="connsiteY9" fmla="*/ 1150415 h 1223846"/>
                <a:gd name="connsiteX10" fmla="*/ 774099 w 912802"/>
                <a:gd name="connsiteY10" fmla="*/ 1221126 h 1223846"/>
                <a:gd name="connsiteX11" fmla="*/ 553807 w 912802"/>
                <a:gd name="connsiteY11" fmla="*/ 1098742 h 1223846"/>
                <a:gd name="connsiteX12" fmla="*/ 548367 w 912802"/>
                <a:gd name="connsiteY12" fmla="*/ 1085144 h 1223846"/>
                <a:gd name="connsiteX13" fmla="*/ 398786 w 912802"/>
                <a:gd name="connsiteY13" fmla="*/ 1212967 h 1223846"/>
                <a:gd name="connsiteX14" fmla="*/ 156736 w 912802"/>
                <a:gd name="connsiteY14" fmla="*/ 1180332 h 1223846"/>
                <a:gd name="connsiteX15" fmla="*/ 287280 w 912802"/>
                <a:gd name="connsiteY15" fmla="*/ 416107 h 1223846"/>
                <a:gd name="connsiteX16" fmla="*/ 526611 w 912802"/>
                <a:gd name="connsiteY16" fmla="*/ 552091 h 1223846"/>
                <a:gd name="connsiteX17" fmla="*/ 526611 w 912802"/>
                <a:gd name="connsiteY17" fmla="*/ 149581 h 1223846"/>
                <a:gd name="connsiteX18" fmla="*/ 676192 w 912802"/>
                <a:gd name="connsiteY18" fmla="*/ 0 h 1223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912802" h="1223846">
                  <a:moveTo>
                    <a:pt x="387907" y="620081"/>
                  </a:moveTo>
                  <a:cubicBezTo>
                    <a:pt x="322635" y="620081"/>
                    <a:pt x="273681" y="698951"/>
                    <a:pt x="273681" y="824055"/>
                  </a:cubicBezTo>
                  <a:cubicBezTo>
                    <a:pt x="273681" y="949160"/>
                    <a:pt x="311756" y="1028029"/>
                    <a:pt x="390627" y="1028029"/>
                  </a:cubicBezTo>
                  <a:cubicBezTo>
                    <a:pt x="466777" y="1025310"/>
                    <a:pt x="504852" y="949160"/>
                    <a:pt x="502132" y="824055"/>
                  </a:cubicBezTo>
                  <a:cubicBezTo>
                    <a:pt x="502132" y="698951"/>
                    <a:pt x="455898" y="622801"/>
                    <a:pt x="387907" y="620081"/>
                  </a:cubicBezTo>
                  <a:close/>
                  <a:moveTo>
                    <a:pt x="676192" y="0"/>
                  </a:moveTo>
                  <a:cubicBezTo>
                    <a:pt x="757781" y="0"/>
                    <a:pt x="825773" y="67992"/>
                    <a:pt x="825773" y="149581"/>
                  </a:cubicBezTo>
                  <a:lnTo>
                    <a:pt x="825773" y="1000834"/>
                  </a:lnTo>
                  <a:cubicBezTo>
                    <a:pt x="828492" y="1025311"/>
                    <a:pt x="831212" y="1052508"/>
                    <a:pt x="836651" y="1076985"/>
                  </a:cubicBezTo>
                  <a:cubicBezTo>
                    <a:pt x="861128" y="1139537"/>
                    <a:pt x="912802" y="1150415"/>
                    <a:pt x="912802" y="1150415"/>
                  </a:cubicBezTo>
                  <a:cubicBezTo>
                    <a:pt x="912802" y="1150415"/>
                    <a:pt x="861128" y="1221126"/>
                    <a:pt x="774099" y="1221126"/>
                  </a:cubicBezTo>
                  <a:cubicBezTo>
                    <a:pt x="670752" y="1221126"/>
                    <a:pt x="589162" y="1166733"/>
                    <a:pt x="553807" y="1098742"/>
                  </a:cubicBezTo>
                  <a:cubicBezTo>
                    <a:pt x="551087" y="1093303"/>
                    <a:pt x="551087" y="1090583"/>
                    <a:pt x="548367" y="1085144"/>
                  </a:cubicBezTo>
                  <a:cubicBezTo>
                    <a:pt x="534769" y="1147696"/>
                    <a:pt x="450460" y="1199369"/>
                    <a:pt x="398786" y="1212967"/>
                  </a:cubicBezTo>
                  <a:cubicBezTo>
                    <a:pt x="322636" y="1234725"/>
                    <a:pt x="222008" y="1223846"/>
                    <a:pt x="156736" y="1180332"/>
                  </a:cubicBezTo>
                  <a:cubicBezTo>
                    <a:pt x="-79874" y="1028031"/>
                    <a:pt x="-58117" y="416107"/>
                    <a:pt x="287280" y="416107"/>
                  </a:cubicBezTo>
                  <a:cubicBezTo>
                    <a:pt x="412385" y="416107"/>
                    <a:pt x="491255" y="503137"/>
                    <a:pt x="526611" y="552091"/>
                  </a:cubicBezTo>
                  <a:lnTo>
                    <a:pt x="526611" y="149581"/>
                  </a:lnTo>
                  <a:cubicBezTo>
                    <a:pt x="526611" y="67992"/>
                    <a:pt x="594602" y="0"/>
                    <a:pt x="676192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D2C98FC1-954B-4A65-A246-E2EB71113B59}"/>
                </a:ext>
              </a:extLst>
            </p:cNvPr>
            <p:cNvSpPr/>
            <p:nvPr/>
          </p:nvSpPr>
          <p:spPr>
            <a:xfrm>
              <a:off x="6789513" y="2362895"/>
              <a:ext cx="747906" cy="810458"/>
            </a:xfrm>
            <a:custGeom>
              <a:avLst/>
              <a:gdLst>
                <a:gd name="connsiteX0" fmla="*/ 394818 w 747906"/>
                <a:gd name="connsiteY0" fmla="*/ 163222 h 810458"/>
                <a:gd name="connsiteX1" fmla="*/ 356275 w 747906"/>
                <a:gd name="connsiteY1" fmla="*/ 174058 h 810458"/>
                <a:gd name="connsiteX2" fmla="*/ 274685 w 747906"/>
                <a:gd name="connsiteY2" fmla="*/ 356275 h 810458"/>
                <a:gd name="connsiteX3" fmla="*/ 375313 w 747906"/>
                <a:gd name="connsiteY3" fmla="*/ 358994 h 810458"/>
                <a:gd name="connsiteX4" fmla="*/ 473220 w 747906"/>
                <a:gd name="connsiteY4" fmla="*/ 239329 h 810458"/>
                <a:gd name="connsiteX5" fmla="*/ 394818 w 747906"/>
                <a:gd name="connsiteY5" fmla="*/ 163222 h 810458"/>
                <a:gd name="connsiteX6" fmla="*/ 386192 w 747906"/>
                <a:gd name="connsiteY6" fmla="*/ 0 h 810458"/>
                <a:gd name="connsiteX7" fmla="*/ 747906 w 747906"/>
                <a:gd name="connsiteY7" fmla="*/ 266526 h 810458"/>
                <a:gd name="connsiteX8" fmla="*/ 291004 w 747906"/>
                <a:gd name="connsiteY8" fmla="*/ 484100 h 810458"/>
                <a:gd name="connsiteX9" fmla="*/ 497698 w 747906"/>
                <a:gd name="connsiteY9" fmla="*/ 617363 h 810458"/>
                <a:gd name="connsiteX10" fmla="*/ 712551 w 747906"/>
                <a:gd name="connsiteY10" fmla="*/ 557530 h 810458"/>
                <a:gd name="connsiteX11" fmla="*/ 388912 w 747906"/>
                <a:gd name="connsiteY11" fmla="*/ 810458 h 810458"/>
                <a:gd name="connsiteX12" fmla="*/ 0 w 747906"/>
                <a:gd name="connsiteY12" fmla="*/ 413389 h 810458"/>
                <a:gd name="connsiteX13" fmla="*/ 386192 w 747906"/>
                <a:gd name="connsiteY13" fmla="*/ 0 h 8104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747906" h="810458">
                  <a:moveTo>
                    <a:pt x="394818" y="163222"/>
                  </a:moveTo>
                  <a:cubicBezTo>
                    <a:pt x="381772" y="163179"/>
                    <a:pt x="368514" y="166579"/>
                    <a:pt x="356275" y="174058"/>
                  </a:cubicBezTo>
                  <a:cubicBezTo>
                    <a:pt x="299162" y="212133"/>
                    <a:pt x="282844" y="291003"/>
                    <a:pt x="274685" y="356275"/>
                  </a:cubicBezTo>
                  <a:cubicBezTo>
                    <a:pt x="274685" y="364434"/>
                    <a:pt x="369873" y="358994"/>
                    <a:pt x="375313" y="358994"/>
                  </a:cubicBezTo>
                  <a:cubicBezTo>
                    <a:pt x="432425" y="345396"/>
                    <a:pt x="473220" y="301881"/>
                    <a:pt x="473220" y="239329"/>
                  </a:cubicBezTo>
                  <a:cubicBezTo>
                    <a:pt x="471181" y="194455"/>
                    <a:pt x="433956" y="163349"/>
                    <a:pt x="394818" y="163222"/>
                  </a:cubicBezTo>
                  <a:close/>
                  <a:moveTo>
                    <a:pt x="386192" y="0"/>
                  </a:moveTo>
                  <a:cubicBezTo>
                    <a:pt x="519455" y="0"/>
                    <a:pt x="747906" y="65272"/>
                    <a:pt x="747906" y="266526"/>
                  </a:cubicBezTo>
                  <a:cubicBezTo>
                    <a:pt x="747906" y="467782"/>
                    <a:pt x="538493" y="484100"/>
                    <a:pt x="291004" y="484100"/>
                  </a:cubicBezTo>
                  <a:cubicBezTo>
                    <a:pt x="291004" y="484100"/>
                    <a:pt x="326359" y="617363"/>
                    <a:pt x="497698" y="617363"/>
                  </a:cubicBezTo>
                  <a:cubicBezTo>
                    <a:pt x="669036" y="617363"/>
                    <a:pt x="712551" y="557530"/>
                    <a:pt x="712551" y="557530"/>
                  </a:cubicBezTo>
                  <a:cubicBezTo>
                    <a:pt x="712551" y="557530"/>
                    <a:pt x="696233" y="810458"/>
                    <a:pt x="388912" y="810458"/>
                  </a:cubicBezTo>
                  <a:cubicBezTo>
                    <a:pt x="212134" y="810458"/>
                    <a:pt x="0" y="677195"/>
                    <a:pt x="0" y="413389"/>
                  </a:cubicBezTo>
                  <a:cubicBezTo>
                    <a:pt x="0" y="176778"/>
                    <a:pt x="163180" y="0"/>
                    <a:pt x="386192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1E73EAB4-BAF9-4B68-B129-BC041994C622}"/>
                </a:ext>
              </a:extLst>
            </p:cNvPr>
            <p:cNvSpPr/>
            <p:nvPr/>
          </p:nvSpPr>
          <p:spPr>
            <a:xfrm>
              <a:off x="7988882" y="2362895"/>
              <a:ext cx="747906" cy="810458"/>
            </a:xfrm>
            <a:custGeom>
              <a:avLst/>
              <a:gdLst>
                <a:gd name="connsiteX0" fmla="*/ 394818 w 747906"/>
                <a:gd name="connsiteY0" fmla="*/ 163222 h 810458"/>
                <a:gd name="connsiteX1" fmla="*/ 356275 w 747906"/>
                <a:gd name="connsiteY1" fmla="*/ 174058 h 810458"/>
                <a:gd name="connsiteX2" fmla="*/ 274685 w 747906"/>
                <a:gd name="connsiteY2" fmla="*/ 356275 h 810458"/>
                <a:gd name="connsiteX3" fmla="*/ 375313 w 747906"/>
                <a:gd name="connsiteY3" fmla="*/ 358994 h 810458"/>
                <a:gd name="connsiteX4" fmla="*/ 473220 w 747906"/>
                <a:gd name="connsiteY4" fmla="*/ 239329 h 810458"/>
                <a:gd name="connsiteX5" fmla="*/ 394818 w 747906"/>
                <a:gd name="connsiteY5" fmla="*/ 163222 h 810458"/>
                <a:gd name="connsiteX6" fmla="*/ 386192 w 747906"/>
                <a:gd name="connsiteY6" fmla="*/ 0 h 810458"/>
                <a:gd name="connsiteX7" fmla="*/ 747906 w 747906"/>
                <a:gd name="connsiteY7" fmla="*/ 266526 h 810458"/>
                <a:gd name="connsiteX8" fmla="*/ 291004 w 747906"/>
                <a:gd name="connsiteY8" fmla="*/ 484100 h 810458"/>
                <a:gd name="connsiteX9" fmla="*/ 497697 w 747906"/>
                <a:gd name="connsiteY9" fmla="*/ 617363 h 810458"/>
                <a:gd name="connsiteX10" fmla="*/ 712551 w 747906"/>
                <a:gd name="connsiteY10" fmla="*/ 557530 h 810458"/>
                <a:gd name="connsiteX11" fmla="*/ 388911 w 747906"/>
                <a:gd name="connsiteY11" fmla="*/ 810458 h 810458"/>
                <a:gd name="connsiteX12" fmla="*/ 0 w 747906"/>
                <a:gd name="connsiteY12" fmla="*/ 413389 h 810458"/>
                <a:gd name="connsiteX13" fmla="*/ 386192 w 747906"/>
                <a:gd name="connsiteY13" fmla="*/ 0 h 8104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747906" h="810458">
                  <a:moveTo>
                    <a:pt x="394818" y="163222"/>
                  </a:moveTo>
                  <a:cubicBezTo>
                    <a:pt x="381772" y="163179"/>
                    <a:pt x="368514" y="166579"/>
                    <a:pt x="356275" y="174058"/>
                  </a:cubicBezTo>
                  <a:cubicBezTo>
                    <a:pt x="299162" y="212133"/>
                    <a:pt x="282844" y="291003"/>
                    <a:pt x="274685" y="356275"/>
                  </a:cubicBezTo>
                  <a:cubicBezTo>
                    <a:pt x="274685" y="364434"/>
                    <a:pt x="369873" y="358994"/>
                    <a:pt x="375313" y="358994"/>
                  </a:cubicBezTo>
                  <a:cubicBezTo>
                    <a:pt x="432426" y="345396"/>
                    <a:pt x="473220" y="301881"/>
                    <a:pt x="473220" y="239329"/>
                  </a:cubicBezTo>
                  <a:cubicBezTo>
                    <a:pt x="471181" y="194455"/>
                    <a:pt x="433955" y="163349"/>
                    <a:pt x="394818" y="163222"/>
                  </a:cubicBezTo>
                  <a:close/>
                  <a:moveTo>
                    <a:pt x="386192" y="0"/>
                  </a:moveTo>
                  <a:cubicBezTo>
                    <a:pt x="519455" y="0"/>
                    <a:pt x="747906" y="65272"/>
                    <a:pt x="747906" y="266526"/>
                  </a:cubicBezTo>
                  <a:cubicBezTo>
                    <a:pt x="747906" y="467782"/>
                    <a:pt x="538492" y="484100"/>
                    <a:pt x="291004" y="484100"/>
                  </a:cubicBezTo>
                  <a:cubicBezTo>
                    <a:pt x="291004" y="484100"/>
                    <a:pt x="326359" y="617363"/>
                    <a:pt x="497697" y="617363"/>
                  </a:cubicBezTo>
                  <a:cubicBezTo>
                    <a:pt x="669036" y="617363"/>
                    <a:pt x="712551" y="557530"/>
                    <a:pt x="712551" y="557530"/>
                  </a:cubicBezTo>
                  <a:cubicBezTo>
                    <a:pt x="712551" y="557530"/>
                    <a:pt x="696233" y="810458"/>
                    <a:pt x="388911" y="810458"/>
                  </a:cubicBezTo>
                  <a:cubicBezTo>
                    <a:pt x="212133" y="810458"/>
                    <a:pt x="0" y="677195"/>
                    <a:pt x="0" y="413389"/>
                  </a:cubicBezTo>
                  <a:cubicBezTo>
                    <a:pt x="0" y="176778"/>
                    <a:pt x="163180" y="0"/>
                    <a:pt x="386192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E9538EBC-4DC7-4383-9295-D6A8D0233665}"/>
                </a:ext>
              </a:extLst>
            </p:cNvPr>
            <p:cNvSpPr/>
            <p:nvPr/>
          </p:nvSpPr>
          <p:spPr>
            <a:xfrm>
              <a:off x="8683414" y="2274801"/>
              <a:ext cx="897487" cy="951879"/>
            </a:xfrm>
            <a:custGeom>
              <a:avLst/>
              <a:gdLst>
                <a:gd name="connsiteX0" fmla="*/ 580988 w 897487"/>
                <a:gd name="connsiteY0" fmla="*/ 667381 h 951879"/>
                <a:gd name="connsiteX1" fmla="*/ 409649 w 897487"/>
                <a:gd name="connsiteY1" fmla="*/ 667381 h 951879"/>
                <a:gd name="connsiteX2" fmla="*/ 591866 w 897487"/>
                <a:gd name="connsiteY2" fmla="*/ 525959 h 951879"/>
                <a:gd name="connsiteX3" fmla="*/ 842075 w 897487"/>
                <a:gd name="connsiteY3" fmla="*/ 123450 h 951879"/>
                <a:gd name="connsiteX4" fmla="*/ 842075 w 897487"/>
                <a:gd name="connsiteY4" fmla="*/ 123450 h 951879"/>
                <a:gd name="connsiteX5" fmla="*/ 798560 w 897487"/>
                <a:gd name="connsiteY5" fmla="*/ 58178 h 951879"/>
                <a:gd name="connsiteX6" fmla="*/ 746887 w 897487"/>
                <a:gd name="connsiteY6" fmla="*/ 107132 h 951879"/>
                <a:gd name="connsiteX7" fmla="*/ 697933 w 897487"/>
                <a:gd name="connsiteY7" fmla="*/ 115291 h 951879"/>
                <a:gd name="connsiteX8" fmla="*/ 219273 w 897487"/>
                <a:gd name="connsiteY8" fmla="*/ 115291 h 951879"/>
                <a:gd name="connsiteX9" fmla="*/ 102328 w 897487"/>
                <a:gd name="connsiteY9" fmla="*/ 224077 h 951879"/>
                <a:gd name="connsiteX10" fmla="*/ 213834 w 897487"/>
                <a:gd name="connsiteY10" fmla="*/ 332863 h 951879"/>
                <a:gd name="connsiteX11" fmla="*/ 485800 w 897487"/>
                <a:gd name="connsiteY11" fmla="*/ 335583 h 951879"/>
                <a:gd name="connsiteX12" fmla="*/ 134964 w 897487"/>
                <a:gd name="connsiteY12" fmla="*/ 615708 h 951879"/>
                <a:gd name="connsiteX13" fmla="*/ 61533 w 897487"/>
                <a:gd name="connsiteY13" fmla="*/ 884953 h 951879"/>
                <a:gd name="connsiteX14" fmla="*/ 398771 w 897487"/>
                <a:gd name="connsiteY14" fmla="*/ 806083 h 951879"/>
                <a:gd name="connsiteX15" fmla="*/ 529314 w 897487"/>
                <a:gd name="connsiteY15" fmla="*/ 863196 h 951879"/>
                <a:gd name="connsiteX16" fmla="*/ 782242 w 897487"/>
                <a:gd name="connsiteY16" fmla="*/ 607549 h 951879"/>
                <a:gd name="connsiteX17" fmla="*/ 580988 w 897487"/>
                <a:gd name="connsiteY17" fmla="*/ 667381 h 9518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897487" h="951879">
                  <a:moveTo>
                    <a:pt x="580988" y="667381"/>
                  </a:moveTo>
                  <a:lnTo>
                    <a:pt x="409649" y="667381"/>
                  </a:lnTo>
                  <a:cubicBezTo>
                    <a:pt x="423248" y="667381"/>
                    <a:pt x="548352" y="561314"/>
                    <a:pt x="591866" y="525959"/>
                  </a:cubicBezTo>
                  <a:cubicBezTo>
                    <a:pt x="700653" y="433491"/>
                    <a:pt x="899188" y="297508"/>
                    <a:pt x="842075" y="123450"/>
                  </a:cubicBezTo>
                  <a:lnTo>
                    <a:pt x="842075" y="123450"/>
                  </a:lnTo>
                  <a:cubicBezTo>
                    <a:pt x="831197" y="82655"/>
                    <a:pt x="798560" y="58178"/>
                    <a:pt x="798560" y="58178"/>
                  </a:cubicBezTo>
                  <a:cubicBezTo>
                    <a:pt x="798560" y="58178"/>
                    <a:pt x="787682" y="90814"/>
                    <a:pt x="746887" y="107132"/>
                  </a:cubicBezTo>
                  <a:cubicBezTo>
                    <a:pt x="730569" y="109852"/>
                    <a:pt x="714251" y="115291"/>
                    <a:pt x="697933" y="115291"/>
                  </a:cubicBezTo>
                  <a:cubicBezTo>
                    <a:pt x="684334" y="115291"/>
                    <a:pt x="219273" y="115291"/>
                    <a:pt x="219273" y="115291"/>
                  </a:cubicBezTo>
                  <a:cubicBezTo>
                    <a:pt x="156721" y="115291"/>
                    <a:pt x="105048" y="166964"/>
                    <a:pt x="102328" y="224077"/>
                  </a:cubicBezTo>
                  <a:cubicBezTo>
                    <a:pt x="102328" y="283910"/>
                    <a:pt x="151282" y="332863"/>
                    <a:pt x="213834" y="332863"/>
                  </a:cubicBezTo>
                  <a:lnTo>
                    <a:pt x="485800" y="335583"/>
                  </a:lnTo>
                  <a:cubicBezTo>
                    <a:pt x="360695" y="406294"/>
                    <a:pt x="211114" y="487884"/>
                    <a:pt x="134964" y="615708"/>
                  </a:cubicBezTo>
                  <a:cubicBezTo>
                    <a:pt x="91449" y="689138"/>
                    <a:pt x="45215" y="800644"/>
                    <a:pt x="61533" y="884953"/>
                  </a:cubicBezTo>
                  <a:cubicBezTo>
                    <a:pt x="121366" y="830560"/>
                    <a:pt x="279106" y="778887"/>
                    <a:pt x="398771" y="806083"/>
                  </a:cubicBezTo>
                  <a:cubicBezTo>
                    <a:pt x="445005" y="814242"/>
                    <a:pt x="491239" y="838719"/>
                    <a:pt x="529314" y="863196"/>
                  </a:cubicBezTo>
                  <a:cubicBezTo>
                    <a:pt x="755046" y="1004618"/>
                    <a:pt x="891029" y="727213"/>
                    <a:pt x="782242" y="607549"/>
                  </a:cubicBezTo>
                  <a:cubicBezTo>
                    <a:pt x="784962" y="607549"/>
                    <a:pt x="722410" y="667381"/>
                    <a:pt x="580988" y="667381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BDA212C6-92C7-4E68-89C9-A94713A119D9}"/>
                </a:ext>
              </a:extLst>
            </p:cNvPr>
            <p:cNvSpPr/>
            <p:nvPr/>
          </p:nvSpPr>
          <p:spPr>
            <a:xfrm>
              <a:off x="2624650" y="1948442"/>
              <a:ext cx="1903761" cy="1577400"/>
            </a:xfrm>
            <a:custGeom>
              <a:avLst/>
              <a:gdLst>
                <a:gd name="connsiteX0" fmla="*/ 1559430 w 1903760"/>
                <a:gd name="connsiteY0" fmla="*/ 1165078 h 1577399"/>
                <a:gd name="connsiteX1" fmla="*/ 1369054 w 1903760"/>
                <a:gd name="connsiteY1" fmla="*/ 593950 h 1577399"/>
                <a:gd name="connsiteX2" fmla="*/ 1483279 w 1903760"/>
                <a:gd name="connsiteY2" fmla="*/ 126170 h 1577399"/>
                <a:gd name="connsiteX3" fmla="*/ 1311941 w 1903760"/>
                <a:gd name="connsiteY3" fmla="*/ 58178 h 1577399"/>
                <a:gd name="connsiteX4" fmla="*/ 1078050 w 1903760"/>
                <a:gd name="connsiteY4" fmla="*/ 205040 h 1577399"/>
                <a:gd name="connsiteX5" fmla="*/ 846879 w 1903760"/>
                <a:gd name="connsiteY5" fmla="*/ 523239 h 1577399"/>
                <a:gd name="connsiteX6" fmla="*/ 645624 w 1903760"/>
                <a:gd name="connsiteY6" fmla="*/ 210479 h 1577399"/>
                <a:gd name="connsiteX7" fmla="*/ 455248 w 1903760"/>
                <a:gd name="connsiteY7" fmla="*/ 63617 h 1577399"/>
                <a:gd name="connsiteX8" fmla="*/ 234956 w 1903760"/>
                <a:gd name="connsiteY8" fmla="*/ 137048 h 1577399"/>
                <a:gd name="connsiteX9" fmla="*/ 316546 w 1903760"/>
                <a:gd name="connsiteY9" fmla="*/ 588511 h 1577399"/>
                <a:gd name="connsiteX10" fmla="*/ 58178 w 1903760"/>
                <a:gd name="connsiteY10" fmla="*/ 1072610 h 1577399"/>
                <a:gd name="connsiteX11" fmla="*/ 474286 w 1903760"/>
                <a:gd name="connsiteY11" fmla="*/ 1020936 h 1577399"/>
                <a:gd name="connsiteX12" fmla="*/ 555876 w 1903760"/>
                <a:gd name="connsiteY12" fmla="*/ 572193 h 1577399"/>
                <a:gd name="connsiteX13" fmla="*/ 830561 w 1903760"/>
                <a:gd name="connsiteY13" fmla="*/ 993740 h 1577399"/>
                <a:gd name="connsiteX14" fmla="*/ 1140602 w 1903760"/>
                <a:gd name="connsiteY14" fmla="*/ 574913 h 1577399"/>
                <a:gd name="connsiteX15" fmla="*/ 1567589 w 1903760"/>
                <a:gd name="connsiteY15" fmla="*/ 1526792 h 1577399"/>
                <a:gd name="connsiteX16" fmla="*/ 1866751 w 1903760"/>
                <a:gd name="connsiteY16" fmla="*/ 1322818 h 1577399"/>
                <a:gd name="connsiteX17" fmla="*/ 1559430 w 1903760"/>
                <a:gd name="connsiteY17" fmla="*/ 1165078 h 15773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903760" h="1577399">
                  <a:moveTo>
                    <a:pt x="1559430" y="1165078"/>
                  </a:moveTo>
                  <a:cubicBezTo>
                    <a:pt x="1420727" y="1012777"/>
                    <a:pt x="1377213" y="762569"/>
                    <a:pt x="1369054" y="593950"/>
                  </a:cubicBezTo>
                  <a:cubicBezTo>
                    <a:pt x="1360895" y="449809"/>
                    <a:pt x="1369054" y="199600"/>
                    <a:pt x="1483279" y="126170"/>
                  </a:cubicBezTo>
                  <a:cubicBezTo>
                    <a:pt x="1445204" y="77216"/>
                    <a:pt x="1369054" y="58178"/>
                    <a:pt x="1311941" y="58178"/>
                  </a:cubicBezTo>
                  <a:cubicBezTo>
                    <a:pt x="1184117" y="58178"/>
                    <a:pt x="1121565" y="142488"/>
                    <a:pt x="1078050" y="205040"/>
                  </a:cubicBezTo>
                  <a:cubicBezTo>
                    <a:pt x="1064452" y="224077"/>
                    <a:pt x="846879" y="523239"/>
                    <a:pt x="846879" y="523239"/>
                  </a:cubicBezTo>
                  <a:cubicBezTo>
                    <a:pt x="846879" y="523239"/>
                    <a:pt x="667382" y="243115"/>
                    <a:pt x="645624" y="210479"/>
                  </a:cubicBezTo>
                  <a:cubicBezTo>
                    <a:pt x="615708" y="164245"/>
                    <a:pt x="555876" y="77216"/>
                    <a:pt x="455248" y="63617"/>
                  </a:cubicBezTo>
                  <a:cubicBezTo>
                    <a:pt x="411734" y="58178"/>
                    <a:pt x="297508" y="52739"/>
                    <a:pt x="234956" y="137048"/>
                  </a:cubicBezTo>
                  <a:cubicBezTo>
                    <a:pt x="341023" y="221357"/>
                    <a:pt x="338303" y="438930"/>
                    <a:pt x="316546" y="588511"/>
                  </a:cubicBezTo>
                  <a:cubicBezTo>
                    <a:pt x="248554" y="1031815"/>
                    <a:pt x="58178" y="1072610"/>
                    <a:pt x="58178" y="1072610"/>
                  </a:cubicBezTo>
                  <a:cubicBezTo>
                    <a:pt x="156086" y="1333696"/>
                    <a:pt x="403575" y="1230350"/>
                    <a:pt x="474286" y="1020936"/>
                  </a:cubicBezTo>
                  <a:cubicBezTo>
                    <a:pt x="520520" y="884953"/>
                    <a:pt x="550436" y="713615"/>
                    <a:pt x="555876" y="572193"/>
                  </a:cubicBezTo>
                  <a:lnTo>
                    <a:pt x="830561" y="993740"/>
                  </a:lnTo>
                  <a:cubicBezTo>
                    <a:pt x="830561" y="993740"/>
                    <a:pt x="1140602" y="574913"/>
                    <a:pt x="1140602" y="574913"/>
                  </a:cubicBezTo>
                  <a:cubicBezTo>
                    <a:pt x="1088929" y="1314659"/>
                    <a:pt x="1344577" y="1526792"/>
                    <a:pt x="1567589" y="1526792"/>
                  </a:cubicBezTo>
                  <a:cubicBezTo>
                    <a:pt x="1790601" y="1526792"/>
                    <a:pt x="1866751" y="1322818"/>
                    <a:pt x="1866751" y="1322818"/>
                  </a:cubicBezTo>
                  <a:cubicBezTo>
                    <a:pt x="1744367" y="1314659"/>
                    <a:pt x="1641019" y="1252107"/>
                    <a:pt x="1559430" y="1165078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/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552029A9-C9A8-49B6-B3B4-DDB77AA1AAB4}"/>
                </a:ext>
              </a:extLst>
            </p:cNvPr>
            <p:cNvSpPr/>
            <p:nvPr/>
          </p:nvSpPr>
          <p:spPr>
            <a:xfrm>
              <a:off x="4792218" y="3234839"/>
              <a:ext cx="271966" cy="652717"/>
            </a:xfrm>
            <a:custGeom>
              <a:avLst/>
              <a:gdLst>
                <a:gd name="connsiteX0" fmla="*/ 88095 w 271965"/>
                <a:gd name="connsiteY0" fmla="*/ 120730 h 652717"/>
                <a:gd name="connsiteX1" fmla="*/ 93534 w 271965"/>
                <a:gd name="connsiteY1" fmla="*/ 153366 h 652717"/>
                <a:gd name="connsiteX2" fmla="*/ 93534 w 271965"/>
                <a:gd name="connsiteY2" fmla="*/ 544997 h 652717"/>
                <a:gd name="connsiteX3" fmla="*/ 156086 w 271965"/>
                <a:gd name="connsiteY3" fmla="*/ 604829 h 652717"/>
                <a:gd name="connsiteX4" fmla="*/ 221358 w 271965"/>
                <a:gd name="connsiteY4" fmla="*/ 544997 h 652717"/>
                <a:gd name="connsiteX5" fmla="*/ 221358 w 271965"/>
                <a:gd name="connsiteY5" fmla="*/ 194161 h 652717"/>
                <a:gd name="connsiteX6" fmla="*/ 210479 w 271965"/>
                <a:gd name="connsiteY6" fmla="*/ 109852 h 652717"/>
                <a:gd name="connsiteX7" fmla="*/ 118011 w 271965"/>
                <a:gd name="connsiteY7" fmla="*/ 58178 h 652717"/>
                <a:gd name="connsiteX8" fmla="*/ 58178 w 271965"/>
                <a:gd name="connsiteY8" fmla="*/ 88094 h 652717"/>
                <a:gd name="connsiteX9" fmla="*/ 88095 w 271965"/>
                <a:gd name="connsiteY9" fmla="*/ 120730 h 6527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71965" h="652717">
                  <a:moveTo>
                    <a:pt x="88095" y="120730"/>
                  </a:moveTo>
                  <a:cubicBezTo>
                    <a:pt x="90814" y="131609"/>
                    <a:pt x="90814" y="142487"/>
                    <a:pt x="93534" y="153366"/>
                  </a:cubicBezTo>
                  <a:cubicBezTo>
                    <a:pt x="93534" y="156086"/>
                    <a:pt x="93534" y="542277"/>
                    <a:pt x="93534" y="544997"/>
                  </a:cubicBezTo>
                  <a:cubicBezTo>
                    <a:pt x="93534" y="577632"/>
                    <a:pt x="123450" y="604829"/>
                    <a:pt x="156086" y="604829"/>
                  </a:cubicBezTo>
                  <a:cubicBezTo>
                    <a:pt x="188722" y="607548"/>
                    <a:pt x="221358" y="577632"/>
                    <a:pt x="221358" y="544997"/>
                  </a:cubicBezTo>
                  <a:cubicBezTo>
                    <a:pt x="221358" y="539557"/>
                    <a:pt x="221358" y="194161"/>
                    <a:pt x="221358" y="194161"/>
                  </a:cubicBezTo>
                  <a:cubicBezTo>
                    <a:pt x="221358" y="164245"/>
                    <a:pt x="224078" y="134329"/>
                    <a:pt x="210479" y="109852"/>
                  </a:cubicBezTo>
                  <a:cubicBezTo>
                    <a:pt x="196881" y="79935"/>
                    <a:pt x="158806" y="58178"/>
                    <a:pt x="118011" y="58178"/>
                  </a:cubicBezTo>
                  <a:cubicBezTo>
                    <a:pt x="79936" y="58178"/>
                    <a:pt x="58178" y="88094"/>
                    <a:pt x="58178" y="88094"/>
                  </a:cubicBezTo>
                  <a:cubicBezTo>
                    <a:pt x="58178" y="88094"/>
                    <a:pt x="77216" y="93534"/>
                    <a:pt x="88095" y="120730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79F85ABB-A50C-40B7-AC49-BB3E72D927CF}"/>
                </a:ext>
              </a:extLst>
            </p:cNvPr>
            <p:cNvSpPr/>
            <p:nvPr/>
          </p:nvSpPr>
          <p:spPr>
            <a:xfrm>
              <a:off x="8751819" y="3234667"/>
              <a:ext cx="271966" cy="652717"/>
            </a:xfrm>
            <a:custGeom>
              <a:avLst/>
              <a:gdLst>
                <a:gd name="connsiteX0" fmla="*/ 191663 w 271965"/>
                <a:gd name="connsiteY0" fmla="*/ 542449 h 652717"/>
                <a:gd name="connsiteX1" fmla="*/ 186224 w 271965"/>
                <a:gd name="connsiteY1" fmla="*/ 509813 h 652717"/>
                <a:gd name="connsiteX2" fmla="*/ 186224 w 271965"/>
                <a:gd name="connsiteY2" fmla="*/ 118183 h 652717"/>
                <a:gd name="connsiteX3" fmla="*/ 123672 w 271965"/>
                <a:gd name="connsiteY3" fmla="*/ 58350 h 652717"/>
                <a:gd name="connsiteX4" fmla="*/ 58400 w 271965"/>
                <a:gd name="connsiteY4" fmla="*/ 118183 h 652717"/>
                <a:gd name="connsiteX5" fmla="*/ 58400 w 271965"/>
                <a:gd name="connsiteY5" fmla="*/ 469018 h 652717"/>
                <a:gd name="connsiteX6" fmla="*/ 69279 w 271965"/>
                <a:gd name="connsiteY6" fmla="*/ 553328 h 652717"/>
                <a:gd name="connsiteX7" fmla="*/ 161747 w 271965"/>
                <a:gd name="connsiteY7" fmla="*/ 605001 h 652717"/>
                <a:gd name="connsiteX8" fmla="*/ 221580 w 271965"/>
                <a:gd name="connsiteY8" fmla="*/ 575085 h 652717"/>
                <a:gd name="connsiteX9" fmla="*/ 191663 w 271965"/>
                <a:gd name="connsiteY9" fmla="*/ 542449 h 6527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71965" h="652717">
                  <a:moveTo>
                    <a:pt x="191663" y="542449"/>
                  </a:moveTo>
                  <a:cubicBezTo>
                    <a:pt x="188944" y="531570"/>
                    <a:pt x="186224" y="520692"/>
                    <a:pt x="186224" y="509813"/>
                  </a:cubicBezTo>
                  <a:cubicBezTo>
                    <a:pt x="186224" y="507093"/>
                    <a:pt x="186224" y="120902"/>
                    <a:pt x="186224" y="118183"/>
                  </a:cubicBezTo>
                  <a:cubicBezTo>
                    <a:pt x="186224" y="85547"/>
                    <a:pt x="156308" y="58350"/>
                    <a:pt x="123672" y="58350"/>
                  </a:cubicBezTo>
                  <a:cubicBezTo>
                    <a:pt x="91036" y="55631"/>
                    <a:pt x="58400" y="85547"/>
                    <a:pt x="58400" y="118183"/>
                  </a:cubicBezTo>
                  <a:cubicBezTo>
                    <a:pt x="58400" y="123622"/>
                    <a:pt x="58400" y="469018"/>
                    <a:pt x="58400" y="469018"/>
                  </a:cubicBezTo>
                  <a:cubicBezTo>
                    <a:pt x="58400" y="498934"/>
                    <a:pt x="55680" y="528851"/>
                    <a:pt x="69279" y="553328"/>
                  </a:cubicBezTo>
                  <a:cubicBezTo>
                    <a:pt x="82877" y="583244"/>
                    <a:pt x="120953" y="605001"/>
                    <a:pt x="161747" y="605001"/>
                  </a:cubicBezTo>
                  <a:cubicBezTo>
                    <a:pt x="199822" y="605001"/>
                    <a:pt x="221580" y="575085"/>
                    <a:pt x="221580" y="575085"/>
                  </a:cubicBezTo>
                  <a:cubicBezTo>
                    <a:pt x="221580" y="575085"/>
                    <a:pt x="202542" y="566926"/>
                    <a:pt x="191663" y="542449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22DD841B-152A-4831-B1D2-6E495BE1B1B6}"/>
                </a:ext>
              </a:extLst>
            </p:cNvPr>
            <p:cNvSpPr/>
            <p:nvPr/>
          </p:nvSpPr>
          <p:spPr>
            <a:xfrm>
              <a:off x="6320666" y="3416868"/>
              <a:ext cx="435145" cy="462341"/>
            </a:xfrm>
            <a:custGeom>
              <a:avLst/>
              <a:gdLst>
                <a:gd name="connsiteX0" fmla="*/ 302948 w 435145"/>
                <a:gd name="connsiteY0" fmla="*/ 74684 h 462341"/>
                <a:gd name="connsiteX1" fmla="*/ 186003 w 435145"/>
                <a:gd name="connsiteY1" fmla="*/ 148115 h 462341"/>
                <a:gd name="connsiteX2" fmla="*/ 186003 w 435145"/>
                <a:gd name="connsiteY2" fmla="*/ 148115 h 462341"/>
                <a:gd name="connsiteX3" fmla="*/ 186003 w 435145"/>
                <a:gd name="connsiteY3" fmla="*/ 115479 h 462341"/>
                <a:gd name="connsiteX4" fmla="*/ 123450 w 435145"/>
                <a:gd name="connsiteY4" fmla="*/ 58366 h 462341"/>
                <a:gd name="connsiteX5" fmla="*/ 58178 w 435145"/>
                <a:gd name="connsiteY5" fmla="*/ 115479 h 462341"/>
                <a:gd name="connsiteX6" fmla="*/ 58178 w 435145"/>
                <a:gd name="connsiteY6" fmla="*/ 362967 h 462341"/>
                <a:gd name="connsiteX7" fmla="*/ 120730 w 435145"/>
                <a:gd name="connsiteY7" fmla="*/ 422800 h 462341"/>
                <a:gd name="connsiteX8" fmla="*/ 186003 w 435145"/>
                <a:gd name="connsiteY8" fmla="*/ 362967 h 462341"/>
                <a:gd name="connsiteX9" fmla="*/ 186003 w 435145"/>
                <a:gd name="connsiteY9" fmla="*/ 213386 h 462341"/>
                <a:gd name="connsiteX10" fmla="*/ 186003 w 435145"/>
                <a:gd name="connsiteY10" fmla="*/ 213386 h 462341"/>
                <a:gd name="connsiteX11" fmla="*/ 229517 w 435145"/>
                <a:gd name="connsiteY11" fmla="*/ 161713 h 462341"/>
                <a:gd name="connsiteX12" fmla="*/ 259433 w 435145"/>
                <a:gd name="connsiteY12" fmla="*/ 194349 h 462341"/>
                <a:gd name="connsiteX13" fmla="*/ 259433 w 435145"/>
                <a:gd name="connsiteY13" fmla="*/ 362967 h 462341"/>
                <a:gd name="connsiteX14" fmla="*/ 321985 w 435145"/>
                <a:gd name="connsiteY14" fmla="*/ 422800 h 462341"/>
                <a:gd name="connsiteX15" fmla="*/ 387257 w 435145"/>
                <a:gd name="connsiteY15" fmla="*/ 362967 h 462341"/>
                <a:gd name="connsiteX16" fmla="*/ 387257 w 435145"/>
                <a:gd name="connsiteY16" fmla="*/ 273219 h 462341"/>
                <a:gd name="connsiteX17" fmla="*/ 302948 w 435145"/>
                <a:gd name="connsiteY17" fmla="*/ 74684 h 4623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435145" h="462341">
                  <a:moveTo>
                    <a:pt x="302948" y="74684"/>
                  </a:moveTo>
                  <a:cubicBezTo>
                    <a:pt x="234956" y="74684"/>
                    <a:pt x="196881" y="131797"/>
                    <a:pt x="186003" y="148115"/>
                  </a:cubicBezTo>
                  <a:lnTo>
                    <a:pt x="186003" y="148115"/>
                  </a:lnTo>
                  <a:cubicBezTo>
                    <a:pt x="186003" y="129077"/>
                    <a:pt x="186003" y="115479"/>
                    <a:pt x="186003" y="115479"/>
                  </a:cubicBezTo>
                  <a:cubicBezTo>
                    <a:pt x="186003" y="82843"/>
                    <a:pt x="156086" y="58366"/>
                    <a:pt x="123450" y="58366"/>
                  </a:cubicBezTo>
                  <a:cubicBezTo>
                    <a:pt x="90814" y="55646"/>
                    <a:pt x="58178" y="82843"/>
                    <a:pt x="58178" y="115479"/>
                  </a:cubicBezTo>
                  <a:cubicBezTo>
                    <a:pt x="58178" y="120918"/>
                    <a:pt x="58178" y="360248"/>
                    <a:pt x="58178" y="362967"/>
                  </a:cubicBezTo>
                  <a:cubicBezTo>
                    <a:pt x="58178" y="395603"/>
                    <a:pt x="88095" y="422800"/>
                    <a:pt x="120730" y="422800"/>
                  </a:cubicBezTo>
                  <a:cubicBezTo>
                    <a:pt x="153366" y="425519"/>
                    <a:pt x="186003" y="395603"/>
                    <a:pt x="186003" y="362967"/>
                  </a:cubicBezTo>
                  <a:cubicBezTo>
                    <a:pt x="186003" y="360248"/>
                    <a:pt x="186003" y="281378"/>
                    <a:pt x="186003" y="213386"/>
                  </a:cubicBezTo>
                  <a:lnTo>
                    <a:pt x="186003" y="213386"/>
                  </a:lnTo>
                  <a:cubicBezTo>
                    <a:pt x="191442" y="186190"/>
                    <a:pt x="205040" y="161713"/>
                    <a:pt x="229517" y="161713"/>
                  </a:cubicBezTo>
                  <a:cubicBezTo>
                    <a:pt x="259433" y="161713"/>
                    <a:pt x="259433" y="194349"/>
                    <a:pt x="259433" y="194349"/>
                  </a:cubicBezTo>
                  <a:lnTo>
                    <a:pt x="259433" y="362967"/>
                  </a:lnTo>
                  <a:cubicBezTo>
                    <a:pt x="259433" y="395603"/>
                    <a:pt x="289349" y="422800"/>
                    <a:pt x="321985" y="422800"/>
                  </a:cubicBezTo>
                  <a:cubicBezTo>
                    <a:pt x="354621" y="425519"/>
                    <a:pt x="387257" y="395603"/>
                    <a:pt x="387257" y="362967"/>
                  </a:cubicBezTo>
                  <a:lnTo>
                    <a:pt x="387257" y="273219"/>
                  </a:lnTo>
                  <a:cubicBezTo>
                    <a:pt x="387257" y="183470"/>
                    <a:pt x="395416" y="71964"/>
                    <a:pt x="302948" y="74684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/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EF594510-C333-4EE6-9A81-F5B5D6794F1E}"/>
                </a:ext>
              </a:extLst>
            </p:cNvPr>
            <p:cNvSpPr/>
            <p:nvPr/>
          </p:nvSpPr>
          <p:spPr>
            <a:xfrm>
              <a:off x="7960620" y="3416868"/>
              <a:ext cx="435145" cy="462341"/>
            </a:xfrm>
            <a:custGeom>
              <a:avLst/>
              <a:gdLst>
                <a:gd name="connsiteX0" fmla="*/ 302948 w 435145"/>
                <a:gd name="connsiteY0" fmla="*/ 74684 h 462341"/>
                <a:gd name="connsiteX1" fmla="*/ 186002 w 435145"/>
                <a:gd name="connsiteY1" fmla="*/ 148115 h 462341"/>
                <a:gd name="connsiteX2" fmla="*/ 186002 w 435145"/>
                <a:gd name="connsiteY2" fmla="*/ 148115 h 462341"/>
                <a:gd name="connsiteX3" fmla="*/ 186002 w 435145"/>
                <a:gd name="connsiteY3" fmla="*/ 115479 h 462341"/>
                <a:gd name="connsiteX4" fmla="*/ 123450 w 435145"/>
                <a:gd name="connsiteY4" fmla="*/ 58366 h 462341"/>
                <a:gd name="connsiteX5" fmla="*/ 58178 w 435145"/>
                <a:gd name="connsiteY5" fmla="*/ 115479 h 462341"/>
                <a:gd name="connsiteX6" fmla="*/ 58178 w 435145"/>
                <a:gd name="connsiteY6" fmla="*/ 362967 h 462341"/>
                <a:gd name="connsiteX7" fmla="*/ 120730 w 435145"/>
                <a:gd name="connsiteY7" fmla="*/ 422800 h 462341"/>
                <a:gd name="connsiteX8" fmla="*/ 186002 w 435145"/>
                <a:gd name="connsiteY8" fmla="*/ 362967 h 462341"/>
                <a:gd name="connsiteX9" fmla="*/ 186002 w 435145"/>
                <a:gd name="connsiteY9" fmla="*/ 213386 h 462341"/>
                <a:gd name="connsiteX10" fmla="*/ 186002 w 435145"/>
                <a:gd name="connsiteY10" fmla="*/ 213386 h 462341"/>
                <a:gd name="connsiteX11" fmla="*/ 229517 w 435145"/>
                <a:gd name="connsiteY11" fmla="*/ 161713 h 462341"/>
                <a:gd name="connsiteX12" fmla="*/ 259433 w 435145"/>
                <a:gd name="connsiteY12" fmla="*/ 194349 h 462341"/>
                <a:gd name="connsiteX13" fmla="*/ 259433 w 435145"/>
                <a:gd name="connsiteY13" fmla="*/ 362967 h 462341"/>
                <a:gd name="connsiteX14" fmla="*/ 321985 w 435145"/>
                <a:gd name="connsiteY14" fmla="*/ 422800 h 462341"/>
                <a:gd name="connsiteX15" fmla="*/ 387257 w 435145"/>
                <a:gd name="connsiteY15" fmla="*/ 362967 h 462341"/>
                <a:gd name="connsiteX16" fmla="*/ 387257 w 435145"/>
                <a:gd name="connsiteY16" fmla="*/ 273219 h 462341"/>
                <a:gd name="connsiteX17" fmla="*/ 302948 w 435145"/>
                <a:gd name="connsiteY17" fmla="*/ 74684 h 4623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435145" h="462341">
                  <a:moveTo>
                    <a:pt x="302948" y="74684"/>
                  </a:moveTo>
                  <a:cubicBezTo>
                    <a:pt x="234956" y="74684"/>
                    <a:pt x="196881" y="131797"/>
                    <a:pt x="186002" y="148115"/>
                  </a:cubicBezTo>
                  <a:lnTo>
                    <a:pt x="186002" y="148115"/>
                  </a:lnTo>
                  <a:cubicBezTo>
                    <a:pt x="186002" y="129077"/>
                    <a:pt x="186002" y="115479"/>
                    <a:pt x="186002" y="115479"/>
                  </a:cubicBezTo>
                  <a:cubicBezTo>
                    <a:pt x="186002" y="82843"/>
                    <a:pt x="156086" y="58366"/>
                    <a:pt x="123450" y="58366"/>
                  </a:cubicBezTo>
                  <a:cubicBezTo>
                    <a:pt x="90814" y="55646"/>
                    <a:pt x="58178" y="82843"/>
                    <a:pt x="58178" y="115479"/>
                  </a:cubicBezTo>
                  <a:cubicBezTo>
                    <a:pt x="58178" y="120918"/>
                    <a:pt x="58178" y="360248"/>
                    <a:pt x="58178" y="362967"/>
                  </a:cubicBezTo>
                  <a:cubicBezTo>
                    <a:pt x="58178" y="395603"/>
                    <a:pt x="88095" y="422800"/>
                    <a:pt x="120730" y="422800"/>
                  </a:cubicBezTo>
                  <a:cubicBezTo>
                    <a:pt x="153366" y="425519"/>
                    <a:pt x="186002" y="395603"/>
                    <a:pt x="186002" y="362967"/>
                  </a:cubicBezTo>
                  <a:cubicBezTo>
                    <a:pt x="186002" y="360248"/>
                    <a:pt x="186002" y="281378"/>
                    <a:pt x="186002" y="213386"/>
                  </a:cubicBezTo>
                  <a:lnTo>
                    <a:pt x="186002" y="213386"/>
                  </a:lnTo>
                  <a:cubicBezTo>
                    <a:pt x="191442" y="186190"/>
                    <a:pt x="205040" y="161713"/>
                    <a:pt x="229517" y="161713"/>
                  </a:cubicBezTo>
                  <a:cubicBezTo>
                    <a:pt x="259433" y="161713"/>
                    <a:pt x="259433" y="194349"/>
                    <a:pt x="259433" y="194349"/>
                  </a:cubicBezTo>
                  <a:lnTo>
                    <a:pt x="259433" y="362967"/>
                  </a:lnTo>
                  <a:cubicBezTo>
                    <a:pt x="259433" y="395603"/>
                    <a:pt x="289349" y="422800"/>
                    <a:pt x="321985" y="422800"/>
                  </a:cubicBezTo>
                  <a:cubicBezTo>
                    <a:pt x="354621" y="425519"/>
                    <a:pt x="387257" y="395603"/>
                    <a:pt x="387257" y="362967"/>
                  </a:cubicBezTo>
                  <a:lnTo>
                    <a:pt x="387257" y="273219"/>
                  </a:lnTo>
                  <a:cubicBezTo>
                    <a:pt x="384537" y="183470"/>
                    <a:pt x="395416" y="71964"/>
                    <a:pt x="302948" y="74684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/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2A809C24-BB35-4731-AFC5-357428D0ACB1}"/>
                </a:ext>
              </a:extLst>
            </p:cNvPr>
            <p:cNvSpPr/>
            <p:nvPr/>
          </p:nvSpPr>
          <p:spPr>
            <a:xfrm>
              <a:off x="5020669" y="3416868"/>
              <a:ext cx="435145" cy="462341"/>
            </a:xfrm>
            <a:custGeom>
              <a:avLst/>
              <a:gdLst>
                <a:gd name="connsiteX0" fmla="*/ 302948 w 435145"/>
                <a:gd name="connsiteY0" fmla="*/ 74684 h 462341"/>
                <a:gd name="connsiteX1" fmla="*/ 186002 w 435145"/>
                <a:gd name="connsiteY1" fmla="*/ 148115 h 462341"/>
                <a:gd name="connsiteX2" fmla="*/ 186002 w 435145"/>
                <a:gd name="connsiteY2" fmla="*/ 148115 h 462341"/>
                <a:gd name="connsiteX3" fmla="*/ 186002 w 435145"/>
                <a:gd name="connsiteY3" fmla="*/ 115479 h 462341"/>
                <a:gd name="connsiteX4" fmla="*/ 123450 w 435145"/>
                <a:gd name="connsiteY4" fmla="*/ 58366 h 462341"/>
                <a:gd name="connsiteX5" fmla="*/ 58178 w 435145"/>
                <a:gd name="connsiteY5" fmla="*/ 115479 h 462341"/>
                <a:gd name="connsiteX6" fmla="*/ 58178 w 435145"/>
                <a:gd name="connsiteY6" fmla="*/ 362967 h 462341"/>
                <a:gd name="connsiteX7" fmla="*/ 120730 w 435145"/>
                <a:gd name="connsiteY7" fmla="*/ 422800 h 462341"/>
                <a:gd name="connsiteX8" fmla="*/ 186002 w 435145"/>
                <a:gd name="connsiteY8" fmla="*/ 362967 h 462341"/>
                <a:gd name="connsiteX9" fmla="*/ 186002 w 435145"/>
                <a:gd name="connsiteY9" fmla="*/ 213386 h 462341"/>
                <a:gd name="connsiteX10" fmla="*/ 186002 w 435145"/>
                <a:gd name="connsiteY10" fmla="*/ 213386 h 462341"/>
                <a:gd name="connsiteX11" fmla="*/ 229517 w 435145"/>
                <a:gd name="connsiteY11" fmla="*/ 161713 h 462341"/>
                <a:gd name="connsiteX12" fmla="*/ 259433 w 435145"/>
                <a:gd name="connsiteY12" fmla="*/ 194349 h 462341"/>
                <a:gd name="connsiteX13" fmla="*/ 259433 w 435145"/>
                <a:gd name="connsiteY13" fmla="*/ 362967 h 462341"/>
                <a:gd name="connsiteX14" fmla="*/ 321985 w 435145"/>
                <a:gd name="connsiteY14" fmla="*/ 422800 h 462341"/>
                <a:gd name="connsiteX15" fmla="*/ 387257 w 435145"/>
                <a:gd name="connsiteY15" fmla="*/ 362967 h 462341"/>
                <a:gd name="connsiteX16" fmla="*/ 387257 w 435145"/>
                <a:gd name="connsiteY16" fmla="*/ 273219 h 462341"/>
                <a:gd name="connsiteX17" fmla="*/ 302948 w 435145"/>
                <a:gd name="connsiteY17" fmla="*/ 74684 h 4623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435145" h="462341">
                  <a:moveTo>
                    <a:pt x="302948" y="74684"/>
                  </a:moveTo>
                  <a:cubicBezTo>
                    <a:pt x="234956" y="74684"/>
                    <a:pt x="196881" y="131797"/>
                    <a:pt x="186002" y="148115"/>
                  </a:cubicBezTo>
                  <a:lnTo>
                    <a:pt x="186002" y="148115"/>
                  </a:lnTo>
                  <a:cubicBezTo>
                    <a:pt x="186002" y="129077"/>
                    <a:pt x="186002" y="115479"/>
                    <a:pt x="186002" y="115479"/>
                  </a:cubicBezTo>
                  <a:cubicBezTo>
                    <a:pt x="186002" y="82843"/>
                    <a:pt x="156086" y="58366"/>
                    <a:pt x="123450" y="58366"/>
                  </a:cubicBezTo>
                  <a:cubicBezTo>
                    <a:pt x="90814" y="55646"/>
                    <a:pt x="58178" y="82843"/>
                    <a:pt x="58178" y="115479"/>
                  </a:cubicBezTo>
                  <a:cubicBezTo>
                    <a:pt x="58178" y="120918"/>
                    <a:pt x="58178" y="360248"/>
                    <a:pt x="58178" y="362967"/>
                  </a:cubicBezTo>
                  <a:cubicBezTo>
                    <a:pt x="58178" y="395603"/>
                    <a:pt x="88094" y="422800"/>
                    <a:pt x="120730" y="422800"/>
                  </a:cubicBezTo>
                  <a:cubicBezTo>
                    <a:pt x="153366" y="425519"/>
                    <a:pt x="186002" y="395603"/>
                    <a:pt x="186002" y="362967"/>
                  </a:cubicBezTo>
                  <a:cubicBezTo>
                    <a:pt x="186002" y="360248"/>
                    <a:pt x="186002" y="281378"/>
                    <a:pt x="186002" y="213386"/>
                  </a:cubicBezTo>
                  <a:lnTo>
                    <a:pt x="186002" y="213386"/>
                  </a:lnTo>
                  <a:cubicBezTo>
                    <a:pt x="191442" y="186190"/>
                    <a:pt x="205040" y="161713"/>
                    <a:pt x="229517" y="161713"/>
                  </a:cubicBezTo>
                  <a:cubicBezTo>
                    <a:pt x="259433" y="161713"/>
                    <a:pt x="259433" y="194349"/>
                    <a:pt x="259433" y="194349"/>
                  </a:cubicBezTo>
                  <a:lnTo>
                    <a:pt x="259433" y="362967"/>
                  </a:lnTo>
                  <a:cubicBezTo>
                    <a:pt x="259433" y="395603"/>
                    <a:pt x="289349" y="422800"/>
                    <a:pt x="321985" y="422800"/>
                  </a:cubicBezTo>
                  <a:cubicBezTo>
                    <a:pt x="354621" y="425519"/>
                    <a:pt x="387257" y="395603"/>
                    <a:pt x="387257" y="362967"/>
                  </a:cubicBezTo>
                  <a:lnTo>
                    <a:pt x="387257" y="273219"/>
                  </a:lnTo>
                  <a:cubicBezTo>
                    <a:pt x="384537" y="183470"/>
                    <a:pt x="395416" y="71964"/>
                    <a:pt x="302948" y="74684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/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7A77C51A-62BE-45E9-AE30-EEEE66586901}"/>
                </a:ext>
              </a:extLst>
            </p:cNvPr>
            <p:cNvSpPr/>
            <p:nvPr/>
          </p:nvSpPr>
          <p:spPr>
            <a:xfrm>
              <a:off x="7616289" y="3475234"/>
              <a:ext cx="364436" cy="364434"/>
            </a:xfrm>
            <a:custGeom>
              <a:avLst/>
              <a:gdLst>
                <a:gd name="connsiteX0" fmla="*/ 182218 w 364436"/>
                <a:gd name="connsiteY0" fmla="*/ 73431 h 364434"/>
                <a:gd name="connsiteX1" fmla="*/ 130544 w 364436"/>
                <a:gd name="connsiteY1" fmla="*/ 179499 h 364434"/>
                <a:gd name="connsiteX2" fmla="*/ 182218 w 364436"/>
                <a:gd name="connsiteY2" fmla="*/ 285565 h 364434"/>
                <a:gd name="connsiteX3" fmla="*/ 233891 w 364436"/>
                <a:gd name="connsiteY3" fmla="*/ 179499 h 364434"/>
                <a:gd name="connsiteX4" fmla="*/ 182218 w 364436"/>
                <a:gd name="connsiteY4" fmla="*/ 73431 h 364434"/>
                <a:gd name="connsiteX5" fmla="*/ 182219 w 364436"/>
                <a:gd name="connsiteY5" fmla="*/ 0 h 364434"/>
                <a:gd name="connsiteX6" fmla="*/ 364436 w 364436"/>
                <a:gd name="connsiteY6" fmla="*/ 182217 h 364434"/>
                <a:gd name="connsiteX7" fmla="*/ 182219 w 364436"/>
                <a:gd name="connsiteY7" fmla="*/ 364434 h 364434"/>
                <a:gd name="connsiteX8" fmla="*/ 0 w 364436"/>
                <a:gd name="connsiteY8" fmla="*/ 182217 h 364434"/>
                <a:gd name="connsiteX9" fmla="*/ 182219 w 364436"/>
                <a:gd name="connsiteY9" fmla="*/ 0 h 3644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64436" h="364434">
                  <a:moveTo>
                    <a:pt x="182218" y="73431"/>
                  </a:moveTo>
                  <a:cubicBezTo>
                    <a:pt x="152302" y="76151"/>
                    <a:pt x="130544" y="114226"/>
                    <a:pt x="130544" y="179499"/>
                  </a:cubicBezTo>
                  <a:cubicBezTo>
                    <a:pt x="130544" y="244770"/>
                    <a:pt x="146862" y="285565"/>
                    <a:pt x="182218" y="285565"/>
                  </a:cubicBezTo>
                  <a:cubicBezTo>
                    <a:pt x="217573" y="285565"/>
                    <a:pt x="233891" y="247490"/>
                    <a:pt x="233891" y="179499"/>
                  </a:cubicBezTo>
                  <a:cubicBezTo>
                    <a:pt x="233891" y="114226"/>
                    <a:pt x="212134" y="73431"/>
                    <a:pt x="182218" y="73431"/>
                  </a:cubicBezTo>
                  <a:close/>
                  <a:moveTo>
                    <a:pt x="182219" y="0"/>
                  </a:moveTo>
                  <a:cubicBezTo>
                    <a:pt x="282846" y="0"/>
                    <a:pt x="364436" y="81590"/>
                    <a:pt x="364436" y="182217"/>
                  </a:cubicBezTo>
                  <a:cubicBezTo>
                    <a:pt x="364436" y="282844"/>
                    <a:pt x="282846" y="364434"/>
                    <a:pt x="182219" y="364434"/>
                  </a:cubicBezTo>
                  <a:cubicBezTo>
                    <a:pt x="81591" y="364434"/>
                    <a:pt x="0" y="282844"/>
                    <a:pt x="0" y="182217"/>
                  </a:cubicBezTo>
                  <a:cubicBezTo>
                    <a:pt x="0" y="81590"/>
                    <a:pt x="81591" y="0"/>
                    <a:pt x="182219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/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3BDEFB69-A427-4EE9-9048-F231BA101167}"/>
                </a:ext>
              </a:extLst>
            </p:cNvPr>
            <p:cNvSpPr/>
            <p:nvPr/>
          </p:nvSpPr>
          <p:spPr>
            <a:xfrm>
              <a:off x="6743101" y="3464184"/>
              <a:ext cx="372773" cy="375657"/>
            </a:xfrm>
            <a:custGeom>
              <a:avLst/>
              <a:gdLst>
                <a:gd name="connsiteX0" fmla="*/ 176958 w 372773"/>
                <a:gd name="connsiteY0" fmla="*/ 98080 h 375657"/>
                <a:gd name="connsiteX1" fmla="*/ 125284 w 372773"/>
                <a:gd name="connsiteY1" fmla="*/ 190548 h 375657"/>
                <a:gd name="connsiteX2" fmla="*/ 176958 w 372773"/>
                <a:gd name="connsiteY2" fmla="*/ 283017 h 375657"/>
                <a:gd name="connsiteX3" fmla="*/ 228631 w 372773"/>
                <a:gd name="connsiteY3" fmla="*/ 190548 h 375657"/>
                <a:gd name="connsiteX4" fmla="*/ 176958 w 372773"/>
                <a:gd name="connsiteY4" fmla="*/ 98080 h 375657"/>
                <a:gd name="connsiteX5" fmla="*/ 307501 w 372773"/>
                <a:gd name="connsiteY5" fmla="*/ 172 h 375657"/>
                <a:gd name="connsiteX6" fmla="*/ 372773 w 372773"/>
                <a:gd name="connsiteY6" fmla="*/ 62724 h 375657"/>
                <a:gd name="connsiteX7" fmla="*/ 372773 w 372773"/>
                <a:gd name="connsiteY7" fmla="*/ 312934 h 375657"/>
                <a:gd name="connsiteX8" fmla="*/ 302061 w 372773"/>
                <a:gd name="connsiteY8" fmla="*/ 375486 h 375657"/>
                <a:gd name="connsiteX9" fmla="*/ 239509 w 372773"/>
                <a:gd name="connsiteY9" fmla="*/ 326532 h 375657"/>
                <a:gd name="connsiteX10" fmla="*/ 179677 w 372773"/>
                <a:gd name="connsiteY10" fmla="*/ 370046 h 375657"/>
                <a:gd name="connsiteX11" fmla="*/ 70890 w 372773"/>
                <a:gd name="connsiteY11" fmla="*/ 353728 h 375657"/>
                <a:gd name="connsiteX12" fmla="*/ 128003 w 372773"/>
                <a:gd name="connsiteY12" fmla="*/ 11051 h 375657"/>
                <a:gd name="connsiteX13" fmla="*/ 236790 w 372773"/>
                <a:gd name="connsiteY13" fmla="*/ 70883 h 375657"/>
                <a:gd name="connsiteX14" fmla="*/ 236790 w 372773"/>
                <a:gd name="connsiteY14" fmla="*/ 62724 h 375657"/>
                <a:gd name="connsiteX15" fmla="*/ 307501 w 372773"/>
                <a:gd name="connsiteY15" fmla="*/ 172 h 3756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72773" h="375657">
                  <a:moveTo>
                    <a:pt x="176958" y="98080"/>
                  </a:moveTo>
                  <a:cubicBezTo>
                    <a:pt x="147042" y="100800"/>
                    <a:pt x="125284" y="133436"/>
                    <a:pt x="125284" y="190548"/>
                  </a:cubicBezTo>
                  <a:cubicBezTo>
                    <a:pt x="125284" y="247661"/>
                    <a:pt x="141602" y="283017"/>
                    <a:pt x="176958" y="283017"/>
                  </a:cubicBezTo>
                  <a:cubicBezTo>
                    <a:pt x="212314" y="283017"/>
                    <a:pt x="228631" y="247661"/>
                    <a:pt x="228631" y="190548"/>
                  </a:cubicBezTo>
                  <a:cubicBezTo>
                    <a:pt x="228631" y="133436"/>
                    <a:pt x="206874" y="98080"/>
                    <a:pt x="176958" y="98080"/>
                  </a:cubicBezTo>
                  <a:close/>
                  <a:moveTo>
                    <a:pt x="307501" y="172"/>
                  </a:moveTo>
                  <a:cubicBezTo>
                    <a:pt x="340137" y="172"/>
                    <a:pt x="372773" y="30088"/>
                    <a:pt x="372773" y="62724"/>
                  </a:cubicBezTo>
                  <a:cubicBezTo>
                    <a:pt x="372773" y="65444"/>
                    <a:pt x="372773" y="307494"/>
                    <a:pt x="372773" y="312934"/>
                  </a:cubicBezTo>
                  <a:cubicBezTo>
                    <a:pt x="370053" y="348289"/>
                    <a:pt x="337417" y="378205"/>
                    <a:pt x="302061" y="375486"/>
                  </a:cubicBezTo>
                  <a:cubicBezTo>
                    <a:pt x="274865" y="372766"/>
                    <a:pt x="247668" y="353728"/>
                    <a:pt x="239509" y="326532"/>
                  </a:cubicBezTo>
                  <a:cubicBezTo>
                    <a:pt x="225911" y="348289"/>
                    <a:pt x="198715" y="364607"/>
                    <a:pt x="179677" y="370046"/>
                  </a:cubicBezTo>
                  <a:cubicBezTo>
                    <a:pt x="147041" y="378205"/>
                    <a:pt x="100807" y="372766"/>
                    <a:pt x="70890" y="353728"/>
                  </a:cubicBezTo>
                  <a:cubicBezTo>
                    <a:pt x="-35177" y="285737"/>
                    <a:pt x="-27018" y="11051"/>
                    <a:pt x="128003" y="11051"/>
                  </a:cubicBezTo>
                  <a:cubicBezTo>
                    <a:pt x="185116" y="11051"/>
                    <a:pt x="220471" y="49126"/>
                    <a:pt x="236790" y="70883"/>
                  </a:cubicBezTo>
                  <a:cubicBezTo>
                    <a:pt x="236790" y="70883"/>
                    <a:pt x="236790" y="65444"/>
                    <a:pt x="236790" y="62724"/>
                  </a:cubicBezTo>
                  <a:cubicBezTo>
                    <a:pt x="239509" y="27369"/>
                    <a:pt x="272145" y="-2547"/>
                    <a:pt x="307501" y="172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/>
            </a:p>
          </p:txBody>
        </p:sp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id="{46719ABB-E490-4463-9FFA-AE200A2AD7A1}"/>
                </a:ext>
              </a:extLst>
            </p:cNvPr>
            <p:cNvSpPr/>
            <p:nvPr/>
          </p:nvSpPr>
          <p:spPr>
            <a:xfrm>
              <a:off x="8380335" y="3464184"/>
              <a:ext cx="372772" cy="375657"/>
            </a:xfrm>
            <a:custGeom>
              <a:avLst/>
              <a:gdLst>
                <a:gd name="connsiteX0" fmla="*/ 176957 w 372772"/>
                <a:gd name="connsiteY0" fmla="*/ 98080 h 375657"/>
                <a:gd name="connsiteX1" fmla="*/ 125282 w 372772"/>
                <a:gd name="connsiteY1" fmla="*/ 190548 h 375657"/>
                <a:gd name="connsiteX2" fmla="*/ 176957 w 372772"/>
                <a:gd name="connsiteY2" fmla="*/ 283017 h 375657"/>
                <a:gd name="connsiteX3" fmla="*/ 228630 w 372772"/>
                <a:gd name="connsiteY3" fmla="*/ 190548 h 375657"/>
                <a:gd name="connsiteX4" fmla="*/ 176957 w 372772"/>
                <a:gd name="connsiteY4" fmla="*/ 98080 h 375657"/>
                <a:gd name="connsiteX5" fmla="*/ 307501 w 372772"/>
                <a:gd name="connsiteY5" fmla="*/ 172 h 375657"/>
                <a:gd name="connsiteX6" fmla="*/ 372772 w 372772"/>
                <a:gd name="connsiteY6" fmla="*/ 62724 h 375657"/>
                <a:gd name="connsiteX7" fmla="*/ 372772 w 372772"/>
                <a:gd name="connsiteY7" fmla="*/ 312934 h 375657"/>
                <a:gd name="connsiteX8" fmla="*/ 302062 w 372772"/>
                <a:gd name="connsiteY8" fmla="*/ 375486 h 375657"/>
                <a:gd name="connsiteX9" fmla="*/ 239509 w 372772"/>
                <a:gd name="connsiteY9" fmla="*/ 326532 h 375657"/>
                <a:gd name="connsiteX10" fmla="*/ 179677 w 372772"/>
                <a:gd name="connsiteY10" fmla="*/ 370046 h 375657"/>
                <a:gd name="connsiteX11" fmla="*/ 70890 w 372772"/>
                <a:gd name="connsiteY11" fmla="*/ 353728 h 375657"/>
                <a:gd name="connsiteX12" fmla="*/ 128002 w 372772"/>
                <a:gd name="connsiteY12" fmla="*/ 11051 h 375657"/>
                <a:gd name="connsiteX13" fmla="*/ 236790 w 372772"/>
                <a:gd name="connsiteY13" fmla="*/ 70883 h 375657"/>
                <a:gd name="connsiteX14" fmla="*/ 236790 w 372772"/>
                <a:gd name="connsiteY14" fmla="*/ 62724 h 375657"/>
                <a:gd name="connsiteX15" fmla="*/ 307501 w 372772"/>
                <a:gd name="connsiteY15" fmla="*/ 172 h 3756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72772" h="375657">
                  <a:moveTo>
                    <a:pt x="176957" y="98080"/>
                  </a:moveTo>
                  <a:cubicBezTo>
                    <a:pt x="147039" y="100800"/>
                    <a:pt x="125282" y="133436"/>
                    <a:pt x="125282" y="190548"/>
                  </a:cubicBezTo>
                  <a:cubicBezTo>
                    <a:pt x="125282" y="247661"/>
                    <a:pt x="141600" y="283017"/>
                    <a:pt x="176957" y="283017"/>
                  </a:cubicBezTo>
                  <a:cubicBezTo>
                    <a:pt x="212312" y="283017"/>
                    <a:pt x="228630" y="247661"/>
                    <a:pt x="228630" y="190548"/>
                  </a:cubicBezTo>
                  <a:cubicBezTo>
                    <a:pt x="228630" y="133436"/>
                    <a:pt x="206873" y="98080"/>
                    <a:pt x="176957" y="98080"/>
                  </a:cubicBezTo>
                  <a:close/>
                  <a:moveTo>
                    <a:pt x="307501" y="172"/>
                  </a:moveTo>
                  <a:cubicBezTo>
                    <a:pt x="340137" y="172"/>
                    <a:pt x="372772" y="30088"/>
                    <a:pt x="372772" y="62724"/>
                  </a:cubicBezTo>
                  <a:cubicBezTo>
                    <a:pt x="372772" y="65444"/>
                    <a:pt x="372772" y="307494"/>
                    <a:pt x="372772" y="312934"/>
                  </a:cubicBezTo>
                  <a:cubicBezTo>
                    <a:pt x="370053" y="348289"/>
                    <a:pt x="337417" y="378205"/>
                    <a:pt x="302062" y="375486"/>
                  </a:cubicBezTo>
                  <a:cubicBezTo>
                    <a:pt x="274865" y="372766"/>
                    <a:pt x="247668" y="353728"/>
                    <a:pt x="239509" y="326532"/>
                  </a:cubicBezTo>
                  <a:cubicBezTo>
                    <a:pt x="228630" y="348289"/>
                    <a:pt x="198714" y="364607"/>
                    <a:pt x="179677" y="370046"/>
                  </a:cubicBezTo>
                  <a:cubicBezTo>
                    <a:pt x="147040" y="378205"/>
                    <a:pt x="100806" y="372766"/>
                    <a:pt x="70890" y="353728"/>
                  </a:cubicBezTo>
                  <a:cubicBezTo>
                    <a:pt x="-35177" y="285737"/>
                    <a:pt x="-27018" y="11051"/>
                    <a:pt x="128002" y="11051"/>
                  </a:cubicBezTo>
                  <a:cubicBezTo>
                    <a:pt x="185116" y="11051"/>
                    <a:pt x="220472" y="49126"/>
                    <a:pt x="236790" y="70883"/>
                  </a:cubicBezTo>
                  <a:cubicBezTo>
                    <a:pt x="236790" y="70883"/>
                    <a:pt x="236790" y="65444"/>
                    <a:pt x="236790" y="62724"/>
                  </a:cubicBezTo>
                  <a:cubicBezTo>
                    <a:pt x="239509" y="27369"/>
                    <a:pt x="272145" y="-2547"/>
                    <a:pt x="307501" y="172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/>
            </a:p>
          </p:txBody>
        </p:sp>
        <p:sp>
          <p:nvSpPr>
            <p:cNvPr id="35" name="Freeform: Shape 34">
              <a:extLst>
                <a:ext uri="{FF2B5EF4-FFF2-40B4-BE49-F238E27FC236}">
                  <a16:creationId xmlns:a16="http://schemas.microsoft.com/office/drawing/2014/main" id="{879D5D20-EE89-4A8B-9699-D9683301D220}"/>
                </a:ext>
              </a:extLst>
            </p:cNvPr>
            <p:cNvSpPr/>
            <p:nvPr/>
          </p:nvSpPr>
          <p:spPr>
            <a:xfrm>
              <a:off x="7389492" y="3444253"/>
              <a:ext cx="217573" cy="435145"/>
            </a:xfrm>
            <a:custGeom>
              <a:avLst/>
              <a:gdLst>
                <a:gd name="connsiteX0" fmla="*/ 186002 w 217572"/>
                <a:gd name="connsiteY0" fmla="*/ 118011 h 435144"/>
                <a:gd name="connsiteX1" fmla="*/ 128890 w 217572"/>
                <a:gd name="connsiteY1" fmla="*/ 58178 h 435144"/>
                <a:gd name="connsiteX2" fmla="*/ 123450 w 217572"/>
                <a:gd name="connsiteY2" fmla="*/ 58178 h 435144"/>
                <a:gd name="connsiteX3" fmla="*/ 58178 w 217572"/>
                <a:gd name="connsiteY3" fmla="*/ 115291 h 435144"/>
                <a:gd name="connsiteX4" fmla="*/ 58178 w 217572"/>
                <a:gd name="connsiteY4" fmla="*/ 232236 h 435144"/>
                <a:gd name="connsiteX5" fmla="*/ 58178 w 217572"/>
                <a:gd name="connsiteY5" fmla="*/ 232236 h 435144"/>
                <a:gd name="connsiteX6" fmla="*/ 58178 w 217572"/>
                <a:gd name="connsiteY6" fmla="*/ 335583 h 435144"/>
                <a:gd name="connsiteX7" fmla="*/ 115291 w 217572"/>
                <a:gd name="connsiteY7" fmla="*/ 395415 h 435144"/>
                <a:gd name="connsiteX8" fmla="*/ 120730 w 217572"/>
                <a:gd name="connsiteY8" fmla="*/ 395415 h 435144"/>
                <a:gd name="connsiteX9" fmla="*/ 186002 w 217572"/>
                <a:gd name="connsiteY9" fmla="*/ 338303 h 435144"/>
                <a:gd name="connsiteX10" fmla="*/ 186002 w 217572"/>
                <a:gd name="connsiteY10" fmla="*/ 240395 h 435144"/>
                <a:gd name="connsiteX11" fmla="*/ 186002 w 217572"/>
                <a:gd name="connsiteY11" fmla="*/ 240395 h 435144"/>
                <a:gd name="connsiteX12" fmla="*/ 186002 w 217572"/>
                <a:gd name="connsiteY12" fmla="*/ 118011 h 4351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17572" h="435144">
                  <a:moveTo>
                    <a:pt x="186002" y="118011"/>
                  </a:moveTo>
                  <a:cubicBezTo>
                    <a:pt x="183283" y="85375"/>
                    <a:pt x="158806" y="60898"/>
                    <a:pt x="128890" y="58178"/>
                  </a:cubicBezTo>
                  <a:cubicBezTo>
                    <a:pt x="126170" y="58178"/>
                    <a:pt x="126170" y="58178"/>
                    <a:pt x="123450" y="58178"/>
                  </a:cubicBezTo>
                  <a:cubicBezTo>
                    <a:pt x="96254" y="58178"/>
                    <a:pt x="58178" y="82655"/>
                    <a:pt x="58178" y="115291"/>
                  </a:cubicBezTo>
                  <a:lnTo>
                    <a:pt x="58178" y="232236"/>
                  </a:lnTo>
                  <a:lnTo>
                    <a:pt x="58178" y="232236"/>
                  </a:lnTo>
                  <a:cubicBezTo>
                    <a:pt x="58178" y="270311"/>
                    <a:pt x="58178" y="335583"/>
                    <a:pt x="58178" y="335583"/>
                  </a:cubicBezTo>
                  <a:cubicBezTo>
                    <a:pt x="60898" y="368219"/>
                    <a:pt x="85375" y="392696"/>
                    <a:pt x="115291" y="395415"/>
                  </a:cubicBezTo>
                  <a:cubicBezTo>
                    <a:pt x="118011" y="395415"/>
                    <a:pt x="118011" y="395415"/>
                    <a:pt x="120730" y="395415"/>
                  </a:cubicBezTo>
                  <a:cubicBezTo>
                    <a:pt x="147927" y="395415"/>
                    <a:pt x="186002" y="370938"/>
                    <a:pt x="186002" y="338303"/>
                  </a:cubicBezTo>
                  <a:lnTo>
                    <a:pt x="186002" y="240395"/>
                  </a:lnTo>
                  <a:lnTo>
                    <a:pt x="186002" y="240395"/>
                  </a:lnTo>
                  <a:cubicBezTo>
                    <a:pt x="186002" y="202320"/>
                    <a:pt x="186002" y="118011"/>
                    <a:pt x="186002" y="118011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/>
            </a:p>
          </p:txBody>
        </p:sp>
        <p:sp>
          <p:nvSpPr>
            <p:cNvPr id="36" name="Freeform: Shape 35">
              <a:extLst>
                <a:ext uri="{FF2B5EF4-FFF2-40B4-BE49-F238E27FC236}">
                  <a16:creationId xmlns:a16="http://schemas.microsoft.com/office/drawing/2014/main" id="{3FD26498-FDBF-440C-8464-BDE4887B9840}"/>
                </a:ext>
              </a:extLst>
            </p:cNvPr>
            <p:cNvSpPr/>
            <p:nvPr/>
          </p:nvSpPr>
          <p:spPr>
            <a:xfrm>
              <a:off x="7392212" y="3280901"/>
              <a:ext cx="217573" cy="217572"/>
            </a:xfrm>
            <a:custGeom>
              <a:avLst/>
              <a:gdLst>
                <a:gd name="connsiteX0" fmla="*/ 183282 w 217572"/>
                <a:gd name="connsiteY0" fmla="*/ 120902 h 217572"/>
                <a:gd name="connsiteX1" fmla="*/ 120730 w 217572"/>
                <a:gd name="connsiteY1" fmla="*/ 183454 h 217572"/>
                <a:gd name="connsiteX2" fmla="*/ 58178 w 217572"/>
                <a:gd name="connsiteY2" fmla="*/ 120902 h 217572"/>
                <a:gd name="connsiteX3" fmla="*/ 120730 w 217572"/>
                <a:gd name="connsiteY3" fmla="*/ 58350 h 217572"/>
                <a:gd name="connsiteX4" fmla="*/ 183282 w 217572"/>
                <a:gd name="connsiteY4" fmla="*/ 120902 h 2175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17572" h="217572">
                  <a:moveTo>
                    <a:pt x="183282" y="120902"/>
                  </a:moveTo>
                  <a:cubicBezTo>
                    <a:pt x="183282" y="156258"/>
                    <a:pt x="156086" y="183454"/>
                    <a:pt x="120730" y="183454"/>
                  </a:cubicBezTo>
                  <a:cubicBezTo>
                    <a:pt x="85375" y="183454"/>
                    <a:pt x="58178" y="156258"/>
                    <a:pt x="58178" y="120902"/>
                  </a:cubicBezTo>
                  <a:cubicBezTo>
                    <a:pt x="58178" y="85547"/>
                    <a:pt x="85375" y="58350"/>
                    <a:pt x="120730" y="58350"/>
                  </a:cubicBezTo>
                  <a:cubicBezTo>
                    <a:pt x="153366" y="55630"/>
                    <a:pt x="183282" y="85547"/>
                    <a:pt x="183282" y="120902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/>
            </a:p>
          </p:txBody>
        </p:sp>
        <p:sp>
          <p:nvSpPr>
            <p:cNvPr id="37" name="Freeform: Shape 36">
              <a:extLst>
                <a:ext uri="{FF2B5EF4-FFF2-40B4-BE49-F238E27FC236}">
                  <a16:creationId xmlns:a16="http://schemas.microsoft.com/office/drawing/2014/main" id="{38BDF441-371D-4336-BFE3-6AB3A6129E34}"/>
                </a:ext>
              </a:extLst>
            </p:cNvPr>
            <p:cNvSpPr/>
            <p:nvPr/>
          </p:nvSpPr>
          <p:spPr>
            <a:xfrm>
              <a:off x="6005186" y="3416884"/>
              <a:ext cx="380752" cy="462341"/>
            </a:xfrm>
            <a:custGeom>
              <a:avLst/>
              <a:gdLst>
                <a:gd name="connsiteX0" fmla="*/ 270312 w 380752"/>
                <a:gd name="connsiteY0" fmla="*/ 69229 h 462341"/>
                <a:gd name="connsiteX1" fmla="*/ 188722 w 380752"/>
                <a:gd name="connsiteY1" fmla="*/ 134501 h 462341"/>
                <a:gd name="connsiteX2" fmla="*/ 188722 w 380752"/>
                <a:gd name="connsiteY2" fmla="*/ 118183 h 462341"/>
                <a:gd name="connsiteX3" fmla="*/ 126170 w 380752"/>
                <a:gd name="connsiteY3" fmla="*/ 58350 h 462341"/>
                <a:gd name="connsiteX4" fmla="*/ 58178 w 380752"/>
                <a:gd name="connsiteY4" fmla="*/ 118183 h 462341"/>
                <a:gd name="connsiteX5" fmla="*/ 58178 w 380752"/>
                <a:gd name="connsiteY5" fmla="*/ 210651 h 462341"/>
                <a:gd name="connsiteX6" fmla="*/ 58178 w 380752"/>
                <a:gd name="connsiteY6" fmla="*/ 365671 h 462341"/>
                <a:gd name="connsiteX7" fmla="*/ 58178 w 380752"/>
                <a:gd name="connsiteY7" fmla="*/ 365671 h 462341"/>
                <a:gd name="connsiteX8" fmla="*/ 120730 w 380752"/>
                <a:gd name="connsiteY8" fmla="*/ 425504 h 462341"/>
                <a:gd name="connsiteX9" fmla="*/ 186002 w 380752"/>
                <a:gd name="connsiteY9" fmla="*/ 365671 h 462341"/>
                <a:gd name="connsiteX10" fmla="*/ 186002 w 380752"/>
                <a:gd name="connsiteY10" fmla="*/ 365671 h 462341"/>
                <a:gd name="connsiteX11" fmla="*/ 186002 w 380752"/>
                <a:gd name="connsiteY11" fmla="*/ 210651 h 462341"/>
                <a:gd name="connsiteX12" fmla="*/ 215919 w 380752"/>
                <a:gd name="connsiteY12" fmla="*/ 158978 h 462341"/>
                <a:gd name="connsiteX13" fmla="*/ 275751 w 380752"/>
                <a:gd name="connsiteY13" fmla="*/ 221530 h 462341"/>
                <a:gd name="connsiteX14" fmla="*/ 270312 w 380752"/>
                <a:gd name="connsiteY14" fmla="*/ 69229 h 4623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80752" h="462341">
                  <a:moveTo>
                    <a:pt x="270312" y="69229"/>
                  </a:moveTo>
                  <a:cubicBezTo>
                    <a:pt x="232236" y="71949"/>
                    <a:pt x="213199" y="99145"/>
                    <a:pt x="188722" y="134501"/>
                  </a:cubicBezTo>
                  <a:cubicBezTo>
                    <a:pt x="188722" y="134501"/>
                    <a:pt x="188722" y="118183"/>
                    <a:pt x="188722" y="118183"/>
                  </a:cubicBezTo>
                  <a:cubicBezTo>
                    <a:pt x="188722" y="85547"/>
                    <a:pt x="158806" y="58350"/>
                    <a:pt x="126170" y="58350"/>
                  </a:cubicBezTo>
                  <a:cubicBezTo>
                    <a:pt x="93534" y="55631"/>
                    <a:pt x="60898" y="85547"/>
                    <a:pt x="58178" y="118183"/>
                  </a:cubicBezTo>
                  <a:lnTo>
                    <a:pt x="58178" y="210651"/>
                  </a:lnTo>
                  <a:lnTo>
                    <a:pt x="58178" y="365671"/>
                  </a:lnTo>
                  <a:lnTo>
                    <a:pt x="58178" y="365671"/>
                  </a:lnTo>
                  <a:cubicBezTo>
                    <a:pt x="58178" y="398307"/>
                    <a:pt x="88094" y="425504"/>
                    <a:pt x="120730" y="425504"/>
                  </a:cubicBezTo>
                  <a:cubicBezTo>
                    <a:pt x="153366" y="428224"/>
                    <a:pt x="186002" y="398307"/>
                    <a:pt x="186002" y="365671"/>
                  </a:cubicBezTo>
                  <a:lnTo>
                    <a:pt x="186002" y="365671"/>
                  </a:lnTo>
                  <a:lnTo>
                    <a:pt x="186002" y="210651"/>
                  </a:lnTo>
                  <a:cubicBezTo>
                    <a:pt x="188722" y="188894"/>
                    <a:pt x="196881" y="158978"/>
                    <a:pt x="215919" y="158978"/>
                  </a:cubicBezTo>
                  <a:cubicBezTo>
                    <a:pt x="243115" y="158978"/>
                    <a:pt x="215919" y="221530"/>
                    <a:pt x="275751" y="221530"/>
                  </a:cubicBezTo>
                  <a:cubicBezTo>
                    <a:pt x="362780" y="221530"/>
                    <a:pt x="373658" y="63790"/>
                    <a:pt x="270312" y="69229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/>
            </a:p>
          </p:txBody>
        </p:sp>
        <p:sp>
          <p:nvSpPr>
            <p:cNvPr id="38" name="Freeform: Shape 37">
              <a:extLst>
                <a:ext uri="{FF2B5EF4-FFF2-40B4-BE49-F238E27FC236}">
                  <a16:creationId xmlns:a16="http://schemas.microsoft.com/office/drawing/2014/main" id="{F8BAD5CD-434F-4D77-8BD2-26C750766026}"/>
                </a:ext>
              </a:extLst>
            </p:cNvPr>
            <p:cNvSpPr/>
            <p:nvPr/>
          </p:nvSpPr>
          <p:spPr>
            <a:xfrm>
              <a:off x="5693490" y="3475234"/>
              <a:ext cx="337238" cy="364434"/>
            </a:xfrm>
            <a:custGeom>
              <a:avLst/>
              <a:gdLst>
                <a:gd name="connsiteX0" fmla="*/ 180433 w 337238"/>
                <a:gd name="connsiteY0" fmla="*/ 73984 h 364434"/>
                <a:gd name="connsiteX1" fmla="*/ 163180 w 337238"/>
                <a:gd name="connsiteY1" fmla="*/ 78870 h 364434"/>
                <a:gd name="connsiteX2" fmla="*/ 125105 w 337238"/>
                <a:gd name="connsiteY2" fmla="*/ 160461 h 364434"/>
                <a:gd name="connsiteX3" fmla="*/ 171339 w 337238"/>
                <a:gd name="connsiteY3" fmla="*/ 163180 h 364434"/>
                <a:gd name="connsiteX4" fmla="*/ 214854 w 337238"/>
                <a:gd name="connsiteY4" fmla="*/ 108787 h 364434"/>
                <a:gd name="connsiteX5" fmla="*/ 180433 w 337238"/>
                <a:gd name="connsiteY5" fmla="*/ 73984 h 364434"/>
                <a:gd name="connsiteX6" fmla="*/ 174059 w 337238"/>
                <a:gd name="connsiteY6" fmla="*/ 0 h 364434"/>
                <a:gd name="connsiteX7" fmla="*/ 337238 w 337238"/>
                <a:gd name="connsiteY7" fmla="*/ 119665 h 364434"/>
                <a:gd name="connsiteX8" fmla="*/ 133264 w 337238"/>
                <a:gd name="connsiteY8" fmla="*/ 217573 h 364434"/>
                <a:gd name="connsiteX9" fmla="*/ 225732 w 337238"/>
                <a:gd name="connsiteY9" fmla="*/ 277405 h 364434"/>
                <a:gd name="connsiteX10" fmla="*/ 320920 w 337238"/>
                <a:gd name="connsiteY10" fmla="*/ 250208 h 364434"/>
                <a:gd name="connsiteX11" fmla="*/ 174059 w 337238"/>
                <a:gd name="connsiteY11" fmla="*/ 364434 h 364434"/>
                <a:gd name="connsiteX12" fmla="*/ 0 w 337238"/>
                <a:gd name="connsiteY12" fmla="*/ 184937 h 364434"/>
                <a:gd name="connsiteX13" fmla="*/ 174059 w 337238"/>
                <a:gd name="connsiteY13" fmla="*/ 0 h 3644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37238" h="364434">
                  <a:moveTo>
                    <a:pt x="180433" y="73984"/>
                  </a:moveTo>
                  <a:cubicBezTo>
                    <a:pt x="174569" y="73941"/>
                    <a:pt x="168620" y="75471"/>
                    <a:pt x="163180" y="78870"/>
                  </a:cubicBezTo>
                  <a:cubicBezTo>
                    <a:pt x="135984" y="95189"/>
                    <a:pt x="127825" y="130544"/>
                    <a:pt x="125105" y="160461"/>
                  </a:cubicBezTo>
                  <a:cubicBezTo>
                    <a:pt x="125105" y="163180"/>
                    <a:pt x="168620" y="160461"/>
                    <a:pt x="171339" y="163180"/>
                  </a:cubicBezTo>
                  <a:cubicBezTo>
                    <a:pt x="195816" y="157741"/>
                    <a:pt x="214854" y="135984"/>
                    <a:pt x="214854" y="108787"/>
                  </a:cubicBezTo>
                  <a:cubicBezTo>
                    <a:pt x="214854" y="88389"/>
                    <a:pt x="198026" y="74111"/>
                    <a:pt x="180433" y="73984"/>
                  </a:cubicBezTo>
                  <a:close/>
                  <a:moveTo>
                    <a:pt x="174059" y="0"/>
                  </a:moveTo>
                  <a:cubicBezTo>
                    <a:pt x="233891" y="0"/>
                    <a:pt x="337238" y="29916"/>
                    <a:pt x="337238" y="119665"/>
                  </a:cubicBezTo>
                  <a:cubicBezTo>
                    <a:pt x="337238" y="209414"/>
                    <a:pt x="244770" y="217573"/>
                    <a:pt x="133264" y="217573"/>
                  </a:cubicBezTo>
                  <a:cubicBezTo>
                    <a:pt x="133264" y="217573"/>
                    <a:pt x="149581" y="277405"/>
                    <a:pt x="225732" y="277405"/>
                  </a:cubicBezTo>
                  <a:cubicBezTo>
                    <a:pt x="301883" y="277405"/>
                    <a:pt x="320920" y="250208"/>
                    <a:pt x="320920" y="250208"/>
                  </a:cubicBezTo>
                  <a:cubicBezTo>
                    <a:pt x="320920" y="250208"/>
                    <a:pt x="315481" y="364434"/>
                    <a:pt x="174059" y="364434"/>
                  </a:cubicBezTo>
                  <a:cubicBezTo>
                    <a:pt x="95188" y="364434"/>
                    <a:pt x="0" y="304602"/>
                    <a:pt x="0" y="184937"/>
                  </a:cubicBezTo>
                  <a:cubicBezTo>
                    <a:pt x="0" y="78870"/>
                    <a:pt x="73431" y="0"/>
                    <a:pt x="174059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/>
            </a:p>
          </p:txBody>
        </p:sp>
        <p:sp>
          <p:nvSpPr>
            <p:cNvPr id="39" name="Freeform: Shape 38">
              <a:extLst>
                <a:ext uri="{FF2B5EF4-FFF2-40B4-BE49-F238E27FC236}">
                  <a16:creationId xmlns:a16="http://schemas.microsoft.com/office/drawing/2014/main" id="{502F9BDB-7819-4E53-AED0-AEFFFB5D36A6}"/>
                </a:ext>
              </a:extLst>
            </p:cNvPr>
            <p:cNvSpPr/>
            <p:nvPr/>
          </p:nvSpPr>
          <p:spPr>
            <a:xfrm>
              <a:off x="5376945" y="3338014"/>
              <a:ext cx="353556" cy="543931"/>
            </a:xfrm>
            <a:custGeom>
              <a:avLst/>
              <a:gdLst>
                <a:gd name="connsiteX0" fmla="*/ 311107 w 353555"/>
                <a:gd name="connsiteY0" fmla="*/ 433663 h 543931"/>
                <a:gd name="connsiteX1" fmla="*/ 215919 w 353555"/>
                <a:gd name="connsiteY1" fmla="*/ 501654 h 543931"/>
                <a:gd name="connsiteX2" fmla="*/ 98973 w 353555"/>
                <a:gd name="connsiteY2" fmla="*/ 392868 h 543931"/>
                <a:gd name="connsiteX3" fmla="*/ 98973 w 353555"/>
                <a:gd name="connsiteY3" fmla="*/ 221530 h 543931"/>
                <a:gd name="connsiteX4" fmla="*/ 82655 w 353555"/>
                <a:gd name="connsiteY4" fmla="*/ 221530 h 543931"/>
                <a:gd name="connsiteX5" fmla="*/ 58178 w 353555"/>
                <a:gd name="connsiteY5" fmla="*/ 191614 h 543931"/>
                <a:gd name="connsiteX6" fmla="*/ 85375 w 353555"/>
                <a:gd name="connsiteY6" fmla="*/ 164417 h 543931"/>
                <a:gd name="connsiteX7" fmla="*/ 101693 w 353555"/>
                <a:gd name="connsiteY7" fmla="*/ 164417 h 543931"/>
                <a:gd name="connsiteX8" fmla="*/ 101693 w 353555"/>
                <a:gd name="connsiteY8" fmla="*/ 118183 h 543931"/>
                <a:gd name="connsiteX9" fmla="*/ 166965 w 353555"/>
                <a:gd name="connsiteY9" fmla="*/ 58350 h 543931"/>
                <a:gd name="connsiteX10" fmla="*/ 229517 w 353555"/>
                <a:gd name="connsiteY10" fmla="*/ 118183 h 543931"/>
                <a:gd name="connsiteX11" fmla="*/ 229517 w 353555"/>
                <a:gd name="connsiteY11" fmla="*/ 118183 h 543931"/>
                <a:gd name="connsiteX12" fmla="*/ 229517 w 353555"/>
                <a:gd name="connsiteY12" fmla="*/ 164417 h 543931"/>
                <a:gd name="connsiteX13" fmla="*/ 283910 w 353555"/>
                <a:gd name="connsiteY13" fmla="*/ 164417 h 543931"/>
                <a:gd name="connsiteX14" fmla="*/ 308387 w 353555"/>
                <a:gd name="connsiteY14" fmla="*/ 194333 h 543931"/>
                <a:gd name="connsiteX15" fmla="*/ 281190 w 353555"/>
                <a:gd name="connsiteY15" fmla="*/ 221530 h 543931"/>
                <a:gd name="connsiteX16" fmla="*/ 229517 w 353555"/>
                <a:gd name="connsiteY16" fmla="*/ 221530 h 543931"/>
                <a:gd name="connsiteX17" fmla="*/ 229517 w 353555"/>
                <a:gd name="connsiteY17" fmla="*/ 365671 h 543931"/>
                <a:gd name="connsiteX18" fmla="*/ 311107 w 353555"/>
                <a:gd name="connsiteY18" fmla="*/ 433663 h 5439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353555" h="543931">
                  <a:moveTo>
                    <a:pt x="311107" y="433663"/>
                  </a:moveTo>
                  <a:cubicBezTo>
                    <a:pt x="311107" y="433663"/>
                    <a:pt x="278471" y="501654"/>
                    <a:pt x="215919" y="501654"/>
                  </a:cubicBezTo>
                  <a:cubicBezTo>
                    <a:pt x="164245" y="501654"/>
                    <a:pt x="101693" y="458140"/>
                    <a:pt x="98973" y="392868"/>
                  </a:cubicBezTo>
                  <a:cubicBezTo>
                    <a:pt x="98973" y="392868"/>
                    <a:pt x="98973" y="297680"/>
                    <a:pt x="98973" y="221530"/>
                  </a:cubicBezTo>
                  <a:lnTo>
                    <a:pt x="82655" y="221530"/>
                  </a:lnTo>
                  <a:cubicBezTo>
                    <a:pt x="74496" y="221530"/>
                    <a:pt x="58178" y="216090"/>
                    <a:pt x="58178" y="191614"/>
                  </a:cubicBezTo>
                  <a:cubicBezTo>
                    <a:pt x="58178" y="167137"/>
                    <a:pt x="77216" y="164417"/>
                    <a:pt x="85375" y="164417"/>
                  </a:cubicBezTo>
                  <a:lnTo>
                    <a:pt x="101693" y="164417"/>
                  </a:lnTo>
                  <a:cubicBezTo>
                    <a:pt x="101693" y="137220"/>
                    <a:pt x="101693" y="118183"/>
                    <a:pt x="101693" y="118183"/>
                  </a:cubicBezTo>
                  <a:cubicBezTo>
                    <a:pt x="104413" y="85547"/>
                    <a:pt x="134329" y="55631"/>
                    <a:pt x="166965" y="58350"/>
                  </a:cubicBezTo>
                  <a:cubicBezTo>
                    <a:pt x="196881" y="61070"/>
                    <a:pt x="229517" y="85547"/>
                    <a:pt x="229517" y="118183"/>
                  </a:cubicBezTo>
                  <a:lnTo>
                    <a:pt x="229517" y="118183"/>
                  </a:lnTo>
                  <a:lnTo>
                    <a:pt x="229517" y="164417"/>
                  </a:lnTo>
                  <a:lnTo>
                    <a:pt x="283910" y="164417"/>
                  </a:lnTo>
                  <a:cubicBezTo>
                    <a:pt x="292069" y="164417"/>
                    <a:pt x="308387" y="169856"/>
                    <a:pt x="308387" y="194333"/>
                  </a:cubicBezTo>
                  <a:cubicBezTo>
                    <a:pt x="308387" y="218810"/>
                    <a:pt x="292069" y="221530"/>
                    <a:pt x="281190" y="221530"/>
                  </a:cubicBezTo>
                  <a:lnTo>
                    <a:pt x="229517" y="221530"/>
                  </a:lnTo>
                  <a:lnTo>
                    <a:pt x="229517" y="365671"/>
                  </a:lnTo>
                  <a:cubicBezTo>
                    <a:pt x="226797" y="409186"/>
                    <a:pt x="267592" y="433663"/>
                    <a:pt x="311107" y="433663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/>
            </a:p>
          </p:txBody>
        </p:sp>
        <p:sp>
          <p:nvSpPr>
            <p:cNvPr id="40" name="Freeform: Shape 39">
              <a:extLst>
                <a:ext uri="{FF2B5EF4-FFF2-40B4-BE49-F238E27FC236}">
                  <a16:creationId xmlns:a16="http://schemas.microsoft.com/office/drawing/2014/main" id="{6FE22129-481A-4C11-B764-0A44426B8CBA}"/>
                </a:ext>
              </a:extLst>
            </p:cNvPr>
            <p:cNvSpPr/>
            <p:nvPr/>
          </p:nvSpPr>
          <p:spPr>
            <a:xfrm>
              <a:off x="7090329" y="3338014"/>
              <a:ext cx="353556" cy="543931"/>
            </a:xfrm>
            <a:custGeom>
              <a:avLst/>
              <a:gdLst>
                <a:gd name="connsiteX0" fmla="*/ 311107 w 353555"/>
                <a:gd name="connsiteY0" fmla="*/ 433663 h 543931"/>
                <a:gd name="connsiteX1" fmla="*/ 215919 w 353555"/>
                <a:gd name="connsiteY1" fmla="*/ 501654 h 543931"/>
                <a:gd name="connsiteX2" fmla="*/ 98973 w 353555"/>
                <a:gd name="connsiteY2" fmla="*/ 392868 h 543931"/>
                <a:gd name="connsiteX3" fmla="*/ 98973 w 353555"/>
                <a:gd name="connsiteY3" fmla="*/ 221530 h 543931"/>
                <a:gd name="connsiteX4" fmla="*/ 82655 w 353555"/>
                <a:gd name="connsiteY4" fmla="*/ 221530 h 543931"/>
                <a:gd name="connsiteX5" fmla="*/ 58178 w 353555"/>
                <a:gd name="connsiteY5" fmla="*/ 191614 h 543931"/>
                <a:gd name="connsiteX6" fmla="*/ 85375 w 353555"/>
                <a:gd name="connsiteY6" fmla="*/ 164417 h 543931"/>
                <a:gd name="connsiteX7" fmla="*/ 101693 w 353555"/>
                <a:gd name="connsiteY7" fmla="*/ 164417 h 543931"/>
                <a:gd name="connsiteX8" fmla="*/ 101693 w 353555"/>
                <a:gd name="connsiteY8" fmla="*/ 118183 h 543931"/>
                <a:gd name="connsiteX9" fmla="*/ 166965 w 353555"/>
                <a:gd name="connsiteY9" fmla="*/ 58350 h 543931"/>
                <a:gd name="connsiteX10" fmla="*/ 229517 w 353555"/>
                <a:gd name="connsiteY10" fmla="*/ 118183 h 543931"/>
                <a:gd name="connsiteX11" fmla="*/ 229517 w 353555"/>
                <a:gd name="connsiteY11" fmla="*/ 118183 h 543931"/>
                <a:gd name="connsiteX12" fmla="*/ 229517 w 353555"/>
                <a:gd name="connsiteY12" fmla="*/ 164417 h 543931"/>
                <a:gd name="connsiteX13" fmla="*/ 283910 w 353555"/>
                <a:gd name="connsiteY13" fmla="*/ 164417 h 543931"/>
                <a:gd name="connsiteX14" fmla="*/ 308387 w 353555"/>
                <a:gd name="connsiteY14" fmla="*/ 194333 h 543931"/>
                <a:gd name="connsiteX15" fmla="*/ 281190 w 353555"/>
                <a:gd name="connsiteY15" fmla="*/ 221530 h 543931"/>
                <a:gd name="connsiteX16" fmla="*/ 229517 w 353555"/>
                <a:gd name="connsiteY16" fmla="*/ 221530 h 543931"/>
                <a:gd name="connsiteX17" fmla="*/ 229517 w 353555"/>
                <a:gd name="connsiteY17" fmla="*/ 365671 h 543931"/>
                <a:gd name="connsiteX18" fmla="*/ 311107 w 353555"/>
                <a:gd name="connsiteY18" fmla="*/ 433663 h 5439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353555" h="543931">
                  <a:moveTo>
                    <a:pt x="311107" y="433663"/>
                  </a:moveTo>
                  <a:cubicBezTo>
                    <a:pt x="311107" y="433663"/>
                    <a:pt x="278471" y="501654"/>
                    <a:pt x="215919" y="501654"/>
                  </a:cubicBezTo>
                  <a:cubicBezTo>
                    <a:pt x="164245" y="501654"/>
                    <a:pt x="101693" y="458140"/>
                    <a:pt x="98973" y="392868"/>
                  </a:cubicBezTo>
                  <a:cubicBezTo>
                    <a:pt x="98973" y="392868"/>
                    <a:pt x="98973" y="297680"/>
                    <a:pt x="98973" y="221530"/>
                  </a:cubicBezTo>
                  <a:lnTo>
                    <a:pt x="82655" y="221530"/>
                  </a:lnTo>
                  <a:cubicBezTo>
                    <a:pt x="74496" y="221530"/>
                    <a:pt x="58178" y="216090"/>
                    <a:pt x="58178" y="191614"/>
                  </a:cubicBezTo>
                  <a:cubicBezTo>
                    <a:pt x="58178" y="167137"/>
                    <a:pt x="77216" y="164417"/>
                    <a:pt x="85375" y="164417"/>
                  </a:cubicBezTo>
                  <a:lnTo>
                    <a:pt x="101693" y="164417"/>
                  </a:lnTo>
                  <a:cubicBezTo>
                    <a:pt x="101693" y="137220"/>
                    <a:pt x="101693" y="118183"/>
                    <a:pt x="101693" y="118183"/>
                  </a:cubicBezTo>
                  <a:cubicBezTo>
                    <a:pt x="104412" y="85547"/>
                    <a:pt x="134329" y="55631"/>
                    <a:pt x="166965" y="58350"/>
                  </a:cubicBezTo>
                  <a:cubicBezTo>
                    <a:pt x="196881" y="61070"/>
                    <a:pt x="229517" y="85547"/>
                    <a:pt x="229517" y="118183"/>
                  </a:cubicBezTo>
                  <a:lnTo>
                    <a:pt x="229517" y="118183"/>
                  </a:lnTo>
                  <a:lnTo>
                    <a:pt x="229517" y="164417"/>
                  </a:lnTo>
                  <a:lnTo>
                    <a:pt x="283910" y="164417"/>
                  </a:lnTo>
                  <a:cubicBezTo>
                    <a:pt x="292069" y="164417"/>
                    <a:pt x="308387" y="169856"/>
                    <a:pt x="308387" y="194333"/>
                  </a:cubicBezTo>
                  <a:cubicBezTo>
                    <a:pt x="308387" y="218810"/>
                    <a:pt x="292069" y="221530"/>
                    <a:pt x="281190" y="221530"/>
                  </a:cubicBezTo>
                  <a:lnTo>
                    <a:pt x="229517" y="221530"/>
                  </a:lnTo>
                  <a:lnTo>
                    <a:pt x="229517" y="365671"/>
                  </a:lnTo>
                  <a:cubicBezTo>
                    <a:pt x="229517" y="409186"/>
                    <a:pt x="270312" y="433663"/>
                    <a:pt x="311107" y="433663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/>
            </a:p>
          </p:txBody>
        </p:sp>
        <p:sp>
          <p:nvSpPr>
            <p:cNvPr id="41" name="Freeform: Shape 40">
              <a:extLst>
                <a:ext uri="{FF2B5EF4-FFF2-40B4-BE49-F238E27FC236}">
                  <a16:creationId xmlns:a16="http://schemas.microsoft.com/office/drawing/2014/main" id="{56673DCB-4EF6-4931-8C51-40ABA4BC6E47}"/>
                </a:ext>
              </a:extLst>
            </p:cNvPr>
            <p:cNvSpPr/>
            <p:nvPr/>
          </p:nvSpPr>
          <p:spPr>
            <a:xfrm>
              <a:off x="2080719" y="4178559"/>
              <a:ext cx="462342" cy="788700"/>
            </a:xfrm>
            <a:custGeom>
              <a:avLst/>
              <a:gdLst>
                <a:gd name="connsiteX0" fmla="*/ 403575 w 462341"/>
                <a:gd name="connsiteY0" fmla="*/ 583072 h 788699"/>
                <a:gd name="connsiteX1" fmla="*/ 406295 w 462341"/>
                <a:gd name="connsiteY1" fmla="*/ 596670 h 788699"/>
                <a:gd name="connsiteX2" fmla="*/ 400855 w 462341"/>
                <a:gd name="connsiteY2" fmla="*/ 610268 h 788699"/>
                <a:gd name="connsiteX3" fmla="*/ 389977 w 462341"/>
                <a:gd name="connsiteY3" fmla="*/ 626586 h 788699"/>
                <a:gd name="connsiteX4" fmla="*/ 354621 w 462341"/>
                <a:gd name="connsiteY4" fmla="*/ 675540 h 788699"/>
                <a:gd name="connsiteX5" fmla="*/ 327424 w 462341"/>
                <a:gd name="connsiteY5" fmla="*/ 691858 h 788699"/>
                <a:gd name="connsiteX6" fmla="*/ 292069 w 462341"/>
                <a:gd name="connsiteY6" fmla="*/ 713615 h 788699"/>
                <a:gd name="connsiteX7" fmla="*/ 251274 w 462341"/>
                <a:gd name="connsiteY7" fmla="*/ 724494 h 788699"/>
                <a:gd name="connsiteX8" fmla="*/ 221358 w 462341"/>
                <a:gd name="connsiteY8" fmla="*/ 721774 h 788699"/>
                <a:gd name="connsiteX9" fmla="*/ 191442 w 462341"/>
                <a:gd name="connsiteY9" fmla="*/ 721774 h 788699"/>
                <a:gd name="connsiteX10" fmla="*/ 153366 w 462341"/>
                <a:gd name="connsiteY10" fmla="*/ 713615 h 788699"/>
                <a:gd name="connsiteX11" fmla="*/ 104412 w 462341"/>
                <a:gd name="connsiteY11" fmla="*/ 675540 h 788699"/>
                <a:gd name="connsiteX12" fmla="*/ 104412 w 462341"/>
                <a:gd name="connsiteY12" fmla="*/ 689138 h 788699"/>
                <a:gd name="connsiteX13" fmla="*/ 101693 w 462341"/>
                <a:gd name="connsiteY13" fmla="*/ 710895 h 788699"/>
                <a:gd name="connsiteX14" fmla="*/ 85375 w 462341"/>
                <a:gd name="connsiteY14" fmla="*/ 732653 h 788699"/>
                <a:gd name="connsiteX15" fmla="*/ 69057 w 462341"/>
                <a:gd name="connsiteY15" fmla="*/ 727214 h 788699"/>
                <a:gd name="connsiteX16" fmla="*/ 60898 w 462341"/>
                <a:gd name="connsiteY16" fmla="*/ 710895 h 788699"/>
                <a:gd name="connsiteX17" fmla="*/ 58178 w 462341"/>
                <a:gd name="connsiteY17" fmla="*/ 691858 h 788699"/>
                <a:gd name="connsiteX18" fmla="*/ 60898 w 462341"/>
                <a:gd name="connsiteY18" fmla="*/ 664661 h 788699"/>
                <a:gd name="connsiteX19" fmla="*/ 60898 w 462341"/>
                <a:gd name="connsiteY19" fmla="*/ 607549 h 788699"/>
                <a:gd name="connsiteX20" fmla="*/ 63618 w 462341"/>
                <a:gd name="connsiteY20" fmla="*/ 528679 h 788699"/>
                <a:gd name="connsiteX21" fmla="*/ 69057 w 462341"/>
                <a:gd name="connsiteY21" fmla="*/ 504202 h 788699"/>
                <a:gd name="connsiteX22" fmla="*/ 74496 w 462341"/>
                <a:gd name="connsiteY22" fmla="*/ 493323 h 788699"/>
                <a:gd name="connsiteX23" fmla="*/ 82655 w 462341"/>
                <a:gd name="connsiteY23" fmla="*/ 487884 h 788699"/>
                <a:gd name="connsiteX24" fmla="*/ 90814 w 462341"/>
                <a:gd name="connsiteY24" fmla="*/ 493323 h 788699"/>
                <a:gd name="connsiteX25" fmla="*/ 98973 w 462341"/>
                <a:gd name="connsiteY25" fmla="*/ 512361 h 788699"/>
                <a:gd name="connsiteX26" fmla="*/ 101693 w 462341"/>
                <a:gd name="connsiteY26" fmla="*/ 555875 h 788699"/>
                <a:gd name="connsiteX27" fmla="*/ 101693 w 462341"/>
                <a:gd name="connsiteY27" fmla="*/ 596670 h 788699"/>
                <a:gd name="connsiteX28" fmla="*/ 109852 w 462341"/>
                <a:gd name="connsiteY28" fmla="*/ 626586 h 788699"/>
                <a:gd name="connsiteX29" fmla="*/ 128889 w 462341"/>
                <a:gd name="connsiteY29" fmla="*/ 651063 h 788699"/>
                <a:gd name="connsiteX30" fmla="*/ 153366 w 462341"/>
                <a:gd name="connsiteY30" fmla="*/ 670101 h 788699"/>
                <a:gd name="connsiteX31" fmla="*/ 196881 w 462341"/>
                <a:gd name="connsiteY31" fmla="*/ 678260 h 788699"/>
                <a:gd name="connsiteX32" fmla="*/ 221358 w 462341"/>
                <a:gd name="connsiteY32" fmla="*/ 667381 h 788699"/>
                <a:gd name="connsiteX33" fmla="*/ 253994 w 462341"/>
                <a:gd name="connsiteY33" fmla="*/ 659222 h 788699"/>
                <a:gd name="connsiteX34" fmla="*/ 275751 w 462341"/>
                <a:gd name="connsiteY34" fmla="*/ 637465 h 788699"/>
                <a:gd name="connsiteX35" fmla="*/ 281190 w 462341"/>
                <a:gd name="connsiteY35" fmla="*/ 615708 h 788699"/>
                <a:gd name="connsiteX36" fmla="*/ 278471 w 462341"/>
                <a:gd name="connsiteY36" fmla="*/ 602109 h 788699"/>
                <a:gd name="connsiteX37" fmla="*/ 262153 w 462341"/>
                <a:gd name="connsiteY37" fmla="*/ 572193 h 788699"/>
                <a:gd name="connsiteX38" fmla="*/ 245835 w 462341"/>
                <a:gd name="connsiteY38" fmla="*/ 536838 h 788699"/>
                <a:gd name="connsiteX39" fmla="*/ 196881 w 462341"/>
                <a:gd name="connsiteY39" fmla="*/ 477005 h 788699"/>
                <a:gd name="connsiteX40" fmla="*/ 145207 w 462341"/>
                <a:gd name="connsiteY40" fmla="*/ 419892 h 788699"/>
                <a:gd name="connsiteX41" fmla="*/ 93534 w 462341"/>
                <a:gd name="connsiteY41" fmla="*/ 357340 h 788699"/>
                <a:gd name="connsiteX42" fmla="*/ 66337 w 462341"/>
                <a:gd name="connsiteY42" fmla="*/ 283910 h 788699"/>
                <a:gd name="connsiteX43" fmla="*/ 58178 w 462341"/>
                <a:gd name="connsiteY43" fmla="*/ 224077 h 788699"/>
                <a:gd name="connsiteX44" fmla="*/ 82655 w 462341"/>
                <a:gd name="connsiteY44" fmla="*/ 150647 h 788699"/>
                <a:gd name="connsiteX45" fmla="*/ 137048 w 462341"/>
                <a:gd name="connsiteY45" fmla="*/ 96253 h 788699"/>
                <a:gd name="connsiteX46" fmla="*/ 196881 w 462341"/>
                <a:gd name="connsiteY46" fmla="*/ 77216 h 788699"/>
                <a:gd name="connsiteX47" fmla="*/ 232236 w 462341"/>
                <a:gd name="connsiteY47" fmla="*/ 69057 h 788699"/>
                <a:gd name="connsiteX48" fmla="*/ 262153 w 462341"/>
                <a:gd name="connsiteY48" fmla="*/ 74496 h 788699"/>
                <a:gd name="connsiteX49" fmla="*/ 294789 w 462341"/>
                <a:gd name="connsiteY49" fmla="*/ 85375 h 788699"/>
                <a:gd name="connsiteX50" fmla="*/ 327424 w 462341"/>
                <a:gd name="connsiteY50" fmla="*/ 104412 h 788699"/>
                <a:gd name="connsiteX51" fmla="*/ 332864 w 462341"/>
                <a:gd name="connsiteY51" fmla="*/ 74496 h 788699"/>
                <a:gd name="connsiteX52" fmla="*/ 338303 w 462341"/>
                <a:gd name="connsiteY52" fmla="*/ 63618 h 788699"/>
                <a:gd name="connsiteX53" fmla="*/ 349182 w 462341"/>
                <a:gd name="connsiteY53" fmla="*/ 58178 h 788699"/>
                <a:gd name="connsiteX54" fmla="*/ 357341 w 462341"/>
                <a:gd name="connsiteY54" fmla="*/ 63618 h 788699"/>
                <a:gd name="connsiteX55" fmla="*/ 365500 w 462341"/>
                <a:gd name="connsiteY55" fmla="*/ 82655 h 788699"/>
                <a:gd name="connsiteX56" fmla="*/ 368219 w 462341"/>
                <a:gd name="connsiteY56" fmla="*/ 142488 h 788699"/>
                <a:gd name="connsiteX57" fmla="*/ 368219 w 462341"/>
                <a:gd name="connsiteY57" fmla="*/ 188722 h 788699"/>
                <a:gd name="connsiteX58" fmla="*/ 370939 w 462341"/>
                <a:gd name="connsiteY58" fmla="*/ 245834 h 788699"/>
                <a:gd name="connsiteX59" fmla="*/ 354621 w 462341"/>
                <a:gd name="connsiteY59" fmla="*/ 286629 h 788699"/>
                <a:gd name="connsiteX60" fmla="*/ 338303 w 462341"/>
                <a:gd name="connsiteY60" fmla="*/ 281190 h 788699"/>
                <a:gd name="connsiteX61" fmla="*/ 330144 w 462341"/>
                <a:gd name="connsiteY61" fmla="*/ 264872 h 788699"/>
                <a:gd name="connsiteX62" fmla="*/ 327424 w 462341"/>
                <a:gd name="connsiteY62" fmla="*/ 248554 h 788699"/>
                <a:gd name="connsiteX63" fmla="*/ 330144 w 462341"/>
                <a:gd name="connsiteY63" fmla="*/ 221357 h 788699"/>
                <a:gd name="connsiteX64" fmla="*/ 330144 w 462341"/>
                <a:gd name="connsiteY64" fmla="*/ 188722 h 788699"/>
                <a:gd name="connsiteX65" fmla="*/ 327424 w 462341"/>
                <a:gd name="connsiteY65" fmla="*/ 164245 h 788699"/>
                <a:gd name="connsiteX66" fmla="*/ 311107 w 462341"/>
                <a:gd name="connsiteY66" fmla="*/ 134329 h 788699"/>
                <a:gd name="connsiteX67" fmla="*/ 283910 w 462341"/>
                <a:gd name="connsiteY67" fmla="*/ 118011 h 788699"/>
                <a:gd name="connsiteX68" fmla="*/ 251274 w 462341"/>
                <a:gd name="connsiteY68" fmla="*/ 112571 h 788699"/>
                <a:gd name="connsiteX69" fmla="*/ 215918 w 462341"/>
                <a:gd name="connsiteY69" fmla="*/ 123450 h 788699"/>
                <a:gd name="connsiteX70" fmla="*/ 202320 w 462341"/>
                <a:gd name="connsiteY70" fmla="*/ 147927 h 788699"/>
                <a:gd name="connsiteX71" fmla="*/ 188722 w 462341"/>
                <a:gd name="connsiteY71" fmla="*/ 180563 h 788699"/>
                <a:gd name="connsiteX72" fmla="*/ 183283 w 462341"/>
                <a:gd name="connsiteY72" fmla="*/ 210479 h 788699"/>
                <a:gd name="connsiteX73" fmla="*/ 188722 w 462341"/>
                <a:gd name="connsiteY73" fmla="*/ 226797 h 788699"/>
                <a:gd name="connsiteX74" fmla="*/ 188722 w 462341"/>
                <a:gd name="connsiteY74" fmla="*/ 248554 h 788699"/>
                <a:gd name="connsiteX75" fmla="*/ 210479 w 462341"/>
                <a:gd name="connsiteY75" fmla="*/ 273031 h 788699"/>
                <a:gd name="connsiteX76" fmla="*/ 226797 w 462341"/>
                <a:gd name="connsiteY76" fmla="*/ 300228 h 788699"/>
                <a:gd name="connsiteX77" fmla="*/ 256713 w 462341"/>
                <a:gd name="connsiteY77" fmla="*/ 332864 h 788699"/>
                <a:gd name="connsiteX78" fmla="*/ 275751 w 462341"/>
                <a:gd name="connsiteY78" fmla="*/ 351901 h 788699"/>
                <a:gd name="connsiteX79" fmla="*/ 324705 w 462341"/>
                <a:gd name="connsiteY79" fmla="*/ 400855 h 788699"/>
                <a:gd name="connsiteX80" fmla="*/ 343742 w 462341"/>
                <a:gd name="connsiteY80" fmla="*/ 428051 h 788699"/>
                <a:gd name="connsiteX81" fmla="*/ 351901 w 462341"/>
                <a:gd name="connsiteY81" fmla="*/ 433491 h 788699"/>
                <a:gd name="connsiteX82" fmla="*/ 360060 w 462341"/>
                <a:gd name="connsiteY82" fmla="*/ 447089 h 788699"/>
                <a:gd name="connsiteX83" fmla="*/ 384537 w 462341"/>
                <a:gd name="connsiteY83" fmla="*/ 474286 h 788699"/>
                <a:gd name="connsiteX84" fmla="*/ 395416 w 462341"/>
                <a:gd name="connsiteY84" fmla="*/ 506921 h 788699"/>
                <a:gd name="connsiteX85" fmla="*/ 406295 w 462341"/>
                <a:gd name="connsiteY85" fmla="*/ 536838 h 788699"/>
                <a:gd name="connsiteX86" fmla="*/ 409014 w 462341"/>
                <a:gd name="connsiteY86" fmla="*/ 547716 h 788699"/>
                <a:gd name="connsiteX87" fmla="*/ 406295 w 462341"/>
                <a:gd name="connsiteY87" fmla="*/ 569473 h 788699"/>
                <a:gd name="connsiteX88" fmla="*/ 403575 w 462341"/>
                <a:gd name="connsiteY88" fmla="*/ 583072 h 788699"/>
                <a:gd name="connsiteX89" fmla="*/ 403575 w 462341"/>
                <a:gd name="connsiteY89" fmla="*/ 583072 h 7886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</a:cxnLst>
              <a:rect l="l" t="t" r="r" b="b"/>
              <a:pathLst>
                <a:path w="462341" h="788699">
                  <a:moveTo>
                    <a:pt x="403575" y="583072"/>
                  </a:moveTo>
                  <a:cubicBezTo>
                    <a:pt x="403575" y="588511"/>
                    <a:pt x="406295" y="591231"/>
                    <a:pt x="406295" y="596670"/>
                  </a:cubicBezTo>
                  <a:cubicBezTo>
                    <a:pt x="406295" y="602109"/>
                    <a:pt x="403575" y="604829"/>
                    <a:pt x="400855" y="610268"/>
                  </a:cubicBezTo>
                  <a:cubicBezTo>
                    <a:pt x="398136" y="615708"/>
                    <a:pt x="392696" y="621147"/>
                    <a:pt x="389977" y="626586"/>
                  </a:cubicBezTo>
                  <a:cubicBezTo>
                    <a:pt x="381818" y="645624"/>
                    <a:pt x="368219" y="661942"/>
                    <a:pt x="354621" y="675540"/>
                  </a:cubicBezTo>
                  <a:cubicBezTo>
                    <a:pt x="346462" y="683699"/>
                    <a:pt x="338303" y="686419"/>
                    <a:pt x="327424" y="691858"/>
                  </a:cubicBezTo>
                  <a:cubicBezTo>
                    <a:pt x="316546" y="700017"/>
                    <a:pt x="302948" y="708176"/>
                    <a:pt x="292069" y="713615"/>
                  </a:cubicBezTo>
                  <a:cubicBezTo>
                    <a:pt x="281190" y="719054"/>
                    <a:pt x="264872" y="724494"/>
                    <a:pt x="251274" y="724494"/>
                  </a:cubicBezTo>
                  <a:cubicBezTo>
                    <a:pt x="240395" y="724494"/>
                    <a:pt x="229517" y="721774"/>
                    <a:pt x="221358" y="721774"/>
                  </a:cubicBezTo>
                  <a:cubicBezTo>
                    <a:pt x="213199" y="721774"/>
                    <a:pt x="202320" y="721774"/>
                    <a:pt x="191442" y="721774"/>
                  </a:cubicBezTo>
                  <a:cubicBezTo>
                    <a:pt x="172404" y="721774"/>
                    <a:pt x="172404" y="721774"/>
                    <a:pt x="153366" y="713615"/>
                  </a:cubicBezTo>
                  <a:cubicBezTo>
                    <a:pt x="134329" y="708176"/>
                    <a:pt x="118011" y="691858"/>
                    <a:pt x="104412" y="675540"/>
                  </a:cubicBezTo>
                  <a:cubicBezTo>
                    <a:pt x="104412" y="678260"/>
                    <a:pt x="104412" y="680979"/>
                    <a:pt x="104412" y="689138"/>
                  </a:cubicBezTo>
                  <a:cubicBezTo>
                    <a:pt x="104412" y="694578"/>
                    <a:pt x="104412" y="702737"/>
                    <a:pt x="101693" y="710895"/>
                  </a:cubicBezTo>
                  <a:cubicBezTo>
                    <a:pt x="101693" y="721774"/>
                    <a:pt x="96253" y="732653"/>
                    <a:pt x="85375" y="732653"/>
                  </a:cubicBezTo>
                  <a:cubicBezTo>
                    <a:pt x="77216" y="732653"/>
                    <a:pt x="74496" y="729933"/>
                    <a:pt x="69057" y="727214"/>
                  </a:cubicBezTo>
                  <a:cubicBezTo>
                    <a:pt x="63618" y="724494"/>
                    <a:pt x="60898" y="716335"/>
                    <a:pt x="60898" y="710895"/>
                  </a:cubicBezTo>
                  <a:cubicBezTo>
                    <a:pt x="58178" y="702737"/>
                    <a:pt x="58178" y="697297"/>
                    <a:pt x="58178" y="691858"/>
                  </a:cubicBezTo>
                  <a:cubicBezTo>
                    <a:pt x="58178" y="683699"/>
                    <a:pt x="60898" y="678260"/>
                    <a:pt x="60898" y="664661"/>
                  </a:cubicBezTo>
                  <a:cubicBezTo>
                    <a:pt x="60898" y="656502"/>
                    <a:pt x="60898" y="632026"/>
                    <a:pt x="60898" y="607549"/>
                  </a:cubicBezTo>
                  <a:cubicBezTo>
                    <a:pt x="60898" y="574913"/>
                    <a:pt x="60898" y="542277"/>
                    <a:pt x="63618" y="528679"/>
                  </a:cubicBezTo>
                  <a:cubicBezTo>
                    <a:pt x="63618" y="520520"/>
                    <a:pt x="63618" y="509641"/>
                    <a:pt x="69057" y="504202"/>
                  </a:cubicBezTo>
                  <a:cubicBezTo>
                    <a:pt x="71777" y="501482"/>
                    <a:pt x="71777" y="498762"/>
                    <a:pt x="74496" y="493323"/>
                  </a:cubicBezTo>
                  <a:cubicBezTo>
                    <a:pt x="77216" y="490603"/>
                    <a:pt x="79936" y="487884"/>
                    <a:pt x="82655" y="487884"/>
                  </a:cubicBezTo>
                  <a:cubicBezTo>
                    <a:pt x="85375" y="487884"/>
                    <a:pt x="90814" y="490603"/>
                    <a:pt x="90814" y="493323"/>
                  </a:cubicBezTo>
                  <a:cubicBezTo>
                    <a:pt x="93534" y="498762"/>
                    <a:pt x="98973" y="506921"/>
                    <a:pt x="98973" y="512361"/>
                  </a:cubicBezTo>
                  <a:cubicBezTo>
                    <a:pt x="98973" y="520520"/>
                    <a:pt x="101693" y="536838"/>
                    <a:pt x="101693" y="555875"/>
                  </a:cubicBezTo>
                  <a:cubicBezTo>
                    <a:pt x="101693" y="569473"/>
                    <a:pt x="101693" y="583072"/>
                    <a:pt x="101693" y="596670"/>
                  </a:cubicBezTo>
                  <a:cubicBezTo>
                    <a:pt x="101693" y="607549"/>
                    <a:pt x="104412" y="618427"/>
                    <a:pt x="109852" y="626586"/>
                  </a:cubicBezTo>
                  <a:cubicBezTo>
                    <a:pt x="115291" y="637465"/>
                    <a:pt x="123450" y="642904"/>
                    <a:pt x="128889" y="651063"/>
                  </a:cubicBezTo>
                  <a:cubicBezTo>
                    <a:pt x="137048" y="661942"/>
                    <a:pt x="139768" y="667381"/>
                    <a:pt x="153366" y="670101"/>
                  </a:cubicBezTo>
                  <a:cubicBezTo>
                    <a:pt x="161525" y="670101"/>
                    <a:pt x="183283" y="678260"/>
                    <a:pt x="196881" y="678260"/>
                  </a:cubicBezTo>
                  <a:cubicBezTo>
                    <a:pt x="207759" y="678260"/>
                    <a:pt x="210479" y="672820"/>
                    <a:pt x="221358" y="667381"/>
                  </a:cubicBezTo>
                  <a:cubicBezTo>
                    <a:pt x="232236" y="661942"/>
                    <a:pt x="245835" y="664661"/>
                    <a:pt x="253994" y="659222"/>
                  </a:cubicBezTo>
                  <a:cubicBezTo>
                    <a:pt x="262153" y="653783"/>
                    <a:pt x="273031" y="645624"/>
                    <a:pt x="275751" y="637465"/>
                  </a:cubicBezTo>
                  <a:cubicBezTo>
                    <a:pt x="281190" y="629306"/>
                    <a:pt x="281190" y="621147"/>
                    <a:pt x="281190" y="615708"/>
                  </a:cubicBezTo>
                  <a:cubicBezTo>
                    <a:pt x="281190" y="610268"/>
                    <a:pt x="281190" y="607549"/>
                    <a:pt x="278471" y="602109"/>
                  </a:cubicBezTo>
                  <a:cubicBezTo>
                    <a:pt x="275751" y="591231"/>
                    <a:pt x="267592" y="583072"/>
                    <a:pt x="262153" y="572193"/>
                  </a:cubicBezTo>
                  <a:cubicBezTo>
                    <a:pt x="256713" y="561314"/>
                    <a:pt x="253994" y="547716"/>
                    <a:pt x="245835" y="536838"/>
                  </a:cubicBezTo>
                  <a:cubicBezTo>
                    <a:pt x="232236" y="515080"/>
                    <a:pt x="213199" y="498762"/>
                    <a:pt x="196881" y="477005"/>
                  </a:cubicBezTo>
                  <a:cubicBezTo>
                    <a:pt x="180563" y="457968"/>
                    <a:pt x="164245" y="438930"/>
                    <a:pt x="145207" y="419892"/>
                  </a:cubicBezTo>
                  <a:cubicBezTo>
                    <a:pt x="126170" y="400855"/>
                    <a:pt x="109852" y="379098"/>
                    <a:pt x="93534" y="357340"/>
                  </a:cubicBezTo>
                  <a:cubicBezTo>
                    <a:pt x="77216" y="335583"/>
                    <a:pt x="71777" y="308387"/>
                    <a:pt x="66337" y="283910"/>
                  </a:cubicBezTo>
                  <a:cubicBezTo>
                    <a:pt x="63618" y="267592"/>
                    <a:pt x="58178" y="245834"/>
                    <a:pt x="58178" y="224077"/>
                  </a:cubicBezTo>
                  <a:cubicBezTo>
                    <a:pt x="58178" y="194161"/>
                    <a:pt x="69057" y="175123"/>
                    <a:pt x="82655" y="150647"/>
                  </a:cubicBezTo>
                  <a:cubicBezTo>
                    <a:pt x="96253" y="128889"/>
                    <a:pt x="115291" y="109852"/>
                    <a:pt x="137048" y="96253"/>
                  </a:cubicBezTo>
                  <a:cubicBezTo>
                    <a:pt x="158806" y="82655"/>
                    <a:pt x="172404" y="79936"/>
                    <a:pt x="196881" y="77216"/>
                  </a:cubicBezTo>
                  <a:cubicBezTo>
                    <a:pt x="210479" y="77216"/>
                    <a:pt x="215918" y="69057"/>
                    <a:pt x="232236" y="69057"/>
                  </a:cubicBezTo>
                  <a:cubicBezTo>
                    <a:pt x="243115" y="69057"/>
                    <a:pt x="251274" y="71776"/>
                    <a:pt x="262153" y="74496"/>
                  </a:cubicBezTo>
                  <a:cubicBezTo>
                    <a:pt x="273031" y="77216"/>
                    <a:pt x="283910" y="82655"/>
                    <a:pt x="294789" y="85375"/>
                  </a:cubicBezTo>
                  <a:cubicBezTo>
                    <a:pt x="308387" y="90814"/>
                    <a:pt x="319265" y="96253"/>
                    <a:pt x="327424" y="104412"/>
                  </a:cubicBezTo>
                  <a:cubicBezTo>
                    <a:pt x="327424" y="90814"/>
                    <a:pt x="327424" y="79936"/>
                    <a:pt x="332864" y="74496"/>
                  </a:cubicBezTo>
                  <a:cubicBezTo>
                    <a:pt x="335583" y="71776"/>
                    <a:pt x="335583" y="69057"/>
                    <a:pt x="338303" y="63618"/>
                  </a:cubicBezTo>
                  <a:cubicBezTo>
                    <a:pt x="341023" y="60898"/>
                    <a:pt x="346462" y="58178"/>
                    <a:pt x="349182" y="58178"/>
                  </a:cubicBezTo>
                  <a:cubicBezTo>
                    <a:pt x="351901" y="58178"/>
                    <a:pt x="357341" y="60898"/>
                    <a:pt x="357341" y="63618"/>
                  </a:cubicBezTo>
                  <a:cubicBezTo>
                    <a:pt x="360060" y="69057"/>
                    <a:pt x="365500" y="77216"/>
                    <a:pt x="365500" y="82655"/>
                  </a:cubicBezTo>
                  <a:cubicBezTo>
                    <a:pt x="365500" y="90814"/>
                    <a:pt x="368219" y="123450"/>
                    <a:pt x="368219" y="142488"/>
                  </a:cubicBezTo>
                  <a:cubicBezTo>
                    <a:pt x="368219" y="158806"/>
                    <a:pt x="368219" y="177843"/>
                    <a:pt x="368219" y="188722"/>
                  </a:cubicBezTo>
                  <a:cubicBezTo>
                    <a:pt x="368219" y="213199"/>
                    <a:pt x="370939" y="224077"/>
                    <a:pt x="370939" y="245834"/>
                  </a:cubicBezTo>
                  <a:cubicBezTo>
                    <a:pt x="370939" y="256713"/>
                    <a:pt x="370939" y="286629"/>
                    <a:pt x="354621" y="286629"/>
                  </a:cubicBezTo>
                  <a:cubicBezTo>
                    <a:pt x="346462" y="286629"/>
                    <a:pt x="343742" y="283910"/>
                    <a:pt x="338303" y="281190"/>
                  </a:cubicBezTo>
                  <a:cubicBezTo>
                    <a:pt x="332864" y="278470"/>
                    <a:pt x="330144" y="270311"/>
                    <a:pt x="330144" y="264872"/>
                  </a:cubicBezTo>
                  <a:cubicBezTo>
                    <a:pt x="327424" y="256713"/>
                    <a:pt x="327424" y="251274"/>
                    <a:pt x="327424" y="248554"/>
                  </a:cubicBezTo>
                  <a:cubicBezTo>
                    <a:pt x="327424" y="240395"/>
                    <a:pt x="330144" y="234956"/>
                    <a:pt x="330144" y="221357"/>
                  </a:cubicBezTo>
                  <a:cubicBezTo>
                    <a:pt x="330144" y="213199"/>
                    <a:pt x="330144" y="202320"/>
                    <a:pt x="330144" y="188722"/>
                  </a:cubicBezTo>
                  <a:cubicBezTo>
                    <a:pt x="330144" y="180563"/>
                    <a:pt x="327424" y="172404"/>
                    <a:pt x="327424" y="164245"/>
                  </a:cubicBezTo>
                  <a:cubicBezTo>
                    <a:pt x="324705" y="153366"/>
                    <a:pt x="319265" y="142488"/>
                    <a:pt x="311107" y="134329"/>
                  </a:cubicBezTo>
                  <a:cubicBezTo>
                    <a:pt x="302948" y="126170"/>
                    <a:pt x="294789" y="120730"/>
                    <a:pt x="283910" y="118011"/>
                  </a:cubicBezTo>
                  <a:cubicBezTo>
                    <a:pt x="275751" y="115291"/>
                    <a:pt x="262153" y="112571"/>
                    <a:pt x="251274" y="112571"/>
                  </a:cubicBezTo>
                  <a:cubicBezTo>
                    <a:pt x="237676" y="112571"/>
                    <a:pt x="224077" y="115291"/>
                    <a:pt x="215918" y="123450"/>
                  </a:cubicBezTo>
                  <a:cubicBezTo>
                    <a:pt x="207759" y="128889"/>
                    <a:pt x="205040" y="139768"/>
                    <a:pt x="202320" y="147927"/>
                  </a:cubicBezTo>
                  <a:cubicBezTo>
                    <a:pt x="196881" y="158806"/>
                    <a:pt x="191442" y="166964"/>
                    <a:pt x="188722" y="180563"/>
                  </a:cubicBezTo>
                  <a:cubicBezTo>
                    <a:pt x="186002" y="191441"/>
                    <a:pt x="183283" y="199600"/>
                    <a:pt x="183283" y="210479"/>
                  </a:cubicBezTo>
                  <a:cubicBezTo>
                    <a:pt x="183283" y="215918"/>
                    <a:pt x="186002" y="221357"/>
                    <a:pt x="188722" y="226797"/>
                  </a:cubicBezTo>
                  <a:cubicBezTo>
                    <a:pt x="191442" y="234956"/>
                    <a:pt x="188722" y="243115"/>
                    <a:pt x="188722" y="248554"/>
                  </a:cubicBezTo>
                  <a:cubicBezTo>
                    <a:pt x="191442" y="259433"/>
                    <a:pt x="202320" y="264872"/>
                    <a:pt x="210479" y="273031"/>
                  </a:cubicBezTo>
                  <a:cubicBezTo>
                    <a:pt x="218638" y="281190"/>
                    <a:pt x="221358" y="292069"/>
                    <a:pt x="226797" y="300228"/>
                  </a:cubicBezTo>
                  <a:cubicBezTo>
                    <a:pt x="234956" y="311106"/>
                    <a:pt x="245835" y="321985"/>
                    <a:pt x="256713" y="332864"/>
                  </a:cubicBezTo>
                  <a:cubicBezTo>
                    <a:pt x="259433" y="338303"/>
                    <a:pt x="267592" y="343742"/>
                    <a:pt x="275751" y="351901"/>
                  </a:cubicBezTo>
                  <a:cubicBezTo>
                    <a:pt x="292069" y="368219"/>
                    <a:pt x="311107" y="384537"/>
                    <a:pt x="324705" y="400855"/>
                  </a:cubicBezTo>
                  <a:cubicBezTo>
                    <a:pt x="332864" y="409014"/>
                    <a:pt x="335583" y="419892"/>
                    <a:pt x="343742" y="428051"/>
                  </a:cubicBezTo>
                  <a:cubicBezTo>
                    <a:pt x="346462" y="430771"/>
                    <a:pt x="349182" y="430771"/>
                    <a:pt x="351901" y="433491"/>
                  </a:cubicBezTo>
                  <a:cubicBezTo>
                    <a:pt x="354621" y="436210"/>
                    <a:pt x="357341" y="441650"/>
                    <a:pt x="360060" y="447089"/>
                  </a:cubicBezTo>
                  <a:cubicBezTo>
                    <a:pt x="368219" y="455248"/>
                    <a:pt x="376378" y="463407"/>
                    <a:pt x="384537" y="474286"/>
                  </a:cubicBezTo>
                  <a:cubicBezTo>
                    <a:pt x="389977" y="482445"/>
                    <a:pt x="392696" y="496043"/>
                    <a:pt x="395416" y="506921"/>
                  </a:cubicBezTo>
                  <a:cubicBezTo>
                    <a:pt x="400855" y="517800"/>
                    <a:pt x="400855" y="528679"/>
                    <a:pt x="406295" y="536838"/>
                  </a:cubicBezTo>
                  <a:cubicBezTo>
                    <a:pt x="409014" y="539557"/>
                    <a:pt x="409014" y="544997"/>
                    <a:pt x="409014" y="547716"/>
                  </a:cubicBezTo>
                  <a:cubicBezTo>
                    <a:pt x="409014" y="555875"/>
                    <a:pt x="406295" y="561314"/>
                    <a:pt x="406295" y="569473"/>
                  </a:cubicBezTo>
                  <a:cubicBezTo>
                    <a:pt x="406295" y="574913"/>
                    <a:pt x="403575" y="577632"/>
                    <a:pt x="403575" y="583072"/>
                  </a:cubicBezTo>
                  <a:lnTo>
                    <a:pt x="403575" y="583072"/>
                  </a:ln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/>
            </a:p>
          </p:txBody>
        </p:sp>
        <p:sp>
          <p:nvSpPr>
            <p:cNvPr id="42" name="Freeform: Shape 41">
              <a:extLst>
                <a:ext uri="{FF2B5EF4-FFF2-40B4-BE49-F238E27FC236}">
                  <a16:creationId xmlns:a16="http://schemas.microsoft.com/office/drawing/2014/main" id="{9AE53901-D870-4D3D-ABDA-84C6C826D55A}"/>
                </a:ext>
              </a:extLst>
            </p:cNvPr>
            <p:cNvSpPr/>
            <p:nvPr/>
          </p:nvSpPr>
          <p:spPr>
            <a:xfrm>
              <a:off x="2456032" y="4192158"/>
              <a:ext cx="571128" cy="761503"/>
            </a:xfrm>
            <a:custGeom>
              <a:avLst/>
              <a:gdLst>
                <a:gd name="connsiteX0" fmla="*/ 512361 w 571128"/>
                <a:gd name="connsiteY0" fmla="*/ 79936 h 761503"/>
                <a:gd name="connsiteX1" fmla="*/ 539558 w 571128"/>
                <a:gd name="connsiteY1" fmla="*/ 96253 h 761503"/>
                <a:gd name="connsiteX2" fmla="*/ 534118 w 571128"/>
                <a:gd name="connsiteY2" fmla="*/ 112571 h 761503"/>
                <a:gd name="connsiteX3" fmla="*/ 523240 w 571128"/>
                <a:gd name="connsiteY3" fmla="*/ 120730 h 761503"/>
                <a:gd name="connsiteX4" fmla="*/ 506922 w 571128"/>
                <a:gd name="connsiteY4" fmla="*/ 123450 h 761503"/>
                <a:gd name="connsiteX5" fmla="*/ 477006 w 571128"/>
                <a:gd name="connsiteY5" fmla="*/ 123450 h 761503"/>
                <a:gd name="connsiteX6" fmla="*/ 479725 w 571128"/>
                <a:gd name="connsiteY6" fmla="*/ 145207 h 761503"/>
                <a:gd name="connsiteX7" fmla="*/ 477006 w 571128"/>
                <a:gd name="connsiteY7" fmla="*/ 180563 h 761503"/>
                <a:gd name="connsiteX8" fmla="*/ 482445 w 571128"/>
                <a:gd name="connsiteY8" fmla="*/ 232236 h 761503"/>
                <a:gd name="connsiteX9" fmla="*/ 485165 w 571128"/>
                <a:gd name="connsiteY9" fmla="*/ 283910 h 761503"/>
                <a:gd name="connsiteX10" fmla="*/ 485165 w 571128"/>
                <a:gd name="connsiteY10" fmla="*/ 327424 h 761503"/>
                <a:gd name="connsiteX11" fmla="*/ 487884 w 571128"/>
                <a:gd name="connsiteY11" fmla="*/ 373658 h 761503"/>
                <a:gd name="connsiteX12" fmla="*/ 485165 w 571128"/>
                <a:gd name="connsiteY12" fmla="*/ 419892 h 761503"/>
                <a:gd name="connsiteX13" fmla="*/ 485165 w 571128"/>
                <a:gd name="connsiteY13" fmla="*/ 463407 h 761503"/>
                <a:gd name="connsiteX14" fmla="*/ 482445 w 571128"/>
                <a:gd name="connsiteY14" fmla="*/ 515080 h 761503"/>
                <a:gd name="connsiteX15" fmla="*/ 482445 w 571128"/>
                <a:gd name="connsiteY15" fmla="*/ 558595 h 761503"/>
                <a:gd name="connsiteX16" fmla="*/ 479725 w 571128"/>
                <a:gd name="connsiteY16" fmla="*/ 602109 h 761503"/>
                <a:gd name="connsiteX17" fmla="*/ 485165 w 571128"/>
                <a:gd name="connsiteY17" fmla="*/ 648343 h 761503"/>
                <a:gd name="connsiteX18" fmla="*/ 474286 w 571128"/>
                <a:gd name="connsiteY18" fmla="*/ 675540 h 761503"/>
                <a:gd name="connsiteX19" fmla="*/ 428052 w 571128"/>
                <a:gd name="connsiteY19" fmla="*/ 691858 h 761503"/>
                <a:gd name="connsiteX20" fmla="*/ 387257 w 571128"/>
                <a:gd name="connsiteY20" fmla="*/ 683699 h 761503"/>
                <a:gd name="connsiteX21" fmla="*/ 351901 w 571128"/>
                <a:gd name="connsiteY21" fmla="*/ 664661 h 761503"/>
                <a:gd name="connsiteX22" fmla="*/ 305667 w 571128"/>
                <a:gd name="connsiteY22" fmla="*/ 596670 h 761503"/>
                <a:gd name="connsiteX23" fmla="*/ 270312 w 571128"/>
                <a:gd name="connsiteY23" fmla="*/ 509641 h 761503"/>
                <a:gd name="connsiteX24" fmla="*/ 251274 w 571128"/>
                <a:gd name="connsiteY24" fmla="*/ 460687 h 761503"/>
                <a:gd name="connsiteX25" fmla="*/ 224077 w 571128"/>
                <a:gd name="connsiteY25" fmla="*/ 381817 h 761503"/>
                <a:gd name="connsiteX26" fmla="*/ 207759 w 571128"/>
                <a:gd name="connsiteY26" fmla="*/ 330144 h 761503"/>
                <a:gd name="connsiteX27" fmla="*/ 191442 w 571128"/>
                <a:gd name="connsiteY27" fmla="*/ 286629 h 761503"/>
                <a:gd name="connsiteX28" fmla="*/ 183283 w 571128"/>
                <a:gd name="connsiteY28" fmla="*/ 278470 h 761503"/>
                <a:gd name="connsiteX29" fmla="*/ 180563 w 571128"/>
                <a:gd name="connsiteY29" fmla="*/ 292069 h 761503"/>
                <a:gd name="connsiteX30" fmla="*/ 180563 w 571128"/>
                <a:gd name="connsiteY30" fmla="*/ 305667 h 761503"/>
                <a:gd name="connsiteX31" fmla="*/ 183283 w 571128"/>
                <a:gd name="connsiteY31" fmla="*/ 354621 h 761503"/>
                <a:gd name="connsiteX32" fmla="*/ 188722 w 571128"/>
                <a:gd name="connsiteY32" fmla="*/ 449809 h 761503"/>
                <a:gd name="connsiteX33" fmla="*/ 188722 w 571128"/>
                <a:gd name="connsiteY33" fmla="*/ 479725 h 761503"/>
                <a:gd name="connsiteX34" fmla="*/ 188722 w 571128"/>
                <a:gd name="connsiteY34" fmla="*/ 542277 h 761503"/>
                <a:gd name="connsiteX35" fmla="*/ 186002 w 571128"/>
                <a:gd name="connsiteY35" fmla="*/ 615708 h 761503"/>
                <a:gd name="connsiteX36" fmla="*/ 186002 w 571128"/>
                <a:gd name="connsiteY36" fmla="*/ 637465 h 761503"/>
                <a:gd name="connsiteX37" fmla="*/ 183283 w 571128"/>
                <a:gd name="connsiteY37" fmla="*/ 664661 h 761503"/>
                <a:gd name="connsiteX38" fmla="*/ 226797 w 571128"/>
                <a:gd name="connsiteY38" fmla="*/ 664661 h 761503"/>
                <a:gd name="connsiteX39" fmla="*/ 253994 w 571128"/>
                <a:gd name="connsiteY39" fmla="*/ 680979 h 761503"/>
                <a:gd name="connsiteX40" fmla="*/ 248554 w 571128"/>
                <a:gd name="connsiteY40" fmla="*/ 697297 h 761503"/>
                <a:gd name="connsiteX41" fmla="*/ 234956 w 571128"/>
                <a:gd name="connsiteY41" fmla="*/ 705456 h 761503"/>
                <a:gd name="connsiteX42" fmla="*/ 218638 w 571128"/>
                <a:gd name="connsiteY42" fmla="*/ 708176 h 761503"/>
                <a:gd name="connsiteX43" fmla="*/ 183283 w 571128"/>
                <a:gd name="connsiteY43" fmla="*/ 708176 h 761503"/>
                <a:gd name="connsiteX44" fmla="*/ 150647 w 571128"/>
                <a:gd name="connsiteY44" fmla="*/ 708176 h 761503"/>
                <a:gd name="connsiteX45" fmla="*/ 107132 w 571128"/>
                <a:gd name="connsiteY45" fmla="*/ 708176 h 761503"/>
                <a:gd name="connsiteX46" fmla="*/ 88094 w 571128"/>
                <a:gd name="connsiteY46" fmla="*/ 708176 h 761503"/>
                <a:gd name="connsiteX47" fmla="*/ 69057 w 571128"/>
                <a:gd name="connsiteY47" fmla="*/ 702737 h 761503"/>
                <a:gd name="connsiteX48" fmla="*/ 58178 w 571128"/>
                <a:gd name="connsiteY48" fmla="*/ 686419 h 761503"/>
                <a:gd name="connsiteX49" fmla="*/ 60898 w 571128"/>
                <a:gd name="connsiteY49" fmla="*/ 678260 h 761503"/>
                <a:gd name="connsiteX50" fmla="*/ 77216 w 571128"/>
                <a:gd name="connsiteY50" fmla="*/ 670101 h 761503"/>
                <a:gd name="connsiteX51" fmla="*/ 120730 w 571128"/>
                <a:gd name="connsiteY51" fmla="*/ 664661 h 761503"/>
                <a:gd name="connsiteX52" fmla="*/ 131609 w 571128"/>
                <a:gd name="connsiteY52" fmla="*/ 664661 h 761503"/>
                <a:gd name="connsiteX53" fmla="*/ 134329 w 571128"/>
                <a:gd name="connsiteY53" fmla="*/ 539557 h 761503"/>
                <a:gd name="connsiteX54" fmla="*/ 134329 w 571128"/>
                <a:gd name="connsiteY54" fmla="*/ 504202 h 761503"/>
                <a:gd name="connsiteX55" fmla="*/ 131609 w 571128"/>
                <a:gd name="connsiteY55" fmla="*/ 376378 h 761503"/>
                <a:gd name="connsiteX56" fmla="*/ 131609 w 571128"/>
                <a:gd name="connsiteY56" fmla="*/ 302947 h 761503"/>
                <a:gd name="connsiteX57" fmla="*/ 134329 w 571128"/>
                <a:gd name="connsiteY57" fmla="*/ 221357 h 761503"/>
                <a:gd name="connsiteX58" fmla="*/ 137048 w 571128"/>
                <a:gd name="connsiteY58" fmla="*/ 123450 h 761503"/>
                <a:gd name="connsiteX59" fmla="*/ 107132 w 571128"/>
                <a:gd name="connsiteY59" fmla="*/ 123450 h 761503"/>
                <a:gd name="connsiteX60" fmla="*/ 88094 w 571128"/>
                <a:gd name="connsiteY60" fmla="*/ 123450 h 761503"/>
                <a:gd name="connsiteX61" fmla="*/ 69057 w 571128"/>
                <a:gd name="connsiteY61" fmla="*/ 118011 h 761503"/>
                <a:gd name="connsiteX62" fmla="*/ 58178 w 571128"/>
                <a:gd name="connsiteY62" fmla="*/ 101693 h 761503"/>
                <a:gd name="connsiteX63" fmla="*/ 60898 w 571128"/>
                <a:gd name="connsiteY63" fmla="*/ 93534 h 761503"/>
                <a:gd name="connsiteX64" fmla="*/ 77216 w 571128"/>
                <a:gd name="connsiteY64" fmla="*/ 85375 h 761503"/>
                <a:gd name="connsiteX65" fmla="*/ 131609 w 571128"/>
                <a:gd name="connsiteY65" fmla="*/ 79936 h 761503"/>
                <a:gd name="connsiteX66" fmla="*/ 161525 w 571128"/>
                <a:gd name="connsiteY66" fmla="*/ 79936 h 761503"/>
                <a:gd name="connsiteX67" fmla="*/ 177843 w 571128"/>
                <a:gd name="connsiteY67" fmla="*/ 66337 h 761503"/>
                <a:gd name="connsiteX68" fmla="*/ 202320 w 571128"/>
                <a:gd name="connsiteY68" fmla="*/ 58178 h 761503"/>
                <a:gd name="connsiteX69" fmla="*/ 234956 w 571128"/>
                <a:gd name="connsiteY69" fmla="*/ 77216 h 761503"/>
                <a:gd name="connsiteX70" fmla="*/ 251274 w 571128"/>
                <a:gd name="connsiteY70" fmla="*/ 107132 h 761503"/>
                <a:gd name="connsiteX71" fmla="*/ 267592 w 571128"/>
                <a:gd name="connsiteY71" fmla="*/ 147927 h 761503"/>
                <a:gd name="connsiteX72" fmla="*/ 281190 w 571128"/>
                <a:gd name="connsiteY72" fmla="*/ 183282 h 761503"/>
                <a:gd name="connsiteX73" fmla="*/ 297508 w 571128"/>
                <a:gd name="connsiteY73" fmla="*/ 224077 h 761503"/>
                <a:gd name="connsiteX74" fmla="*/ 308387 w 571128"/>
                <a:gd name="connsiteY74" fmla="*/ 264872 h 761503"/>
                <a:gd name="connsiteX75" fmla="*/ 319265 w 571128"/>
                <a:gd name="connsiteY75" fmla="*/ 300228 h 761503"/>
                <a:gd name="connsiteX76" fmla="*/ 351901 w 571128"/>
                <a:gd name="connsiteY76" fmla="*/ 379098 h 761503"/>
                <a:gd name="connsiteX77" fmla="*/ 365500 w 571128"/>
                <a:gd name="connsiteY77" fmla="*/ 417173 h 761503"/>
                <a:gd name="connsiteX78" fmla="*/ 379098 w 571128"/>
                <a:gd name="connsiteY78" fmla="*/ 457968 h 761503"/>
                <a:gd name="connsiteX79" fmla="*/ 395416 w 571128"/>
                <a:gd name="connsiteY79" fmla="*/ 496043 h 761503"/>
                <a:gd name="connsiteX80" fmla="*/ 406295 w 571128"/>
                <a:gd name="connsiteY80" fmla="*/ 512361 h 761503"/>
                <a:gd name="connsiteX81" fmla="*/ 411734 w 571128"/>
                <a:gd name="connsiteY81" fmla="*/ 531398 h 761503"/>
                <a:gd name="connsiteX82" fmla="*/ 419893 w 571128"/>
                <a:gd name="connsiteY82" fmla="*/ 558595 h 761503"/>
                <a:gd name="connsiteX83" fmla="*/ 425332 w 571128"/>
                <a:gd name="connsiteY83" fmla="*/ 564034 h 761503"/>
                <a:gd name="connsiteX84" fmla="*/ 430771 w 571128"/>
                <a:gd name="connsiteY84" fmla="*/ 558595 h 761503"/>
                <a:gd name="connsiteX85" fmla="*/ 430771 w 571128"/>
                <a:gd name="connsiteY85" fmla="*/ 550436 h 761503"/>
                <a:gd name="connsiteX86" fmla="*/ 430771 w 571128"/>
                <a:gd name="connsiteY86" fmla="*/ 501482 h 761503"/>
                <a:gd name="connsiteX87" fmla="*/ 430771 w 571128"/>
                <a:gd name="connsiteY87" fmla="*/ 403575 h 761503"/>
                <a:gd name="connsiteX88" fmla="*/ 425332 w 571128"/>
                <a:gd name="connsiteY88" fmla="*/ 313826 h 761503"/>
                <a:gd name="connsiteX89" fmla="*/ 425332 w 571128"/>
                <a:gd name="connsiteY89" fmla="*/ 248554 h 761503"/>
                <a:gd name="connsiteX90" fmla="*/ 425332 w 571128"/>
                <a:gd name="connsiteY90" fmla="*/ 210479 h 761503"/>
                <a:gd name="connsiteX91" fmla="*/ 422613 w 571128"/>
                <a:gd name="connsiteY91" fmla="*/ 153366 h 761503"/>
                <a:gd name="connsiteX92" fmla="*/ 425332 w 571128"/>
                <a:gd name="connsiteY92" fmla="*/ 123450 h 761503"/>
                <a:gd name="connsiteX93" fmla="*/ 398136 w 571128"/>
                <a:gd name="connsiteY93" fmla="*/ 123450 h 761503"/>
                <a:gd name="connsiteX94" fmla="*/ 379098 w 571128"/>
                <a:gd name="connsiteY94" fmla="*/ 123450 h 761503"/>
                <a:gd name="connsiteX95" fmla="*/ 360060 w 571128"/>
                <a:gd name="connsiteY95" fmla="*/ 118011 h 761503"/>
                <a:gd name="connsiteX96" fmla="*/ 349182 w 571128"/>
                <a:gd name="connsiteY96" fmla="*/ 101693 h 761503"/>
                <a:gd name="connsiteX97" fmla="*/ 351901 w 571128"/>
                <a:gd name="connsiteY97" fmla="*/ 93534 h 761503"/>
                <a:gd name="connsiteX98" fmla="*/ 368219 w 571128"/>
                <a:gd name="connsiteY98" fmla="*/ 85375 h 761503"/>
                <a:gd name="connsiteX99" fmla="*/ 422613 w 571128"/>
                <a:gd name="connsiteY99" fmla="*/ 79936 h 761503"/>
                <a:gd name="connsiteX100" fmla="*/ 444370 w 571128"/>
                <a:gd name="connsiteY100" fmla="*/ 79936 h 761503"/>
                <a:gd name="connsiteX101" fmla="*/ 463407 w 571128"/>
                <a:gd name="connsiteY101" fmla="*/ 71776 h 761503"/>
                <a:gd name="connsiteX102" fmla="*/ 477006 w 571128"/>
                <a:gd name="connsiteY102" fmla="*/ 79936 h 761503"/>
                <a:gd name="connsiteX103" fmla="*/ 512361 w 571128"/>
                <a:gd name="connsiteY103" fmla="*/ 79936 h 761503"/>
                <a:gd name="connsiteX104" fmla="*/ 512361 w 571128"/>
                <a:gd name="connsiteY104" fmla="*/ 79936 h 761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</a:cxnLst>
              <a:rect l="l" t="t" r="r" b="b"/>
              <a:pathLst>
                <a:path w="571128" h="761503">
                  <a:moveTo>
                    <a:pt x="512361" y="79936"/>
                  </a:moveTo>
                  <a:cubicBezTo>
                    <a:pt x="520520" y="79936"/>
                    <a:pt x="539558" y="79936"/>
                    <a:pt x="539558" y="96253"/>
                  </a:cubicBezTo>
                  <a:cubicBezTo>
                    <a:pt x="539558" y="104412"/>
                    <a:pt x="539558" y="107132"/>
                    <a:pt x="534118" y="112571"/>
                  </a:cubicBezTo>
                  <a:cubicBezTo>
                    <a:pt x="531399" y="118011"/>
                    <a:pt x="525960" y="120730"/>
                    <a:pt x="523240" y="120730"/>
                  </a:cubicBezTo>
                  <a:cubicBezTo>
                    <a:pt x="515081" y="123450"/>
                    <a:pt x="512361" y="123450"/>
                    <a:pt x="506922" y="123450"/>
                  </a:cubicBezTo>
                  <a:cubicBezTo>
                    <a:pt x="504202" y="123450"/>
                    <a:pt x="490604" y="123450"/>
                    <a:pt x="477006" y="123450"/>
                  </a:cubicBezTo>
                  <a:cubicBezTo>
                    <a:pt x="477006" y="131609"/>
                    <a:pt x="479725" y="137048"/>
                    <a:pt x="479725" y="145207"/>
                  </a:cubicBezTo>
                  <a:cubicBezTo>
                    <a:pt x="479725" y="156086"/>
                    <a:pt x="477006" y="166964"/>
                    <a:pt x="477006" y="180563"/>
                  </a:cubicBezTo>
                  <a:cubicBezTo>
                    <a:pt x="477006" y="196881"/>
                    <a:pt x="479725" y="215918"/>
                    <a:pt x="482445" y="232236"/>
                  </a:cubicBezTo>
                  <a:cubicBezTo>
                    <a:pt x="485165" y="248554"/>
                    <a:pt x="485165" y="267592"/>
                    <a:pt x="485165" y="283910"/>
                  </a:cubicBezTo>
                  <a:cubicBezTo>
                    <a:pt x="485165" y="297508"/>
                    <a:pt x="485165" y="313826"/>
                    <a:pt x="485165" y="327424"/>
                  </a:cubicBezTo>
                  <a:cubicBezTo>
                    <a:pt x="485165" y="343742"/>
                    <a:pt x="487884" y="357340"/>
                    <a:pt x="487884" y="373658"/>
                  </a:cubicBezTo>
                  <a:cubicBezTo>
                    <a:pt x="487884" y="389976"/>
                    <a:pt x="485165" y="403575"/>
                    <a:pt x="485165" y="419892"/>
                  </a:cubicBezTo>
                  <a:cubicBezTo>
                    <a:pt x="485165" y="436210"/>
                    <a:pt x="485165" y="449809"/>
                    <a:pt x="485165" y="463407"/>
                  </a:cubicBezTo>
                  <a:cubicBezTo>
                    <a:pt x="485165" y="479725"/>
                    <a:pt x="485165" y="498762"/>
                    <a:pt x="482445" y="515080"/>
                  </a:cubicBezTo>
                  <a:cubicBezTo>
                    <a:pt x="482445" y="528679"/>
                    <a:pt x="482445" y="542277"/>
                    <a:pt x="482445" y="558595"/>
                  </a:cubicBezTo>
                  <a:cubicBezTo>
                    <a:pt x="482445" y="572193"/>
                    <a:pt x="479725" y="588511"/>
                    <a:pt x="479725" y="602109"/>
                  </a:cubicBezTo>
                  <a:cubicBezTo>
                    <a:pt x="479725" y="615708"/>
                    <a:pt x="485165" y="632026"/>
                    <a:pt x="485165" y="648343"/>
                  </a:cubicBezTo>
                  <a:cubicBezTo>
                    <a:pt x="485165" y="659222"/>
                    <a:pt x="482445" y="670101"/>
                    <a:pt x="474286" y="675540"/>
                  </a:cubicBezTo>
                  <a:cubicBezTo>
                    <a:pt x="460688" y="686419"/>
                    <a:pt x="444370" y="691858"/>
                    <a:pt x="428052" y="691858"/>
                  </a:cubicBezTo>
                  <a:cubicBezTo>
                    <a:pt x="414454" y="691858"/>
                    <a:pt x="400855" y="689138"/>
                    <a:pt x="387257" y="683699"/>
                  </a:cubicBezTo>
                  <a:cubicBezTo>
                    <a:pt x="373659" y="678260"/>
                    <a:pt x="360060" y="672820"/>
                    <a:pt x="351901" y="664661"/>
                  </a:cubicBezTo>
                  <a:cubicBezTo>
                    <a:pt x="330144" y="645624"/>
                    <a:pt x="316546" y="621147"/>
                    <a:pt x="305667" y="596670"/>
                  </a:cubicBezTo>
                  <a:cubicBezTo>
                    <a:pt x="292069" y="569473"/>
                    <a:pt x="281190" y="539557"/>
                    <a:pt x="270312" y="509641"/>
                  </a:cubicBezTo>
                  <a:cubicBezTo>
                    <a:pt x="264872" y="493323"/>
                    <a:pt x="256713" y="477005"/>
                    <a:pt x="251274" y="460687"/>
                  </a:cubicBezTo>
                  <a:cubicBezTo>
                    <a:pt x="240395" y="433491"/>
                    <a:pt x="232236" y="409014"/>
                    <a:pt x="224077" y="381817"/>
                  </a:cubicBezTo>
                  <a:cubicBezTo>
                    <a:pt x="218638" y="365499"/>
                    <a:pt x="213199" y="346462"/>
                    <a:pt x="207759" y="330144"/>
                  </a:cubicBezTo>
                  <a:cubicBezTo>
                    <a:pt x="202320" y="316545"/>
                    <a:pt x="196881" y="300228"/>
                    <a:pt x="191442" y="286629"/>
                  </a:cubicBezTo>
                  <a:cubicBezTo>
                    <a:pt x="188722" y="281190"/>
                    <a:pt x="186002" y="278470"/>
                    <a:pt x="183283" y="278470"/>
                  </a:cubicBezTo>
                  <a:cubicBezTo>
                    <a:pt x="180563" y="278470"/>
                    <a:pt x="180563" y="286629"/>
                    <a:pt x="180563" y="292069"/>
                  </a:cubicBezTo>
                  <a:cubicBezTo>
                    <a:pt x="180563" y="297508"/>
                    <a:pt x="180563" y="302947"/>
                    <a:pt x="180563" y="305667"/>
                  </a:cubicBezTo>
                  <a:cubicBezTo>
                    <a:pt x="180563" y="321985"/>
                    <a:pt x="183283" y="338303"/>
                    <a:pt x="183283" y="354621"/>
                  </a:cubicBezTo>
                  <a:cubicBezTo>
                    <a:pt x="183283" y="387257"/>
                    <a:pt x="186002" y="417173"/>
                    <a:pt x="188722" y="449809"/>
                  </a:cubicBezTo>
                  <a:cubicBezTo>
                    <a:pt x="188722" y="460687"/>
                    <a:pt x="188722" y="468846"/>
                    <a:pt x="188722" y="479725"/>
                  </a:cubicBezTo>
                  <a:cubicBezTo>
                    <a:pt x="188722" y="501482"/>
                    <a:pt x="188722" y="523239"/>
                    <a:pt x="188722" y="542277"/>
                  </a:cubicBezTo>
                  <a:cubicBezTo>
                    <a:pt x="188722" y="566754"/>
                    <a:pt x="186002" y="591231"/>
                    <a:pt x="186002" y="615708"/>
                  </a:cubicBezTo>
                  <a:cubicBezTo>
                    <a:pt x="186002" y="623867"/>
                    <a:pt x="186002" y="632026"/>
                    <a:pt x="186002" y="637465"/>
                  </a:cubicBezTo>
                  <a:cubicBezTo>
                    <a:pt x="186002" y="645624"/>
                    <a:pt x="183283" y="656502"/>
                    <a:pt x="183283" y="664661"/>
                  </a:cubicBezTo>
                  <a:cubicBezTo>
                    <a:pt x="202320" y="664661"/>
                    <a:pt x="218638" y="664661"/>
                    <a:pt x="226797" y="664661"/>
                  </a:cubicBezTo>
                  <a:cubicBezTo>
                    <a:pt x="234956" y="664661"/>
                    <a:pt x="253994" y="664661"/>
                    <a:pt x="253994" y="680979"/>
                  </a:cubicBezTo>
                  <a:cubicBezTo>
                    <a:pt x="253994" y="689138"/>
                    <a:pt x="253994" y="691858"/>
                    <a:pt x="248554" y="697297"/>
                  </a:cubicBezTo>
                  <a:cubicBezTo>
                    <a:pt x="245835" y="702737"/>
                    <a:pt x="240395" y="705456"/>
                    <a:pt x="234956" y="705456"/>
                  </a:cubicBezTo>
                  <a:cubicBezTo>
                    <a:pt x="226797" y="708176"/>
                    <a:pt x="224077" y="708176"/>
                    <a:pt x="218638" y="708176"/>
                  </a:cubicBezTo>
                  <a:cubicBezTo>
                    <a:pt x="215918" y="708176"/>
                    <a:pt x="199600" y="708176"/>
                    <a:pt x="183283" y="708176"/>
                  </a:cubicBezTo>
                  <a:cubicBezTo>
                    <a:pt x="166965" y="708176"/>
                    <a:pt x="153366" y="708176"/>
                    <a:pt x="150647" y="708176"/>
                  </a:cubicBezTo>
                  <a:cubicBezTo>
                    <a:pt x="139768" y="708176"/>
                    <a:pt x="120730" y="708176"/>
                    <a:pt x="107132" y="708176"/>
                  </a:cubicBezTo>
                  <a:cubicBezTo>
                    <a:pt x="101693" y="708176"/>
                    <a:pt x="96253" y="708176"/>
                    <a:pt x="88094" y="708176"/>
                  </a:cubicBezTo>
                  <a:cubicBezTo>
                    <a:pt x="82655" y="708176"/>
                    <a:pt x="74496" y="708176"/>
                    <a:pt x="69057" y="702737"/>
                  </a:cubicBezTo>
                  <a:cubicBezTo>
                    <a:pt x="63618" y="700017"/>
                    <a:pt x="58178" y="691858"/>
                    <a:pt x="58178" y="686419"/>
                  </a:cubicBezTo>
                  <a:cubicBezTo>
                    <a:pt x="58178" y="683699"/>
                    <a:pt x="58178" y="680979"/>
                    <a:pt x="60898" y="678260"/>
                  </a:cubicBezTo>
                  <a:cubicBezTo>
                    <a:pt x="63618" y="675540"/>
                    <a:pt x="71777" y="672820"/>
                    <a:pt x="77216" y="670101"/>
                  </a:cubicBezTo>
                  <a:cubicBezTo>
                    <a:pt x="90814" y="667381"/>
                    <a:pt x="115291" y="664661"/>
                    <a:pt x="120730" y="664661"/>
                  </a:cubicBezTo>
                  <a:cubicBezTo>
                    <a:pt x="123450" y="664661"/>
                    <a:pt x="126170" y="664661"/>
                    <a:pt x="131609" y="664661"/>
                  </a:cubicBezTo>
                  <a:cubicBezTo>
                    <a:pt x="131609" y="623867"/>
                    <a:pt x="134329" y="583072"/>
                    <a:pt x="134329" y="539557"/>
                  </a:cubicBezTo>
                  <a:cubicBezTo>
                    <a:pt x="134329" y="528679"/>
                    <a:pt x="134329" y="515080"/>
                    <a:pt x="134329" y="504202"/>
                  </a:cubicBezTo>
                  <a:cubicBezTo>
                    <a:pt x="131609" y="460687"/>
                    <a:pt x="131609" y="417173"/>
                    <a:pt x="131609" y="376378"/>
                  </a:cubicBezTo>
                  <a:cubicBezTo>
                    <a:pt x="131609" y="351901"/>
                    <a:pt x="131609" y="327424"/>
                    <a:pt x="131609" y="302947"/>
                  </a:cubicBezTo>
                  <a:cubicBezTo>
                    <a:pt x="131609" y="275751"/>
                    <a:pt x="131609" y="248554"/>
                    <a:pt x="134329" y="221357"/>
                  </a:cubicBezTo>
                  <a:cubicBezTo>
                    <a:pt x="134329" y="188722"/>
                    <a:pt x="137048" y="156086"/>
                    <a:pt x="137048" y="123450"/>
                  </a:cubicBezTo>
                  <a:cubicBezTo>
                    <a:pt x="126170" y="123450"/>
                    <a:pt x="115291" y="123450"/>
                    <a:pt x="107132" y="123450"/>
                  </a:cubicBezTo>
                  <a:cubicBezTo>
                    <a:pt x="101693" y="123450"/>
                    <a:pt x="96253" y="123450"/>
                    <a:pt x="88094" y="123450"/>
                  </a:cubicBezTo>
                  <a:cubicBezTo>
                    <a:pt x="82655" y="123450"/>
                    <a:pt x="74496" y="120730"/>
                    <a:pt x="69057" y="118011"/>
                  </a:cubicBezTo>
                  <a:cubicBezTo>
                    <a:pt x="63618" y="115291"/>
                    <a:pt x="58178" y="107132"/>
                    <a:pt x="58178" y="101693"/>
                  </a:cubicBezTo>
                  <a:cubicBezTo>
                    <a:pt x="58178" y="98973"/>
                    <a:pt x="58178" y="96253"/>
                    <a:pt x="60898" y="93534"/>
                  </a:cubicBezTo>
                  <a:cubicBezTo>
                    <a:pt x="63618" y="90814"/>
                    <a:pt x="71777" y="88095"/>
                    <a:pt x="77216" y="85375"/>
                  </a:cubicBezTo>
                  <a:cubicBezTo>
                    <a:pt x="90814" y="82655"/>
                    <a:pt x="126170" y="79936"/>
                    <a:pt x="131609" y="79936"/>
                  </a:cubicBezTo>
                  <a:cubicBezTo>
                    <a:pt x="137048" y="79936"/>
                    <a:pt x="147927" y="79936"/>
                    <a:pt x="161525" y="79936"/>
                  </a:cubicBezTo>
                  <a:cubicBezTo>
                    <a:pt x="166965" y="74496"/>
                    <a:pt x="172404" y="71776"/>
                    <a:pt x="177843" y="66337"/>
                  </a:cubicBezTo>
                  <a:cubicBezTo>
                    <a:pt x="186002" y="60898"/>
                    <a:pt x="194161" y="58178"/>
                    <a:pt x="202320" y="58178"/>
                  </a:cubicBezTo>
                  <a:cubicBezTo>
                    <a:pt x="215918" y="58178"/>
                    <a:pt x="226797" y="63618"/>
                    <a:pt x="234956" y="77216"/>
                  </a:cubicBezTo>
                  <a:cubicBezTo>
                    <a:pt x="240395" y="88095"/>
                    <a:pt x="248554" y="96253"/>
                    <a:pt x="251274" y="107132"/>
                  </a:cubicBezTo>
                  <a:cubicBezTo>
                    <a:pt x="256713" y="120730"/>
                    <a:pt x="259433" y="134329"/>
                    <a:pt x="267592" y="147927"/>
                  </a:cubicBezTo>
                  <a:cubicBezTo>
                    <a:pt x="273031" y="158806"/>
                    <a:pt x="275751" y="172404"/>
                    <a:pt x="281190" y="183282"/>
                  </a:cubicBezTo>
                  <a:cubicBezTo>
                    <a:pt x="286630" y="196881"/>
                    <a:pt x="292069" y="210479"/>
                    <a:pt x="297508" y="224077"/>
                  </a:cubicBezTo>
                  <a:cubicBezTo>
                    <a:pt x="300228" y="237676"/>
                    <a:pt x="305667" y="251274"/>
                    <a:pt x="308387" y="264872"/>
                  </a:cubicBezTo>
                  <a:cubicBezTo>
                    <a:pt x="311107" y="278470"/>
                    <a:pt x="311107" y="289349"/>
                    <a:pt x="319265" y="300228"/>
                  </a:cubicBezTo>
                  <a:cubicBezTo>
                    <a:pt x="332864" y="324704"/>
                    <a:pt x="346462" y="351901"/>
                    <a:pt x="351901" y="379098"/>
                  </a:cubicBezTo>
                  <a:cubicBezTo>
                    <a:pt x="354621" y="392696"/>
                    <a:pt x="360060" y="403575"/>
                    <a:pt x="365500" y="417173"/>
                  </a:cubicBezTo>
                  <a:cubicBezTo>
                    <a:pt x="373659" y="430771"/>
                    <a:pt x="373659" y="444369"/>
                    <a:pt x="379098" y="457968"/>
                  </a:cubicBezTo>
                  <a:cubicBezTo>
                    <a:pt x="381818" y="471566"/>
                    <a:pt x="387257" y="482445"/>
                    <a:pt x="395416" y="496043"/>
                  </a:cubicBezTo>
                  <a:cubicBezTo>
                    <a:pt x="398136" y="501482"/>
                    <a:pt x="403575" y="506921"/>
                    <a:pt x="406295" y="512361"/>
                  </a:cubicBezTo>
                  <a:cubicBezTo>
                    <a:pt x="409014" y="517800"/>
                    <a:pt x="409014" y="525959"/>
                    <a:pt x="411734" y="531398"/>
                  </a:cubicBezTo>
                  <a:cubicBezTo>
                    <a:pt x="414454" y="539557"/>
                    <a:pt x="417173" y="550436"/>
                    <a:pt x="419893" y="558595"/>
                  </a:cubicBezTo>
                  <a:cubicBezTo>
                    <a:pt x="422613" y="561314"/>
                    <a:pt x="422613" y="564034"/>
                    <a:pt x="425332" y="564034"/>
                  </a:cubicBezTo>
                  <a:cubicBezTo>
                    <a:pt x="428052" y="564034"/>
                    <a:pt x="428052" y="561314"/>
                    <a:pt x="430771" y="558595"/>
                  </a:cubicBezTo>
                  <a:cubicBezTo>
                    <a:pt x="430771" y="555875"/>
                    <a:pt x="430771" y="553156"/>
                    <a:pt x="430771" y="550436"/>
                  </a:cubicBezTo>
                  <a:cubicBezTo>
                    <a:pt x="430771" y="534118"/>
                    <a:pt x="430771" y="517800"/>
                    <a:pt x="430771" y="501482"/>
                  </a:cubicBezTo>
                  <a:cubicBezTo>
                    <a:pt x="430771" y="468846"/>
                    <a:pt x="433491" y="436210"/>
                    <a:pt x="430771" y="403575"/>
                  </a:cubicBezTo>
                  <a:cubicBezTo>
                    <a:pt x="430771" y="373658"/>
                    <a:pt x="425332" y="343742"/>
                    <a:pt x="425332" y="313826"/>
                  </a:cubicBezTo>
                  <a:cubicBezTo>
                    <a:pt x="425332" y="292069"/>
                    <a:pt x="425332" y="270311"/>
                    <a:pt x="425332" y="248554"/>
                  </a:cubicBezTo>
                  <a:cubicBezTo>
                    <a:pt x="425332" y="234956"/>
                    <a:pt x="425332" y="224077"/>
                    <a:pt x="425332" y="210479"/>
                  </a:cubicBezTo>
                  <a:cubicBezTo>
                    <a:pt x="425332" y="191441"/>
                    <a:pt x="422613" y="172404"/>
                    <a:pt x="422613" y="153366"/>
                  </a:cubicBezTo>
                  <a:cubicBezTo>
                    <a:pt x="422613" y="142488"/>
                    <a:pt x="422613" y="134329"/>
                    <a:pt x="425332" y="123450"/>
                  </a:cubicBezTo>
                  <a:cubicBezTo>
                    <a:pt x="417173" y="123450"/>
                    <a:pt x="406295" y="123450"/>
                    <a:pt x="398136" y="123450"/>
                  </a:cubicBezTo>
                  <a:cubicBezTo>
                    <a:pt x="392696" y="123450"/>
                    <a:pt x="387257" y="123450"/>
                    <a:pt x="379098" y="123450"/>
                  </a:cubicBezTo>
                  <a:cubicBezTo>
                    <a:pt x="373659" y="123450"/>
                    <a:pt x="365500" y="120730"/>
                    <a:pt x="360060" y="118011"/>
                  </a:cubicBezTo>
                  <a:cubicBezTo>
                    <a:pt x="354621" y="115291"/>
                    <a:pt x="349182" y="107132"/>
                    <a:pt x="349182" y="101693"/>
                  </a:cubicBezTo>
                  <a:cubicBezTo>
                    <a:pt x="349182" y="98973"/>
                    <a:pt x="349182" y="96253"/>
                    <a:pt x="351901" y="93534"/>
                  </a:cubicBezTo>
                  <a:cubicBezTo>
                    <a:pt x="354621" y="90814"/>
                    <a:pt x="362780" y="88095"/>
                    <a:pt x="368219" y="85375"/>
                  </a:cubicBezTo>
                  <a:cubicBezTo>
                    <a:pt x="381818" y="82655"/>
                    <a:pt x="417173" y="79936"/>
                    <a:pt x="422613" y="79936"/>
                  </a:cubicBezTo>
                  <a:cubicBezTo>
                    <a:pt x="428052" y="79936"/>
                    <a:pt x="433491" y="79936"/>
                    <a:pt x="444370" y="79936"/>
                  </a:cubicBezTo>
                  <a:cubicBezTo>
                    <a:pt x="449809" y="74496"/>
                    <a:pt x="455248" y="71776"/>
                    <a:pt x="463407" y="71776"/>
                  </a:cubicBezTo>
                  <a:cubicBezTo>
                    <a:pt x="471566" y="71776"/>
                    <a:pt x="477006" y="74496"/>
                    <a:pt x="477006" y="79936"/>
                  </a:cubicBezTo>
                  <a:cubicBezTo>
                    <a:pt x="490604" y="82655"/>
                    <a:pt x="504202" y="79936"/>
                    <a:pt x="512361" y="79936"/>
                  </a:cubicBezTo>
                  <a:lnTo>
                    <a:pt x="512361" y="79936"/>
                  </a:ln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/>
            </a:p>
          </p:txBody>
        </p:sp>
        <p:sp>
          <p:nvSpPr>
            <p:cNvPr id="43" name="Freeform: Shape 42">
              <a:extLst>
                <a:ext uri="{FF2B5EF4-FFF2-40B4-BE49-F238E27FC236}">
                  <a16:creationId xmlns:a16="http://schemas.microsoft.com/office/drawing/2014/main" id="{7B70687E-1688-4C6E-AD4E-6AF6091422E5}"/>
                </a:ext>
              </a:extLst>
            </p:cNvPr>
            <p:cNvSpPr/>
            <p:nvPr/>
          </p:nvSpPr>
          <p:spPr>
            <a:xfrm>
              <a:off x="2987430" y="4242177"/>
              <a:ext cx="494979" cy="674476"/>
            </a:xfrm>
            <a:custGeom>
              <a:avLst/>
              <a:gdLst>
                <a:gd name="connsiteX0" fmla="*/ 228453 w 494979"/>
                <a:gd name="connsiteY0" fmla="*/ 97907 h 674476"/>
                <a:gd name="connsiteX1" fmla="*/ 212135 w 494979"/>
                <a:gd name="connsiteY1" fmla="*/ 119665 h 674476"/>
                <a:gd name="connsiteX2" fmla="*/ 203976 w 494979"/>
                <a:gd name="connsiteY2" fmla="*/ 152300 h 674476"/>
                <a:gd name="connsiteX3" fmla="*/ 201256 w 494979"/>
                <a:gd name="connsiteY3" fmla="*/ 168618 h 674476"/>
                <a:gd name="connsiteX4" fmla="*/ 198537 w 494979"/>
                <a:gd name="connsiteY4" fmla="*/ 184936 h 674476"/>
                <a:gd name="connsiteX5" fmla="*/ 190378 w 494979"/>
                <a:gd name="connsiteY5" fmla="*/ 220292 h 674476"/>
                <a:gd name="connsiteX6" fmla="*/ 171340 w 494979"/>
                <a:gd name="connsiteY6" fmla="*/ 291003 h 674476"/>
                <a:gd name="connsiteX7" fmla="*/ 163180 w 494979"/>
                <a:gd name="connsiteY7" fmla="*/ 323639 h 674476"/>
                <a:gd name="connsiteX8" fmla="*/ 152302 w 494979"/>
                <a:gd name="connsiteY8" fmla="*/ 361714 h 674476"/>
                <a:gd name="connsiteX9" fmla="*/ 146862 w 494979"/>
                <a:gd name="connsiteY9" fmla="*/ 388910 h 674476"/>
                <a:gd name="connsiteX10" fmla="*/ 152302 w 494979"/>
                <a:gd name="connsiteY10" fmla="*/ 391630 h 674476"/>
                <a:gd name="connsiteX11" fmla="*/ 174060 w 494979"/>
                <a:gd name="connsiteY11" fmla="*/ 391630 h 674476"/>
                <a:gd name="connsiteX12" fmla="*/ 195817 w 494979"/>
                <a:gd name="connsiteY12" fmla="*/ 388910 h 674476"/>
                <a:gd name="connsiteX13" fmla="*/ 214855 w 494979"/>
                <a:gd name="connsiteY13" fmla="*/ 388910 h 674476"/>
                <a:gd name="connsiteX14" fmla="*/ 239332 w 494979"/>
                <a:gd name="connsiteY14" fmla="*/ 388910 h 674476"/>
                <a:gd name="connsiteX15" fmla="*/ 252930 w 494979"/>
                <a:gd name="connsiteY15" fmla="*/ 386191 h 674476"/>
                <a:gd name="connsiteX16" fmla="*/ 261089 w 494979"/>
                <a:gd name="connsiteY16" fmla="*/ 386191 h 674476"/>
                <a:gd name="connsiteX17" fmla="*/ 258369 w 494979"/>
                <a:gd name="connsiteY17" fmla="*/ 367153 h 674476"/>
                <a:gd name="connsiteX18" fmla="*/ 252930 w 494979"/>
                <a:gd name="connsiteY18" fmla="*/ 331797 h 674476"/>
                <a:gd name="connsiteX19" fmla="*/ 250210 w 494979"/>
                <a:gd name="connsiteY19" fmla="*/ 244769 h 674476"/>
                <a:gd name="connsiteX20" fmla="*/ 244771 w 494979"/>
                <a:gd name="connsiteY20" fmla="*/ 203974 h 674476"/>
                <a:gd name="connsiteX21" fmla="*/ 239332 w 494979"/>
                <a:gd name="connsiteY21" fmla="*/ 157740 h 674476"/>
                <a:gd name="connsiteX22" fmla="*/ 236612 w 494979"/>
                <a:gd name="connsiteY22" fmla="*/ 119665 h 674476"/>
                <a:gd name="connsiteX23" fmla="*/ 228453 w 494979"/>
                <a:gd name="connsiteY23" fmla="*/ 97907 h 674476"/>
                <a:gd name="connsiteX24" fmla="*/ 274687 w 494979"/>
                <a:gd name="connsiteY24" fmla="*/ 0 h 674476"/>
                <a:gd name="connsiteX25" fmla="*/ 304603 w 494979"/>
                <a:gd name="connsiteY25" fmla="*/ 5439 h 674476"/>
                <a:gd name="connsiteX26" fmla="*/ 320921 w 494979"/>
                <a:gd name="connsiteY26" fmla="*/ 24477 h 674476"/>
                <a:gd name="connsiteX27" fmla="*/ 334519 w 494979"/>
                <a:gd name="connsiteY27" fmla="*/ 43515 h 674476"/>
                <a:gd name="connsiteX28" fmla="*/ 339959 w 494979"/>
                <a:gd name="connsiteY28" fmla="*/ 65272 h 674476"/>
                <a:gd name="connsiteX29" fmla="*/ 348118 w 494979"/>
                <a:gd name="connsiteY29" fmla="*/ 114226 h 674476"/>
                <a:gd name="connsiteX30" fmla="*/ 361716 w 494979"/>
                <a:gd name="connsiteY30" fmla="*/ 163180 h 674476"/>
                <a:gd name="connsiteX31" fmla="*/ 369875 w 494979"/>
                <a:gd name="connsiteY31" fmla="*/ 220293 h 674476"/>
                <a:gd name="connsiteX32" fmla="*/ 378034 w 494979"/>
                <a:gd name="connsiteY32" fmla="*/ 274686 h 674476"/>
                <a:gd name="connsiteX33" fmla="*/ 383473 w 494979"/>
                <a:gd name="connsiteY33" fmla="*/ 301883 h 674476"/>
                <a:gd name="connsiteX34" fmla="*/ 391632 w 494979"/>
                <a:gd name="connsiteY34" fmla="*/ 337238 h 674476"/>
                <a:gd name="connsiteX35" fmla="*/ 397071 w 494979"/>
                <a:gd name="connsiteY35" fmla="*/ 364435 h 674476"/>
                <a:gd name="connsiteX36" fmla="*/ 405230 w 494979"/>
                <a:gd name="connsiteY36" fmla="*/ 383473 h 674476"/>
                <a:gd name="connsiteX37" fmla="*/ 416109 w 494979"/>
                <a:gd name="connsiteY37" fmla="*/ 386192 h 674476"/>
                <a:gd name="connsiteX38" fmla="*/ 426988 w 494979"/>
                <a:gd name="connsiteY38" fmla="*/ 386192 h 674476"/>
                <a:gd name="connsiteX39" fmla="*/ 454184 w 494979"/>
                <a:gd name="connsiteY39" fmla="*/ 397071 h 674476"/>
                <a:gd name="connsiteX40" fmla="*/ 456904 w 494979"/>
                <a:gd name="connsiteY40" fmla="*/ 405230 h 674476"/>
                <a:gd name="connsiteX41" fmla="*/ 451465 w 494979"/>
                <a:gd name="connsiteY41" fmla="*/ 416108 h 674476"/>
                <a:gd name="connsiteX42" fmla="*/ 432427 w 494979"/>
                <a:gd name="connsiteY42" fmla="*/ 429707 h 674476"/>
                <a:gd name="connsiteX43" fmla="*/ 421548 w 494979"/>
                <a:gd name="connsiteY43" fmla="*/ 432426 h 674476"/>
                <a:gd name="connsiteX44" fmla="*/ 413389 w 494979"/>
                <a:gd name="connsiteY44" fmla="*/ 435146 h 674476"/>
                <a:gd name="connsiteX45" fmla="*/ 413389 w 494979"/>
                <a:gd name="connsiteY45" fmla="*/ 440585 h 674476"/>
                <a:gd name="connsiteX46" fmla="*/ 416109 w 494979"/>
                <a:gd name="connsiteY46" fmla="*/ 451464 h 674476"/>
                <a:gd name="connsiteX47" fmla="*/ 418829 w 494979"/>
                <a:gd name="connsiteY47" fmla="*/ 465062 h 674476"/>
                <a:gd name="connsiteX48" fmla="*/ 418829 w 494979"/>
                <a:gd name="connsiteY48" fmla="*/ 475941 h 674476"/>
                <a:gd name="connsiteX49" fmla="*/ 418829 w 494979"/>
                <a:gd name="connsiteY49" fmla="*/ 486820 h 674476"/>
                <a:gd name="connsiteX50" fmla="*/ 426988 w 494979"/>
                <a:gd name="connsiteY50" fmla="*/ 516736 h 674476"/>
                <a:gd name="connsiteX51" fmla="*/ 432427 w 494979"/>
                <a:gd name="connsiteY51" fmla="*/ 543932 h 674476"/>
                <a:gd name="connsiteX52" fmla="*/ 437866 w 494979"/>
                <a:gd name="connsiteY52" fmla="*/ 573848 h 674476"/>
                <a:gd name="connsiteX53" fmla="*/ 443306 w 494979"/>
                <a:gd name="connsiteY53" fmla="*/ 606484 h 674476"/>
                <a:gd name="connsiteX54" fmla="*/ 446025 w 494979"/>
                <a:gd name="connsiteY54" fmla="*/ 617363 h 674476"/>
                <a:gd name="connsiteX55" fmla="*/ 470502 w 494979"/>
                <a:gd name="connsiteY55" fmla="*/ 617363 h 674476"/>
                <a:gd name="connsiteX56" fmla="*/ 494979 w 494979"/>
                <a:gd name="connsiteY56" fmla="*/ 641840 h 674476"/>
                <a:gd name="connsiteX57" fmla="*/ 486820 w 494979"/>
                <a:gd name="connsiteY57" fmla="*/ 655438 h 674476"/>
                <a:gd name="connsiteX58" fmla="*/ 470502 w 494979"/>
                <a:gd name="connsiteY58" fmla="*/ 663597 h 674476"/>
                <a:gd name="connsiteX59" fmla="*/ 446025 w 494979"/>
                <a:gd name="connsiteY59" fmla="*/ 666317 h 674476"/>
                <a:gd name="connsiteX60" fmla="*/ 424268 w 494979"/>
                <a:gd name="connsiteY60" fmla="*/ 666317 h 674476"/>
                <a:gd name="connsiteX61" fmla="*/ 416109 w 494979"/>
                <a:gd name="connsiteY61" fmla="*/ 666317 h 674476"/>
                <a:gd name="connsiteX62" fmla="*/ 402511 w 494979"/>
                <a:gd name="connsiteY62" fmla="*/ 671756 h 674476"/>
                <a:gd name="connsiteX63" fmla="*/ 386193 w 494979"/>
                <a:gd name="connsiteY63" fmla="*/ 674476 h 674476"/>
                <a:gd name="connsiteX64" fmla="*/ 350837 w 494979"/>
                <a:gd name="connsiteY64" fmla="*/ 669036 h 674476"/>
                <a:gd name="connsiteX65" fmla="*/ 329080 w 494979"/>
                <a:gd name="connsiteY65" fmla="*/ 669036 h 674476"/>
                <a:gd name="connsiteX66" fmla="*/ 280126 w 494979"/>
                <a:gd name="connsiteY66" fmla="*/ 669036 h 674476"/>
                <a:gd name="connsiteX67" fmla="*/ 255649 w 494979"/>
                <a:gd name="connsiteY67" fmla="*/ 663597 h 674476"/>
                <a:gd name="connsiteX68" fmla="*/ 239331 w 494979"/>
                <a:gd name="connsiteY68" fmla="*/ 647279 h 674476"/>
                <a:gd name="connsiteX69" fmla="*/ 263808 w 494979"/>
                <a:gd name="connsiteY69" fmla="*/ 630961 h 674476"/>
                <a:gd name="connsiteX70" fmla="*/ 291005 w 494979"/>
                <a:gd name="connsiteY70" fmla="*/ 628241 h 674476"/>
                <a:gd name="connsiteX71" fmla="*/ 288285 w 494979"/>
                <a:gd name="connsiteY71" fmla="*/ 609204 h 674476"/>
                <a:gd name="connsiteX72" fmla="*/ 285565 w 494979"/>
                <a:gd name="connsiteY72" fmla="*/ 582007 h 674476"/>
                <a:gd name="connsiteX73" fmla="*/ 282846 w 494979"/>
                <a:gd name="connsiteY73" fmla="*/ 568409 h 674476"/>
                <a:gd name="connsiteX74" fmla="*/ 285565 w 494979"/>
                <a:gd name="connsiteY74" fmla="*/ 554811 h 674476"/>
                <a:gd name="connsiteX75" fmla="*/ 280126 w 494979"/>
                <a:gd name="connsiteY75" fmla="*/ 538493 h 674476"/>
                <a:gd name="connsiteX76" fmla="*/ 274687 w 494979"/>
                <a:gd name="connsiteY76" fmla="*/ 505857 h 674476"/>
                <a:gd name="connsiteX77" fmla="*/ 271967 w 494979"/>
                <a:gd name="connsiteY77" fmla="*/ 478660 h 674476"/>
                <a:gd name="connsiteX78" fmla="*/ 269247 w 494979"/>
                <a:gd name="connsiteY78" fmla="*/ 446025 h 674476"/>
                <a:gd name="connsiteX79" fmla="*/ 263808 w 494979"/>
                <a:gd name="connsiteY79" fmla="*/ 437866 h 674476"/>
                <a:gd name="connsiteX80" fmla="*/ 252929 w 494979"/>
                <a:gd name="connsiteY80" fmla="*/ 437866 h 674476"/>
                <a:gd name="connsiteX81" fmla="*/ 223013 w 494979"/>
                <a:gd name="connsiteY81" fmla="*/ 440585 h 674476"/>
                <a:gd name="connsiteX82" fmla="*/ 193097 w 494979"/>
                <a:gd name="connsiteY82" fmla="*/ 443305 h 674476"/>
                <a:gd name="connsiteX83" fmla="*/ 168620 w 494979"/>
                <a:gd name="connsiteY83" fmla="*/ 443305 h 674476"/>
                <a:gd name="connsiteX84" fmla="*/ 146862 w 494979"/>
                <a:gd name="connsiteY84" fmla="*/ 440585 h 674476"/>
                <a:gd name="connsiteX85" fmla="*/ 138703 w 494979"/>
                <a:gd name="connsiteY85" fmla="*/ 454184 h 674476"/>
                <a:gd name="connsiteX86" fmla="*/ 133263 w 494979"/>
                <a:gd name="connsiteY86" fmla="*/ 486820 h 674476"/>
                <a:gd name="connsiteX87" fmla="*/ 122385 w 494979"/>
                <a:gd name="connsiteY87" fmla="*/ 541213 h 674476"/>
                <a:gd name="connsiteX88" fmla="*/ 106067 w 494979"/>
                <a:gd name="connsiteY88" fmla="*/ 614643 h 674476"/>
                <a:gd name="connsiteX89" fmla="*/ 135983 w 494979"/>
                <a:gd name="connsiteY89" fmla="*/ 614643 h 674476"/>
                <a:gd name="connsiteX90" fmla="*/ 171340 w 494979"/>
                <a:gd name="connsiteY90" fmla="*/ 630961 h 674476"/>
                <a:gd name="connsiteX91" fmla="*/ 165900 w 494979"/>
                <a:gd name="connsiteY91" fmla="*/ 647279 h 674476"/>
                <a:gd name="connsiteX92" fmla="*/ 149581 w 494979"/>
                <a:gd name="connsiteY92" fmla="*/ 655438 h 674476"/>
                <a:gd name="connsiteX93" fmla="*/ 127824 w 494979"/>
                <a:gd name="connsiteY93" fmla="*/ 658158 h 674476"/>
                <a:gd name="connsiteX94" fmla="*/ 106067 w 494979"/>
                <a:gd name="connsiteY94" fmla="*/ 658158 h 674476"/>
                <a:gd name="connsiteX95" fmla="*/ 62552 w 494979"/>
                <a:gd name="connsiteY95" fmla="*/ 658158 h 674476"/>
                <a:gd name="connsiteX96" fmla="*/ 40795 w 494979"/>
                <a:gd name="connsiteY96" fmla="*/ 658158 h 674476"/>
                <a:gd name="connsiteX97" fmla="*/ 16318 w 494979"/>
                <a:gd name="connsiteY97" fmla="*/ 652718 h 674476"/>
                <a:gd name="connsiteX98" fmla="*/ 0 w 494979"/>
                <a:gd name="connsiteY98" fmla="*/ 636401 h 674476"/>
                <a:gd name="connsiteX99" fmla="*/ 2720 w 494979"/>
                <a:gd name="connsiteY99" fmla="*/ 628241 h 674476"/>
                <a:gd name="connsiteX100" fmla="*/ 24477 w 494979"/>
                <a:gd name="connsiteY100" fmla="*/ 620082 h 674476"/>
                <a:gd name="connsiteX101" fmla="*/ 62552 w 494979"/>
                <a:gd name="connsiteY101" fmla="*/ 617363 h 674476"/>
                <a:gd name="connsiteX102" fmla="*/ 62552 w 494979"/>
                <a:gd name="connsiteY102" fmla="*/ 614643 h 674476"/>
                <a:gd name="connsiteX103" fmla="*/ 65272 w 494979"/>
                <a:gd name="connsiteY103" fmla="*/ 587447 h 674476"/>
                <a:gd name="connsiteX104" fmla="*/ 76151 w 494979"/>
                <a:gd name="connsiteY104" fmla="*/ 522175 h 674476"/>
                <a:gd name="connsiteX105" fmla="*/ 87029 w 494979"/>
                <a:gd name="connsiteY105" fmla="*/ 470501 h 674476"/>
                <a:gd name="connsiteX106" fmla="*/ 92469 w 494979"/>
                <a:gd name="connsiteY106" fmla="*/ 446025 h 674476"/>
                <a:gd name="connsiteX107" fmla="*/ 65272 w 494979"/>
                <a:gd name="connsiteY107" fmla="*/ 432426 h 674476"/>
                <a:gd name="connsiteX108" fmla="*/ 54393 w 494979"/>
                <a:gd name="connsiteY108" fmla="*/ 421548 h 674476"/>
                <a:gd name="connsiteX109" fmla="*/ 73431 w 494979"/>
                <a:gd name="connsiteY109" fmla="*/ 407949 h 674476"/>
                <a:gd name="connsiteX110" fmla="*/ 100628 w 494979"/>
                <a:gd name="connsiteY110" fmla="*/ 399790 h 674476"/>
                <a:gd name="connsiteX111" fmla="*/ 108787 w 494979"/>
                <a:gd name="connsiteY111" fmla="*/ 369874 h 674476"/>
                <a:gd name="connsiteX112" fmla="*/ 125105 w 494979"/>
                <a:gd name="connsiteY112" fmla="*/ 307322 h 674476"/>
                <a:gd name="connsiteX113" fmla="*/ 141423 w 494979"/>
                <a:gd name="connsiteY113" fmla="*/ 242051 h 674476"/>
                <a:gd name="connsiteX114" fmla="*/ 155021 w 494979"/>
                <a:gd name="connsiteY114" fmla="*/ 179498 h 674476"/>
                <a:gd name="connsiteX115" fmla="*/ 168620 w 494979"/>
                <a:gd name="connsiteY115" fmla="*/ 119665 h 674476"/>
                <a:gd name="connsiteX116" fmla="*/ 193097 w 494979"/>
                <a:gd name="connsiteY116" fmla="*/ 57113 h 674476"/>
                <a:gd name="connsiteX117" fmla="*/ 201256 w 494979"/>
                <a:gd name="connsiteY117" fmla="*/ 38075 h 674476"/>
                <a:gd name="connsiteX118" fmla="*/ 217574 w 494979"/>
                <a:gd name="connsiteY118" fmla="*/ 13598 h 674476"/>
                <a:gd name="connsiteX119" fmla="*/ 274687 w 494979"/>
                <a:gd name="connsiteY119" fmla="*/ 0 h 6744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</a:cxnLst>
              <a:rect l="l" t="t" r="r" b="b"/>
              <a:pathLst>
                <a:path w="494979" h="674476">
                  <a:moveTo>
                    <a:pt x="228453" y="97907"/>
                  </a:moveTo>
                  <a:cubicBezTo>
                    <a:pt x="220294" y="97907"/>
                    <a:pt x="212135" y="114225"/>
                    <a:pt x="212135" y="119665"/>
                  </a:cubicBezTo>
                  <a:cubicBezTo>
                    <a:pt x="209415" y="130543"/>
                    <a:pt x="206696" y="144141"/>
                    <a:pt x="203976" y="152300"/>
                  </a:cubicBezTo>
                  <a:cubicBezTo>
                    <a:pt x="201256" y="157740"/>
                    <a:pt x="201256" y="163179"/>
                    <a:pt x="201256" y="168618"/>
                  </a:cubicBezTo>
                  <a:cubicBezTo>
                    <a:pt x="201256" y="174058"/>
                    <a:pt x="198537" y="179497"/>
                    <a:pt x="198537" y="184936"/>
                  </a:cubicBezTo>
                  <a:cubicBezTo>
                    <a:pt x="195817" y="195815"/>
                    <a:pt x="193097" y="209413"/>
                    <a:pt x="190378" y="220292"/>
                  </a:cubicBezTo>
                  <a:cubicBezTo>
                    <a:pt x="187658" y="244769"/>
                    <a:pt x="179499" y="269246"/>
                    <a:pt x="171340" y="291003"/>
                  </a:cubicBezTo>
                  <a:cubicBezTo>
                    <a:pt x="168620" y="301881"/>
                    <a:pt x="165900" y="312760"/>
                    <a:pt x="163180" y="323639"/>
                  </a:cubicBezTo>
                  <a:cubicBezTo>
                    <a:pt x="160461" y="337237"/>
                    <a:pt x="157741" y="348115"/>
                    <a:pt x="152302" y="361714"/>
                  </a:cubicBezTo>
                  <a:cubicBezTo>
                    <a:pt x="149582" y="367153"/>
                    <a:pt x="146862" y="383471"/>
                    <a:pt x="146862" y="388910"/>
                  </a:cubicBezTo>
                  <a:cubicBezTo>
                    <a:pt x="146862" y="391630"/>
                    <a:pt x="149582" y="391630"/>
                    <a:pt x="152302" y="391630"/>
                  </a:cubicBezTo>
                  <a:cubicBezTo>
                    <a:pt x="157741" y="391630"/>
                    <a:pt x="171340" y="391630"/>
                    <a:pt x="174060" y="391630"/>
                  </a:cubicBezTo>
                  <a:cubicBezTo>
                    <a:pt x="182219" y="391630"/>
                    <a:pt x="190378" y="391630"/>
                    <a:pt x="195817" y="388910"/>
                  </a:cubicBezTo>
                  <a:cubicBezTo>
                    <a:pt x="201256" y="388910"/>
                    <a:pt x="206696" y="388910"/>
                    <a:pt x="214855" y="388910"/>
                  </a:cubicBezTo>
                  <a:cubicBezTo>
                    <a:pt x="220294" y="388910"/>
                    <a:pt x="228453" y="388910"/>
                    <a:pt x="239332" y="388910"/>
                  </a:cubicBezTo>
                  <a:cubicBezTo>
                    <a:pt x="244771" y="388910"/>
                    <a:pt x="250210" y="388910"/>
                    <a:pt x="252930" y="386191"/>
                  </a:cubicBezTo>
                  <a:cubicBezTo>
                    <a:pt x="258369" y="391630"/>
                    <a:pt x="261089" y="388910"/>
                    <a:pt x="261089" y="386191"/>
                  </a:cubicBezTo>
                  <a:cubicBezTo>
                    <a:pt x="261089" y="380751"/>
                    <a:pt x="258369" y="372592"/>
                    <a:pt x="258369" y="367153"/>
                  </a:cubicBezTo>
                  <a:cubicBezTo>
                    <a:pt x="255650" y="353555"/>
                    <a:pt x="252930" y="342676"/>
                    <a:pt x="252930" y="331797"/>
                  </a:cubicBezTo>
                  <a:cubicBezTo>
                    <a:pt x="252930" y="301881"/>
                    <a:pt x="252930" y="274685"/>
                    <a:pt x="250210" y="244769"/>
                  </a:cubicBezTo>
                  <a:cubicBezTo>
                    <a:pt x="250210" y="231170"/>
                    <a:pt x="247491" y="217572"/>
                    <a:pt x="244771" y="203974"/>
                  </a:cubicBezTo>
                  <a:cubicBezTo>
                    <a:pt x="242051" y="187656"/>
                    <a:pt x="239332" y="174058"/>
                    <a:pt x="239332" y="157740"/>
                  </a:cubicBezTo>
                  <a:cubicBezTo>
                    <a:pt x="239332" y="152300"/>
                    <a:pt x="239332" y="133263"/>
                    <a:pt x="236612" y="119665"/>
                  </a:cubicBezTo>
                  <a:cubicBezTo>
                    <a:pt x="236612" y="106066"/>
                    <a:pt x="233892" y="97907"/>
                    <a:pt x="228453" y="97907"/>
                  </a:cubicBezTo>
                  <a:close/>
                  <a:moveTo>
                    <a:pt x="274687" y="0"/>
                  </a:moveTo>
                  <a:cubicBezTo>
                    <a:pt x="288285" y="0"/>
                    <a:pt x="293724" y="2720"/>
                    <a:pt x="304603" y="5439"/>
                  </a:cubicBezTo>
                  <a:cubicBezTo>
                    <a:pt x="315482" y="10879"/>
                    <a:pt x="315482" y="16318"/>
                    <a:pt x="320921" y="24477"/>
                  </a:cubicBezTo>
                  <a:cubicBezTo>
                    <a:pt x="326360" y="29916"/>
                    <a:pt x="331800" y="35356"/>
                    <a:pt x="334519" y="43515"/>
                  </a:cubicBezTo>
                  <a:cubicBezTo>
                    <a:pt x="337239" y="51674"/>
                    <a:pt x="337239" y="57113"/>
                    <a:pt x="339959" y="65272"/>
                  </a:cubicBezTo>
                  <a:cubicBezTo>
                    <a:pt x="345398" y="78870"/>
                    <a:pt x="342678" y="97908"/>
                    <a:pt x="348118" y="114226"/>
                  </a:cubicBezTo>
                  <a:cubicBezTo>
                    <a:pt x="350837" y="130544"/>
                    <a:pt x="358996" y="146863"/>
                    <a:pt x="361716" y="163180"/>
                  </a:cubicBezTo>
                  <a:cubicBezTo>
                    <a:pt x="364435" y="182218"/>
                    <a:pt x="364435" y="201256"/>
                    <a:pt x="369875" y="220293"/>
                  </a:cubicBezTo>
                  <a:cubicBezTo>
                    <a:pt x="375314" y="239331"/>
                    <a:pt x="378034" y="255649"/>
                    <a:pt x="378034" y="274686"/>
                  </a:cubicBezTo>
                  <a:cubicBezTo>
                    <a:pt x="378034" y="282845"/>
                    <a:pt x="380753" y="293724"/>
                    <a:pt x="383473" y="301883"/>
                  </a:cubicBezTo>
                  <a:cubicBezTo>
                    <a:pt x="386193" y="312762"/>
                    <a:pt x="388912" y="326360"/>
                    <a:pt x="391632" y="337238"/>
                  </a:cubicBezTo>
                  <a:cubicBezTo>
                    <a:pt x="391632" y="342678"/>
                    <a:pt x="394352" y="353556"/>
                    <a:pt x="397071" y="364435"/>
                  </a:cubicBezTo>
                  <a:cubicBezTo>
                    <a:pt x="399791" y="372594"/>
                    <a:pt x="402511" y="380753"/>
                    <a:pt x="405230" y="383473"/>
                  </a:cubicBezTo>
                  <a:cubicBezTo>
                    <a:pt x="407950" y="386192"/>
                    <a:pt x="413389" y="386192"/>
                    <a:pt x="416109" y="386192"/>
                  </a:cubicBezTo>
                  <a:cubicBezTo>
                    <a:pt x="418829" y="386192"/>
                    <a:pt x="424268" y="386192"/>
                    <a:pt x="426988" y="386192"/>
                  </a:cubicBezTo>
                  <a:cubicBezTo>
                    <a:pt x="437866" y="386192"/>
                    <a:pt x="448745" y="388912"/>
                    <a:pt x="454184" y="397071"/>
                  </a:cubicBezTo>
                  <a:cubicBezTo>
                    <a:pt x="456904" y="399790"/>
                    <a:pt x="456904" y="402510"/>
                    <a:pt x="456904" y="405230"/>
                  </a:cubicBezTo>
                  <a:cubicBezTo>
                    <a:pt x="456904" y="407949"/>
                    <a:pt x="454184" y="410669"/>
                    <a:pt x="451465" y="416108"/>
                  </a:cubicBezTo>
                  <a:cubicBezTo>
                    <a:pt x="446025" y="421548"/>
                    <a:pt x="440586" y="426987"/>
                    <a:pt x="432427" y="429707"/>
                  </a:cubicBezTo>
                  <a:cubicBezTo>
                    <a:pt x="429707" y="429707"/>
                    <a:pt x="426988" y="432426"/>
                    <a:pt x="421548" y="432426"/>
                  </a:cubicBezTo>
                  <a:cubicBezTo>
                    <a:pt x="418829" y="432426"/>
                    <a:pt x="416109" y="432426"/>
                    <a:pt x="413389" y="435146"/>
                  </a:cubicBezTo>
                  <a:cubicBezTo>
                    <a:pt x="413389" y="435146"/>
                    <a:pt x="413389" y="437866"/>
                    <a:pt x="413389" y="440585"/>
                  </a:cubicBezTo>
                  <a:cubicBezTo>
                    <a:pt x="413389" y="443305"/>
                    <a:pt x="413389" y="448744"/>
                    <a:pt x="416109" y="451464"/>
                  </a:cubicBezTo>
                  <a:cubicBezTo>
                    <a:pt x="416109" y="456903"/>
                    <a:pt x="418829" y="462343"/>
                    <a:pt x="418829" y="465062"/>
                  </a:cubicBezTo>
                  <a:lnTo>
                    <a:pt x="418829" y="475941"/>
                  </a:lnTo>
                  <a:cubicBezTo>
                    <a:pt x="418829" y="481380"/>
                    <a:pt x="418829" y="484100"/>
                    <a:pt x="418829" y="486820"/>
                  </a:cubicBezTo>
                  <a:cubicBezTo>
                    <a:pt x="421548" y="497698"/>
                    <a:pt x="424268" y="505857"/>
                    <a:pt x="426988" y="516736"/>
                  </a:cubicBezTo>
                  <a:cubicBezTo>
                    <a:pt x="426988" y="524895"/>
                    <a:pt x="429707" y="535773"/>
                    <a:pt x="432427" y="543932"/>
                  </a:cubicBezTo>
                  <a:cubicBezTo>
                    <a:pt x="435147" y="554811"/>
                    <a:pt x="437866" y="562970"/>
                    <a:pt x="437866" y="573848"/>
                  </a:cubicBezTo>
                  <a:cubicBezTo>
                    <a:pt x="437866" y="587447"/>
                    <a:pt x="440586" y="595606"/>
                    <a:pt x="443306" y="606484"/>
                  </a:cubicBezTo>
                  <a:cubicBezTo>
                    <a:pt x="443306" y="609204"/>
                    <a:pt x="446025" y="614643"/>
                    <a:pt x="446025" y="617363"/>
                  </a:cubicBezTo>
                  <a:cubicBezTo>
                    <a:pt x="454184" y="617363"/>
                    <a:pt x="462343" y="617363"/>
                    <a:pt x="470502" y="617363"/>
                  </a:cubicBezTo>
                  <a:cubicBezTo>
                    <a:pt x="478661" y="625522"/>
                    <a:pt x="492259" y="630961"/>
                    <a:pt x="494979" y="641840"/>
                  </a:cubicBezTo>
                  <a:cubicBezTo>
                    <a:pt x="494979" y="647279"/>
                    <a:pt x="489540" y="649999"/>
                    <a:pt x="486820" y="655438"/>
                  </a:cubicBezTo>
                  <a:cubicBezTo>
                    <a:pt x="484100" y="660877"/>
                    <a:pt x="475942" y="663597"/>
                    <a:pt x="470502" y="663597"/>
                  </a:cubicBezTo>
                  <a:cubicBezTo>
                    <a:pt x="459623" y="666317"/>
                    <a:pt x="454184" y="666317"/>
                    <a:pt x="446025" y="666317"/>
                  </a:cubicBezTo>
                  <a:cubicBezTo>
                    <a:pt x="440586" y="666317"/>
                    <a:pt x="432427" y="666317"/>
                    <a:pt x="424268" y="666317"/>
                  </a:cubicBezTo>
                  <a:cubicBezTo>
                    <a:pt x="421548" y="666317"/>
                    <a:pt x="418829" y="666317"/>
                    <a:pt x="416109" y="666317"/>
                  </a:cubicBezTo>
                  <a:cubicBezTo>
                    <a:pt x="410670" y="669036"/>
                    <a:pt x="407950" y="669036"/>
                    <a:pt x="402511" y="671756"/>
                  </a:cubicBezTo>
                  <a:cubicBezTo>
                    <a:pt x="397071" y="671756"/>
                    <a:pt x="391632" y="674476"/>
                    <a:pt x="386193" y="674476"/>
                  </a:cubicBezTo>
                  <a:cubicBezTo>
                    <a:pt x="375314" y="674476"/>
                    <a:pt x="361716" y="671756"/>
                    <a:pt x="350837" y="669036"/>
                  </a:cubicBezTo>
                  <a:cubicBezTo>
                    <a:pt x="342678" y="669036"/>
                    <a:pt x="334519" y="669036"/>
                    <a:pt x="329080" y="669036"/>
                  </a:cubicBezTo>
                  <a:cubicBezTo>
                    <a:pt x="307323" y="669036"/>
                    <a:pt x="288285" y="669036"/>
                    <a:pt x="280126" y="669036"/>
                  </a:cubicBezTo>
                  <a:cubicBezTo>
                    <a:pt x="271967" y="669036"/>
                    <a:pt x="261088" y="669036"/>
                    <a:pt x="255649" y="663597"/>
                  </a:cubicBezTo>
                  <a:cubicBezTo>
                    <a:pt x="250210" y="660877"/>
                    <a:pt x="239331" y="655438"/>
                    <a:pt x="239331" y="647279"/>
                  </a:cubicBezTo>
                  <a:cubicBezTo>
                    <a:pt x="239331" y="636401"/>
                    <a:pt x="255649" y="633681"/>
                    <a:pt x="263808" y="630961"/>
                  </a:cubicBezTo>
                  <a:cubicBezTo>
                    <a:pt x="269247" y="630961"/>
                    <a:pt x="277406" y="630961"/>
                    <a:pt x="291005" y="628241"/>
                  </a:cubicBezTo>
                  <a:cubicBezTo>
                    <a:pt x="291005" y="620082"/>
                    <a:pt x="291005" y="614643"/>
                    <a:pt x="288285" y="609204"/>
                  </a:cubicBezTo>
                  <a:cubicBezTo>
                    <a:pt x="288285" y="601045"/>
                    <a:pt x="285565" y="590166"/>
                    <a:pt x="285565" y="582007"/>
                  </a:cubicBezTo>
                  <a:cubicBezTo>
                    <a:pt x="285565" y="576568"/>
                    <a:pt x="282846" y="573848"/>
                    <a:pt x="282846" y="568409"/>
                  </a:cubicBezTo>
                  <a:cubicBezTo>
                    <a:pt x="282846" y="562970"/>
                    <a:pt x="285565" y="557531"/>
                    <a:pt x="285565" y="554811"/>
                  </a:cubicBezTo>
                  <a:cubicBezTo>
                    <a:pt x="285565" y="549371"/>
                    <a:pt x="282846" y="546652"/>
                    <a:pt x="280126" y="538493"/>
                  </a:cubicBezTo>
                  <a:cubicBezTo>
                    <a:pt x="280126" y="527614"/>
                    <a:pt x="274687" y="516736"/>
                    <a:pt x="274687" y="505857"/>
                  </a:cubicBezTo>
                  <a:cubicBezTo>
                    <a:pt x="274687" y="494978"/>
                    <a:pt x="274687" y="486820"/>
                    <a:pt x="271967" y="478660"/>
                  </a:cubicBezTo>
                  <a:cubicBezTo>
                    <a:pt x="269247" y="467782"/>
                    <a:pt x="269247" y="456903"/>
                    <a:pt x="269247" y="446025"/>
                  </a:cubicBezTo>
                  <a:cubicBezTo>
                    <a:pt x="269247" y="440585"/>
                    <a:pt x="266528" y="437866"/>
                    <a:pt x="263808" y="437866"/>
                  </a:cubicBezTo>
                  <a:cubicBezTo>
                    <a:pt x="261088" y="437866"/>
                    <a:pt x="258369" y="437866"/>
                    <a:pt x="252929" y="437866"/>
                  </a:cubicBezTo>
                  <a:cubicBezTo>
                    <a:pt x="242051" y="437866"/>
                    <a:pt x="231172" y="437866"/>
                    <a:pt x="223013" y="440585"/>
                  </a:cubicBezTo>
                  <a:cubicBezTo>
                    <a:pt x="212135" y="440585"/>
                    <a:pt x="203976" y="443305"/>
                    <a:pt x="193097" y="443305"/>
                  </a:cubicBezTo>
                  <a:cubicBezTo>
                    <a:pt x="184938" y="443305"/>
                    <a:pt x="176779" y="443305"/>
                    <a:pt x="168620" y="443305"/>
                  </a:cubicBezTo>
                  <a:cubicBezTo>
                    <a:pt x="165900" y="443305"/>
                    <a:pt x="155021" y="440585"/>
                    <a:pt x="146862" y="440585"/>
                  </a:cubicBezTo>
                  <a:cubicBezTo>
                    <a:pt x="138703" y="440585"/>
                    <a:pt x="138703" y="448744"/>
                    <a:pt x="138703" y="454184"/>
                  </a:cubicBezTo>
                  <a:cubicBezTo>
                    <a:pt x="138703" y="465062"/>
                    <a:pt x="135983" y="475941"/>
                    <a:pt x="133263" y="486820"/>
                  </a:cubicBezTo>
                  <a:cubicBezTo>
                    <a:pt x="130544" y="505857"/>
                    <a:pt x="125105" y="522175"/>
                    <a:pt x="122385" y="541213"/>
                  </a:cubicBezTo>
                  <a:cubicBezTo>
                    <a:pt x="119665" y="560250"/>
                    <a:pt x="111506" y="595606"/>
                    <a:pt x="106067" y="614643"/>
                  </a:cubicBezTo>
                  <a:cubicBezTo>
                    <a:pt x="114226" y="614643"/>
                    <a:pt x="125105" y="614643"/>
                    <a:pt x="135983" y="614643"/>
                  </a:cubicBezTo>
                  <a:cubicBezTo>
                    <a:pt x="149581" y="614643"/>
                    <a:pt x="171340" y="614643"/>
                    <a:pt x="171340" y="630961"/>
                  </a:cubicBezTo>
                  <a:cubicBezTo>
                    <a:pt x="171340" y="639120"/>
                    <a:pt x="168620" y="639120"/>
                    <a:pt x="165900" y="647279"/>
                  </a:cubicBezTo>
                  <a:cubicBezTo>
                    <a:pt x="163181" y="652718"/>
                    <a:pt x="155021" y="655438"/>
                    <a:pt x="149581" y="655438"/>
                  </a:cubicBezTo>
                  <a:cubicBezTo>
                    <a:pt x="141423" y="658158"/>
                    <a:pt x="135983" y="658158"/>
                    <a:pt x="127824" y="658158"/>
                  </a:cubicBezTo>
                  <a:cubicBezTo>
                    <a:pt x="122385" y="658158"/>
                    <a:pt x="116946" y="658158"/>
                    <a:pt x="106067" y="658158"/>
                  </a:cubicBezTo>
                  <a:cubicBezTo>
                    <a:pt x="92469" y="658158"/>
                    <a:pt x="78870" y="658158"/>
                    <a:pt x="62552" y="658158"/>
                  </a:cubicBezTo>
                  <a:cubicBezTo>
                    <a:pt x="54393" y="658158"/>
                    <a:pt x="46234" y="658158"/>
                    <a:pt x="40795" y="658158"/>
                  </a:cubicBezTo>
                  <a:cubicBezTo>
                    <a:pt x="32636" y="658158"/>
                    <a:pt x="21758" y="658158"/>
                    <a:pt x="16318" y="652718"/>
                  </a:cubicBezTo>
                  <a:cubicBezTo>
                    <a:pt x="8159" y="649999"/>
                    <a:pt x="0" y="641840"/>
                    <a:pt x="0" y="636401"/>
                  </a:cubicBezTo>
                  <a:cubicBezTo>
                    <a:pt x="0" y="633681"/>
                    <a:pt x="0" y="630961"/>
                    <a:pt x="2720" y="628241"/>
                  </a:cubicBezTo>
                  <a:cubicBezTo>
                    <a:pt x="8159" y="625522"/>
                    <a:pt x="16318" y="622802"/>
                    <a:pt x="24477" y="620082"/>
                  </a:cubicBezTo>
                  <a:cubicBezTo>
                    <a:pt x="38075" y="617363"/>
                    <a:pt x="48954" y="617363"/>
                    <a:pt x="62552" y="617363"/>
                  </a:cubicBezTo>
                  <a:cubicBezTo>
                    <a:pt x="62552" y="617363"/>
                    <a:pt x="62552" y="614643"/>
                    <a:pt x="62552" y="614643"/>
                  </a:cubicBezTo>
                  <a:cubicBezTo>
                    <a:pt x="62552" y="603765"/>
                    <a:pt x="65272" y="590166"/>
                    <a:pt x="65272" y="587447"/>
                  </a:cubicBezTo>
                  <a:cubicBezTo>
                    <a:pt x="67992" y="565689"/>
                    <a:pt x="73431" y="543932"/>
                    <a:pt x="76151" y="522175"/>
                  </a:cubicBezTo>
                  <a:cubicBezTo>
                    <a:pt x="78870" y="505857"/>
                    <a:pt x="81590" y="486820"/>
                    <a:pt x="87029" y="470501"/>
                  </a:cubicBezTo>
                  <a:cubicBezTo>
                    <a:pt x="87029" y="465062"/>
                    <a:pt x="92469" y="451464"/>
                    <a:pt x="92469" y="446025"/>
                  </a:cubicBezTo>
                  <a:cubicBezTo>
                    <a:pt x="92469" y="437866"/>
                    <a:pt x="73431" y="437866"/>
                    <a:pt x="65272" y="432426"/>
                  </a:cubicBezTo>
                  <a:cubicBezTo>
                    <a:pt x="59833" y="429707"/>
                    <a:pt x="54393" y="426987"/>
                    <a:pt x="54393" y="421548"/>
                  </a:cubicBezTo>
                  <a:cubicBezTo>
                    <a:pt x="54393" y="413389"/>
                    <a:pt x="62552" y="410669"/>
                    <a:pt x="73431" y="407949"/>
                  </a:cubicBezTo>
                  <a:cubicBezTo>
                    <a:pt x="78870" y="407949"/>
                    <a:pt x="92469" y="405230"/>
                    <a:pt x="100628" y="399790"/>
                  </a:cubicBezTo>
                  <a:cubicBezTo>
                    <a:pt x="106067" y="394351"/>
                    <a:pt x="106067" y="378033"/>
                    <a:pt x="108787" y="369874"/>
                  </a:cubicBezTo>
                  <a:cubicBezTo>
                    <a:pt x="114226" y="348117"/>
                    <a:pt x="119665" y="326360"/>
                    <a:pt x="125105" y="307322"/>
                  </a:cubicBezTo>
                  <a:cubicBezTo>
                    <a:pt x="130544" y="285565"/>
                    <a:pt x="135983" y="263808"/>
                    <a:pt x="141423" y="242051"/>
                  </a:cubicBezTo>
                  <a:cubicBezTo>
                    <a:pt x="146862" y="220293"/>
                    <a:pt x="152301" y="198536"/>
                    <a:pt x="155021" y="179498"/>
                  </a:cubicBezTo>
                  <a:cubicBezTo>
                    <a:pt x="157740" y="160461"/>
                    <a:pt x="163181" y="138703"/>
                    <a:pt x="168620" y="119665"/>
                  </a:cubicBezTo>
                  <a:cubicBezTo>
                    <a:pt x="176779" y="100627"/>
                    <a:pt x="182218" y="76150"/>
                    <a:pt x="193097" y="57113"/>
                  </a:cubicBezTo>
                  <a:lnTo>
                    <a:pt x="201256" y="38075"/>
                  </a:lnTo>
                  <a:cubicBezTo>
                    <a:pt x="206695" y="29916"/>
                    <a:pt x="209415" y="19038"/>
                    <a:pt x="217574" y="13598"/>
                  </a:cubicBezTo>
                  <a:cubicBezTo>
                    <a:pt x="231172" y="2720"/>
                    <a:pt x="255649" y="0"/>
                    <a:pt x="274687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/>
            </a:p>
          </p:txBody>
        </p:sp>
        <p:sp>
          <p:nvSpPr>
            <p:cNvPr id="44" name="Freeform: Shape 43">
              <a:extLst>
                <a:ext uri="{FF2B5EF4-FFF2-40B4-BE49-F238E27FC236}">
                  <a16:creationId xmlns:a16="http://schemas.microsoft.com/office/drawing/2014/main" id="{FC91D8D8-0C05-411F-B7B8-8CA246B7B429}"/>
                </a:ext>
              </a:extLst>
            </p:cNvPr>
            <p:cNvSpPr/>
            <p:nvPr/>
          </p:nvSpPr>
          <p:spPr>
            <a:xfrm>
              <a:off x="3443268" y="4186718"/>
              <a:ext cx="435145" cy="761503"/>
            </a:xfrm>
            <a:custGeom>
              <a:avLst/>
              <a:gdLst>
                <a:gd name="connsiteX0" fmla="*/ 400855 w 435145"/>
                <a:gd name="connsiteY0" fmla="*/ 678260 h 761503"/>
                <a:gd name="connsiteX1" fmla="*/ 384537 w 435145"/>
                <a:gd name="connsiteY1" fmla="*/ 719054 h 761503"/>
                <a:gd name="connsiteX2" fmla="*/ 368219 w 435145"/>
                <a:gd name="connsiteY2" fmla="*/ 713615 h 761503"/>
                <a:gd name="connsiteX3" fmla="*/ 360060 w 435145"/>
                <a:gd name="connsiteY3" fmla="*/ 697297 h 761503"/>
                <a:gd name="connsiteX4" fmla="*/ 360060 w 435145"/>
                <a:gd name="connsiteY4" fmla="*/ 651063 h 761503"/>
                <a:gd name="connsiteX5" fmla="*/ 332864 w 435145"/>
                <a:gd name="connsiteY5" fmla="*/ 686418 h 761503"/>
                <a:gd name="connsiteX6" fmla="*/ 251274 w 435145"/>
                <a:gd name="connsiteY6" fmla="*/ 721774 h 761503"/>
                <a:gd name="connsiteX7" fmla="*/ 229517 w 435145"/>
                <a:gd name="connsiteY7" fmla="*/ 719054 h 761503"/>
                <a:gd name="connsiteX8" fmla="*/ 158806 w 435145"/>
                <a:gd name="connsiteY8" fmla="*/ 694578 h 761503"/>
                <a:gd name="connsiteX9" fmla="*/ 112571 w 435145"/>
                <a:gd name="connsiteY9" fmla="*/ 659222 h 761503"/>
                <a:gd name="connsiteX10" fmla="*/ 79936 w 435145"/>
                <a:gd name="connsiteY10" fmla="*/ 607548 h 761503"/>
                <a:gd name="connsiteX11" fmla="*/ 63618 w 435145"/>
                <a:gd name="connsiteY11" fmla="*/ 542277 h 761503"/>
                <a:gd name="connsiteX12" fmla="*/ 58178 w 435145"/>
                <a:gd name="connsiteY12" fmla="*/ 471566 h 761503"/>
                <a:gd name="connsiteX13" fmla="*/ 60898 w 435145"/>
                <a:gd name="connsiteY13" fmla="*/ 400855 h 761503"/>
                <a:gd name="connsiteX14" fmla="*/ 66337 w 435145"/>
                <a:gd name="connsiteY14" fmla="*/ 335583 h 761503"/>
                <a:gd name="connsiteX15" fmla="*/ 85375 w 435145"/>
                <a:gd name="connsiteY15" fmla="*/ 267592 h 761503"/>
                <a:gd name="connsiteX16" fmla="*/ 109852 w 435145"/>
                <a:gd name="connsiteY16" fmla="*/ 199600 h 761503"/>
                <a:gd name="connsiteX17" fmla="*/ 145207 w 435145"/>
                <a:gd name="connsiteY17" fmla="*/ 145207 h 761503"/>
                <a:gd name="connsiteX18" fmla="*/ 188722 w 435145"/>
                <a:gd name="connsiteY18" fmla="*/ 96253 h 761503"/>
                <a:gd name="connsiteX19" fmla="*/ 243115 w 435145"/>
                <a:gd name="connsiteY19" fmla="*/ 71776 h 761503"/>
                <a:gd name="connsiteX20" fmla="*/ 286630 w 435145"/>
                <a:gd name="connsiteY20" fmla="*/ 63617 h 761503"/>
                <a:gd name="connsiteX21" fmla="*/ 305667 w 435145"/>
                <a:gd name="connsiteY21" fmla="*/ 66337 h 761503"/>
                <a:gd name="connsiteX22" fmla="*/ 324705 w 435145"/>
                <a:gd name="connsiteY22" fmla="*/ 79936 h 761503"/>
                <a:gd name="connsiteX23" fmla="*/ 341023 w 435145"/>
                <a:gd name="connsiteY23" fmla="*/ 101693 h 761503"/>
                <a:gd name="connsiteX24" fmla="*/ 354621 w 435145"/>
                <a:gd name="connsiteY24" fmla="*/ 123450 h 761503"/>
                <a:gd name="connsiteX25" fmla="*/ 354621 w 435145"/>
                <a:gd name="connsiteY25" fmla="*/ 98973 h 761503"/>
                <a:gd name="connsiteX26" fmla="*/ 360060 w 435145"/>
                <a:gd name="connsiteY26" fmla="*/ 74496 h 761503"/>
                <a:gd name="connsiteX27" fmla="*/ 365500 w 435145"/>
                <a:gd name="connsiteY27" fmla="*/ 63617 h 761503"/>
                <a:gd name="connsiteX28" fmla="*/ 373659 w 435145"/>
                <a:gd name="connsiteY28" fmla="*/ 58178 h 761503"/>
                <a:gd name="connsiteX29" fmla="*/ 381818 w 435145"/>
                <a:gd name="connsiteY29" fmla="*/ 63617 h 761503"/>
                <a:gd name="connsiteX30" fmla="*/ 389977 w 435145"/>
                <a:gd name="connsiteY30" fmla="*/ 82655 h 761503"/>
                <a:gd name="connsiteX31" fmla="*/ 392696 w 435145"/>
                <a:gd name="connsiteY31" fmla="*/ 126170 h 761503"/>
                <a:gd name="connsiteX32" fmla="*/ 395416 w 435145"/>
                <a:gd name="connsiteY32" fmla="*/ 186002 h 761503"/>
                <a:gd name="connsiteX33" fmla="*/ 398136 w 435145"/>
                <a:gd name="connsiteY33" fmla="*/ 237675 h 761503"/>
                <a:gd name="connsiteX34" fmla="*/ 398136 w 435145"/>
                <a:gd name="connsiteY34" fmla="*/ 243115 h 761503"/>
                <a:gd name="connsiteX35" fmla="*/ 395416 w 435145"/>
                <a:gd name="connsiteY35" fmla="*/ 256713 h 761503"/>
                <a:gd name="connsiteX36" fmla="*/ 379098 w 435145"/>
                <a:gd name="connsiteY36" fmla="*/ 278470 h 761503"/>
                <a:gd name="connsiteX37" fmla="*/ 362780 w 435145"/>
                <a:gd name="connsiteY37" fmla="*/ 273031 h 761503"/>
                <a:gd name="connsiteX38" fmla="*/ 354621 w 435145"/>
                <a:gd name="connsiteY38" fmla="*/ 256713 h 761503"/>
                <a:gd name="connsiteX39" fmla="*/ 354621 w 435145"/>
                <a:gd name="connsiteY39" fmla="*/ 213198 h 761503"/>
                <a:gd name="connsiteX40" fmla="*/ 354621 w 435145"/>
                <a:gd name="connsiteY40" fmla="*/ 205040 h 761503"/>
                <a:gd name="connsiteX41" fmla="*/ 338303 w 435145"/>
                <a:gd name="connsiteY41" fmla="*/ 147927 h 761503"/>
                <a:gd name="connsiteX42" fmla="*/ 292069 w 435145"/>
                <a:gd name="connsiteY42" fmla="*/ 107132 h 761503"/>
                <a:gd name="connsiteX43" fmla="*/ 262153 w 435145"/>
                <a:gd name="connsiteY43" fmla="*/ 120730 h 761503"/>
                <a:gd name="connsiteX44" fmla="*/ 251274 w 435145"/>
                <a:gd name="connsiteY44" fmla="*/ 131609 h 761503"/>
                <a:gd name="connsiteX45" fmla="*/ 240395 w 435145"/>
                <a:gd name="connsiteY45" fmla="*/ 139768 h 761503"/>
                <a:gd name="connsiteX46" fmla="*/ 237676 w 435145"/>
                <a:gd name="connsiteY46" fmla="*/ 164245 h 761503"/>
                <a:gd name="connsiteX47" fmla="*/ 226797 w 435145"/>
                <a:gd name="connsiteY47" fmla="*/ 196881 h 761503"/>
                <a:gd name="connsiteX48" fmla="*/ 213199 w 435145"/>
                <a:gd name="connsiteY48" fmla="*/ 259433 h 761503"/>
                <a:gd name="connsiteX49" fmla="*/ 207759 w 435145"/>
                <a:gd name="connsiteY49" fmla="*/ 324704 h 761503"/>
                <a:gd name="connsiteX50" fmla="*/ 207759 w 435145"/>
                <a:gd name="connsiteY50" fmla="*/ 335583 h 761503"/>
                <a:gd name="connsiteX51" fmla="*/ 205040 w 435145"/>
                <a:gd name="connsiteY51" fmla="*/ 349181 h 761503"/>
                <a:gd name="connsiteX52" fmla="*/ 207759 w 435145"/>
                <a:gd name="connsiteY52" fmla="*/ 368219 h 761503"/>
                <a:gd name="connsiteX53" fmla="*/ 207759 w 435145"/>
                <a:gd name="connsiteY53" fmla="*/ 376378 h 761503"/>
                <a:gd name="connsiteX54" fmla="*/ 205040 w 435145"/>
                <a:gd name="connsiteY54" fmla="*/ 387256 h 761503"/>
                <a:gd name="connsiteX55" fmla="*/ 205040 w 435145"/>
                <a:gd name="connsiteY55" fmla="*/ 395415 h 761503"/>
                <a:gd name="connsiteX56" fmla="*/ 205040 w 435145"/>
                <a:gd name="connsiteY56" fmla="*/ 406294 h 761503"/>
                <a:gd name="connsiteX57" fmla="*/ 205040 w 435145"/>
                <a:gd name="connsiteY57" fmla="*/ 425332 h 761503"/>
                <a:gd name="connsiteX58" fmla="*/ 213199 w 435145"/>
                <a:gd name="connsiteY58" fmla="*/ 493323 h 761503"/>
                <a:gd name="connsiteX59" fmla="*/ 221358 w 435145"/>
                <a:gd name="connsiteY59" fmla="*/ 561314 h 761503"/>
                <a:gd name="connsiteX60" fmla="*/ 226797 w 435145"/>
                <a:gd name="connsiteY60" fmla="*/ 591231 h 761503"/>
                <a:gd name="connsiteX61" fmla="*/ 240395 w 435145"/>
                <a:gd name="connsiteY61" fmla="*/ 618427 h 761503"/>
                <a:gd name="connsiteX62" fmla="*/ 283910 w 435145"/>
                <a:gd name="connsiteY62" fmla="*/ 651063 h 761503"/>
                <a:gd name="connsiteX63" fmla="*/ 338303 w 435145"/>
                <a:gd name="connsiteY63" fmla="*/ 612988 h 761503"/>
                <a:gd name="connsiteX64" fmla="*/ 354621 w 435145"/>
                <a:gd name="connsiteY64" fmla="*/ 577632 h 761503"/>
                <a:gd name="connsiteX65" fmla="*/ 357341 w 435145"/>
                <a:gd name="connsiteY65" fmla="*/ 509641 h 761503"/>
                <a:gd name="connsiteX66" fmla="*/ 362780 w 435145"/>
                <a:gd name="connsiteY66" fmla="*/ 485164 h 761503"/>
                <a:gd name="connsiteX67" fmla="*/ 368219 w 435145"/>
                <a:gd name="connsiteY67" fmla="*/ 474286 h 761503"/>
                <a:gd name="connsiteX68" fmla="*/ 376378 w 435145"/>
                <a:gd name="connsiteY68" fmla="*/ 468846 h 761503"/>
                <a:gd name="connsiteX69" fmla="*/ 384537 w 435145"/>
                <a:gd name="connsiteY69" fmla="*/ 474286 h 761503"/>
                <a:gd name="connsiteX70" fmla="*/ 392696 w 435145"/>
                <a:gd name="connsiteY70" fmla="*/ 493323 h 761503"/>
                <a:gd name="connsiteX71" fmla="*/ 395416 w 435145"/>
                <a:gd name="connsiteY71" fmla="*/ 558595 h 761503"/>
                <a:gd name="connsiteX72" fmla="*/ 398136 w 435145"/>
                <a:gd name="connsiteY72" fmla="*/ 618427 h 761503"/>
                <a:gd name="connsiteX73" fmla="*/ 400855 w 435145"/>
                <a:gd name="connsiteY73" fmla="*/ 678260 h 761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</a:cxnLst>
              <a:rect l="l" t="t" r="r" b="b"/>
              <a:pathLst>
                <a:path w="435145" h="761503">
                  <a:moveTo>
                    <a:pt x="400855" y="678260"/>
                  </a:moveTo>
                  <a:cubicBezTo>
                    <a:pt x="400855" y="689138"/>
                    <a:pt x="400855" y="719054"/>
                    <a:pt x="384537" y="719054"/>
                  </a:cubicBezTo>
                  <a:cubicBezTo>
                    <a:pt x="376378" y="719054"/>
                    <a:pt x="373659" y="716335"/>
                    <a:pt x="368219" y="713615"/>
                  </a:cubicBezTo>
                  <a:cubicBezTo>
                    <a:pt x="362780" y="710895"/>
                    <a:pt x="360060" y="702736"/>
                    <a:pt x="360060" y="697297"/>
                  </a:cubicBezTo>
                  <a:cubicBezTo>
                    <a:pt x="357341" y="680979"/>
                    <a:pt x="357341" y="664661"/>
                    <a:pt x="360060" y="651063"/>
                  </a:cubicBezTo>
                  <a:cubicBezTo>
                    <a:pt x="354621" y="659222"/>
                    <a:pt x="341023" y="678260"/>
                    <a:pt x="332864" y="686418"/>
                  </a:cubicBezTo>
                  <a:cubicBezTo>
                    <a:pt x="311107" y="708176"/>
                    <a:pt x="283910" y="721774"/>
                    <a:pt x="251274" y="721774"/>
                  </a:cubicBezTo>
                  <a:cubicBezTo>
                    <a:pt x="243115" y="721774"/>
                    <a:pt x="237676" y="721774"/>
                    <a:pt x="229517" y="719054"/>
                  </a:cubicBezTo>
                  <a:cubicBezTo>
                    <a:pt x="207759" y="716335"/>
                    <a:pt x="183283" y="708176"/>
                    <a:pt x="158806" y="694578"/>
                  </a:cubicBezTo>
                  <a:cubicBezTo>
                    <a:pt x="142488" y="686418"/>
                    <a:pt x="126170" y="672820"/>
                    <a:pt x="112571" y="659222"/>
                  </a:cubicBezTo>
                  <a:cubicBezTo>
                    <a:pt x="98973" y="642904"/>
                    <a:pt x="88095" y="626586"/>
                    <a:pt x="79936" y="607548"/>
                  </a:cubicBezTo>
                  <a:cubicBezTo>
                    <a:pt x="71777" y="585791"/>
                    <a:pt x="66337" y="566754"/>
                    <a:pt x="63618" y="542277"/>
                  </a:cubicBezTo>
                  <a:cubicBezTo>
                    <a:pt x="60898" y="517800"/>
                    <a:pt x="58178" y="493323"/>
                    <a:pt x="58178" y="471566"/>
                  </a:cubicBezTo>
                  <a:cubicBezTo>
                    <a:pt x="58178" y="447089"/>
                    <a:pt x="58178" y="425332"/>
                    <a:pt x="60898" y="400855"/>
                  </a:cubicBezTo>
                  <a:cubicBezTo>
                    <a:pt x="63618" y="379098"/>
                    <a:pt x="60898" y="357340"/>
                    <a:pt x="66337" y="335583"/>
                  </a:cubicBezTo>
                  <a:cubicBezTo>
                    <a:pt x="69057" y="313826"/>
                    <a:pt x="77216" y="289349"/>
                    <a:pt x="85375" y="267592"/>
                  </a:cubicBezTo>
                  <a:cubicBezTo>
                    <a:pt x="93534" y="243115"/>
                    <a:pt x="98973" y="221357"/>
                    <a:pt x="109852" y="199600"/>
                  </a:cubicBezTo>
                  <a:cubicBezTo>
                    <a:pt x="118011" y="177843"/>
                    <a:pt x="131609" y="161525"/>
                    <a:pt x="145207" y="145207"/>
                  </a:cubicBezTo>
                  <a:cubicBezTo>
                    <a:pt x="158806" y="128889"/>
                    <a:pt x="172404" y="109852"/>
                    <a:pt x="188722" y="96253"/>
                  </a:cubicBezTo>
                  <a:cubicBezTo>
                    <a:pt x="205040" y="82655"/>
                    <a:pt x="224077" y="77216"/>
                    <a:pt x="243115" y="71776"/>
                  </a:cubicBezTo>
                  <a:cubicBezTo>
                    <a:pt x="256713" y="69057"/>
                    <a:pt x="273031" y="63617"/>
                    <a:pt x="286630" y="63617"/>
                  </a:cubicBezTo>
                  <a:cubicBezTo>
                    <a:pt x="292069" y="63617"/>
                    <a:pt x="297508" y="63617"/>
                    <a:pt x="305667" y="66337"/>
                  </a:cubicBezTo>
                  <a:cubicBezTo>
                    <a:pt x="313826" y="69057"/>
                    <a:pt x="319266" y="74496"/>
                    <a:pt x="324705" y="79936"/>
                  </a:cubicBezTo>
                  <a:cubicBezTo>
                    <a:pt x="332864" y="85375"/>
                    <a:pt x="332864" y="93534"/>
                    <a:pt x="341023" y="101693"/>
                  </a:cubicBezTo>
                  <a:cubicBezTo>
                    <a:pt x="346462" y="107132"/>
                    <a:pt x="349182" y="118011"/>
                    <a:pt x="354621" y="123450"/>
                  </a:cubicBezTo>
                  <a:cubicBezTo>
                    <a:pt x="354621" y="115291"/>
                    <a:pt x="354621" y="101693"/>
                    <a:pt x="354621" y="98973"/>
                  </a:cubicBezTo>
                  <a:cubicBezTo>
                    <a:pt x="354621" y="90814"/>
                    <a:pt x="354621" y="79936"/>
                    <a:pt x="360060" y="74496"/>
                  </a:cubicBezTo>
                  <a:cubicBezTo>
                    <a:pt x="362780" y="71776"/>
                    <a:pt x="362780" y="69057"/>
                    <a:pt x="365500" y="63617"/>
                  </a:cubicBezTo>
                  <a:cubicBezTo>
                    <a:pt x="368219" y="60898"/>
                    <a:pt x="370939" y="58178"/>
                    <a:pt x="373659" y="58178"/>
                  </a:cubicBezTo>
                  <a:cubicBezTo>
                    <a:pt x="376378" y="58178"/>
                    <a:pt x="379098" y="60898"/>
                    <a:pt x="381818" y="63617"/>
                  </a:cubicBezTo>
                  <a:cubicBezTo>
                    <a:pt x="384537" y="69057"/>
                    <a:pt x="387257" y="77216"/>
                    <a:pt x="389977" y="82655"/>
                  </a:cubicBezTo>
                  <a:cubicBezTo>
                    <a:pt x="389977" y="90814"/>
                    <a:pt x="392696" y="107132"/>
                    <a:pt x="392696" y="126170"/>
                  </a:cubicBezTo>
                  <a:cubicBezTo>
                    <a:pt x="392696" y="150647"/>
                    <a:pt x="392696" y="177843"/>
                    <a:pt x="395416" y="186002"/>
                  </a:cubicBezTo>
                  <a:cubicBezTo>
                    <a:pt x="398136" y="205040"/>
                    <a:pt x="398136" y="215918"/>
                    <a:pt x="398136" y="237675"/>
                  </a:cubicBezTo>
                  <a:cubicBezTo>
                    <a:pt x="398136" y="240395"/>
                    <a:pt x="398136" y="243115"/>
                    <a:pt x="398136" y="243115"/>
                  </a:cubicBezTo>
                  <a:cubicBezTo>
                    <a:pt x="398136" y="248554"/>
                    <a:pt x="398136" y="251274"/>
                    <a:pt x="395416" y="256713"/>
                  </a:cubicBezTo>
                  <a:cubicBezTo>
                    <a:pt x="392696" y="267592"/>
                    <a:pt x="389977" y="278470"/>
                    <a:pt x="379098" y="278470"/>
                  </a:cubicBezTo>
                  <a:cubicBezTo>
                    <a:pt x="370939" y="278470"/>
                    <a:pt x="368219" y="275751"/>
                    <a:pt x="362780" y="273031"/>
                  </a:cubicBezTo>
                  <a:cubicBezTo>
                    <a:pt x="357341" y="270311"/>
                    <a:pt x="354621" y="262152"/>
                    <a:pt x="354621" y="256713"/>
                  </a:cubicBezTo>
                  <a:cubicBezTo>
                    <a:pt x="349182" y="237675"/>
                    <a:pt x="354621" y="232236"/>
                    <a:pt x="354621" y="213198"/>
                  </a:cubicBezTo>
                  <a:cubicBezTo>
                    <a:pt x="354621" y="210479"/>
                    <a:pt x="354621" y="207759"/>
                    <a:pt x="354621" y="205040"/>
                  </a:cubicBezTo>
                  <a:cubicBezTo>
                    <a:pt x="349182" y="186002"/>
                    <a:pt x="343742" y="169684"/>
                    <a:pt x="338303" y="147927"/>
                  </a:cubicBezTo>
                  <a:cubicBezTo>
                    <a:pt x="332864" y="131609"/>
                    <a:pt x="311107" y="107132"/>
                    <a:pt x="292069" y="107132"/>
                  </a:cubicBezTo>
                  <a:cubicBezTo>
                    <a:pt x="281190" y="107132"/>
                    <a:pt x="270312" y="115291"/>
                    <a:pt x="262153" y="120730"/>
                  </a:cubicBezTo>
                  <a:cubicBezTo>
                    <a:pt x="259433" y="123450"/>
                    <a:pt x="256713" y="126170"/>
                    <a:pt x="251274" y="131609"/>
                  </a:cubicBezTo>
                  <a:cubicBezTo>
                    <a:pt x="248554" y="134329"/>
                    <a:pt x="243115" y="137048"/>
                    <a:pt x="240395" y="139768"/>
                  </a:cubicBezTo>
                  <a:cubicBezTo>
                    <a:pt x="237676" y="145207"/>
                    <a:pt x="240395" y="156086"/>
                    <a:pt x="237676" y="164245"/>
                  </a:cubicBezTo>
                  <a:cubicBezTo>
                    <a:pt x="232236" y="175123"/>
                    <a:pt x="229517" y="186002"/>
                    <a:pt x="226797" y="196881"/>
                  </a:cubicBezTo>
                  <a:cubicBezTo>
                    <a:pt x="221358" y="218638"/>
                    <a:pt x="218638" y="237675"/>
                    <a:pt x="213199" y="259433"/>
                  </a:cubicBezTo>
                  <a:cubicBezTo>
                    <a:pt x="210479" y="281190"/>
                    <a:pt x="207759" y="302947"/>
                    <a:pt x="207759" y="324704"/>
                  </a:cubicBezTo>
                  <a:cubicBezTo>
                    <a:pt x="207759" y="327424"/>
                    <a:pt x="207759" y="332863"/>
                    <a:pt x="207759" y="335583"/>
                  </a:cubicBezTo>
                  <a:cubicBezTo>
                    <a:pt x="207759" y="341022"/>
                    <a:pt x="205040" y="343742"/>
                    <a:pt x="205040" y="349181"/>
                  </a:cubicBezTo>
                  <a:cubicBezTo>
                    <a:pt x="205040" y="354621"/>
                    <a:pt x="207759" y="362779"/>
                    <a:pt x="207759" y="368219"/>
                  </a:cubicBezTo>
                  <a:cubicBezTo>
                    <a:pt x="207759" y="370939"/>
                    <a:pt x="207759" y="373658"/>
                    <a:pt x="207759" y="376378"/>
                  </a:cubicBezTo>
                  <a:cubicBezTo>
                    <a:pt x="205040" y="381817"/>
                    <a:pt x="205040" y="384537"/>
                    <a:pt x="205040" y="387256"/>
                  </a:cubicBezTo>
                  <a:cubicBezTo>
                    <a:pt x="205040" y="389976"/>
                    <a:pt x="205040" y="392696"/>
                    <a:pt x="205040" y="395415"/>
                  </a:cubicBezTo>
                  <a:cubicBezTo>
                    <a:pt x="205040" y="398135"/>
                    <a:pt x="205040" y="403574"/>
                    <a:pt x="205040" y="406294"/>
                  </a:cubicBezTo>
                  <a:cubicBezTo>
                    <a:pt x="205040" y="411733"/>
                    <a:pt x="205040" y="417173"/>
                    <a:pt x="205040" y="425332"/>
                  </a:cubicBezTo>
                  <a:cubicBezTo>
                    <a:pt x="205040" y="449809"/>
                    <a:pt x="213199" y="471566"/>
                    <a:pt x="213199" y="493323"/>
                  </a:cubicBezTo>
                  <a:cubicBezTo>
                    <a:pt x="213199" y="517800"/>
                    <a:pt x="215919" y="539557"/>
                    <a:pt x="221358" y="561314"/>
                  </a:cubicBezTo>
                  <a:cubicBezTo>
                    <a:pt x="224077" y="572193"/>
                    <a:pt x="224077" y="580352"/>
                    <a:pt x="226797" y="591231"/>
                  </a:cubicBezTo>
                  <a:cubicBezTo>
                    <a:pt x="229517" y="599390"/>
                    <a:pt x="237676" y="607548"/>
                    <a:pt x="240395" y="618427"/>
                  </a:cubicBezTo>
                  <a:cubicBezTo>
                    <a:pt x="248554" y="637465"/>
                    <a:pt x="262153" y="651063"/>
                    <a:pt x="283910" y="651063"/>
                  </a:cubicBezTo>
                  <a:cubicBezTo>
                    <a:pt x="302948" y="651063"/>
                    <a:pt x="330144" y="629306"/>
                    <a:pt x="338303" y="612988"/>
                  </a:cubicBezTo>
                  <a:cubicBezTo>
                    <a:pt x="346462" y="599390"/>
                    <a:pt x="351901" y="591231"/>
                    <a:pt x="354621" y="577632"/>
                  </a:cubicBezTo>
                  <a:cubicBezTo>
                    <a:pt x="354621" y="550436"/>
                    <a:pt x="354621" y="517800"/>
                    <a:pt x="357341" y="509641"/>
                  </a:cubicBezTo>
                  <a:cubicBezTo>
                    <a:pt x="357341" y="501482"/>
                    <a:pt x="357341" y="490603"/>
                    <a:pt x="362780" y="485164"/>
                  </a:cubicBezTo>
                  <a:cubicBezTo>
                    <a:pt x="365500" y="482444"/>
                    <a:pt x="365500" y="479725"/>
                    <a:pt x="368219" y="474286"/>
                  </a:cubicBezTo>
                  <a:cubicBezTo>
                    <a:pt x="370939" y="471566"/>
                    <a:pt x="373659" y="468846"/>
                    <a:pt x="376378" y="468846"/>
                  </a:cubicBezTo>
                  <a:cubicBezTo>
                    <a:pt x="379098" y="468846"/>
                    <a:pt x="381818" y="471566"/>
                    <a:pt x="384537" y="474286"/>
                  </a:cubicBezTo>
                  <a:cubicBezTo>
                    <a:pt x="387257" y="479725"/>
                    <a:pt x="389977" y="487884"/>
                    <a:pt x="392696" y="493323"/>
                  </a:cubicBezTo>
                  <a:cubicBezTo>
                    <a:pt x="392696" y="501482"/>
                    <a:pt x="395416" y="539557"/>
                    <a:pt x="395416" y="558595"/>
                  </a:cubicBezTo>
                  <a:cubicBezTo>
                    <a:pt x="395416" y="583072"/>
                    <a:pt x="395416" y="610268"/>
                    <a:pt x="398136" y="618427"/>
                  </a:cubicBezTo>
                  <a:cubicBezTo>
                    <a:pt x="398136" y="648343"/>
                    <a:pt x="400855" y="659222"/>
                    <a:pt x="400855" y="678260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/>
            </a:p>
          </p:txBody>
        </p:sp>
        <p:sp>
          <p:nvSpPr>
            <p:cNvPr id="45" name="Freeform: Shape 44">
              <a:extLst>
                <a:ext uri="{FF2B5EF4-FFF2-40B4-BE49-F238E27FC236}">
                  <a16:creationId xmlns:a16="http://schemas.microsoft.com/office/drawing/2014/main" id="{AC9E9740-267B-494C-8D33-85F618C926FA}"/>
                </a:ext>
              </a:extLst>
            </p:cNvPr>
            <p:cNvSpPr/>
            <p:nvPr/>
          </p:nvSpPr>
          <p:spPr>
            <a:xfrm>
              <a:off x="3829459" y="4200317"/>
              <a:ext cx="598325" cy="761503"/>
            </a:xfrm>
            <a:custGeom>
              <a:avLst/>
              <a:gdLst>
                <a:gd name="connsiteX0" fmla="*/ 360060 w 598324"/>
                <a:gd name="connsiteY0" fmla="*/ 332863 h 761503"/>
                <a:gd name="connsiteX1" fmla="*/ 341023 w 598324"/>
                <a:gd name="connsiteY1" fmla="*/ 370939 h 761503"/>
                <a:gd name="connsiteX2" fmla="*/ 376378 w 598324"/>
                <a:gd name="connsiteY2" fmla="*/ 389976 h 761503"/>
                <a:gd name="connsiteX3" fmla="*/ 425332 w 598324"/>
                <a:gd name="connsiteY3" fmla="*/ 433491 h 761503"/>
                <a:gd name="connsiteX4" fmla="*/ 438930 w 598324"/>
                <a:gd name="connsiteY4" fmla="*/ 463407 h 761503"/>
                <a:gd name="connsiteX5" fmla="*/ 449809 w 598324"/>
                <a:gd name="connsiteY5" fmla="*/ 498762 h 761503"/>
                <a:gd name="connsiteX6" fmla="*/ 457968 w 598324"/>
                <a:gd name="connsiteY6" fmla="*/ 528679 h 761503"/>
                <a:gd name="connsiteX7" fmla="*/ 466127 w 598324"/>
                <a:gd name="connsiteY7" fmla="*/ 564034 h 761503"/>
                <a:gd name="connsiteX8" fmla="*/ 471566 w 598324"/>
                <a:gd name="connsiteY8" fmla="*/ 593950 h 761503"/>
                <a:gd name="connsiteX9" fmla="*/ 479725 w 598324"/>
                <a:gd name="connsiteY9" fmla="*/ 607548 h 761503"/>
                <a:gd name="connsiteX10" fmla="*/ 487884 w 598324"/>
                <a:gd name="connsiteY10" fmla="*/ 623867 h 761503"/>
                <a:gd name="connsiteX11" fmla="*/ 501482 w 598324"/>
                <a:gd name="connsiteY11" fmla="*/ 651063 h 761503"/>
                <a:gd name="connsiteX12" fmla="*/ 523240 w 598324"/>
                <a:gd name="connsiteY12" fmla="*/ 670101 h 761503"/>
                <a:gd name="connsiteX13" fmla="*/ 534119 w 598324"/>
                <a:gd name="connsiteY13" fmla="*/ 686418 h 761503"/>
                <a:gd name="connsiteX14" fmla="*/ 531399 w 598324"/>
                <a:gd name="connsiteY14" fmla="*/ 694578 h 761503"/>
                <a:gd name="connsiteX15" fmla="*/ 498763 w 598324"/>
                <a:gd name="connsiteY15" fmla="*/ 708176 h 761503"/>
                <a:gd name="connsiteX16" fmla="*/ 449809 w 598324"/>
                <a:gd name="connsiteY16" fmla="*/ 700017 h 761503"/>
                <a:gd name="connsiteX17" fmla="*/ 400855 w 598324"/>
                <a:gd name="connsiteY17" fmla="*/ 667381 h 761503"/>
                <a:gd name="connsiteX18" fmla="*/ 381817 w 598324"/>
                <a:gd name="connsiteY18" fmla="*/ 642904 h 761503"/>
                <a:gd name="connsiteX19" fmla="*/ 368219 w 598324"/>
                <a:gd name="connsiteY19" fmla="*/ 610268 h 761503"/>
                <a:gd name="connsiteX20" fmla="*/ 349182 w 598324"/>
                <a:gd name="connsiteY20" fmla="*/ 550436 h 761503"/>
                <a:gd name="connsiteX21" fmla="*/ 338303 w 598324"/>
                <a:gd name="connsiteY21" fmla="*/ 504202 h 761503"/>
                <a:gd name="connsiteX22" fmla="*/ 330144 w 598324"/>
                <a:gd name="connsiteY22" fmla="*/ 477005 h 761503"/>
                <a:gd name="connsiteX23" fmla="*/ 321985 w 598324"/>
                <a:gd name="connsiteY23" fmla="*/ 455248 h 761503"/>
                <a:gd name="connsiteX24" fmla="*/ 305667 w 598324"/>
                <a:gd name="connsiteY24" fmla="*/ 436210 h 761503"/>
                <a:gd name="connsiteX25" fmla="*/ 294788 w 598324"/>
                <a:gd name="connsiteY25" fmla="*/ 441650 h 761503"/>
                <a:gd name="connsiteX26" fmla="*/ 278471 w 598324"/>
                <a:gd name="connsiteY26" fmla="*/ 463407 h 761503"/>
                <a:gd name="connsiteX27" fmla="*/ 264872 w 598324"/>
                <a:gd name="connsiteY27" fmla="*/ 496043 h 761503"/>
                <a:gd name="connsiteX28" fmla="*/ 262153 w 598324"/>
                <a:gd name="connsiteY28" fmla="*/ 517800 h 761503"/>
                <a:gd name="connsiteX29" fmla="*/ 262153 w 598324"/>
                <a:gd name="connsiteY29" fmla="*/ 523239 h 761503"/>
                <a:gd name="connsiteX30" fmla="*/ 262153 w 598324"/>
                <a:gd name="connsiteY30" fmla="*/ 553155 h 761503"/>
                <a:gd name="connsiteX31" fmla="*/ 262153 w 598324"/>
                <a:gd name="connsiteY31" fmla="*/ 629306 h 761503"/>
                <a:gd name="connsiteX32" fmla="*/ 259433 w 598324"/>
                <a:gd name="connsiteY32" fmla="*/ 659222 h 761503"/>
                <a:gd name="connsiteX33" fmla="*/ 283910 w 598324"/>
                <a:gd name="connsiteY33" fmla="*/ 659222 h 761503"/>
                <a:gd name="connsiteX34" fmla="*/ 321985 w 598324"/>
                <a:gd name="connsiteY34" fmla="*/ 675540 h 761503"/>
                <a:gd name="connsiteX35" fmla="*/ 316546 w 598324"/>
                <a:gd name="connsiteY35" fmla="*/ 691858 h 761503"/>
                <a:gd name="connsiteX36" fmla="*/ 300228 w 598324"/>
                <a:gd name="connsiteY36" fmla="*/ 700017 h 761503"/>
                <a:gd name="connsiteX37" fmla="*/ 278471 w 598324"/>
                <a:gd name="connsiteY37" fmla="*/ 702736 h 761503"/>
                <a:gd name="connsiteX38" fmla="*/ 243115 w 598324"/>
                <a:gd name="connsiteY38" fmla="*/ 702736 h 761503"/>
                <a:gd name="connsiteX39" fmla="*/ 221358 w 598324"/>
                <a:gd name="connsiteY39" fmla="*/ 710895 h 761503"/>
                <a:gd name="connsiteX40" fmla="*/ 194161 w 598324"/>
                <a:gd name="connsiteY40" fmla="*/ 702736 h 761503"/>
                <a:gd name="connsiteX41" fmla="*/ 177843 w 598324"/>
                <a:gd name="connsiteY41" fmla="*/ 702736 h 761503"/>
                <a:gd name="connsiteX42" fmla="*/ 126170 w 598324"/>
                <a:gd name="connsiteY42" fmla="*/ 702736 h 761503"/>
                <a:gd name="connsiteX43" fmla="*/ 101693 w 598324"/>
                <a:gd name="connsiteY43" fmla="*/ 702736 h 761503"/>
                <a:gd name="connsiteX44" fmla="*/ 74496 w 598324"/>
                <a:gd name="connsiteY44" fmla="*/ 697297 h 761503"/>
                <a:gd name="connsiteX45" fmla="*/ 58178 w 598324"/>
                <a:gd name="connsiteY45" fmla="*/ 680979 h 761503"/>
                <a:gd name="connsiteX46" fmla="*/ 63617 w 598324"/>
                <a:gd name="connsiteY46" fmla="*/ 672820 h 761503"/>
                <a:gd name="connsiteX47" fmla="*/ 85375 w 598324"/>
                <a:gd name="connsiteY47" fmla="*/ 664661 h 761503"/>
                <a:gd name="connsiteX48" fmla="*/ 128889 w 598324"/>
                <a:gd name="connsiteY48" fmla="*/ 659222 h 761503"/>
                <a:gd name="connsiteX49" fmla="*/ 147927 w 598324"/>
                <a:gd name="connsiteY49" fmla="*/ 659222 h 761503"/>
                <a:gd name="connsiteX50" fmla="*/ 145207 w 598324"/>
                <a:gd name="connsiteY50" fmla="*/ 653783 h 761503"/>
                <a:gd name="connsiteX51" fmla="*/ 131609 w 598324"/>
                <a:gd name="connsiteY51" fmla="*/ 585791 h 761503"/>
                <a:gd name="connsiteX52" fmla="*/ 134329 w 598324"/>
                <a:gd name="connsiteY52" fmla="*/ 498762 h 761503"/>
                <a:gd name="connsiteX53" fmla="*/ 137048 w 598324"/>
                <a:gd name="connsiteY53" fmla="*/ 406294 h 761503"/>
                <a:gd name="connsiteX54" fmla="*/ 134329 w 598324"/>
                <a:gd name="connsiteY54" fmla="*/ 327424 h 761503"/>
                <a:gd name="connsiteX55" fmla="*/ 137048 w 598324"/>
                <a:gd name="connsiteY55" fmla="*/ 253993 h 761503"/>
                <a:gd name="connsiteX56" fmla="*/ 139768 w 598324"/>
                <a:gd name="connsiteY56" fmla="*/ 207759 h 761503"/>
                <a:gd name="connsiteX57" fmla="*/ 137048 w 598324"/>
                <a:gd name="connsiteY57" fmla="*/ 172404 h 761503"/>
                <a:gd name="connsiteX58" fmla="*/ 137048 w 598324"/>
                <a:gd name="connsiteY58" fmla="*/ 112571 h 761503"/>
                <a:gd name="connsiteX59" fmla="*/ 126170 w 598324"/>
                <a:gd name="connsiteY59" fmla="*/ 112571 h 761503"/>
                <a:gd name="connsiteX60" fmla="*/ 101693 w 598324"/>
                <a:gd name="connsiteY60" fmla="*/ 112571 h 761503"/>
                <a:gd name="connsiteX61" fmla="*/ 74496 w 598324"/>
                <a:gd name="connsiteY61" fmla="*/ 107132 h 761503"/>
                <a:gd name="connsiteX62" fmla="*/ 58178 w 598324"/>
                <a:gd name="connsiteY62" fmla="*/ 90814 h 761503"/>
                <a:gd name="connsiteX63" fmla="*/ 63617 w 598324"/>
                <a:gd name="connsiteY63" fmla="*/ 82655 h 761503"/>
                <a:gd name="connsiteX64" fmla="*/ 85375 w 598324"/>
                <a:gd name="connsiteY64" fmla="*/ 74496 h 761503"/>
                <a:gd name="connsiteX65" fmla="*/ 137048 w 598324"/>
                <a:gd name="connsiteY65" fmla="*/ 69057 h 761503"/>
                <a:gd name="connsiteX66" fmla="*/ 145207 w 598324"/>
                <a:gd name="connsiteY66" fmla="*/ 69057 h 761503"/>
                <a:gd name="connsiteX67" fmla="*/ 169684 w 598324"/>
                <a:gd name="connsiteY67" fmla="*/ 58178 h 761503"/>
                <a:gd name="connsiteX68" fmla="*/ 177843 w 598324"/>
                <a:gd name="connsiteY68" fmla="*/ 58178 h 761503"/>
                <a:gd name="connsiteX69" fmla="*/ 205040 w 598324"/>
                <a:gd name="connsiteY69" fmla="*/ 66337 h 761503"/>
                <a:gd name="connsiteX70" fmla="*/ 286629 w 598324"/>
                <a:gd name="connsiteY70" fmla="*/ 63617 h 761503"/>
                <a:gd name="connsiteX71" fmla="*/ 324705 w 598324"/>
                <a:gd name="connsiteY71" fmla="*/ 79936 h 761503"/>
                <a:gd name="connsiteX72" fmla="*/ 319265 w 598324"/>
                <a:gd name="connsiteY72" fmla="*/ 96253 h 761503"/>
                <a:gd name="connsiteX73" fmla="*/ 302948 w 598324"/>
                <a:gd name="connsiteY73" fmla="*/ 104412 h 761503"/>
                <a:gd name="connsiteX74" fmla="*/ 278471 w 598324"/>
                <a:gd name="connsiteY74" fmla="*/ 112571 h 761503"/>
                <a:gd name="connsiteX75" fmla="*/ 232236 w 598324"/>
                <a:gd name="connsiteY75" fmla="*/ 112571 h 761503"/>
                <a:gd name="connsiteX76" fmla="*/ 240395 w 598324"/>
                <a:gd name="connsiteY76" fmla="*/ 137048 h 761503"/>
                <a:gd name="connsiteX77" fmla="*/ 240395 w 598324"/>
                <a:gd name="connsiteY77" fmla="*/ 150647 h 761503"/>
                <a:gd name="connsiteX78" fmla="*/ 243115 w 598324"/>
                <a:gd name="connsiteY78" fmla="*/ 158805 h 761503"/>
                <a:gd name="connsiteX79" fmla="*/ 248554 w 598324"/>
                <a:gd name="connsiteY79" fmla="*/ 188722 h 761503"/>
                <a:gd name="connsiteX80" fmla="*/ 248554 w 598324"/>
                <a:gd name="connsiteY80" fmla="*/ 199600 h 761503"/>
                <a:gd name="connsiteX81" fmla="*/ 248554 w 598324"/>
                <a:gd name="connsiteY81" fmla="*/ 221357 h 761503"/>
                <a:gd name="connsiteX82" fmla="*/ 253994 w 598324"/>
                <a:gd name="connsiteY82" fmla="*/ 264872 h 761503"/>
                <a:gd name="connsiteX83" fmla="*/ 262153 w 598324"/>
                <a:gd name="connsiteY83" fmla="*/ 297508 h 761503"/>
                <a:gd name="connsiteX84" fmla="*/ 264872 w 598324"/>
                <a:gd name="connsiteY84" fmla="*/ 324704 h 761503"/>
                <a:gd name="connsiteX85" fmla="*/ 264872 w 598324"/>
                <a:gd name="connsiteY85" fmla="*/ 332863 h 761503"/>
                <a:gd name="connsiteX86" fmla="*/ 264872 w 598324"/>
                <a:gd name="connsiteY86" fmla="*/ 351901 h 761503"/>
                <a:gd name="connsiteX87" fmla="*/ 262153 w 598324"/>
                <a:gd name="connsiteY87" fmla="*/ 370939 h 761503"/>
                <a:gd name="connsiteX88" fmla="*/ 267592 w 598324"/>
                <a:gd name="connsiteY88" fmla="*/ 384537 h 761503"/>
                <a:gd name="connsiteX89" fmla="*/ 278471 w 598324"/>
                <a:gd name="connsiteY89" fmla="*/ 370939 h 761503"/>
                <a:gd name="connsiteX90" fmla="*/ 297508 w 598324"/>
                <a:gd name="connsiteY90" fmla="*/ 332863 h 761503"/>
                <a:gd name="connsiteX91" fmla="*/ 311106 w 598324"/>
                <a:gd name="connsiteY91" fmla="*/ 305667 h 761503"/>
                <a:gd name="connsiteX92" fmla="*/ 335583 w 598324"/>
                <a:gd name="connsiteY92" fmla="*/ 259433 h 761503"/>
                <a:gd name="connsiteX93" fmla="*/ 354621 w 598324"/>
                <a:gd name="connsiteY93" fmla="*/ 224077 h 761503"/>
                <a:gd name="connsiteX94" fmla="*/ 381817 w 598324"/>
                <a:gd name="connsiteY94" fmla="*/ 172404 h 761503"/>
                <a:gd name="connsiteX95" fmla="*/ 409014 w 598324"/>
                <a:gd name="connsiteY95" fmla="*/ 118011 h 761503"/>
                <a:gd name="connsiteX96" fmla="*/ 411734 w 598324"/>
                <a:gd name="connsiteY96" fmla="*/ 115291 h 761503"/>
                <a:gd name="connsiteX97" fmla="*/ 398136 w 598324"/>
                <a:gd name="connsiteY97" fmla="*/ 115291 h 761503"/>
                <a:gd name="connsiteX98" fmla="*/ 379098 w 598324"/>
                <a:gd name="connsiteY98" fmla="*/ 109852 h 761503"/>
                <a:gd name="connsiteX99" fmla="*/ 368219 w 598324"/>
                <a:gd name="connsiteY99" fmla="*/ 93534 h 761503"/>
                <a:gd name="connsiteX100" fmla="*/ 370939 w 598324"/>
                <a:gd name="connsiteY100" fmla="*/ 85375 h 761503"/>
                <a:gd name="connsiteX101" fmla="*/ 387257 w 598324"/>
                <a:gd name="connsiteY101" fmla="*/ 77216 h 761503"/>
                <a:gd name="connsiteX102" fmla="*/ 422612 w 598324"/>
                <a:gd name="connsiteY102" fmla="*/ 71776 h 761503"/>
                <a:gd name="connsiteX103" fmla="*/ 436211 w 598324"/>
                <a:gd name="connsiteY103" fmla="*/ 71776 h 761503"/>
                <a:gd name="connsiteX104" fmla="*/ 438930 w 598324"/>
                <a:gd name="connsiteY104" fmla="*/ 69057 h 761503"/>
                <a:gd name="connsiteX105" fmla="*/ 452529 w 598324"/>
                <a:gd name="connsiteY105" fmla="*/ 66337 h 761503"/>
                <a:gd name="connsiteX106" fmla="*/ 466127 w 598324"/>
                <a:gd name="connsiteY106" fmla="*/ 69057 h 761503"/>
                <a:gd name="connsiteX107" fmla="*/ 471566 w 598324"/>
                <a:gd name="connsiteY107" fmla="*/ 71776 h 761503"/>
                <a:gd name="connsiteX108" fmla="*/ 515081 w 598324"/>
                <a:gd name="connsiteY108" fmla="*/ 71776 h 761503"/>
                <a:gd name="connsiteX109" fmla="*/ 542277 w 598324"/>
                <a:gd name="connsiteY109" fmla="*/ 88094 h 761503"/>
                <a:gd name="connsiteX110" fmla="*/ 536838 w 598324"/>
                <a:gd name="connsiteY110" fmla="*/ 104412 h 761503"/>
                <a:gd name="connsiteX111" fmla="*/ 525959 w 598324"/>
                <a:gd name="connsiteY111" fmla="*/ 112571 h 761503"/>
                <a:gd name="connsiteX112" fmla="*/ 509642 w 598324"/>
                <a:gd name="connsiteY112" fmla="*/ 115291 h 761503"/>
                <a:gd name="connsiteX113" fmla="*/ 468847 w 598324"/>
                <a:gd name="connsiteY113" fmla="*/ 115291 h 761503"/>
                <a:gd name="connsiteX114" fmla="*/ 457968 w 598324"/>
                <a:gd name="connsiteY114" fmla="*/ 137048 h 761503"/>
                <a:gd name="connsiteX115" fmla="*/ 430771 w 598324"/>
                <a:gd name="connsiteY115" fmla="*/ 194161 h 761503"/>
                <a:gd name="connsiteX116" fmla="*/ 400855 w 598324"/>
                <a:gd name="connsiteY116" fmla="*/ 262152 h 761503"/>
                <a:gd name="connsiteX117" fmla="*/ 360060 w 598324"/>
                <a:gd name="connsiteY117" fmla="*/ 332863 h 761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</a:cxnLst>
              <a:rect l="l" t="t" r="r" b="b"/>
              <a:pathLst>
                <a:path w="598324" h="761503">
                  <a:moveTo>
                    <a:pt x="360060" y="332863"/>
                  </a:moveTo>
                  <a:cubicBezTo>
                    <a:pt x="351901" y="343742"/>
                    <a:pt x="341023" y="357340"/>
                    <a:pt x="341023" y="370939"/>
                  </a:cubicBezTo>
                  <a:cubicBezTo>
                    <a:pt x="341023" y="379098"/>
                    <a:pt x="357341" y="381817"/>
                    <a:pt x="376378" y="389976"/>
                  </a:cubicBezTo>
                  <a:cubicBezTo>
                    <a:pt x="395416" y="398135"/>
                    <a:pt x="417173" y="417173"/>
                    <a:pt x="425332" y="433491"/>
                  </a:cubicBezTo>
                  <a:cubicBezTo>
                    <a:pt x="430771" y="444369"/>
                    <a:pt x="436211" y="452528"/>
                    <a:pt x="438930" y="463407"/>
                  </a:cubicBezTo>
                  <a:cubicBezTo>
                    <a:pt x="444370" y="474286"/>
                    <a:pt x="447089" y="487884"/>
                    <a:pt x="449809" y="498762"/>
                  </a:cubicBezTo>
                  <a:cubicBezTo>
                    <a:pt x="452529" y="512361"/>
                    <a:pt x="452529" y="517800"/>
                    <a:pt x="457968" y="528679"/>
                  </a:cubicBezTo>
                  <a:cubicBezTo>
                    <a:pt x="463407" y="539557"/>
                    <a:pt x="463407" y="553155"/>
                    <a:pt x="466127" y="564034"/>
                  </a:cubicBezTo>
                  <a:cubicBezTo>
                    <a:pt x="468847" y="572193"/>
                    <a:pt x="468847" y="585791"/>
                    <a:pt x="471566" y="593950"/>
                  </a:cubicBezTo>
                  <a:cubicBezTo>
                    <a:pt x="474286" y="599390"/>
                    <a:pt x="477006" y="602109"/>
                    <a:pt x="479725" y="607548"/>
                  </a:cubicBezTo>
                  <a:cubicBezTo>
                    <a:pt x="482445" y="612988"/>
                    <a:pt x="487884" y="618427"/>
                    <a:pt x="487884" y="623867"/>
                  </a:cubicBezTo>
                  <a:cubicBezTo>
                    <a:pt x="490604" y="634745"/>
                    <a:pt x="496043" y="642904"/>
                    <a:pt x="501482" y="651063"/>
                  </a:cubicBezTo>
                  <a:cubicBezTo>
                    <a:pt x="506922" y="661942"/>
                    <a:pt x="512361" y="664661"/>
                    <a:pt x="523240" y="670101"/>
                  </a:cubicBezTo>
                  <a:cubicBezTo>
                    <a:pt x="528679" y="672820"/>
                    <a:pt x="534119" y="680979"/>
                    <a:pt x="534119" y="686418"/>
                  </a:cubicBezTo>
                  <a:cubicBezTo>
                    <a:pt x="534119" y="689138"/>
                    <a:pt x="534119" y="691858"/>
                    <a:pt x="531399" y="694578"/>
                  </a:cubicBezTo>
                  <a:cubicBezTo>
                    <a:pt x="525959" y="702736"/>
                    <a:pt x="512361" y="708176"/>
                    <a:pt x="498763" y="708176"/>
                  </a:cubicBezTo>
                  <a:cubicBezTo>
                    <a:pt x="485165" y="708176"/>
                    <a:pt x="466127" y="705456"/>
                    <a:pt x="449809" y="700017"/>
                  </a:cubicBezTo>
                  <a:cubicBezTo>
                    <a:pt x="430771" y="694578"/>
                    <a:pt x="409014" y="675540"/>
                    <a:pt x="400855" y="667381"/>
                  </a:cubicBezTo>
                  <a:cubicBezTo>
                    <a:pt x="392696" y="659222"/>
                    <a:pt x="387257" y="651063"/>
                    <a:pt x="381817" y="642904"/>
                  </a:cubicBezTo>
                  <a:cubicBezTo>
                    <a:pt x="376378" y="632025"/>
                    <a:pt x="370939" y="623867"/>
                    <a:pt x="368219" y="610268"/>
                  </a:cubicBezTo>
                  <a:cubicBezTo>
                    <a:pt x="360060" y="588511"/>
                    <a:pt x="357341" y="574913"/>
                    <a:pt x="349182" y="550436"/>
                  </a:cubicBezTo>
                  <a:cubicBezTo>
                    <a:pt x="343742" y="534118"/>
                    <a:pt x="341023" y="520520"/>
                    <a:pt x="338303" y="504202"/>
                  </a:cubicBezTo>
                  <a:cubicBezTo>
                    <a:pt x="335583" y="493323"/>
                    <a:pt x="332864" y="485164"/>
                    <a:pt x="330144" y="477005"/>
                  </a:cubicBezTo>
                  <a:cubicBezTo>
                    <a:pt x="327424" y="471566"/>
                    <a:pt x="324705" y="463407"/>
                    <a:pt x="321985" y="455248"/>
                  </a:cubicBezTo>
                  <a:cubicBezTo>
                    <a:pt x="316546" y="444369"/>
                    <a:pt x="311106" y="436210"/>
                    <a:pt x="305667" y="436210"/>
                  </a:cubicBezTo>
                  <a:cubicBezTo>
                    <a:pt x="302948" y="436210"/>
                    <a:pt x="300228" y="438930"/>
                    <a:pt x="294788" y="441650"/>
                  </a:cubicBezTo>
                  <a:cubicBezTo>
                    <a:pt x="289349" y="447089"/>
                    <a:pt x="283910" y="455248"/>
                    <a:pt x="278471" y="463407"/>
                  </a:cubicBezTo>
                  <a:cubicBezTo>
                    <a:pt x="270312" y="474286"/>
                    <a:pt x="267592" y="485164"/>
                    <a:pt x="264872" y="496043"/>
                  </a:cubicBezTo>
                  <a:cubicBezTo>
                    <a:pt x="264872" y="504202"/>
                    <a:pt x="262153" y="512361"/>
                    <a:pt x="262153" y="517800"/>
                  </a:cubicBezTo>
                  <a:cubicBezTo>
                    <a:pt x="262153" y="520520"/>
                    <a:pt x="262153" y="520520"/>
                    <a:pt x="262153" y="523239"/>
                  </a:cubicBezTo>
                  <a:cubicBezTo>
                    <a:pt x="262153" y="528679"/>
                    <a:pt x="262153" y="544997"/>
                    <a:pt x="262153" y="553155"/>
                  </a:cubicBezTo>
                  <a:cubicBezTo>
                    <a:pt x="262153" y="583072"/>
                    <a:pt x="264872" y="599390"/>
                    <a:pt x="262153" y="629306"/>
                  </a:cubicBezTo>
                  <a:cubicBezTo>
                    <a:pt x="262153" y="640184"/>
                    <a:pt x="262153" y="648343"/>
                    <a:pt x="259433" y="659222"/>
                  </a:cubicBezTo>
                  <a:cubicBezTo>
                    <a:pt x="270312" y="659222"/>
                    <a:pt x="278471" y="659222"/>
                    <a:pt x="283910" y="659222"/>
                  </a:cubicBezTo>
                  <a:cubicBezTo>
                    <a:pt x="297508" y="659222"/>
                    <a:pt x="321985" y="659222"/>
                    <a:pt x="321985" y="675540"/>
                  </a:cubicBezTo>
                  <a:cubicBezTo>
                    <a:pt x="321985" y="683699"/>
                    <a:pt x="319265" y="686418"/>
                    <a:pt x="316546" y="691858"/>
                  </a:cubicBezTo>
                  <a:cubicBezTo>
                    <a:pt x="311106" y="697297"/>
                    <a:pt x="305667" y="700017"/>
                    <a:pt x="300228" y="700017"/>
                  </a:cubicBezTo>
                  <a:cubicBezTo>
                    <a:pt x="292069" y="702736"/>
                    <a:pt x="283910" y="702736"/>
                    <a:pt x="278471" y="702736"/>
                  </a:cubicBezTo>
                  <a:cubicBezTo>
                    <a:pt x="275751" y="702736"/>
                    <a:pt x="259433" y="702736"/>
                    <a:pt x="243115" y="702736"/>
                  </a:cubicBezTo>
                  <a:cubicBezTo>
                    <a:pt x="237676" y="708176"/>
                    <a:pt x="229517" y="710895"/>
                    <a:pt x="221358" y="710895"/>
                  </a:cubicBezTo>
                  <a:cubicBezTo>
                    <a:pt x="213199" y="710895"/>
                    <a:pt x="202320" y="708176"/>
                    <a:pt x="194161" y="702736"/>
                  </a:cubicBezTo>
                  <a:cubicBezTo>
                    <a:pt x="186002" y="702736"/>
                    <a:pt x="180563" y="702736"/>
                    <a:pt x="177843" y="702736"/>
                  </a:cubicBezTo>
                  <a:cubicBezTo>
                    <a:pt x="164245" y="702736"/>
                    <a:pt x="139768" y="702736"/>
                    <a:pt x="126170" y="702736"/>
                  </a:cubicBezTo>
                  <a:cubicBezTo>
                    <a:pt x="118011" y="702736"/>
                    <a:pt x="109852" y="702736"/>
                    <a:pt x="101693" y="702736"/>
                  </a:cubicBezTo>
                  <a:cubicBezTo>
                    <a:pt x="93534" y="702736"/>
                    <a:pt x="82655" y="702736"/>
                    <a:pt x="74496" y="697297"/>
                  </a:cubicBezTo>
                  <a:cubicBezTo>
                    <a:pt x="66337" y="694578"/>
                    <a:pt x="58178" y="686418"/>
                    <a:pt x="58178" y="680979"/>
                  </a:cubicBezTo>
                  <a:cubicBezTo>
                    <a:pt x="58178" y="678260"/>
                    <a:pt x="58178" y="675540"/>
                    <a:pt x="63617" y="672820"/>
                  </a:cubicBezTo>
                  <a:cubicBezTo>
                    <a:pt x="69057" y="670101"/>
                    <a:pt x="79935" y="667381"/>
                    <a:pt x="85375" y="664661"/>
                  </a:cubicBezTo>
                  <a:cubicBezTo>
                    <a:pt x="104412" y="661942"/>
                    <a:pt x="123450" y="659222"/>
                    <a:pt x="128889" y="659222"/>
                  </a:cubicBezTo>
                  <a:cubicBezTo>
                    <a:pt x="134329" y="659222"/>
                    <a:pt x="139768" y="659222"/>
                    <a:pt x="147927" y="659222"/>
                  </a:cubicBezTo>
                  <a:cubicBezTo>
                    <a:pt x="147927" y="656502"/>
                    <a:pt x="145207" y="653783"/>
                    <a:pt x="145207" y="653783"/>
                  </a:cubicBezTo>
                  <a:cubicBezTo>
                    <a:pt x="131609" y="632025"/>
                    <a:pt x="131609" y="610268"/>
                    <a:pt x="131609" y="585791"/>
                  </a:cubicBezTo>
                  <a:cubicBezTo>
                    <a:pt x="131609" y="555875"/>
                    <a:pt x="131609" y="528679"/>
                    <a:pt x="134329" y="498762"/>
                  </a:cubicBezTo>
                  <a:cubicBezTo>
                    <a:pt x="134329" y="468846"/>
                    <a:pt x="137048" y="436210"/>
                    <a:pt x="137048" y="406294"/>
                  </a:cubicBezTo>
                  <a:cubicBezTo>
                    <a:pt x="137048" y="379098"/>
                    <a:pt x="134329" y="354621"/>
                    <a:pt x="134329" y="327424"/>
                  </a:cubicBezTo>
                  <a:cubicBezTo>
                    <a:pt x="134329" y="302947"/>
                    <a:pt x="137048" y="278470"/>
                    <a:pt x="137048" y="253993"/>
                  </a:cubicBezTo>
                  <a:cubicBezTo>
                    <a:pt x="137048" y="237675"/>
                    <a:pt x="139768" y="224077"/>
                    <a:pt x="139768" y="207759"/>
                  </a:cubicBezTo>
                  <a:cubicBezTo>
                    <a:pt x="139768" y="196881"/>
                    <a:pt x="137048" y="183282"/>
                    <a:pt x="137048" y="172404"/>
                  </a:cubicBezTo>
                  <a:cubicBezTo>
                    <a:pt x="137048" y="150647"/>
                    <a:pt x="137048" y="131609"/>
                    <a:pt x="137048" y="112571"/>
                  </a:cubicBezTo>
                  <a:cubicBezTo>
                    <a:pt x="134329" y="112571"/>
                    <a:pt x="137048" y="112571"/>
                    <a:pt x="126170" y="112571"/>
                  </a:cubicBezTo>
                  <a:cubicBezTo>
                    <a:pt x="118011" y="112571"/>
                    <a:pt x="109852" y="112571"/>
                    <a:pt x="101693" y="112571"/>
                  </a:cubicBezTo>
                  <a:cubicBezTo>
                    <a:pt x="93534" y="112571"/>
                    <a:pt x="82655" y="109852"/>
                    <a:pt x="74496" y="107132"/>
                  </a:cubicBezTo>
                  <a:cubicBezTo>
                    <a:pt x="66337" y="104412"/>
                    <a:pt x="58178" y="96253"/>
                    <a:pt x="58178" y="90814"/>
                  </a:cubicBezTo>
                  <a:cubicBezTo>
                    <a:pt x="58178" y="88094"/>
                    <a:pt x="58178" y="85375"/>
                    <a:pt x="63617" y="82655"/>
                  </a:cubicBezTo>
                  <a:cubicBezTo>
                    <a:pt x="69057" y="79936"/>
                    <a:pt x="79935" y="77216"/>
                    <a:pt x="85375" y="74496"/>
                  </a:cubicBezTo>
                  <a:cubicBezTo>
                    <a:pt x="104412" y="71776"/>
                    <a:pt x="128889" y="69057"/>
                    <a:pt x="137048" y="69057"/>
                  </a:cubicBezTo>
                  <a:cubicBezTo>
                    <a:pt x="137048" y="69057"/>
                    <a:pt x="139768" y="69057"/>
                    <a:pt x="145207" y="69057"/>
                  </a:cubicBezTo>
                  <a:cubicBezTo>
                    <a:pt x="150646" y="60898"/>
                    <a:pt x="158806" y="58178"/>
                    <a:pt x="169684" y="58178"/>
                  </a:cubicBezTo>
                  <a:cubicBezTo>
                    <a:pt x="172404" y="58178"/>
                    <a:pt x="175123" y="58178"/>
                    <a:pt x="177843" y="58178"/>
                  </a:cubicBezTo>
                  <a:cubicBezTo>
                    <a:pt x="186002" y="58178"/>
                    <a:pt x="196881" y="63617"/>
                    <a:pt x="205040" y="66337"/>
                  </a:cubicBezTo>
                  <a:cubicBezTo>
                    <a:pt x="237676" y="66337"/>
                    <a:pt x="273031" y="63617"/>
                    <a:pt x="286629" y="63617"/>
                  </a:cubicBezTo>
                  <a:cubicBezTo>
                    <a:pt x="300228" y="63617"/>
                    <a:pt x="324705" y="63617"/>
                    <a:pt x="324705" y="79936"/>
                  </a:cubicBezTo>
                  <a:cubicBezTo>
                    <a:pt x="324705" y="88094"/>
                    <a:pt x="321985" y="90814"/>
                    <a:pt x="319265" y="96253"/>
                  </a:cubicBezTo>
                  <a:cubicBezTo>
                    <a:pt x="313826" y="101693"/>
                    <a:pt x="308387" y="104412"/>
                    <a:pt x="302948" y="104412"/>
                  </a:cubicBezTo>
                  <a:cubicBezTo>
                    <a:pt x="289349" y="112571"/>
                    <a:pt x="283910" y="112571"/>
                    <a:pt x="278471" y="112571"/>
                  </a:cubicBezTo>
                  <a:cubicBezTo>
                    <a:pt x="273031" y="112571"/>
                    <a:pt x="253994" y="112571"/>
                    <a:pt x="232236" y="112571"/>
                  </a:cubicBezTo>
                  <a:cubicBezTo>
                    <a:pt x="237676" y="120730"/>
                    <a:pt x="240395" y="128889"/>
                    <a:pt x="240395" y="137048"/>
                  </a:cubicBezTo>
                  <a:cubicBezTo>
                    <a:pt x="240395" y="142487"/>
                    <a:pt x="240395" y="145207"/>
                    <a:pt x="240395" y="150647"/>
                  </a:cubicBezTo>
                  <a:cubicBezTo>
                    <a:pt x="240395" y="153366"/>
                    <a:pt x="240395" y="156086"/>
                    <a:pt x="243115" y="158805"/>
                  </a:cubicBezTo>
                  <a:cubicBezTo>
                    <a:pt x="245835" y="169684"/>
                    <a:pt x="245835" y="180563"/>
                    <a:pt x="248554" y="188722"/>
                  </a:cubicBezTo>
                  <a:cubicBezTo>
                    <a:pt x="248554" y="191441"/>
                    <a:pt x="248554" y="194161"/>
                    <a:pt x="248554" y="199600"/>
                  </a:cubicBezTo>
                  <a:cubicBezTo>
                    <a:pt x="248554" y="207759"/>
                    <a:pt x="248554" y="213198"/>
                    <a:pt x="248554" y="221357"/>
                  </a:cubicBezTo>
                  <a:cubicBezTo>
                    <a:pt x="248554" y="234956"/>
                    <a:pt x="251274" y="248554"/>
                    <a:pt x="253994" y="264872"/>
                  </a:cubicBezTo>
                  <a:cubicBezTo>
                    <a:pt x="256713" y="275751"/>
                    <a:pt x="259433" y="286629"/>
                    <a:pt x="262153" y="297508"/>
                  </a:cubicBezTo>
                  <a:cubicBezTo>
                    <a:pt x="264872" y="305667"/>
                    <a:pt x="264872" y="313826"/>
                    <a:pt x="264872" y="324704"/>
                  </a:cubicBezTo>
                  <a:cubicBezTo>
                    <a:pt x="264872" y="327424"/>
                    <a:pt x="264872" y="330144"/>
                    <a:pt x="264872" y="332863"/>
                  </a:cubicBezTo>
                  <a:cubicBezTo>
                    <a:pt x="264872" y="338303"/>
                    <a:pt x="264872" y="346462"/>
                    <a:pt x="264872" y="351901"/>
                  </a:cubicBezTo>
                  <a:cubicBezTo>
                    <a:pt x="264872" y="357340"/>
                    <a:pt x="262153" y="365499"/>
                    <a:pt x="262153" y="370939"/>
                  </a:cubicBezTo>
                  <a:cubicBezTo>
                    <a:pt x="262153" y="376378"/>
                    <a:pt x="264872" y="384537"/>
                    <a:pt x="267592" y="384537"/>
                  </a:cubicBezTo>
                  <a:cubicBezTo>
                    <a:pt x="273031" y="384537"/>
                    <a:pt x="275751" y="376378"/>
                    <a:pt x="278471" y="370939"/>
                  </a:cubicBezTo>
                  <a:cubicBezTo>
                    <a:pt x="283910" y="360060"/>
                    <a:pt x="289349" y="346462"/>
                    <a:pt x="297508" y="332863"/>
                  </a:cubicBezTo>
                  <a:cubicBezTo>
                    <a:pt x="302948" y="324704"/>
                    <a:pt x="305667" y="313826"/>
                    <a:pt x="311106" y="305667"/>
                  </a:cubicBezTo>
                  <a:cubicBezTo>
                    <a:pt x="319265" y="289349"/>
                    <a:pt x="327424" y="275751"/>
                    <a:pt x="335583" y="259433"/>
                  </a:cubicBezTo>
                  <a:cubicBezTo>
                    <a:pt x="341023" y="248554"/>
                    <a:pt x="349182" y="234956"/>
                    <a:pt x="354621" y="224077"/>
                  </a:cubicBezTo>
                  <a:cubicBezTo>
                    <a:pt x="362780" y="207759"/>
                    <a:pt x="370939" y="191441"/>
                    <a:pt x="381817" y="172404"/>
                  </a:cubicBezTo>
                  <a:cubicBezTo>
                    <a:pt x="389977" y="153366"/>
                    <a:pt x="400855" y="134329"/>
                    <a:pt x="409014" y="118011"/>
                  </a:cubicBezTo>
                  <a:cubicBezTo>
                    <a:pt x="409014" y="115291"/>
                    <a:pt x="409014" y="115291"/>
                    <a:pt x="411734" y="115291"/>
                  </a:cubicBezTo>
                  <a:cubicBezTo>
                    <a:pt x="406294" y="115291"/>
                    <a:pt x="400855" y="115291"/>
                    <a:pt x="398136" y="115291"/>
                  </a:cubicBezTo>
                  <a:cubicBezTo>
                    <a:pt x="392696" y="115291"/>
                    <a:pt x="384537" y="115291"/>
                    <a:pt x="379098" y="109852"/>
                  </a:cubicBezTo>
                  <a:cubicBezTo>
                    <a:pt x="373659" y="107132"/>
                    <a:pt x="368219" y="98973"/>
                    <a:pt x="368219" y="93534"/>
                  </a:cubicBezTo>
                  <a:cubicBezTo>
                    <a:pt x="368219" y="90814"/>
                    <a:pt x="368219" y="88094"/>
                    <a:pt x="370939" y="85375"/>
                  </a:cubicBezTo>
                  <a:cubicBezTo>
                    <a:pt x="373659" y="82655"/>
                    <a:pt x="381817" y="79936"/>
                    <a:pt x="387257" y="77216"/>
                  </a:cubicBezTo>
                  <a:cubicBezTo>
                    <a:pt x="400855" y="74496"/>
                    <a:pt x="414453" y="71776"/>
                    <a:pt x="422612" y="71776"/>
                  </a:cubicBezTo>
                  <a:cubicBezTo>
                    <a:pt x="425332" y="71776"/>
                    <a:pt x="430771" y="71776"/>
                    <a:pt x="436211" y="71776"/>
                  </a:cubicBezTo>
                  <a:cubicBezTo>
                    <a:pt x="436211" y="71776"/>
                    <a:pt x="438930" y="69057"/>
                    <a:pt x="438930" y="69057"/>
                  </a:cubicBezTo>
                  <a:cubicBezTo>
                    <a:pt x="444370" y="66337"/>
                    <a:pt x="447089" y="66337"/>
                    <a:pt x="452529" y="66337"/>
                  </a:cubicBezTo>
                  <a:cubicBezTo>
                    <a:pt x="457968" y="66337"/>
                    <a:pt x="460688" y="66337"/>
                    <a:pt x="466127" y="69057"/>
                  </a:cubicBezTo>
                  <a:cubicBezTo>
                    <a:pt x="468847" y="69057"/>
                    <a:pt x="471566" y="71776"/>
                    <a:pt x="471566" y="71776"/>
                  </a:cubicBezTo>
                  <a:cubicBezTo>
                    <a:pt x="490604" y="71776"/>
                    <a:pt x="506922" y="71776"/>
                    <a:pt x="515081" y="71776"/>
                  </a:cubicBezTo>
                  <a:cubicBezTo>
                    <a:pt x="523240" y="71776"/>
                    <a:pt x="542277" y="71776"/>
                    <a:pt x="542277" y="88094"/>
                  </a:cubicBezTo>
                  <a:cubicBezTo>
                    <a:pt x="542277" y="96253"/>
                    <a:pt x="542277" y="98973"/>
                    <a:pt x="536838" y="104412"/>
                  </a:cubicBezTo>
                  <a:cubicBezTo>
                    <a:pt x="534119" y="109852"/>
                    <a:pt x="528679" y="112571"/>
                    <a:pt x="525959" y="112571"/>
                  </a:cubicBezTo>
                  <a:cubicBezTo>
                    <a:pt x="520520" y="115291"/>
                    <a:pt x="515081" y="115291"/>
                    <a:pt x="509642" y="115291"/>
                  </a:cubicBezTo>
                  <a:cubicBezTo>
                    <a:pt x="506922" y="115291"/>
                    <a:pt x="487884" y="115291"/>
                    <a:pt x="468847" y="115291"/>
                  </a:cubicBezTo>
                  <a:cubicBezTo>
                    <a:pt x="466127" y="123450"/>
                    <a:pt x="460688" y="128889"/>
                    <a:pt x="457968" y="137048"/>
                  </a:cubicBezTo>
                  <a:cubicBezTo>
                    <a:pt x="447089" y="156086"/>
                    <a:pt x="438930" y="175123"/>
                    <a:pt x="430771" y="194161"/>
                  </a:cubicBezTo>
                  <a:cubicBezTo>
                    <a:pt x="419893" y="215918"/>
                    <a:pt x="411734" y="240395"/>
                    <a:pt x="400855" y="262152"/>
                  </a:cubicBezTo>
                  <a:cubicBezTo>
                    <a:pt x="387257" y="289349"/>
                    <a:pt x="373659" y="311106"/>
                    <a:pt x="360060" y="332863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/>
            </a:p>
          </p:txBody>
        </p:sp>
        <p:sp>
          <p:nvSpPr>
            <p:cNvPr id="46" name="Freeform: Shape 45">
              <a:extLst>
                <a:ext uri="{FF2B5EF4-FFF2-40B4-BE49-F238E27FC236}">
                  <a16:creationId xmlns:a16="http://schemas.microsoft.com/office/drawing/2014/main" id="{34A535C0-EFC9-4E88-9ED6-FA4561E43589}"/>
                </a:ext>
              </a:extLst>
            </p:cNvPr>
            <p:cNvSpPr/>
            <p:nvPr/>
          </p:nvSpPr>
          <p:spPr>
            <a:xfrm>
              <a:off x="4335316" y="4186718"/>
              <a:ext cx="353556" cy="761503"/>
            </a:xfrm>
            <a:custGeom>
              <a:avLst/>
              <a:gdLst>
                <a:gd name="connsiteX0" fmla="*/ 283910 w 353555"/>
                <a:gd name="connsiteY0" fmla="*/ 672820 h 761503"/>
                <a:gd name="connsiteX1" fmla="*/ 321985 w 353555"/>
                <a:gd name="connsiteY1" fmla="*/ 689138 h 761503"/>
                <a:gd name="connsiteX2" fmla="*/ 316546 w 353555"/>
                <a:gd name="connsiteY2" fmla="*/ 705456 h 761503"/>
                <a:gd name="connsiteX3" fmla="*/ 300228 w 353555"/>
                <a:gd name="connsiteY3" fmla="*/ 713615 h 761503"/>
                <a:gd name="connsiteX4" fmla="*/ 278471 w 353555"/>
                <a:gd name="connsiteY4" fmla="*/ 716335 h 761503"/>
                <a:gd name="connsiteX5" fmla="*/ 237676 w 353555"/>
                <a:gd name="connsiteY5" fmla="*/ 716335 h 761503"/>
                <a:gd name="connsiteX6" fmla="*/ 180563 w 353555"/>
                <a:gd name="connsiteY6" fmla="*/ 719054 h 761503"/>
                <a:gd name="connsiteX7" fmla="*/ 126170 w 353555"/>
                <a:gd name="connsiteY7" fmla="*/ 719054 h 761503"/>
                <a:gd name="connsiteX8" fmla="*/ 101693 w 353555"/>
                <a:gd name="connsiteY8" fmla="*/ 719054 h 761503"/>
                <a:gd name="connsiteX9" fmla="*/ 74496 w 353555"/>
                <a:gd name="connsiteY9" fmla="*/ 713615 h 761503"/>
                <a:gd name="connsiteX10" fmla="*/ 58178 w 353555"/>
                <a:gd name="connsiteY10" fmla="*/ 697297 h 761503"/>
                <a:gd name="connsiteX11" fmla="*/ 63617 w 353555"/>
                <a:gd name="connsiteY11" fmla="*/ 689138 h 761503"/>
                <a:gd name="connsiteX12" fmla="*/ 85375 w 353555"/>
                <a:gd name="connsiteY12" fmla="*/ 680979 h 761503"/>
                <a:gd name="connsiteX13" fmla="*/ 131609 w 353555"/>
                <a:gd name="connsiteY13" fmla="*/ 675540 h 761503"/>
                <a:gd name="connsiteX14" fmla="*/ 142488 w 353555"/>
                <a:gd name="connsiteY14" fmla="*/ 675540 h 761503"/>
                <a:gd name="connsiteX15" fmla="*/ 131609 w 353555"/>
                <a:gd name="connsiteY15" fmla="*/ 653783 h 761503"/>
                <a:gd name="connsiteX16" fmla="*/ 128889 w 353555"/>
                <a:gd name="connsiteY16" fmla="*/ 640184 h 761503"/>
                <a:gd name="connsiteX17" fmla="*/ 128889 w 353555"/>
                <a:gd name="connsiteY17" fmla="*/ 629306 h 761503"/>
                <a:gd name="connsiteX18" fmla="*/ 128889 w 353555"/>
                <a:gd name="connsiteY18" fmla="*/ 621147 h 761503"/>
                <a:gd name="connsiteX19" fmla="*/ 128889 w 353555"/>
                <a:gd name="connsiteY19" fmla="*/ 593950 h 761503"/>
                <a:gd name="connsiteX20" fmla="*/ 128889 w 353555"/>
                <a:gd name="connsiteY20" fmla="*/ 583072 h 761503"/>
                <a:gd name="connsiteX21" fmla="*/ 128889 w 353555"/>
                <a:gd name="connsiteY21" fmla="*/ 436210 h 761503"/>
                <a:gd name="connsiteX22" fmla="*/ 128889 w 353555"/>
                <a:gd name="connsiteY22" fmla="*/ 357340 h 761503"/>
                <a:gd name="connsiteX23" fmla="*/ 131609 w 353555"/>
                <a:gd name="connsiteY23" fmla="*/ 289349 h 761503"/>
                <a:gd name="connsiteX24" fmla="*/ 131609 w 353555"/>
                <a:gd name="connsiteY24" fmla="*/ 251274 h 761503"/>
                <a:gd name="connsiteX25" fmla="*/ 131609 w 353555"/>
                <a:gd name="connsiteY25" fmla="*/ 205040 h 761503"/>
                <a:gd name="connsiteX26" fmla="*/ 131609 w 353555"/>
                <a:gd name="connsiteY26" fmla="*/ 139768 h 761503"/>
                <a:gd name="connsiteX27" fmla="*/ 131609 w 353555"/>
                <a:gd name="connsiteY27" fmla="*/ 128889 h 761503"/>
                <a:gd name="connsiteX28" fmla="*/ 126170 w 353555"/>
                <a:gd name="connsiteY28" fmla="*/ 128889 h 761503"/>
                <a:gd name="connsiteX29" fmla="*/ 101693 w 353555"/>
                <a:gd name="connsiteY29" fmla="*/ 128889 h 761503"/>
                <a:gd name="connsiteX30" fmla="*/ 74496 w 353555"/>
                <a:gd name="connsiteY30" fmla="*/ 123450 h 761503"/>
                <a:gd name="connsiteX31" fmla="*/ 58178 w 353555"/>
                <a:gd name="connsiteY31" fmla="*/ 107132 h 761503"/>
                <a:gd name="connsiteX32" fmla="*/ 60898 w 353555"/>
                <a:gd name="connsiteY32" fmla="*/ 98973 h 761503"/>
                <a:gd name="connsiteX33" fmla="*/ 82655 w 353555"/>
                <a:gd name="connsiteY33" fmla="*/ 93534 h 761503"/>
                <a:gd name="connsiteX34" fmla="*/ 131609 w 353555"/>
                <a:gd name="connsiteY34" fmla="*/ 88094 h 761503"/>
                <a:gd name="connsiteX35" fmla="*/ 131609 w 353555"/>
                <a:gd name="connsiteY35" fmla="*/ 82655 h 761503"/>
                <a:gd name="connsiteX36" fmla="*/ 134329 w 353555"/>
                <a:gd name="connsiteY36" fmla="*/ 71776 h 761503"/>
                <a:gd name="connsiteX37" fmla="*/ 147927 w 353555"/>
                <a:gd name="connsiteY37" fmla="*/ 63617 h 761503"/>
                <a:gd name="connsiteX38" fmla="*/ 164245 w 353555"/>
                <a:gd name="connsiteY38" fmla="*/ 58178 h 761503"/>
                <a:gd name="connsiteX39" fmla="*/ 177843 w 353555"/>
                <a:gd name="connsiteY39" fmla="*/ 58178 h 761503"/>
                <a:gd name="connsiteX40" fmla="*/ 196881 w 353555"/>
                <a:gd name="connsiteY40" fmla="*/ 60898 h 761503"/>
                <a:gd name="connsiteX41" fmla="*/ 232236 w 353555"/>
                <a:gd name="connsiteY41" fmla="*/ 88094 h 761503"/>
                <a:gd name="connsiteX42" fmla="*/ 278471 w 353555"/>
                <a:gd name="connsiteY42" fmla="*/ 88094 h 761503"/>
                <a:gd name="connsiteX43" fmla="*/ 316546 w 353555"/>
                <a:gd name="connsiteY43" fmla="*/ 104412 h 761503"/>
                <a:gd name="connsiteX44" fmla="*/ 311106 w 353555"/>
                <a:gd name="connsiteY44" fmla="*/ 120730 h 761503"/>
                <a:gd name="connsiteX45" fmla="*/ 294788 w 353555"/>
                <a:gd name="connsiteY45" fmla="*/ 128889 h 761503"/>
                <a:gd name="connsiteX46" fmla="*/ 273031 w 353555"/>
                <a:gd name="connsiteY46" fmla="*/ 131609 h 761503"/>
                <a:gd name="connsiteX47" fmla="*/ 243115 w 353555"/>
                <a:gd name="connsiteY47" fmla="*/ 131609 h 761503"/>
                <a:gd name="connsiteX48" fmla="*/ 243115 w 353555"/>
                <a:gd name="connsiteY48" fmla="*/ 134329 h 761503"/>
                <a:gd name="connsiteX49" fmla="*/ 248554 w 353555"/>
                <a:gd name="connsiteY49" fmla="*/ 169684 h 761503"/>
                <a:gd name="connsiteX50" fmla="*/ 251274 w 353555"/>
                <a:gd name="connsiteY50" fmla="*/ 205040 h 761503"/>
                <a:gd name="connsiteX51" fmla="*/ 251274 w 353555"/>
                <a:gd name="connsiteY51" fmla="*/ 240395 h 761503"/>
                <a:gd name="connsiteX52" fmla="*/ 251274 w 353555"/>
                <a:gd name="connsiteY52" fmla="*/ 256713 h 761503"/>
                <a:gd name="connsiteX53" fmla="*/ 253994 w 353555"/>
                <a:gd name="connsiteY53" fmla="*/ 270311 h 761503"/>
                <a:gd name="connsiteX54" fmla="*/ 259433 w 353555"/>
                <a:gd name="connsiteY54" fmla="*/ 343742 h 761503"/>
                <a:gd name="connsiteX55" fmla="*/ 262153 w 353555"/>
                <a:gd name="connsiteY55" fmla="*/ 425332 h 761503"/>
                <a:gd name="connsiteX56" fmla="*/ 264872 w 353555"/>
                <a:gd name="connsiteY56" fmla="*/ 490603 h 761503"/>
                <a:gd name="connsiteX57" fmla="*/ 270312 w 353555"/>
                <a:gd name="connsiteY57" fmla="*/ 564034 h 761503"/>
                <a:gd name="connsiteX58" fmla="*/ 270312 w 353555"/>
                <a:gd name="connsiteY58" fmla="*/ 599390 h 761503"/>
                <a:gd name="connsiteX59" fmla="*/ 270312 w 353555"/>
                <a:gd name="connsiteY59" fmla="*/ 637465 h 761503"/>
                <a:gd name="connsiteX60" fmla="*/ 264872 w 353555"/>
                <a:gd name="connsiteY60" fmla="*/ 670101 h 761503"/>
                <a:gd name="connsiteX61" fmla="*/ 283910 w 353555"/>
                <a:gd name="connsiteY61" fmla="*/ 672820 h 761503"/>
                <a:gd name="connsiteX62" fmla="*/ 283910 w 353555"/>
                <a:gd name="connsiteY62" fmla="*/ 672820 h 761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</a:cxnLst>
              <a:rect l="l" t="t" r="r" b="b"/>
              <a:pathLst>
                <a:path w="353555" h="761503">
                  <a:moveTo>
                    <a:pt x="283910" y="672820"/>
                  </a:moveTo>
                  <a:cubicBezTo>
                    <a:pt x="297508" y="672820"/>
                    <a:pt x="321985" y="672820"/>
                    <a:pt x="321985" y="689138"/>
                  </a:cubicBezTo>
                  <a:cubicBezTo>
                    <a:pt x="321985" y="697297"/>
                    <a:pt x="319265" y="697297"/>
                    <a:pt x="316546" y="705456"/>
                  </a:cubicBezTo>
                  <a:cubicBezTo>
                    <a:pt x="311106" y="710895"/>
                    <a:pt x="305667" y="713615"/>
                    <a:pt x="300228" y="713615"/>
                  </a:cubicBezTo>
                  <a:cubicBezTo>
                    <a:pt x="292069" y="716335"/>
                    <a:pt x="283910" y="716335"/>
                    <a:pt x="278471" y="716335"/>
                  </a:cubicBezTo>
                  <a:cubicBezTo>
                    <a:pt x="275751" y="716335"/>
                    <a:pt x="256713" y="716335"/>
                    <a:pt x="237676" y="716335"/>
                  </a:cubicBezTo>
                  <a:cubicBezTo>
                    <a:pt x="213199" y="716335"/>
                    <a:pt x="186002" y="719054"/>
                    <a:pt x="180563" y="719054"/>
                  </a:cubicBezTo>
                  <a:cubicBezTo>
                    <a:pt x="166965" y="719054"/>
                    <a:pt x="142488" y="719054"/>
                    <a:pt x="126170" y="719054"/>
                  </a:cubicBezTo>
                  <a:cubicBezTo>
                    <a:pt x="118011" y="719054"/>
                    <a:pt x="109852" y="719054"/>
                    <a:pt x="101693" y="719054"/>
                  </a:cubicBezTo>
                  <a:cubicBezTo>
                    <a:pt x="93534" y="719054"/>
                    <a:pt x="82655" y="719054"/>
                    <a:pt x="74496" y="713615"/>
                  </a:cubicBezTo>
                  <a:cubicBezTo>
                    <a:pt x="66337" y="710895"/>
                    <a:pt x="58178" y="702736"/>
                    <a:pt x="58178" y="697297"/>
                  </a:cubicBezTo>
                  <a:cubicBezTo>
                    <a:pt x="58178" y="694578"/>
                    <a:pt x="58178" y="691858"/>
                    <a:pt x="63617" y="689138"/>
                  </a:cubicBezTo>
                  <a:cubicBezTo>
                    <a:pt x="69057" y="686418"/>
                    <a:pt x="79935" y="683699"/>
                    <a:pt x="85375" y="680979"/>
                  </a:cubicBezTo>
                  <a:cubicBezTo>
                    <a:pt x="104412" y="678260"/>
                    <a:pt x="123450" y="675540"/>
                    <a:pt x="131609" y="675540"/>
                  </a:cubicBezTo>
                  <a:cubicBezTo>
                    <a:pt x="134329" y="675540"/>
                    <a:pt x="137048" y="675540"/>
                    <a:pt x="142488" y="675540"/>
                  </a:cubicBezTo>
                  <a:cubicBezTo>
                    <a:pt x="134329" y="670101"/>
                    <a:pt x="131609" y="661942"/>
                    <a:pt x="131609" y="653783"/>
                  </a:cubicBezTo>
                  <a:cubicBezTo>
                    <a:pt x="131609" y="648343"/>
                    <a:pt x="131609" y="642904"/>
                    <a:pt x="128889" y="640184"/>
                  </a:cubicBezTo>
                  <a:cubicBezTo>
                    <a:pt x="128889" y="637465"/>
                    <a:pt x="128889" y="634745"/>
                    <a:pt x="128889" y="629306"/>
                  </a:cubicBezTo>
                  <a:cubicBezTo>
                    <a:pt x="128889" y="626586"/>
                    <a:pt x="128889" y="623867"/>
                    <a:pt x="128889" y="621147"/>
                  </a:cubicBezTo>
                  <a:cubicBezTo>
                    <a:pt x="128889" y="612988"/>
                    <a:pt x="128889" y="604829"/>
                    <a:pt x="128889" y="593950"/>
                  </a:cubicBezTo>
                  <a:cubicBezTo>
                    <a:pt x="128889" y="591231"/>
                    <a:pt x="128889" y="585791"/>
                    <a:pt x="128889" y="583072"/>
                  </a:cubicBezTo>
                  <a:cubicBezTo>
                    <a:pt x="128889" y="534118"/>
                    <a:pt x="131609" y="485164"/>
                    <a:pt x="128889" y="436210"/>
                  </a:cubicBezTo>
                  <a:cubicBezTo>
                    <a:pt x="128889" y="409014"/>
                    <a:pt x="128889" y="384537"/>
                    <a:pt x="128889" y="357340"/>
                  </a:cubicBezTo>
                  <a:cubicBezTo>
                    <a:pt x="128889" y="335583"/>
                    <a:pt x="131609" y="313826"/>
                    <a:pt x="131609" y="289349"/>
                  </a:cubicBezTo>
                  <a:cubicBezTo>
                    <a:pt x="131609" y="275751"/>
                    <a:pt x="131609" y="264872"/>
                    <a:pt x="131609" y="251274"/>
                  </a:cubicBezTo>
                  <a:cubicBezTo>
                    <a:pt x="131609" y="234956"/>
                    <a:pt x="131609" y="221357"/>
                    <a:pt x="131609" y="205040"/>
                  </a:cubicBezTo>
                  <a:cubicBezTo>
                    <a:pt x="131609" y="183282"/>
                    <a:pt x="131609" y="161525"/>
                    <a:pt x="131609" y="139768"/>
                  </a:cubicBezTo>
                  <a:cubicBezTo>
                    <a:pt x="131609" y="137048"/>
                    <a:pt x="131609" y="134329"/>
                    <a:pt x="131609" y="128889"/>
                  </a:cubicBezTo>
                  <a:cubicBezTo>
                    <a:pt x="128889" y="128889"/>
                    <a:pt x="126170" y="128889"/>
                    <a:pt x="126170" y="128889"/>
                  </a:cubicBezTo>
                  <a:cubicBezTo>
                    <a:pt x="118011" y="128889"/>
                    <a:pt x="109852" y="128889"/>
                    <a:pt x="101693" y="128889"/>
                  </a:cubicBezTo>
                  <a:cubicBezTo>
                    <a:pt x="93534" y="128889"/>
                    <a:pt x="82655" y="128889"/>
                    <a:pt x="74496" y="123450"/>
                  </a:cubicBezTo>
                  <a:cubicBezTo>
                    <a:pt x="66337" y="120730"/>
                    <a:pt x="58178" y="112571"/>
                    <a:pt x="58178" y="107132"/>
                  </a:cubicBezTo>
                  <a:cubicBezTo>
                    <a:pt x="58178" y="104412"/>
                    <a:pt x="58178" y="101693"/>
                    <a:pt x="60898" y="98973"/>
                  </a:cubicBezTo>
                  <a:cubicBezTo>
                    <a:pt x="63617" y="96253"/>
                    <a:pt x="77216" y="93534"/>
                    <a:pt x="82655" y="93534"/>
                  </a:cubicBezTo>
                  <a:cubicBezTo>
                    <a:pt x="98973" y="90814"/>
                    <a:pt x="123450" y="88094"/>
                    <a:pt x="131609" y="88094"/>
                  </a:cubicBezTo>
                  <a:cubicBezTo>
                    <a:pt x="131609" y="85375"/>
                    <a:pt x="131609" y="85375"/>
                    <a:pt x="131609" y="82655"/>
                  </a:cubicBezTo>
                  <a:cubicBezTo>
                    <a:pt x="131609" y="77216"/>
                    <a:pt x="131609" y="74496"/>
                    <a:pt x="134329" y="71776"/>
                  </a:cubicBezTo>
                  <a:cubicBezTo>
                    <a:pt x="137048" y="69057"/>
                    <a:pt x="145207" y="66337"/>
                    <a:pt x="147927" y="63617"/>
                  </a:cubicBezTo>
                  <a:cubicBezTo>
                    <a:pt x="153366" y="60898"/>
                    <a:pt x="158806" y="58178"/>
                    <a:pt x="164245" y="58178"/>
                  </a:cubicBezTo>
                  <a:cubicBezTo>
                    <a:pt x="169684" y="58178"/>
                    <a:pt x="175123" y="58178"/>
                    <a:pt x="177843" y="58178"/>
                  </a:cubicBezTo>
                  <a:cubicBezTo>
                    <a:pt x="183283" y="58178"/>
                    <a:pt x="191442" y="58178"/>
                    <a:pt x="196881" y="60898"/>
                  </a:cubicBezTo>
                  <a:cubicBezTo>
                    <a:pt x="213199" y="63617"/>
                    <a:pt x="224077" y="74496"/>
                    <a:pt x="232236" y="88094"/>
                  </a:cubicBezTo>
                  <a:cubicBezTo>
                    <a:pt x="253994" y="88094"/>
                    <a:pt x="270312" y="88094"/>
                    <a:pt x="278471" y="88094"/>
                  </a:cubicBezTo>
                  <a:cubicBezTo>
                    <a:pt x="292069" y="88094"/>
                    <a:pt x="316546" y="88094"/>
                    <a:pt x="316546" y="104412"/>
                  </a:cubicBezTo>
                  <a:cubicBezTo>
                    <a:pt x="316546" y="112571"/>
                    <a:pt x="313826" y="112571"/>
                    <a:pt x="311106" y="120730"/>
                  </a:cubicBezTo>
                  <a:cubicBezTo>
                    <a:pt x="305667" y="126170"/>
                    <a:pt x="300228" y="128889"/>
                    <a:pt x="294788" y="128889"/>
                  </a:cubicBezTo>
                  <a:cubicBezTo>
                    <a:pt x="286630" y="131609"/>
                    <a:pt x="278471" y="131609"/>
                    <a:pt x="273031" y="131609"/>
                  </a:cubicBezTo>
                  <a:cubicBezTo>
                    <a:pt x="270312" y="131609"/>
                    <a:pt x="259433" y="131609"/>
                    <a:pt x="243115" y="131609"/>
                  </a:cubicBezTo>
                  <a:lnTo>
                    <a:pt x="243115" y="134329"/>
                  </a:lnTo>
                  <a:cubicBezTo>
                    <a:pt x="245835" y="145207"/>
                    <a:pt x="245835" y="158805"/>
                    <a:pt x="248554" y="169684"/>
                  </a:cubicBezTo>
                  <a:cubicBezTo>
                    <a:pt x="251274" y="180563"/>
                    <a:pt x="251274" y="194161"/>
                    <a:pt x="251274" y="205040"/>
                  </a:cubicBezTo>
                  <a:cubicBezTo>
                    <a:pt x="251274" y="215918"/>
                    <a:pt x="251274" y="226797"/>
                    <a:pt x="251274" y="240395"/>
                  </a:cubicBezTo>
                  <a:cubicBezTo>
                    <a:pt x="251274" y="245834"/>
                    <a:pt x="251274" y="251274"/>
                    <a:pt x="251274" y="256713"/>
                  </a:cubicBezTo>
                  <a:cubicBezTo>
                    <a:pt x="251274" y="262152"/>
                    <a:pt x="251274" y="267592"/>
                    <a:pt x="253994" y="270311"/>
                  </a:cubicBezTo>
                  <a:cubicBezTo>
                    <a:pt x="256713" y="294788"/>
                    <a:pt x="256713" y="319265"/>
                    <a:pt x="259433" y="343742"/>
                  </a:cubicBezTo>
                  <a:cubicBezTo>
                    <a:pt x="259433" y="370939"/>
                    <a:pt x="262153" y="398135"/>
                    <a:pt x="262153" y="425332"/>
                  </a:cubicBezTo>
                  <a:cubicBezTo>
                    <a:pt x="262153" y="447089"/>
                    <a:pt x="262153" y="468846"/>
                    <a:pt x="264872" y="490603"/>
                  </a:cubicBezTo>
                  <a:cubicBezTo>
                    <a:pt x="264872" y="515080"/>
                    <a:pt x="270312" y="539557"/>
                    <a:pt x="270312" y="564034"/>
                  </a:cubicBezTo>
                  <a:cubicBezTo>
                    <a:pt x="270312" y="574913"/>
                    <a:pt x="270312" y="588511"/>
                    <a:pt x="270312" y="599390"/>
                  </a:cubicBezTo>
                  <a:cubicBezTo>
                    <a:pt x="270312" y="612988"/>
                    <a:pt x="270312" y="623867"/>
                    <a:pt x="270312" y="637465"/>
                  </a:cubicBezTo>
                  <a:cubicBezTo>
                    <a:pt x="270312" y="648343"/>
                    <a:pt x="270312" y="661942"/>
                    <a:pt x="264872" y="670101"/>
                  </a:cubicBezTo>
                  <a:cubicBezTo>
                    <a:pt x="273031" y="672820"/>
                    <a:pt x="278471" y="672820"/>
                    <a:pt x="283910" y="672820"/>
                  </a:cubicBezTo>
                  <a:lnTo>
                    <a:pt x="283910" y="672820"/>
                  </a:ln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/>
            </a:p>
          </p:txBody>
        </p:sp>
        <p:sp>
          <p:nvSpPr>
            <p:cNvPr id="47" name="Freeform: Shape 46">
              <a:extLst>
                <a:ext uri="{FF2B5EF4-FFF2-40B4-BE49-F238E27FC236}">
                  <a16:creationId xmlns:a16="http://schemas.microsoft.com/office/drawing/2014/main" id="{BCA09B03-C6FB-46E6-AB89-1A6C42A51B45}"/>
                </a:ext>
              </a:extLst>
            </p:cNvPr>
            <p:cNvSpPr/>
            <p:nvPr/>
          </p:nvSpPr>
          <p:spPr>
            <a:xfrm>
              <a:off x="4620880" y="4194877"/>
              <a:ext cx="598325" cy="761503"/>
            </a:xfrm>
            <a:custGeom>
              <a:avLst/>
              <a:gdLst>
                <a:gd name="connsiteX0" fmla="*/ 515081 w 598324"/>
                <a:gd name="connsiteY0" fmla="*/ 79935 h 761503"/>
                <a:gd name="connsiteX1" fmla="*/ 542277 w 598324"/>
                <a:gd name="connsiteY1" fmla="*/ 96253 h 761503"/>
                <a:gd name="connsiteX2" fmla="*/ 536838 w 598324"/>
                <a:gd name="connsiteY2" fmla="*/ 112571 h 761503"/>
                <a:gd name="connsiteX3" fmla="*/ 523240 w 598324"/>
                <a:gd name="connsiteY3" fmla="*/ 120730 h 761503"/>
                <a:gd name="connsiteX4" fmla="*/ 506922 w 598324"/>
                <a:gd name="connsiteY4" fmla="*/ 123450 h 761503"/>
                <a:gd name="connsiteX5" fmla="*/ 477006 w 598324"/>
                <a:gd name="connsiteY5" fmla="*/ 123450 h 761503"/>
                <a:gd name="connsiteX6" fmla="*/ 479725 w 598324"/>
                <a:gd name="connsiteY6" fmla="*/ 145207 h 761503"/>
                <a:gd name="connsiteX7" fmla="*/ 477006 w 598324"/>
                <a:gd name="connsiteY7" fmla="*/ 180563 h 761503"/>
                <a:gd name="connsiteX8" fmla="*/ 482445 w 598324"/>
                <a:gd name="connsiteY8" fmla="*/ 232236 h 761503"/>
                <a:gd name="connsiteX9" fmla="*/ 485165 w 598324"/>
                <a:gd name="connsiteY9" fmla="*/ 283909 h 761503"/>
                <a:gd name="connsiteX10" fmla="*/ 485165 w 598324"/>
                <a:gd name="connsiteY10" fmla="*/ 327424 h 761503"/>
                <a:gd name="connsiteX11" fmla="*/ 487884 w 598324"/>
                <a:gd name="connsiteY11" fmla="*/ 373658 h 761503"/>
                <a:gd name="connsiteX12" fmla="*/ 485165 w 598324"/>
                <a:gd name="connsiteY12" fmla="*/ 419892 h 761503"/>
                <a:gd name="connsiteX13" fmla="*/ 485165 w 598324"/>
                <a:gd name="connsiteY13" fmla="*/ 463407 h 761503"/>
                <a:gd name="connsiteX14" fmla="*/ 482445 w 598324"/>
                <a:gd name="connsiteY14" fmla="*/ 515080 h 761503"/>
                <a:gd name="connsiteX15" fmla="*/ 482445 w 598324"/>
                <a:gd name="connsiteY15" fmla="*/ 558595 h 761503"/>
                <a:gd name="connsiteX16" fmla="*/ 479725 w 598324"/>
                <a:gd name="connsiteY16" fmla="*/ 602109 h 761503"/>
                <a:gd name="connsiteX17" fmla="*/ 485165 w 598324"/>
                <a:gd name="connsiteY17" fmla="*/ 648343 h 761503"/>
                <a:gd name="connsiteX18" fmla="*/ 474286 w 598324"/>
                <a:gd name="connsiteY18" fmla="*/ 675540 h 761503"/>
                <a:gd name="connsiteX19" fmla="*/ 428052 w 598324"/>
                <a:gd name="connsiteY19" fmla="*/ 691858 h 761503"/>
                <a:gd name="connsiteX20" fmla="*/ 387257 w 598324"/>
                <a:gd name="connsiteY20" fmla="*/ 683699 h 761503"/>
                <a:gd name="connsiteX21" fmla="*/ 351901 w 598324"/>
                <a:gd name="connsiteY21" fmla="*/ 664661 h 761503"/>
                <a:gd name="connsiteX22" fmla="*/ 305667 w 598324"/>
                <a:gd name="connsiteY22" fmla="*/ 596670 h 761503"/>
                <a:gd name="connsiteX23" fmla="*/ 270312 w 598324"/>
                <a:gd name="connsiteY23" fmla="*/ 509641 h 761503"/>
                <a:gd name="connsiteX24" fmla="*/ 251274 w 598324"/>
                <a:gd name="connsiteY24" fmla="*/ 460687 h 761503"/>
                <a:gd name="connsiteX25" fmla="*/ 224077 w 598324"/>
                <a:gd name="connsiteY25" fmla="*/ 381817 h 761503"/>
                <a:gd name="connsiteX26" fmla="*/ 207759 w 598324"/>
                <a:gd name="connsiteY26" fmla="*/ 330144 h 761503"/>
                <a:gd name="connsiteX27" fmla="*/ 191442 w 598324"/>
                <a:gd name="connsiteY27" fmla="*/ 286629 h 761503"/>
                <a:gd name="connsiteX28" fmla="*/ 183283 w 598324"/>
                <a:gd name="connsiteY28" fmla="*/ 278470 h 761503"/>
                <a:gd name="connsiteX29" fmla="*/ 180563 w 598324"/>
                <a:gd name="connsiteY29" fmla="*/ 292068 h 761503"/>
                <a:gd name="connsiteX30" fmla="*/ 180563 w 598324"/>
                <a:gd name="connsiteY30" fmla="*/ 305667 h 761503"/>
                <a:gd name="connsiteX31" fmla="*/ 183283 w 598324"/>
                <a:gd name="connsiteY31" fmla="*/ 354620 h 761503"/>
                <a:gd name="connsiteX32" fmla="*/ 188722 w 598324"/>
                <a:gd name="connsiteY32" fmla="*/ 449808 h 761503"/>
                <a:gd name="connsiteX33" fmla="*/ 188722 w 598324"/>
                <a:gd name="connsiteY33" fmla="*/ 479725 h 761503"/>
                <a:gd name="connsiteX34" fmla="*/ 188722 w 598324"/>
                <a:gd name="connsiteY34" fmla="*/ 542277 h 761503"/>
                <a:gd name="connsiteX35" fmla="*/ 186002 w 598324"/>
                <a:gd name="connsiteY35" fmla="*/ 615708 h 761503"/>
                <a:gd name="connsiteX36" fmla="*/ 186002 w 598324"/>
                <a:gd name="connsiteY36" fmla="*/ 637465 h 761503"/>
                <a:gd name="connsiteX37" fmla="*/ 183283 w 598324"/>
                <a:gd name="connsiteY37" fmla="*/ 664661 h 761503"/>
                <a:gd name="connsiteX38" fmla="*/ 226797 w 598324"/>
                <a:gd name="connsiteY38" fmla="*/ 664661 h 761503"/>
                <a:gd name="connsiteX39" fmla="*/ 253994 w 598324"/>
                <a:gd name="connsiteY39" fmla="*/ 680979 h 761503"/>
                <a:gd name="connsiteX40" fmla="*/ 248554 w 598324"/>
                <a:gd name="connsiteY40" fmla="*/ 697297 h 761503"/>
                <a:gd name="connsiteX41" fmla="*/ 234956 w 598324"/>
                <a:gd name="connsiteY41" fmla="*/ 705456 h 761503"/>
                <a:gd name="connsiteX42" fmla="*/ 218638 w 598324"/>
                <a:gd name="connsiteY42" fmla="*/ 708176 h 761503"/>
                <a:gd name="connsiteX43" fmla="*/ 183283 w 598324"/>
                <a:gd name="connsiteY43" fmla="*/ 708176 h 761503"/>
                <a:gd name="connsiteX44" fmla="*/ 150647 w 598324"/>
                <a:gd name="connsiteY44" fmla="*/ 708176 h 761503"/>
                <a:gd name="connsiteX45" fmla="*/ 107132 w 598324"/>
                <a:gd name="connsiteY45" fmla="*/ 708176 h 761503"/>
                <a:gd name="connsiteX46" fmla="*/ 88094 w 598324"/>
                <a:gd name="connsiteY46" fmla="*/ 708176 h 761503"/>
                <a:gd name="connsiteX47" fmla="*/ 69057 w 598324"/>
                <a:gd name="connsiteY47" fmla="*/ 702736 h 761503"/>
                <a:gd name="connsiteX48" fmla="*/ 58178 w 598324"/>
                <a:gd name="connsiteY48" fmla="*/ 686418 h 761503"/>
                <a:gd name="connsiteX49" fmla="*/ 60898 w 598324"/>
                <a:gd name="connsiteY49" fmla="*/ 678259 h 761503"/>
                <a:gd name="connsiteX50" fmla="*/ 77216 w 598324"/>
                <a:gd name="connsiteY50" fmla="*/ 670101 h 761503"/>
                <a:gd name="connsiteX51" fmla="*/ 120730 w 598324"/>
                <a:gd name="connsiteY51" fmla="*/ 664661 h 761503"/>
                <a:gd name="connsiteX52" fmla="*/ 131609 w 598324"/>
                <a:gd name="connsiteY52" fmla="*/ 664661 h 761503"/>
                <a:gd name="connsiteX53" fmla="*/ 134329 w 598324"/>
                <a:gd name="connsiteY53" fmla="*/ 539557 h 761503"/>
                <a:gd name="connsiteX54" fmla="*/ 134329 w 598324"/>
                <a:gd name="connsiteY54" fmla="*/ 504201 h 761503"/>
                <a:gd name="connsiteX55" fmla="*/ 131609 w 598324"/>
                <a:gd name="connsiteY55" fmla="*/ 376378 h 761503"/>
                <a:gd name="connsiteX56" fmla="*/ 131609 w 598324"/>
                <a:gd name="connsiteY56" fmla="*/ 302947 h 761503"/>
                <a:gd name="connsiteX57" fmla="*/ 134329 w 598324"/>
                <a:gd name="connsiteY57" fmla="*/ 221357 h 761503"/>
                <a:gd name="connsiteX58" fmla="*/ 137048 w 598324"/>
                <a:gd name="connsiteY58" fmla="*/ 123450 h 761503"/>
                <a:gd name="connsiteX59" fmla="*/ 107132 w 598324"/>
                <a:gd name="connsiteY59" fmla="*/ 123450 h 761503"/>
                <a:gd name="connsiteX60" fmla="*/ 88094 w 598324"/>
                <a:gd name="connsiteY60" fmla="*/ 123450 h 761503"/>
                <a:gd name="connsiteX61" fmla="*/ 69057 w 598324"/>
                <a:gd name="connsiteY61" fmla="*/ 118011 h 761503"/>
                <a:gd name="connsiteX62" fmla="*/ 58178 w 598324"/>
                <a:gd name="connsiteY62" fmla="*/ 101693 h 761503"/>
                <a:gd name="connsiteX63" fmla="*/ 60898 w 598324"/>
                <a:gd name="connsiteY63" fmla="*/ 93534 h 761503"/>
                <a:gd name="connsiteX64" fmla="*/ 77216 w 598324"/>
                <a:gd name="connsiteY64" fmla="*/ 85375 h 761503"/>
                <a:gd name="connsiteX65" fmla="*/ 131609 w 598324"/>
                <a:gd name="connsiteY65" fmla="*/ 79935 h 761503"/>
                <a:gd name="connsiteX66" fmla="*/ 161525 w 598324"/>
                <a:gd name="connsiteY66" fmla="*/ 79935 h 761503"/>
                <a:gd name="connsiteX67" fmla="*/ 177843 w 598324"/>
                <a:gd name="connsiteY67" fmla="*/ 66337 h 761503"/>
                <a:gd name="connsiteX68" fmla="*/ 202320 w 598324"/>
                <a:gd name="connsiteY68" fmla="*/ 58178 h 761503"/>
                <a:gd name="connsiteX69" fmla="*/ 234956 w 598324"/>
                <a:gd name="connsiteY69" fmla="*/ 77216 h 761503"/>
                <a:gd name="connsiteX70" fmla="*/ 251274 w 598324"/>
                <a:gd name="connsiteY70" fmla="*/ 107132 h 761503"/>
                <a:gd name="connsiteX71" fmla="*/ 267592 w 598324"/>
                <a:gd name="connsiteY71" fmla="*/ 147927 h 761503"/>
                <a:gd name="connsiteX72" fmla="*/ 281190 w 598324"/>
                <a:gd name="connsiteY72" fmla="*/ 183282 h 761503"/>
                <a:gd name="connsiteX73" fmla="*/ 297508 w 598324"/>
                <a:gd name="connsiteY73" fmla="*/ 224077 h 761503"/>
                <a:gd name="connsiteX74" fmla="*/ 308387 w 598324"/>
                <a:gd name="connsiteY74" fmla="*/ 264872 h 761503"/>
                <a:gd name="connsiteX75" fmla="*/ 319265 w 598324"/>
                <a:gd name="connsiteY75" fmla="*/ 300227 h 761503"/>
                <a:gd name="connsiteX76" fmla="*/ 351901 w 598324"/>
                <a:gd name="connsiteY76" fmla="*/ 379097 h 761503"/>
                <a:gd name="connsiteX77" fmla="*/ 365500 w 598324"/>
                <a:gd name="connsiteY77" fmla="*/ 417173 h 761503"/>
                <a:gd name="connsiteX78" fmla="*/ 379098 w 598324"/>
                <a:gd name="connsiteY78" fmla="*/ 457967 h 761503"/>
                <a:gd name="connsiteX79" fmla="*/ 395416 w 598324"/>
                <a:gd name="connsiteY79" fmla="*/ 496043 h 761503"/>
                <a:gd name="connsiteX80" fmla="*/ 406294 w 598324"/>
                <a:gd name="connsiteY80" fmla="*/ 512361 h 761503"/>
                <a:gd name="connsiteX81" fmla="*/ 411734 w 598324"/>
                <a:gd name="connsiteY81" fmla="*/ 531398 h 761503"/>
                <a:gd name="connsiteX82" fmla="*/ 419893 w 598324"/>
                <a:gd name="connsiteY82" fmla="*/ 558595 h 761503"/>
                <a:gd name="connsiteX83" fmla="*/ 425332 w 598324"/>
                <a:gd name="connsiteY83" fmla="*/ 564034 h 761503"/>
                <a:gd name="connsiteX84" fmla="*/ 430771 w 598324"/>
                <a:gd name="connsiteY84" fmla="*/ 558595 h 761503"/>
                <a:gd name="connsiteX85" fmla="*/ 430771 w 598324"/>
                <a:gd name="connsiteY85" fmla="*/ 550436 h 761503"/>
                <a:gd name="connsiteX86" fmla="*/ 430771 w 598324"/>
                <a:gd name="connsiteY86" fmla="*/ 501482 h 761503"/>
                <a:gd name="connsiteX87" fmla="*/ 430771 w 598324"/>
                <a:gd name="connsiteY87" fmla="*/ 403574 h 761503"/>
                <a:gd name="connsiteX88" fmla="*/ 425332 w 598324"/>
                <a:gd name="connsiteY88" fmla="*/ 313826 h 761503"/>
                <a:gd name="connsiteX89" fmla="*/ 425332 w 598324"/>
                <a:gd name="connsiteY89" fmla="*/ 248554 h 761503"/>
                <a:gd name="connsiteX90" fmla="*/ 425332 w 598324"/>
                <a:gd name="connsiteY90" fmla="*/ 210479 h 761503"/>
                <a:gd name="connsiteX91" fmla="*/ 422613 w 598324"/>
                <a:gd name="connsiteY91" fmla="*/ 153366 h 761503"/>
                <a:gd name="connsiteX92" fmla="*/ 425332 w 598324"/>
                <a:gd name="connsiteY92" fmla="*/ 123450 h 761503"/>
                <a:gd name="connsiteX93" fmla="*/ 398136 w 598324"/>
                <a:gd name="connsiteY93" fmla="*/ 123450 h 761503"/>
                <a:gd name="connsiteX94" fmla="*/ 379098 w 598324"/>
                <a:gd name="connsiteY94" fmla="*/ 123450 h 761503"/>
                <a:gd name="connsiteX95" fmla="*/ 360060 w 598324"/>
                <a:gd name="connsiteY95" fmla="*/ 118011 h 761503"/>
                <a:gd name="connsiteX96" fmla="*/ 349182 w 598324"/>
                <a:gd name="connsiteY96" fmla="*/ 101693 h 761503"/>
                <a:gd name="connsiteX97" fmla="*/ 351901 w 598324"/>
                <a:gd name="connsiteY97" fmla="*/ 93534 h 761503"/>
                <a:gd name="connsiteX98" fmla="*/ 368219 w 598324"/>
                <a:gd name="connsiteY98" fmla="*/ 85375 h 761503"/>
                <a:gd name="connsiteX99" fmla="*/ 422613 w 598324"/>
                <a:gd name="connsiteY99" fmla="*/ 79935 h 761503"/>
                <a:gd name="connsiteX100" fmla="*/ 444370 w 598324"/>
                <a:gd name="connsiteY100" fmla="*/ 79935 h 761503"/>
                <a:gd name="connsiteX101" fmla="*/ 463407 w 598324"/>
                <a:gd name="connsiteY101" fmla="*/ 71776 h 761503"/>
                <a:gd name="connsiteX102" fmla="*/ 477006 w 598324"/>
                <a:gd name="connsiteY102" fmla="*/ 79935 h 761503"/>
                <a:gd name="connsiteX103" fmla="*/ 515081 w 598324"/>
                <a:gd name="connsiteY103" fmla="*/ 79935 h 761503"/>
                <a:gd name="connsiteX104" fmla="*/ 515081 w 598324"/>
                <a:gd name="connsiteY104" fmla="*/ 79935 h 761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</a:cxnLst>
              <a:rect l="l" t="t" r="r" b="b"/>
              <a:pathLst>
                <a:path w="598324" h="761503">
                  <a:moveTo>
                    <a:pt x="515081" y="79935"/>
                  </a:moveTo>
                  <a:cubicBezTo>
                    <a:pt x="523240" y="79935"/>
                    <a:pt x="542277" y="79935"/>
                    <a:pt x="542277" y="96253"/>
                  </a:cubicBezTo>
                  <a:cubicBezTo>
                    <a:pt x="542277" y="104412"/>
                    <a:pt x="542277" y="107132"/>
                    <a:pt x="536838" y="112571"/>
                  </a:cubicBezTo>
                  <a:cubicBezTo>
                    <a:pt x="534119" y="118011"/>
                    <a:pt x="528679" y="120730"/>
                    <a:pt x="523240" y="120730"/>
                  </a:cubicBezTo>
                  <a:cubicBezTo>
                    <a:pt x="515081" y="123450"/>
                    <a:pt x="512361" y="123450"/>
                    <a:pt x="506922" y="123450"/>
                  </a:cubicBezTo>
                  <a:cubicBezTo>
                    <a:pt x="504202" y="123450"/>
                    <a:pt x="490604" y="123450"/>
                    <a:pt x="477006" y="123450"/>
                  </a:cubicBezTo>
                  <a:cubicBezTo>
                    <a:pt x="477006" y="131609"/>
                    <a:pt x="479725" y="137048"/>
                    <a:pt x="479725" y="145207"/>
                  </a:cubicBezTo>
                  <a:cubicBezTo>
                    <a:pt x="479725" y="156086"/>
                    <a:pt x="477006" y="166964"/>
                    <a:pt x="477006" y="180563"/>
                  </a:cubicBezTo>
                  <a:cubicBezTo>
                    <a:pt x="477006" y="196881"/>
                    <a:pt x="479725" y="215918"/>
                    <a:pt x="482445" y="232236"/>
                  </a:cubicBezTo>
                  <a:cubicBezTo>
                    <a:pt x="485165" y="248554"/>
                    <a:pt x="485165" y="267592"/>
                    <a:pt x="485165" y="283909"/>
                  </a:cubicBezTo>
                  <a:cubicBezTo>
                    <a:pt x="485165" y="297508"/>
                    <a:pt x="485165" y="313826"/>
                    <a:pt x="485165" y="327424"/>
                  </a:cubicBezTo>
                  <a:cubicBezTo>
                    <a:pt x="485165" y="343742"/>
                    <a:pt x="487884" y="357340"/>
                    <a:pt x="487884" y="373658"/>
                  </a:cubicBezTo>
                  <a:cubicBezTo>
                    <a:pt x="487884" y="389976"/>
                    <a:pt x="485165" y="403574"/>
                    <a:pt x="485165" y="419892"/>
                  </a:cubicBezTo>
                  <a:cubicBezTo>
                    <a:pt x="485165" y="436210"/>
                    <a:pt x="485165" y="449808"/>
                    <a:pt x="485165" y="463407"/>
                  </a:cubicBezTo>
                  <a:cubicBezTo>
                    <a:pt x="485165" y="479725"/>
                    <a:pt x="485165" y="498762"/>
                    <a:pt x="482445" y="515080"/>
                  </a:cubicBezTo>
                  <a:cubicBezTo>
                    <a:pt x="482445" y="528678"/>
                    <a:pt x="482445" y="542277"/>
                    <a:pt x="482445" y="558595"/>
                  </a:cubicBezTo>
                  <a:cubicBezTo>
                    <a:pt x="482445" y="572193"/>
                    <a:pt x="479725" y="588511"/>
                    <a:pt x="479725" y="602109"/>
                  </a:cubicBezTo>
                  <a:cubicBezTo>
                    <a:pt x="479725" y="615708"/>
                    <a:pt x="485165" y="632025"/>
                    <a:pt x="485165" y="648343"/>
                  </a:cubicBezTo>
                  <a:cubicBezTo>
                    <a:pt x="485165" y="659222"/>
                    <a:pt x="482445" y="670101"/>
                    <a:pt x="474286" y="675540"/>
                  </a:cubicBezTo>
                  <a:cubicBezTo>
                    <a:pt x="460688" y="686418"/>
                    <a:pt x="444370" y="691858"/>
                    <a:pt x="428052" y="691858"/>
                  </a:cubicBezTo>
                  <a:cubicBezTo>
                    <a:pt x="414453" y="691858"/>
                    <a:pt x="400855" y="689138"/>
                    <a:pt x="387257" y="683699"/>
                  </a:cubicBezTo>
                  <a:cubicBezTo>
                    <a:pt x="373659" y="678259"/>
                    <a:pt x="360060" y="672820"/>
                    <a:pt x="351901" y="664661"/>
                  </a:cubicBezTo>
                  <a:cubicBezTo>
                    <a:pt x="330144" y="645624"/>
                    <a:pt x="316546" y="621147"/>
                    <a:pt x="305667" y="596670"/>
                  </a:cubicBezTo>
                  <a:cubicBezTo>
                    <a:pt x="292069" y="569473"/>
                    <a:pt x="281190" y="539557"/>
                    <a:pt x="270312" y="509641"/>
                  </a:cubicBezTo>
                  <a:cubicBezTo>
                    <a:pt x="264872" y="493323"/>
                    <a:pt x="256713" y="477005"/>
                    <a:pt x="251274" y="460687"/>
                  </a:cubicBezTo>
                  <a:cubicBezTo>
                    <a:pt x="240395" y="433490"/>
                    <a:pt x="232236" y="409014"/>
                    <a:pt x="224077" y="381817"/>
                  </a:cubicBezTo>
                  <a:cubicBezTo>
                    <a:pt x="218638" y="365499"/>
                    <a:pt x="213199" y="346462"/>
                    <a:pt x="207759" y="330144"/>
                  </a:cubicBezTo>
                  <a:cubicBezTo>
                    <a:pt x="202320" y="316545"/>
                    <a:pt x="196881" y="300227"/>
                    <a:pt x="191442" y="286629"/>
                  </a:cubicBezTo>
                  <a:cubicBezTo>
                    <a:pt x="188722" y="281190"/>
                    <a:pt x="186002" y="278470"/>
                    <a:pt x="183283" y="278470"/>
                  </a:cubicBezTo>
                  <a:cubicBezTo>
                    <a:pt x="180563" y="278470"/>
                    <a:pt x="180563" y="286629"/>
                    <a:pt x="180563" y="292068"/>
                  </a:cubicBezTo>
                  <a:cubicBezTo>
                    <a:pt x="180563" y="297508"/>
                    <a:pt x="180563" y="302947"/>
                    <a:pt x="180563" y="305667"/>
                  </a:cubicBezTo>
                  <a:cubicBezTo>
                    <a:pt x="180563" y="321985"/>
                    <a:pt x="183283" y="338303"/>
                    <a:pt x="183283" y="354620"/>
                  </a:cubicBezTo>
                  <a:cubicBezTo>
                    <a:pt x="183283" y="387256"/>
                    <a:pt x="186002" y="417173"/>
                    <a:pt x="188722" y="449808"/>
                  </a:cubicBezTo>
                  <a:cubicBezTo>
                    <a:pt x="188722" y="460687"/>
                    <a:pt x="188722" y="468846"/>
                    <a:pt x="188722" y="479725"/>
                  </a:cubicBezTo>
                  <a:cubicBezTo>
                    <a:pt x="188722" y="501482"/>
                    <a:pt x="188722" y="523239"/>
                    <a:pt x="188722" y="542277"/>
                  </a:cubicBezTo>
                  <a:cubicBezTo>
                    <a:pt x="188722" y="566754"/>
                    <a:pt x="186002" y="591231"/>
                    <a:pt x="186002" y="615708"/>
                  </a:cubicBezTo>
                  <a:cubicBezTo>
                    <a:pt x="186002" y="623866"/>
                    <a:pt x="186002" y="632025"/>
                    <a:pt x="186002" y="637465"/>
                  </a:cubicBezTo>
                  <a:cubicBezTo>
                    <a:pt x="186002" y="645624"/>
                    <a:pt x="183283" y="656502"/>
                    <a:pt x="183283" y="664661"/>
                  </a:cubicBezTo>
                  <a:cubicBezTo>
                    <a:pt x="202320" y="664661"/>
                    <a:pt x="218638" y="664661"/>
                    <a:pt x="226797" y="664661"/>
                  </a:cubicBezTo>
                  <a:cubicBezTo>
                    <a:pt x="234956" y="664661"/>
                    <a:pt x="253994" y="664661"/>
                    <a:pt x="253994" y="680979"/>
                  </a:cubicBezTo>
                  <a:cubicBezTo>
                    <a:pt x="253994" y="689138"/>
                    <a:pt x="253994" y="691858"/>
                    <a:pt x="248554" y="697297"/>
                  </a:cubicBezTo>
                  <a:cubicBezTo>
                    <a:pt x="245835" y="702736"/>
                    <a:pt x="240395" y="705456"/>
                    <a:pt x="234956" y="705456"/>
                  </a:cubicBezTo>
                  <a:cubicBezTo>
                    <a:pt x="226797" y="708176"/>
                    <a:pt x="224077" y="708176"/>
                    <a:pt x="218638" y="708176"/>
                  </a:cubicBezTo>
                  <a:cubicBezTo>
                    <a:pt x="215918" y="708176"/>
                    <a:pt x="199600" y="708176"/>
                    <a:pt x="183283" y="708176"/>
                  </a:cubicBezTo>
                  <a:cubicBezTo>
                    <a:pt x="166965" y="708176"/>
                    <a:pt x="153366" y="708176"/>
                    <a:pt x="150647" y="708176"/>
                  </a:cubicBezTo>
                  <a:cubicBezTo>
                    <a:pt x="139768" y="708176"/>
                    <a:pt x="120730" y="708176"/>
                    <a:pt x="107132" y="708176"/>
                  </a:cubicBezTo>
                  <a:cubicBezTo>
                    <a:pt x="101693" y="708176"/>
                    <a:pt x="96254" y="708176"/>
                    <a:pt x="88094" y="708176"/>
                  </a:cubicBezTo>
                  <a:cubicBezTo>
                    <a:pt x="82655" y="708176"/>
                    <a:pt x="74496" y="708176"/>
                    <a:pt x="69057" y="702736"/>
                  </a:cubicBezTo>
                  <a:cubicBezTo>
                    <a:pt x="63617" y="700017"/>
                    <a:pt x="58178" y="691858"/>
                    <a:pt x="58178" y="686418"/>
                  </a:cubicBezTo>
                  <a:cubicBezTo>
                    <a:pt x="58178" y="683699"/>
                    <a:pt x="58178" y="680979"/>
                    <a:pt x="60898" y="678259"/>
                  </a:cubicBezTo>
                  <a:cubicBezTo>
                    <a:pt x="63617" y="675540"/>
                    <a:pt x="71777" y="672820"/>
                    <a:pt x="77216" y="670101"/>
                  </a:cubicBezTo>
                  <a:cubicBezTo>
                    <a:pt x="90814" y="667381"/>
                    <a:pt x="115291" y="664661"/>
                    <a:pt x="120730" y="664661"/>
                  </a:cubicBezTo>
                  <a:cubicBezTo>
                    <a:pt x="123450" y="664661"/>
                    <a:pt x="126170" y="664661"/>
                    <a:pt x="131609" y="664661"/>
                  </a:cubicBezTo>
                  <a:cubicBezTo>
                    <a:pt x="131609" y="623866"/>
                    <a:pt x="134329" y="583072"/>
                    <a:pt x="134329" y="539557"/>
                  </a:cubicBezTo>
                  <a:cubicBezTo>
                    <a:pt x="134329" y="528678"/>
                    <a:pt x="134329" y="515080"/>
                    <a:pt x="134329" y="504201"/>
                  </a:cubicBezTo>
                  <a:cubicBezTo>
                    <a:pt x="131609" y="460687"/>
                    <a:pt x="131609" y="417173"/>
                    <a:pt x="131609" y="376378"/>
                  </a:cubicBezTo>
                  <a:cubicBezTo>
                    <a:pt x="131609" y="351901"/>
                    <a:pt x="131609" y="327424"/>
                    <a:pt x="131609" y="302947"/>
                  </a:cubicBezTo>
                  <a:cubicBezTo>
                    <a:pt x="131609" y="275751"/>
                    <a:pt x="131609" y="248554"/>
                    <a:pt x="134329" y="221357"/>
                  </a:cubicBezTo>
                  <a:cubicBezTo>
                    <a:pt x="134329" y="188722"/>
                    <a:pt x="137048" y="156086"/>
                    <a:pt x="137048" y="123450"/>
                  </a:cubicBezTo>
                  <a:cubicBezTo>
                    <a:pt x="126170" y="123450"/>
                    <a:pt x="115291" y="123450"/>
                    <a:pt x="107132" y="123450"/>
                  </a:cubicBezTo>
                  <a:cubicBezTo>
                    <a:pt x="101693" y="123450"/>
                    <a:pt x="96254" y="123450"/>
                    <a:pt x="88094" y="123450"/>
                  </a:cubicBezTo>
                  <a:cubicBezTo>
                    <a:pt x="82655" y="123450"/>
                    <a:pt x="74496" y="120730"/>
                    <a:pt x="69057" y="118011"/>
                  </a:cubicBezTo>
                  <a:cubicBezTo>
                    <a:pt x="63617" y="115291"/>
                    <a:pt x="58178" y="107132"/>
                    <a:pt x="58178" y="101693"/>
                  </a:cubicBezTo>
                  <a:cubicBezTo>
                    <a:pt x="58178" y="98973"/>
                    <a:pt x="58178" y="96253"/>
                    <a:pt x="60898" y="93534"/>
                  </a:cubicBezTo>
                  <a:cubicBezTo>
                    <a:pt x="63617" y="90814"/>
                    <a:pt x="71777" y="88094"/>
                    <a:pt x="77216" y="85375"/>
                  </a:cubicBezTo>
                  <a:cubicBezTo>
                    <a:pt x="90814" y="82655"/>
                    <a:pt x="126170" y="79935"/>
                    <a:pt x="131609" y="79935"/>
                  </a:cubicBezTo>
                  <a:cubicBezTo>
                    <a:pt x="137048" y="79935"/>
                    <a:pt x="147927" y="79935"/>
                    <a:pt x="161525" y="79935"/>
                  </a:cubicBezTo>
                  <a:cubicBezTo>
                    <a:pt x="166965" y="74496"/>
                    <a:pt x="172404" y="71776"/>
                    <a:pt x="177843" y="66337"/>
                  </a:cubicBezTo>
                  <a:cubicBezTo>
                    <a:pt x="186002" y="60898"/>
                    <a:pt x="194161" y="58178"/>
                    <a:pt x="202320" y="58178"/>
                  </a:cubicBezTo>
                  <a:cubicBezTo>
                    <a:pt x="215918" y="58178"/>
                    <a:pt x="226797" y="63617"/>
                    <a:pt x="234956" y="77216"/>
                  </a:cubicBezTo>
                  <a:cubicBezTo>
                    <a:pt x="240395" y="88094"/>
                    <a:pt x="248554" y="96253"/>
                    <a:pt x="251274" y="107132"/>
                  </a:cubicBezTo>
                  <a:cubicBezTo>
                    <a:pt x="256713" y="120730"/>
                    <a:pt x="259433" y="134328"/>
                    <a:pt x="267592" y="147927"/>
                  </a:cubicBezTo>
                  <a:cubicBezTo>
                    <a:pt x="273031" y="158805"/>
                    <a:pt x="275751" y="172404"/>
                    <a:pt x="281190" y="183282"/>
                  </a:cubicBezTo>
                  <a:cubicBezTo>
                    <a:pt x="286630" y="196881"/>
                    <a:pt x="292069" y="210479"/>
                    <a:pt x="297508" y="224077"/>
                  </a:cubicBezTo>
                  <a:cubicBezTo>
                    <a:pt x="300228" y="237675"/>
                    <a:pt x="305667" y="251274"/>
                    <a:pt x="308387" y="264872"/>
                  </a:cubicBezTo>
                  <a:cubicBezTo>
                    <a:pt x="311106" y="278470"/>
                    <a:pt x="311106" y="289349"/>
                    <a:pt x="319265" y="300227"/>
                  </a:cubicBezTo>
                  <a:cubicBezTo>
                    <a:pt x="332864" y="324704"/>
                    <a:pt x="346462" y="351901"/>
                    <a:pt x="351901" y="379097"/>
                  </a:cubicBezTo>
                  <a:cubicBezTo>
                    <a:pt x="354621" y="392696"/>
                    <a:pt x="360060" y="403574"/>
                    <a:pt x="365500" y="417173"/>
                  </a:cubicBezTo>
                  <a:cubicBezTo>
                    <a:pt x="373659" y="430771"/>
                    <a:pt x="373659" y="444369"/>
                    <a:pt x="379098" y="457967"/>
                  </a:cubicBezTo>
                  <a:cubicBezTo>
                    <a:pt x="381818" y="471566"/>
                    <a:pt x="387257" y="482444"/>
                    <a:pt x="395416" y="496043"/>
                  </a:cubicBezTo>
                  <a:cubicBezTo>
                    <a:pt x="398136" y="501482"/>
                    <a:pt x="403575" y="506921"/>
                    <a:pt x="406294" y="512361"/>
                  </a:cubicBezTo>
                  <a:cubicBezTo>
                    <a:pt x="409014" y="517800"/>
                    <a:pt x="409014" y="525959"/>
                    <a:pt x="411734" y="531398"/>
                  </a:cubicBezTo>
                  <a:cubicBezTo>
                    <a:pt x="414453" y="539557"/>
                    <a:pt x="417173" y="550436"/>
                    <a:pt x="419893" y="558595"/>
                  </a:cubicBezTo>
                  <a:cubicBezTo>
                    <a:pt x="422613" y="561314"/>
                    <a:pt x="422613" y="564034"/>
                    <a:pt x="425332" y="564034"/>
                  </a:cubicBezTo>
                  <a:cubicBezTo>
                    <a:pt x="428052" y="564034"/>
                    <a:pt x="428052" y="561314"/>
                    <a:pt x="430771" y="558595"/>
                  </a:cubicBezTo>
                  <a:cubicBezTo>
                    <a:pt x="430771" y="555875"/>
                    <a:pt x="430771" y="553155"/>
                    <a:pt x="430771" y="550436"/>
                  </a:cubicBezTo>
                  <a:cubicBezTo>
                    <a:pt x="430771" y="534118"/>
                    <a:pt x="430771" y="517800"/>
                    <a:pt x="430771" y="501482"/>
                  </a:cubicBezTo>
                  <a:cubicBezTo>
                    <a:pt x="430771" y="468846"/>
                    <a:pt x="433491" y="436210"/>
                    <a:pt x="430771" y="403574"/>
                  </a:cubicBezTo>
                  <a:cubicBezTo>
                    <a:pt x="430771" y="373658"/>
                    <a:pt x="425332" y="343742"/>
                    <a:pt x="425332" y="313826"/>
                  </a:cubicBezTo>
                  <a:cubicBezTo>
                    <a:pt x="425332" y="292068"/>
                    <a:pt x="425332" y="270311"/>
                    <a:pt x="425332" y="248554"/>
                  </a:cubicBezTo>
                  <a:cubicBezTo>
                    <a:pt x="425332" y="234956"/>
                    <a:pt x="425332" y="224077"/>
                    <a:pt x="425332" y="210479"/>
                  </a:cubicBezTo>
                  <a:cubicBezTo>
                    <a:pt x="425332" y="191441"/>
                    <a:pt x="422613" y="172404"/>
                    <a:pt x="422613" y="153366"/>
                  </a:cubicBezTo>
                  <a:cubicBezTo>
                    <a:pt x="422613" y="142487"/>
                    <a:pt x="422613" y="134328"/>
                    <a:pt x="425332" y="123450"/>
                  </a:cubicBezTo>
                  <a:cubicBezTo>
                    <a:pt x="417173" y="123450"/>
                    <a:pt x="406294" y="123450"/>
                    <a:pt x="398136" y="123450"/>
                  </a:cubicBezTo>
                  <a:cubicBezTo>
                    <a:pt x="392696" y="123450"/>
                    <a:pt x="387257" y="123450"/>
                    <a:pt x="379098" y="123450"/>
                  </a:cubicBezTo>
                  <a:cubicBezTo>
                    <a:pt x="373659" y="123450"/>
                    <a:pt x="365500" y="120730"/>
                    <a:pt x="360060" y="118011"/>
                  </a:cubicBezTo>
                  <a:cubicBezTo>
                    <a:pt x="354621" y="115291"/>
                    <a:pt x="349182" y="107132"/>
                    <a:pt x="349182" y="101693"/>
                  </a:cubicBezTo>
                  <a:cubicBezTo>
                    <a:pt x="349182" y="98973"/>
                    <a:pt x="349182" y="96253"/>
                    <a:pt x="351901" y="93534"/>
                  </a:cubicBezTo>
                  <a:cubicBezTo>
                    <a:pt x="354621" y="90814"/>
                    <a:pt x="362780" y="88094"/>
                    <a:pt x="368219" y="85375"/>
                  </a:cubicBezTo>
                  <a:cubicBezTo>
                    <a:pt x="381818" y="82655"/>
                    <a:pt x="417173" y="79935"/>
                    <a:pt x="422613" y="79935"/>
                  </a:cubicBezTo>
                  <a:cubicBezTo>
                    <a:pt x="428052" y="79935"/>
                    <a:pt x="433491" y="79935"/>
                    <a:pt x="444370" y="79935"/>
                  </a:cubicBezTo>
                  <a:cubicBezTo>
                    <a:pt x="449809" y="74496"/>
                    <a:pt x="455248" y="71776"/>
                    <a:pt x="463407" y="71776"/>
                  </a:cubicBezTo>
                  <a:cubicBezTo>
                    <a:pt x="471566" y="71776"/>
                    <a:pt x="477006" y="74496"/>
                    <a:pt x="477006" y="79935"/>
                  </a:cubicBezTo>
                  <a:cubicBezTo>
                    <a:pt x="493324" y="79935"/>
                    <a:pt x="506922" y="79935"/>
                    <a:pt x="515081" y="79935"/>
                  </a:cubicBezTo>
                  <a:lnTo>
                    <a:pt x="515081" y="79935"/>
                  </a:ln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/>
            </a:p>
          </p:txBody>
        </p:sp>
        <p:sp>
          <p:nvSpPr>
            <p:cNvPr id="48" name="Freeform: Shape 47">
              <a:extLst>
                <a:ext uri="{FF2B5EF4-FFF2-40B4-BE49-F238E27FC236}">
                  <a16:creationId xmlns:a16="http://schemas.microsoft.com/office/drawing/2014/main" id="{036A51AB-A18D-4440-9151-7933E6130ED3}"/>
                </a:ext>
              </a:extLst>
            </p:cNvPr>
            <p:cNvSpPr/>
            <p:nvPr/>
          </p:nvSpPr>
          <p:spPr>
            <a:xfrm>
              <a:off x="5139126" y="4192158"/>
              <a:ext cx="516735" cy="788700"/>
            </a:xfrm>
            <a:custGeom>
              <a:avLst/>
              <a:gdLst>
                <a:gd name="connsiteX0" fmla="*/ 464616 w 516735"/>
                <a:gd name="connsiteY0" fmla="*/ 436210 h 788699"/>
                <a:gd name="connsiteX1" fmla="*/ 445578 w 516735"/>
                <a:gd name="connsiteY1" fmla="*/ 455248 h 788699"/>
                <a:gd name="connsiteX2" fmla="*/ 404784 w 516735"/>
                <a:gd name="connsiteY2" fmla="*/ 466126 h 788699"/>
                <a:gd name="connsiteX3" fmla="*/ 385746 w 516735"/>
                <a:gd name="connsiteY3" fmla="*/ 479725 h 788699"/>
                <a:gd name="connsiteX4" fmla="*/ 388466 w 516735"/>
                <a:gd name="connsiteY4" fmla="*/ 512361 h 788699"/>
                <a:gd name="connsiteX5" fmla="*/ 388466 w 516735"/>
                <a:gd name="connsiteY5" fmla="*/ 544997 h 788699"/>
                <a:gd name="connsiteX6" fmla="*/ 388466 w 516735"/>
                <a:gd name="connsiteY6" fmla="*/ 566754 h 788699"/>
                <a:gd name="connsiteX7" fmla="*/ 391185 w 516735"/>
                <a:gd name="connsiteY7" fmla="*/ 632026 h 788699"/>
                <a:gd name="connsiteX8" fmla="*/ 393905 w 516735"/>
                <a:gd name="connsiteY8" fmla="*/ 683699 h 788699"/>
                <a:gd name="connsiteX9" fmla="*/ 377587 w 516735"/>
                <a:gd name="connsiteY9" fmla="*/ 724494 h 788699"/>
                <a:gd name="connsiteX10" fmla="*/ 361269 w 516735"/>
                <a:gd name="connsiteY10" fmla="*/ 719054 h 788699"/>
                <a:gd name="connsiteX11" fmla="*/ 353110 w 516735"/>
                <a:gd name="connsiteY11" fmla="*/ 702737 h 788699"/>
                <a:gd name="connsiteX12" fmla="*/ 350390 w 516735"/>
                <a:gd name="connsiteY12" fmla="*/ 686419 h 788699"/>
                <a:gd name="connsiteX13" fmla="*/ 353110 w 516735"/>
                <a:gd name="connsiteY13" fmla="*/ 659222 h 788699"/>
                <a:gd name="connsiteX14" fmla="*/ 353110 w 516735"/>
                <a:gd name="connsiteY14" fmla="*/ 656502 h 788699"/>
                <a:gd name="connsiteX15" fmla="*/ 317755 w 516735"/>
                <a:gd name="connsiteY15" fmla="*/ 708176 h 788699"/>
                <a:gd name="connsiteX16" fmla="*/ 241604 w 516735"/>
                <a:gd name="connsiteY16" fmla="*/ 735372 h 788699"/>
                <a:gd name="connsiteX17" fmla="*/ 187211 w 516735"/>
                <a:gd name="connsiteY17" fmla="*/ 727214 h 788699"/>
                <a:gd name="connsiteX18" fmla="*/ 135538 w 516735"/>
                <a:gd name="connsiteY18" fmla="*/ 694578 h 788699"/>
                <a:gd name="connsiteX19" fmla="*/ 86584 w 516735"/>
                <a:gd name="connsiteY19" fmla="*/ 621147 h 788699"/>
                <a:gd name="connsiteX20" fmla="*/ 67546 w 516735"/>
                <a:gd name="connsiteY20" fmla="*/ 555875 h 788699"/>
                <a:gd name="connsiteX21" fmla="*/ 59387 w 516735"/>
                <a:gd name="connsiteY21" fmla="*/ 509641 h 788699"/>
                <a:gd name="connsiteX22" fmla="*/ 59387 w 516735"/>
                <a:gd name="connsiteY22" fmla="*/ 468846 h 788699"/>
                <a:gd name="connsiteX23" fmla="*/ 86584 w 516735"/>
                <a:gd name="connsiteY23" fmla="*/ 302947 h 788699"/>
                <a:gd name="connsiteX24" fmla="*/ 108341 w 516735"/>
                <a:gd name="connsiteY24" fmla="*/ 224077 h 788699"/>
                <a:gd name="connsiteX25" fmla="*/ 146416 w 516735"/>
                <a:gd name="connsiteY25" fmla="*/ 145207 h 788699"/>
                <a:gd name="connsiteX26" fmla="*/ 198090 w 516735"/>
                <a:gd name="connsiteY26" fmla="*/ 85375 h 788699"/>
                <a:gd name="connsiteX27" fmla="*/ 228006 w 516735"/>
                <a:gd name="connsiteY27" fmla="*/ 69057 h 788699"/>
                <a:gd name="connsiteX28" fmla="*/ 268801 w 516735"/>
                <a:gd name="connsiteY28" fmla="*/ 58178 h 788699"/>
                <a:gd name="connsiteX29" fmla="*/ 274240 w 516735"/>
                <a:gd name="connsiteY29" fmla="*/ 58178 h 788699"/>
                <a:gd name="connsiteX30" fmla="*/ 295997 w 516735"/>
                <a:gd name="connsiteY30" fmla="*/ 60898 h 788699"/>
                <a:gd name="connsiteX31" fmla="*/ 331353 w 516735"/>
                <a:gd name="connsiteY31" fmla="*/ 71776 h 788699"/>
                <a:gd name="connsiteX32" fmla="*/ 350390 w 516735"/>
                <a:gd name="connsiteY32" fmla="*/ 93534 h 788699"/>
                <a:gd name="connsiteX33" fmla="*/ 353110 w 516735"/>
                <a:gd name="connsiteY33" fmla="*/ 74496 h 788699"/>
                <a:gd name="connsiteX34" fmla="*/ 358549 w 516735"/>
                <a:gd name="connsiteY34" fmla="*/ 63618 h 788699"/>
                <a:gd name="connsiteX35" fmla="*/ 366708 w 516735"/>
                <a:gd name="connsiteY35" fmla="*/ 58178 h 788699"/>
                <a:gd name="connsiteX36" fmla="*/ 374867 w 516735"/>
                <a:gd name="connsiteY36" fmla="*/ 63618 h 788699"/>
                <a:gd name="connsiteX37" fmla="*/ 383026 w 516735"/>
                <a:gd name="connsiteY37" fmla="*/ 82655 h 788699"/>
                <a:gd name="connsiteX38" fmla="*/ 385746 w 516735"/>
                <a:gd name="connsiteY38" fmla="*/ 126170 h 788699"/>
                <a:gd name="connsiteX39" fmla="*/ 388466 w 516735"/>
                <a:gd name="connsiteY39" fmla="*/ 186002 h 788699"/>
                <a:gd name="connsiteX40" fmla="*/ 391185 w 516735"/>
                <a:gd name="connsiteY40" fmla="*/ 237676 h 788699"/>
                <a:gd name="connsiteX41" fmla="*/ 374867 w 516735"/>
                <a:gd name="connsiteY41" fmla="*/ 278470 h 788699"/>
                <a:gd name="connsiteX42" fmla="*/ 358549 w 516735"/>
                <a:gd name="connsiteY42" fmla="*/ 273031 h 788699"/>
                <a:gd name="connsiteX43" fmla="*/ 350390 w 516735"/>
                <a:gd name="connsiteY43" fmla="*/ 256713 h 788699"/>
                <a:gd name="connsiteX44" fmla="*/ 347671 w 516735"/>
                <a:gd name="connsiteY44" fmla="*/ 240395 h 788699"/>
                <a:gd name="connsiteX45" fmla="*/ 347671 w 516735"/>
                <a:gd name="connsiteY45" fmla="*/ 213199 h 788699"/>
                <a:gd name="connsiteX46" fmla="*/ 344951 w 516735"/>
                <a:gd name="connsiteY46" fmla="*/ 194161 h 788699"/>
                <a:gd name="connsiteX47" fmla="*/ 339512 w 516735"/>
                <a:gd name="connsiteY47" fmla="*/ 150647 h 788699"/>
                <a:gd name="connsiteX48" fmla="*/ 323194 w 516735"/>
                <a:gd name="connsiteY48" fmla="*/ 112571 h 788699"/>
                <a:gd name="connsiteX49" fmla="*/ 293278 w 516735"/>
                <a:gd name="connsiteY49" fmla="*/ 101693 h 788699"/>
                <a:gd name="connsiteX50" fmla="*/ 263361 w 516735"/>
                <a:gd name="connsiteY50" fmla="*/ 120730 h 788699"/>
                <a:gd name="connsiteX51" fmla="*/ 241604 w 516735"/>
                <a:gd name="connsiteY51" fmla="*/ 153366 h 788699"/>
                <a:gd name="connsiteX52" fmla="*/ 233445 w 516735"/>
                <a:gd name="connsiteY52" fmla="*/ 194161 h 788699"/>
                <a:gd name="connsiteX53" fmla="*/ 225286 w 516735"/>
                <a:gd name="connsiteY53" fmla="*/ 232236 h 788699"/>
                <a:gd name="connsiteX54" fmla="*/ 217127 w 516735"/>
                <a:gd name="connsiteY54" fmla="*/ 275751 h 788699"/>
                <a:gd name="connsiteX55" fmla="*/ 211688 w 516735"/>
                <a:gd name="connsiteY55" fmla="*/ 316545 h 788699"/>
                <a:gd name="connsiteX56" fmla="*/ 206249 w 516735"/>
                <a:gd name="connsiteY56" fmla="*/ 354621 h 788699"/>
                <a:gd name="connsiteX57" fmla="*/ 200809 w 516735"/>
                <a:gd name="connsiteY57" fmla="*/ 398135 h 788699"/>
                <a:gd name="connsiteX58" fmla="*/ 195370 w 516735"/>
                <a:gd name="connsiteY58" fmla="*/ 438930 h 788699"/>
                <a:gd name="connsiteX59" fmla="*/ 192650 w 516735"/>
                <a:gd name="connsiteY59" fmla="*/ 474286 h 788699"/>
                <a:gd name="connsiteX60" fmla="*/ 195370 w 516735"/>
                <a:gd name="connsiteY60" fmla="*/ 525959 h 788699"/>
                <a:gd name="connsiteX61" fmla="*/ 208968 w 516735"/>
                <a:gd name="connsiteY61" fmla="*/ 596670 h 788699"/>
                <a:gd name="connsiteX62" fmla="*/ 214407 w 516735"/>
                <a:gd name="connsiteY62" fmla="*/ 623867 h 788699"/>
                <a:gd name="connsiteX63" fmla="*/ 228006 w 516735"/>
                <a:gd name="connsiteY63" fmla="*/ 656502 h 788699"/>
                <a:gd name="connsiteX64" fmla="*/ 271520 w 516735"/>
                <a:gd name="connsiteY64" fmla="*/ 689138 h 788699"/>
                <a:gd name="connsiteX65" fmla="*/ 306876 w 516735"/>
                <a:gd name="connsiteY65" fmla="*/ 664661 h 788699"/>
                <a:gd name="connsiteX66" fmla="*/ 331353 w 516735"/>
                <a:gd name="connsiteY66" fmla="*/ 602109 h 788699"/>
                <a:gd name="connsiteX67" fmla="*/ 336792 w 516735"/>
                <a:gd name="connsiteY67" fmla="*/ 544997 h 788699"/>
                <a:gd name="connsiteX68" fmla="*/ 336792 w 516735"/>
                <a:gd name="connsiteY68" fmla="*/ 498762 h 788699"/>
                <a:gd name="connsiteX69" fmla="*/ 336792 w 516735"/>
                <a:gd name="connsiteY69" fmla="*/ 490603 h 788699"/>
                <a:gd name="connsiteX70" fmla="*/ 320474 w 516735"/>
                <a:gd name="connsiteY70" fmla="*/ 477005 h 788699"/>
                <a:gd name="connsiteX71" fmla="*/ 282399 w 516735"/>
                <a:gd name="connsiteY71" fmla="*/ 479725 h 788699"/>
                <a:gd name="connsiteX72" fmla="*/ 252483 w 516735"/>
                <a:gd name="connsiteY72" fmla="*/ 474286 h 788699"/>
                <a:gd name="connsiteX73" fmla="*/ 247043 w 516735"/>
                <a:gd name="connsiteY73" fmla="*/ 466126 h 788699"/>
                <a:gd name="connsiteX74" fmla="*/ 249763 w 516735"/>
                <a:gd name="connsiteY74" fmla="*/ 457968 h 788699"/>
                <a:gd name="connsiteX75" fmla="*/ 268801 w 516735"/>
                <a:gd name="connsiteY75" fmla="*/ 447089 h 788699"/>
                <a:gd name="connsiteX76" fmla="*/ 312315 w 516735"/>
                <a:gd name="connsiteY76" fmla="*/ 436210 h 788699"/>
                <a:gd name="connsiteX77" fmla="*/ 353110 w 516735"/>
                <a:gd name="connsiteY77" fmla="*/ 430771 h 788699"/>
                <a:gd name="connsiteX78" fmla="*/ 385746 w 516735"/>
                <a:gd name="connsiteY78" fmla="*/ 430771 h 788699"/>
                <a:gd name="connsiteX79" fmla="*/ 437420 w 516735"/>
                <a:gd name="connsiteY79" fmla="*/ 428051 h 788699"/>
                <a:gd name="connsiteX80" fmla="*/ 464616 w 516735"/>
                <a:gd name="connsiteY80" fmla="*/ 436210 h 7886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</a:cxnLst>
              <a:rect l="l" t="t" r="r" b="b"/>
              <a:pathLst>
                <a:path w="516735" h="788699">
                  <a:moveTo>
                    <a:pt x="464616" y="436210"/>
                  </a:moveTo>
                  <a:cubicBezTo>
                    <a:pt x="464616" y="447089"/>
                    <a:pt x="453737" y="452528"/>
                    <a:pt x="445578" y="455248"/>
                  </a:cubicBezTo>
                  <a:cubicBezTo>
                    <a:pt x="434700" y="460687"/>
                    <a:pt x="415662" y="463407"/>
                    <a:pt x="404784" y="466126"/>
                  </a:cubicBezTo>
                  <a:cubicBezTo>
                    <a:pt x="393905" y="466126"/>
                    <a:pt x="385746" y="468846"/>
                    <a:pt x="385746" y="479725"/>
                  </a:cubicBezTo>
                  <a:cubicBezTo>
                    <a:pt x="385746" y="487884"/>
                    <a:pt x="388466" y="506921"/>
                    <a:pt x="388466" y="512361"/>
                  </a:cubicBezTo>
                  <a:cubicBezTo>
                    <a:pt x="388466" y="515080"/>
                    <a:pt x="388466" y="539557"/>
                    <a:pt x="388466" y="544997"/>
                  </a:cubicBezTo>
                  <a:cubicBezTo>
                    <a:pt x="388466" y="550436"/>
                    <a:pt x="388466" y="558595"/>
                    <a:pt x="388466" y="566754"/>
                  </a:cubicBezTo>
                  <a:cubicBezTo>
                    <a:pt x="388466" y="591231"/>
                    <a:pt x="388466" y="621147"/>
                    <a:pt x="391185" y="632026"/>
                  </a:cubicBezTo>
                  <a:cubicBezTo>
                    <a:pt x="393905" y="653783"/>
                    <a:pt x="393905" y="661942"/>
                    <a:pt x="393905" y="683699"/>
                  </a:cubicBezTo>
                  <a:cubicBezTo>
                    <a:pt x="393905" y="694578"/>
                    <a:pt x="393905" y="724494"/>
                    <a:pt x="377587" y="724494"/>
                  </a:cubicBezTo>
                  <a:cubicBezTo>
                    <a:pt x="369428" y="724494"/>
                    <a:pt x="366708" y="721774"/>
                    <a:pt x="361269" y="719054"/>
                  </a:cubicBezTo>
                  <a:cubicBezTo>
                    <a:pt x="355830" y="716335"/>
                    <a:pt x="353110" y="708176"/>
                    <a:pt x="353110" y="702737"/>
                  </a:cubicBezTo>
                  <a:cubicBezTo>
                    <a:pt x="350390" y="694578"/>
                    <a:pt x="350390" y="689138"/>
                    <a:pt x="350390" y="686419"/>
                  </a:cubicBezTo>
                  <a:cubicBezTo>
                    <a:pt x="350390" y="678260"/>
                    <a:pt x="353110" y="672820"/>
                    <a:pt x="353110" y="659222"/>
                  </a:cubicBezTo>
                  <a:lnTo>
                    <a:pt x="353110" y="656502"/>
                  </a:lnTo>
                  <a:cubicBezTo>
                    <a:pt x="347671" y="675540"/>
                    <a:pt x="334072" y="694578"/>
                    <a:pt x="317755" y="708176"/>
                  </a:cubicBezTo>
                  <a:cubicBezTo>
                    <a:pt x="293278" y="727214"/>
                    <a:pt x="274240" y="735372"/>
                    <a:pt x="241604" y="735372"/>
                  </a:cubicBezTo>
                  <a:cubicBezTo>
                    <a:pt x="222566" y="735372"/>
                    <a:pt x="203529" y="732653"/>
                    <a:pt x="187211" y="727214"/>
                  </a:cubicBezTo>
                  <a:cubicBezTo>
                    <a:pt x="165454" y="719054"/>
                    <a:pt x="149136" y="708176"/>
                    <a:pt x="135538" y="694578"/>
                  </a:cubicBezTo>
                  <a:cubicBezTo>
                    <a:pt x="113780" y="672820"/>
                    <a:pt x="100182" y="648343"/>
                    <a:pt x="86584" y="621147"/>
                  </a:cubicBezTo>
                  <a:cubicBezTo>
                    <a:pt x="75705" y="599390"/>
                    <a:pt x="70266" y="580352"/>
                    <a:pt x="67546" y="555875"/>
                  </a:cubicBezTo>
                  <a:cubicBezTo>
                    <a:pt x="64826" y="539557"/>
                    <a:pt x="62107" y="525959"/>
                    <a:pt x="59387" y="509641"/>
                  </a:cubicBezTo>
                  <a:cubicBezTo>
                    <a:pt x="56667" y="493323"/>
                    <a:pt x="59387" y="485164"/>
                    <a:pt x="59387" y="468846"/>
                  </a:cubicBezTo>
                  <a:cubicBezTo>
                    <a:pt x="59387" y="414453"/>
                    <a:pt x="72985" y="362780"/>
                    <a:pt x="86584" y="302947"/>
                  </a:cubicBezTo>
                  <a:cubicBezTo>
                    <a:pt x="92023" y="275751"/>
                    <a:pt x="100182" y="248554"/>
                    <a:pt x="108341" y="224077"/>
                  </a:cubicBezTo>
                  <a:cubicBezTo>
                    <a:pt x="116500" y="196881"/>
                    <a:pt x="130098" y="169684"/>
                    <a:pt x="146416" y="145207"/>
                  </a:cubicBezTo>
                  <a:cubicBezTo>
                    <a:pt x="160014" y="123450"/>
                    <a:pt x="176332" y="101693"/>
                    <a:pt x="198090" y="85375"/>
                  </a:cubicBezTo>
                  <a:cubicBezTo>
                    <a:pt x="206249" y="77216"/>
                    <a:pt x="217127" y="71776"/>
                    <a:pt x="228006" y="69057"/>
                  </a:cubicBezTo>
                  <a:cubicBezTo>
                    <a:pt x="241604" y="63618"/>
                    <a:pt x="255202" y="58178"/>
                    <a:pt x="268801" y="58178"/>
                  </a:cubicBezTo>
                  <a:cubicBezTo>
                    <a:pt x="271520" y="58178"/>
                    <a:pt x="274240" y="58178"/>
                    <a:pt x="274240" y="58178"/>
                  </a:cubicBezTo>
                  <a:cubicBezTo>
                    <a:pt x="279679" y="58178"/>
                    <a:pt x="285119" y="58178"/>
                    <a:pt x="295997" y="60898"/>
                  </a:cubicBezTo>
                  <a:cubicBezTo>
                    <a:pt x="309595" y="63618"/>
                    <a:pt x="320474" y="66337"/>
                    <a:pt x="331353" y="71776"/>
                  </a:cubicBezTo>
                  <a:cubicBezTo>
                    <a:pt x="339512" y="77216"/>
                    <a:pt x="347671" y="85375"/>
                    <a:pt x="350390" y="93534"/>
                  </a:cubicBezTo>
                  <a:cubicBezTo>
                    <a:pt x="350390" y="88095"/>
                    <a:pt x="353110" y="79936"/>
                    <a:pt x="353110" y="74496"/>
                  </a:cubicBezTo>
                  <a:cubicBezTo>
                    <a:pt x="355830" y="71776"/>
                    <a:pt x="355830" y="69057"/>
                    <a:pt x="358549" y="63618"/>
                  </a:cubicBezTo>
                  <a:cubicBezTo>
                    <a:pt x="361269" y="60898"/>
                    <a:pt x="363989" y="58178"/>
                    <a:pt x="366708" y="58178"/>
                  </a:cubicBezTo>
                  <a:cubicBezTo>
                    <a:pt x="369428" y="58178"/>
                    <a:pt x="372148" y="60898"/>
                    <a:pt x="374867" y="63618"/>
                  </a:cubicBezTo>
                  <a:cubicBezTo>
                    <a:pt x="377587" y="69057"/>
                    <a:pt x="380307" y="77216"/>
                    <a:pt x="383026" y="82655"/>
                  </a:cubicBezTo>
                  <a:cubicBezTo>
                    <a:pt x="383026" y="90814"/>
                    <a:pt x="385746" y="107132"/>
                    <a:pt x="385746" y="126170"/>
                  </a:cubicBezTo>
                  <a:cubicBezTo>
                    <a:pt x="385746" y="150647"/>
                    <a:pt x="385746" y="177843"/>
                    <a:pt x="388466" y="186002"/>
                  </a:cubicBezTo>
                  <a:cubicBezTo>
                    <a:pt x="391185" y="207759"/>
                    <a:pt x="391185" y="215918"/>
                    <a:pt x="391185" y="237676"/>
                  </a:cubicBezTo>
                  <a:cubicBezTo>
                    <a:pt x="391185" y="248554"/>
                    <a:pt x="391185" y="278470"/>
                    <a:pt x="374867" y="278470"/>
                  </a:cubicBezTo>
                  <a:cubicBezTo>
                    <a:pt x="366708" y="278470"/>
                    <a:pt x="363989" y="275751"/>
                    <a:pt x="358549" y="273031"/>
                  </a:cubicBezTo>
                  <a:cubicBezTo>
                    <a:pt x="353110" y="270311"/>
                    <a:pt x="350390" y="262152"/>
                    <a:pt x="350390" y="256713"/>
                  </a:cubicBezTo>
                  <a:cubicBezTo>
                    <a:pt x="350390" y="251274"/>
                    <a:pt x="347671" y="245834"/>
                    <a:pt x="347671" y="240395"/>
                  </a:cubicBezTo>
                  <a:cubicBezTo>
                    <a:pt x="347671" y="232236"/>
                    <a:pt x="347671" y="224077"/>
                    <a:pt x="347671" y="213199"/>
                  </a:cubicBezTo>
                  <a:cubicBezTo>
                    <a:pt x="347671" y="207759"/>
                    <a:pt x="347671" y="199600"/>
                    <a:pt x="344951" y="194161"/>
                  </a:cubicBezTo>
                  <a:cubicBezTo>
                    <a:pt x="342232" y="180563"/>
                    <a:pt x="342232" y="164245"/>
                    <a:pt x="339512" y="150647"/>
                  </a:cubicBezTo>
                  <a:cubicBezTo>
                    <a:pt x="336792" y="137048"/>
                    <a:pt x="331353" y="123450"/>
                    <a:pt x="323194" y="112571"/>
                  </a:cubicBezTo>
                  <a:cubicBezTo>
                    <a:pt x="317755" y="104412"/>
                    <a:pt x="304156" y="101693"/>
                    <a:pt x="293278" y="101693"/>
                  </a:cubicBezTo>
                  <a:cubicBezTo>
                    <a:pt x="279679" y="101693"/>
                    <a:pt x="271520" y="109852"/>
                    <a:pt x="263361" y="120730"/>
                  </a:cubicBezTo>
                  <a:cubicBezTo>
                    <a:pt x="257922" y="131609"/>
                    <a:pt x="247043" y="139768"/>
                    <a:pt x="241604" y="153366"/>
                  </a:cubicBezTo>
                  <a:cubicBezTo>
                    <a:pt x="236165" y="166964"/>
                    <a:pt x="233445" y="180563"/>
                    <a:pt x="233445" y="194161"/>
                  </a:cubicBezTo>
                  <a:cubicBezTo>
                    <a:pt x="233445" y="207759"/>
                    <a:pt x="230726" y="218638"/>
                    <a:pt x="225286" y="232236"/>
                  </a:cubicBezTo>
                  <a:cubicBezTo>
                    <a:pt x="219847" y="245834"/>
                    <a:pt x="219847" y="262152"/>
                    <a:pt x="217127" y="275751"/>
                  </a:cubicBezTo>
                  <a:cubicBezTo>
                    <a:pt x="214407" y="289349"/>
                    <a:pt x="214407" y="302947"/>
                    <a:pt x="211688" y="316545"/>
                  </a:cubicBezTo>
                  <a:cubicBezTo>
                    <a:pt x="211688" y="330144"/>
                    <a:pt x="206249" y="341022"/>
                    <a:pt x="206249" y="354621"/>
                  </a:cubicBezTo>
                  <a:cubicBezTo>
                    <a:pt x="203529" y="368219"/>
                    <a:pt x="203529" y="381817"/>
                    <a:pt x="200809" y="398135"/>
                  </a:cubicBezTo>
                  <a:cubicBezTo>
                    <a:pt x="198090" y="411733"/>
                    <a:pt x="198090" y="425332"/>
                    <a:pt x="195370" y="438930"/>
                  </a:cubicBezTo>
                  <a:cubicBezTo>
                    <a:pt x="195370" y="449809"/>
                    <a:pt x="192650" y="463407"/>
                    <a:pt x="192650" y="474286"/>
                  </a:cubicBezTo>
                  <a:cubicBezTo>
                    <a:pt x="192650" y="490603"/>
                    <a:pt x="195370" y="509641"/>
                    <a:pt x="195370" y="525959"/>
                  </a:cubicBezTo>
                  <a:cubicBezTo>
                    <a:pt x="195370" y="550436"/>
                    <a:pt x="203529" y="572193"/>
                    <a:pt x="208968" y="596670"/>
                  </a:cubicBezTo>
                  <a:cubicBezTo>
                    <a:pt x="211688" y="604829"/>
                    <a:pt x="211688" y="615708"/>
                    <a:pt x="214407" y="623867"/>
                  </a:cubicBezTo>
                  <a:cubicBezTo>
                    <a:pt x="217127" y="634745"/>
                    <a:pt x="222566" y="645624"/>
                    <a:pt x="228006" y="656502"/>
                  </a:cubicBezTo>
                  <a:cubicBezTo>
                    <a:pt x="236165" y="670101"/>
                    <a:pt x="252483" y="689138"/>
                    <a:pt x="271520" y="689138"/>
                  </a:cubicBezTo>
                  <a:cubicBezTo>
                    <a:pt x="287838" y="689138"/>
                    <a:pt x="298717" y="675540"/>
                    <a:pt x="306876" y="664661"/>
                  </a:cubicBezTo>
                  <a:cubicBezTo>
                    <a:pt x="320474" y="645624"/>
                    <a:pt x="325914" y="623867"/>
                    <a:pt x="331353" y="602109"/>
                  </a:cubicBezTo>
                  <a:cubicBezTo>
                    <a:pt x="334072" y="583072"/>
                    <a:pt x="336792" y="564034"/>
                    <a:pt x="336792" y="544997"/>
                  </a:cubicBezTo>
                  <a:cubicBezTo>
                    <a:pt x="336792" y="531398"/>
                    <a:pt x="336792" y="512361"/>
                    <a:pt x="336792" y="498762"/>
                  </a:cubicBezTo>
                  <a:cubicBezTo>
                    <a:pt x="336792" y="496043"/>
                    <a:pt x="336792" y="493323"/>
                    <a:pt x="336792" y="490603"/>
                  </a:cubicBezTo>
                  <a:cubicBezTo>
                    <a:pt x="336792" y="479725"/>
                    <a:pt x="336792" y="477005"/>
                    <a:pt x="320474" y="477005"/>
                  </a:cubicBezTo>
                  <a:cubicBezTo>
                    <a:pt x="309595" y="477005"/>
                    <a:pt x="295997" y="479725"/>
                    <a:pt x="282399" y="479725"/>
                  </a:cubicBezTo>
                  <a:cubicBezTo>
                    <a:pt x="271520" y="479725"/>
                    <a:pt x="260642" y="479725"/>
                    <a:pt x="252483" y="474286"/>
                  </a:cubicBezTo>
                  <a:cubicBezTo>
                    <a:pt x="249763" y="471566"/>
                    <a:pt x="247043" y="468846"/>
                    <a:pt x="247043" y="466126"/>
                  </a:cubicBezTo>
                  <a:cubicBezTo>
                    <a:pt x="247043" y="463407"/>
                    <a:pt x="247043" y="460687"/>
                    <a:pt x="249763" y="457968"/>
                  </a:cubicBezTo>
                  <a:cubicBezTo>
                    <a:pt x="255202" y="452528"/>
                    <a:pt x="260642" y="449809"/>
                    <a:pt x="268801" y="447089"/>
                  </a:cubicBezTo>
                  <a:cubicBezTo>
                    <a:pt x="282399" y="441650"/>
                    <a:pt x="295997" y="438930"/>
                    <a:pt x="312315" y="436210"/>
                  </a:cubicBezTo>
                  <a:cubicBezTo>
                    <a:pt x="325914" y="433491"/>
                    <a:pt x="339512" y="433491"/>
                    <a:pt x="353110" y="430771"/>
                  </a:cubicBezTo>
                  <a:cubicBezTo>
                    <a:pt x="363989" y="430771"/>
                    <a:pt x="374867" y="430771"/>
                    <a:pt x="385746" y="430771"/>
                  </a:cubicBezTo>
                  <a:cubicBezTo>
                    <a:pt x="402064" y="430771"/>
                    <a:pt x="426541" y="428051"/>
                    <a:pt x="437420" y="428051"/>
                  </a:cubicBezTo>
                  <a:cubicBezTo>
                    <a:pt x="451018" y="419892"/>
                    <a:pt x="464616" y="425332"/>
                    <a:pt x="464616" y="436210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/>
            </a:p>
          </p:txBody>
        </p:sp>
        <p:sp>
          <p:nvSpPr>
            <p:cNvPr id="49" name="Freeform: Shape 48">
              <a:extLst>
                <a:ext uri="{FF2B5EF4-FFF2-40B4-BE49-F238E27FC236}">
                  <a16:creationId xmlns:a16="http://schemas.microsoft.com/office/drawing/2014/main" id="{84BC48AB-7E8A-4959-9518-594EE8ED2EBA}"/>
                </a:ext>
              </a:extLst>
            </p:cNvPr>
            <p:cNvSpPr/>
            <p:nvPr/>
          </p:nvSpPr>
          <p:spPr>
            <a:xfrm>
              <a:off x="5651630" y="4181279"/>
              <a:ext cx="734308" cy="788700"/>
            </a:xfrm>
            <a:custGeom>
              <a:avLst/>
              <a:gdLst>
                <a:gd name="connsiteX0" fmla="*/ 653783 w 734307"/>
                <a:gd name="connsiteY0" fmla="*/ 678259 h 788699"/>
                <a:gd name="connsiteX1" fmla="*/ 691859 w 734307"/>
                <a:gd name="connsiteY1" fmla="*/ 694577 h 788699"/>
                <a:gd name="connsiteX2" fmla="*/ 686419 w 734307"/>
                <a:gd name="connsiteY2" fmla="*/ 710895 h 788699"/>
                <a:gd name="connsiteX3" fmla="*/ 670101 w 734307"/>
                <a:gd name="connsiteY3" fmla="*/ 719054 h 788699"/>
                <a:gd name="connsiteX4" fmla="*/ 648344 w 734307"/>
                <a:gd name="connsiteY4" fmla="*/ 721774 h 788699"/>
                <a:gd name="connsiteX5" fmla="*/ 618428 w 734307"/>
                <a:gd name="connsiteY5" fmla="*/ 721774 h 788699"/>
                <a:gd name="connsiteX6" fmla="*/ 572194 w 734307"/>
                <a:gd name="connsiteY6" fmla="*/ 735372 h 788699"/>
                <a:gd name="connsiteX7" fmla="*/ 544997 w 734307"/>
                <a:gd name="connsiteY7" fmla="*/ 729933 h 788699"/>
                <a:gd name="connsiteX8" fmla="*/ 534119 w 734307"/>
                <a:gd name="connsiteY8" fmla="*/ 721774 h 788699"/>
                <a:gd name="connsiteX9" fmla="*/ 496043 w 734307"/>
                <a:gd name="connsiteY9" fmla="*/ 721774 h 788699"/>
                <a:gd name="connsiteX10" fmla="*/ 471566 w 734307"/>
                <a:gd name="connsiteY10" fmla="*/ 721774 h 788699"/>
                <a:gd name="connsiteX11" fmla="*/ 444370 w 734307"/>
                <a:gd name="connsiteY11" fmla="*/ 716335 h 788699"/>
                <a:gd name="connsiteX12" fmla="*/ 428052 w 734307"/>
                <a:gd name="connsiteY12" fmla="*/ 700017 h 788699"/>
                <a:gd name="connsiteX13" fmla="*/ 433491 w 734307"/>
                <a:gd name="connsiteY13" fmla="*/ 691858 h 788699"/>
                <a:gd name="connsiteX14" fmla="*/ 455248 w 734307"/>
                <a:gd name="connsiteY14" fmla="*/ 683699 h 788699"/>
                <a:gd name="connsiteX15" fmla="*/ 506922 w 734307"/>
                <a:gd name="connsiteY15" fmla="*/ 678259 h 788699"/>
                <a:gd name="connsiteX16" fmla="*/ 509641 w 734307"/>
                <a:gd name="connsiteY16" fmla="*/ 678259 h 788699"/>
                <a:gd name="connsiteX17" fmla="*/ 506922 w 734307"/>
                <a:gd name="connsiteY17" fmla="*/ 664661 h 788699"/>
                <a:gd name="connsiteX18" fmla="*/ 498763 w 734307"/>
                <a:gd name="connsiteY18" fmla="*/ 580352 h 788699"/>
                <a:gd name="connsiteX19" fmla="*/ 496043 w 734307"/>
                <a:gd name="connsiteY19" fmla="*/ 479725 h 788699"/>
                <a:gd name="connsiteX20" fmla="*/ 493324 w 734307"/>
                <a:gd name="connsiteY20" fmla="*/ 389976 h 788699"/>
                <a:gd name="connsiteX21" fmla="*/ 490604 w 734307"/>
                <a:gd name="connsiteY21" fmla="*/ 302947 h 788699"/>
                <a:gd name="connsiteX22" fmla="*/ 487884 w 734307"/>
                <a:gd name="connsiteY22" fmla="*/ 229516 h 788699"/>
                <a:gd name="connsiteX23" fmla="*/ 485165 w 734307"/>
                <a:gd name="connsiteY23" fmla="*/ 221357 h 788699"/>
                <a:gd name="connsiteX24" fmla="*/ 482445 w 734307"/>
                <a:gd name="connsiteY24" fmla="*/ 226797 h 788699"/>
                <a:gd name="connsiteX25" fmla="*/ 477006 w 734307"/>
                <a:gd name="connsiteY25" fmla="*/ 262152 h 788699"/>
                <a:gd name="connsiteX26" fmla="*/ 460688 w 734307"/>
                <a:gd name="connsiteY26" fmla="*/ 341022 h 788699"/>
                <a:gd name="connsiteX27" fmla="*/ 444370 w 734307"/>
                <a:gd name="connsiteY27" fmla="*/ 417173 h 788699"/>
                <a:gd name="connsiteX28" fmla="*/ 436211 w 734307"/>
                <a:gd name="connsiteY28" fmla="*/ 455248 h 788699"/>
                <a:gd name="connsiteX29" fmla="*/ 425332 w 734307"/>
                <a:gd name="connsiteY29" fmla="*/ 493323 h 788699"/>
                <a:gd name="connsiteX30" fmla="*/ 411734 w 734307"/>
                <a:gd name="connsiteY30" fmla="*/ 531398 h 788699"/>
                <a:gd name="connsiteX31" fmla="*/ 376378 w 734307"/>
                <a:gd name="connsiteY31" fmla="*/ 547716 h 788699"/>
                <a:gd name="connsiteX32" fmla="*/ 319265 w 734307"/>
                <a:gd name="connsiteY32" fmla="*/ 525959 h 788699"/>
                <a:gd name="connsiteX33" fmla="*/ 289349 w 734307"/>
                <a:gd name="connsiteY33" fmla="*/ 455248 h 788699"/>
                <a:gd name="connsiteX34" fmla="*/ 273031 w 734307"/>
                <a:gd name="connsiteY34" fmla="*/ 373658 h 788699"/>
                <a:gd name="connsiteX35" fmla="*/ 262153 w 734307"/>
                <a:gd name="connsiteY35" fmla="*/ 316545 h 788699"/>
                <a:gd name="connsiteX36" fmla="*/ 245835 w 734307"/>
                <a:gd name="connsiteY36" fmla="*/ 237675 h 788699"/>
                <a:gd name="connsiteX37" fmla="*/ 234956 w 734307"/>
                <a:gd name="connsiteY37" fmla="*/ 196881 h 788699"/>
                <a:gd name="connsiteX38" fmla="*/ 232236 w 734307"/>
                <a:gd name="connsiteY38" fmla="*/ 191441 h 788699"/>
                <a:gd name="connsiteX39" fmla="*/ 226797 w 734307"/>
                <a:gd name="connsiteY39" fmla="*/ 207759 h 788699"/>
                <a:gd name="connsiteX40" fmla="*/ 226797 w 734307"/>
                <a:gd name="connsiteY40" fmla="*/ 232236 h 788699"/>
                <a:gd name="connsiteX41" fmla="*/ 224077 w 734307"/>
                <a:gd name="connsiteY41" fmla="*/ 267592 h 788699"/>
                <a:gd name="connsiteX42" fmla="*/ 221358 w 734307"/>
                <a:gd name="connsiteY42" fmla="*/ 311106 h 788699"/>
                <a:gd name="connsiteX43" fmla="*/ 218638 w 734307"/>
                <a:gd name="connsiteY43" fmla="*/ 360060 h 788699"/>
                <a:gd name="connsiteX44" fmla="*/ 215919 w 734307"/>
                <a:gd name="connsiteY44" fmla="*/ 398135 h 788699"/>
                <a:gd name="connsiteX45" fmla="*/ 213199 w 734307"/>
                <a:gd name="connsiteY45" fmla="*/ 430771 h 788699"/>
                <a:gd name="connsiteX46" fmla="*/ 213199 w 734307"/>
                <a:gd name="connsiteY46" fmla="*/ 455248 h 788699"/>
                <a:gd name="connsiteX47" fmla="*/ 213199 w 734307"/>
                <a:gd name="connsiteY47" fmla="*/ 477005 h 788699"/>
                <a:gd name="connsiteX48" fmla="*/ 207759 w 734307"/>
                <a:gd name="connsiteY48" fmla="*/ 520520 h 788699"/>
                <a:gd name="connsiteX49" fmla="*/ 196881 w 734307"/>
                <a:gd name="connsiteY49" fmla="*/ 610268 h 788699"/>
                <a:gd name="connsiteX50" fmla="*/ 194161 w 734307"/>
                <a:gd name="connsiteY50" fmla="*/ 653783 h 788699"/>
                <a:gd name="connsiteX51" fmla="*/ 191441 w 734307"/>
                <a:gd name="connsiteY51" fmla="*/ 667381 h 788699"/>
                <a:gd name="connsiteX52" fmla="*/ 243115 w 734307"/>
                <a:gd name="connsiteY52" fmla="*/ 667381 h 788699"/>
                <a:gd name="connsiteX53" fmla="*/ 273031 w 734307"/>
                <a:gd name="connsiteY53" fmla="*/ 683699 h 788699"/>
                <a:gd name="connsiteX54" fmla="*/ 262153 w 734307"/>
                <a:gd name="connsiteY54" fmla="*/ 697297 h 788699"/>
                <a:gd name="connsiteX55" fmla="*/ 248554 w 734307"/>
                <a:gd name="connsiteY55" fmla="*/ 705456 h 788699"/>
                <a:gd name="connsiteX56" fmla="*/ 232236 w 734307"/>
                <a:gd name="connsiteY56" fmla="*/ 708176 h 788699"/>
                <a:gd name="connsiteX57" fmla="*/ 166965 w 734307"/>
                <a:gd name="connsiteY57" fmla="*/ 708176 h 788699"/>
                <a:gd name="connsiteX58" fmla="*/ 109852 w 734307"/>
                <a:gd name="connsiteY58" fmla="*/ 708176 h 788699"/>
                <a:gd name="connsiteX59" fmla="*/ 90814 w 734307"/>
                <a:gd name="connsiteY59" fmla="*/ 708176 h 788699"/>
                <a:gd name="connsiteX60" fmla="*/ 69057 w 734307"/>
                <a:gd name="connsiteY60" fmla="*/ 702736 h 788699"/>
                <a:gd name="connsiteX61" fmla="*/ 58178 w 734307"/>
                <a:gd name="connsiteY61" fmla="*/ 686418 h 788699"/>
                <a:gd name="connsiteX62" fmla="*/ 60898 w 734307"/>
                <a:gd name="connsiteY62" fmla="*/ 678259 h 788699"/>
                <a:gd name="connsiteX63" fmla="*/ 77216 w 734307"/>
                <a:gd name="connsiteY63" fmla="*/ 670101 h 788699"/>
                <a:gd name="connsiteX64" fmla="*/ 126170 w 734307"/>
                <a:gd name="connsiteY64" fmla="*/ 664661 h 788699"/>
                <a:gd name="connsiteX65" fmla="*/ 142487 w 734307"/>
                <a:gd name="connsiteY65" fmla="*/ 664661 h 788699"/>
                <a:gd name="connsiteX66" fmla="*/ 147927 w 734307"/>
                <a:gd name="connsiteY66" fmla="*/ 588511 h 788699"/>
                <a:gd name="connsiteX67" fmla="*/ 153366 w 734307"/>
                <a:gd name="connsiteY67" fmla="*/ 493323 h 788699"/>
                <a:gd name="connsiteX68" fmla="*/ 156086 w 734307"/>
                <a:gd name="connsiteY68" fmla="*/ 411733 h 788699"/>
                <a:gd name="connsiteX69" fmla="*/ 161525 w 734307"/>
                <a:gd name="connsiteY69" fmla="*/ 297508 h 788699"/>
                <a:gd name="connsiteX70" fmla="*/ 166965 w 734307"/>
                <a:gd name="connsiteY70" fmla="*/ 240395 h 788699"/>
                <a:gd name="connsiteX71" fmla="*/ 177843 w 734307"/>
                <a:gd name="connsiteY71" fmla="*/ 161525 h 788699"/>
                <a:gd name="connsiteX72" fmla="*/ 183282 w 734307"/>
                <a:gd name="connsiteY72" fmla="*/ 118011 h 788699"/>
                <a:gd name="connsiteX73" fmla="*/ 183282 w 734307"/>
                <a:gd name="connsiteY73" fmla="*/ 115291 h 788699"/>
                <a:gd name="connsiteX74" fmla="*/ 161525 w 734307"/>
                <a:gd name="connsiteY74" fmla="*/ 115291 h 788699"/>
                <a:gd name="connsiteX75" fmla="*/ 137048 w 734307"/>
                <a:gd name="connsiteY75" fmla="*/ 115291 h 788699"/>
                <a:gd name="connsiteX76" fmla="*/ 109852 w 734307"/>
                <a:gd name="connsiteY76" fmla="*/ 109851 h 788699"/>
                <a:gd name="connsiteX77" fmla="*/ 93534 w 734307"/>
                <a:gd name="connsiteY77" fmla="*/ 93534 h 788699"/>
                <a:gd name="connsiteX78" fmla="*/ 98973 w 734307"/>
                <a:gd name="connsiteY78" fmla="*/ 85375 h 788699"/>
                <a:gd name="connsiteX79" fmla="*/ 120730 w 734307"/>
                <a:gd name="connsiteY79" fmla="*/ 77216 h 788699"/>
                <a:gd name="connsiteX80" fmla="*/ 172404 w 734307"/>
                <a:gd name="connsiteY80" fmla="*/ 71776 h 788699"/>
                <a:gd name="connsiteX81" fmla="*/ 234956 w 734307"/>
                <a:gd name="connsiteY81" fmla="*/ 69057 h 788699"/>
                <a:gd name="connsiteX82" fmla="*/ 243115 w 734307"/>
                <a:gd name="connsiteY82" fmla="*/ 69057 h 788699"/>
                <a:gd name="connsiteX83" fmla="*/ 270312 w 734307"/>
                <a:gd name="connsiteY83" fmla="*/ 74496 h 788699"/>
                <a:gd name="connsiteX84" fmla="*/ 308387 w 734307"/>
                <a:gd name="connsiteY84" fmla="*/ 123450 h 788699"/>
                <a:gd name="connsiteX85" fmla="*/ 332864 w 734307"/>
                <a:gd name="connsiteY85" fmla="*/ 202320 h 788699"/>
                <a:gd name="connsiteX86" fmla="*/ 338303 w 734307"/>
                <a:gd name="connsiteY86" fmla="*/ 237675 h 788699"/>
                <a:gd name="connsiteX87" fmla="*/ 349182 w 734307"/>
                <a:gd name="connsiteY87" fmla="*/ 281190 h 788699"/>
                <a:gd name="connsiteX88" fmla="*/ 357341 w 734307"/>
                <a:gd name="connsiteY88" fmla="*/ 316545 h 788699"/>
                <a:gd name="connsiteX89" fmla="*/ 365500 w 734307"/>
                <a:gd name="connsiteY89" fmla="*/ 351901 h 788699"/>
                <a:gd name="connsiteX90" fmla="*/ 376378 w 734307"/>
                <a:gd name="connsiteY90" fmla="*/ 389976 h 788699"/>
                <a:gd name="connsiteX91" fmla="*/ 387257 w 734307"/>
                <a:gd name="connsiteY91" fmla="*/ 414453 h 788699"/>
                <a:gd name="connsiteX92" fmla="*/ 398136 w 734307"/>
                <a:gd name="connsiteY92" fmla="*/ 376378 h 788699"/>
                <a:gd name="connsiteX93" fmla="*/ 406295 w 734307"/>
                <a:gd name="connsiteY93" fmla="*/ 332863 h 788699"/>
                <a:gd name="connsiteX94" fmla="*/ 425332 w 734307"/>
                <a:gd name="connsiteY94" fmla="*/ 243115 h 788699"/>
                <a:gd name="connsiteX95" fmla="*/ 444370 w 734307"/>
                <a:gd name="connsiteY95" fmla="*/ 150646 h 788699"/>
                <a:gd name="connsiteX96" fmla="*/ 477006 w 734307"/>
                <a:gd name="connsiteY96" fmla="*/ 79935 h 788699"/>
                <a:gd name="connsiteX97" fmla="*/ 523240 w 734307"/>
                <a:gd name="connsiteY97" fmla="*/ 58178 h 788699"/>
                <a:gd name="connsiteX98" fmla="*/ 544997 w 734307"/>
                <a:gd name="connsiteY98" fmla="*/ 63617 h 788699"/>
                <a:gd name="connsiteX99" fmla="*/ 612988 w 734307"/>
                <a:gd name="connsiteY99" fmla="*/ 63617 h 788699"/>
                <a:gd name="connsiteX100" fmla="*/ 651064 w 734307"/>
                <a:gd name="connsiteY100" fmla="*/ 79935 h 788699"/>
                <a:gd name="connsiteX101" fmla="*/ 645624 w 734307"/>
                <a:gd name="connsiteY101" fmla="*/ 96253 h 788699"/>
                <a:gd name="connsiteX102" fmla="*/ 629307 w 734307"/>
                <a:gd name="connsiteY102" fmla="*/ 104412 h 788699"/>
                <a:gd name="connsiteX103" fmla="*/ 607549 w 734307"/>
                <a:gd name="connsiteY103" fmla="*/ 107132 h 788699"/>
                <a:gd name="connsiteX104" fmla="*/ 580353 w 734307"/>
                <a:gd name="connsiteY104" fmla="*/ 107132 h 788699"/>
                <a:gd name="connsiteX105" fmla="*/ 583072 w 734307"/>
                <a:gd name="connsiteY105" fmla="*/ 115291 h 788699"/>
                <a:gd name="connsiteX106" fmla="*/ 588512 w 734307"/>
                <a:gd name="connsiteY106" fmla="*/ 156086 h 788699"/>
                <a:gd name="connsiteX107" fmla="*/ 593951 w 734307"/>
                <a:gd name="connsiteY107" fmla="*/ 196881 h 788699"/>
                <a:gd name="connsiteX108" fmla="*/ 599390 w 734307"/>
                <a:gd name="connsiteY108" fmla="*/ 226797 h 788699"/>
                <a:gd name="connsiteX109" fmla="*/ 599390 w 734307"/>
                <a:gd name="connsiteY109" fmla="*/ 232236 h 788699"/>
                <a:gd name="connsiteX110" fmla="*/ 599390 w 734307"/>
                <a:gd name="connsiteY110" fmla="*/ 240395 h 788699"/>
                <a:gd name="connsiteX111" fmla="*/ 602110 w 734307"/>
                <a:gd name="connsiteY111" fmla="*/ 270311 h 788699"/>
                <a:gd name="connsiteX112" fmla="*/ 607549 w 734307"/>
                <a:gd name="connsiteY112" fmla="*/ 308386 h 788699"/>
                <a:gd name="connsiteX113" fmla="*/ 607549 w 734307"/>
                <a:gd name="connsiteY113" fmla="*/ 319265 h 788699"/>
                <a:gd name="connsiteX114" fmla="*/ 612988 w 734307"/>
                <a:gd name="connsiteY114" fmla="*/ 335583 h 788699"/>
                <a:gd name="connsiteX115" fmla="*/ 612988 w 734307"/>
                <a:gd name="connsiteY115" fmla="*/ 346462 h 788699"/>
                <a:gd name="connsiteX116" fmla="*/ 612988 w 734307"/>
                <a:gd name="connsiteY116" fmla="*/ 370939 h 788699"/>
                <a:gd name="connsiteX117" fmla="*/ 612988 w 734307"/>
                <a:gd name="connsiteY117" fmla="*/ 395415 h 788699"/>
                <a:gd name="connsiteX118" fmla="*/ 615708 w 734307"/>
                <a:gd name="connsiteY118" fmla="*/ 422612 h 788699"/>
                <a:gd name="connsiteX119" fmla="*/ 618428 w 734307"/>
                <a:gd name="connsiteY119" fmla="*/ 441650 h 788699"/>
                <a:gd name="connsiteX120" fmla="*/ 618428 w 734307"/>
                <a:gd name="connsiteY120" fmla="*/ 455248 h 788699"/>
                <a:gd name="connsiteX121" fmla="*/ 621147 w 734307"/>
                <a:gd name="connsiteY121" fmla="*/ 463407 h 788699"/>
                <a:gd name="connsiteX122" fmla="*/ 626587 w 734307"/>
                <a:gd name="connsiteY122" fmla="*/ 482444 h 788699"/>
                <a:gd name="connsiteX123" fmla="*/ 629307 w 734307"/>
                <a:gd name="connsiteY123" fmla="*/ 517800 h 788699"/>
                <a:gd name="connsiteX124" fmla="*/ 634746 w 734307"/>
                <a:gd name="connsiteY124" fmla="*/ 561314 h 788699"/>
                <a:gd name="connsiteX125" fmla="*/ 634746 w 734307"/>
                <a:gd name="connsiteY125" fmla="*/ 566754 h 788699"/>
                <a:gd name="connsiteX126" fmla="*/ 634746 w 734307"/>
                <a:gd name="connsiteY126" fmla="*/ 583072 h 788699"/>
                <a:gd name="connsiteX127" fmla="*/ 637466 w 734307"/>
                <a:gd name="connsiteY127" fmla="*/ 607548 h 788699"/>
                <a:gd name="connsiteX128" fmla="*/ 640185 w 734307"/>
                <a:gd name="connsiteY128" fmla="*/ 618427 h 788699"/>
                <a:gd name="connsiteX129" fmla="*/ 640185 w 734307"/>
                <a:gd name="connsiteY129" fmla="*/ 632025 h 788699"/>
                <a:gd name="connsiteX130" fmla="*/ 640185 w 734307"/>
                <a:gd name="connsiteY130" fmla="*/ 640184 h 788699"/>
                <a:gd name="connsiteX131" fmla="*/ 642905 w 734307"/>
                <a:gd name="connsiteY131" fmla="*/ 659222 h 788699"/>
                <a:gd name="connsiteX132" fmla="*/ 642905 w 734307"/>
                <a:gd name="connsiteY132" fmla="*/ 664661 h 788699"/>
                <a:gd name="connsiteX133" fmla="*/ 653783 w 734307"/>
                <a:gd name="connsiteY133" fmla="*/ 678259 h 788699"/>
                <a:gd name="connsiteX134" fmla="*/ 653783 w 734307"/>
                <a:gd name="connsiteY134" fmla="*/ 678259 h 7886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</a:cxnLst>
              <a:rect l="l" t="t" r="r" b="b"/>
              <a:pathLst>
                <a:path w="734307" h="788699">
                  <a:moveTo>
                    <a:pt x="653783" y="678259"/>
                  </a:moveTo>
                  <a:cubicBezTo>
                    <a:pt x="667382" y="678259"/>
                    <a:pt x="691859" y="678259"/>
                    <a:pt x="691859" y="694577"/>
                  </a:cubicBezTo>
                  <a:cubicBezTo>
                    <a:pt x="691859" y="702736"/>
                    <a:pt x="689139" y="705456"/>
                    <a:pt x="686419" y="710895"/>
                  </a:cubicBezTo>
                  <a:cubicBezTo>
                    <a:pt x="683700" y="716335"/>
                    <a:pt x="675541" y="719054"/>
                    <a:pt x="670101" y="719054"/>
                  </a:cubicBezTo>
                  <a:cubicBezTo>
                    <a:pt x="661942" y="721774"/>
                    <a:pt x="653783" y="721774"/>
                    <a:pt x="648344" y="721774"/>
                  </a:cubicBezTo>
                  <a:cubicBezTo>
                    <a:pt x="645624" y="721774"/>
                    <a:pt x="634746" y="721774"/>
                    <a:pt x="618428" y="721774"/>
                  </a:cubicBezTo>
                  <a:cubicBezTo>
                    <a:pt x="604829" y="729933"/>
                    <a:pt x="588512" y="735372"/>
                    <a:pt x="572194" y="735372"/>
                  </a:cubicBezTo>
                  <a:cubicBezTo>
                    <a:pt x="564035" y="735372"/>
                    <a:pt x="553156" y="732653"/>
                    <a:pt x="544997" y="729933"/>
                  </a:cubicBezTo>
                  <a:cubicBezTo>
                    <a:pt x="539558" y="727213"/>
                    <a:pt x="536838" y="724494"/>
                    <a:pt x="534119" y="721774"/>
                  </a:cubicBezTo>
                  <a:cubicBezTo>
                    <a:pt x="520520" y="721774"/>
                    <a:pt x="509641" y="721774"/>
                    <a:pt x="496043" y="721774"/>
                  </a:cubicBezTo>
                  <a:cubicBezTo>
                    <a:pt x="487884" y="721774"/>
                    <a:pt x="479725" y="721774"/>
                    <a:pt x="471566" y="721774"/>
                  </a:cubicBezTo>
                  <a:cubicBezTo>
                    <a:pt x="463407" y="721774"/>
                    <a:pt x="452529" y="721774"/>
                    <a:pt x="444370" y="716335"/>
                  </a:cubicBezTo>
                  <a:cubicBezTo>
                    <a:pt x="436211" y="713615"/>
                    <a:pt x="428052" y="705456"/>
                    <a:pt x="428052" y="700017"/>
                  </a:cubicBezTo>
                  <a:cubicBezTo>
                    <a:pt x="428052" y="697297"/>
                    <a:pt x="428052" y="694577"/>
                    <a:pt x="433491" y="691858"/>
                  </a:cubicBezTo>
                  <a:cubicBezTo>
                    <a:pt x="438930" y="689138"/>
                    <a:pt x="449809" y="686418"/>
                    <a:pt x="455248" y="683699"/>
                  </a:cubicBezTo>
                  <a:cubicBezTo>
                    <a:pt x="474286" y="680979"/>
                    <a:pt x="498763" y="678259"/>
                    <a:pt x="506922" y="678259"/>
                  </a:cubicBezTo>
                  <a:cubicBezTo>
                    <a:pt x="506922" y="678259"/>
                    <a:pt x="509641" y="678259"/>
                    <a:pt x="509641" y="678259"/>
                  </a:cubicBezTo>
                  <a:cubicBezTo>
                    <a:pt x="509641" y="672820"/>
                    <a:pt x="506922" y="670101"/>
                    <a:pt x="506922" y="664661"/>
                  </a:cubicBezTo>
                  <a:cubicBezTo>
                    <a:pt x="501483" y="640184"/>
                    <a:pt x="501483" y="612988"/>
                    <a:pt x="498763" y="580352"/>
                  </a:cubicBezTo>
                  <a:cubicBezTo>
                    <a:pt x="496043" y="547716"/>
                    <a:pt x="498763" y="512361"/>
                    <a:pt x="496043" y="479725"/>
                  </a:cubicBezTo>
                  <a:cubicBezTo>
                    <a:pt x="493324" y="449808"/>
                    <a:pt x="493324" y="419892"/>
                    <a:pt x="493324" y="389976"/>
                  </a:cubicBezTo>
                  <a:cubicBezTo>
                    <a:pt x="493324" y="360060"/>
                    <a:pt x="490604" y="332863"/>
                    <a:pt x="490604" y="302947"/>
                  </a:cubicBezTo>
                  <a:cubicBezTo>
                    <a:pt x="487884" y="275751"/>
                    <a:pt x="487884" y="240395"/>
                    <a:pt x="487884" y="229516"/>
                  </a:cubicBezTo>
                  <a:cubicBezTo>
                    <a:pt x="487884" y="224077"/>
                    <a:pt x="487884" y="221357"/>
                    <a:pt x="485165" y="221357"/>
                  </a:cubicBezTo>
                  <a:cubicBezTo>
                    <a:pt x="485165" y="221357"/>
                    <a:pt x="482445" y="224077"/>
                    <a:pt x="482445" y="226797"/>
                  </a:cubicBezTo>
                  <a:cubicBezTo>
                    <a:pt x="479725" y="237675"/>
                    <a:pt x="479725" y="251274"/>
                    <a:pt x="477006" y="262152"/>
                  </a:cubicBezTo>
                  <a:cubicBezTo>
                    <a:pt x="471566" y="289349"/>
                    <a:pt x="466127" y="316545"/>
                    <a:pt x="460688" y="341022"/>
                  </a:cubicBezTo>
                  <a:cubicBezTo>
                    <a:pt x="455248" y="365499"/>
                    <a:pt x="447090" y="392696"/>
                    <a:pt x="444370" y="417173"/>
                  </a:cubicBezTo>
                  <a:cubicBezTo>
                    <a:pt x="441650" y="430771"/>
                    <a:pt x="438930" y="441650"/>
                    <a:pt x="436211" y="455248"/>
                  </a:cubicBezTo>
                  <a:cubicBezTo>
                    <a:pt x="433491" y="468846"/>
                    <a:pt x="428052" y="479725"/>
                    <a:pt x="425332" y="493323"/>
                  </a:cubicBezTo>
                  <a:cubicBezTo>
                    <a:pt x="422612" y="506921"/>
                    <a:pt x="419893" y="520520"/>
                    <a:pt x="411734" y="531398"/>
                  </a:cubicBezTo>
                  <a:cubicBezTo>
                    <a:pt x="406295" y="539557"/>
                    <a:pt x="395416" y="547716"/>
                    <a:pt x="376378" y="547716"/>
                  </a:cubicBezTo>
                  <a:cubicBezTo>
                    <a:pt x="357341" y="547716"/>
                    <a:pt x="335583" y="539557"/>
                    <a:pt x="319265" y="525959"/>
                  </a:cubicBezTo>
                  <a:cubicBezTo>
                    <a:pt x="300228" y="506921"/>
                    <a:pt x="294788" y="479725"/>
                    <a:pt x="289349" y="455248"/>
                  </a:cubicBezTo>
                  <a:cubicBezTo>
                    <a:pt x="283910" y="428051"/>
                    <a:pt x="278470" y="400855"/>
                    <a:pt x="273031" y="373658"/>
                  </a:cubicBezTo>
                  <a:cubicBezTo>
                    <a:pt x="273031" y="368219"/>
                    <a:pt x="267592" y="346462"/>
                    <a:pt x="262153" y="316545"/>
                  </a:cubicBezTo>
                  <a:cubicBezTo>
                    <a:pt x="256713" y="292068"/>
                    <a:pt x="251274" y="262152"/>
                    <a:pt x="245835" y="237675"/>
                  </a:cubicBezTo>
                  <a:cubicBezTo>
                    <a:pt x="240395" y="218638"/>
                    <a:pt x="237675" y="205039"/>
                    <a:pt x="234956" y="196881"/>
                  </a:cubicBezTo>
                  <a:cubicBezTo>
                    <a:pt x="232236" y="191441"/>
                    <a:pt x="232236" y="191441"/>
                    <a:pt x="232236" y="191441"/>
                  </a:cubicBezTo>
                  <a:cubicBezTo>
                    <a:pt x="229517" y="191441"/>
                    <a:pt x="229517" y="196881"/>
                    <a:pt x="226797" y="207759"/>
                  </a:cubicBezTo>
                  <a:cubicBezTo>
                    <a:pt x="226797" y="215918"/>
                    <a:pt x="226797" y="229516"/>
                    <a:pt x="226797" y="232236"/>
                  </a:cubicBezTo>
                  <a:cubicBezTo>
                    <a:pt x="226797" y="243115"/>
                    <a:pt x="224077" y="256713"/>
                    <a:pt x="224077" y="267592"/>
                  </a:cubicBezTo>
                  <a:cubicBezTo>
                    <a:pt x="224077" y="278470"/>
                    <a:pt x="224077" y="294788"/>
                    <a:pt x="221358" y="311106"/>
                  </a:cubicBezTo>
                  <a:cubicBezTo>
                    <a:pt x="221358" y="327424"/>
                    <a:pt x="218638" y="343742"/>
                    <a:pt x="218638" y="360060"/>
                  </a:cubicBezTo>
                  <a:cubicBezTo>
                    <a:pt x="218638" y="373658"/>
                    <a:pt x="215919" y="384537"/>
                    <a:pt x="215919" y="398135"/>
                  </a:cubicBezTo>
                  <a:cubicBezTo>
                    <a:pt x="215919" y="409014"/>
                    <a:pt x="213199" y="419892"/>
                    <a:pt x="213199" y="430771"/>
                  </a:cubicBezTo>
                  <a:cubicBezTo>
                    <a:pt x="213199" y="438930"/>
                    <a:pt x="213199" y="447089"/>
                    <a:pt x="213199" y="455248"/>
                  </a:cubicBezTo>
                  <a:cubicBezTo>
                    <a:pt x="213199" y="463407"/>
                    <a:pt x="213199" y="471566"/>
                    <a:pt x="213199" y="477005"/>
                  </a:cubicBezTo>
                  <a:cubicBezTo>
                    <a:pt x="210479" y="490603"/>
                    <a:pt x="207759" y="506921"/>
                    <a:pt x="207759" y="520520"/>
                  </a:cubicBezTo>
                  <a:cubicBezTo>
                    <a:pt x="202320" y="550436"/>
                    <a:pt x="199600" y="580352"/>
                    <a:pt x="196881" y="610268"/>
                  </a:cubicBezTo>
                  <a:cubicBezTo>
                    <a:pt x="196881" y="623866"/>
                    <a:pt x="196881" y="640184"/>
                    <a:pt x="194161" y="653783"/>
                  </a:cubicBezTo>
                  <a:cubicBezTo>
                    <a:pt x="194161" y="659222"/>
                    <a:pt x="194161" y="661942"/>
                    <a:pt x="191441" y="667381"/>
                  </a:cubicBezTo>
                  <a:cubicBezTo>
                    <a:pt x="213199" y="667381"/>
                    <a:pt x="232236" y="667381"/>
                    <a:pt x="243115" y="667381"/>
                  </a:cubicBezTo>
                  <a:cubicBezTo>
                    <a:pt x="253994" y="667381"/>
                    <a:pt x="273031" y="670101"/>
                    <a:pt x="273031" y="683699"/>
                  </a:cubicBezTo>
                  <a:cubicBezTo>
                    <a:pt x="273031" y="691858"/>
                    <a:pt x="267592" y="691858"/>
                    <a:pt x="262153" y="697297"/>
                  </a:cubicBezTo>
                  <a:cubicBezTo>
                    <a:pt x="259433" y="702736"/>
                    <a:pt x="253994" y="705456"/>
                    <a:pt x="248554" y="705456"/>
                  </a:cubicBezTo>
                  <a:cubicBezTo>
                    <a:pt x="240395" y="708176"/>
                    <a:pt x="234956" y="708176"/>
                    <a:pt x="232236" y="708176"/>
                  </a:cubicBezTo>
                  <a:cubicBezTo>
                    <a:pt x="226797" y="708176"/>
                    <a:pt x="175124" y="708176"/>
                    <a:pt x="166965" y="708176"/>
                  </a:cubicBezTo>
                  <a:cubicBezTo>
                    <a:pt x="156086" y="708176"/>
                    <a:pt x="120730" y="708176"/>
                    <a:pt x="109852" y="708176"/>
                  </a:cubicBezTo>
                  <a:cubicBezTo>
                    <a:pt x="104412" y="708176"/>
                    <a:pt x="96253" y="708176"/>
                    <a:pt x="90814" y="708176"/>
                  </a:cubicBezTo>
                  <a:cubicBezTo>
                    <a:pt x="85375" y="708176"/>
                    <a:pt x="77216" y="705456"/>
                    <a:pt x="69057" y="702736"/>
                  </a:cubicBezTo>
                  <a:cubicBezTo>
                    <a:pt x="63617" y="700017"/>
                    <a:pt x="58178" y="691858"/>
                    <a:pt x="58178" y="686418"/>
                  </a:cubicBezTo>
                  <a:cubicBezTo>
                    <a:pt x="58178" y="683699"/>
                    <a:pt x="58178" y="680979"/>
                    <a:pt x="60898" y="678259"/>
                  </a:cubicBezTo>
                  <a:cubicBezTo>
                    <a:pt x="63617" y="675540"/>
                    <a:pt x="71777" y="672820"/>
                    <a:pt x="77216" y="670101"/>
                  </a:cubicBezTo>
                  <a:cubicBezTo>
                    <a:pt x="90814" y="667381"/>
                    <a:pt x="120730" y="664661"/>
                    <a:pt x="126170" y="664661"/>
                  </a:cubicBezTo>
                  <a:cubicBezTo>
                    <a:pt x="128889" y="664661"/>
                    <a:pt x="134329" y="664661"/>
                    <a:pt x="142487" y="664661"/>
                  </a:cubicBezTo>
                  <a:cubicBezTo>
                    <a:pt x="142487" y="640184"/>
                    <a:pt x="147927" y="612988"/>
                    <a:pt x="147927" y="588511"/>
                  </a:cubicBezTo>
                  <a:cubicBezTo>
                    <a:pt x="150646" y="555875"/>
                    <a:pt x="153366" y="523239"/>
                    <a:pt x="153366" y="493323"/>
                  </a:cubicBezTo>
                  <a:cubicBezTo>
                    <a:pt x="153366" y="466126"/>
                    <a:pt x="156086" y="438930"/>
                    <a:pt x="156086" y="411733"/>
                  </a:cubicBezTo>
                  <a:cubicBezTo>
                    <a:pt x="158806" y="373658"/>
                    <a:pt x="158806" y="335583"/>
                    <a:pt x="161525" y="297508"/>
                  </a:cubicBezTo>
                  <a:cubicBezTo>
                    <a:pt x="161525" y="278470"/>
                    <a:pt x="164245" y="259433"/>
                    <a:pt x="166965" y="240395"/>
                  </a:cubicBezTo>
                  <a:cubicBezTo>
                    <a:pt x="169684" y="210479"/>
                    <a:pt x="172404" y="191441"/>
                    <a:pt x="177843" y="161525"/>
                  </a:cubicBezTo>
                  <a:cubicBezTo>
                    <a:pt x="180563" y="147927"/>
                    <a:pt x="180563" y="131609"/>
                    <a:pt x="183282" y="118011"/>
                  </a:cubicBezTo>
                  <a:cubicBezTo>
                    <a:pt x="183282" y="118011"/>
                    <a:pt x="183282" y="115291"/>
                    <a:pt x="183282" y="115291"/>
                  </a:cubicBezTo>
                  <a:cubicBezTo>
                    <a:pt x="177843" y="115291"/>
                    <a:pt x="172404" y="115291"/>
                    <a:pt x="161525" y="115291"/>
                  </a:cubicBezTo>
                  <a:cubicBezTo>
                    <a:pt x="153366" y="115291"/>
                    <a:pt x="145207" y="115291"/>
                    <a:pt x="137048" y="115291"/>
                  </a:cubicBezTo>
                  <a:cubicBezTo>
                    <a:pt x="128889" y="115291"/>
                    <a:pt x="118011" y="115291"/>
                    <a:pt x="109852" y="109851"/>
                  </a:cubicBezTo>
                  <a:cubicBezTo>
                    <a:pt x="101693" y="107132"/>
                    <a:pt x="93534" y="98973"/>
                    <a:pt x="93534" y="93534"/>
                  </a:cubicBezTo>
                  <a:cubicBezTo>
                    <a:pt x="93534" y="90814"/>
                    <a:pt x="93534" y="88094"/>
                    <a:pt x="98973" y="85375"/>
                  </a:cubicBezTo>
                  <a:cubicBezTo>
                    <a:pt x="104412" y="82655"/>
                    <a:pt x="115291" y="79935"/>
                    <a:pt x="120730" y="77216"/>
                  </a:cubicBezTo>
                  <a:cubicBezTo>
                    <a:pt x="139768" y="74496"/>
                    <a:pt x="164245" y="71776"/>
                    <a:pt x="172404" y="71776"/>
                  </a:cubicBezTo>
                  <a:cubicBezTo>
                    <a:pt x="194161" y="71776"/>
                    <a:pt x="210479" y="69057"/>
                    <a:pt x="234956" y="69057"/>
                  </a:cubicBezTo>
                  <a:cubicBezTo>
                    <a:pt x="237675" y="69057"/>
                    <a:pt x="240395" y="69057"/>
                    <a:pt x="243115" y="69057"/>
                  </a:cubicBezTo>
                  <a:cubicBezTo>
                    <a:pt x="251274" y="69057"/>
                    <a:pt x="262153" y="69057"/>
                    <a:pt x="270312" y="74496"/>
                  </a:cubicBezTo>
                  <a:cubicBezTo>
                    <a:pt x="283910" y="82655"/>
                    <a:pt x="300228" y="96253"/>
                    <a:pt x="308387" y="123450"/>
                  </a:cubicBezTo>
                  <a:cubicBezTo>
                    <a:pt x="316546" y="147927"/>
                    <a:pt x="327424" y="175123"/>
                    <a:pt x="332864" y="202320"/>
                  </a:cubicBezTo>
                  <a:cubicBezTo>
                    <a:pt x="335583" y="213198"/>
                    <a:pt x="335583" y="226797"/>
                    <a:pt x="338303" y="237675"/>
                  </a:cubicBezTo>
                  <a:cubicBezTo>
                    <a:pt x="343742" y="251274"/>
                    <a:pt x="346462" y="264872"/>
                    <a:pt x="349182" y="281190"/>
                  </a:cubicBezTo>
                  <a:cubicBezTo>
                    <a:pt x="351901" y="292068"/>
                    <a:pt x="351901" y="305667"/>
                    <a:pt x="357341" y="316545"/>
                  </a:cubicBezTo>
                  <a:cubicBezTo>
                    <a:pt x="362780" y="327424"/>
                    <a:pt x="362780" y="338303"/>
                    <a:pt x="365500" y="351901"/>
                  </a:cubicBezTo>
                  <a:cubicBezTo>
                    <a:pt x="365500" y="357340"/>
                    <a:pt x="373658" y="373658"/>
                    <a:pt x="376378" y="389976"/>
                  </a:cubicBezTo>
                  <a:cubicBezTo>
                    <a:pt x="381817" y="403574"/>
                    <a:pt x="384537" y="414453"/>
                    <a:pt x="387257" y="414453"/>
                  </a:cubicBezTo>
                  <a:cubicBezTo>
                    <a:pt x="392696" y="414453"/>
                    <a:pt x="395416" y="381817"/>
                    <a:pt x="398136" y="376378"/>
                  </a:cubicBezTo>
                  <a:cubicBezTo>
                    <a:pt x="400855" y="362779"/>
                    <a:pt x="403575" y="346462"/>
                    <a:pt x="406295" y="332863"/>
                  </a:cubicBezTo>
                  <a:cubicBezTo>
                    <a:pt x="411734" y="302947"/>
                    <a:pt x="417173" y="273031"/>
                    <a:pt x="425332" y="243115"/>
                  </a:cubicBezTo>
                  <a:cubicBezTo>
                    <a:pt x="430771" y="213198"/>
                    <a:pt x="436211" y="180563"/>
                    <a:pt x="444370" y="150646"/>
                  </a:cubicBezTo>
                  <a:cubicBezTo>
                    <a:pt x="449809" y="126170"/>
                    <a:pt x="460688" y="98973"/>
                    <a:pt x="477006" y="79935"/>
                  </a:cubicBezTo>
                  <a:cubicBezTo>
                    <a:pt x="487884" y="66337"/>
                    <a:pt x="506922" y="58178"/>
                    <a:pt x="523240" y="58178"/>
                  </a:cubicBezTo>
                  <a:cubicBezTo>
                    <a:pt x="528679" y="58178"/>
                    <a:pt x="539558" y="58178"/>
                    <a:pt x="544997" y="63617"/>
                  </a:cubicBezTo>
                  <a:lnTo>
                    <a:pt x="612988" y="63617"/>
                  </a:lnTo>
                  <a:cubicBezTo>
                    <a:pt x="626587" y="63617"/>
                    <a:pt x="651064" y="63617"/>
                    <a:pt x="651064" y="79935"/>
                  </a:cubicBezTo>
                  <a:cubicBezTo>
                    <a:pt x="651064" y="88094"/>
                    <a:pt x="648344" y="88094"/>
                    <a:pt x="645624" y="96253"/>
                  </a:cubicBezTo>
                  <a:cubicBezTo>
                    <a:pt x="640185" y="101693"/>
                    <a:pt x="634746" y="104412"/>
                    <a:pt x="629307" y="104412"/>
                  </a:cubicBezTo>
                  <a:cubicBezTo>
                    <a:pt x="621147" y="107132"/>
                    <a:pt x="612988" y="107132"/>
                    <a:pt x="607549" y="107132"/>
                  </a:cubicBezTo>
                  <a:cubicBezTo>
                    <a:pt x="604829" y="107132"/>
                    <a:pt x="591231" y="107132"/>
                    <a:pt x="580353" y="107132"/>
                  </a:cubicBezTo>
                  <a:cubicBezTo>
                    <a:pt x="580353" y="109851"/>
                    <a:pt x="583072" y="112571"/>
                    <a:pt x="583072" y="115291"/>
                  </a:cubicBezTo>
                  <a:cubicBezTo>
                    <a:pt x="585792" y="128889"/>
                    <a:pt x="585792" y="142487"/>
                    <a:pt x="588512" y="156086"/>
                  </a:cubicBezTo>
                  <a:cubicBezTo>
                    <a:pt x="591231" y="169684"/>
                    <a:pt x="591231" y="183282"/>
                    <a:pt x="593951" y="196881"/>
                  </a:cubicBezTo>
                  <a:cubicBezTo>
                    <a:pt x="593951" y="207759"/>
                    <a:pt x="599390" y="215918"/>
                    <a:pt x="599390" y="226797"/>
                  </a:cubicBezTo>
                  <a:cubicBezTo>
                    <a:pt x="599390" y="229516"/>
                    <a:pt x="599390" y="229516"/>
                    <a:pt x="599390" y="232236"/>
                  </a:cubicBezTo>
                  <a:cubicBezTo>
                    <a:pt x="599390" y="234956"/>
                    <a:pt x="599390" y="237675"/>
                    <a:pt x="599390" y="240395"/>
                  </a:cubicBezTo>
                  <a:cubicBezTo>
                    <a:pt x="599390" y="251274"/>
                    <a:pt x="599390" y="259433"/>
                    <a:pt x="602110" y="270311"/>
                  </a:cubicBezTo>
                  <a:cubicBezTo>
                    <a:pt x="604829" y="283909"/>
                    <a:pt x="607549" y="294788"/>
                    <a:pt x="607549" y="308386"/>
                  </a:cubicBezTo>
                  <a:cubicBezTo>
                    <a:pt x="607549" y="311106"/>
                    <a:pt x="607549" y="316545"/>
                    <a:pt x="607549" y="319265"/>
                  </a:cubicBezTo>
                  <a:cubicBezTo>
                    <a:pt x="607549" y="324704"/>
                    <a:pt x="610269" y="330144"/>
                    <a:pt x="612988" y="335583"/>
                  </a:cubicBezTo>
                  <a:cubicBezTo>
                    <a:pt x="612988" y="338303"/>
                    <a:pt x="612988" y="343742"/>
                    <a:pt x="612988" y="346462"/>
                  </a:cubicBezTo>
                  <a:cubicBezTo>
                    <a:pt x="612988" y="354620"/>
                    <a:pt x="612988" y="362779"/>
                    <a:pt x="612988" y="370939"/>
                  </a:cubicBezTo>
                  <a:cubicBezTo>
                    <a:pt x="612988" y="379097"/>
                    <a:pt x="612988" y="387256"/>
                    <a:pt x="612988" y="395415"/>
                  </a:cubicBezTo>
                  <a:cubicBezTo>
                    <a:pt x="612988" y="403574"/>
                    <a:pt x="615708" y="414453"/>
                    <a:pt x="615708" y="422612"/>
                  </a:cubicBezTo>
                  <a:cubicBezTo>
                    <a:pt x="618428" y="430771"/>
                    <a:pt x="618428" y="436210"/>
                    <a:pt x="618428" y="441650"/>
                  </a:cubicBezTo>
                  <a:cubicBezTo>
                    <a:pt x="618428" y="444369"/>
                    <a:pt x="618428" y="449808"/>
                    <a:pt x="618428" y="455248"/>
                  </a:cubicBezTo>
                  <a:cubicBezTo>
                    <a:pt x="618428" y="460687"/>
                    <a:pt x="618428" y="460687"/>
                    <a:pt x="621147" y="463407"/>
                  </a:cubicBezTo>
                  <a:cubicBezTo>
                    <a:pt x="623867" y="471566"/>
                    <a:pt x="623867" y="477005"/>
                    <a:pt x="626587" y="482444"/>
                  </a:cubicBezTo>
                  <a:cubicBezTo>
                    <a:pt x="629307" y="493323"/>
                    <a:pt x="629307" y="506921"/>
                    <a:pt x="629307" y="517800"/>
                  </a:cubicBezTo>
                  <a:cubicBezTo>
                    <a:pt x="632026" y="534118"/>
                    <a:pt x="632026" y="547716"/>
                    <a:pt x="634746" y="561314"/>
                  </a:cubicBezTo>
                  <a:cubicBezTo>
                    <a:pt x="634746" y="564034"/>
                    <a:pt x="634746" y="564034"/>
                    <a:pt x="634746" y="566754"/>
                  </a:cubicBezTo>
                  <a:cubicBezTo>
                    <a:pt x="634746" y="572193"/>
                    <a:pt x="634746" y="577632"/>
                    <a:pt x="634746" y="583072"/>
                  </a:cubicBezTo>
                  <a:cubicBezTo>
                    <a:pt x="634746" y="596670"/>
                    <a:pt x="637466" y="602109"/>
                    <a:pt x="637466" y="607548"/>
                  </a:cubicBezTo>
                  <a:cubicBezTo>
                    <a:pt x="637466" y="610268"/>
                    <a:pt x="640185" y="615708"/>
                    <a:pt x="640185" y="618427"/>
                  </a:cubicBezTo>
                  <a:cubicBezTo>
                    <a:pt x="640185" y="623866"/>
                    <a:pt x="640185" y="629306"/>
                    <a:pt x="640185" y="632025"/>
                  </a:cubicBezTo>
                  <a:cubicBezTo>
                    <a:pt x="640185" y="634745"/>
                    <a:pt x="640185" y="637465"/>
                    <a:pt x="640185" y="640184"/>
                  </a:cubicBezTo>
                  <a:cubicBezTo>
                    <a:pt x="640185" y="645624"/>
                    <a:pt x="642905" y="653783"/>
                    <a:pt x="642905" y="659222"/>
                  </a:cubicBezTo>
                  <a:cubicBezTo>
                    <a:pt x="642905" y="661942"/>
                    <a:pt x="642905" y="661942"/>
                    <a:pt x="642905" y="664661"/>
                  </a:cubicBezTo>
                  <a:cubicBezTo>
                    <a:pt x="645624" y="678259"/>
                    <a:pt x="651064" y="678259"/>
                    <a:pt x="653783" y="678259"/>
                  </a:cubicBezTo>
                  <a:lnTo>
                    <a:pt x="653783" y="678259"/>
                  </a:ln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/>
            </a:p>
          </p:txBody>
        </p:sp>
        <p:sp>
          <p:nvSpPr>
            <p:cNvPr id="50" name="Freeform: Shape 49">
              <a:extLst>
                <a:ext uri="{FF2B5EF4-FFF2-40B4-BE49-F238E27FC236}">
                  <a16:creationId xmlns:a16="http://schemas.microsoft.com/office/drawing/2014/main" id="{2F7B36F4-4E99-4CE6-BA86-BFDECD3FB1EA}"/>
                </a:ext>
              </a:extLst>
            </p:cNvPr>
            <p:cNvSpPr/>
            <p:nvPr/>
          </p:nvSpPr>
          <p:spPr>
            <a:xfrm>
              <a:off x="6362526" y="4242177"/>
              <a:ext cx="492259" cy="674476"/>
            </a:xfrm>
            <a:custGeom>
              <a:avLst/>
              <a:gdLst>
                <a:gd name="connsiteX0" fmla="*/ 225733 w 492259"/>
                <a:gd name="connsiteY0" fmla="*/ 97907 h 674476"/>
                <a:gd name="connsiteX1" fmla="*/ 209415 w 492259"/>
                <a:gd name="connsiteY1" fmla="*/ 119665 h 674476"/>
                <a:gd name="connsiteX2" fmla="*/ 201256 w 492259"/>
                <a:gd name="connsiteY2" fmla="*/ 152300 h 674476"/>
                <a:gd name="connsiteX3" fmla="*/ 198536 w 492259"/>
                <a:gd name="connsiteY3" fmla="*/ 168618 h 674476"/>
                <a:gd name="connsiteX4" fmla="*/ 195817 w 492259"/>
                <a:gd name="connsiteY4" fmla="*/ 184936 h 674476"/>
                <a:gd name="connsiteX5" fmla="*/ 187658 w 492259"/>
                <a:gd name="connsiteY5" fmla="*/ 220292 h 674476"/>
                <a:gd name="connsiteX6" fmla="*/ 168620 w 492259"/>
                <a:gd name="connsiteY6" fmla="*/ 291003 h 674476"/>
                <a:gd name="connsiteX7" fmla="*/ 160461 w 492259"/>
                <a:gd name="connsiteY7" fmla="*/ 323639 h 674476"/>
                <a:gd name="connsiteX8" fmla="*/ 149582 w 492259"/>
                <a:gd name="connsiteY8" fmla="*/ 361714 h 674476"/>
                <a:gd name="connsiteX9" fmla="*/ 144143 w 492259"/>
                <a:gd name="connsiteY9" fmla="*/ 388910 h 674476"/>
                <a:gd name="connsiteX10" fmla="*/ 149582 w 492259"/>
                <a:gd name="connsiteY10" fmla="*/ 391630 h 674476"/>
                <a:gd name="connsiteX11" fmla="*/ 171340 w 492259"/>
                <a:gd name="connsiteY11" fmla="*/ 391630 h 674476"/>
                <a:gd name="connsiteX12" fmla="*/ 193097 w 492259"/>
                <a:gd name="connsiteY12" fmla="*/ 388910 h 674476"/>
                <a:gd name="connsiteX13" fmla="*/ 212135 w 492259"/>
                <a:gd name="connsiteY13" fmla="*/ 388910 h 674476"/>
                <a:gd name="connsiteX14" fmla="*/ 236611 w 492259"/>
                <a:gd name="connsiteY14" fmla="*/ 388910 h 674476"/>
                <a:gd name="connsiteX15" fmla="*/ 250210 w 492259"/>
                <a:gd name="connsiteY15" fmla="*/ 386191 h 674476"/>
                <a:gd name="connsiteX16" fmla="*/ 258369 w 492259"/>
                <a:gd name="connsiteY16" fmla="*/ 386191 h 674476"/>
                <a:gd name="connsiteX17" fmla="*/ 255649 w 492259"/>
                <a:gd name="connsiteY17" fmla="*/ 367153 h 674476"/>
                <a:gd name="connsiteX18" fmla="*/ 250210 w 492259"/>
                <a:gd name="connsiteY18" fmla="*/ 331797 h 674476"/>
                <a:gd name="connsiteX19" fmla="*/ 247490 w 492259"/>
                <a:gd name="connsiteY19" fmla="*/ 244769 h 674476"/>
                <a:gd name="connsiteX20" fmla="*/ 242051 w 492259"/>
                <a:gd name="connsiteY20" fmla="*/ 203974 h 674476"/>
                <a:gd name="connsiteX21" fmla="*/ 236611 w 492259"/>
                <a:gd name="connsiteY21" fmla="*/ 157740 h 674476"/>
                <a:gd name="connsiteX22" fmla="*/ 233892 w 492259"/>
                <a:gd name="connsiteY22" fmla="*/ 119665 h 674476"/>
                <a:gd name="connsiteX23" fmla="*/ 225733 w 492259"/>
                <a:gd name="connsiteY23" fmla="*/ 97907 h 674476"/>
                <a:gd name="connsiteX24" fmla="*/ 274687 w 492259"/>
                <a:gd name="connsiteY24" fmla="*/ 0 h 674476"/>
                <a:gd name="connsiteX25" fmla="*/ 304603 w 492259"/>
                <a:gd name="connsiteY25" fmla="*/ 5439 h 674476"/>
                <a:gd name="connsiteX26" fmla="*/ 320921 w 492259"/>
                <a:gd name="connsiteY26" fmla="*/ 24477 h 674476"/>
                <a:gd name="connsiteX27" fmla="*/ 334519 w 492259"/>
                <a:gd name="connsiteY27" fmla="*/ 43515 h 674476"/>
                <a:gd name="connsiteX28" fmla="*/ 339959 w 492259"/>
                <a:gd name="connsiteY28" fmla="*/ 65272 h 674476"/>
                <a:gd name="connsiteX29" fmla="*/ 348118 w 492259"/>
                <a:gd name="connsiteY29" fmla="*/ 114226 h 674476"/>
                <a:gd name="connsiteX30" fmla="*/ 361716 w 492259"/>
                <a:gd name="connsiteY30" fmla="*/ 163180 h 674476"/>
                <a:gd name="connsiteX31" fmla="*/ 369875 w 492259"/>
                <a:gd name="connsiteY31" fmla="*/ 220293 h 674476"/>
                <a:gd name="connsiteX32" fmla="*/ 378034 w 492259"/>
                <a:gd name="connsiteY32" fmla="*/ 274686 h 674476"/>
                <a:gd name="connsiteX33" fmla="*/ 383473 w 492259"/>
                <a:gd name="connsiteY33" fmla="*/ 301883 h 674476"/>
                <a:gd name="connsiteX34" fmla="*/ 391632 w 492259"/>
                <a:gd name="connsiteY34" fmla="*/ 337238 h 674476"/>
                <a:gd name="connsiteX35" fmla="*/ 397071 w 492259"/>
                <a:gd name="connsiteY35" fmla="*/ 364435 h 674476"/>
                <a:gd name="connsiteX36" fmla="*/ 405230 w 492259"/>
                <a:gd name="connsiteY36" fmla="*/ 383473 h 674476"/>
                <a:gd name="connsiteX37" fmla="*/ 416109 w 492259"/>
                <a:gd name="connsiteY37" fmla="*/ 386192 h 674476"/>
                <a:gd name="connsiteX38" fmla="*/ 426988 w 492259"/>
                <a:gd name="connsiteY38" fmla="*/ 386192 h 674476"/>
                <a:gd name="connsiteX39" fmla="*/ 454184 w 492259"/>
                <a:gd name="connsiteY39" fmla="*/ 397071 h 674476"/>
                <a:gd name="connsiteX40" fmla="*/ 456904 w 492259"/>
                <a:gd name="connsiteY40" fmla="*/ 405230 h 674476"/>
                <a:gd name="connsiteX41" fmla="*/ 451464 w 492259"/>
                <a:gd name="connsiteY41" fmla="*/ 416108 h 674476"/>
                <a:gd name="connsiteX42" fmla="*/ 432427 w 492259"/>
                <a:gd name="connsiteY42" fmla="*/ 429707 h 674476"/>
                <a:gd name="connsiteX43" fmla="*/ 421548 w 492259"/>
                <a:gd name="connsiteY43" fmla="*/ 432426 h 674476"/>
                <a:gd name="connsiteX44" fmla="*/ 413389 w 492259"/>
                <a:gd name="connsiteY44" fmla="*/ 435146 h 674476"/>
                <a:gd name="connsiteX45" fmla="*/ 413389 w 492259"/>
                <a:gd name="connsiteY45" fmla="*/ 440585 h 674476"/>
                <a:gd name="connsiteX46" fmla="*/ 416109 w 492259"/>
                <a:gd name="connsiteY46" fmla="*/ 451464 h 674476"/>
                <a:gd name="connsiteX47" fmla="*/ 418829 w 492259"/>
                <a:gd name="connsiteY47" fmla="*/ 465062 h 674476"/>
                <a:gd name="connsiteX48" fmla="*/ 418829 w 492259"/>
                <a:gd name="connsiteY48" fmla="*/ 475941 h 674476"/>
                <a:gd name="connsiteX49" fmla="*/ 418829 w 492259"/>
                <a:gd name="connsiteY49" fmla="*/ 486820 h 674476"/>
                <a:gd name="connsiteX50" fmla="*/ 426988 w 492259"/>
                <a:gd name="connsiteY50" fmla="*/ 516736 h 674476"/>
                <a:gd name="connsiteX51" fmla="*/ 432427 w 492259"/>
                <a:gd name="connsiteY51" fmla="*/ 543932 h 674476"/>
                <a:gd name="connsiteX52" fmla="*/ 437866 w 492259"/>
                <a:gd name="connsiteY52" fmla="*/ 573848 h 674476"/>
                <a:gd name="connsiteX53" fmla="*/ 443306 w 492259"/>
                <a:gd name="connsiteY53" fmla="*/ 606484 h 674476"/>
                <a:gd name="connsiteX54" fmla="*/ 446025 w 492259"/>
                <a:gd name="connsiteY54" fmla="*/ 617363 h 674476"/>
                <a:gd name="connsiteX55" fmla="*/ 470502 w 492259"/>
                <a:gd name="connsiteY55" fmla="*/ 617363 h 674476"/>
                <a:gd name="connsiteX56" fmla="*/ 492259 w 492259"/>
                <a:gd name="connsiteY56" fmla="*/ 641840 h 674476"/>
                <a:gd name="connsiteX57" fmla="*/ 484101 w 492259"/>
                <a:gd name="connsiteY57" fmla="*/ 655438 h 674476"/>
                <a:gd name="connsiteX58" fmla="*/ 467782 w 492259"/>
                <a:gd name="connsiteY58" fmla="*/ 663597 h 674476"/>
                <a:gd name="connsiteX59" fmla="*/ 443306 w 492259"/>
                <a:gd name="connsiteY59" fmla="*/ 666317 h 674476"/>
                <a:gd name="connsiteX60" fmla="*/ 421548 w 492259"/>
                <a:gd name="connsiteY60" fmla="*/ 666317 h 674476"/>
                <a:gd name="connsiteX61" fmla="*/ 413389 w 492259"/>
                <a:gd name="connsiteY61" fmla="*/ 666317 h 674476"/>
                <a:gd name="connsiteX62" fmla="*/ 399791 w 492259"/>
                <a:gd name="connsiteY62" fmla="*/ 671756 h 674476"/>
                <a:gd name="connsiteX63" fmla="*/ 383473 w 492259"/>
                <a:gd name="connsiteY63" fmla="*/ 674476 h 674476"/>
                <a:gd name="connsiteX64" fmla="*/ 348118 w 492259"/>
                <a:gd name="connsiteY64" fmla="*/ 669036 h 674476"/>
                <a:gd name="connsiteX65" fmla="*/ 326360 w 492259"/>
                <a:gd name="connsiteY65" fmla="*/ 669036 h 674476"/>
                <a:gd name="connsiteX66" fmla="*/ 277406 w 492259"/>
                <a:gd name="connsiteY66" fmla="*/ 669036 h 674476"/>
                <a:gd name="connsiteX67" fmla="*/ 252930 w 492259"/>
                <a:gd name="connsiteY67" fmla="*/ 663597 h 674476"/>
                <a:gd name="connsiteX68" fmla="*/ 236611 w 492259"/>
                <a:gd name="connsiteY68" fmla="*/ 647279 h 674476"/>
                <a:gd name="connsiteX69" fmla="*/ 261088 w 492259"/>
                <a:gd name="connsiteY69" fmla="*/ 630961 h 674476"/>
                <a:gd name="connsiteX70" fmla="*/ 288285 w 492259"/>
                <a:gd name="connsiteY70" fmla="*/ 628241 h 674476"/>
                <a:gd name="connsiteX71" fmla="*/ 285565 w 492259"/>
                <a:gd name="connsiteY71" fmla="*/ 609204 h 674476"/>
                <a:gd name="connsiteX72" fmla="*/ 282846 w 492259"/>
                <a:gd name="connsiteY72" fmla="*/ 582007 h 674476"/>
                <a:gd name="connsiteX73" fmla="*/ 280126 w 492259"/>
                <a:gd name="connsiteY73" fmla="*/ 568409 h 674476"/>
                <a:gd name="connsiteX74" fmla="*/ 282846 w 492259"/>
                <a:gd name="connsiteY74" fmla="*/ 554811 h 674476"/>
                <a:gd name="connsiteX75" fmla="*/ 277406 w 492259"/>
                <a:gd name="connsiteY75" fmla="*/ 538493 h 674476"/>
                <a:gd name="connsiteX76" fmla="*/ 271967 w 492259"/>
                <a:gd name="connsiteY76" fmla="*/ 505857 h 674476"/>
                <a:gd name="connsiteX77" fmla="*/ 269247 w 492259"/>
                <a:gd name="connsiteY77" fmla="*/ 478660 h 674476"/>
                <a:gd name="connsiteX78" fmla="*/ 266528 w 492259"/>
                <a:gd name="connsiteY78" fmla="*/ 446025 h 674476"/>
                <a:gd name="connsiteX79" fmla="*/ 261088 w 492259"/>
                <a:gd name="connsiteY79" fmla="*/ 437866 h 674476"/>
                <a:gd name="connsiteX80" fmla="*/ 250210 w 492259"/>
                <a:gd name="connsiteY80" fmla="*/ 437866 h 674476"/>
                <a:gd name="connsiteX81" fmla="*/ 220293 w 492259"/>
                <a:gd name="connsiteY81" fmla="*/ 440585 h 674476"/>
                <a:gd name="connsiteX82" fmla="*/ 190377 w 492259"/>
                <a:gd name="connsiteY82" fmla="*/ 443305 h 674476"/>
                <a:gd name="connsiteX83" fmla="*/ 165900 w 492259"/>
                <a:gd name="connsiteY83" fmla="*/ 443305 h 674476"/>
                <a:gd name="connsiteX84" fmla="*/ 144143 w 492259"/>
                <a:gd name="connsiteY84" fmla="*/ 440585 h 674476"/>
                <a:gd name="connsiteX85" fmla="*/ 135984 w 492259"/>
                <a:gd name="connsiteY85" fmla="*/ 454184 h 674476"/>
                <a:gd name="connsiteX86" fmla="*/ 130545 w 492259"/>
                <a:gd name="connsiteY86" fmla="*/ 486820 h 674476"/>
                <a:gd name="connsiteX87" fmla="*/ 119666 w 492259"/>
                <a:gd name="connsiteY87" fmla="*/ 541213 h 674476"/>
                <a:gd name="connsiteX88" fmla="*/ 103348 w 492259"/>
                <a:gd name="connsiteY88" fmla="*/ 614643 h 674476"/>
                <a:gd name="connsiteX89" fmla="*/ 133264 w 492259"/>
                <a:gd name="connsiteY89" fmla="*/ 614643 h 674476"/>
                <a:gd name="connsiteX90" fmla="*/ 168620 w 492259"/>
                <a:gd name="connsiteY90" fmla="*/ 630961 h 674476"/>
                <a:gd name="connsiteX91" fmla="*/ 163181 w 492259"/>
                <a:gd name="connsiteY91" fmla="*/ 647279 h 674476"/>
                <a:gd name="connsiteX92" fmla="*/ 146863 w 492259"/>
                <a:gd name="connsiteY92" fmla="*/ 655438 h 674476"/>
                <a:gd name="connsiteX93" fmla="*/ 127825 w 492259"/>
                <a:gd name="connsiteY93" fmla="*/ 658158 h 674476"/>
                <a:gd name="connsiteX94" fmla="*/ 106068 w 492259"/>
                <a:gd name="connsiteY94" fmla="*/ 658158 h 674476"/>
                <a:gd name="connsiteX95" fmla="*/ 62552 w 492259"/>
                <a:gd name="connsiteY95" fmla="*/ 658158 h 674476"/>
                <a:gd name="connsiteX96" fmla="*/ 40795 w 492259"/>
                <a:gd name="connsiteY96" fmla="*/ 658158 h 674476"/>
                <a:gd name="connsiteX97" fmla="*/ 16318 w 492259"/>
                <a:gd name="connsiteY97" fmla="*/ 652718 h 674476"/>
                <a:gd name="connsiteX98" fmla="*/ 0 w 492259"/>
                <a:gd name="connsiteY98" fmla="*/ 636401 h 674476"/>
                <a:gd name="connsiteX99" fmla="*/ 2720 w 492259"/>
                <a:gd name="connsiteY99" fmla="*/ 628241 h 674476"/>
                <a:gd name="connsiteX100" fmla="*/ 24477 w 492259"/>
                <a:gd name="connsiteY100" fmla="*/ 620082 h 674476"/>
                <a:gd name="connsiteX101" fmla="*/ 62552 w 492259"/>
                <a:gd name="connsiteY101" fmla="*/ 617363 h 674476"/>
                <a:gd name="connsiteX102" fmla="*/ 62552 w 492259"/>
                <a:gd name="connsiteY102" fmla="*/ 614643 h 674476"/>
                <a:gd name="connsiteX103" fmla="*/ 65272 w 492259"/>
                <a:gd name="connsiteY103" fmla="*/ 587447 h 674476"/>
                <a:gd name="connsiteX104" fmla="*/ 76151 w 492259"/>
                <a:gd name="connsiteY104" fmla="*/ 522175 h 674476"/>
                <a:gd name="connsiteX105" fmla="*/ 87029 w 492259"/>
                <a:gd name="connsiteY105" fmla="*/ 470501 h 674476"/>
                <a:gd name="connsiteX106" fmla="*/ 92468 w 492259"/>
                <a:gd name="connsiteY106" fmla="*/ 446025 h 674476"/>
                <a:gd name="connsiteX107" fmla="*/ 65272 w 492259"/>
                <a:gd name="connsiteY107" fmla="*/ 432426 h 674476"/>
                <a:gd name="connsiteX108" fmla="*/ 54393 w 492259"/>
                <a:gd name="connsiteY108" fmla="*/ 421548 h 674476"/>
                <a:gd name="connsiteX109" fmla="*/ 73431 w 492259"/>
                <a:gd name="connsiteY109" fmla="*/ 407949 h 674476"/>
                <a:gd name="connsiteX110" fmla="*/ 100629 w 492259"/>
                <a:gd name="connsiteY110" fmla="*/ 399790 h 674476"/>
                <a:gd name="connsiteX111" fmla="*/ 108788 w 492259"/>
                <a:gd name="connsiteY111" fmla="*/ 369874 h 674476"/>
                <a:gd name="connsiteX112" fmla="*/ 125105 w 492259"/>
                <a:gd name="connsiteY112" fmla="*/ 307322 h 674476"/>
                <a:gd name="connsiteX113" fmla="*/ 141423 w 492259"/>
                <a:gd name="connsiteY113" fmla="*/ 242051 h 674476"/>
                <a:gd name="connsiteX114" fmla="*/ 155022 w 492259"/>
                <a:gd name="connsiteY114" fmla="*/ 179498 h 674476"/>
                <a:gd name="connsiteX115" fmla="*/ 168620 w 492259"/>
                <a:gd name="connsiteY115" fmla="*/ 119665 h 674476"/>
                <a:gd name="connsiteX116" fmla="*/ 193097 w 492259"/>
                <a:gd name="connsiteY116" fmla="*/ 57113 h 674476"/>
                <a:gd name="connsiteX117" fmla="*/ 201256 w 492259"/>
                <a:gd name="connsiteY117" fmla="*/ 38075 h 674476"/>
                <a:gd name="connsiteX118" fmla="*/ 217574 w 492259"/>
                <a:gd name="connsiteY118" fmla="*/ 13598 h 674476"/>
                <a:gd name="connsiteX119" fmla="*/ 274687 w 492259"/>
                <a:gd name="connsiteY119" fmla="*/ 0 h 6744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</a:cxnLst>
              <a:rect l="l" t="t" r="r" b="b"/>
              <a:pathLst>
                <a:path w="492259" h="674476">
                  <a:moveTo>
                    <a:pt x="225733" y="97907"/>
                  </a:moveTo>
                  <a:cubicBezTo>
                    <a:pt x="217574" y="97907"/>
                    <a:pt x="209415" y="114225"/>
                    <a:pt x="209415" y="119665"/>
                  </a:cubicBezTo>
                  <a:cubicBezTo>
                    <a:pt x="206695" y="130543"/>
                    <a:pt x="203976" y="144141"/>
                    <a:pt x="201256" y="152300"/>
                  </a:cubicBezTo>
                  <a:cubicBezTo>
                    <a:pt x="198536" y="157740"/>
                    <a:pt x="198536" y="163179"/>
                    <a:pt x="198536" y="168618"/>
                  </a:cubicBezTo>
                  <a:cubicBezTo>
                    <a:pt x="198536" y="174058"/>
                    <a:pt x="195817" y="179497"/>
                    <a:pt x="195817" y="184936"/>
                  </a:cubicBezTo>
                  <a:cubicBezTo>
                    <a:pt x="193097" y="195815"/>
                    <a:pt x="190377" y="209413"/>
                    <a:pt x="187658" y="220292"/>
                  </a:cubicBezTo>
                  <a:cubicBezTo>
                    <a:pt x="184938" y="244769"/>
                    <a:pt x="176779" y="269246"/>
                    <a:pt x="168620" y="291003"/>
                  </a:cubicBezTo>
                  <a:cubicBezTo>
                    <a:pt x="165900" y="301881"/>
                    <a:pt x="163181" y="312760"/>
                    <a:pt x="160461" y="323639"/>
                  </a:cubicBezTo>
                  <a:cubicBezTo>
                    <a:pt x="157742" y="337237"/>
                    <a:pt x="155022" y="348115"/>
                    <a:pt x="149582" y="361714"/>
                  </a:cubicBezTo>
                  <a:cubicBezTo>
                    <a:pt x="146863" y="367153"/>
                    <a:pt x="144143" y="383471"/>
                    <a:pt x="144143" y="388910"/>
                  </a:cubicBezTo>
                  <a:cubicBezTo>
                    <a:pt x="144143" y="391630"/>
                    <a:pt x="146863" y="391630"/>
                    <a:pt x="149582" y="391630"/>
                  </a:cubicBezTo>
                  <a:cubicBezTo>
                    <a:pt x="155022" y="391630"/>
                    <a:pt x="168620" y="391630"/>
                    <a:pt x="171340" y="391630"/>
                  </a:cubicBezTo>
                  <a:cubicBezTo>
                    <a:pt x="179498" y="391630"/>
                    <a:pt x="187658" y="391630"/>
                    <a:pt x="193097" y="388910"/>
                  </a:cubicBezTo>
                  <a:cubicBezTo>
                    <a:pt x="198536" y="388910"/>
                    <a:pt x="203976" y="388910"/>
                    <a:pt x="212135" y="388910"/>
                  </a:cubicBezTo>
                  <a:cubicBezTo>
                    <a:pt x="217574" y="388910"/>
                    <a:pt x="225733" y="388910"/>
                    <a:pt x="236611" y="388910"/>
                  </a:cubicBezTo>
                  <a:cubicBezTo>
                    <a:pt x="242051" y="388910"/>
                    <a:pt x="247490" y="388910"/>
                    <a:pt x="250210" y="386191"/>
                  </a:cubicBezTo>
                  <a:cubicBezTo>
                    <a:pt x="255649" y="391630"/>
                    <a:pt x="258369" y="388910"/>
                    <a:pt x="258369" y="386191"/>
                  </a:cubicBezTo>
                  <a:cubicBezTo>
                    <a:pt x="258369" y="380751"/>
                    <a:pt x="255649" y="372592"/>
                    <a:pt x="255649" y="367153"/>
                  </a:cubicBezTo>
                  <a:cubicBezTo>
                    <a:pt x="252930" y="353555"/>
                    <a:pt x="250210" y="342676"/>
                    <a:pt x="250210" y="331797"/>
                  </a:cubicBezTo>
                  <a:cubicBezTo>
                    <a:pt x="250210" y="301881"/>
                    <a:pt x="250210" y="274685"/>
                    <a:pt x="247490" y="244769"/>
                  </a:cubicBezTo>
                  <a:cubicBezTo>
                    <a:pt x="247490" y="231170"/>
                    <a:pt x="244771" y="217572"/>
                    <a:pt x="242051" y="203974"/>
                  </a:cubicBezTo>
                  <a:cubicBezTo>
                    <a:pt x="239331" y="187656"/>
                    <a:pt x="236611" y="174058"/>
                    <a:pt x="236611" y="157740"/>
                  </a:cubicBezTo>
                  <a:cubicBezTo>
                    <a:pt x="236611" y="152300"/>
                    <a:pt x="236611" y="133263"/>
                    <a:pt x="233892" y="119665"/>
                  </a:cubicBezTo>
                  <a:cubicBezTo>
                    <a:pt x="233892" y="106066"/>
                    <a:pt x="231172" y="97907"/>
                    <a:pt x="225733" y="97907"/>
                  </a:cubicBezTo>
                  <a:close/>
                  <a:moveTo>
                    <a:pt x="274687" y="0"/>
                  </a:moveTo>
                  <a:cubicBezTo>
                    <a:pt x="288285" y="0"/>
                    <a:pt x="293724" y="2720"/>
                    <a:pt x="304603" y="5439"/>
                  </a:cubicBezTo>
                  <a:cubicBezTo>
                    <a:pt x="315481" y="10879"/>
                    <a:pt x="315481" y="16318"/>
                    <a:pt x="320921" y="24477"/>
                  </a:cubicBezTo>
                  <a:cubicBezTo>
                    <a:pt x="326360" y="29916"/>
                    <a:pt x="331800" y="35356"/>
                    <a:pt x="334519" y="43515"/>
                  </a:cubicBezTo>
                  <a:cubicBezTo>
                    <a:pt x="337239" y="51674"/>
                    <a:pt x="337239" y="57113"/>
                    <a:pt x="339959" y="65272"/>
                  </a:cubicBezTo>
                  <a:cubicBezTo>
                    <a:pt x="345398" y="78870"/>
                    <a:pt x="342678" y="97908"/>
                    <a:pt x="348118" y="114226"/>
                  </a:cubicBezTo>
                  <a:cubicBezTo>
                    <a:pt x="350837" y="130544"/>
                    <a:pt x="358996" y="146863"/>
                    <a:pt x="361716" y="163180"/>
                  </a:cubicBezTo>
                  <a:cubicBezTo>
                    <a:pt x="364435" y="182218"/>
                    <a:pt x="364435" y="201256"/>
                    <a:pt x="369875" y="220293"/>
                  </a:cubicBezTo>
                  <a:cubicBezTo>
                    <a:pt x="375314" y="239331"/>
                    <a:pt x="378034" y="255649"/>
                    <a:pt x="378034" y="274686"/>
                  </a:cubicBezTo>
                  <a:cubicBezTo>
                    <a:pt x="378034" y="282845"/>
                    <a:pt x="380753" y="293724"/>
                    <a:pt x="383473" y="301883"/>
                  </a:cubicBezTo>
                  <a:cubicBezTo>
                    <a:pt x="386193" y="312762"/>
                    <a:pt x="388913" y="326360"/>
                    <a:pt x="391632" y="337238"/>
                  </a:cubicBezTo>
                  <a:cubicBezTo>
                    <a:pt x="391632" y="342678"/>
                    <a:pt x="394352" y="353556"/>
                    <a:pt x="397071" y="364435"/>
                  </a:cubicBezTo>
                  <a:cubicBezTo>
                    <a:pt x="399791" y="372594"/>
                    <a:pt x="402511" y="380753"/>
                    <a:pt x="405230" y="383473"/>
                  </a:cubicBezTo>
                  <a:cubicBezTo>
                    <a:pt x="407950" y="386192"/>
                    <a:pt x="413389" y="386192"/>
                    <a:pt x="416109" y="386192"/>
                  </a:cubicBezTo>
                  <a:cubicBezTo>
                    <a:pt x="418829" y="386192"/>
                    <a:pt x="424268" y="386192"/>
                    <a:pt x="426988" y="386192"/>
                  </a:cubicBezTo>
                  <a:cubicBezTo>
                    <a:pt x="437866" y="386192"/>
                    <a:pt x="448745" y="388912"/>
                    <a:pt x="454184" y="397071"/>
                  </a:cubicBezTo>
                  <a:cubicBezTo>
                    <a:pt x="456904" y="399790"/>
                    <a:pt x="456904" y="402510"/>
                    <a:pt x="456904" y="405230"/>
                  </a:cubicBezTo>
                  <a:cubicBezTo>
                    <a:pt x="456904" y="407949"/>
                    <a:pt x="454184" y="410669"/>
                    <a:pt x="451464" y="416108"/>
                  </a:cubicBezTo>
                  <a:cubicBezTo>
                    <a:pt x="446025" y="421548"/>
                    <a:pt x="440586" y="426987"/>
                    <a:pt x="432427" y="429707"/>
                  </a:cubicBezTo>
                  <a:cubicBezTo>
                    <a:pt x="429707" y="429707"/>
                    <a:pt x="426988" y="432426"/>
                    <a:pt x="421548" y="432426"/>
                  </a:cubicBezTo>
                  <a:cubicBezTo>
                    <a:pt x="418829" y="432426"/>
                    <a:pt x="416109" y="432426"/>
                    <a:pt x="413389" y="435146"/>
                  </a:cubicBezTo>
                  <a:cubicBezTo>
                    <a:pt x="413389" y="435146"/>
                    <a:pt x="413389" y="437866"/>
                    <a:pt x="413389" y="440585"/>
                  </a:cubicBezTo>
                  <a:cubicBezTo>
                    <a:pt x="413389" y="443305"/>
                    <a:pt x="413389" y="448744"/>
                    <a:pt x="416109" y="451464"/>
                  </a:cubicBezTo>
                  <a:cubicBezTo>
                    <a:pt x="416109" y="456903"/>
                    <a:pt x="418829" y="462343"/>
                    <a:pt x="418829" y="465062"/>
                  </a:cubicBezTo>
                  <a:lnTo>
                    <a:pt x="418829" y="475941"/>
                  </a:lnTo>
                  <a:cubicBezTo>
                    <a:pt x="418829" y="481380"/>
                    <a:pt x="418829" y="484100"/>
                    <a:pt x="418829" y="486820"/>
                  </a:cubicBezTo>
                  <a:cubicBezTo>
                    <a:pt x="421548" y="497698"/>
                    <a:pt x="424268" y="505857"/>
                    <a:pt x="426988" y="516736"/>
                  </a:cubicBezTo>
                  <a:cubicBezTo>
                    <a:pt x="426988" y="524895"/>
                    <a:pt x="429707" y="535773"/>
                    <a:pt x="432427" y="543932"/>
                  </a:cubicBezTo>
                  <a:cubicBezTo>
                    <a:pt x="435147" y="554811"/>
                    <a:pt x="437866" y="562970"/>
                    <a:pt x="437866" y="573848"/>
                  </a:cubicBezTo>
                  <a:cubicBezTo>
                    <a:pt x="437866" y="587447"/>
                    <a:pt x="440586" y="595606"/>
                    <a:pt x="443306" y="606484"/>
                  </a:cubicBezTo>
                  <a:cubicBezTo>
                    <a:pt x="443306" y="609204"/>
                    <a:pt x="446025" y="614643"/>
                    <a:pt x="446025" y="617363"/>
                  </a:cubicBezTo>
                  <a:cubicBezTo>
                    <a:pt x="454184" y="617363"/>
                    <a:pt x="462343" y="617363"/>
                    <a:pt x="470502" y="617363"/>
                  </a:cubicBezTo>
                  <a:cubicBezTo>
                    <a:pt x="475942" y="625522"/>
                    <a:pt x="492259" y="630961"/>
                    <a:pt x="492259" y="641840"/>
                  </a:cubicBezTo>
                  <a:cubicBezTo>
                    <a:pt x="492259" y="647279"/>
                    <a:pt x="486820" y="649999"/>
                    <a:pt x="484101" y="655438"/>
                  </a:cubicBezTo>
                  <a:cubicBezTo>
                    <a:pt x="481381" y="660877"/>
                    <a:pt x="473222" y="663597"/>
                    <a:pt x="467782" y="663597"/>
                  </a:cubicBezTo>
                  <a:cubicBezTo>
                    <a:pt x="456904" y="666317"/>
                    <a:pt x="451464" y="666317"/>
                    <a:pt x="443306" y="666317"/>
                  </a:cubicBezTo>
                  <a:cubicBezTo>
                    <a:pt x="437866" y="666317"/>
                    <a:pt x="429707" y="666317"/>
                    <a:pt x="421548" y="666317"/>
                  </a:cubicBezTo>
                  <a:cubicBezTo>
                    <a:pt x="418829" y="666317"/>
                    <a:pt x="416109" y="666317"/>
                    <a:pt x="413389" y="666317"/>
                  </a:cubicBezTo>
                  <a:cubicBezTo>
                    <a:pt x="407950" y="669036"/>
                    <a:pt x="405230" y="669036"/>
                    <a:pt x="399791" y="671756"/>
                  </a:cubicBezTo>
                  <a:cubicBezTo>
                    <a:pt x="394352" y="671756"/>
                    <a:pt x="388913" y="674476"/>
                    <a:pt x="383473" y="674476"/>
                  </a:cubicBezTo>
                  <a:cubicBezTo>
                    <a:pt x="372594" y="674476"/>
                    <a:pt x="358996" y="671756"/>
                    <a:pt x="348118" y="669036"/>
                  </a:cubicBezTo>
                  <a:cubicBezTo>
                    <a:pt x="339959" y="669036"/>
                    <a:pt x="331800" y="669036"/>
                    <a:pt x="326360" y="669036"/>
                  </a:cubicBezTo>
                  <a:cubicBezTo>
                    <a:pt x="304603" y="669036"/>
                    <a:pt x="285565" y="669036"/>
                    <a:pt x="277406" y="669036"/>
                  </a:cubicBezTo>
                  <a:cubicBezTo>
                    <a:pt x="269247" y="669036"/>
                    <a:pt x="258369" y="669036"/>
                    <a:pt x="252930" y="663597"/>
                  </a:cubicBezTo>
                  <a:cubicBezTo>
                    <a:pt x="247490" y="660877"/>
                    <a:pt x="236611" y="655438"/>
                    <a:pt x="236611" y="647279"/>
                  </a:cubicBezTo>
                  <a:cubicBezTo>
                    <a:pt x="236611" y="636401"/>
                    <a:pt x="252930" y="633681"/>
                    <a:pt x="261088" y="630961"/>
                  </a:cubicBezTo>
                  <a:cubicBezTo>
                    <a:pt x="266528" y="630961"/>
                    <a:pt x="274687" y="630961"/>
                    <a:pt x="288285" y="628241"/>
                  </a:cubicBezTo>
                  <a:cubicBezTo>
                    <a:pt x="288285" y="620082"/>
                    <a:pt x="288285" y="614643"/>
                    <a:pt x="285565" y="609204"/>
                  </a:cubicBezTo>
                  <a:cubicBezTo>
                    <a:pt x="285565" y="601045"/>
                    <a:pt x="282846" y="590166"/>
                    <a:pt x="282846" y="582007"/>
                  </a:cubicBezTo>
                  <a:cubicBezTo>
                    <a:pt x="282846" y="576568"/>
                    <a:pt x="280126" y="573848"/>
                    <a:pt x="280126" y="568409"/>
                  </a:cubicBezTo>
                  <a:cubicBezTo>
                    <a:pt x="280126" y="562970"/>
                    <a:pt x="282846" y="557531"/>
                    <a:pt x="282846" y="554811"/>
                  </a:cubicBezTo>
                  <a:cubicBezTo>
                    <a:pt x="282846" y="549371"/>
                    <a:pt x="280126" y="546652"/>
                    <a:pt x="277406" y="538493"/>
                  </a:cubicBezTo>
                  <a:cubicBezTo>
                    <a:pt x="277406" y="527614"/>
                    <a:pt x="271967" y="516736"/>
                    <a:pt x="271967" y="505857"/>
                  </a:cubicBezTo>
                  <a:cubicBezTo>
                    <a:pt x="271967" y="494978"/>
                    <a:pt x="271967" y="486820"/>
                    <a:pt x="269247" y="478660"/>
                  </a:cubicBezTo>
                  <a:cubicBezTo>
                    <a:pt x="266528" y="467782"/>
                    <a:pt x="266528" y="456903"/>
                    <a:pt x="266528" y="446025"/>
                  </a:cubicBezTo>
                  <a:cubicBezTo>
                    <a:pt x="266528" y="440585"/>
                    <a:pt x="263808" y="437866"/>
                    <a:pt x="261088" y="437866"/>
                  </a:cubicBezTo>
                  <a:cubicBezTo>
                    <a:pt x="258369" y="437866"/>
                    <a:pt x="255649" y="437866"/>
                    <a:pt x="250210" y="437866"/>
                  </a:cubicBezTo>
                  <a:cubicBezTo>
                    <a:pt x="239331" y="437866"/>
                    <a:pt x="228452" y="437866"/>
                    <a:pt x="220293" y="440585"/>
                  </a:cubicBezTo>
                  <a:cubicBezTo>
                    <a:pt x="209415" y="440585"/>
                    <a:pt x="201256" y="443305"/>
                    <a:pt x="190377" y="443305"/>
                  </a:cubicBezTo>
                  <a:cubicBezTo>
                    <a:pt x="182218" y="443305"/>
                    <a:pt x="174059" y="443305"/>
                    <a:pt x="165900" y="443305"/>
                  </a:cubicBezTo>
                  <a:cubicBezTo>
                    <a:pt x="163181" y="443305"/>
                    <a:pt x="152302" y="440585"/>
                    <a:pt x="144143" y="440585"/>
                  </a:cubicBezTo>
                  <a:cubicBezTo>
                    <a:pt x="135984" y="440585"/>
                    <a:pt x="135984" y="448744"/>
                    <a:pt x="135984" y="454184"/>
                  </a:cubicBezTo>
                  <a:cubicBezTo>
                    <a:pt x="135984" y="465062"/>
                    <a:pt x="133264" y="475941"/>
                    <a:pt x="130545" y="486820"/>
                  </a:cubicBezTo>
                  <a:cubicBezTo>
                    <a:pt x="127825" y="505857"/>
                    <a:pt x="122386" y="522175"/>
                    <a:pt x="119666" y="541213"/>
                  </a:cubicBezTo>
                  <a:cubicBezTo>
                    <a:pt x="116947" y="560250"/>
                    <a:pt x="108788" y="595606"/>
                    <a:pt x="103348" y="614643"/>
                  </a:cubicBezTo>
                  <a:cubicBezTo>
                    <a:pt x="111507" y="614643"/>
                    <a:pt x="122386" y="614643"/>
                    <a:pt x="133264" y="614643"/>
                  </a:cubicBezTo>
                  <a:cubicBezTo>
                    <a:pt x="146863" y="614643"/>
                    <a:pt x="168620" y="614643"/>
                    <a:pt x="168620" y="630961"/>
                  </a:cubicBezTo>
                  <a:cubicBezTo>
                    <a:pt x="168620" y="639120"/>
                    <a:pt x="165900" y="639120"/>
                    <a:pt x="163181" y="647279"/>
                  </a:cubicBezTo>
                  <a:cubicBezTo>
                    <a:pt x="160461" y="652718"/>
                    <a:pt x="152302" y="655438"/>
                    <a:pt x="146863" y="655438"/>
                  </a:cubicBezTo>
                  <a:cubicBezTo>
                    <a:pt x="138704" y="658158"/>
                    <a:pt x="133264" y="658158"/>
                    <a:pt x="127825" y="658158"/>
                  </a:cubicBezTo>
                  <a:cubicBezTo>
                    <a:pt x="122386" y="658158"/>
                    <a:pt x="116947" y="658158"/>
                    <a:pt x="106068" y="658158"/>
                  </a:cubicBezTo>
                  <a:cubicBezTo>
                    <a:pt x="92468" y="658158"/>
                    <a:pt x="78870" y="658158"/>
                    <a:pt x="62552" y="658158"/>
                  </a:cubicBezTo>
                  <a:cubicBezTo>
                    <a:pt x="54393" y="658158"/>
                    <a:pt x="46234" y="658158"/>
                    <a:pt x="40795" y="658158"/>
                  </a:cubicBezTo>
                  <a:cubicBezTo>
                    <a:pt x="32636" y="658158"/>
                    <a:pt x="21758" y="658158"/>
                    <a:pt x="16318" y="652718"/>
                  </a:cubicBezTo>
                  <a:cubicBezTo>
                    <a:pt x="8159" y="649999"/>
                    <a:pt x="0" y="641840"/>
                    <a:pt x="0" y="636401"/>
                  </a:cubicBezTo>
                  <a:cubicBezTo>
                    <a:pt x="0" y="633681"/>
                    <a:pt x="0" y="630961"/>
                    <a:pt x="2720" y="628241"/>
                  </a:cubicBezTo>
                  <a:cubicBezTo>
                    <a:pt x="8159" y="625522"/>
                    <a:pt x="16318" y="622802"/>
                    <a:pt x="24477" y="620082"/>
                  </a:cubicBezTo>
                  <a:cubicBezTo>
                    <a:pt x="38075" y="617363"/>
                    <a:pt x="48954" y="617363"/>
                    <a:pt x="62552" y="617363"/>
                  </a:cubicBezTo>
                  <a:cubicBezTo>
                    <a:pt x="62552" y="617363"/>
                    <a:pt x="62552" y="614643"/>
                    <a:pt x="62552" y="614643"/>
                  </a:cubicBezTo>
                  <a:cubicBezTo>
                    <a:pt x="62552" y="603765"/>
                    <a:pt x="65272" y="590166"/>
                    <a:pt x="65272" y="587447"/>
                  </a:cubicBezTo>
                  <a:cubicBezTo>
                    <a:pt x="67992" y="565689"/>
                    <a:pt x="73431" y="543932"/>
                    <a:pt x="76151" y="522175"/>
                  </a:cubicBezTo>
                  <a:cubicBezTo>
                    <a:pt x="78870" y="505857"/>
                    <a:pt x="81590" y="486820"/>
                    <a:pt x="87029" y="470501"/>
                  </a:cubicBezTo>
                  <a:cubicBezTo>
                    <a:pt x="87029" y="465062"/>
                    <a:pt x="92468" y="451464"/>
                    <a:pt x="92468" y="446025"/>
                  </a:cubicBezTo>
                  <a:cubicBezTo>
                    <a:pt x="92468" y="437866"/>
                    <a:pt x="73431" y="437866"/>
                    <a:pt x="65272" y="432426"/>
                  </a:cubicBezTo>
                  <a:cubicBezTo>
                    <a:pt x="59833" y="429707"/>
                    <a:pt x="54393" y="426987"/>
                    <a:pt x="54393" y="421548"/>
                  </a:cubicBezTo>
                  <a:cubicBezTo>
                    <a:pt x="54393" y="413389"/>
                    <a:pt x="62552" y="410669"/>
                    <a:pt x="73431" y="407949"/>
                  </a:cubicBezTo>
                  <a:cubicBezTo>
                    <a:pt x="78870" y="407949"/>
                    <a:pt x="92468" y="405230"/>
                    <a:pt x="100629" y="399790"/>
                  </a:cubicBezTo>
                  <a:cubicBezTo>
                    <a:pt x="106068" y="394351"/>
                    <a:pt x="106068" y="378033"/>
                    <a:pt x="108788" y="369874"/>
                  </a:cubicBezTo>
                  <a:cubicBezTo>
                    <a:pt x="114227" y="348117"/>
                    <a:pt x="119666" y="326360"/>
                    <a:pt x="125105" y="307322"/>
                  </a:cubicBezTo>
                  <a:cubicBezTo>
                    <a:pt x="130545" y="285565"/>
                    <a:pt x="135984" y="263808"/>
                    <a:pt x="141423" y="242051"/>
                  </a:cubicBezTo>
                  <a:cubicBezTo>
                    <a:pt x="146863" y="220293"/>
                    <a:pt x="152302" y="198536"/>
                    <a:pt x="155022" y="179498"/>
                  </a:cubicBezTo>
                  <a:cubicBezTo>
                    <a:pt x="157742" y="160461"/>
                    <a:pt x="163181" y="138703"/>
                    <a:pt x="168620" y="119665"/>
                  </a:cubicBezTo>
                  <a:cubicBezTo>
                    <a:pt x="176779" y="100627"/>
                    <a:pt x="182218" y="76150"/>
                    <a:pt x="193097" y="57113"/>
                  </a:cubicBezTo>
                  <a:lnTo>
                    <a:pt x="201256" y="38075"/>
                  </a:lnTo>
                  <a:cubicBezTo>
                    <a:pt x="206695" y="29916"/>
                    <a:pt x="209415" y="19038"/>
                    <a:pt x="217574" y="13598"/>
                  </a:cubicBezTo>
                  <a:cubicBezTo>
                    <a:pt x="231172" y="2720"/>
                    <a:pt x="255649" y="0"/>
                    <a:pt x="274687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/>
            </a:p>
          </p:txBody>
        </p:sp>
        <p:sp>
          <p:nvSpPr>
            <p:cNvPr id="51" name="Freeform: Shape 50">
              <a:extLst>
                <a:ext uri="{FF2B5EF4-FFF2-40B4-BE49-F238E27FC236}">
                  <a16:creationId xmlns:a16="http://schemas.microsoft.com/office/drawing/2014/main" id="{6BF9BE4F-4C44-4FF7-A214-ED9C63856F18}"/>
                </a:ext>
              </a:extLst>
            </p:cNvPr>
            <p:cNvSpPr/>
            <p:nvPr/>
          </p:nvSpPr>
          <p:spPr>
            <a:xfrm>
              <a:off x="6876542" y="4244897"/>
              <a:ext cx="462342" cy="677195"/>
            </a:xfrm>
            <a:custGeom>
              <a:avLst/>
              <a:gdLst>
                <a:gd name="connsiteX0" fmla="*/ 214853 w 462342"/>
                <a:gd name="connsiteY0" fmla="*/ 65272 h 677195"/>
                <a:gd name="connsiteX1" fmla="*/ 195815 w 462342"/>
                <a:gd name="connsiteY1" fmla="*/ 73431 h 677195"/>
                <a:gd name="connsiteX2" fmla="*/ 193096 w 462342"/>
                <a:gd name="connsiteY2" fmla="*/ 125105 h 677195"/>
                <a:gd name="connsiteX3" fmla="*/ 190376 w 462342"/>
                <a:gd name="connsiteY3" fmla="*/ 280125 h 677195"/>
                <a:gd name="connsiteX4" fmla="*/ 190376 w 462342"/>
                <a:gd name="connsiteY4" fmla="*/ 301882 h 677195"/>
                <a:gd name="connsiteX5" fmla="*/ 193096 w 462342"/>
                <a:gd name="connsiteY5" fmla="*/ 342677 h 677195"/>
                <a:gd name="connsiteX6" fmla="*/ 195815 w 462342"/>
                <a:gd name="connsiteY6" fmla="*/ 397070 h 677195"/>
                <a:gd name="connsiteX7" fmla="*/ 195815 w 462342"/>
                <a:gd name="connsiteY7" fmla="*/ 443304 h 677195"/>
                <a:gd name="connsiteX8" fmla="*/ 195815 w 462342"/>
                <a:gd name="connsiteY8" fmla="*/ 530333 h 677195"/>
                <a:gd name="connsiteX9" fmla="*/ 193096 w 462342"/>
                <a:gd name="connsiteY9" fmla="*/ 554810 h 677195"/>
                <a:gd name="connsiteX10" fmla="*/ 190376 w 462342"/>
                <a:gd name="connsiteY10" fmla="*/ 603764 h 677195"/>
                <a:gd name="connsiteX11" fmla="*/ 198535 w 462342"/>
                <a:gd name="connsiteY11" fmla="*/ 611923 h 677195"/>
                <a:gd name="connsiteX12" fmla="*/ 214853 w 462342"/>
                <a:gd name="connsiteY12" fmla="*/ 611923 h 677195"/>
                <a:gd name="connsiteX13" fmla="*/ 236610 w 462342"/>
                <a:gd name="connsiteY13" fmla="*/ 611923 h 677195"/>
                <a:gd name="connsiteX14" fmla="*/ 263807 w 462342"/>
                <a:gd name="connsiteY14" fmla="*/ 598325 h 677195"/>
                <a:gd name="connsiteX15" fmla="*/ 277405 w 462342"/>
                <a:gd name="connsiteY15" fmla="*/ 592885 h 677195"/>
                <a:gd name="connsiteX16" fmla="*/ 291004 w 462342"/>
                <a:gd name="connsiteY16" fmla="*/ 573848 h 677195"/>
                <a:gd name="connsiteX17" fmla="*/ 307322 w 462342"/>
                <a:gd name="connsiteY17" fmla="*/ 543931 h 677195"/>
                <a:gd name="connsiteX18" fmla="*/ 326359 w 462342"/>
                <a:gd name="connsiteY18" fmla="*/ 481379 h 677195"/>
                <a:gd name="connsiteX19" fmla="*/ 337238 w 462342"/>
                <a:gd name="connsiteY19" fmla="*/ 413388 h 677195"/>
                <a:gd name="connsiteX20" fmla="*/ 337238 w 462342"/>
                <a:gd name="connsiteY20" fmla="*/ 350836 h 677195"/>
                <a:gd name="connsiteX21" fmla="*/ 334518 w 462342"/>
                <a:gd name="connsiteY21" fmla="*/ 296443 h 677195"/>
                <a:gd name="connsiteX22" fmla="*/ 329079 w 462342"/>
                <a:gd name="connsiteY22" fmla="*/ 244769 h 677195"/>
                <a:gd name="connsiteX23" fmla="*/ 307322 w 462342"/>
                <a:gd name="connsiteY23" fmla="*/ 135983 h 677195"/>
                <a:gd name="connsiteX24" fmla="*/ 271966 w 462342"/>
                <a:gd name="connsiteY24" fmla="*/ 78870 h 677195"/>
                <a:gd name="connsiteX25" fmla="*/ 214853 w 462342"/>
                <a:gd name="connsiteY25" fmla="*/ 65272 h 677195"/>
                <a:gd name="connsiteX26" fmla="*/ 114226 w 462342"/>
                <a:gd name="connsiteY26" fmla="*/ 0 h 677195"/>
                <a:gd name="connsiteX27" fmla="*/ 127824 w 462342"/>
                <a:gd name="connsiteY27" fmla="*/ 0 h 677195"/>
                <a:gd name="connsiteX28" fmla="*/ 146862 w 462342"/>
                <a:gd name="connsiteY28" fmla="*/ 2720 h 677195"/>
                <a:gd name="connsiteX29" fmla="*/ 174059 w 462342"/>
                <a:gd name="connsiteY29" fmla="*/ 21758 h 677195"/>
                <a:gd name="connsiteX30" fmla="*/ 193096 w 462342"/>
                <a:gd name="connsiteY30" fmla="*/ 21758 h 677195"/>
                <a:gd name="connsiteX31" fmla="*/ 261088 w 462342"/>
                <a:gd name="connsiteY31" fmla="*/ 27197 h 677195"/>
                <a:gd name="connsiteX32" fmla="*/ 310042 w 462342"/>
                <a:gd name="connsiteY32" fmla="*/ 35356 h 677195"/>
                <a:gd name="connsiteX33" fmla="*/ 334518 w 462342"/>
                <a:gd name="connsiteY33" fmla="*/ 40795 h 677195"/>
                <a:gd name="connsiteX34" fmla="*/ 356276 w 462342"/>
                <a:gd name="connsiteY34" fmla="*/ 59833 h 677195"/>
                <a:gd name="connsiteX35" fmla="*/ 372593 w 462342"/>
                <a:gd name="connsiteY35" fmla="*/ 76151 h 677195"/>
                <a:gd name="connsiteX36" fmla="*/ 380752 w 462342"/>
                <a:gd name="connsiteY36" fmla="*/ 95188 h 677195"/>
                <a:gd name="connsiteX37" fmla="*/ 405230 w 462342"/>
                <a:gd name="connsiteY37" fmla="*/ 114226 h 677195"/>
                <a:gd name="connsiteX38" fmla="*/ 416108 w 462342"/>
                <a:gd name="connsiteY38" fmla="*/ 141422 h 677195"/>
                <a:gd name="connsiteX39" fmla="*/ 451464 w 462342"/>
                <a:gd name="connsiteY39" fmla="*/ 201256 h 677195"/>
                <a:gd name="connsiteX40" fmla="*/ 456903 w 462342"/>
                <a:gd name="connsiteY40" fmla="*/ 252929 h 677195"/>
                <a:gd name="connsiteX41" fmla="*/ 456903 w 462342"/>
                <a:gd name="connsiteY41" fmla="*/ 291004 h 677195"/>
                <a:gd name="connsiteX42" fmla="*/ 459623 w 462342"/>
                <a:gd name="connsiteY42" fmla="*/ 318201 h 677195"/>
                <a:gd name="connsiteX43" fmla="*/ 459623 w 462342"/>
                <a:gd name="connsiteY43" fmla="*/ 326360 h 677195"/>
                <a:gd name="connsiteX44" fmla="*/ 459623 w 462342"/>
                <a:gd name="connsiteY44" fmla="*/ 348117 h 677195"/>
                <a:gd name="connsiteX45" fmla="*/ 462342 w 462342"/>
                <a:gd name="connsiteY45" fmla="*/ 367155 h 677195"/>
                <a:gd name="connsiteX46" fmla="*/ 456903 w 462342"/>
                <a:gd name="connsiteY46" fmla="*/ 391632 h 677195"/>
                <a:gd name="connsiteX47" fmla="*/ 456903 w 462342"/>
                <a:gd name="connsiteY47" fmla="*/ 418828 h 677195"/>
                <a:gd name="connsiteX48" fmla="*/ 451464 w 462342"/>
                <a:gd name="connsiteY48" fmla="*/ 437866 h 677195"/>
                <a:gd name="connsiteX49" fmla="*/ 446025 w 462342"/>
                <a:gd name="connsiteY49" fmla="*/ 454184 h 677195"/>
                <a:gd name="connsiteX50" fmla="*/ 440585 w 462342"/>
                <a:gd name="connsiteY50" fmla="*/ 481380 h 677195"/>
                <a:gd name="connsiteX51" fmla="*/ 432426 w 462342"/>
                <a:gd name="connsiteY51" fmla="*/ 508577 h 677195"/>
                <a:gd name="connsiteX52" fmla="*/ 418828 w 462342"/>
                <a:gd name="connsiteY52" fmla="*/ 530334 h 677195"/>
                <a:gd name="connsiteX53" fmla="*/ 410669 w 462342"/>
                <a:gd name="connsiteY53" fmla="*/ 549371 h 677195"/>
                <a:gd name="connsiteX54" fmla="*/ 391631 w 462342"/>
                <a:gd name="connsiteY54" fmla="*/ 579288 h 677195"/>
                <a:gd name="connsiteX55" fmla="*/ 337238 w 462342"/>
                <a:gd name="connsiteY55" fmla="*/ 630961 h 677195"/>
                <a:gd name="connsiteX56" fmla="*/ 301883 w 462342"/>
                <a:gd name="connsiteY56" fmla="*/ 647279 h 677195"/>
                <a:gd name="connsiteX57" fmla="*/ 263807 w 462342"/>
                <a:gd name="connsiteY57" fmla="*/ 652718 h 677195"/>
                <a:gd name="connsiteX58" fmla="*/ 233891 w 462342"/>
                <a:gd name="connsiteY58" fmla="*/ 649999 h 677195"/>
                <a:gd name="connsiteX59" fmla="*/ 187657 w 462342"/>
                <a:gd name="connsiteY59" fmla="*/ 652718 h 677195"/>
                <a:gd name="connsiteX60" fmla="*/ 171339 w 462342"/>
                <a:gd name="connsiteY60" fmla="*/ 669036 h 677195"/>
                <a:gd name="connsiteX61" fmla="*/ 155021 w 462342"/>
                <a:gd name="connsiteY61" fmla="*/ 671756 h 677195"/>
                <a:gd name="connsiteX62" fmla="*/ 138703 w 462342"/>
                <a:gd name="connsiteY62" fmla="*/ 674476 h 677195"/>
                <a:gd name="connsiteX63" fmla="*/ 125105 w 462342"/>
                <a:gd name="connsiteY63" fmla="*/ 677195 h 677195"/>
                <a:gd name="connsiteX64" fmla="*/ 106067 w 462342"/>
                <a:gd name="connsiteY64" fmla="*/ 671756 h 677195"/>
                <a:gd name="connsiteX65" fmla="*/ 87029 w 462342"/>
                <a:gd name="connsiteY65" fmla="*/ 658158 h 677195"/>
                <a:gd name="connsiteX66" fmla="*/ 81590 w 462342"/>
                <a:gd name="connsiteY66" fmla="*/ 652718 h 677195"/>
                <a:gd name="connsiteX67" fmla="*/ 67992 w 462342"/>
                <a:gd name="connsiteY67" fmla="*/ 652718 h 677195"/>
                <a:gd name="connsiteX68" fmla="*/ 43515 w 462342"/>
                <a:gd name="connsiteY68" fmla="*/ 652718 h 677195"/>
                <a:gd name="connsiteX69" fmla="*/ 16318 w 462342"/>
                <a:gd name="connsiteY69" fmla="*/ 647279 h 677195"/>
                <a:gd name="connsiteX70" fmla="*/ 0 w 462342"/>
                <a:gd name="connsiteY70" fmla="*/ 630961 h 677195"/>
                <a:gd name="connsiteX71" fmla="*/ 5439 w 462342"/>
                <a:gd name="connsiteY71" fmla="*/ 620083 h 677195"/>
                <a:gd name="connsiteX72" fmla="*/ 27197 w 462342"/>
                <a:gd name="connsiteY72" fmla="*/ 611924 h 677195"/>
                <a:gd name="connsiteX73" fmla="*/ 65272 w 462342"/>
                <a:gd name="connsiteY73" fmla="*/ 609204 h 677195"/>
                <a:gd name="connsiteX74" fmla="*/ 65272 w 462342"/>
                <a:gd name="connsiteY74" fmla="*/ 584727 h 677195"/>
                <a:gd name="connsiteX75" fmla="*/ 62552 w 462342"/>
                <a:gd name="connsiteY75" fmla="*/ 456903 h 677195"/>
                <a:gd name="connsiteX76" fmla="*/ 65272 w 462342"/>
                <a:gd name="connsiteY76" fmla="*/ 337238 h 677195"/>
                <a:gd name="connsiteX77" fmla="*/ 67992 w 462342"/>
                <a:gd name="connsiteY77" fmla="*/ 203975 h 677195"/>
                <a:gd name="connsiteX78" fmla="*/ 70712 w 462342"/>
                <a:gd name="connsiteY78" fmla="*/ 119665 h 677195"/>
                <a:gd name="connsiteX79" fmla="*/ 73431 w 462342"/>
                <a:gd name="connsiteY79" fmla="*/ 67992 h 677195"/>
                <a:gd name="connsiteX80" fmla="*/ 67992 w 462342"/>
                <a:gd name="connsiteY80" fmla="*/ 67992 h 677195"/>
                <a:gd name="connsiteX81" fmla="*/ 43515 w 462342"/>
                <a:gd name="connsiteY81" fmla="*/ 67992 h 677195"/>
                <a:gd name="connsiteX82" fmla="*/ 16318 w 462342"/>
                <a:gd name="connsiteY82" fmla="*/ 62552 h 677195"/>
                <a:gd name="connsiteX83" fmla="*/ 0 w 462342"/>
                <a:gd name="connsiteY83" fmla="*/ 46234 h 677195"/>
                <a:gd name="connsiteX84" fmla="*/ 5439 w 462342"/>
                <a:gd name="connsiteY84" fmla="*/ 35356 h 677195"/>
                <a:gd name="connsiteX85" fmla="*/ 27197 w 462342"/>
                <a:gd name="connsiteY85" fmla="*/ 27197 h 677195"/>
                <a:gd name="connsiteX86" fmla="*/ 76151 w 462342"/>
                <a:gd name="connsiteY86" fmla="*/ 21758 h 677195"/>
                <a:gd name="connsiteX87" fmla="*/ 81590 w 462342"/>
                <a:gd name="connsiteY87" fmla="*/ 13598 h 677195"/>
                <a:gd name="connsiteX88" fmla="*/ 97908 w 462342"/>
                <a:gd name="connsiteY88" fmla="*/ 5439 h 677195"/>
                <a:gd name="connsiteX89" fmla="*/ 114226 w 462342"/>
                <a:gd name="connsiteY89" fmla="*/ 0 h 6771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</a:cxnLst>
              <a:rect l="l" t="t" r="r" b="b"/>
              <a:pathLst>
                <a:path w="462342" h="677195">
                  <a:moveTo>
                    <a:pt x="214853" y="65272"/>
                  </a:moveTo>
                  <a:cubicBezTo>
                    <a:pt x="203975" y="65272"/>
                    <a:pt x="195815" y="67992"/>
                    <a:pt x="195815" y="73431"/>
                  </a:cubicBezTo>
                  <a:cubicBezTo>
                    <a:pt x="193096" y="78870"/>
                    <a:pt x="193096" y="100628"/>
                    <a:pt x="193096" y="125105"/>
                  </a:cubicBezTo>
                  <a:cubicBezTo>
                    <a:pt x="193096" y="182217"/>
                    <a:pt x="193096" y="266527"/>
                    <a:pt x="190376" y="280125"/>
                  </a:cubicBezTo>
                  <a:cubicBezTo>
                    <a:pt x="190376" y="288284"/>
                    <a:pt x="190376" y="293723"/>
                    <a:pt x="190376" y="301882"/>
                  </a:cubicBezTo>
                  <a:cubicBezTo>
                    <a:pt x="190376" y="315480"/>
                    <a:pt x="190376" y="329079"/>
                    <a:pt x="193096" y="342677"/>
                  </a:cubicBezTo>
                  <a:cubicBezTo>
                    <a:pt x="193096" y="361715"/>
                    <a:pt x="193096" y="378033"/>
                    <a:pt x="195815" y="397070"/>
                  </a:cubicBezTo>
                  <a:cubicBezTo>
                    <a:pt x="195815" y="413388"/>
                    <a:pt x="195815" y="426986"/>
                    <a:pt x="195815" y="443304"/>
                  </a:cubicBezTo>
                  <a:cubicBezTo>
                    <a:pt x="195815" y="465061"/>
                    <a:pt x="198535" y="508576"/>
                    <a:pt x="195815" y="530333"/>
                  </a:cubicBezTo>
                  <a:cubicBezTo>
                    <a:pt x="195815" y="538492"/>
                    <a:pt x="193096" y="546651"/>
                    <a:pt x="193096" y="554810"/>
                  </a:cubicBezTo>
                  <a:cubicBezTo>
                    <a:pt x="193096" y="560249"/>
                    <a:pt x="190376" y="590166"/>
                    <a:pt x="190376" y="603764"/>
                  </a:cubicBezTo>
                  <a:cubicBezTo>
                    <a:pt x="190376" y="609203"/>
                    <a:pt x="190376" y="611923"/>
                    <a:pt x="198535" y="611923"/>
                  </a:cubicBezTo>
                  <a:cubicBezTo>
                    <a:pt x="206694" y="611923"/>
                    <a:pt x="209414" y="611923"/>
                    <a:pt x="214853" y="611923"/>
                  </a:cubicBezTo>
                  <a:cubicBezTo>
                    <a:pt x="223012" y="611923"/>
                    <a:pt x="220293" y="611923"/>
                    <a:pt x="236610" y="611923"/>
                  </a:cubicBezTo>
                  <a:cubicBezTo>
                    <a:pt x="242050" y="611923"/>
                    <a:pt x="258368" y="601044"/>
                    <a:pt x="263807" y="598325"/>
                  </a:cubicBezTo>
                  <a:cubicBezTo>
                    <a:pt x="266527" y="598325"/>
                    <a:pt x="274686" y="592885"/>
                    <a:pt x="277405" y="592885"/>
                  </a:cubicBezTo>
                  <a:cubicBezTo>
                    <a:pt x="285564" y="587446"/>
                    <a:pt x="288284" y="579287"/>
                    <a:pt x="291004" y="573848"/>
                  </a:cubicBezTo>
                  <a:cubicBezTo>
                    <a:pt x="296443" y="562969"/>
                    <a:pt x="301882" y="554810"/>
                    <a:pt x="307322" y="543931"/>
                  </a:cubicBezTo>
                  <a:cubicBezTo>
                    <a:pt x="315481" y="524894"/>
                    <a:pt x="320920" y="524894"/>
                    <a:pt x="326359" y="481379"/>
                  </a:cubicBezTo>
                  <a:cubicBezTo>
                    <a:pt x="329079" y="456903"/>
                    <a:pt x="334518" y="435145"/>
                    <a:pt x="337238" y="413388"/>
                  </a:cubicBezTo>
                  <a:cubicBezTo>
                    <a:pt x="337238" y="391631"/>
                    <a:pt x="337238" y="369873"/>
                    <a:pt x="337238" y="350836"/>
                  </a:cubicBezTo>
                  <a:cubicBezTo>
                    <a:pt x="337238" y="339957"/>
                    <a:pt x="337238" y="320920"/>
                    <a:pt x="334518" y="296443"/>
                  </a:cubicBezTo>
                  <a:cubicBezTo>
                    <a:pt x="331798" y="269246"/>
                    <a:pt x="329079" y="250209"/>
                    <a:pt x="329079" y="244769"/>
                  </a:cubicBezTo>
                  <a:cubicBezTo>
                    <a:pt x="323640" y="206694"/>
                    <a:pt x="318200" y="174058"/>
                    <a:pt x="307322" y="135983"/>
                  </a:cubicBezTo>
                  <a:cubicBezTo>
                    <a:pt x="304602" y="125105"/>
                    <a:pt x="304602" y="108787"/>
                    <a:pt x="271966" y="78870"/>
                  </a:cubicBezTo>
                  <a:cubicBezTo>
                    <a:pt x="263807" y="73431"/>
                    <a:pt x="233891" y="65272"/>
                    <a:pt x="214853" y="65272"/>
                  </a:cubicBezTo>
                  <a:close/>
                  <a:moveTo>
                    <a:pt x="114226" y="0"/>
                  </a:moveTo>
                  <a:cubicBezTo>
                    <a:pt x="119665" y="0"/>
                    <a:pt x="125105" y="0"/>
                    <a:pt x="127824" y="0"/>
                  </a:cubicBezTo>
                  <a:cubicBezTo>
                    <a:pt x="133264" y="0"/>
                    <a:pt x="141422" y="0"/>
                    <a:pt x="146862" y="2720"/>
                  </a:cubicBezTo>
                  <a:cubicBezTo>
                    <a:pt x="157741" y="5439"/>
                    <a:pt x="165900" y="13598"/>
                    <a:pt x="174059" y="21758"/>
                  </a:cubicBezTo>
                  <a:cubicBezTo>
                    <a:pt x="179498" y="21758"/>
                    <a:pt x="187657" y="21758"/>
                    <a:pt x="193096" y="21758"/>
                  </a:cubicBezTo>
                  <a:cubicBezTo>
                    <a:pt x="212134" y="21758"/>
                    <a:pt x="228452" y="27197"/>
                    <a:pt x="261088" y="27197"/>
                  </a:cubicBezTo>
                  <a:cubicBezTo>
                    <a:pt x="277405" y="27197"/>
                    <a:pt x="293723" y="35356"/>
                    <a:pt x="310042" y="35356"/>
                  </a:cubicBezTo>
                  <a:cubicBezTo>
                    <a:pt x="318200" y="35356"/>
                    <a:pt x="329079" y="35356"/>
                    <a:pt x="334518" y="40795"/>
                  </a:cubicBezTo>
                  <a:cubicBezTo>
                    <a:pt x="342677" y="46234"/>
                    <a:pt x="348117" y="54393"/>
                    <a:pt x="356276" y="59833"/>
                  </a:cubicBezTo>
                  <a:cubicBezTo>
                    <a:pt x="361715" y="65272"/>
                    <a:pt x="369874" y="67992"/>
                    <a:pt x="372593" y="76151"/>
                  </a:cubicBezTo>
                  <a:cubicBezTo>
                    <a:pt x="375313" y="81590"/>
                    <a:pt x="378033" y="89749"/>
                    <a:pt x="380752" y="95188"/>
                  </a:cubicBezTo>
                  <a:cubicBezTo>
                    <a:pt x="386192" y="103347"/>
                    <a:pt x="391631" y="106067"/>
                    <a:pt x="405230" y="114226"/>
                  </a:cubicBezTo>
                  <a:cubicBezTo>
                    <a:pt x="413388" y="119665"/>
                    <a:pt x="410669" y="133263"/>
                    <a:pt x="416108" y="141422"/>
                  </a:cubicBezTo>
                  <a:cubicBezTo>
                    <a:pt x="426987" y="160461"/>
                    <a:pt x="446025" y="182218"/>
                    <a:pt x="451464" y="201256"/>
                  </a:cubicBezTo>
                  <a:cubicBezTo>
                    <a:pt x="456903" y="220293"/>
                    <a:pt x="456903" y="236611"/>
                    <a:pt x="456903" y="252929"/>
                  </a:cubicBezTo>
                  <a:cubicBezTo>
                    <a:pt x="456903" y="266527"/>
                    <a:pt x="456903" y="277406"/>
                    <a:pt x="456903" y="291004"/>
                  </a:cubicBezTo>
                  <a:cubicBezTo>
                    <a:pt x="456903" y="299163"/>
                    <a:pt x="456903" y="307322"/>
                    <a:pt x="459623" y="318201"/>
                  </a:cubicBezTo>
                  <a:cubicBezTo>
                    <a:pt x="459623" y="320921"/>
                    <a:pt x="459623" y="323640"/>
                    <a:pt x="459623" y="326360"/>
                  </a:cubicBezTo>
                  <a:cubicBezTo>
                    <a:pt x="462342" y="331799"/>
                    <a:pt x="459623" y="337238"/>
                    <a:pt x="459623" y="348117"/>
                  </a:cubicBezTo>
                  <a:cubicBezTo>
                    <a:pt x="459623" y="350837"/>
                    <a:pt x="462342" y="361715"/>
                    <a:pt x="462342" y="367155"/>
                  </a:cubicBezTo>
                  <a:cubicBezTo>
                    <a:pt x="462342" y="375314"/>
                    <a:pt x="456903" y="383473"/>
                    <a:pt x="456903" y="391632"/>
                  </a:cubicBezTo>
                  <a:cubicBezTo>
                    <a:pt x="456903" y="399790"/>
                    <a:pt x="456903" y="410669"/>
                    <a:pt x="456903" y="418828"/>
                  </a:cubicBezTo>
                  <a:cubicBezTo>
                    <a:pt x="456903" y="421548"/>
                    <a:pt x="454183" y="429707"/>
                    <a:pt x="451464" y="437866"/>
                  </a:cubicBezTo>
                  <a:cubicBezTo>
                    <a:pt x="448744" y="443305"/>
                    <a:pt x="448744" y="451464"/>
                    <a:pt x="446025" y="454184"/>
                  </a:cubicBezTo>
                  <a:cubicBezTo>
                    <a:pt x="443305" y="462343"/>
                    <a:pt x="440585" y="473221"/>
                    <a:pt x="440585" y="481380"/>
                  </a:cubicBezTo>
                  <a:cubicBezTo>
                    <a:pt x="437865" y="489539"/>
                    <a:pt x="437865" y="500418"/>
                    <a:pt x="432426" y="508577"/>
                  </a:cubicBezTo>
                  <a:cubicBezTo>
                    <a:pt x="429706" y="516736"/>
                    <a:pt x="424267" y="522175"/>
                    <a:pt x="418828" y="530334"/>
                  </a:cubicBezTo>
                  <a:cubicBezTo>
                    <a:pt x="416108" y="535773"/>
                    <a:pt x="413388" y="543932"/>
                    <a:pt x="410669" y="549371"/>
                  </a:cubicBezTo>
                  <a:cubicBezTo>
                    <a:pt x="405230" y="557531"/>
                    <a:pt x="397071" y="573848"/>
                    <a:pt x="391631" y="579288"/>
                  </a:cubicBezTo>
                  <a:cubicBezTo>
                    <a:pt x="369874" y="609204"/>
                    <a:pt x="350836" y="620083"/>
                    <a:pt x="337238" y="630961"/>
                  </a:cubicBezTo>
                  <a:cubicBezTo>
                    <a:pt x="326359" y="639120"/>
                    <a:pt x="315481" y="641840"/>
                    <a:pt x="301883" y="647279"/>
                  </a:cubicBezTo>
                  <a:cubicBezTo>
                    <a:pt x="291004" y="649999"/>
                    <a:pt x="277405" y="652718"/>
                    <a:pt x="263807" y="652718"/>
                  </a:cubicBezTo>
                  <a:cubicBezTo>
                    <a:pt x="252929" y="652718"/>
                    <a:pt x="244770" y="649999"/>
                    <a:pt x="233891" y="649999"/>
                  </a:cubicBezTo>
                  <a:cubicBezTo>
                    <a:pt x="206694" y="649999"/>
                    <a:pt x="217573" y="652718"/>
                    <a:pt x="187657" y="652718"/>
                  </a:cubicBezTo>
                  <a:cubicBezTo>
                    <a:pt x="184937" y="660877"/>
                    <a:pt x="179498" y="666317"/>
                    <a:pt x="171339" y="669036"/>
                  </a:cubicBezTo>
                  <a:cubicBezTo>
                    <a:pt x="165900" y="671756"/>
                    <a:pt x="160460" y="671756"/>
                    <a:pt x="155021" y="671756"/>
                  </a:cubicBezTo>
                  <a:cubicBezTo>
                    <a:pt x="149581" y="671756"/>
                    <a:pt x="144142" y="674476"/>
                    <a:pt x="138703" y="674476"/>
                  </a:cubicBezTo>
                  <a:cubicBezTo>
                    <a:pt x="135983" y="674476"/>
                    <a:pt x="127824" y="677195"/>
                    <a:pt x="125105" y="677195"/>
                  </a:cubicBezTo>
                  <a:cubicBezTo>
                    <a:pt x="116946" y="677195"/>
                    <a:pt x="108787" y="671756"/>
                    <a:pt x="106067" y="671756"/>
                  </a:cubicBezTo>
                  <a:cubicBezTo>
                    <a:pt x="100628" y="669036"/>
                    <a:pt x="95188" y="663597"/>
                    <a:pt x="87029" y="658158"/>
                  </a:cubicBezTo>
                  <a:cubicBezTo>
                    <a:pt x="84310" y="655438"/>
                    <a:pt x="81590" y="655438"/>
                    <a:pt x="81590" y="652718"/>
                  </a:cubicBezTo>
                  <a:cubicBezTo>
                    <a:pt x="73431" y="652718"/>
                    <a:pt x="81590" y="652718"/>
                    <a:pt x="67992" y="652718"/>
                  </a:cubicBezTo>
                  <a:cubicBezTo>
                    <a:pt x="59833" y="652718"/>
                    <a:pt x="51674" y="652718"/>
                    <a:pt x="43515" y="652718"/>
                  </a:cubicBezTo>
                  <a:cubicBezTo>
                    <a:pt x="35356" y="652718"/>
                    <a:pt x="24477" y="652718"/>
                    <a:pt x="16318" y="647279"/>
                  </a:cubicBezTo>
                  <a:cubicBezTo>
                    <a:pt x="8159" y="644559"/>
                    <a:pt x="0" y="636401"/>
                    <a:pt x="0" y="630961"/>
                  </a:cubicBezTo>
                  <a:cubicBezTo>
                    <a:pt x="0" y="625522"/>
                    <a:pt x="0" y="622802"/>
                    <a:pt x="5439" y="620083"/>
                  </a:cubicBezTo>
                  <a:cubicBezTo>
                    <a:pt x="10879" y="617363"/>
                    <a:pt x="21758" y="614643"/>
                    <a:pt x="27197" y="611924"/>
                  </a:cubicBezTo>
                  <a:cubicBezTo>
                    <a:pt x="38076" y="609204"/>
                    <a:pt x="54393" y="609204"/>
                    <a:pt x="65272" y="609204"/>
                  </a:cubicBezTo>
                  <a:cubicBezTo>
                    <a:pt x="65272" y="601045"/>
                    <a:pt x="65272" y="592886"/>
                    <a:pt x="65272" y="584727"/>
                  </a:cubicBezTo>
                  <a:cubicBezTo>
                    <a:pt x="65272" y="541213"/>
                    <a:pt x="62552" y="500418"/>
                    <a:pt x="62552" y="456903"/>
                  </a:cubicBezTo>
                  <a:cubicBezTo>
                    <a:pt x="62552" y="440585"/>
                    <a:pt x="65272" y="397071"/>
                    <a:pt x="65272" y="337238"/>
                  </a:cubicBezTo>
                  <a:cubicBezTo>
                    <a:pt x="65272" y="293724"/>
                    <a:pt x="67992" y="247490"/>
                    <a:pt x="67992" y="203975"/>
                  </a:cubicBezTo>
                  <a:cubicBezTo>
                    <a:pt x="67992" y="179498"/>
                    <a:pt x="67992" y="149582"/>
                    <a:pt x="70712" y="119665"/>
                  </a:cubicBezTo>
                  <a:cubicBezTo>
                    <a:pt x="70712" y="103347"/>
                    <a:pt x="73431" y="84309"/>
                    <a:pt x="73431" y="67992"/>
                  </a:cubicBezTo>
                  <a:cubicBezTo>
                    <a:pt x="73431" y="67992"/>
                    <a:pt x="70712" y="67992"/>
                    <a:pt x="67992" y="67992"/>
                  </a:cubicBezTo>
                  <a:cubicBezTo>
                    <a:pt x="59833" y="67992"/>
                    <a:pt x="51674" y="67992"/>
                    <a:pt x="43515" y="67992"/>
                  </a:cubicBezTo>
                  <a:cubicBezTo>
                    <a:pt x="35356" y="67992"/>
                    <a:pt x="24477" y="67992"/>
                    <a:pt x="16318" y="62552"/>
                  </a:cubicBezTo>
                  <a:cubicBezTo>
                    <a:pt x="8159" y="59833"/>
                    <a:pt x="0" y="51674"/>
                    <a:pt x="0" y="46234"/>
                  </a:cubicBezTo>
                  <a:cubicBezTo>
                    <a:pt x="0" y="43515"/>
                    <a:pt x="0" y="38075"/>
                    <a:pt x="5439" y="35356"/>
                  </a:cubicBezTo>
                  <a:cubicBezTo>
                    <a:pt x="10879" y="32636"/>
                    <a:pt x="21758" y="29916"/>
                    <a:pt x="27197" y="27197"/>
                  </a:cubicBezTo>
                  <a:cubicBezTo>
                    <a:pt x="46234" y="24477"/>
                    <a:pt x="65272" y="21758"/>
                    <a:pt x="76151" y="21758"/>
                  </a:cubicBezTo>
                  <a:cubicBezTo>
                    <a:pt x="76151" y="19038"/>
                    <a:pt x="78871" y="16318"/>
                    <a:pt x="81590" y="13598"/>
                  </a:cubicBezTo>
                  <a:cubicBezTo>
                    <a:pt x="84310" y="10879"/>
                    <a:pt x="92469" y="5439"/>
                    <a:pt x="97908" y="5439"/>
                  </a:cubicBezTo>
                  <a:cubicBezTo>
                    <a:pt x="103347" y="2720"/>
                    <a:pt x="108787" y="0"/>
                    <a:pt x="114226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/>
            </a:p>
          </p:txBody>
        </p:sp>
        <p:sp>
          <p:nvSpPr>
            <p:cNvPr id="52" name="Freeform: Shape 51">
              <a:extLst>
                <a:ext uri="{FF2B5EF4-FFF2-40B4-BE49-F238E27FC236}">
                  <a16:creationId xmlns:a16="http://schemas.microsoft.com/office/drawing/2014/main" id="{87F22B60-EF17-465C-8727-A1F0ACE58BA8}"/>
                </a:ext>
              </a:extLst>
            </p:cNvPr>
            <p:cNvSpPr/>
            <p:nvPr/>
          </p:nvSpPr>
          <p:spPr>
            <a:xfrm>
              <a:off x="7310622" y="4197597"/>
              <a:ext cx="489539" cy="761503"/>
            </a:xfrm>
            <a:custGeom>
              <a:avLst/>
              <a:gdLst>
                <a:gd name="connsiteX0" fmla="*/ 433491 w 489538"/>
                <a:gd name="connsiteY0" fmla="*/ 651063 h 761503"/>
                <a:gd name="connsiteX1" fmla="*/ 438930 w 489538"/>
                <a:gd name="connsiteY1" fmla="*/ 661942 h 761503"/>
                <a:gd name="connsiteX2" fmla="*/ 425332 w 489538"/>
                <a:gd name="connsiteY2" fmla="*/ 683699 h 761503"/>
                <a:gd name="connsiteX3" fmla="*/ 400855 w 489538"/>
                <a:gd name="connsiteY3" fmla="*/ 691858 h 761503"/>
                <a:gd name="connsiteX4" fmla="*/ 343742 w 489538"/>
                <a:gd name="connsiteY4" fmla="*/ 700017 h 761503"/>
                <a:gd name="connsiteX5" fmla="*/ 316546 w 489538"/>
                <a:gd name="connsiteY5" fmla="*/ 705456 h 761503"/>
                <a:gd name="connsiteX6" fmla="*/ 275751 w 489538"/>
                <a:gd name="connsiteY6" fmla="*/ 705456 h 761503"/>
                <a:gd name="connsiteX7" fmla="*/ 264872 w 489538"/>
                <a:gd name="connsiteY7" fmla="*/ 708176 h 761503"/>
                <a:gd name="connsiteX8" fmla="*/ 253994 w 489538"/>
                <a:gd name="connsiteY8" fmla="*/ 708176 h 761503"/>
                <a:gd name="connsiteX9" fmla="*/ 240395 w 489538"/>
                <a:gd name="connsiteY9" fmla="*/ 719054 h 761503"/>
                <a:gd name="connsiteX10" fmla="*/ 224077 w 489538"/>
                <a:gd name="connsiteY10" fmla="*/ 721774 h 761503"/>
                <a:gd name="connsiteX11" fmla="*/ 205040 w 489538"/>
                <a:gd name="connsiteY11" fmla="*/ 724494 h 761503"/>
                <a:gd name="connsiteX12" fmla="*/ 191441 w 489538"/>
                <a:gd name="connsiteY12" fmla="*/ 727213 h 761503"/>
                <a:gd name="connsiteX13" fmla="*/ 169684 w 489538"/>
                <a:gd name="connsiteY13" fmla="*/ 721774 h 761503"/>
                <a:gd name="connsiteX14" fmla="*/ 150646 w 489538"/>
                <a:gd name="connsiteY14" fmla="*/ 708176 h 761503"/>
                <a:gd name="connsiteX15" fmla="*/ 139768 w 489538"/>
                <a:gd name="connsiteY15" fmla="*/ 708176 h 761503"/>
                <a:gd name="connsiteX16" fmla="*/ 120730 w 489538"/>
                <a:gd name="connsiteY16" fmla="*/ 708176 h 761503"/>
                <a:gd name="connsiteX17" fmla="*/ 98973 w 489538"/>
                <a:gd name="connsiteY17" fmla="*/ 708176 h 761503"/>
                <a:gd name="connsiteX18" fmla="*/ 74496 w 489538"/>
                <a:gd name="connsiteY18" fmla="*/ 702736 h 761503"/>
                <a:gd name="connsiteX19" fmla="*/ 58178 w 489538"/>
                <a:gd name="connsiteY19" fmla="*/ 683699 h 761503"/>
                <a:gd name="connsiteX20" fmla="*/ 63617 w 489538"/>
                <a:gd name="connsiteY20" fmla="*/ 675540 h 761503"/>
                <a:gd name="connsiteX21" fmla="*/ 85375 w 489538"/>
                <a:gd name="connsiteY21" fmla="*/ 667381 h 761503"/>
                <a:gd name="connsiteX22" fmla="*/ 128889 w 489538"/>
                <a:gd name="connsiteY22" fmla="*/ 661942 h 761503"/>
                <a:gd name="connsiteX23" fmla="*/ 128889 w 489538"/>
                <a:gd name="connsiteY23" fmla="*/ 602109 h 761503"/>
                <a:gd name="connsiteX24" fmla="*/ 126170 w 489538"/>
                <a:gd name="connsiteY24" fmla="*/ 523239 h 761503"/>
                <a:gd name="connsiteX25" fmla="*/ 126170 w 489538"/>
                <a:gd name="connsiteY25" fmla="*/ 468846 h 761503"/>
                <a:gd name="connsiteX26" fmla="*/ 123450 w 489538"/>
                <a:gd name="connsiteY26" fmla="*/ 409014 h 761503"/>
                <a:gd name="connsiteX27" fmla="*/ 123450 w 489538"/>
                <a:gd name="connsiteY27" fmla="*/ 384537 h 761503"/>
                <a:gd name="connsiteX28" fmla="*/ 126170 w 489538"/>
                <a:gd name="connsiteY28" fmla="*/ 349181 h 761503"/>
                <a:gd name="connsiteX29" fmla="*/ 126170 w 489538"/>
                <a:gd name="connsiteY29" fmla="*/ 324704 h 761503"/>
                <a:gd name="connsiteX30" fmla="*/ 128889 w 489538"/>
                <a:gd name="connsiteY30" fmla="*/ 292068 h 761503"/>
                <a:gd name="connsiteX31" fmla="*/ 134329 w 489538"/>
                <a:gd name="connsiteY31" fmla="*/ 234956 h 761503"/>
                <a:gd name="connsiteX32" fmla="*/ 134329 w 489538"/>
                <a:gd name="connsiteY32" fmla="*/ 172404 h 761503"/>
                <a:gd name="connsiteX33" fmla="*/ 137048 w 489538"/>
                <a:gd name="connsiteY33" fmla="*/ 123450 h 761503"/>
                <a:gd name="connsiteX34" fmla="*/ 123450 w 489538"/>
                <a:gd name="connsiteY34" fmla="*/ 123450 h 761503"/>
                <a:gd name="connsiteX35" fmla="*/ 101693 w 489538"/>
                <a:gd name="connsiteY35" fmla="*/ 123450 h 761503"/>
                <a:gd name="connsiteX36" fmla="*/ 77216 w 489538"/>
                <a:gd name="connsiteY36" fmla="*/ 118011 h 761503"/>
                <a:gd name="connsiteX37" fmla="*/ 60898 w 489538"/>
                <a:gd name="connsiteY37" fmla="*/ 98973 h 761503"/>
                <a:gd name="connsiteX38" fmla="*/ 66337 w 489538"/>
                <a:gd name="connsiteY38" fmla="*/ 90814 h 761503"/>
                <a:gd name="connsiteX39" fmla="*/ 88094 w 489538"/>
                <a:gd name="connsiteY39" fmla="*/ 82655 h 761503"/>
                <a:gd name="connsiteX40" fmla="*/ 145207 w 489538"/>
                <a:gd name="connsiteY40" fmla="*/ 77216 h 761503"/>
                <a:gd name="connsiteX41" fmla="*/ 145207 w 489538"/>
                <a:gd name="connsiteY41" fmla="*/ 77216 h 761503"/>
                <a:gd name="connsiteX42" fmla="*/ 153366 w 489538"/>
                <a:gd name="connsiteY42" fmla="*/ 69057 h 761503"/>
                <a:gd name="connsiteX43" fmla="*/ 177843 w 489538"/>
                <a:gd name="connsiteY43" fmla="*/ 60898 h 761503"/>
                <a:gd name="connsiteX44" fmla="*/ 196881 w 489538"/>
                <a:gd name="connsiteY44" fmla="*/ 58178 h 761503"/>
                <a:gd name="connsiteX45" fmla="*/ 205040 w 489538"/>
                <a:gd name="connsiteY45" fmla="*/ 58178 h 761503"/>
                <a:gd name="connsiteX46" fmla="*/ 215919 w 489538"/>
                <a:gd name="connsiteY46" fmla="*/ 63617 h 761503"/>
                <a:gd name="connsiteX47" fmla="*/ 229517 w 489538"/>
                <a:gd name="connsiteY47" fmla="*/ 69057 h 761503"/>
                <a:gd name="connsiteX48" fmla="*/ 256713 w 489538"/>
                <a:gd name="connsiteY48" fmla="*/ 77216 h 761503"/>
                <a:gd name="connsiteX49" fmla="*/ 264872 w 489538"/>
                <a:gd name="connsiteY49" fmla="*/ 77216 h 761503"/>
                <a:gd name="connsiteX50" fmla="*/ 281190 w 489538"/>
                <a:gd name="connsiteY50" fmla="*/ 77216 h 761503"/>
                <a:gd name="connsiteX51" fmla="*/ 330144 w 489538"/>
                <a:gd name="connsiteY51" fmla="*/ 77216 h 761503"/>
                <a:gd name="connsiteX52" fmla="*/ 357341 w 489538"/>
                <a:gd name="connsiteY52" fmla="*/ 79935 h 761503"/>
                <a:gd name="connsiteX53" fmla="*/ 387257 w 489538"/>
                <a:gd name="connsiteY53" fmla="*/ 82655 h 761503"/>
                <a:gd name="connsiteX54" fmla="*/ 406295 w 489538"/>
                <a:gd name="connsiteY54" fmla="*/ 85375 h 761503"/>
                <a:gd name="connsiteX55" fmla="*/ 417173 w 489538"/>
                <a:gd name="connsiteY55" fmla="*/ 79935 h 761503"/>
                <a:gd name="connsiteX56" fmla="*/ 425332 w 489538"/>
                <a:gd name="connsiteY56" fmla="*/ 85375 h 761503"/>
                <a:gd name="connsiteX57" fmla="*/ 433491 w 489538"/>
                <a:gd name="connsiteY57" fmla="*/ 104412 h 761503"/>
                <a:gd name="connsiteX58" fmla="*/ 436211 w 489538"/>
                <a:gd name="connsiteY58" fmla="*/ 137048 h 761503"/>
                <a:gd name="connsiteX59" fmla="*/ 438930 w 489538"/>
                <a:gd name="connsiteY59" fmla="*/ 183282 h 761503"/>
                <a:gd name="connsiteX60" fmla="*/ 422612 w 489538"/>
                <a:gd name="connsiteY60" fmla="*/ 218638 h 761503"/>
                <a:gd name="connsiteX61" fmla="*/ 406295 w 489538"/>
                <a:gd name="connsiteY61" fmla="*/ 213198 h 761503"/>
                <a:gd name="connsiteX62" fmla="*/ 398136 w 489538"/>
                <a:gd name="connsiteY62" fmla="*/ 196881 h 761503"/>
                <a:gd name="connsiteX63" fmla="*/ 395416 w 489538"/>
                <a:gd name="connsiteY63" fmla="*/ 175123 h 761503"/>
                <a:gd name="connsiteX64" fmla="*/ 395416 w 489538"/>
                <a:gd name="connsiteY64" fmla="*/ 153366 h 761503"/>
                <a:gd name="connsiteX65" fmla="*/ 395416 w 489538"/>
                <a:gd name="connsiteY65" fmla="*/ 126170 h 761503"/>
                <a:gd name="connsiteX66" fmla="*/ 370939 w 489538"/>
                <a:gd name="connsiteY66" fmla="*/ 128889 h 761503"/>
                <a:gd name="connsiteX67" fmla="*/ 338303 w 489538"/>
                <a:gd name="connsiteY67" fmla="*/ 131609 h 761503"/>
                <a:gd name="connsiteX68" fmla="*/ 286629 w 489538"/>
                <a:gd name="connsiteY68" fmla="*/ 134328 h 761503"/>
                <a:gd name="connsiteX69" fmla="*/ 273031 w 489538"/>
                <a:gd name="connsiteY69" fmla="*/ 137048 h 761503"/>
                <a:gd name="connsiteX70" fmla="*/ 262153 w 489538"/>
                <a:gd name="connsiteY70" fmla="*/ 142487 h 761503"/>
                <a:gd name="connsiteX71" fmla="*/ 259433 w 489538"/>
                <a:gd name="connsiteY71" fmla="*/ 153366 h 761503"/>
                <a:gd name="connsiteX72" fmla="*/ 262153 w 489538"/>
                <a:gd name="connsiteY72" fmla="*/ 166964 h 761503"/>
                <a:gd name="connsiteX73" fmla="*/ 262153 w 489538"/>
                <a:gd name="connsiteY73" fmla="*/ 196881 h 761503"/>
                <a:gd name="connsiteX74" fmla="*/ 262153 w 489538"/>
                <a:gd name="connsiteY74" fmla="*/ 215918 h 761503"/>
                <a:gd name="connsiteX75" fmla="*/ 262153 w 489538"/>
                <a:gd name="connsiteY75" fmla="*/ 251274 h 761503"/>
                <a:gd name="connsiteX76" fmla="*/ 259433 w 489538"/>
                <a:gd name="connsiteY76" fmla="*/ 278470 h 761503"/>
                <a:gd name="connsiteX77" fmla="*/ 259433 w 489538"/>
                <a:gd name="connsiteY77" fmla="*/ 308386 h 761503"/>
                <a:gd name="connsiteX78" fmla="*/ 259433 w 489538"/>
                <a:gd name="connsiteY78" fmla="*/ 321985 h 761503"/>
                <a:gd name="connsiteX79" fmla="*/ 259433 w 489538"/>
                <a:gd name="connsiteY79" fmla="*/ 332863 h 761503"/>
                <a:gd name="connsiteX80" fmla="*/ 267592 w 489538"/>
                <a:gd name="connsiteY80" fmla="*/ 335583 h 761503"/>
                <a:gd name="connsiteX81" fmla="*/ 281190 w 489538"/>
                <a:gd name="connsiteY81" fmla="*/ 335583 h 761503"/>
                <a:gd name="connsiteX82" fmla="*/ 327424 w 489538"/>
                <a:gd name="connsiteY82" fmla="*/ 338303 h 761503"/>
                <a:gd name="connsiteX83" fmla="*/ 351901 w 489538"/>
                <a:gd name="connsiteY83" fmla="*/ 341022 h 761503"/>
                <a:gd name="connsiteX84" fmla="*/ 351901 w 489538"/>
                <a:gd name="connsiteY84" fmla="*/ 335583 h 761503"/>
                <a:gd name="connsiteX85" fmla="*/ 351901 w 489538"/>
                <a:gd name="connsiteY85" fmla="*/ 313826 h 761503"/>
                <a:gd name="connsiteX86" fmla="*/ 357341 w 489538"/>
                <a:gd name="connsiteY86" fmla="*/ 289349 h 761503"/>
                <a:gd name="connsiteX87" fmla="*/ 373658 w 489538"/>
                <a:gd name="connsiteY87" fmla="*/ 273031 h 761503"/>
                <a:gd name="connsiteX88" fmla="*/ 381817 w 489538"/>
                <a:gd name="connsiteY88" fmla="*/ 278470 h 761503"/>
                <a:gd name="connsiteX89" fmla="*/ 389977 w 489538"/>
                <a:gd name="connsiteY89" fmla="*/ 300228 h 761503"/>
                <a:gd name="connsiteX90" fmla="*/ 395416 w 489538"/>
                <a:gd name="connsiteY90" fmla="*/ 351901 h 761503"/>
                <a:gd name="connsiteX91" fmla="*/ 398136 w 489538"/>
                <a:gd name="connsiteY91" fmla="*/ 409014 h 761503"/>
                <a:gd name="connsiteX92" fmla="*/ 381817 w 489538"/>
                <a:gd name="connsiteY92" fmla="*/ 444369 h 761503"/>
                <a:gd name="connsiteX93" fmla="*/ 365500 w 489538"/>
                <a:gd name="connsiteY93" fmla="*/ 438930 h 761503"/>
                <a:gd name="connsiteX94" fmla="*/ 357341 w 489538"/>
                <a:gd name="connsiteY94" fmla="*/ 422612 h 761503"/>
                <a:gd name="connsiteX95" fmla="*/ 354621 w 489538"/>
                <a:gd name="connsiteY95" fmla="*/ 400855 h 761503"/>
                <a:gd name="connsiteX96" fmla="*/ 354621 w 489538"/>
                <a:gd name="connsiteY96" fmla="*/ 381817 h 761503"/>
                <a:gd name="connsiteX97" fmla="*/ 270312 w 489538"/>
                <a:gd name="connsiteY97" fmla="*/ 381817 h 761503"/>
                <a:gd name="connsiteX98" fmla="*/ 256713 w 489538"/>
                <a:gd name="connsiteY98" fmla="*/ 395415 h 761503"/>
                <a:gd name="connsiteX99" fmla="*/ 253994 w 489538"/>
                <a:gd name="connsiteY99" fmla="*/ 422612 h 761503"/>
                <a:gd name="connsiteX100" fmla="*/ 253994 w 489538"/>
                <a:gd name="connsiteY100" fmla="*/ 433490 h 761503"/>
                <a:gd name="connsiteX101" fmla="*/ 253994 w 489538"/>
                <a:gd name="connsiteY101" fmla="*/ 449809 h 761503"/>
                <a:gd name="connsiteX102" fmla="*/ 256713 w 489538"/>
                <a:gd name="connsiteY102" fmla="*/ 474285 h 761503"/>
                <a:gd name="connsiteX103" fmla="*/ 256713 w 489538"/>
                <a:gd name="connsiteY103" fmla="*/ 496043 h 761503"/>
                <a:gd name="connsiteX104" fmla="*/ 259433 w 489538"/>
                <a:gd name="connsiteY104" fmla="*/ 534118 h 761503"/>
                <a:gd name="connsiteX105" fmla="*/ 259433 w 489538"/>
                <a:gd name="connsiteY105" fmla="*/ 591231 h 761503"/>
                <a:gd name="connsiteX106" fmla="*/ 262153 w 489538"/>
                <a:gd name="connsiteY106" fmla="*/ 618427 h 761503"/>
                <a:gd name="connsiteX107" fmla="*/ 267592 w 489538"/>
                <a:gd name="connsiteY107" fmla="*/ 648343 h 761503"/>
                <a:gd name="connsiteX108" fmla="*/ 292069 w 489538"/>
                <a:gd name="connsiteY108" fmla="*/ 651063 h 761503"/>
                <a:gd name="connsiteX109" fmla="*/ 327424 w 489538"/>
                <a:gd name="connsiteY109" fmla="*/ 651063 h 761503"/>
                <a:gd name="connsiteX110" fmla="*/ 362780 w 489538"/>
                <a:gd name="connsiteY110" fmla="*/ 653783 h 761503"/>
                <a:gd name="connsiteX111" fmla="*/ 395416 w 489538"/>
                <a:gd name="connsiteY111" fmla="*/ 648343 h 761503"/>
                <a:gd name="connsiteX112" fmla="*/ 395416 w 489538"/>
                <a:gd name="connsiteY112" fmla="*/ 618427 h 761503"/>
                <a:gd name="connsiteX113" fmla="*/ 395416 w 489538"/>
                <a:gd name="connsiteY113" fmla="*/ 596670 h 761503"/>
                <a:gd name="connsiteX114" fmla="*/ 398136 w 489538"/>
                <a:gd name="connsiteY114" fmla="*/ 574913 h 761503"/>
                <a:gd name="connsiteX115" fmla="*/ 406295 w 489538"/>
                <a:gd name="connsiteY115" fmla="*/ 558595 h 761503"/>
                <a:gd name="connsiteX116" fmla="*/ 422612 w 489538"/>
                <a:gd name="connsiteY116" fmla="*/ 553155 h 761503"/>
                <a:gd name="connsiteX117" fmla="*/ 438930 w 489538"/>
                <a:gd name="connsiteY117" fmla="*/ 588511 h 761503"/>
                <a:gd name="connsiteX118" fmla="*/ 436211 w 489538"/>
                <a:gd name="connsiteY118" fmla="*/ 645624 h 761503"/>
                <a:gd name="connsiteX119" fmla="*/ 433491 w 489538"/>
                <a:gd name="connsiteY119" fmla="*/ 651063 h 761503"/>
                <a:gd name="connsiteX120" fmla="*/ 433491 w 489538"/>
                <a:gd name="connsiteY120" fmla="*/ 651063 h 761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</a:cxnLst>
              <a:rect l="l" t="t" r="r" b="b"/>
              <a:pathLst>
                <a:path w="489538" h="761503">
                  <a:moveTo>
                    <a:pt x="433491" y="651063"/>
                  </a:moveTo>
                  <a:cubicBezTo>
                    <a:pt x="436211" y="653783"/>
                    <a:pt x="438930" y="656502"/>
                    <a:pt x="438930" y="661942"/>
                  </a:cubicBezTo>
                  <a:cubicBezTo>
                    <a:pt x="438930" y="670101"/>
                    <a:pt x="433491" y="678259"/>
                    <a:pt x="425332" y="683699"/>
                  </a:cubicBezTo>
                  <a:cubicBezTo>
                    <a:pt x="417173" y="689138"/>
                    <a:pt x="409014" y="689138"/>
                    <a:pt x="400855" y="691858"/>
                  </a:cubicBezTo>
                  <a:cubicBezTo>
                    <a:pt x="381817" y="694578"/>
                    <a:pt x="362780" y="694578"/>
                    <a:pt x="343742" y="700017"/>
                  </a:cubicBezTo>
                  <a:cubicBezTo>
                    <a:pt x="335583" y="702736"/>
                    <a:pt x="324705" y="702736"/>
                    <a:pt x="316546" y="705456"/>
                  </a:cubicBezTo>
                  <a:cubicBezTo>
                    <a:pt x="308387" y="705456"/>
                    <a:pt x="289349" y="705456"/>
                    <a:pt x="275751" y="705456"/>
                  </a:cubicBezTo>
                  <a:cubicBezTo>
                    <a:pt x="270312" y="705456"/>
                    <a:pt x="267592" y="708176"/>
                    <a:pt x="264872" y="708176"/>
                  </a:cubicBezTo>
                  <a:cubicBezTo>
                    <a:pt x="264872" y="708176"/>
                    <a:pt x="259433" y="708176"/>
                    <a:pt x="253994" y="708176"/>
                  </a:cubicBezTo>
                  <a:cubicBezTo>
                    <a:pt x="251274" y="713615"/>
                    <a:pt x="245835" y="716335"/>
                    <a:pt x="240395" y="719054"/>
                  </a:cubicBezTo>
                  <a:cubicBezTo>
                    <a:pt x="234956" y="721774"/>
                    <a:pt x="229517" y="721774"/>
                    <a:pt x="224077" y="721774"/>
                  </a:cubicBezTo>
                  <a:cubicBezTo>
                    <a:pt x="218638" y="721774"/>
                    <a:pt x="213199" y="724494"/>
                    <a:pt x="205040" y="724494"/>
                  </a:cubicBezTo>
                  <a:cubicBezTo>
                    <a:pt x="202320" y="724494"/>
                    <a:pt x="194161" y="727213"/>
                    <a:pt x="191441" y="727213"/>
                  </a:cubicBezTo>
                  <a:cubicBezTo>
                    <a:pt x="183282" y="727213"/>
                    <a:pt x="172404" y="721774"/>
                    <a:pt x="169684" y="721774"/>
                  </a:cubicBezTo>
                  <a:cubicBezTo>
                    <a:pt x="164245" y="719054"/>
                    <a:pt x="156086" y="713615"/>
                    <a:pt x="150646" y="708176"/>
                  </a:cubicBezTo>
                  <a:cubicBezTo>
                    <a:pt x="145207" y="708176"/>
                    <a:pt x="139768" y="708176"/>
                    <a:pt x="139768" y="708176"/>
                  </a:cubicBezTo>
                  <a:cubicBezTo>
                    <a:pt x="126170" y="708176"/>
                    <a:pt x="137048" y="708176"/>
                    <a:pt x="120730" y="708176"/>
                  </a:cubicBezTo>
                  <a:cubicBezTo>
                    <a:pt x="112571" y="708176"/>
                    <a:pt x="104412" y="708176"/>
                    <a:pt x="98973" y="708176"/>
                  </a:cubicBezTo>
                  <a:cubicBezTo>
                    <a:pt x="90814" y="708176"/>
                    <a:pt x="79936" y="708176"/>
                    <a:pt x="74496" y="702736"/>
                  </a:cubicBezTo>
                  <a:cubicBezTo>
                    <a:pt x="66337" y="700017"/>
                    <a:pt x="58178" y="689138"/>
                    <a:pt x="58178" y="683699"/>
                  </a:cubicBezTo>
                  <a:cubicBezTo>
                    <a:pt x="58178" y="680979"/>
                    <a:pt x="58178" y="678259"/>
                    <a:pt x="63617" y="675540"/>
                  </a:cubicBezTo>
                  <a:cubicBezTo>
                    <a:pt x="69057" y="672820"/>
                    <a:pt x="77216" y="670101"/>
                    <a:pt x="85375" y="667381"/>
                  </a:cubicBezTo>
                  <a:cubicBezTo>
                    <a:pt x="98973" y="664661"/>
                    <a:pt x="115291" y="664661"/>
                    <a:pt x="128889" y="661942"/>
                  </a:cubicBezTo>
                  <a:cubicBezTo>
                    <a:pt x="128889" y="645624"/>
                    <a:pt x="128889" y="623866"/>
                    <a:pt x="128889" y="602109"/>
                  </a:cubicBezTo>
                  <a:cubicBezTo>
                    <a:pt x="128889" y="566754"/>
                    <a:pt x="128889" y="531398"/>
                    <a:pt x="126170" y="523239"/>
                  </a:cubicBezTo>
                  <a:cubicBezTo>
                    <a:pt x="126170" y="517800"/>
                    <a:pt x="126170" y="487884"/>
                    <a:pt x="126170" y="468846"/>
                  </a:cubicBezTo>
                  <a:cubicBezTo>
                    <a:pt x="126170" y="449809"/>
                    <a:pt x="123450" y="430771"/>
                    <a:pt x="123450" y="409014"/>
                  </a:cubicBezTo>
                  <a:cubicBezTo>
                    <a:pt x="123450" y="400855"/>
                    <a:pt x="123450" y="392696"/>
                    <a:pt x="123450" y="384537"/>
                  </a:cubicBezTo>
                  <a:cubicBezTo>
                    <a:pt x="123450" y="373658"/>
                    <a:pt x="126170" y="360060"/>
                    <a:pt x="126170" y="349181"/>
                  </a:cubicBezTo>
                  <a:cubicBezTo>
                    <a:pt x="126170" y="341022"/>
                    <a:pt x="126170" y="332863"/>
                    <a:pt x="126170" y="324704"/>
                  </a:cubicBezTo>
                  <a:cubicBezTo>
                    <a:pt x="126170" y="313826"/>
                    <a:pt x="126170" y="302947"/>
                    <a:pt x="128889" y="292068"/>
                  </a:cubicBezTo>
                  <a:cubicBezTo>
                    <a:pt x="131609" y="273031"/>
                    <a:pt x="134329" y="253993"/>
                    <a:pt x="134329" y="234956"/>
                  </a:cubicBezTo>
                  <a:cubicBezTo>
                    <a:pt x="134329" y="213198"/>
                    <a:pt x="134329" y="191441"/>
                    <a:pt x="134329" y="172404"/>
                  </a:cubicBezTo>
                  <a:cubicBezTo>
                    <a:pt x="134329" y="156086"/>
                    <a:pt x="134329" y="139768"/>
                    <a:pt x="137048" y="123450"/>
                  </a:cubicBezTo>
                  <a:cubicBezTo>
                    <a:pt x="131609" y="123450"/>
                    <a:pt x="134329" y="123450"/>
                    <a:pt x="123450" y="123450"/>
                  </a:cubicBezTo>
                  <a:cubicBezTo>
                    <a:pt x="115291" y="123450"/>
                    <a:pt x="107132" y="123450"/>
                    <a:pt x="101693" y="123450"/>
                  </a:cubicBezTo>
                  <a:cubicBezTo>
                    <a:pt x="93534" y="123450"/>
                    <a:pt x="82655" y="123450"/>
                    <a:pt x="77216" y="118011"/>
                  </a:cubicBezTo>
                  <a:cubicBezTo>
                    <a:pt x="69057" y="115291"/>
                    <a:pt x="60898" y="101693"/>
                    <a:pt x="60898" y="98973"/>
                  </a:cubicBezTo>
                  <a:cubicBezTo>
                    <a:pt x="60898" y="96253"/>
                    <a:pt x="60898" y="93534"/>
                    <a:pt x="66337" y="90814"/>
                  </a:cubicBezTo>
                  <a:cubicBezTo>
                    <a:pt x="71777" y="88094"/>
                    <a:pt x="79936" y="85375"/>
                    <a:pt x="88094" y="82655"/>
                  </a:cubicBezTo>
                  <a:cubicBezTo>
                    <a:pt x="104412" y="79935"/>
                    <a:pt x="131609" y="77216"/>
                    <a:pt x="145207" y="77216"/>
                  </a:cubicBezTo>
                  <a:cubicBezTo>
                    <a:pt x="145207" y="77216"/>
                    <a:pt x="145207" y="77216"/>
                    <a:pt x="145207" y="77216"/>
                  </a:cubicBezTo>
                  <a:cubicBezTo>
                    <a:pt x="145207" y="74496"/>
                    <a:pt x="150646" y="71776"/>
                    <a:pt x="153366" y="69057"/>
                  </a:cubicBezTo>
                  <a:cubicBezTo>
                    <a:pt x="161525" y="63617"/>
                    <a:pt x="169684" y="63617"/>
                    <a:pt x="177843" y="60898"/>
                  </a:cubicBezTo>
                  <a:cubicBezTo>
                    <a:pt x="183282" y="58178"/>
                    <a:pt x="191441" y="58178"/>
                    <a:pt x="196881" y="58178"/>
                  </a:cubicBezTo>
                  <a:cubicBezTo>
                    <a:pt x="199600" y="58178"/>
                    <a:pt x="202320" y="58178"/>
                    <a:pt x="205040" y="58178"/>
                  </a:cubicBezTo>
                  <a:cubicBezTo>
                    <a:pt x="207759" y="58178"/>
                    <a:pt x="213199" y="60898"/>
                    <a:pt x="215919" y="63617"/>
                  </a:cubicBezTo>
                  <a:cubicBezTo>
                    <a:pt x="221358" y="66337"/>
                    <a:pt x="224077" y="66337"/>
                    <a:pt x="229517" y="69057"/>
                  </a:cubicBezTo>
                  <a:cubicBezTo>
                    <a:pt x="237675" y="71776"/>
                    <a:pt x="245835" y="77216"/>
                    <a:pt x="256713" y="77216"/>
                  </a:cubicBezTo>
                  <a:cubicBezTo>
                    <a:pt x="259433" y="77216"/>
                    <a:pt x="262153" y="77216"/>
                    <a:pt x="264872" y="77216"/>
                  </a:cubicBezTo>
                  <a:cubicBezTo>
                    <a:pt x="270312" y="77216"/>
                    <a:pt x="275751" y="77216"/>
                    <a:pt x="281190" y="77216"/>
                  </a:cubicBezTo>
                  <a:cubicBezTo>
                    <a:pt x="292069" y="77216"/>
                    <a:pt x="321985" y="77216"/>
                    <a:pt x="330144" y="77216"/>
                  </a:cubicBezTo>
                  <a:cubicBezTo>
                    <a:pt x="338303" y="77216"/>
                    <a:pt x="349182" y="77216"/>
                    <a:pt x="357341" y="79935"/>
                  </a:cubicBezTo>
                  <a:cubicBezTo>
                    <a:pt x="368219" y="79935"/>
                    <a:pt x="379098" y="82655"/>
                    <a:pt x="387257" y="82655"/>
                  </a:cubicBezTo>
                  <a:cubicBezTo>
                    <a:pt x="392696" y="82655"/>
                    <a:pt x="400855" y="85375"/>
                    <a:pt x="406295" y="85375"/>
                  </a:cubicBezTo>
                  <a:cubicBezTo>
                    <a:pt x="409014" y="82655"/>
                    <a:pt x="414453" y="79935"/>
                    <a:pt x="417173" y="79935"/>
                  </a:cubicBezTo>
                  <a:cubicBezTo>
                    <a:pt x="419893" y="79935"/>
                    <a:pt x="422612" y="79935"/>
                    <a:pt x="425332" y="85375"/>
                  </a:cubicBezTo>
                  <a:cubicBezTo>
                    <a:pt x="428052" y="90814"/>
                    <a:pt x="433491" y="98973"/>
                    <a:pt x="433491" y="104412"/>
                  </a:cubicBezTo>
                  <a:cubicBezTo>
                    <a:pt x="436211" y="131609"/>
                    <a:pt x="436211" y="120730"/>
                    <a:pt x="436211" y="137048"/>
                  </a:cubicBezTo>
                  <a:cubicBezTo>
                    <a:pt x="438930" y="158805"/>
                    <a:pt x="438930" y="158805"/>
                    <a:pt x="438930" y="183282"/>
                  </a:cubicBezTo>
                  <a:cubicBezTo>
                    <a:pt x="438930" y="194161"/>
                    <a:pt x="438930" y="218638"/>
                    <a:pt x="422612" y="218638"/>
                  </a:cubicBezTo>
                  <a:cubicBezTo>
                    <a:pt x="414453" y="218638"/>
                    <a:pt x="411734" y="215918"/>
                    <a:pt x="406295" y="213198"/>
                  </a:cubicBezTo>
                  <a:cubicBezTo>
                    <a:pt x="400855" y="210479"/>
                    <a:pt x="398136" y="202320"/>
                    <a:pt x="398136" y="196881"/>
                  </a:cubicBezTo>
                  <a:cubicBezTo>
                    <a:pt x="395416" y="188722"/>
                    <a:pt x="395416" y="183282"/>
                    <a:pt x="395416" y="175123"/>
                  </a:cubicBezTo>
                  <a:cubicBezTo>
                    <a:pt x="395416" y="169684"/>
                    <a:pt x="395416" y="164245"/>
                    <a:pt x="395416" y="153366"/>
                  </a:cubicBezTo>
                  <a:cubicBezTo>
                    <a:pt x="395416" y="145207"/>
                    <a:pt x="395416" y="134328"/>
                    <a:pt x="395416" y="126170"/>
                  </a:cubicBezTo>
                  <a:cubicBezTo>
                    <a:pt x="387257" y="128889"/>
                    <a:pt x="379098" y="128889"/>
                    <a:pt x="370939" y="128889"/>
                  </a:cubicBezTo>
                  <a:cubicBezTo>
                    <a:pt x="360060" y="128889"/>
                    <a:pt x="349182" y="128889"/>
                    <a:pt x="338303" y="131609"/>
                  </a:cubicBezTo>
                  <a:cubicBezTo>
                    <a:pt x="327424" y="131609"/>
                    <a:pt x="319265" y="134328"/>
                    <a:pt x="286629" y="134328"/>
                  </a:cubicBezTo>
                  <a:cubicBezTo>
                    <a:pt x="281190" y="134328"/>
                    <a:pt x="278470" y="134328"/>
                    <a:pt x="273031" y="137048"/>
                  </a:cubicBezTo>
                  <a:cubicBezTo>
                    <a:pt x="270312" y="137048"/>
                    <a:pt x="264872" y="137048"/>
                    <a:pt x="262153" y="142487"/>
                  </a:cubicBezTo>
                  <a:cubicBezTo>
                    <a:pt x="259433" y="145207"/>
                    <a:pt x="259433" y="150647"/>
                    <a:pt x="259433" y="153366"/>
                  </a:cubicBezTo>
                  <a:cubicBezTo>
                    <a:pt x="259433" y="158805"/>
                    <a:pt x="259433" y="164245"/>
                    <a:pt x="262153" y="166964"/>
                  </a:cubicBezTo>
                  <a:cubicBezTo>
                    <a:pt x="262153" y="177843"/>
                    <a:pt x="262153" y="186002"/>
                    <a:pt x="262153" y="196881"/>
                  </a:cubicBezTo>
                  <a:cubicBezTo>
                    <a:pt x="262153" y="202320"/>
                    <a:pt x="262153" y="210479"/>
                    <a:pt x="262153" y="215918"/>
                  </a:cubicBezTo>
                  <a:cubicBezTo>
                    <a:pt x="262153" y="229516"/>
                    <a:pt x="262153" y="240395"/>
                    <a:pt x="262153" y="251274"/>
                  </a:cubicBezTo>
                  <a:cubicBezTo>
                    <a:pt x="262153" y="259433"/>
                    <a:pt x="259433" y="270311"/>
                    <a:pt x="259433" y="278470"/>
                  </a:cubicBezTo>
                  <a:cubicBezTo>
                    <a:pt x="259433" y="289349"/>
                    <a:pt x="259433" y="297508"/>
                    <a:pt x="259433" y="308386"/>
                  </a:cubicBezTo>
                  <a:cubicBezTo>
                    <a:pt x="259433" y="313826"/>
                    <a:pt x="259433" y="319265"/>
                    <a:pt x="259433" y="321985"/>
                  </a:cubicBezTo>
                  <a:cubicBezTo>
                    <a:pt x="259433" y="324704"/>
                    <a:pt x="259433" y="330144"/>
                    <a:pt x="259433" y="332863"/>
                  </a:cubicBezTo>
                  <a:cubicBezTo>
                    <a:pt x="262153" y="335583"/>
                    <a:pt x="264872" y="335583"/>
                    <a:pt x="267592" y="335583"/>
                  </a:cubicBezTo>
                  <a:cubicBezTo>
                    <a:pt x="273031" y="335583"/>
                    <a:pt x="275751" y="335583"/>
                    <a:pt x="281190" y="335583"/>
                  </a:cubicBezTo>
                  <a:cubicBezTo>
                    <a:pt x="311107" y="335583"/>
                    <a:pt x="319265" y="335583"/>
                    <a:pt x="327424" y="338303"/>
                  </a:cubicBezTo>
                  <a:cubicBezTo>
                    <a:pt x="335583" y="341022"/>
                    <a:pt x="343742" y="341022"/>
                    <a:pt x="351901" y="341022"/>
                  </a:cubicBezTo>
                  <a:cubicBezTo>
                    <a:pt x="351901" y="338303"/>
                    <a:pt x="351901" y="338303"/>
                    <a:pt x="351901" y="335583"/>
                  </a:cubicBezTo>
                  <a:cubicBezTo>
                    <a:pt x="351901" y="327424"/>
                    <a:pt x="351901" y="319265"/>
                    <a:pt x="351901" y="313826"/>
                  </a:cubicBezTo>
                  <a:cubicBezTo>
                    <a:pt x="351901" y="305667"/>
                    <a:pt x="351901" y="294788"/>
                    <a:pt x="357341" y="289349"/>
                  </a:cubicBezTo>
                  <a:cubicBezTo>
                    <a:pt x="360060" y="281190"/>
                    <a:pt x="368219" y="273031"/>
                    <a:pt x="373658" y="273031"/>
                  </a:cubicBezTo>
                  <a:cubicBezTo>
                    <a:pt x="376378" y="273031"/>
                    <a:pt x="379098" y="273031"/>
                    <a:pt x="381817" y="278470"/>
                  </a:cubicBezTo>
                  <a:cubicBezTo>
                    <a:pt x="384537" y="283909"/>
                    <a:pt x="387257" y="292068"/>
                    <a:pt x="389977" y="300228"/>
                  </a:cubicBezTo>
                  <a:cubicBezTo>
                    <a:pt x="392696" y="316545"/>
                    <a:pt x="392696" y="335583"/>
                    <a:pt x="395416" y="351901"/>
                  </a:cubicBezTo>
                  <a:cubicBezTo>
                    <a:pt x="398136" y="373658"/>
                    <a:pt x="398136" y="384537"/>
                    <a:pt x="398136" y="409014"/>
                  </a:cubicBezTo>
                  <a:cubicBezTo>
                    <a:pt x="398136" y="422612"/>
                    <a:pt x="398136" y="444369"/>
                    <a:pt x="381817" y="444369"/>
                  </a:cubicBezTo>
                  <a:cubicBezTo>
                    <a:pt x="373658" y="444369"/>
                    <a:pt x="370939" y="441650"/>
                    <a:pt x="365500" y="438930"/>
                  </a:cubicBezTo>
                  <a:cubicBezTo>
                    <a:pt x="360060" y="436210"/>
                    <a:pt x="357341" y="428051"/>
                    <a:pt x="357341" y="422612"/>
                  </a:cubicBezTo>
                  <a:cubicBezTo>
                    <a:pt x="354621" y="414453"/>
                    <a:pt x="354621" y="409014"/>
                    <a:pt x="354621" y="400855"/>
                  </a:cubicBezTo>
                  <a:cubicBezTo>
                    <a:pt x="354621" y="395415"/>
                    <a:pt x="354621" y="389976"/>
                    <a:pt x="354621" y="381817"/>
                  </a:cubicBezTo>
                  <a:cubicBezTo>
                    <a:pt x="335583" y="381817"/>
                    <a:pt x="308387" y="384537"/>
                    <a:pt x="270312" y="381817"/>
                  </a:cubicBezTo>
                  <a:cubicBezTo>
                    <a:pt x="262153" y="381817"/>
                    <a:pt x="256713" y="387256"/>
                    <a:pt x="256713" y="395415"/>
                  </a:cubicBezTo>
                  <a:cubicBezTo>
                    <a:pt x="256713" y="403574"/>
                    <a:pt x="256713" y="414453"/>
                    <a:pt x="253994" y="422612"/>
                  </a:cubicBezTo>
                  <a:cubicBezTo>
                    <a:pt x="253994" y="425332"/>
                    <a:pt x="253994" y="430771"/>
                    <a:pt x="253994" y="433490"/>
                  </a:cubicBezTo>
                  <a:cubicBezTo>
                    <a:pt x="253994" y="438930"/>
                    <a:pt x="253994" y="444369"/>
                    <a:pt x="253994" y="449809"/>
                  </a:cubicBezTo>
                  <a:cubicBezTo>
                    <a:pt x="253994" y="457967"/>
                    <a:pt x="256713" y="466126"/>
                    <a:pt x="256713" y="474285"/>
                  </a:cubicBezTo>
                  <a:cubicBezTo>
                    <a:pt x="256713" y="482444"/>
                    <a:pt x="256713" y="490603"/>
                    <a:pt x="256713" y="496043"/>
                  </a:cubicBezTo>
                  <a:cubicBezTo>
                    <a:pt x="256713" y="509641"/>
                    <a:pt x="259433" y="520520"/>
                    <a:pt x="259433" y="534118"/>
                  </a:cubicBezTo>
                  <a:cubicBezTo>
                    <a:pt x="259433" y="553155"/>
                    <a:pt x="259433" y="572193"/>
                    <a:pt x="259433" y="591231"/>
                  </a:cubicBezTo>
                  <a:cubicBezTo>
                    <a:pt x="259433" y="602109"/>
                    <a:pt x="262153" y="610268"/>
                    <a:pt x="262153" y="618427"/>
                  </a:cubicBezTo>
                  <a:cubicBezTo>
                    <a:pt x="264872" y="626586"/>
                    <a:pt x="262153" y="642904"/>
                    <a:pt x="267592" y="648343"/>
                  </a:cubicBezTo>
                  <a:cubicBezTo>
                    <a:pt x="270312" y="651063"/>
                    <a:pt x="275751" y="651063"/>
                    <a:pt x="292069" y="651063"/>
                  </a:cubicBezTo>
                  <a:cubicBezTo>
                    <a:pt x="305667" y="651063"/>
                    <a:pt x="319265" y="651063"/>
                    <a:pt x="327424" y="651063"/>
                  </a:cubicBezTo>
                  <a:cubicBezTo>
                    <a:pt x="338303" y="651063"/>
                    <a:pt x="351901" y="653783"/>
                    <a:pt x="362780" y="653783"/>
                  </a:cubicBezTo>
                  <a:cubicBezTo>
                    <a:pt x="376378" y="653783"/>
                    <a:pt x="384537" y="651063"/>
                    <a:pt x="395416" y="648343"/>
                  </a:cubicBezTo>
                  <a:cubicBezTo>
                    <a:pt x="395416" y="637465"/>
                    <a:pt x="395416" y="629306"/>
                    <a:pt x="395416" y="618427"/>
                  </a:cubicBezTo>
                  <a:cubicBezTo>
                    <a:pt x="395416" y="610268"/>
                    <a:pt x="395416" y="602109"/>
                    <a:pt x="395416" y="596670"/>
                  </a:cubicBezTo>
                  <a:cubicBezTo>
                    <a:pt x="395416" y="591231"/>
                    <a:pt x="395416" y="585791"/>
                    <a:pt x="398136" y="574913"/>
                  </a:cubicBezTo>
                  <a:cubicBezTo>
                    <a:pt x="400855" y="569473"/>
                    <a:pt x="400855" y="564034"/>
                    <a:pt x="406295" y="558595"/>
                  </a:cubicBezTo>
                  <a:cubicBezTo>
                    <a:pt x="411734" y="553155"/>
                    <a:pt x="414453" y="553155"/>
                    <a:pt x="422612" y="553155"/>
                  </a:cubicBezTo>
                  <a:cubicBezTo>
                    <a:pt x="436211" y="553155"/>
                    <a:pt x="438930" y="577632"/>
                    <a:pt x="438930" y="588511"/>
                  </a:cubicBezTo>
                  <a:cubicBezTo>
                    <a:pt x="438930" y="612988"/>
                    <a:pt x="438930" y="623866"/>
                    <a:pt x="436211" y="645624"/>
                  </a:cubicBezTo>
                  <a:cubicBezTo>
                    <a:pt x="433491" y="648343"/>
                    <a:pt x="433491" y="648343"/>
                    <a:pt x="433491" y="651063"/>
                  </a:cubicBezTo>
                  <a:lnTo>
                    <a:pt x="433491" y="651063"/>
                  </a:ln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/>
            </a:p>
          </p:txBody>
        </p:sp>
        <p:sp>
          <p:nvSpPr>
            <p:cNvPr id="53" name="Freeform: Shape 52">
              <a:extLst>
                <a:ext uri="{FF2B5EF4-FFF2-40B4-BE49-F238E27FC236}">
                  <a16:creationId xmlns:a16="http://schemas.microsoft.com/office/drawing/2014/main" id="{E1B18E76-E2CA-4B40-93A3-5CA062AC31EB}"/>
                </a:ext>
              </a:extLst>
            </p:cNvPr>
            <p:cNvSpPr/>
            <p:nvPr/>
          </p:nvSpPr>
          <p:spPr>
            <a:xfrm>
              <a:off x="7912732" y="4250336"/>
              <a:ext cx="465062" cy="658157"/>
            </a:xfrm>
            <a:custGeom>
              <a:avLst/>
              <a:gdLst>
                <a:gd name="connsiteX0" fmla="*/ 193096 w 465062"/>
                <a:gd name="connsiteY0" fmla="*/ 59832 h 658157"/>
                <a:gd name="connsiteX1" fmla="*/ 193096 w 465062"/>
                <a:gd name="connsiteY1" fmla="*/ 114226 h 658157"/>
                <a:gd name="connsiteX2" fmla="*/ 198536 w 465062"/>
                <a:gd name="connsiteY2" fmla="*/ 209414 h 658157"/>
                <a:gd name="connsiteX3" fmla="*/ 201255 w 465062"/>
                <a:gd name="connsiteY3" fmla="*/ 282845 h 658157"/>
                <a:gd name="connsiteX4" fmla="*/ 203975 w 465062"/>
                <a:gd name="connsiteY4" fmla="*/ 315481 h 658157"/>
                <a:gd name="connsiteX5" fmla="*/ 203975 w 465062"/>
                <a:gd name="connsiteY5" fmla="*/ 320920 h 658157"/>
                <a:gd name="connsiteX6" fmla="*/ 212134 w 465062"/>
                <a:gd name="connsiteY6" fmla="*/ 329079 h 658157"/>
                <a:gd name="connsiteX7" fmla="*/ 223013 w 465062"/>
                <a:gd name="connsiteY7" fmla="*/ 329079 h 658157"/>
                <a:gd name="connsiteX8" fmla="*/ 239331 w 465062"/>
                <a:gd name="connsiteY8" fmla="*/ 329079 h 658157"/>
                <a:gd name="connsiteX9" fmla="*/ 280126 w 465062"/>
                <a:gd name="connsiteY9" fmla="*/ 312761 h 658157"/>
                <a:gd name="connsiteX10" fmla="*/ 296443 w 465062"/>
                <a:gd name="connsiteY10" fmla="*/ 288284 h 658157"/>
                <a:gd name="connsiteX11" fmla="*/ 304602 w 465062"/>
                <a:gd name="connsiteY11" fmla="*/ 258368 h 658157"/>
                <a:gd name="connsiteX12" fmla="*/ 312761 w 465062"/>
                <a:gd name="connsiteY12" fmla="*/ 225732 h 658157"/>
                <a:gd name="connsiteX13" fmla="*/ 315481 w 465062"/>
                <a:gd name="connsiteY13" fmla="*/ 195816 h 658157"/>
                <a:gd name="connsiteX14" fmla="*/ 318201 w 465062"/>
                <a:gd name="connsiteY14" fmla="*/ 168619 h 658157"/>
                <a:gd name="connsiteX15" fmla="*/ 312761 w 465062"/>
                <a:gd name="connsiteY15" fmla="*/ 135983 h 658157"/>
                <a:gd name="connsiteX16" fmla="*/ 312761 w 465062"/>
                <a:gd name="connsiteY16" fmla="*/ 122385 h 658157"/>
                <a:gd name="connsiteX17" fmla="*/ 293724 w 465062"/>
                <a:gd name="connsiteY17" fmla="*/ 84309 h 658157"/>
                <a:gd name="connsiteX18" fmla="*/ 280126 w 465062"/>
                <a:gd name="connsiteY18" fmla="*/ 73430 h 658157"/>
                <a:gd name="connsiteX19" fmla="*/ 258368 w 465062"/>
                <a:gd name="connsiteY19" fmla="*/ 62552 h 658157"/>
                <a:gd name="connsiteX20" fmla="*/ 217573 w 465062"/>
                <a:gd name="connsiteY20" fmla="*/ 59832 h 658157"/>
                <a:gd name="connsiteX21" fmla="*/ 111506 w 465062"/>
                <a:gd name="connsiteY21" fmla="*/ 0 h 658157"/>
                <a:gd name="connsiteX22" fmla="*/ 127824 w 465062"/>
                <a:gd name="connsiteY22" fmla="*/ 0 h 658157"/>
                <a:gd name="connsiteX23" fmla="*/ 157741 w 465062"/>
                <a:gd name="connsiteY23" fmla="*/ 5440 h 658157"/>
                <a:gd name="connsiteX24" fmla="*/ 179497 w 465062"/>
                <a:gd name="connsiteY24" fmla="*/ 16318 h 658157"/>
                <a:gd name="connsiteX25" fmla="*/ 209414 w 465062"/>
                <a:gd name="connsiteY25" fmla="*/ 16318 h 658157"/>
                <a:gd name="connsiteX26" fmla="*/ 247489 w 465062"/>
                <a:gd name="connsiteY26" fmla="*/ 16318 h 658157"/>
                <a:gd name="connsiteX27" fmla="*/ 266527 w 465062"/>
                <a:gd name="connsiteY27" fmla="*/ 16318 h 658157"/>
                <a:gd name="connsiteX28" fmla="*/ 312761 w 465062"/>
                <a:gd name="connsiteY28" fmla="*/ 27197 h 658157"/>
                <a:gd name="connsiteX29" fmla="*/ 337238 w 465062"/>
                <a:gd name="connsiteY29" fmla="*/ 38075 h 658157"/>
                <a:gd name="connsiteX30" fmla="*/ 364434 w 465062"/>
                <a:gd name="connsiteY30" fmla="*/ 54393 h 658157"/>
                <a:gd name="connsiteX31" fmla="*/ 386192 w 465062"/>
                <a:gd name="connsiteY31" fmla="*/ 73431 h 658157"/>
                <a:gd name="connsiteX32" fmla="*/ 407949 w 465062"/>
                <a:gd name="connsiteY32" fmla="*/ 103347 h 658157"/>
                <a:gd name="connsiteX33" fmla="*/ 416108 w 465062"/>
                <a:gd name="connsiteY33" fmla="*/ 141422 h 658157"/>
                <a:gd name="connsiteX34" fmla="*/ 418828 w 465062"/>
                <a:gd name="connsiteY34" fmla="*/ 163179 h 658157"/>
                <a:gd name="connsiteX35" fmla="*/ 418828 w 465062"/>
                <a:gd name="connsiteY35" fmla="*/ 171339 h 658157"/>
                <a:gd name="connsiteX36" fmla="*/ 421547 w 465062"/>
                <a:gd name="connsiteY36" fmla="*/ 187656 h 658157"/>
                <a:gd name="connsiteX37" fmla="*/ 418828 w 465062"/>
                <a:gd name="connsiteY37" fmla="*/ 206694 h 658157"/>
                <a:gd name="connsiteX38" fmla="*/ 416108 w 465062"/>
                <a:gd name="connsiteY38" fmla="*/ 233891 h 658157"/>
                <a:gd name="connsiteX39" fmla="*/ 405229 w 465062"/>
                <a:gd name="connsiteY39" fmla="*/ 263807 h 658157"/>
                <a:gd name="connsiteX40" fmla="*/ 394351 w 465062"/>
                <a:gd name="connsiteY40" fmla="*/ 274686 h 658157"/>
                <a:gd name="connsiteX41" fmla="*/ 388912 w 465062"/>
                <a:gd name="connsiteY41" fmla="*/ 285564 h 658157"/>
                <a:gd name="connsiteX42" fmla="*/ 369874 w 465062"/>
                <a:gd name="connsiteY42" fmla="*/ 304602 h 658157"/>
                <a:gd name="connsiteX43" fmla="*/ 358995 w 465062"/>
                <a:gd name="connsiteY43" fmla="*/ 310041 h 658157"/>
                <a:gd name="connsiteX44" fmla="*/ 348117 w 465062"/>
                <a:gd name="connsiteY44" fmla="*/ 320920 h 658157"/>
                <a:gd name="connsiteX45" fmla="*/ 326359 w 465062"/>
                <a:gd name="connsiteY45" fmla="*/ 339957 h 658157"/>
                <a:gd name="connsiteX46" fmla="*/ 312761 w 465062"/>
                <a:gd name="connsiteY46" fmla="*/ 353555 h 658157"/>
                <a:gd name="connsiteX47" fmla="*/ 337238 w 465062"/>
                <a:gd name="connsiteY47" fmla="*/ 380752 h 658157"/>
                <a:gd name="connsiteX48" fmla="*/ 358995 w 465062"/>
                <a:gd name="connsiteY48" fmla="*/ 421547 h 658157"/>
                <a:gd name="connsiteX49" fmla="*/ 372593 w 465062"/>
                <a:gd name="connsiteY49" fmla="*/ 459622 h 658157"/>
                <a:gd name="connsiteX50" fmla="*/ 386192 w 465062"/>
                <a:gd name="connsiteY50" fmla="*/ 514015 h 658157"/>
                <a:gd name="connsiteX51" fmla="*/ 407949 w 465062"/>
                <a:gd name="connsiteY51" fmla="*/ 568408 h 658157"/>
                <a:gd name="connsiteX52" fmla="*/ 421547 w 465062"/>
                <a:gd name="connsiteY52" fmla="*/ 598324 h 658157"/>
                <a:gd name="connsiteX53" fmla="*/ 451463 w 465062"/>
                <a:gd name="connsiteY53" fmla="*/ 628241 h 658157"/>
                <a:gd name="connsiteX54" fmla="*/ 465062 w 465062"/>
                <a:gd name="connsiteY54" fmla="*/ 644559 h 658157"/>
                <a:gd name="connsiteX55" fmla="*/ 462342 w 465062"/>
                <a:gd name="connsiteY55" fmla="*/ 649998 h 658157"/>
                <a:gd name="connsiteX56" fmla="*/ 437865 w 465062"/>
                <a:gd name="connsiteY56" fmla="*/ 658157 h 658157"/>
                <a:gd name="connsiteX57" fmla="*/ 361715 w 465062"/>
                <a:gd name="connsiteY57" fmla="*/ 622801 h 658157"/>
                <a:gd name="connsiteX58" fmla="*/ 320920 w 465062"/>
                <a:gd name="connsiteY58" fmla="*/ 565689 h 658157"/>
                <a:gd name="connsiteX59" fmla="*/ 304602 w 465062"/>
                <a:gd name="connsiteY59" fmla="*/ 530333 h 658157"/>
                <a:gd name="connsiteX60" fmla="*/ 293723 w 465062"/>
                <a:gd name="connsiteY60" fmla="*/ 497697 h 658157"/>
                <a:gd name="connsiteX61" fmla="*/ 282845 w 465062"/>
                <a:gd name="connsiteY61" fmla="*/ 462342 h 658157"/>
                <a:gd name="connsiteX62" fmla="*/ 269246 w 465062"/>
                <a:gd name="connsiteY62" fmla="*/ 424267 h 658157"/>
                <a:gd name="connsiteX63" fmla="*/ 255648 w 465062"/>
                <a:gd name="connsiteY63" fmla="*/ 391631 h 658157"/>
                <a:gd name="connsiteX64" fmla="*/ 236610 w 465062"/>
                <a:gd name="connsiteY64" fmla="*/ 367154 h 658157"/>
                <a:gd name="connsiteX65" fmla="*/ 217573 w 465062"/>
                <a:gd name="connsiteY65" fmla="*/ 361714 h 658157"/>
                <a:gd name="connsiteX66" fmla="*/ 201255 w 465062"/>
                <a:gd name="connsiteY66" fmla="*/ 361714 h 658157"/>
                <a:gd name="connsiteX67" fmla="*/ 198535 w 465062"/>
                <a:gd name="connsiteY67" fmla="*/ 367154 h 658157"/>
                <a:gd name="connsiteX68" fmla="*/ 201255 w 465062"/>
                <a:gd name="connsiteY68" fmla="*/ 388911 h 658157"/>
                <a:gd name="connsiteX69" fmla="*/ 198535 w 465062"/>
                <a:gd name="connsiteY69" fmla="*/ 426986 h 658157"/>
                <a:gd name="connsiteX70" fmla="*/ 203975 w 465062"/>
                <a:gd name="connsiteY70" fmla="*/ 478660 h 658157"/>
                <a:gd name="connsiteX71" fmla="*/ 198535 w 465062"/>
                <a:gd name="connsiteY71" fmla="*/ 552090 h 658157"/>
                <a:gd name="connsiteX72" fmla="*/ 195816 w 465062"/>
                <a:gd name="connsiteY72" fmla="*/ 576567 h 658157"/>
                <a:gd name="connsiteX73" fmla="*/ 198535 w 465062"/>
                <a:gd name="connsiteY73" fmla="*/ 592885 h 658157"/>
                <a:gd name="connsiteX74" fmla="*/ 233891 w 465062"/>
                <a:gd name="connsiteY74" fmla="*/ 592885 h 658157"/>
                <a:gd name="connsiteX75" fmla="*/ 271966 w 465062"/>
                <a:gd name="connsiteY75" fmla="*/ 611923 h 658157"/>
                <a:gd name="connsiteX76" fmla="*/ 266527 w 465062"/>
                <a:gd name="connsiteY76" fmla="*/ 628241 h 658157"/>
                <a:gd name="connsiteX77" fmla="*/ 250209 w 465062"/>
                <a:gd name="connsiteY77" fmla="*/ 636400 h 658157"/>
                <a:gd name="connsiteX78" fmla="*/ 228451 w 465062"/>
                <a:gd name="connsiteY78" fmla="*/ 639119 h 658157"/>
                <a:gd name="connsiteX79" fmla="*/ 187657 w 465062"/>
                <a:gd name="connsiteY79" fmla="*/ 639119 h 658157"/>
                <a:gd name="connsiteX80" fmla="*/ 152301 w 465062"/>
                <a:gd name="connsiteY80" fmla="*/ 652717 h 658157"/>
                <a:gd name="connsiteX81" fmla="*/ 133263 w 465062"/>
                <a:gd name="connsiteY81" fmla="*/ 655437 h 658157"/>
                <a:gd name="connsiteX82" fmla="*/ 122385 w 465062"/>
                <a:gd name="connsiteY82" fmla="*/ 652717 h 658157"/>
                <a:gd name="connsiteX83" fmla="*/ 97908 w 465062"/>
                <a:gd name="connsiteY83" fmla="*/ 639119 h 658157"/>
                <a:gd name="connsiteX84" fmla="*/ 70711 w 465062"/>
                <a:gd name="connsiteY84" fmla="*/ 639119 h 658157"/>
                <a:gd name="connsiteX85" fmla="*/ 46234 w 465062"/>
                <a:gd name="connsiteY85" fmla="*/ 639119 h 658157"/>
                <a:gd name="connsiteX86" fmla="*/ 19038 w 465062"/>
                <a:gd name="connsiteY86" fmla="*/ 630960 h 658157"/>
                <a:gd name="connsiteX87" fmla="*/ 2720 w 465062"/>
                <a:gd name="connsiteY87" fmla="*/ 614642 h 658157"/>
                <a:gd name="connsiteX88" fmla="*/ 8159 w 465062"/>
                <a:gd name="connsiteY88" fmla="*/ 606483 h 658157"/>
                <a:gd name="connsiteX89" fmla="*/ 29916 w 465062"/>
                <a:gd name="connsiteY89" fmla="*/ 598324 h 658157"/>
                <a:gd name="connsiteX90" fmla="*/ 76151 w 465062"/>
                <a:gd name="connsiteY90" fmla="*/ 592885 h 658157"/>
                <a:gd name="connsiteX91" fmla="*/ 73431 w 465062"/>
                <a:gd name="connsiteY91" fmla="*/ 573848 h 658157"/>
                <a:gd name="connsiteX92" fmla="*/ 70711 w 465062"/>
                <a:gd name="connsiteY92" fmla="*/ 500417 h 658157"/>
                <a:gd name="connsiteX93" fmla="*/ 73431 w 465062"/>
                <a:gd name="connsiteY93" fmla="*/ 437865 h 658157"/>
                <a:gd name="connsiteX94" fmla="*/ 70711 w 465062"/>
                <a:gd name="connsiteY94" fmla="*/ 369873 h 658157"/>
                <a:gd name="connsiteX95" fmla="*/ 70711 w 465062"/>
                <a:gd name="connsiteY95" fmla="*/ 293723 h 658157"/>
                <a:gd name="connsiteX96" fmla="*/ 73431 w 465062"/>
                <a:gd name="connsiteY96" fmla="*/ 212133 h 658157"/>
                <a:gd name="connsiteX97" fmla="*/ 76151 w 465062"/>
                <a:gd name="connsiteY97" fmla="*/ 155021 h 658157"/>
                <a:gd name="connsiteX98" fmla="*/ 76151 w 465062"/>
                <a:gd name="connsiteY98" fmla="*/ 119665 h 658157"/>
                <a:gd name="connsiteX99" fmla="*/ 78870 w 465062"/>
                <a:gd name="connsiteY99" fmla="*/ 84310 h 658157"/>
                <a:gd name="connsiteX100" fmla="*/ 76151 w 465062"/>
                <a:gd name="connsiteY100" fmla="*/ 62552 h 658157"/>
                <a:gd name="connsiteX101" fmla="*/ 67992 w 465062"/>
                <a:gd name="connsiteY101" fmla="*/ 62552 h 658157"/>
                <a:gd name="connsiteX102" fmla="*/ 43515 w 465062"/>
                <a:gd name="connsiteY102" fmla="*/ 62552 h 658157"/>
                <a:gd name="connsiteX103" fmla="*/ 16318 w 465062"/>
                <a:gd name="connsiteY103" fmla="*/ 57113 h 658157"/>
                <a:gd name="connsiteX104" fmla="*/ 0 w 465062"/>
                <a:gd name="connsiteY104" fmla="*/ 40795 h 658157"/>
                <a:gd name="connsiteX105" fmla="*/ 5439 w 465062"/>
                <a:gd name="connsiteY105" fmla="*/ 32636 h 658157"/>
                <a:gd name="connsiteX106" fmla="*/ 27197 w 465062"/>
                <a:gd name="connsiteY106" fmla="*/ 24477 h 658157"/>
                <a:gd name="connsiteX107" fmla="*/ 76151 w 465062"/>
                <a:gd name="connsiteY107" fmla="*/ 19038 h 658157"/>
                <a:gd name="connsiteX108" fmla="*/ 78870 w 465062"/>
                <a:gd name="connsiteY108" fmla="*/ 13598 h 658157"/>
                <a:gd name="connsiteX109" fmla="*/ 95188 w 465062"/>
                <a:gd name="connsiteY109" fmla="*/ 5440 h 658157"/>
                <a:gd name="connsiteX110" fmla="*/ 111506 w 465062"/>
                <a:gd name="connsiteY110" fmla="*/ 0 h 6581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</a:cxnLst>
              <a:rect l="l" t="t" r="r" b="b"/>
              <a:pathLst>
                <a:path w="465062" h="658157">
                  <a:moveTo>
                    <a:pt x="193096" y="59832"/>
                  </a:moveTo>
                  <a:cubicBezTo>
                    <a:pt x="193096" y="73430"/>
                    <a:pt x="193096" y="89748"/>
                    <a:pt x="193096" y="114226"/>
                  </a:cubicBezTo>
                  <a:cubicBezTo>
                    <a:pt x="193096" y="144142"/>
                    <a:pt x="195816" y="176778"/>
                    <a:pt x="198536" y="209414"/>
                  </a:cubicBezTo>
                  <a:cubicBezTo>
                    <a:pt x="198536" y="247489"/>
                    <a:pt x="201255" y="277406"/>
                    <a:pt x="201255" y="282845"/>
                  </a:cubicBezTo>
                  <a:cubicBezTo>
                    <a:pt x="201255" y="293723"/>
                    <a:pt x="203975" y="304602"/>
                    <a:pt x="203975" y="315481"/>
                  </a:cubicBezTo>
                  <a:cubicBezTo>
                    <a:pt x="203975" y="318200"/>
                    <a:pt x="203975" y="318200"/>
                    <a:pt x="203975" y="320920"/>
                  </a:cubicBezTo>
                  <a:cubicBezTo>
                    <a:pt x="203975" y="326359"/>
                    <a:pt x="206695" y="329079"/>
                    <a:pt x="212134" y="329079"/>
                  </a:cubicBezTo>
                  <a:cubicBezTo>
                    <a:pt x="214854" y="329079"/>
                    <a:pt x="220293" y="329079"/>
                    <a:pt x="223013" y="329079"/>
                  </a:cubicBezTo>
                  <a:cubicBezTo>
                    <a:pt x="228452" y="329079"/>
                    <a:pt x="233891" y="329079"/>
                    <a:pt x="239331" y="329079"/>
                  </a:cubicBezTo>
                  <a:cubicBezTo>
                    <a:pt x="252929" y="329079"/>
                    <a:pt x="271967" y="323640"/>
                    <a:pt x="280126" y="312761"/>
                  </a:cubicBezTo>
                  <a:cubicBezTo>
                    <a:pt x="288284" y="304602"/>
                    <a:pt x="291004" y="299163"/>
                    <a:pt x="296443" y="288284"/>
                  </a:cubicBezTo>
                  <a:cubicBezTo>
                    <a:pt x="299163" y="277406"/>
                    <a:pt x="301883" y="269247"/>
                    <a:pt x="304602" y="258368"/>
                  </a:cubicBezTo>
                  <a:cubicBezTo>
                    <a:pt x="307322" y="244770"/>
                    <a:pt x="310042" y="239330"/>
                    <a:pt x="312761" y="225732"/>
                  </a:cubicBezTo>
                  <a:cubicBezTo>
                    <a:pt x="315481" y="212134"/>
                    <a:pt x="315481" y="209414"/>
                    <a:pt x="315481" y="195816"/>
                  </a:cubicBezTo>
                  <a:cubicBezTo>
                    <a:pt x="315481" y="179498"/>
                    <a:pt x="315481" y="184937"/>
                    <a:pt x="318201" y="168619"/>
                  </a:cubicBezTo>
                  <a:cubicBezTo>
                    <a:pt x="312761" y="152302"/>
                    <a:pt x="312761" y="149582"/>
                    <a:pt x="312761" y="135983"/>
                  </a:cubicBezTo>
                  <a:cubicBezTo>
                    <a:pt x="312761" y="133264"/>
                    <a:pt x="312761" y="127825"/>
                    <a:pt x="312761" y="122385"/>
                  </a:cubicBezTo>
                  <a:cubicBezTo>
                    <a:pt x="312761" y="111507"/>
                    <a:pt x="301883" y="95188"/>
                    <a:pt x="293724" y="84309"/>
                  </a:cubicBezTo>
                  <a:cubicBezTo>
                    <a:pt x="288284" y="78870"/>
                    <a:pt x="285565" y="76150"/>
                    <a:pt x="280126" y="73430"/>
                  </a:cubicBezTo>
                  <a:cubicBezTo>
                    <a:pt x="271967" y="67991"/>
                    <a:pt x="266527" y="65271"/>
                    <a:pt x="258368" y="62552"/>
                  </a:cubicBezTo>
                  <a:cubicBezTo>
                    <a:pt x="244770" y="59832"/>
                    <a:pt x="228452" y="59832"/>
                    <a:pt x="217573" y="59832"/>
                  </a:cubicBezTo>
                  <a:close/>
                  <a:moveTo>
                    <a:pt x="111506" y="0"/>
                  </a:moveTo>
                  <a:cubicBezTo>
                    <a:pt x="114226" y="0"/>
                    <a:pt x="122385" y="0"/>
                    <a:pt x="127824" y="0"/>
                  </a:cubicBezTo>
                  <a:cubicBezTo>
                    <a:pt x="135983" y="0"/>
                    <a:pt x="146862" y="2720"/>
                    <a:pt x="157741" y="5440"/>
                  </a:cubicBezTo>
                  <a:cubicBezTo>
                    <a:pt x="168619" y="8159"/>
                    <a:pt x="176778" y="10879"/>
                    <a:pt x="179497" y="16318"/>
                  </a:cubicBezTo>
                  <a:cubicBezTo>
                    <a:pt x="193096" y="16318"/>
                    <a:pt x="201255" y="16318"/>
                    <a:pt x="209414" y="16318"/>
                  </a:cubicBezTo>
                  <a:cubicBezTo>
                    <a:pt x="220292" y="16318"/>
                    <a:pt x="231171" y="16318"/>
                    <a:pt x="247489" y="16318"/>
                  </a:cubicBezTo>
                  <a:cubicBezTo>
                    <a:pt x="250209" y="16318"/>
                    <a:pt x="258368" y="16318"/>
                    <a:pt x="266527" y="16318"/>
                  </a:cubicBezTo>
                  <a:cubicBezTo>
                    <a:pt x="277405" y="16318"/>
                    <a:pt x="291004" y="21758"/>
                    <a:pt x="312761" y="27197"/>
                  </a:cubicBezTo>
                  <a:cubicBezTo>
                    <a:pt x="320920" y="29917"/>
                    <a:pt x="329079" y="35356"/>
                    <a:pt x="337238" y="38075"/>
                  </a:cubicBezTo>
                  <a:cubicBezTo>
                    <a:pt x="342677" y="40795"/>
                    <a:pt x="353556" y="48954"/>
                    <a:pt x="364434" y="54393"/>
                  </a:cubicBezTo>
                  <a:cubicBezTo>
                    <a:pt x="375313" y="62552"/>
                    <a:pt x="386192" y="67992"/>
                    <a:pt x="386192" y="73431"/>
                  </a:cubicBezTo>
                  <a:cubicBezTo>
                    <a:pt x="391631" y="84310"/>
                    <a:pt x="402510" y="92469"/>
                    <a:pt x="407949" y="103347"/>
                  </a:cubicBezTo>
                  <a:cubicBezTo>
                    <a:pt x="413388" y="116945"/>
                    <a:pt x="416108" y="130544"/>
                    <a:pt x="416108" y="141422"/>
                  </a:cubicBezTo>
                  <a:cubicBezTo>
                    <a:pt x="416108" y="152301"/>
                    <a:pt x="418828" y="157740"/>
                    <a:pt x="418828" y="163179"/>
                  </a:cubicBezTo>
                  <a:cubicBezTo>
                    <a:pt x="418828" y="165899"/>
                    <a:pt x="418828" y="168619"/>
                    <a:pt x="418828" y="171339"/>
                  </a:cubicBezTo>
                  <a:cubicBezTo>
                    <a:pt x="418828" y="174058"/>
                    <a:pt x="421547" y="182217"/>
                    <a:pt x="421547" y="187656"/>
                  </a:cubicBezTo>
                  <a:cubicBezTo>
                    <a:pt x="421547" y="193096"/>
                    <a:pt x="418828" y="201255"/>
                    <a:pt x="418828" y="206694"/>
                  </a:cubicBezTo>
                  <a:cubicBezTo>
                    <a:pt x="418828" y="217573"/>
                    <a:pt x="418828" y="223012"/>
                    <a:pt x="416108" y="233891"/>
                  </a:cubicBezTo>
                  <a:cubicBezTo>
                    <a:pt x="413388" y="244769"/>
                    <a:pt x="410668" y="255648"/>
                    <a:pt x="405229" y="263807"/>
                  </a:cubicBezTo>
                  <a:cubicBezTo>
                    <a:pt x="402510" y="269246"/>
                    <a:pt x="397070" y="269246"/>
                    <a:pt x="394351" y="274686"/>
                  </a:cubicBezTo>
                  <a:cubicBezTo>
                    <a:pt x="391631" y="277405"/>
                    <a:pt x="391631" y="282844"/>
                    <a:pt x="388912" y="285564"/>
                  </a:cubicBezTo>
                  <a:cubicBezTo>
                    <a:pt x="383472" y="291003"/>
                    <a:pt x="375313" y="301882"/>
                    <a:pt x="369874" y="304602"/>
                  </a:cubicBezTo>
                  <a:cubicBezTo>
                    <a:pt x="367154" y="307321"/>
                    <a:pt x="361715" y="307321"/>
                    <a:pt x="358995" y="310041"/>
                  </a:cubicBezTo>
                  <a:cubicBezTo>
                    <a:pt x="356275" y="312761"/>
                    <a:pt x="350836" y="318200"/>
                    <a:pt x="348117" y="320920"/>
                  </a:cubicBezTo>
                  <a:cubicBezTo>
                    <a:pt x="339958" y="326359"/>
                    <a:pt x="334518" y="334518"/>
                    <a:pt x="326359" y="339957"/>
                  </a:cubicBezTo>
                  <a:cubicBezTo>
                    <a:pt x="320920" y="342677"/>
                    <a:pt x="312761" y="342677"/>
                    <a:pt x="312761" y="353555"/>
                  </a:cubicBezTo>
                  <a:cubicBezTo>
                    <a:pt x="312761" y="361714"/>
                    <a:pt x="334518" y="372593"/>
                    <a:pt x="337238" y="380752"/>
                  </a:cubicBezTo>
                  <a:cubicBezTo>
                    <a:pt x="345397" y="394350"/>
                    <a:pt x="353556" y="407948"/>
                    <a:pt x="358995" y="421547"/>
                  </a:cubicBezTo>
                  <a:cubicBezTo>
                    <a:pt x="364434" y="435145"/>
                    <a:pt x="367154" y="446024"/>
                    <a:pt x="372593" y="459622"/>
                  </a:cubicBezTo>
                  <a:cubicBezTo>
                    <a:pt x="378033" y="478660"/>
                    <a:pt x="383472" y="494978"/>
                    <a:pt x="386192" y="514015"/>
                  </a:cubicBezTo>
                  <a:cubicBezTo>
                    <a:pt x="391631" y="533053"/>
                    <a:pt x="402510" y="549371"/>
                    <a:pt x="407949" y="568408"/>
                  </a:cubicBezTo>
                  <a:cubicBezTo>
                    <a:pt x="410668" y="579287"/>
                    <a:pt x="416108" y="590165"/>
                    <a:pt x="421547" y="598324"/>
                  </a:cubicBezTo>
                  <a:cubicBezTo>
                    <a:pt x="435146" y="614642"/>
                    <a:pt x="443305" y="622801"/>
                    <a:pt x="451463" y="628241"/>
                  </a:cubicBezTo>
                  <a:cubicBezTo>
                    <a:pt x="456903" y="630960"/>
                    <a:pt x="465062" y="636400"/>
                    <a:pt x="465062" y="644559"/>
                  </a:cubicBezTo>
                  <a:cubicBezTo>
                    <a:pt x="465062" y="647278"/>
                    <a:pt x="465062" y="647278"/>
                    <a:pt x="462342" y="649998"/>
                  </a:cubicBezTo>
                  <a:cubicBezTo>
                    <a:pt x="456903" y="655437"/>
                    <a:pt x="446024" y="658157"/>
                    <a:pt x="437865" y="658157"/>
                  </a:cubicBezTo>
                  <a:cubicBezTo>
                    <a:pt x="413388" y="658157"/>
                    <a:pt x="378033" y="641839"/>
                    <a:pt x="361715" y="622801"/>
                  </a:cubicBezTo>
                  <a:cubicBezTo>
                    <a:pt x="345397" y="606483"/>
                    <a:pt x="334518" y="584726"/>
                    <a:pt x="320920" y="565689"/>
                  </a:cubicBezTo>
                  <a:cubicBezTo>
                    <a:pt x="315480" y="554810"/>
                    <a:pt x="310041" y="543931"/>
                    <a:pt x="304602" y="530333"/>
                  </a:cubicBezTo>
                  <a:cubicBezTo>
                    <a:pt x="299163" y="519454"/>
                    <a:pt x="296443" y="508576"/>
                    <a:pt x="293723" y="497697"/>
                  </a:cubicBezTo>
                  <a:cubicBezTo>
                    <a:pt x="291004" y="486819"/>
                    <a:pt x="288284" y="473220"/>
                    <a:pt x="282845" y="462342"/>
                  </a:cubicBezTo>
                  <a:cubicBezTo>
                    <a:pt x="280125" y="448743"/>
                    <a:pt x="274686" y="437865"/>
                    <a:pt x="269246" y="424267"/>
                  </a:cubicBezTo>
                  <a:cubicBezTo>
                    <a:pt x="266527" y="416108"/>
                    <a:pt x="261087" y="402509"/>
                    <a:pt x="255648" y="391631"/>
                  </a:cubicBezTo>
                  <a:cubicBezTo>
                    <a:pt x="250209" y="380752"/>
                    <a:pt x="244770" y="375313"/>
                    <a:pt x="236610" y="367154"/>
                  </a:cubicBezTo>
                  <a:cubicBezTo>
                    <a:pt x="231171" y="361714"/>
                    <a:pt x="223012" y="361714"/>
                    <a:pt x="217573" y="361714"/>
                  </a:cubicBezTo>
                  <a:cubicBezTo>
                    <a:pt x="212134" y="361714"/>
                    <a:pt x="206694" y="361714"/>
                    <a:pt x="201255" y="361714"/>
                  </a:cubicBezTo>
                  <a:cubicBezTo>
                    <a:pt x="198535" y="361714"/>
                    <a:pt x="198535" y="364434"/>
                    <a:pt x="198535" y="367154"/>
                  </a:cubicBezTo>
                  <a:cubicBezTo>
                    <a:pt x="198535" y="375313"/>
                    <a:pt x="201255" y="386191"/>
                    <a:pt x="201255" y="388911"/>
                  </a:cubicBezTo>
                  <a:cubicBezTo>
                    <a:pt x="201255" y="402509"/>
                    <a:pt x="198535" y="413388"/>
                    <a:pt x="198535" y="426986"/>
                  </a:cubicBezTo>
                  <a:cubicBezTo>
                    <a:pt x="198535" y="446024"/>
                    <a:pt x="203975" y="456902"/>
                    <a:pt x="203975" y="478660"/>
                  </a:cubicBezTo>
                  <a:cubicBezTo>
                    <a:pt x="203975" y="503136"/>
                    <a:pt x="201255" y="527613"/>
                    <a:pt x="198535" y="552090"/>
                  </a:cubicBezTo>
                  <a:cubicBezTo>
                    <a:pt x="198535" y="560249"/>
                    <a:pt x="195816" y="568408"/>
                    <a:pt x="195816" y="576567"/>
                  </a:cubicBezTo>
                  <a:cubicBezTo>
                    <a:pt x="195816" y="582006"/>
                    <a:pt x="195816" y="587446"/>
                    <a:pt x="198535" y="592885"/>
                  </a:cubicBezTo>
                  <a:cubicBezTo>
                    <a:pt x="212134" y="592885"/>
                    <a:pt x="225732" y="592885"/>
                    <a:pt x="233891" y="592885"/>
                  </a:cubicBezTo>
                  <a:cubicBezTo>
                    <a:pt x="247489" y="592885"/>
                    <a:pt x="271966" y="592885"/>
                    <a:pt x="271966" y="611923"/>
                  </a:cubicBezTo>
                  <a:cubicBezTo>
                    <a:pt x="271966" y="620082"/>
                    <a:pt x="269246" y="622801"/>
                    <a:pt x="266527" y="628241"/>
                  </a:cubicBezTo>
                  <a:cubicBezTo>
                    <a:pt x="261087" y="633680"/>
                    <a:pt x="255648" y="636400"/>
                    <a:pt x="250209" y="636400"/>
                  </a:cubicBezTo>
                  <a:cubicBezTo>
                    <a:pt x="239330" y="639119"/>
                    <a:pt x="233891" y="639119"/>
                    <a:pt x="228451" y="639119"/>
                  </a:cubicBezTo>
                  <a:cubicBezTo>
                    <a:pt x="223012" y="639119"/>
                    <a:pt x="206694" y="639119"/>
                    <a:pt x="187657" y="639119"/>
                  </a:cubicBezTo>
                  <a:cubicBezTo>
                    <a:pt x="176778" y="647278"/>
                    <a:pt x="163180" y="649998"/>
                    <a:pt x="152301" y="652717"/>
                  </a:cubicBezTo>
                  <a:cubicBezTo>
                    <a:pt x="146862" y="652717"/>
                    <a:pt x="138703" y="655437"/>
                    <a:pt x="133263" y="655437"/>
                  </a:cubicBezTo>
                  <a:cubicBezTo>
                    <a:pt x="130544" y="655437"/>
                    <a:pt x="125104" y="655437"/>
                    <a:pt x="122385" y="652717"/>
                  </a:cubicBezTo>
                  <a:cubicBezTo>
                    <a:pt x="114226" y="649998"/>
                    <a:pt x="103347" y="644559"/>
                    <a:pt x="97908" y="639119"/>
                  </a:cubicBezTo>
                  <a:cubicBezTo>
                    <a:pt x="87029" y="639119"/>
                    <a:pt x="78870" y="639119"/>
                    <a:pt x="70711" y="639119"/>
                  </a:cubicBezTo>
                  <a:cubicBezTo>
                    <a:pt x="62552" y="639119"/>
                    <a:pt x="54393" y="639119"/>
                    <a:pt x="46234" y="639119"/>
                  </a:cubicBezTo>
                  <a:cubicBezTo>
                    <a:pt x="38075" y="639119"/>
                    <a:pt x="27197" y="633680"/>
                    <a:pt x="19038" y="630960"/>
                  </a:cubicBezTo>
                  <a:cubicBezTo>
                    <a:pt x="10879" y="628241"/>
                    <a:pt x="2720" y="620082"/>
                    <a:pt x="2720" y="614642"/>
                  </a:cubicBezTo>
                  <a:cubicBezTo>
                    <a:pt x="2720" y="611923"/>
                    <a:pt x="2720" y="609203"/>
                    <a:pt x="8159" y="606483"/>
                  </a:cubicBezTo>
                  <a:cubicBezTo>
                    <a:pt x="13599" y="603764"/>
                    <a:pt x="24477" y="601044"/>
                    <a:pt x="29916" y="598324"/>
                  </a:cubicBezTo>
                  <a:cubicBezTo>
                    <a:pt x="43515" y="595605"/>
                    <a:pt x="62552" y="595605"/>
                    <a:pt x="76151" y="592885"/>
                  </a:cubicBezTo>
                  <a:cubicBezTo>
                    <a:pt x="76151" y="587446"/>
                    <a:pt x="73431" y="582006"/>
                    <a:pt x="73431" y="573848"/>
                  </a:cubicBezTo>
                  <a:cubicBezTo>
                    <a:pt x="73431" y="565689"/>
                    <a:pt x="70711" y="516735"/>
                    <a:pt x="70711" y="500417"/>
                  </a:cubicBezTo>
                  <a:cubicBezTo>
                    <a:pt x="70711" y="481379"/>
                    <a:pt x="73431" y="456902"/>
                    <a:pt x="73431" y="437865"/>
                  </a:cubicBezTo>
                  <a:cubicBezTo>
                    <a:pt x="73431" y="416108"/>
                    <a:pt x="70711" y="391631"/>
                    <a:pt x="70711" y="369873"/>
                  </a:cubicBezTo>
                  <a:cubicBezTo>
                    <a:pt x="70711" y="345397"/>
                    <a:pt x="70711" y="318200"/>
                    <a:pt x="70711" y="293723"/>
                  </a:cubicBezTo>
                  <a:cubicBezTo>
                    <a:pt x="70711" y="266526"/>
                    <a:pt x="73431" y="239330"/>
                    <a:pt x="73431" y="212133"/>
                  </a:cubicBezTo>
                  <a:cubicBezTo>
                    <a:pt x="73431" y="187656"/>
                    <a:pt x="76151" y="179498"/>
                    <a:pt x="76151" y="155021"/>
                  </a:cubicBezTo>
                  <a:cubicBezTo>
                    <a:pt x="76151" y="144142"/>
                    <a:pt x="76151" y="130544"/>
                    <a:pt x="76151" y="119665"/>
                  </a:cubicBezTo>
                  <a:cubicBezTo>
                    <a:pt x="76151" y="106067"/>
                    <a:pt x="78870" y="95188"/>
                    <a:pt x="78870" y="84310"/>
                  </a:cubicBezTo>
                  <a:cubicBezTo>
                    <a:pt x="78870" y="78870"/>
                    <a:pt x="78870" y="70711"/>
                    <a:pt x="76151" y="62552"/>
                  </a:cubicBezTo>
                  <a:cubicBezTo>
                    <a:pt x="76151" y="62552"/>
                    <a:pt x="73431" y="62552"/>
                    <a:pt x="67992" y="62552"/>
                  </a:cubicBezTo>
                  <a:cubicBezTo>
                    <a:pt x="59833" y="62552"/>
                    <a:pt x="51674" y="62552"/>
                    <a:pt x="43515" y="62552"/>
                  </a:cubicBezTo>
                  <a:cubicBezTo>
                    <a:pt x="35356" y="62552"/>
                    <a:pt x="24477" y="59833"/>
                    <a:pt x="16318" y="57113"/>
                  </a:cubicBezTo>
                  <a:cubicBezTo>
                    <a:pt x="8159" y="54393"/>
                    <a:pt x="0" y="43515"/>
                    <a:pt x="0" y="40795"/>
                  </a:cubicBezTo>
                  <a:cubicBezTo>
                    <a:pt x="0" y="38075"/>
                    <a:pt x="0" y="35356"/>
                    <a:pt x="5439" y="32636"/>
                  </a:cubicBezTo>
                  <a:cubicBezTo>
                    <a:pt x="10879" y="29917"/>
                    <a:pt x="21758" y="27197"/>
                    <a:pt x="27197" y="24477"/>
                  </a:cubicBezTo>
                  <a:cubicBezTo>
                    <a:pt x="46234" y="21758"/>
                    <a:pt x="62552" y="19038"/>
                    <a:pt x="76151" y="19038"/>
                  </a:cubicBezTo>
                  <a:cubicBezTo>
                    <a:pt x="76151" y="16318"/>
                    <a:pt x="78870" y="16318"/>
                    <a:pt x="78870" y="13598"/>
                  </a:cubicBezTo>
                  <a:cubicBezTo>
                    <a:pt x="84309" y="10879"/>
                    <a:pt x="89749" y="8159"/>
                    <a:pt x="95188" y="5440"/>
                  </a:cubicBezTo>
                  <a:cubicBezTo>
                    <a:pt x="100628" y="2720"/>
                    <a:pt x="106067" y="0"/>
                    <a:pt x="111506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/>
            </a:p>
          </p:txBody>
        </p:sp>
        <p:sp>
          <p:nvSpPr>
            <p:cNvPr id="54" name="Freeform: Shape 53">
              <a:extLst>
                <a:ext uri="{FF2B5EF4-FFF2-40B4-BE49-F238E27FC236}">
                  <a16:creationId xmlns:a16="http://schemas.microsoft.com/office/drawing/2014/main" id="{34815080-B3AE-49B7-AE41-2545F7485078}"/>
                </a:ext>
              </a:extLst>
            </p:cNvPr>
            <p:cNvSpPr/>
            <p:nvPr/>
          </p:nvSpPr>
          <p:spPr>
            <a:xfrm>
              <a:off x="8346812" y="4186718"/>
              <a:ext cx="353556" cy="761503"/>
            </a:xfrm>
            <a:custGeom>
              <a:avLst/>
              <a:gdLst>
                <a:gd name="connsiteX0" fmla="*/ 283910 w 353555"/>
                <a:gd name="connsiteY0" fmla="*/ 672820 h 761503"/>
                <a:gd name="connsiteX1" fmla="*/ 321985 w 353555"/>
                <a:gd name="connsiteY1" fmla="*/ 689138 h 761503"/>
                <a:gd name="connsiteX2" fmla="*/ 316546 w 353555"/>
                <a:gd name="connsiteY2" fmla="*/ 705456 h 761503"/>
                <a:gd name="connsiteX3" fmla="*/ 300228 w 353555"/>
                <a:gd name="connsiteY3" fmla="*/ 713615 h 761503"/>
                <a:gd name="connsiteX4" fmla="*/ 278471 w 353555"/>
                <a:gd name="connsiteY4" fmla="*/ 716335 h 761503"/>
                <a:gd name="connsiteX5" fmla="*/ 237676 w 353555"/>
                <a:gd name="connsiteY5" fmla="*/ 716335 h 761503"/>
                <a:gd name="connsiteX6" fmla="*/ 180563 w 353555"/>
                <a:gd name="connsiteY6" fmla="*/ 719054 h 761503"/>
                <a:gd name="connsiteX7" fmla="*/ 126170 w 353555"/>
                <a:gd name="connsiteY7" fmla="*/ 719054 h 761503"/>
                <a:gd name="connsiteX8" fmla="*/ 101693 w 353555"/>
                <a:gd name="connsiteY8" fmla="*/ 719054 h 761503"/>
                <a:gd name="connsiteX9" fmla="*/ 74496 w 353555"/>
                <a:gd name="connsiteY9" fmla="*/ 713615 h 761503"/>
                <a:gd name="connsiteX10" fmla="*/ 58178 w 353555"/>
                <a:gd name="connsiteY10" fmla="*/ 697297 h 761503"/>
                <a:gd name="connsiteX11" fmla="*/ 63618 w 353555"/>
                <a:gd name="connsiteY11" fmla="*/ 689138 h 761503"/>
                <a:gd name="connsiteX12" fmla="*/ 85375 w 353555"/>
                <a:gd name="connsiteY12" fmla="*/ 680979 h 761503"/>
                <a:gd name="connsiteX13" fmla="*/ 131609 w 353555"/>
                <a:gd name="connsiteY13" fmla="*/ 675540 h 761503"/>
                <a:gd name="connsiteX14" fmla="*/ 142488 w 353555"/>
                <a:gd name="connsiteY14" fmla="*/ 675540 h 761503"/>
                <a:gd name="connsiteX15" fmla="*/ 131609 w 353555"/>
                <a:gd name="connsiteY15" fmla="*/ 653783 h 761503"/>
                <a:gd name="connsiteX16" fmla="*/ 128890 w 353555"/>
                <a:gd name="connsiteY16" fmla="*/ 640184 h 761503"/>
                <a:gd name="connsiteX17" fmla="*/ 128890 w 353555"/>
                <a:gd name="connsiteY17" fmla="*/ 629306 h 761503"/>
                <a:gd name="connsiteX18" fmla="*/ 128890 w 353555"/>
                <a:gd name="connsiteY18" fmla="*/ 621147 h 761503"/>
                <a:gd name="connsiteX19" fmla="*/ 128890 w 353555"/>
                <a:gd name="connsiteY19" fmla="*/ 593950 h 761503"/>
                <a:gd name="connsiteX20" fmla="*/ 128890 w 353555"/>
                <a:gd name="connsiteY20" fmla="*/ 583072 h 761503"/>
                <a:gd name="connsiteX21" fmla="*/ 128890 w 353555"/>
                <a:gd name="connsiteY21" fmla="*/ 436210 h 761503"/>
                <a:gd name="connsiteX22" fmla="*/ 128890 w 353555"/>
                <a:gd name="connsiteY22" fmla="*/ 357340 h 761503"/>
                <a:gd name="connsiteX23" fmla="*/ 131609 w 353555"/>
                <a:gd name="connsiteY23" fmla="*/ 289349 h 761503"/>
                <a:gd name="connsiteX24" fmla="*/ 131609 w 353555"/>
                <a:gd name="connsiteY24" fmla="*/ 251274 h 761503"/>
                <a:gd name="connsiteX25" fmla="*/ 131609 w 353555"/>
                <a:gd name="connsiteY25" fmla="*/ 205040 h 761503"/>
                <a:gd name="connsiteX26" fmla="*/ 131609 w 353555"/>
                <a:gd name="connsiteY26" fmla="*/ 139768 h 761503"/>
                <a:gd name="connsiteX27" fmla="*/ 131609 w 353555"/>
                <a:gd name="connsiteY27" fmla="*/ 128889 h 761503"/>
                <a:gd name="connsiteX28" fmla="*/ 126170 w 353555"/>
                <a:gd name="connsiteY28" fmla="*/ 128889 h 761503"/>
                <a:gd name="connsiteX29" fmla="*/ 101693 w 353555"/>
                <a:gd name="connsiteY29" fmla="*/ 128889 h 761503"/>
                <a:gd name="connsiteX30" fmla="*/ 74496 w 353555"/>
                <a:gd name="connsiteY30" fmla="*/ 123450 h 761503"/>
                <a:gd name="connsiteX31" fmla="*/ 58178 w 353555"/>
                <a:gd name="connsiteY31" fmla="*/ 107132 h 761503"/>
                <a:gd name="connsiteX32" fmla="*/ 60898 w 353555"/>
                <a:gd name="connsiteY32" fmla="*/ 98973 h 761503"/>
                <a:gd name="connsiteX33" fmla="*/ 82655 w 353555"/>
                <a:gd name="connsiteY33" fmla="*/ 93534 h 761503"/>
                <a:gd name="connsiteX34" fmla="*/ 131609 w 353555"/>
                <a:gd name="connsiteY34" fmla="*/ 88094 h 761503"/>
                <a:gd name="connsiteX35" fmla="*/ 131609 w 353555"/>
                <a:gd name="connsiteY35" fmla="*/ 82655 h 761503"/>
                <a:gd name="connsiteX36" fmla="*/ 134329 w 353555"/>
                <a:gd name="connsiteY36" fmla="*/ 71776 h 761503"/>
                <a:gd name="connsiteX37" fmla="*/ 147927 w 353555"/>
                <a:gd name="connsiteY37" fmla="*/ 63617 h 761503"/>
                <a:gd name="connsiteX38" fmla="*/ 164245 w 353555"/>
                <a:gd name="connsiteY38" fmla="*/ 58178 h 761503"/>
                <a:gd name="connsiteX39" fmla="*/ 177843 w 353555"/>
                <a:gd name="connsiteY39" fmla="*/ 58178 h 761503"/>
                <a:gd name="connsiteX40" fmla="*/ 196881 w 353555"/>
                <a:gd name="connsiteY40" fmla="*/ 60898 h 761503"/>
                <a:gd name="connsiteX41" fmla="*/ 232237 w 353555"/>
                <a:gd name="connsiteY41" fmla="*/ 88094 h 761503"/>
                <a:gd name="connsiteX42" fmla="*/ 278471 w 353555"/>
                <a:gd name="connsiteY42" fmla="*/ 88094 h 761503"/>
                <a:gd name="connsiteX43" fmla="*/ 316546 w 353555"/>
                <a:gd name="connsiteY43" fmla="*/ 104412 h 761503"/>
                <a:gd name="connsiteX44" fmla="*/ 311107 w 353555"/>
                <a:gd name="connsiteY44" fmla="*/ 120730 h 761503"/>
                <a:gd name="connsiteX45" fmla="*/ 294789 w 353555"/>
                <a:gd name="connsiteY45" fmla="*/ 128889 h 761503"/>
                <a:gd name="connsiteX46" fmla="*/ 273032 w 353555"/>
                <a:gd name="connsiteY46" fmla="*/ 131609 h 761503"/>
                <a:gd name="connsiteX47" fmla="*/ 243115 w 353555"/>
                <a:gd name="connsiteY47" fmla="*/ 131609 h 761503"/>
                <a:gd name="connsiteX48" fmla="*/ 243115 w 353555"/>
                <a:gd name="connsiteY48" fmla="*/ 134329 h 761503"/>
                <a:gd name="connsiteX49" fmla="*/ 248554 w 353555"/>
                <a:gd name="connsiteY49" fmla="*/ 169684 h 761503"/>
                <a:gd name="connsiteX50" fmla="*/ 251274 w 353555"/>
                <a:gd name="connsiteY50" fmla="*/ 205040 h 761503"/>
                <a:gd name="connsiteX51" fmla="*/ 251274 w 353555"/>
                <a:gd name="connsiteY51" fmla="*/ 240395 h 761503"/>
                <a:gd name="connsiteX52" fmla="*/ 251274 w 353555"/>
                <a:gd name="connsiteY52" fmla="*/ 256713 h 761503"/>
                <a:gd name="connsiteX53" fmla="*/ 253994 w 353555"/>
                <a:gd name="connsiteY53" fmla="*/ 270311 h 761503"/>
                <a:gd name="connsiteX54" fmla="*/ 259433 w 353555"/>
                <a:gd name="connsiteY54" fmla="*/ 343742 h 761503"/>
                <a:gd name="connsiteX55" fmla="*/ 262153 w 353555"/>
                <a:gd name="connsiteY55" fmla="*/ 425332 h 761503"/>
                <a:gd name="connsiteX56" fmla="*/ 264872 w 353555"/>
                <a:gd name="connsiteY56" fmla="*/ 490603 h 761503"/>
                <a:gd name="connsiteX57" fmla="*/ 270312 w 353555"/>
                <a:gd name="connsiteY57" fmla="*/ 564034 h 761503"/>
                <a:gd name="connsiteX58" fmla="*/ 270312 w 353555"/>
                <a:gd name="connsiteY58" fmla="*/ 599390 h 761503"/>
                <a:gd name="connsiteX59" fmla="*/ 270312 w 353555"/>
                <a:gd name="connsiteY59" fmla="*/ 637465 h 761503"/>
                <a:gd name="connsiteX60" fmla="*/ 264872 w 353555"/>
                <a:gd name="connsiteY60" fmla="*/ 670101 h 761503"/>
                <a:gd name="connsiteX61" fmla="*/ 283910 w 353555"/>
                <a:gd name="connsiteY61" fmla="*/ 672820 h 761503"/>
                <a:gd name="connsiteX62" fmla="*/ 283910 w 353555"/>
                <a:gd name="connsiteY62" fmla="*/ 672820 h 761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</a:cxnLst>
              <a:rect l="l" t="t" r="r" b="b"/>
              <a:pathLst>
                <a:path w="353555" h="761503">
                  <a:moveTo>
                    <a:pt x="283910" y="672820"/>
                  </a:moveTo>
                  <a:cubicBezTo>
                    <a:pt x="297508" y="672820"/>
                    <a:pt x="321985" y="672820"/>
                    <a:pt x="321985" y="689138"/>
                  </a:cubicBezTo>
                  <a:cubicBezTo>
                    <a:pt x="321985" y="697297"/>
                    <a:pt x="319266" y="697297"/>
                    <a:pt x="316546" y="705456"/>
                  </a:cubicBezTo>
                  <a:cubicBezTo>
                    <a:pt x="311107" y="710895"/>
                    <a:pt x="305667" y="713615"/>
                    <a:pt x="300228" y="713615"/>
                  </a:cubicBezTo>
                  <a:cubicBezTo>
                    <a:pt x="292069" y="716335"/>
                    <a:pt x="283910" y="716335"/>
                    <a:pt x="278471" y="716335"/>
                  </a:cubicBezTo>
                  <a:cubicBezTo>
                    <a:pt x="275751" y="716335"/>
                    <a:pt x="256713" y="716335"/>
                    <a:pt x="237676" y="716335"/>
                  </a:cubicBezTo>
                  <a:cubicBezTo>
                    <a:pt x="213199" y="716335"/>
                    <a:pt x="186003" y="719054"/>
                    <a:pt x="180563" y="719054"/>
                  </a:cubicBezTo>
                  <a:cubicBezTo>
                    <a:pt x="166965" y="719054"/>
                    <a:pt x="142488" y="719054"/>
                    <a:pt x="126170" y="719054"/>
                  </a:cubicBezTo>
                  <a:cubicBezTo>
                    <a:pt x="118011" y="719054"/>
                    <a:pt x="109852" y="719054"/>
                    <a:pt x="101693" y="719054"/>
                  </a:cubicBezTo>
                  <a:cubicBezTo>
                    <a:pt x="93534" y="719054"/>
                    <a:pt x="82655" y="719054"/>
                    <a:pt x="74496" y="713615"/>
                  </a:cubicBezTo>
                  <a:cubicBezTo>
                    <a:pt x="66337" y="710895"/>
                    <a:pt x="58178" y="702736"/>
                    <a:pt x="58178" y="697297"/>
                  </a:cubicBezTo>
                  <a:cubicBezTo>
                    <a:pt x="58178" y="694578"/>
                    <a:pt x="58178" y="691858"/>
                    <a:pt x="63618" y="689138"/>
                  </a:cubicBezTo>
                  <a:cubicBezTo>
                    <a:pt x="69057" y="686418"/>
                    <a:pt x="79936" y="683699"/>
                    <a:pt x="85375" y="680979"/>
                  </a:cubicBezTo>
                  <a:cubicBezTo>
                    <a:pt x="104413" y="678260"/>
                    <a:pt x="123450" y="675540"/>
                    <a:pt x="131609" y="675540"/>
                  </a:cubicBezTo>
                  <a:cubicBezTo>
                    <a:pt x="134329" y="675540"/>
                    <a:pt x="137049" y="675540"/>
                    <a:pt x="142488" y="675540"/>
                  </a:cubicBezTo>
                  <a:cubicBezTo>
                    <a:pt x="134329" y="670101"/>
                    <a:pt x="131609" y="661942"/>
                    <a:pt x="131609" y="653783"/>
                  </a:cubicBezTo>
                  <a:cubicBezTo>
                    <a:pt x="131609" y="648343"/>
                    <a:pt x="131609" y="642904"/>
                    <a:pt x="128890" y="640184"/>
                  </a:cubicBezTo>
                  <a:cubicBezTo>
                    <a:pt x="128890" y="637465"/>
                    <a:pt x="128890" y="634745"/>
                    <a:pt x="128890" y="629306"/>
                  </a:cubicBezTo>
                  <a:cubicBezTo>
                    <a:pt x="128890" y="626586"/>
                    <a:pt x="128890" y="623867"/>
                    <a:pt x="128890" y="621147"/>
                  </a:cubicBezTo>
                  <a:cubicBezTo>
                    <a:pt x="128890" y="612988"/>
                    <a:pt x="128890" y="604829"/>
                    <a:pt x="128890" y="593950"/>
                  </a:cubicBezTo>
                  <a:cubicBezTo>
                    <a:pt x="128890" y="591231"/>
                    <a:pt x="128890" y="585791"/>
                    <a:pt x="128890" y="583072"/>
                  </a:cubicBezTo>
                  <a:cubicBezTo>
                    <a:pt x="128890" y="534118"/>
                    <a:pt x="131609" y="485164"/>
                    <a:pt x="128890" y="436210"/>
                  </a:cubicBezTo>
                  <a:cubicBezTo>
                    <a:pt x="128890" y="409014"/>
                    <a:pt x="128890" y="384537"/>
                    <a:pt x="128890" y="357340"/>
                  </a:cubicBezTo>
                  <a:cubicBezTo>
                    <a:pt x="128890" y="335583"/>
                    <a:pt x="131609" y="313826"/>
                    <a:pt x="131609" y="289349"/>
                  </a:cubicBezTo>
                  <a:cubicBezTo>
                    <a:pt x="131609" y="275751"/>
                    <a:pt x="131609" y="264872"/>
                    <a:pt x="131609" y="251274"/>
                  </a:cubicBezTo>
                  <a:cubicBezTo>
                    <a:pt x="131609" y="234956"/>
                    <a:pt x="131609" y="221357"/>
                    <a:pt x="131609" y="205040"/>
                  </a:cubicBezTo>
                  <a:cubicBezTo>
                    <a:pt x="131609" y="183282"/>
                    <a:pt x="131609" y="161525"/>
                    <a:pt x="131609" y="139768"/>
                  </a:cubicBezTo>
                  <a:cubicBezTo>
                    <a:pt x="131609" y="137048"/>
                    <a:pt x="131609" y="134329"/>
                    <a:pt x="131609" y="128889"/>
                  </a:cubicBezTo>
                  <a:cubicBezTo>
                    <a:pt x="128890" y="128889"/>
                    <a:pt x="126170" y="128889"/>
                    <a:pt x="126170" y="128889"/>
                  </a:cubicBezTo>
                  <a:cubicBezTo>
                    <a:pt x="118011" y="128889"/>
                    <a:pt x="109852" y="128889"/>
                    <a:pt x="101693" y="128889"/>
                  </a:cubicBezTo>
                  <a:cubicBezTo>
                    <a:pt x="93534" y="128889"/>
                    <a:pt x="82655" y="128889"/>
                    <a:pt x="74496" y="123450"/>
                  </a:cubicBezTo>
                  <a:cubicBezTo>
                    <a:pt x="66337" y="120730"/>
                    <a:pt x="58178" y="112571"/>
                    <a:pt x="58178" y="107132"/>
                  </a:cubicBezTo>
                  <a:cubicBezTo>
                    <a:pt x="58178" y="104412"/>
                    <a:pt x="58178" y="101693"/>
                    <a:pt x="60898" y="98973"/>
                  </a:cubicBezTo>
                  <a:cubicBezTo>
                    <a:pt x="63618" y="96253"/>
                    <a:pt x="77216" y="93534"/>
                    <a:pt x="82655" y="93534"/>
                  </a:cubicBezTo>
                  <a:cubicBezTo>
                    <a:pt x="98973" y="90814"/>
                    <a:pt x="123450" y="88094"/>
                    <a:pt x="131609" y="88094"/>
                  </a:cubicBezTo>
                  <a:cubicBezTo>
                    <a:pt x="131609" y="85375"/>
                    <a:pt x="131609" y="85375"/>
                    <a:pt x="131609" y="82655"/>
                  </a:cubicBezTo>
                  <a:cubicBezTo>
                    <a:pt x="131609" y="77216"/>
                    <a:pt x="131609" y="74496"/>
                    <a:pt x="134329" y="71776"/>
                  </a:cubicBezTo>
                  <a:cubicBezTo>
                    <a:pt x="137049" y="69057"/>
                    <a:pt x="145208" y="66337"/>
                    <a:pt x="147927" y="63617"/>
                  </a:cubicBezTo>
                  <a:cubicBezTo>
                    <a:pt x="153366" y="60898"/>
                    <a:pt x="158806" y="58178"/>
                    <a:pt x="164245" y="58178"/>
                  </a:cubicBezTo>
                  <a:cubicBezTo>
                    <a:pt x="169684" y="58178"/>
                    <a:pt x="175124" y="58178"/>
                    <a:pt x="177843" y="58178"/>
                  </a:cubicBezTo>
                  <a:cubicBezTo>
                    <a:pt x="183283" y="58178"/>
                    <a:pt x="191442" y="58178"/>
                    <a:pt x="196881" y="60898"/>
                  </a:cubicBezTo>
                  <a:cubicBezTo>
                    <a:pt x="213199" y="63617"/>
                    <a:pt x="224078" y="74496"/>
                    <a:pt x="232237" y="88094"/>
                  </a:cubicBezTo>
                  <a:cubicBezTo>
                    <a:pt x="253994" y="88094"/>
                    <a:pt x="270312" y="88094"/>
                    <a:pt x="278471" y="88094"/>
                  </a:cubicBezTo>
                  <a:cubicBezTo>
                    <a:pt x="292069" y="88094"/>
                    <a:pt x="316546" y="88094"/>
                    <a:pt x="316546" y="104412"/>
                  </a:cubicBezTo>
                  <a:cubicBezTo>
                    <a:pt x="316546" y="112571"/>
                    <a:pt x="313826" y="112571"/>
                    <a:pt x="311107" y="120730"/>
                  </a:cubicBezTo>
                  <a:cubicBezTo>
                    <a:pt x="305667" y="126170"/>
                    <a:pt x="300228" y="128889"/>
                    <a:pt x="294789" y="128889"/>
                  </a:cubicBezTo>
                  <a:cubicBezTo>
                    <a:pt x="286630" y="131609"/>
                    <a:pt x="278471" y="131609"/>
                    <a:pt x="273032" y="131609"/>
                  </a:cubicBezTo>
                  <a:cubicBezTo>
                    <a:pt x="270312" y="131609"/>
                    <a:pt x="259433" y="131609"/>
                    <a:pt x="243115" y="131609"/>
                  </a:cubicBezTo>
                  <a:lnTo>
                    <a:pt x="243115" y="134329"/>
                  </a:lnTo>
                  <a:cubicBezTo>
                    <a:pt x="245835" y="145207"/>
                    <a:pt x="245835" y="158805"/>
                    <a:pt x="248554" y="169684"/>
                  </a:cubicBezTo>
                  <a:cubicBezTo>
                    <a:pt x="251274" y="180563"/>
                    <a:pt x="251274" y="194161"/>
                    <a:pt x="251274" y="205040"/>
                  </a:cubicBezTo>
                  <a:cubicBezTo>
                    <a:pt x="251274" y="215918"/>
                    <a:pt x="251274" y="226797"/>
                    <a:pt x="251274" y="240395"/>
                  </a:cubicBezTo>
                  <a:cubicBezTo>
                    <a:pt x="251274" y="245834"/>
                    <a:pt x="251274" y="251274"/>
                    <a:pt x="251274" y="256713"/>
                  </a:cubicBezTo>
                  <a:cubicBezTo>
                    <a:pt x="251274" y="262152"/>
                    <a:pt x="251274" y="267592"/>
                    <a:pt x="253994" y="270311"/>
                  </a:cubicBezTo>
                  <a:cubicBezTo>
                    <a:pt x="256713" y="294788"/>
                    <a:pt x="256713" y="319265"/>
                    <a:pt x="259433" y="343742"/>
                  </a:cubicBezTo>
                  <a:cubicBezTo>
                    <a:pt x="259433" y="370939"/>
                    <a:pt x="262153" y="398135"/>
                    <a:pt x="262153" y="425332"/>
                  </a:cubicBezTo>
                  <a:cubicBezTo>
                    <a:pt x="262153" y="447089"/>
                    <a:pt x="262153" y="468846"/>
                    <a:pt x="264872" y="490603"/>
                  </a:cubicBezTo>
                  <a:cubicBezTo>
                    <a:pt x="264872" y="515080"/>
                    <a:pt x="270312" y="539557"/>
                    <a:pt x="270312" y="564034"/>
                  </a:cubicBezTo>
                  <a:cubicBezTo>
                    <a:pt x="270312" y="574913"/>
                    <a:pt x="270312" y="588511"/>
                    <a:pt x="270312" y="599390"/>
                  </a:cubicBezTo>
                  <a:cubicBezTo>
                    <a:pt x="270312" y="612988"/>
                    <a:pt x="270312" y="623867"/>
                    <a:pt x="270312" y="637465"/>
                  </a:cubicBezTo>
                  <a:cubicBezTo>
                    <a:pt x="270312" y="648343"/>
                    <a:pt x="270312" y="661942"/>
                    <a:pt x="264872" y="670101"/>
                  </a:cubicBezTo>
                  <a:cubicBezTo>
                    <a:pt x="273032" y="672820"/>
                    <a:pt x="278471" y="672820"/>
                    <a:pt x="283910" y="672820"/>
                  </a:cubicBezTo>
                  <a:lnTo>
                    <a:pt x="283910" y="672820"/>
                  </a:ln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/>
            </a:p>
          </p:txBody>
        </p:sp>
        <p:sp>
          <p:nvSpPr>
            <p:cNvPr id="55" name="Freeform: Shape 54">
              <a:extLst>
                <a:ext uri="{FF2B5EF4-FFF2-40B4-BE49-F238E27FC236}">
                  <a16:creationId xmlns:a16="http://schemas.microsoft.com/office/drawing/2014/main" id="{8F114B3A-7B5E-4A7A-BD2A-B116B303AE1B}"/>
                </a:ext>
              </a:extLst>
            </p:cNvPr>
            <p:cNvSpPr/>
            <p:nvPr/>
          </p:nvSpPr>
          <p:spPr>
            <a:xfrm>
              <a:off x="8652924" y="4192158"/>
              <a:ext cx="516735" cy="788700"/>
            </a:xfrm>
            <a:custGeom>
              <a:avLst/>
              <a:gdLst>
                <a:gd name="connsiteX0" fmla="*/ 464616 w 516735"/>
                <a:gd name="connsiteY0" fmla="*/ 436210 h 788699"/>
                <a:gd name="connsiteX1" fmla="*/ 445578 w 516735"/>
                <a:gd name="connsiteY1" fmla="*/ 455248 h 788699"/>
                <a:gd name="connsiteX2" fmla="*/ 404783 w 516735"/>
                <a:gd name="connsiteY2" fmla="*/ 466126 h 788699"/>
                <a:gd name="connsiteX3" fmla="*/ 385746 w 516735"/>
                <a:gd name="connsiteY3" fmla="*/ 479725 h 788699"/>
                <a:gd name="connsiteX4" fmla="*/ 388466 w 516735"/>
                <a:gd name="connsiteY4" fmla="*/ 512361 h 788699"/>
                <a:gd name="connsiteX5" fmla="*/ 388466 w 516735"/>
                <a:gd name="connsiteY5" fmla="*/ 544997 h 788699"/>
                <a:gd name="connsiteX6" fmla="*/ 388466 w 516735"/>
                <a:gd name="connsiteY6" fmla="*/ 566754 h 788699"/>
                <a:gd name="connsiteX7" fmla="*/ 391185 w 516735"/>
                <a:gd name="connsiteY7" fmla="*/ 632026 h 788699"/>
                <a:gd name="connsiteX8" fmla="*/ 393905 w 516735"/>
                <a:gd name="connsiteY8" fmla="*/ 683699 h 788699"/>
                <a:gd name="connsiteX9" fmla="*/ 377587 w 516735"/>
                <a:gd name="connsiteY9" fmla="*/ 724494 h 788699"/>
                <a:gd name="connsiteX10" fmla="*/ 361269 w 516735"/>
                <a:gd name="connsiteY10" fmla="*/ 719054 h 788699"/>
                <a:gd name="connsiteX11" fmla="*/ 353110 w 516735"/>
                <a:gd name="connsiteY11" fmla="*/ 702737 h 788699"/>
                <a:gd name="connsiteX12" fmla="*/ 350390 w 516735"/>
                <a:gd name="connsiteY12" fmla="*/ 686419 h 788699"/>
                <a:gd name="connsiteX13" fmla="*/ 353110 w 516735"/>
                <a:gd name="connsiteY13" fmla="*/ 659222 h 788699"/>
                <a:gd name="connsiteX14" fmla="*/ 353110 w 516735"/>
                <a:gd name="connsiteY14" fmla="*/ 656502 h 788699"/>
                <a:gd name="connsiteX15" fmla="*/ 317754 w 516735"/>
                <a:gd name="connsiteY15" fmla="*/ 708176 h 788699"/>
                <a:gd name="connsiteX16" fmla="*/ 241604 w 516735"/>
                <a:gd name="connsiteY16" fmla="*/ 735372 h 788699"/>
                <a:gd name="connsiteX17" fmla="*/ 187211 w 516735"/>
                <a:gd name="connsiteY17" fmla="*/ 727214 h 788699"/>
                <a:gd name="connsiteX18" fmla="*/ 135537 w 516735"/>
                <a:gd name="connsiteY18" fmla="*/ 694578 h 788699"/>
                <a:gd name="connsiteX19" fmla="*/ 86583 w 516735"/>
                <a:gd name="connsiteY19" fmla="*/ 621147 h 788699"/>
                <a:gd name="connsiteX20" fmla="*/ 67546 w 516735"/>
                <a:gd name="connsiteY20" fmla="*/ 555875 h 788699"/>
                <a:gd name="connsiteX21" fmla="*/ 59387 w 516735"/>
                <a:gd name="connsiteY21" fmla="*/ 509641 h 788699"/>
                <a:gd name="connsiteX22" fmla="*/ 59387 w 516735"/>
                <a:gd name="connsiteY22" fmla="*/ 468846 h 788699"/>
                <a:gd name="connsiteX23" fmla="*/ 86583 w 516735"/>
                <a:gd name="connsiteY23" fmla="*/ 302947 h 788699"/>
                <a:gd name="connsiteX24" fmla="*/ 108341 w 516735"/>
                <a:gd name="connsiteY24" fmla="*/ 224077 h 788699"/>
                <a:gd name="connsiteX25" fmla="*/ 146416 w 516735"/>
                <a:gd name="connsiteY25" fmla="*/ 145207 h 788699"/>
                <a:gd name="connsiteX26" fmla="*/ 198090 w 516735"/>
                <a:gd name="connsiteY26" fmla="*/ 85375 h 788699"/>
                <a:gd name="connsiteX27" fmla="*/ 228006 w 516735"/>
                <a:gd name="connsiteY27" fmla="*/ 69057 h 788699"/>
                <a:gd name="connsiteX28" fmla="*/ 268801 w 516735"/>
                <a:gd name="connsiteY28" fmla="*/ 58178 h 788699"/>
                <a:gd name="connsiteX29" fmla="*/ 274240 w 516735"/>
                <a:gd name="connsiteY29" fmla="*/ 58178 h 788699"/>
                <a:gd name="connsiteX30" fmla="*/ 295997 w 516735"/>
                <a:gd name="connsiteY30" fmla="*/ 60898 h 788699"/>
                <a:gd name="connsiteX31" fmla="*/ 331353 w 516735"/>
                <a:gd name="connsiteY31" fmla="*/ 71776 h 788699"/>
                <a:gd name="connsiteX32" fmla="*/ 350390 w 516735"/>
                <a:gd name="connsiteY32" fmla="*/ 93534 h 788699"/>
                <a:gd name="connsiteX33" fmla="*/ 353110 w 516735"/>
                <a:gd name="connsiteY33" fmla="*/ 74496 h 788699"/>
                <a:gd name="connsiteX34" fmla="*/ 358549 w 516735"/>
                <a:gd name="connsiteY34" fmla="*/ 63618 h 788699"/>
                <a:gd name="connsiteX35" fmla="*/ 366708 w 516735"/>
                <a:gd name="connsiteY35" fmla="*/ 58178 h 788699"/>
                <a:gd name="connsiteX36" fmla="*/ 374867 w 516735"/>
                <a:gd name="connsiteY36" fmla="*/ 63618 h 788699"/>
                <a:gd name="connsiteX37" fmla="*/ 383027 w 516735"/>
                <a:gd name="connsiteY37" fmla="*/ 82655 h 788699"/>
                <a:gd name="connsiteX38" fmla="*/ 385746 w 516735"/>
                <a:gd name="connsiteY38" fmla="*/ 126170 h 788699"/>
                <a:gd name="connsiteX39" fmla="*/ 388466 w 516735"/>
                <a:gd name="connsiteY39" fmla="*/ 186002 h 788699"/>
                <a:gd name="connsiteX40" fmla="*/ 391185 w 516735"/>
                <a:gd name="connsiteY40" fmla="*/ 237676 h 788699"/>
                <a:gd name="connsiteX41" fmla="*/ 374867 w 516735"/>
                <a:gd name="connsiteY41" fmla="*/ 278470 h 788699"/>
                <a:gd name="connsiteX42" fmla="*/ 358549 w 516735"/>
                <a:gd name="connsiteY42" fmla="*/ 273031 h 788699"/>
                <a:gd name="connsiteX43" fmla="*/ 350390 w 516735"/>
                <a:gd name="connsiteY43" fmla="*/ 256713 h 788699"/>
                <a:gd name="connsiteX44" fmla="*/ 347671 w 516735"/>
                <a:gd name="connsiteY44" fmla="*/ 240395 h 788699"/>
                <a:gd name="connsiteX45" fmla="*/ 347671 w 516735"/>
                <a:gd name="connsiteY45" fmla="*/ 213199 h 788699"/>
                <a:gd name="connsiteX46" fmla="*/ 344951 w 516735"/>
                <a:gd name="connsiteY46" fmla="*/ 194161 h 788699"/>
                <a:gd name="connsiteX47" fmla="*/ 339512 w 516735"/>
                <a:gd name="connsiteY47" fmla="*/ 150647 h 788699"/>
                <a:gd name="connsiteX48" fmla="*/ 323194 w 516735"/>
                <a:gd name="connsiteY48" fmla="*/ 112571 h 788699"/>
                <a:gd name="connsiteX49" fmla="*/ 293278 w 516735"/>
                <a:gd name="connsiteY49" fmla="*/ 101693 h 788699"/>
                <a:gd name="connsiteX50" fmla="*/ 263361 w 516735"/>
                <a:gd name="connsiteY50" fmla="*/ 120730 h 788699"/>
                <a:gd name="connsiteX51" fmla="*/ 241604 w 516735"/>
                <a:gd name="connsiteY51" fmla="*/ 153366 h 788699"/>
                <a:gd name="connsiteX52" fmla="*/ 233445 w 516735"/>
                <a:gd name="connsiteY52" fmla="*/ 194161 h 788699"/>
                <a:gd name="connsiteX53" fmla="*/ 225286 w 516735"/>
                <a:gd name="connsiteY53" fmla="*/ 232236 h 788699"/>
                <a:gd name="connsiteX54" fmla="*/ 217127 w 516735"/>
                <a:gd name="connsiteY54" fmla="*/ 275751 h 788699"/>
                <a:gd name="connsiteX55" fmla="*/ 211688 w 516735"/>
                <a:gd name="connsiteY55" fmla="*/ 316545 h 788699"/>
                <a:gd name="connsiteX56" fmla="*/ 206249 w 516735"/>
                <a:gd name="connsiteY56" fmla="*/ 354621 h 788699"/>
                <a:gd name="connsiteX57" fmla="*/ 200809 w 516735"/>
                <a:gd name="connsiteY57" fmla="*/ 398135 h 788699"/>
                <a:gd name="connsiteX58" fmla="*/ 195370 w 516735"/>
                <a:gd name="connsiteY58" fmla="*/ 438930 h 788699"/>
                <a:gd name="connsiteX59" fmla="*/ 192650 w 516735"/>
                <a:gd name="connsiteY59" fmla="*/ 474286 h 788699"/>
                <a:gd name="connsiteX60" fmla="*/ 195370 w 516735"/>
                <a:gd name="connsiteY60" fmla="*/ 525959 h 788699"/>
                <a:gd name="connsiteX61" fmla="*/ 208968 w 516735"/>
                <a:gd name="connsiteY61" fmla="*/ 596670 h 788699"/>
                <a:gd name="connsiteX62" fmla="*/ 214407 w 516735"/>
                <a:gd name="connsiteY62" fmla="*/ 623867 h 788699"/>
                <a:gd name="connsiteX63" fmla="*/ 228006 w 516735"/>
                <a:gd name="connsiteY63" fmla="*/ 656502 h 788699"/>
                <a:gd name="connsiteX64" fmla="*/ 271520 w 516735"/>
                <a:gd name="connsiteY64" fmla="*/ 689138 h 788699"/>
                <a:gd name="connsiteX65" fmla="*/ 306876 w 516735"/>
                <a:gd name="connsiteY65" fmla="*/ 664661 h 788699"/>
                <a:gd name="connsiteX66" fmla="*/ 331353 w 516735"/>
                <a:gd name="connsiteY66" fmla="*/ 602109 h 788699"/>
                <a:gd name="connsiteX67" fmla="*/ 336792 w 516735"/>
                <a:gd name="connsiteY67" fmla="*/ 544997 h 788699"/>
                <a:gd name="connsiteX68" fmla="*/ 336792 w 516735"/>
                <a:gd name="connsiteY68" fmla="*/ 498762 h 788699"/>
                <a:gd name="connsiteX69" fmla="*/ 336792 w 516735"/>
                <a:gd name="connsiteY69" fmla="*/ 490603 h 788699"/>
                <a:gd name="connsiteX70" fmla="*/ 320474 w 516735"/>
                <a:gd name="connsiteY70" fmla="*/ 477005 h 788699"/>
                <a:gd name="connsiteX71" fmla="*/ 282399 w 516735"/>
                <a:gd name="connsiteY71" fmla="*/ 479725 h 788699"/>
                <a:gd name="connsiteX72" fmla="*/ 252483 w 516735"/>
                <a:gd name="connsiteY72" fmla="*/ 474286 h 788699"/>
                <a:gd name="connsiteX73" fmla="*/ 247044 w 516735"/>
                <a:gd name="connsiteY73" fmla="*/ 466126 h 788699"/>
                <a:gd name="connsiteX74" fmla="*/ 249763 w 516735"/>
                <a:gd name="connsiteY74" fmla="*/ 457968 h 788699"/>
                <a:gd name="connsiteX75" fmla="*/ 268801 w 516735"/>
                <a:gd name="connsiteY75" fmla="*/ 447089 h 788699"/>
                <a:gd name="connsiteX76" fmla="*/ 312315 w 516735"/>
                <a:gd name="connsiteY76" fmla="*/ 436210 h 788699"/>
                <a:gd name="connsiteX77" fmla="*/ 353110 w 516735"/>
                <a:gd name="connsiteY77" fmla="*/ 430771 h 788699"/>
                <a:gd name="connsiteX78" fmla="*/ 385746 w 516735"/>
                <a:gd name="connsiteY78" fmla="*/ 430771 h 788699"/>
                <a:gd name="connsiteX79" fmla="*/ 437420 w 516735"/>
                <a:gd name="connsiteY79" fmla="*/ 428051 h 788699"/>
                <a:gd name="connsiteX80" fmla="*/ 464616 w 516735"/>
                <a:gd name="connsiteY80" fmla="*/ 436210 h 7886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</a:cxnLst>
              <a:rect l="l" t="t" r="r" b="b"/>
              <a:pathLst>
                <a:path w="516735" h="788699">
                  <a:moveTo>
                    <a:pt x="464616" y="436210"/>
                  </a:moveTo>
                  <a:cubicBezTo>
                    <a:pt x="464616" y="447089"/>
                    <a:pt x="453738" y="452528"/>
                    <a:pt x="445578" y="455248"/>
                  </a:cubicBezTo>
                  <a:cubicBezTo>
                    <a:pt x="434700" y="460687"/>
                    <a:pt x="415662" y="463407"/>
                    <a:pt x="404783" y="466126"/>
                  </a:cubicBezTo>
                  <a:cubicBezTo>
                    <a:pt x="393905" y="466126"/>
                    <a:pt x="385746" y="468846"/>
                    <a:pt x="385746" y="479725"/>
                  </a:cubicBezTo>
                  <a:cubicBezTo>
                    <a:pt x="385746" y="487884"/>
                    <a:pt x="388466" y="506921"/>
                    <a:pt x="388466" y="512361"/>
                  </a:cubicBezTo>
                  <a:cubicBezTo>
                    <a:pt x="388466" y="515080"/>
                    <a:pt x="388466" y="539557"/>
                    <a:pt x="388466" y="544997"/>
                  </a:cubicBezTo>
                  <a:cubicBezTo>
                    <a:pt x="388466" y="550436"/>
                    <a:pt x="388466" y="558595"/>
                    <a:pt x="388466" y="566754"/>
                  </a:cubicBezTo>
                  <a:cubicBezTo>
                    <a:pt x="388466" y="591231"/>
                    <a:pt x="388466" y="621147"/>
                    <a:pt x="391185" y="632026"/>
                  </a:cubicBezTo>
                  <a:cubicBezTo>
                    <a:pt x="393905" y="653783"/>
                    <a:pt x="393905" y="661942"/>
                    <a:pt x="393905" y="683699"/>
                  </a:cubicBezTo>
                  <a:cubicBezTo>
                    <a:pt x="393905" y="694578"/>
                    <a:pt x="393905" y="724494"/>
                    <a:pt x="377587" y="724494"/>
                  </a:cubicBezTo>
                  <a:cubicBezTo>
                    <a:pt x="369428" y="724494"/>
                    <a:pt x="366708" y="721774"/>
                    <a:pt x="361269" y="719054"/>
                  </a:cubicBezTo>
                  <a:cubicBezTo>
                    <a:pt x="355830" y="716335"/>
                    <a:pt x="353110" y="708176"/>
                    <a:pt x="353110" y="702737"/>
                  </a:cubicBezTo>
                  <a:cubicBezTo>
                    <a:pt x="350390" y="694578"/>
                    <a:pt x="350390" y="689138"/>
                    <a:pt x="350390" y="686419"/>
                  </a:cubicBezTo>
                  <a:cubicBezTo>
                    <a:pt x="350390" y="678260"/>
                    <a:pt x="353110" y="672820"/>
                    <a:pt x="353110" y="659222"/>
                  </a:cubicBezTo>
                  <a:lnTo>
                    <a:pt x="353110" y="656502"/>
                  </a:lnTo>
                  <a:cubicBezTo>
                    <a:pt x="347671" y="675540"/>
                    <a:pt x="334073" y="694578"/>
                    <a:pt x="317754" y="708176"/>
                  </a:cubicBezTo>
                  <a:cubicBezTo>
                    <a:pt x="293278" y="727214"/>
                    <a:pt x="274240" y="735372"/>
                    <a:pt x="241604" y="735372"/>
                  </a:cubicBezTo>
                  <a:cubicBezTo>
                    <a:pt x="222566" y="735372"/>
                    <a:pt x="203529" y="732653"/>
                    <a:pt x="187211" y="727214"/>
                  </a:cubicBezTo>
                  <a:cubicBezTo>
                    <a:pt x="165454" y="719054"/>
                    <a:pt x="149136" y="708176"/>
                    <a:pt x="135537" y="694578"/>
                  </a:cubicBezTo>
                  <a:cubicBezTo>
                    <a:pt x="113780" y="672820"/>
                    <a:pt x="100182" y="648343"/>
                    <a:pt x="86583" y="621147"/>
                  </a:cubicBezTo>
                  <a:cubicBezTo>
                    <a:pt x="75705" y="599390"/>
                    <a:pt x="70266" y="580352"/>
                    <a:pt x="67546" y="555875"/>
                  </a:cubicBezTo>
                  <a:cubicBezTo>
                    <a:pt x="64826" y="539557"/>
                    <a:pt x="62107" y="525959"/>
                    <a:pt x="59387" y="509641"/>
                  </a:cubicBezTo>
                  <a:cubicBezTo>
                    <a:pt x="56667" y="493323"/>
                    <a:pt x="59387" y="485164"/>
                    <a:pt x="59387" y="468846"/>
                  </a:cubicBezTo>
                  <a:cubicBezTo>
                    <a:pt x="59387" y="414453"/>
                    <a:pt x="72985" y="362780"/>
                    <a:pt x="86583" y="302947"/>
                  </a:cubicBezTo>
                  <a:cubicBezTo>
                    <a:pt x="92023" y="275751"/>
                    <a:pt x="100182" y="248554"/>
                    <a:pt x="108341" y="224077"/>
                  </a:cubicBezTo>
                  <a:cubicBezTo>
                    <a:pt x="116500" y="196881"/>
                    <a:pt x="130098" y="169684"/>
                    <a:pt x="146416" y="145207"/>
                  </a:cubicBezTo>
                  <a:cubicBezTo>
                    <a:pt x="160014" y="123450"/>
                    <a:pt x="176332" y="101693"/>
                    <a:pt x="198090" y="85375"/>
                  </a:cubicBezTo>
                  <a:cubicBezTo>
                    <a:pt x="206249" y="77216"/>
                    <a:pt x="217127" y="71776"/>
                    <a:pt x="228006" y="69057"/>
                  </a:cubicBezTo>
                  <a:cubicBezTo>
                    <a:pt x="241604" y="63618"/>
                    <a:pt x="255202" y="58178"/>
                    <a:pt x="268801" y="58178"/>
                  </a:cubicBezTo>
                  <a:cubicBezTo>
                    <a:pt x="271520" y="58178"/>
                    <a:pt x="274240" y="58178"/>
                    <a:pt x="274240" y="58178"/>
                  </a:cubicBezTo>
                  <a:cubicBezTo>
                    <a:pt x="279679" y="58178"/>
                    <a:pt x="285119" y="58178"/>
                    <a:pt x="295997" y="60898"/>
                  </a:cubicBezTo>
                  <a:cubicBezTo>
                    <a:pt x="309595" y="63618"/>
                    <a:pt x="320474" y="66337"/>
                    <a:pt x="331353" y="71776"/>
                  </a:cubicBezTo>
                  <a:cubicBezTo>
                    <a:pt x="339512" y="77216"/>
                    <a:pt x="347671" y="85375"/>
                    <a:pt x="350390" y="93534"/>
                  </a:cubicBezTo>
                  <a:cubicBezTo>
                    <a:pt x="350390" y="88095"/>
                    <a:pt x="353110" y="79936"/>
                    <a:pt x="353110" y="74496"/>
                  </a:cubicBezTo>
                  <a:cubicBezTo>
                    <a:pt x="355830" y="71776"/>
                    <a:pt x="355830" y="69057"/>
                    <a:pt x="358549" y="63618"/>
                  </a:cubicBezTo>
                  <a:cubicBezTo>
                    <a:pt x="361269" y="60898"/>
                    <a:pt x="363989" y="58178"/>
                    <a:pt x="366708" y="58178"/>
                  </a:cubicBezTo>
                  <a:cubicBezTo>
                    <a:pt x="369428" y="58178"/>
                    <a:pt x="372148" y="60898"/>
                    <a:pt x="374867" y="63618"/>
                  </a:cubicBezTo>
                  <a:cubicBezTo>
                    <a:pt x="377587" y="69057"/>
                    <a:pt x="380307" y="77216"/>
                    <a:pt x="383027" y="82655"/>
                  </a:cubicBezTo>
                  <a:cubicBezTo>
                    <a:pt x="383027" y="90814"/>
                    <a:pt x="385746" y="107132"/>
                    <a:pt x="385746" y="126170"/>
                  </a:cubicBezTo>
                  <a:cubicBezTo>
                    <a:pt x="385746" y="150647"/>
                    <a:pt x="385746" y="177843"/>
                    <a:pt x="388466" y="186002"/>
                  </a:cubicBezTo>
                  <a:cubicBezTo>
                    <a:pt x="391185" y="207759"/>
                    <a:pt x="391185" y="215918"/>
                    <a:pt x="391185" y="237676"/>
                  </a:cubicBezTo>
                  <a:cubicBezTo>
                    <a:pt x="391185" y="248554"/>
                    <a:pt x="391185" y="278470"/>
                    <a:pt x="374867" y="278470"/>
                  </a:cubicBezTo>
                  <a:cubicBezTo>
                    <a:pt x="366708" y="278470"/>
                    <a:pt x="363989" y="275751"/>
                    <a:pt x="358549" y="273031"/>
                  </a:cubicBezTo>
                  <a:cubicBezTo>
                    <a:pt x="353110" y="270311"/>
                    <a:pt x="350390" y="262152"/>
                    <a:pt x="350390" y="256713"/>
                  </a:cubicBezTo>
                  <a:cubicBezTo>
                    <a:pt x="350390" y="251274"/>
                    <a:pt x="347671" y="245834"/>
                    <a:pt x="347671" y="240395"/>
                  </a:cubicBezTo>
                  <a:cubicBezTo>
                    <a:pt x="347671" y="232236"/>
                    <a:pt x="347671" y="224077"/>
                    <a:pt x="347671" y="213199"/>
                  </a:cubicBezTo>
                  <a:cubicBezTo>
                    <a:pt x="347671" y="207759"/>
                    <a:pt x="347671" y="199600"/>
                    <a:pt x="344951" y="194161"/>
                  </a:cubicBezTo>
                  <a:cubicBezTo>
                    <a:pt x="342232" y="180563"/>
                    <a:pt x="342232" y="164245"/>
                    <a:pt x="339512" y="150647"/>
                  </a:cubicBezTo>
                  <a:cubicBezTo>
                    <a:pt x="336792" y="137048"/>
                    <a:pt x="331353" y="123450"/>
                    <a:pt x="323194" y="112571"/>
                  </a:cubicBezTo>
                  <a:cubicBezTo>
                    <a:pt x="317754" y="104412"/>
                    <a:pt x="304156" y="101693"/>
                    <a:pt x="293278" y="101693"/>
                  </a:cubicBezTo>
                  <a:cubicBezTo>
                    <a:pt x="279679" y="101693"/>
                    <a:pt x="271520" y="109852"/>
                    <a:pt x="263361" y="120730"/>
                  </a:cubicBezTo>
                  <a:cubicBezTo>
                    <a:pt x="257922" y="131609"/>
                    <a:pt x="247044" y="139768"/>
                    <a:pt x="241604" y="153366"/>
                  </a:cubicBezTo>
                  <a:cubicBezTo>
                    <a:pt x="236165" y="166964"/>
                    <a:pt x="233445" y="180563"/>
                    <a:pt x="233445" y="194161"/>
                  </a:cubicBezTo>
                  <a:cubicBezTo>
                    <a:pt x="233445" y="207759"/>
                    <a:pt x="230725" y="218638"/>
                    <a:pt x="225286" y="232236"/>
                  </a:cubicBezTo>
                  <a:cubicBezTo>
                    <a:pt x="219847" y="245834"/>
                    <a:pt x="219847" y="262152"/>
                    <a:pt x="217127" y="275751"/>
                  </a:cubicBezTo>
                  <a:cubicBezTo>
                    <a:pt x="214407" y="289349"/>
                    <a:pt x="214407" y="302947"/>
                    <a:pt x="211688" y="316545"/>
                  </a:cubicBezTo>
                  <a:cubicBezTo>
                    <a:pt x="211688" y="330144"/>
                    <a:pt x="206249" y="341022"/>
                    <a:pt x="206249" y="354621"/>
                  </a:cubicBezTo>
                  <a:cubicBezTo>
                    <a:pt x="203529" y="368219"/>
                    <a:pt x="203529" y="381817"/>
                    <a:pt x="200809" y="398135"/>
                  </a:cubicBezTo>
                  <a:cubicBezTo>
                    <a:pt x="198090" y="411733"/>
                    <a:pt x="198090" y="425332"/>
                    <a:pt x="195370" y="438930"/>
                  </a:cubicBezTo>
                  <a:cubicBezTo>
                    <a:pt x="195370" y="449809"/>
                    <a:pt x="192650" y="463407"/>
                    <a:pt x="192650" y="474286"/>
                  </a:cubicBezTo>
                  <a:cubicBezTo>
                    <a:pt x="192650" y="490603"/>
                    <a:pt x="195370" y="509641"/>
                    <a:pt x="195370" y="525959"/>
                  </a:cubicBezTo>
                  <a:cubicBezTo>
                    <a:pt x="195370" y="550436"/>
                    <a:pt x="203529" y="572193"/>
                    <a:pt x="208968" y="596670"/>
                  </a:cubicBezTo>
                  <a:cubicBezTo>
                    <a:pt x="211688" y="604829"/>
                    <a:pt x="211688" y="615708"/>
                    <a:pt x="214407" y="623867"/>
                  </a:cubicBezTo>
                  <a:cubicBezTo>
                    <a:pt x="217127" y="634745"/>
                    <a:pt x="222566" y="645624"/>
                    <a:pt x="228006" y="656502"/>
                  </a:cubicBezTo>
                  <a:cubicBezTo>
                    <a:pt x="236165" y="670101"/>
                    <a:pt x="252483" y="689138"/>
                    <a:pt x="271520" y="689138"/>
                  </a:cubicBezTo>
                  <a:cubicBezTo>
                    <a:pt x="287838" y="689138"/>
                    <a:pt x="298717" y="675540"/>
                    <a:pt x="306876" y="664661"/>
                  </a:cubicBezTo>
                  <a:cubicBezTo>
                    <a:pt x="320474" y="645624"/>
                    <a:pt x="325914" y="623867"/>
                    <a:pt x="331353" y="602109"/>
                  </a:cubicBezTo>
                  <a:cubicBezTo>
                    <a:pt x="334073" y="583072"/>
                    <a:pt x="336792" y="564034"/>
                    <a:pt x="336792" y="544997"/>
                  </a:cubicBezTo>
                  <a:cubicBezTo>
                    <a:pt x="336792" y="531398"/>
                    <a:pt x="336792" y="512361"/>
                    <a:pt x="336792" y="498762"/>
                  </a:cubicBezTo>
                  <a:cubicBezTo>
                    <a:pt x="336792" y="496043"/>
                    <a:pt x="336792" y="493323"/>
                    <a:pt x="336792" y="490603"/>
                  </a:cubicBezTo>
                  <a:cubicBezTo>
                    <a:pt x="336792" y="479725"/>
                    <a:pt x="336792" y="477005"/>
                    <a:pt x="320474" y="477005"/>
                  </a:cubicBezTo>
                  <a:cubicBezTo>
                    <a:pt x="309595" y="477005"/>
                    <a:pt x="295997" y="479725"/>
                    <a:pt x="282399" y="479725"/>
                  </a:cubicBezTo>
                  <a:cubicBezTo>
                    <a:pt x="271520" y="479725"/>
                    <a:pt x="260642" y="479725"/>
                    <a:pt x="252483" y="474286"/>
                  </a:cubicBezTo>
                  <a:cubicBezTo>
                    <a:pt x="249763" y="471566"/>
                    <a:pt x="247044" y="468846"/>
                    <a:pt x="247044" y="466126"/>
                  </a:cubicBezTo>
                  <a:cubicBezTo>
                    <a:pt x="247044" y="463407"/>
                    <a:pt x="247044" y="460687"/>
                    <a:pt x="249763" y="457968"/>
                  </a:cubicBezTo>
                  <a:cubicBezTo>
                    <a:pt x="255202" y="452528"/>
                    <a:pt x="260642" y="449809"/>
                    <a:pt x="268801" y="447089"/>
                  </a:cubicBezTo>
                  <a:cubicBezTo>
                    <a:pt x="282399" y="441650"/>
                    <a:pt x="295997" y="438930"/>
                    <a:pt x="312315" y="436210"/>
                  </a:cubicBezTo>
                  <a:cubicBezTo>
                    <a:pt x="325914" y="433491"/>
                    <a:pt x="339512" y="433491"/>
                    <a:pt x="353110" y="430771"/>
                  </a:cubicBezTo>
                  <a:cubicBezTo>
                    <a:pt x="363989" y="430771"/>
                    <a:pt x="374867" y="430771"/>
                    <a:pt x="385746" y="430771"/>
                  </a:cubicBezTo>
                  <a:cubicBezTo>
                    <a:pt x="402064" y="430771"/>
                    <a:pt x="426541" y="428051"/>
                    <a:pt x="437420" y="428051"/>
                  </a:cubicBezTo>
                  <a:cubicBezTo>
                    <a:pt x="451018" y="422612"/>
                    <a:pt x="464616" y="425332"/>
                    <a:pt x="464616" y="436210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/>
            </a:p>
          </p:txBody>
        </p:sp>
        <p:sp>
          <p:nvSpPr>
            <p:cNvPr id="56" name="Freeform: Shape 55">
              <a:extLst>
                <a:ext uri="{FF2B5EF4-FFF2-40B4-BE49-F238E27FC236}">
                  <a16:creationId xmlns:a16="http://schemas.microsoft.com/office/drawing/2014/main" id="{A536130B-73EE-4E3D-9780-9C55A1656313}"/>
                </a:ext>
              </a:extLst>
            </p:cNvPr>
            <p:cNvSpPr/>
            <p:nvPr/>
          </p:nvSpPr>
          <p:spPr>
            <a:xfrm>
              <a:off x="9053923" y="4178559"/>
              <a:ext cx="625521" cy="788700"/>
            </a:xfrm>
            <a:custGeom>
              <a:avLst/>
              <a:gdLst>
                <a:gd name="connsiteX0" fmla="*/ 536838 w 625521"/>
                <a:gd name="connsiteY0" fmla="*/ 680979 h 788699"/>
                <a:gd name="connsiteX1" fmla="*/ 574913 w 625521"/>
                <a:gd name="connsiteY1" fmla="*/ 697297 h 788699"/>
                <a:gd name="connsiteX2" fmla="*/ 566755 w 625521"/>
                <a:gd name="connsiteY2" fmla="*/ 713615 h 788699"/>
                <a:gd name="connsiteX3" fmla="*/ 550437 w 625521"/>
                <a:gd name="connsiteY3" fmla="*/ 721774 h 788699"/>
                <a:gd name="connsiteX4" fmla="*/ 528680 w 625521"/>
                <a:gd name="connsiteY4" fmla="*/ 724494 h 788699"/>
                <a:gd name="connsiteX5" fmla="*/ 417174 w 625521"/>
                <a:gd name="connsiteY5" fmla="*/ 724494 h 788699"/>
                <a:gd name="connsiteX6" fmla="*/ 398136 w 625521"/>
                <a:gd name="connsiteY6" fmla="*/ 724494 h 788699"/>
                <a:gd name="connsiteX7" fmla="*/ 373659 w 625521"/>
                <a:gd name="connsiteY7" fmla="*/ 724494 h 788699"/>
                <a:gd name="connsiteX8" fmla="*/ 346462 w 625521"/>
                <a:gd name="connsiteY8" fmla="*/ 719054 h 788699"/>
                <a:gd name="connsiteX9" fmla="*/ 330144 w 625521"/>
                <a:gd name="connsiteY9" fmla="*/ 702737 h 788699"/>
                <a:gd name="connsiteX10" fmla="*/ 335584 w 625521"/>
                <a:gd name="connsiteY10" fmla="*/ 694578 h 788699"/>
                <a:gd name="connsiteX11" fmla="*/ 357341 w 625521"/>
                <a:gd name="connsiteY11" fmla="*/ 686419 h 788699"/>
                <a:gd name="connsiteX12" fmla="*/ 395416 w 625521"/>
                <a:gd name="connsiteY12" fmla="*/ 680979 h 788699"/>
                <a:gd name="connsiteX13" fmla="*/ 381817 w 625521"/>
                <a:gd name="connsiteY13" fmla="*/ 656502 h 788699"/>
                <a:gd name="connsiteX14" fmla="*/ 379098 w 625521"/>
                <a:gd name="connsiteY14" fmla="*/ 585791 h 788699"/>
                <a:gd name="connsiteX15" fmla="*/ 379098 w 625521"/>
                <a:gd name="connsiteY15" fmla="*/ 517800 h 788699"/>
                <a:gd name="connsiteX16" fmla="*/ 379098 w 625521"/>
                <a:gd name="connsiteY16" fmla="*/ 474286 h 788699"/>
                <a:gd name="connsiteX17" fmla="*/ 379098 w 625521"/>
                <a:gd name="connsiteY17" fmla="*/ 430771 h 788699"/>
                <a:gd name="connsiteX18" fmla="*/ 381817 w 625521"/>
                <a:gd name="connsiteY18" fmla="*/ 411733 h 788699"/>
                <a:gd name="connsiteX19" fmla="*/ 379098 w 625521"/>
                <a:gd name="connsiteY19" fmla="*/ 400855 h 788699"/>
                <a:gd name="connsiteX20" fmla="*/ 370939 w 625521"/>
                <a:gd name="connsiteY20" fmla="*/ 398135 h 788699"/>
                <a:gd name="connsiteX21" fmla="*/ 338304 w 625521"/>
                <a:gd name="connsiteY21" fmla="*/ 400855 h 788699"/>
                <a:gd name="connsiteX22" fmla="*/ 289349 w 625521"/>
                <a:gd name="connsiteY22" fmla="*/ 403575 h 788699"/>
                <a:gd name="connsiteX23" fmla="*/ 264872 w 625521"/>
                <a:gd name="connsiteY23" fmla="*/ 400855 h 788699"/>
                <a:gd name="connsiteX24" fmla="*/ 259433 w 625521"/>
                <a:gd name="connsiteY24" fmla="*/ 406294 h 788699"/>
                <a:gd name="connsiteX25" fmla="*/ 259433 w 625521"/>
                <a:gd name="connsiteY25" fmla="*/ 425332 h 788699"/>
                <a:gd name="connsiteX26" fmla="*/ 259433 w 625521"/>
                <a:gd name="connsiteY26" fmla="*/ 449809 h 788699"/>
                <a:gd name="connsiteX27" fmla="*/ 259433 w 625521"/>
                <a:gd name="connsiteY27" fmla="*/ 471566 h 788699"/>
                <a:gd name="connsiteX28" fmla="*/ 259433 w 625521"/>
                <a:gd name="connsiteY28" fmla="*/ 504202 h 788699"/>
                <a:gd name="connsiteX29" fmla="*/ 259433 w 625521"/>
                <a:gd name="connsiteY29" fmla="*/ 509641 h 788699"/>
                <a:gd name="connsiteX30" fmla="*/ 256714 w 625521"/>
                <a:gd name="connsiteY30" fmla="*/ 542277 h 788699"/>
                <a:gd name="connsiteX31" fmla="*/ 256714 w 625521"/>
                <a:gd name="connsiteY31" fmla="*/ 577632 h 788699"/>
                <a:gd name="connsiteX32" fmla="*/ 256714 w 625521"/>
                <a:gd name="connsiteY32" fmla="*/ 612988 h 788699"/>
                <a:gd name="connsiteX33" fmla="*/ 253994 w 625521"/>
                <a:gd name="connsiteY33" fmla="*/ 656502 h 788699"/>
                <a:gd name="connsiteX34" fmla="*/ 256714 w 625521"/>
                <a:gd name="connsiteY34" fmla="*/ 678260 h 788699"/>
                <a:gd name="connsiteX35" fmla="*/ 286629 w 625521"/>
                <a:gd name="connsiteY35" fmla="*/ 694578 h 788699"/>
                <a:gd name="connsiteX36" fmla="*/ 281191 w 625521"/>
                <a:gd name="connsiteY36" fmla="*/ 710895 h 788699"/>
                <a:gd name="connsiteX37" fmla="*/ 264872 w 625521"/>
                <a:gd name="connsiteY37" fmla="*/ 719054 h 788699"/>
                <a:gd name="connsiteX38" fmla="*/ 243116 w 625521"/>
                <a:gd name="connsiteY38" fmla="*/ 721774 h 788699"/>
                <a:gd name="connsiteX39" fmla="*/ 243116 w 625521"/>
                <a:gd name="connsiteY39" fmla="*/ 721774 h 788699"/>
                <a:gd name="connsiteX40" fmla="*/ 232236 w 625521"/>
                <a:gd name="connsiteY40" fmla="*/ 727214 h 788699"/>
                <a:gd name="connsiteX41" fmla="*/ 224078 w 625521"/>
                <a:gd name="connsiteY41" fmla="*/ 735372 h 788699"/>
                <a:gd name="connsiteX42" fmla="*/ 213199 w 625521"/>
                <a:gd name="connsiteY42" fmla="*/ 738092 h 788699"/>
                <a:gd name="connsiteX43" fmla="*/ 183283 w 625521"/>
                <a:gd name="connsiteY43" fmla="*/ 727214 h 788699"/>
                <a:gd name="connsiteX44" fmla="*/ 175124 w 625521"/>
                <a:gd name="connsiteY44" fmla="*/ 719054 h 788699"/>
                <a:gd name="connsiteX45" fmla="*/ 145208 w 625521"/>
                <a:gd name="connsiteY45" fmla="*/ 719054 h 788699"/>
                <a:gd name="connsiteX46" fmla="*/ 126170 w 625521"/>
                <a:gd name="connsiteY46" fmla="*/ 719054 h 788699"/>
                <a:gd name="connsiteX47" fmla="*/ 101693 w 625521"/>
                <a:gd name="connsiteY47" fmla="*/ 719054 h 788699"/>
                <a:gd name="connsiteX48" fmla="*/ 74496 w 625521"/>
                <a:gd name="connsiteY48" fmla="*/ 713615 h 788699"/>
                <a:gd name="connsiteX49" fmla="*/ 58178 w 625521"/>
                <a:gd name="connsiteY49" fmla="*/ 697297 h 788699"/>
                <a:gd name="connsiteX50" fmla="*/ 63618 w 625521"/>
                <a:gd name="connsiteY50" fmla="*/ 689138 h 788699"/>
                <a:gd name="connsiteX51" fmla="*/ 85375 w 625521"/>
                <a:gd name="connsiteY51" fmla="*/ 680979 h 788699"/>
                <a:gd name="connsiteX52" fmla="*/ 131609 w 625521"/>
                <a:gd name="connsiteY52" fmla="*/ 675540 h 788699"/>
                <a:gd name="connsiteX53" fmla="*/ 131609 w 625521"/>
                <a:gd name="connsiteY53" fmla="*/ 667381 h 788699"/>
                <a:gd name="connsiteX54" fmla="*/ 131609 w 625521"/>
                <a:gd name="connsiteY54" fmla="*/ 651063 h 788699"/>
                <a:gd name="connsiteX55" fmla="*/ 131609 w 625521"/>
                <a:gd name="connsiteY55" fmla="*/ 618427 h 788699"/>
                <a:gd name="connsiteX56" fmla="*/ 131609 w 625521"/>
                <a:gd name="connsiteY56" fmla="*/ 580352 h 788699"/>
                <a:gd name="connsiteX57" fmla="*/ 131609 w 625521"/>
                <a:gd name="connsiteY57" fmla="*/ 531398 h 788699"/>
                <a:gd name="connsiteX58" fmla="*/ 131609 w 625521"/>
                <a:gd name="connsiteY58" fmla="*/ 466126 h 788699"/>
                <a:gd name="connsiteX59" fmla="*/ 131609 w 625521"/>
                <a:gd name="connsiteY59" fmla="*/ 422612 h 788699"/>
                <a:gd name="connsiteX60" fmla="*/ 131609 w 625521"/>
                <a:gd name="connsiteY60" fmla="*/ 411733 h 788699"/>
                <a:gd name="connsiteX61" fmla="*/ 131609 w 625521"/>
                <a:gd name="connsiteY61" fmla="*/ 398135 h 788699"/>
                <a:gd name="connsiteX62" fmla="*/ 126170 w 625521"/>
                <a:gd name="connsiteY62" fmla="*/ 389976 h 788699"/>
                <a:gd name="connsiteX63" fmla="*/ 101693 w 625521"/>
                <a:gd name="connsiteY63" fmla="*/ 387257 h 788699"/>
                <a:gd name="connsiteX64" fmla="*/ 77216 w 625521"/>
                <a:gd name="connsiteY64" fmla="*/ 376378 h 788699"/>
                <a:gd name="connsiteX65" fmla="*/ 82655 w 625521"/>
                <a:gd name="connsiteY65" fmla="*/ 368219 h 788699"/>
                <a:gd name="connsiteX66" fmla="*/ 98973 w 625521"/>
                <a:gd name="connsiteY66" fmla="*/ 360060 h 788699"/>
                <a:gd name="connsiteX67" fmla="*/ 118011 w 625521"/>
                <a:gd name="connsiteY67" fmla="*/ 357340 h 788699"/>
                <a:gd name="connsiteX68" fmla="*/ 131609 w 625521"/>
                <a:gd name="connsiteY68" fmla="*/ 351901 h 788699"/>
                <a:gd name="connsiteX69" fmla="*/ 131609 w 625521"/>
                <a:gd name="connsiteY69" fmla="*/ 343742 h 788699"/>
                <a:gd name="connsiteX70" fmla="*/ 131609 w 625521"/>
                <a:gd name="connsiteY70" fmla="*/ 270311 h 788699"/>
                <a:gd name="connsiteX71" fmla="*/ 137048 w 625521"/>
                <a:gd name="connsiteY71" fmla="*/ 145207 h 788699"/>
                <a:gd name="connsiteX72" fmla="*/ 139768 w 625521"/>
                <a:gd name="connsiteY72" fmla="*/ 123450 h 788699"/>
                <a:gd name="connsiteX73" fmla="*/ 123450 w 625521"/>
                <a:gd name="connsiteY73" fmla="*/ 123450 h 788699"/>
                <a:gd name="connsiteX74" fmla="*/ 118011 w 625521"/>
                <a:gd name="connsiteY74" fmla="*/ 123450 h 788699"/>
                <a:gd name="connsiteX75" fmla="*/ 101693 w 625521"/>
                <a:gd name="connsiteY75" fmla="*/ 123450 h 788699"/>
                <a:gd name="connsiteX76" fmla="*/ 74496 w 625521"/>
                <a:gd name="connsiteY76" fmla="*/ 118011 h 788699"/>
                <a:gd name="connsiteX77" fmla="*/ 58178 w 625521"/>
                <a:gd name="connsiteY77" fmla="*/ 101693 h 788699"/>
                <a:gd name="connsiteX78" fmla="*/ 63618 w 625521"/>
                <a:gd name="connsiteY78" fmla="*/ 93534 h 788699"/>
                <a:gd name="connsiteX79" fmla="*/ 85375 w 625521"/>
                <a:gd name="connsiteY79" fmla="*/ 85375 h 788699"/>
                <a:gd name="connsiteX80" fmla="*/ 137048 w 625521"/>
                <a:gd name="connsiteY80" fmla="*/ 82655 h 788699"/>
                <a:gd name="connsiteX81" fmla="*/ 147927 w 625521"/>
                <a:gd name="connsiteY81" fmla="*/ 82655 h 788699"/>
                <a:gd name="connsiteX82" fmla="*/ 186003 w 625521"/>
                <a:gd name="connsiteY82" fmla="*/ 58178 h 788699"/>
                <a:gd name="connsiteX83" fmla="*/ 226797 w 625521"/>
                <a:gd name="connsiteY83" fmla="*/ 79936 h 788699"/>
                <a:gd name="connsiteX84" fmla="*/ 253994 w 625521"/>
                <a:gd name="connsiteY84" fmla="*/ 79936 h 788699"/>
                <a:gd name="connsiteX85" fmla="*/ 294789 w 625521"/>
                <a:gd name="connsiteY85" fmla="*/ 96253 h 788699"/>
                <a:gd name="connsiteX86" fmla="*/ 283910 w 625521"/>
                <a:gd name="connsiteY86" fmla="*/ 112571 h 788699"/>
                <a:gd name="connsiteX87" fmla="*/ 267592 w 625521"/>
                <a:gd name="connsiteY87" fmla="*/ 120730 h 788699"/>
                <a:gd name="connsiteX88" fmla="*/ 245835 w 625521"/>
                <a:gd name="connsiteY88" fmla="*/ 123450 h 788699"/>
                <a:gd name="connsiteX89" fmla="*/ 237676 w 625521"/>
                <a:gd name="connsiteY89" fmla="*/ 123450 h 788699"/>
                <a:gd name="connsiteX90" fmla="*/ 240396 w 625521"/>
                <a:gd name="connsiteY90" fmla="*/ 128889 h 788699"/>
                <a:gd name="connsiteX91" fmla="*/ 251274 w 625521"/>
                <a:gd name="connsiteY91" fmla="*/ 177843 h 788699"/>
                <a:gd name="connsiteX92" fmla="*/ 256714 w 625521"/>
                <a:gd name="connsiteY92" fmla="*/ 226797 h 788699"/>
                <a:gd name="connsiteX93" fmla="*/ 262153 w 625521"/>
                <a:gd name="connsiteY93" fmla="*/ 273031 h 788699"/>
                <a:gd name="connsiteX94" fmla="*/ 262153 w 625521"/>
                <a:gd name="connsiteY94" fmla="*/ 289349 h 788699"/>
                <a:gd name="connsiteX95" fmla="*/ 262153 w 625521"/>
                <a:gd name="connsiteY95" fmla="*/ 297508 h 788699"/>
                <a:gd name="connsiteX96" fmla="*/ 264872 w 625521"/>
                <a:gd name="connsiteY96" fmla="*/ 321985 h 788699"/>
                <a:gd name="connsiteX97" fmla="*/ 270312 w 625521"/>
                <a:gd name="connsiteY97" fmla="*/ 335583 h 788699"/>
                <a:gd name="connsiteX98" fmla="*/ 270312 w 625521"/>
                <a:gd name="connsiteY98" fmla="*/ 338303 h 788699"/>
                <a:gd name="connsiteX99" fmla="*/ 270312 w 625521"/>
                <a:gd name="connsiteY99" fmla="*/ 346462 h 788699"/>
                <a:gd name="connsiteX100" fmla="*/ 278471 w 625521"/>
                <a:gd name="connsiteY100" fmla="*/ 354621 h 788699"/>
                <a:gd name="connsiteX101" fmla="*/ 338304 w 625521"/>
                <a:gd name="connsiteY101" fmla="*/ 349181 h 788699"/>
                <a:gd name="connsiteX102" fmla="*/ 365500 w 625521"/>
                <a:gd name="connsiteY102" fmla="*/ 349181 h 788699"/>
                <a:gd name="connsiteX103" fmla="*/ 381817 w 625521"/>
                <a:gd name="connsiteY103" fmla="*/ 349181 h 788699"/>
                <a:gd name="connsiteX104" fmla="*/ 392697 w 625521"/>
                <a:gd name="connsiteY104" fmla="*/ 338303 h 788699"/>
                <a:gd name="connsiteX105" fmla="*/ 389977 w 625521"/>
                <a:gd name="connsiteY105" fmla="*/ 313826 h 788699"/>
                <a:gd name="connsiteX106" fmla="*/ 392697 w 625521"/>
                <a:gd name="connsiteY106" fmla="*/ 262152 h 788699"/>
                <a:gd name="connsiteX107" fmla="*/ 395416 w 625521"/>
                <a:gd name="connsiteY107" fmla="*/ 224077 h 788699"/>
                <a:gd name="connsiteX108" fmla="*/ 398136 w 625521"/>
                <a:gd name="connsiteY108" fmla="*/ 177843 h 788699"/>
                <a:gd name="connsiteX109" fmla="*/ 395416 w 625521"/>
                <a:gd name="connsiteY109" fmla="*/ 153366 h 788699"/>
                <a:gd name="connsiteX110" fmla="*/ 395416 w 625521"/>
                <a:gd name="connsiteY110" fmla="*/ 137048 h 788699"/>
                <a:gd name="connsiteX111" fmla="*/ 379098 w 625521"/>
                <a:gd name="connsiteY111" fmla="*/ 137048 h 788699"/>
                <a:gd name="connsiteX112" fmla="*/ 351902 w 625521"/>
                <a:gd name="connsiteY112" fmla="*/ 131609 h 788699"/>
                <a:gd name="connsiteX113" fmla="*/ 338304 w 625521"/>
                <a:gd name="connsiteY113" fmla="*/ 115291 h 788699"/>
                <a:gd name="connsiteX114" fmla="*/ 343742 w 625521"/>
                <a:gd name="connsiteY114" fmla="*/ 107132 h 788699"/>
                <a:gd name="connsiteX115" fmla="*/ 362780 w 625521"/>
                <a:gd name="connsiteY115" fmla="*/ 98973 h 788699"/>
                <a:gd name="connsiteX116" fmla="*/ 395416 w 625521"/>
                <a:gd name="connsiteY116" fmla="*/ 96253 h 788699"/>
                <a:gd name="connsiteX117" fmla="*/ 403575 w 625521"/>
                <a:gd name="connsiteY117" fmla="*/ 90814 h 788699"/>
                <a:gd name="connsiteX118" fmla="*/ 422612 w 625521"/>
                <a:gd name="connsiteY118" fmla="*/ 88095 h 788699"/>
                <a:gd name="connsiteX119" fmla="*/ 428052 w 625521"/>
                <a:gd name="connsiteY119" fmla="*/ 88095 h 788699"/>
                <a:gd name="connsiteX120" fmla="*/ 447090 w 625521"/>
                <a:gd name="connsiteY120" fmla="*/ 90814 h 788699"/>
                <a:gd name="connsiteX121" fmla="*/ 455249 w 625521"/>
                <a:gd name="connsiteY121" fmla="*/ 96253 h 788699"/>
                <a:gd name="connsiteX122" fmla="*/ 525960 w 625521"/>
                <a:gd name="connsiteY122" fmla="*/ 93534 h 788699"/>
                <a:gd name="connsiteX123" fmla="*/ 561315 w 625521"/>
                <a:gd name="connsiteY123" fmla="*/ 109852 h 788699"/>
                <a:gd name="connsiteX124" fmla="*/ 555876 w 625521"/>
                <a:gd name="connsiteY124" fmla="*/ 126170 h 788699"/>
                <a:gd name="connsiteX125" fmla="*/ 539558 w 625521"/>
                <a:gd name="connsiteY125" fmla="*/ 134329 h 788699"/>
                <a:gd name="connsiteX126" fmla="*/ 517800 w 625521"/>
                <a:gd name="connsiteY126" fmla="*/ 137048 h 788699"/>
                <a:gd name="connsiteX127" fmla="*/ 477006 w 625521"/>
                <a:gd name="connsiteY127" fmla="*/ 137048 h 788699"/>
                <a:gd name="connsiteX128" fmla="*/ 485165 w 625521"/>
                <a:gd name="connsiteY128" fmla="*/ 161525 h 788699"/>
                <a:gd name="connsiteX129" fmla="*/ 496043 w 625521"/>
                <a:gd name="connsiteY129" fmla="*/ 210479 h 788699"/>
                <a:gd name="connsiteX130" fmla="*/ 501483 w 625521"/>
                <a:gd name="connsiteY130" fmla="*/ 251274 h 788699"/>
                <a:gd name="connsiteX131" fmla="*/ 506922 w 625521"/>
                <a:gd name="connsiteY131" fmla="*/ 292069 h 788699"/>
                <a:gd name="connsiteX132" fmla="*/ 506922 w 625521"/>
                <a:gd name="connsiteY132" fmla="*/ 321985 h 788699"/>
                <a:gd name="connsiteX133" fmla="*/ 509642 w 625521"/>
                <a:gd name="connsiteY133" fmla="*/ 341022 h 788699"/>
                <a:gd name="connsiteX134" fmla="*/ 509642 w 625521"/>
                <a:gd name="connsiteY134" fmla="*/ 343742 h 788699"/>
                <a:gd name="connsiteX135" fmla="*/ 517800 w 625521"/>
                <a:gd name="connsiteY135" fmla="*/ 349181 h 788699"/>
                <a:gd name="connsiteX136" fmla="*/ 528680 w 625521"/>
                <a:gd name="connsiteY136" fmla="*/ 349181 h 788699"/>
                <a:gd name="connsiteX137" fmla="*/ 550437 w 625521"/>
                <a:gd name="connsiteY137" fmla="*/ 357340 h 788699"/>
                <a:gd name="connsiteX138" fmla="*/ 550437 w 625521"/>
                <a:gd name="connsiteY138" fmla="*/ 362780 h 788699"/>
                <a:gd name="connsiteX139" fmla="*/ 534119 w 625521"/>
                <a:gd name="connsiteY139" fmla="*/ 384537 h 788699"/>
                <a:gd name="connsiteX140" fmla="*/ 520520 w 625521"/>
                <a:gd name="connsiteY140" fmla="*/ 389976 h 788699"/>
                <a:gd name="connsiteX141" fmla="*/ 512362 w 625521"/>
                <a:gd name="connsiteY141" fmla="*/ 395415 h 788699"/>
                <a:gd name="connsiteX142" fmla="*/ 512362 w 625521"/>
                <a:gd name="connsiteY142" fmla="*/ 398135 h 788699"/>
                <a:gd name="connsiteX143" fmla="*/ 512362 w 625521"/>
                <a:gd name="connsiteY143" fmla="*/ 409014 h 788699"/>
                <a:gd name="connsiteX144" fmla="*/ 512362 w 625521"/>
                <a:gd name="connsiteY144" fmla="*/ 414453 h 788699"/>
                <a:gd name="connsiteX145" fmla="*/ 512362 w 625521"/>
                <a:gd name="connsiteY145" fmla="*/ 438930 h 788699"/>
                <a:gd name="connsiteX146" fmla="*/ 515081 w 625521"/>
                <a:gd name="connsiteY146" fmla="*/ 504202 h 788699"/>
                <a:gd name="connsiteX147" fmla="*/ 520520 w 625521"/>
                <a:gd name="connsiteY147" fmla="*/ 572193 h 788699"/>
                <a:gd name="connsiteX148" fmla="*/ 517800 w 625521"/>
                <a:gd name="connsiteY148" fmla="*/ 604829 h 788699"/>
                <a:gd name="connsiteX149" fmla="*/ 512362 w 625521"/>
                <a:gd name="connsiteY149" fmla="*/ 661942 h 788699"/>
                <a:gd name="connsiteX150" fmla="*/ 509642 w 625521"/>
                <a:gd name="connsiteY150" fmla="*/ 670101 h 788699"/>
                <a:gd name="connsiteX151" fmla="*/ 512362 w 625521"/>
                <a:gd name="connsiteY151" fmla="*/ 680979 h 788699"/>
                <a:gd name="connsiteX152" fmla="*/ 512362 w 625521"/>
                <a:gd name="connsiteY152" fmla="*/ 686419 h 788699"/>
                <a:gd name="connsiteX153" fmla="*/ 536838 w 625521"/>
                <a:gd name="connsiteY153" fmla="*/ 680979 h 788699"/>
                <a:gd name="connsiteX154" fmla="*/ 536838 w 625521"/>
                <a:gd name="connsiteY154" fmla="*/ 680979 h 7886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</a:cxnLst>
              <a:rect l="l" t="t" r="r" b="b"/>
              <a:pathLst>
                <a:path w="625521" h="788699">
                  <a:moveTo>
                    <a:pt x="536838" y="680979"/>
                  </a:moveTo>
                  <a:cubicBezTo>
                    <a:pt x="550437" y="680979"/>
                    <a:pt x="574913" y="680979"/>
                    <a:pt x="574913" y="697297"/>
                  </a:cubicBezTo>
                  <a:cubicBezTo>
                    <a:pt x="574913" y="705456"/>
                    <a:pt x="572194" y="708176"/>
                    <a:pt x="566755" y="713615"/>
                  </a:cubicBezTo>
                  <a:cubicBezTo>
                    <a:pt x="561315" y="719054"/>
                    <a:pt x="555876" y="721774"/>
                    <a:pt x="550437" y="721774"/>
                  </a:cubicBezTo>
                  <a:cubicBezTo>
                    <a:pt x="539558" y="724494"/>
                    <a:pt x="534119" y="724494"/>
                    <a:pt x="528680" y="724494"/>
                  </a:cubicBezTo>
                  <a:cubicBezTo>
                    <a:pt x="517800" y="724494"/>
                    <a:pt x="428052" y="724494"/>
                    <a:pt x="417174" y="724494"/>
                  </a:cubicBezTo>
                  <a:cubicBezTo>
                    <a:pt x="403575" y="724494"/>
                    <a:pt x="414454" y="724494"/>
                    <a:pt x="398136" y="724494"/>
                  </a:cubicBezTo>
                  <a:cubicBezTo>
                    <a:pt x="389977" y="724494"/>
                    <a:pt x="381817" y="724494"/>
                    <a:pt x="373659" y="724494"/>
                  </a:cubicBezTo>
                  <a:cubicBezTo>
                    <a:pt x="365500" y="724494"/>
                    <a:pt x="354621" y="721774"/>
                    <a:pt x="346462" y="719054"/>
                  </a:cubicBezTo>
                  <a:cubicBezTo>
                    <a:pt x="338304" y="716335"/>
                    <a:pt x="330144" y="708176"/>
                    <a:pt x="330144" y="702737"/>
                  </a:cubicBezTo>
                  <a:cubicBezTo>
                    <a:pt x="330144" y="700017"/>
                    <a:pt x="330144" y="697297"/>
                    <a:pt x="335584" y="694578"/>
                  </a:cubicBezTo>
                  <a:cubicBezTo>
                    <a:pt x="341023" y="691858"/>
                    <a:pt x="351902" y="689138"/>
                    <a:pt x="357341" y="686419"/>
                  </a:cubicBezTo>
                  <a:cubicBezTo>
                    <a:pt x="373659" y="683699"/>
                    <a:pt x="387257" y="680979"/>
                    <a:pt x="395416" y="680979"/>
                  </a:cubicBezTo>
                  <a:cubicBezTo>
                    <a:pt x="387257" y="675540"/>
                    <a:pt x="384537" y="670101"/>
                    <a:pt x="381817" y="656502"/>
                  </a:cubicBezTo>
                  <a:cubicBezTo>
                    <a:pt x="379098" y="632026"/>
                    <a:pt x="379098" y="610268"/>
                    <a:pt x="379098" y="585791"/>
                  </a:cubicBezTo>
                  <a:cubicBezTo>
                    <a:pt x="379098" y="564034"/>
                    <a:pt x="379098" y="542277"/>
                    <a:pt x="379098" y="517800"/>
                  </a:cubicBezTo>
                  <a:cubicBezTo>
                    <a:pt x="379098" y="504202"/>
                    <a:pt x="379098" y="487884"/>
                    <a:pt x="379098" y="474286"/>
                  </a:cubicBezTo>
                  <a:cubicBezTo>
                    <a:pt x="379098" y="457968"/>
                    <a:pt x="376379" y="444369"/>
                    <a:pt x="379098" y="430771"/>
                  </a:cubicBezTo>
                  <a:cubicBezTo>
                    <a:pt x="379098" y="425332"/>
                    <a:pt x="381817" y="417173"/>
                    <a:pt x="381817" y="411733"/>
                  </a:cubicBezTo>
                  <a:cubicBezTo>
                    <a:pt x="381817" y="406294"/>
                    <a:pt x="381817" y="403575"/>
                    <a:pt x="379098" y="400855"/>
                  </a:cubicBezTo>
                  <a:cubicBezTo>
                    <a:pt x="376379" y="400855"/>
                    <a:pt x="373659" y="398135"/>
                    <a:pt x="370939" y="398135"/>
                  </a:cubicBezTo>
                  <a:cubicBezTo>
                    <a:pt x="360061" y="398135"/>
                    <a:pt x="343742" y="400855"/>
                    <a:pt x="338304" y="400855"/>
                  </a:cubicBezTo>
                  <a:cubicBezTo>
                    <a:pt x="330144" y="400855"/>
                    <a:pt x="319266" y="403575"/>
                    <a:pt x="289349" y="403575"/>
                  </a:cubicBezTo>
                  <a:cubicBezTo>
                    <a:pt x="275751" y="403575"/>
                    <a:pt x="267592" y="400855"/>
                    <a:pt x="264872" y="400855"/>
                  </a:cubicBezTo>
                  <a:cubicBezTo>
                    <a:pt x="262153" y="400855"/>
                    <a:pt x="259433" y="400855"/>
                    <a:pt x="259433" y="406294"/>
                  </a:cubicBezTo>
                  <a:cubicBezTo>
                    <a:pt x="259433" y="414453"/>
                    <a:pt x="259433" y="419892"/>
                    <a:pt x="259433" y="425332"/>
                  </a:cubicBezTo>
                  <a:cubicBezTo>
                    <a:pt x="259433" y="433491"/>
                    <a:pt x="259433" y="441650"/>
                    <a:pt x="259433" y="449809"/>
                  </a:cubicBezTo>
                  <a:cubicBezTo>
                    <a:pt x="259433" y="457968"/>
                    <a:pt x="259433" y="463407"/>
                    <a:pt x="259433" y="471566"/>
                  </a:cubicBezTo>
                  <a:cubicBezTo>
                    <a:pt x="259433" y="482445"/>
                    <a:pt x="259433" y="493323"/>
                    <a:pt x="259433" y="504202"/>
                  </a:cubicBezTo>
                  <a:cubicBezTo>
                    <a:pt x="259433" y="506921"/>
                    <a:pt x="259433" y="506921"/>
                    <a:pt x="259433" y="509641"/>
                  </a:cubicBezTo>
                  <a:cubicBezTo>
                    <a:pt x="259433" y="520520"/>
                    <a:pt x="256714" y="531398"/>
                    <a:pt x="256714" y="542277"/>
                  </a:cubicBezTo>
                  <a:cubicBezTo>
                    <a:pt x="256714" y="553156"/>
                    <a:pt x="256714" y="566754"/>
                    <a:pt x="256714" y="577632"/>
                  </a:cubicBezTo>
                  <a:cubicBezTo>
                    <a:pt x="256714" y="588511"/>
                    <a:pt x="256714" y="599390"/>
                    <a:pt x="256714" y="612988"/>
                  </a:cubicBezTo>
                  <a:cubicBezTo>
                    <a:pt x="256714" y="629306"/>
                    <a:pt x="253994" y="642904"/>
                    <a:pt x="253994" y="656502"/>
                  </a:cubicBezTo>
                  <a:cubicBezTo>
                    <a:pt x="253994" y="664661"/>
                    <a:pt x="256714" y="672820"/>
                    <a:pt x="256714" y="678260"/>
                  </a:cubicBezTo>
                  <a:cubicBezTo>
                    <a:pt x="270312" y="678260"/>
                    <a:pt x="286629" y="680979"/>
                    <a:pt x="286629" y="694578"/>
                  </a:cubicBezTo>
                  <a:cubicBezTo>
                    <a:pt x="286629" y="702737"/>
                    <a:pt x="283910" y="705456"/>
                    <a:pt x="281191" y="710895"/>
                  </a:cubicBezTo>
                  <a:cubicBezTo>
                    <a:pt x="275751" y="716335"/>
                    <a:pt x="270312" y="719054"/>
                    <a:pt x="264872" y="719054"/>
                  </a:cubicBezTo>
                  <a:cubicBezTo>
                    <a:pt x="256714" y="721774"/>
                    <a:pt x="248554" y="721774"/>
                    <a:pt x="243116" y="721774"/>
                  </a:cubicBezTo>
                  <a:cubicBezTo>
                    <a:pt x="243116" y="721774"/>
                    <a:pt x="243116" y="721774"/>
                    <a:pt x="243116" y="721774"/>
                  </a:cubicBezTo>
                  <a:cubicBezTo>
                    <a:pt x="237676" y="724494"/>
                    <a:pt x="237676" y="724494"/>
                    <a:pt x="232236" y="727214"/>
                  </a:cubicBezTo>
                  <a:cubicBezTo>
                    <a:pt x="229517" y="729933"/>
                    <a:pt x="229517" y="732653"/>
                    <a:pt x="224078" y="735372"/>
                  </a:cubicBezTo>
                  <a:cubicBezTo>
                    <a:pt x="221358" y="738092"/>
                    <a:pt x="215919" y="738092"/>
                    <a:pt x="213199" y="738092"/>
                  </a:cubicBezTo>
                  <a:cubicBezTo>
                    <a:pt x="199601" y="738092"/>
                    <a:pt x="188722" y="735372"/>
                    <a:pt x="183283" y="727214"/>
                  </a:cubicBezTo>
                  <a:cubicBezTo>
                    <a:pt x="180563" y="724494"/>
                    <a:pt x="177843" y="721774"/>
                    <a:pt x="175124" y="719054"/>
                  </a:cubicBezTo>
                  <a:cubicBezTo>
                    <a:pt x="161526" y="719054"/>
                    <a:pt x="150646" y="719054"/>
                    <a:pt x="145208" y="719054"/>
                  </a:cubicBezTo>
                  <a:cubicBezTo>
                    <a:pt x="131609" y="719054"/>
                    <a:pt x="142488" y="719054"/>
                    <a:pt x="126170" y="719054"/>
                  </a:cubicBezTo>
                  <a:cubicBezTo>
                    <a:pt x="118011" y="719054"/>
                    <a:pt x="109852" y="719054"/>
                    <a:pt x="101693" y="719054"/>
                  </a:cubicBezTo>
                  <a:cubicBezTo>
                    <a:pt x="93534" y="719054"/>
                    <a:pt x="82655" y="719054"/>
                    <a:pt x="74496" y="713615"/>
                  </a:cubicBezTo>
                  <a:cubicBezTo>
                    <a:pt x="66338" y="710895"/>
                    <a:pt x="58178" y="702737"/>
                    <a:pt x="58178" y="697297"/>
                  </a:cubicBezTo>
                  <a:cubicBezTo>
                    <a:pt x="58178" y="694578"/>
                    <a:pt x="58178" y="691858"/>
                    <a:pt x="63618" y="689138"/>
                  </a:cubicBezTo>
                  <a:cubicBezTo>
                    <a:pt x="69057" y="686419"/>
                    <a:pt x="79936" y="683699"/>
                    <a:pt x="85375" y="680979"/>
                  </a:cubicBezTo>
                  <a:cubicBezTo>
                    <a:pt x="98973" y="678260"/>
                    <a:pt x="118011" y="678260"/>
                    <a:pt x="131609" y="675540"/>
                  </a:cubicBezTo>
                  <a:cubicBezTo>
                    <a:pt x="131609" y="672820"/>
                    <a:pt x="131609" y="670101"/>
                    <a:pt x="131609" y="667381"/>
                  </a:cubicBezTo>
                  <a:cubicBezTo>
                    <a:pt x="131609" y="661942"/>
                    <a:pt x="131609" y="656502"/>
                    <a:pt x="131609" y="651063"/>
                  </a:cubicBezTo>
                  <a:cubicBezTo>
                    <a:pt x="131609" y="640184"/>
                    <a:pt x="131609" y="629306"/>
                    <a:pt x="131609" y="618427"/>
                  </a:cubicBezTo>
                  <a:cubicBezTo>
                    <a:pt x="131609" y="604829"/>
                    <a:pt x="131609" y="593950"/>
                    <a:pt x="131609" y="580352"/>
                  </a:cubicBezTo>
                  <a:cubicBezTo>
                    <a:pt x="131609" y="564034"/>
                    <a:pt x="131609" y="547716"/>
                    <a:pt x="131609" y="531398"/>
                  </a:cubicBezTo>
                  <a:cubicBezTo>
                    <a:pt x="131609" y="509641"/>
                    <a:pt x="131609" y="487884"/>
                    <a:pt x="131609" y="466126"/>
                  </a:cubicBezTo>
                  <a:cubicBezTo>
                    <a:pt x="131609" y="452528"/>
                    <a:pt x="131609" y="436210"/>
                    <a:pt x="131609" y="422612"/>
                  </a:cubicBezTo>
                  <a:cubicBezTo>
                    <a:pt x="131609" y="419892"/>
                    <a:pt x="131609" y="414453"/>
                    <a:pt x="131609" y="411733"/>
                  </a:cubicBezTo>
                  <a:cubicBezTo>
                    <a:pt x="131609" y="409014"/>
                    <a:pt x="131609" y="400855"/>
                    <a:pt x="131609" y="398135"/>
                  </a:cubicBezTo>
                  <a:cubicBezTo>
                    <a:pt x="131609" y="392696"/>
                    <a:pt x="131609" y="392696"/>
                    <a:pt x="126170" y="389976"/>
                  </a:cubicBezTo>
                  <a:cubicBezTo>
                    <a:pt x="123450" y="389976"/>
                    <a:pt x="109852" y="387257"/>
                    <a:pt x="101693" y="387257"/>
                  </a:cubicBezTo>
                  <a:cubicBezTo>
                    <a:pt x="90814" y="384537"/>
                    <a:pt x="77216" y="381817"/>
                    <a:pt x="77216" y="376378"/>
                  </a:cubicBezTo>
                  <a:cubicBezTo>
                    <a:pt x="77216" y="373658"/>
                    <a:pt x="79936" y="370939"/>
                    <a:pt x="82655" y="368219"/>
                  </a:cubicBezTo>
                  <a:cubicBezTo>
                    <a:pt x="88095" y="365499"/>
                    <a:pt x="93534" y="362780"/>
                    <a:pt x="98973" y="360060"/>
                  </a:cubicBezTo>
                  <a:cubicBezTo>
                    <a:pt x="104413" y="360060"/>
                    <a:pt x="112571" y="357340"/>
                    <a:pt x="118011" y="357340"/>
                  </a:cubicBezTo>
                  <a:cubicBezTo>
                    <a:pt x="126170" y="354621"/>
                    <a:pt x="128890" y="357340"/>
                    <a:pt x="131609" y="351901"/>
                  </a:cubicBezTo>
                  <a:cubicBezTo>
                    <a:pt x="131609" y="349181"/>
                    <a:pt x="131609" y="346462"/>
                    <a:pt x="131609" y="343742"/>
                  </a:cubicBezTo>
                  <a:cubicBezTo>
                    <a:pt x="131609" y="319265"/>
                    <a:pt x="131609" y="294788"/>
                    <a:pt x="131609" y="270311"/>
                  </a:cubicBezTo>
                  <a:cubicBezTo>
                    <a:pt x="131609" y="226797"/>
                    <a:pt x="131609" y="186002"/>
                    <a:pt x="137048" y="145207"/>
                  </a:cubicBezTo>
                  <a:cubicBezTo>
                    <a:pt x="137048" y="139768"/>
                    <a:pt x="137048" y="131609"/>
                    <a:pt x="139768" y="123450"/>
                  </a:cubicBezTo>
                  <a:cubicBezTo>
                    <a:pt x="134329" y="123450"/>
                    <a:pt x="137048" y="123450"/>
                    <a:pt x="123450" y="123450"/>
                  </a:cubicBezTo>
                  <a:cubicBezTo>
                    <a:pt x="120731" y="123450"/>
                    <a:pt x="120731" y="123450"/>
                    <a:pt x="118011" y="123450"/>
                  </a:cubicBezTo>
                  <a:cubicBezTo>
                    <a:pt x="112571" y="123450"/>
                    <a:pt x="107133" y="123450"/>
                    <a:pt x="101693" y="123450"/>
                  </a:cubicBezTo>
                  <a:cubicBezTo>
                    <a:pt x="93534" y="123450"/>
                    <a:pt x="82655" y="120730"/>
                    <a:pt x="74496" y="118011"/>
                  </a:cubicBezTo>
                  <a:cubicBezTo>
                    <a:pt x="66338" y="115291"/>
                    <a:pt x="58178" y="107132"/>
                    <a:pt x="58178" y="101693"/>
                  </a:cubicBezTo>
                  <a:cubicBezTo>
                    <a:pt x="58178" y="98973"/>
                    <a:pt x="58178" y="96253"/>
                    <a:pt x="63618" y="93534"/>
                  </a:cubicBezTo>
                  <a:cubicBezTo>
                    <a:pt x="66338" y="90814"/>
                    <a:pt x="77216" y="88095"/>
                    <a:pt x="85375" y="85375"/>
                  </a:cubicBezTo>
                  <a:cubicBezTo>
                    <a:pt x="104413" y="82655"/>
                    <a:pt x="128890" y="82655"/>
                    <a:pt x="137048" y="82655"/>
                  </a:cubicBezTo>
                  <a:cubicBezTo>
                    <a:pt x="139768" y="82655"/>
                    <a:pt x="142488" y="82655"/>
                    <a:pt x="147927" y="82655"/>
                  </a:cubicBezTo>
                  <a:cubicBezTo>
                    <a:pt x="153366" y="69057"/>
                    <a:pt x="164245" y="58178"/>
                    <a:pt x="186003" y="58178"/>
                  </a:cubicBezTo>
                  <a:cubicBezTo>
                    <a:pt x="202321" y="58178"/>
                    <a:pt x="215919" y="66337"/>
                    <a:pt x="226797" y="79936"/>
                  </a:cubicBezTo>
                  <a:cubicBezTo>
                    <a:pt x="237676" y="79936"/>
                    <a:pt x="248554" y="79936"/>
                    <a:pt x="253994" y="79936"/>
                  </a:cubicBezTo>
                  <a:cubicBezTo>
                    <a:pt x="267592" y="79936"/>
                    <a:pt x="294789" y="79936"/>
                    <a:pt x="294789" y="96253"/>
                  </a:cubicBezTo>
                  <a:cubicBezTo>
                    <a:pt x="294789" y="104412"/>
                    <a:pt x="289349" y="107132"/>
                    <a:pt x="283910" y="112571"/>
                  </a:cubicBezTo>
                  <a:cubicBezTo>
                    <a:pt x="278471" y="118011"/>
                    <a:pt x="273031" y="120730"/>
                    <a:pt x="267592" y="120730"/>
                  </a:cubicBezTo>
                  <a:cubicBezTo>
                    <a:pt x="259433" y="123450"/>
                    <a:pt x="251274" y="123450"/>
                    <a:pt x="245835" y="123450"/>
                  </a:cubicBezTo>
                  <a:cubicBezTo>
                    <a:pt x="245835" y="123450"/>
                    <a:pt x="243116" y="123450"/>
                    <a:pt x="237676" y="123450"/>
                  </a:cubicBezTo>
                  <a:cubicBezTo>
                    <a:pt x="237676" y="126170"/>
                    <a:pt x="237676" y="126170"/>
                    <a:pt x="240396" y="128889"/>
                  </a:cubicBezTo>
                  <a:cubicBezTo>
                    <a:pt x="245835" y="145207"/>
                    <a:pt x="248554" y="161525"/>
                    <a:pt x="251274" y="177843"/>
                  </a:cubicBezTo>
                  <a:cubicBezTo>
                    <a:pt x="253994" y="194161"/>
                    <a:pt x="253994" y="210479"/>
                    <a:pt x="256714" y="226797"/>
                  </a:cubicBezTo>
                  <a:cubicBezTo>
                    <a:pt x="259433" y="243115"/>
                    <a:pt x="262153" y="256713"/>
                    <a:pt x="262153" y="273031"/>
                  </a:cubicBezTo>
                  <a:cubicBezTo>
                    <a:pt x="262153" y="278470"/>
                    <a:pt x="262153" y="283910"/>
                    <a:pt x="262153" y="289349"/>
                  </a:cubicBezTo>
                  <a:lnTo>
                    <a:pt x="262153" y="297508"/>
                  </a:lnTo>
                  <a:cubicBezTo>
                    <a:pt x="262153" y="305667"/>
                    <a:pt x="262153" y="313826"/>
                    <a:pt x="264872" y="321985"/>
                  </a:cubicBezTo>
                  <a:cubicBezTo>
                    <a:pt x="264872" y="327424"/>
                    <a:pt x="270312" y="330144"/>
                    <a:pt x="270312" y="335583"/>
                  </a:cubicBezTo>
                  <a:cubicBezTo>
                    <a:pt x="270312" y="335583"/>
                    <a:pt x="270312" y="338303"/>
                    <a:pt x="270312" y="338303"/>
                  </a:cubicBezTo>
                  <a:cubicBezTo>
                    <a:pt x="270312" y="341022"/>
                    <a:pt x="270312" y="343742"/>
                    <a:pt x="270312" y="346462"/>
                  </a:cubicBezTo>
                  <a:cubicBezTo>
                    <a:pt x="270312" y="351901"/>
                    <a:pt x="273031" y="354621"/>
                    <a:pt x="278471" y="354621"/>
                  </a:cubicBezTo>
                  <a:cubicBezTo>
                    <a:pt x="289349" y="354621"/>
                    <a:pt x="335584" y="351901"/>
                    <a:pt x="338304" y="349181"/>
                  </a:cubicBezTo>
                  <a:cubicBezTo>
                    <a:pt x="346462" y="349181"/>
                    <a:pt x="357341" y="349181"/>
                    <a:pt x="365500" y="349181"/>
                  </a:cubicBezTo>
                  <a:cubicBezTo>
                    <a:pt x="370939" y="349181"/>
                    <a:pt x="376379" y="349181"/>
                    <a:pt x="381817" y="349181"/>
                  </a:cubicBezTo>
                  <a:cubicBezTo>
                    <a:pt x="387257" y="349181"/>
                    <a:pt x="392697" y="346462"/>
                    <a:pt x="392697" y="338303"/>
                  </a:cubicBezTo>
                  <a:cubicBezTo>
                    <a:pt x="392697" y="330144"/>
                    <a:pt x="389977" y="316545"/>
                    <a:pt x="389977" y="313826"/>
                  </a:cubicBezTo>
                  <a:cubicBezTo>
                    <a:pt x="389977" y="294788"/>
                    <a:pt x="389977" y="278470"/>
                    <a:pt x="392697" y="262152"/>
                  </a:cubicBezTo>
                  <a:cubicBezTo>
                    <a:pt x="392697" y="259433"/>
                    <a:pt x="395416" y="243115"/>
                    <a:pt x="395416" y="224077"/>
                  </a:cubicBezTo>
                  <a:cubicBezTo>
                    <a:pt x="395416" y="207759"/>
                    <a:pt x="398136" y="188722"/>
                    <a:pt x="398136" y="177843"/>
                  </a:cubicBezTo>
                  <a:cubicBezTo>
                    <a:pt x="398136" y="169684"/>
                    <a:pt x="395416" y="158806"/>
                    <a:pt x="395416" y="153366"/>
                  </a:cubicBezTo>
                  <a:cubicBezTo>
                    <a:pt x="395416" y="145207"/>
                    <a:pt x="395416" y="142488"/>
                    <a:pt x="395416" y="137048"/>
                  </a:cubicBezTo>
                  <a:cubicBezTo>
                    <a:pt x="389977" y="137048"/>
                    <a:pt x="384537" y="137048"/>
                    <a:pt x="379098" y="137048"/>
                  </a:cubicBezTo>
                  <a:cubicBezTo>
                    <a:pt x="370939" y="137048"/>
                    <a:pt x="360061" y="134329"/>
                    <a:pt x="351902" y="131609"/>
                  </a:cubicBezTo>
                  <a:cubicBezTo>
                    <a:pt x="343742" y="128889"/>
                    <a:pt x="338304" y="120730"/>
                    <a:pt x="338304" y="115291"/>
                  </a:cubicBezTo>
                  <a:cubicBezTo>
                    <a:pt x="338304" y="112571"/>
                    <a:pt x="338304" y="109852"/>
                    <a:pt x="343742" y="107132"/>
                  </a:cubicBezTo>
                  <a:cubicBezTo>
                    <a:pt x="349182" y="104412"/>
                    <a:pt x="357341" y="101693"/>
                    <a:pt x="362780" y="98973"/>
                  </a:cubicBezTo>
                  <a:cubicBezTo>
                    <a:pt x="373659" y="96253"/>
                    <a:pt x="387257" y="96253"/>
                    <a:pt x="395416" y="96253"/>
                  </a:cubicBezTo>
                  <a:cubicBezTo>
                    <a:pt x="398136" y="93534"/>
                    <a:pt x="400855" y="90814"/>
                    <a:pt x="403575" y="90814"/>
                  </a:cubicBezTo>
                  <a:cubicBezTo>
                    <a:pt x="411734" y="90814"/>
                    <a:pt x="419893" y="88095"/>
                    <a:pt x="422612" y="88095"/>
                  </a:cubicBezTo>
                  <a:cubicBezTo>
                    <a:pt x="425332" y="88095"/>
                    <a:pt x="425332" y="88095"/>
                    <a:pt x="428052" y="88095"/>
                  </a:cubicBezTo>
                  <a:cubicBezTo>
                    <a:pt x="433492" y="88095"/>
                    <a:pt x="441650" y="88095"/>
                    <a:pt x="447090" y="90814"/>
                  </a:cubicBezTo>
                  <a:cubicBezTo>
                    <a:pt x="449809" y="90814"/>
                    <a:pt x="452529" y="93534"/>
                    <a:pt x="455249" y="96253"/>
                  </a:cubicBezTo>
                  <a:cubicBezTo>
                    <a:pt x="482445" y="96253"/>
                    <a:pt x="509642" y="93534"/>
                    <a:pt x="525960" y="93534"/>
                  </a:cubicBezTo>
                  <a:cubicBezTo>
                    <a:pt x="539558" y="93534"/>
                    <a:pt x="561315" y="93534"/>
                    <a:pt x="561315" y="109852"/>
                  </a:cubicBezTo>
                  <a:cubicBezTo>
                    <a:pt x="561315" y="118011"/>
                    <a:pt x="561315" y="120730"/>
                    <a:pt x="555876" y="126170"/>
                  </a:cubicBezTo>
                  <a:cubicBezTo>
                    <a:pt x="550437" y="131609"/>
                    <a:pt x="544997" y="134329"/>
                    <a:pt x="539558" y="134329"/>
                  </a:cubicBezTo>
                  <a:cubicBezTo>
                    <a:pt x="531399" y="137048"/>
                    <a:pt x="523240" y="137048"/>
                    <a:pt x="517800" y="137048"/>
                  </a:cubicBezTo>
                  <a:cubicBezTo>
                    <a:pt x="515081" y="137048"/>
                    <a:pt x="498763" y="137048"/>
                    <a:pt x="477006" y="137048"/>
                  </a:cubicBezTo>
                  <a:cubicBezTo>
                    <a:pt x="479725" y="145207"/>
                    <a:pt x="485165" y="153366"/>
                    <a:pt x="485165" y="161525"/>
                  </a:cubicBezTo>
                  <a:cubicBezTo>
                    <a:pt x="487885" y="177843"/>
                    <a:pt x="493324" y="194161"/>
                    <a:pt x="496043" y="210479"/>
                  </a:cubicBezTo>
                  <a:cubicBezTo>
                    <a:pt x="498763" y="224077"/>
                    <a:pt x="498763" y="237676"/>
                    <a:pt x="501483" y="251274"/>
                  </a:cubicBezTo>
                  <a:cubicBezTo>
                    <a:pt x="504202" y="264872"/>
                    <a:pt x="506922" y="275751"/>
                    <a:pt x="506922" y="292069"/>
                  </a:cubicBezTo>
                  <a:cubicBezTo>
                    <a:pt x="506922" y="302947"/>
                    <a:pt x="506922" y="311106"/>
                    <a:pt x="506922" y="321985"/>
                  </a:cubicBezTo>
                  <a:cubicBezTo>
                    <a:pt x="506922" y="327424"/>
                    <a:pt x="509642" y="335583"/>
                    <a:pt x="509642" y="341022"/>
                  </a:cubicBezTo>
                  <a:cubicBezTo>
                    <a:pt x="509642" y="343742"/>
                    <a:pt x="509642" y="343742"/>
                    <a:pt x="509642" y="343742"/>
                  </a:cubicBezTo>
                  <a:cubicBezTo>
                    <a:pt x="509642" y="349181"/>
                    <a:pt x="515081" y="349181"/>
                    <a:pt x="517800" y="349181"/>
                  </a:cubicBezTo>
                  <a:cubicBezTo>
                    <a:pt x="520520" y="349181"/>
                    <a:pt x="523240" y="349181"/>
                    <a:pt x="528680" y="349181"/>
                  </a:cubicBezTo>
                  <a:cubicBezTo>
                    <a:pt x="536838" y="349181"/>
                    <a:pt x="547717" y="349181"/>
                    <a:pt x="550437" y="357340"/>
                  </a:cubicBezTo>
                  <a:cubicBezTo>
                    <a:pt x="550437" y="360060"/>
                    <a:pt x="550437" y="360060"/>
                    <a:pt x="550437" y="362780"/>
                  </a:cubicBezTo>
                  <a:cubicBezTo>
                    <a:pt x="550437" y="370939"/>
                    <a:pt x="539558" y="381817"/>
                    <a:pt x="534119" y="384537"/>
                  </a:cubicBezTo>
                  <a:cubicBezTo>
                    <a:pt x="531399" y="387257"/>
                    <a:pt x="523240" y="387257"/>
                    <a:pt x="520520" y="389976"/>
                  </a:cubicBezTo>
                  <a:cubicBezTo>
                    <a:pt x="515081" y="389976"/>
                    <a:pt x="512362" y="392696"/>
                    <a:pt x="512362" y="395415"/>
                  </a:cubicBezTo>
                  <a:cubicBezTo>
                    <a:pt x="512362" y="395415"/>
                    <a:pt x="512362" y="398135"/>
                    <a:pt x="512362" y="398135"/>
                  </a:cubicBezTo>
                  <a:cubicBezTo>
                    <a:pt x="512362" y="400855"/>
                    <a:pt x="512362" y="406294"/>
                    <a:pt x="512362" y="409014"/>
                  </a:cubicBezTo>
                  <a:cubicBezTo>
                    <a:pt x="512362" y="411733"/>
                    <a:pt x="512362" y="411733"/>
                    <a:pt x="512362" y="414453"/>
                  </a:cubicBezTo>
                  <a:cubicBezTo>
                    <a:pt x="512362" y="422612"/>
                    <a:pt x="512362" y="430771"/>
                    <a:pt x="512362" y="438930"/>
                  </a:cubicBezTo>
                  <a:cubicBezTo>
                    <a:pt x="512362" y="460687"/>
                    <a:pt x="512362" y="482445"/>
                    <a:pt x="515081" y="504202"/>
                  </a:cubicBezTo>
                  <a:cubicBezTo>
                    <a:pt x="517800" y="525959"/>
                    <a:pt x="520520" y="550436"/>
                    <a:pt x="520520" y="572193"/>
                  </a:cubicBezTo>
                  <a:cubicBezTo>
                    <a:pt x="520520" y="583072"/>
                    <a:pt x="520520" y="593950"/>
                    <a:pt x="517800" y="604829"/>
                  </a:cubicBezTo>
                  <a:cubicBezTo>
                    <a:pt x="515081" y="623867"/>
                    <a:pt x="515081" y="642904"/>
                    <a:pt x="512362" y="661942"/>
                  </a:cubicBezTo>
                  <a:cubicBezTo>
                    <a:pt x="512362" y="664661"/>
                    <a:pt x="509642" y="667381"/>
                    <a:pt x="509642" y="670101"/>
                  </a:cubicBezTo>
                  <a:cubicBezTo>
                    <a:pt x="509642" y="672820"/>
                    <a:pt x="512362" y="678260"/>
                    <a:pt x="512362" y="680979"/>
                  </a:cubicBezTo>
                  <a:cubicBezTo>
                    <a:pt x="512362" y="683699"/>
                    <a:pt x="512362" y="686419"/>
                    <a:pt x="512362" y="686419"/>
                  </a:cubicBezTo>
                  <a:cubicBezTo>
                    <a:pt x="517800" y="680979"/>
                    <a:pt x="528680" y="680979"/>
                    <a:pt x="536838" y="680979"/>
                  </a:cubicBezTo>
                  <a:lnTo>
                    <a:pt x="536838" y="680979"/>
                  </a:ln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/>
            </a:p>
          </p:txBody>
        </p:sp>
        <p:sp>
          <p:nvSpPr>
            <p:cNvPr id="57" name="Freeform: Shape 56">
              <a:extLst>
                <a:ext uri="{FF2B5EF4-FFF2-40B4-BE49-F238E27FC236}">
                  <a16:creationId xmlns:a16="http://schemas.microsoft.com/office/drawing/2014/main" id="{0FD41130-7459-4A04-89E6-B467E7827050}"/>
                </a:ext>
              </a:extLst>
            </p:cNvPr>
            <p:cNvSpPr/>
            <p:nvPr/>
          </p:nvSpPr>
          <p:spPr>
            <a:xfrm>
              <a:off x="9592416" y="4192158"/>
              <a:ext cx="516735" cy="761503"/>
            </a:xfrm>
            <a:custGeom>
              <a:avLst/>
              <a:gdLst>
                <a:gd name="connsiteX0" fmla="*/ 463407 w 516735"/>
                <a:gd name="connsiteY0" fmla="*/ 194161 h 761503"/>
                <a:gd name="connsiteX1" fmla="*/ 447089 w 516735"/>
                <a:gd name="connsiteY1" fmla="*/ 226797 h 761503"/>
                <a:gd name="connsiteX2" fmla="*/ 430771 w 516735"/>
                <a:gd name="connsiteY2" fmla="*/ 221357 h 761503"/>
                <a:gd name="connsiteX3" fmla="*/ 422612 w 516735"/>
                <a:gd name="connsiteY3" fmla="*/ 207759 h 761503"/>
                <a:gd name="connsiteX4" fmla="*/ 419893 w 516735"/>
                <a:gd name="connsiteY4" fmla="*/ 188722 h 761503"/>
                <a:gd name="connsiteX5" fmla="*/ 419893 w 516735"/>
                <a:gd name="connsiteY5" fmla="*/ 139768 h 761503"/>
                <a:gd name="connsiteX6" fmla="*/ 419893 w 516735"/>
                <a:gd name="connsiteY6" fmla="*/ 120730 h 761503"/>
                <a:gd name="connsiteX7" fmla="*/ 395416 w 516735"/>
                <a:gd name="connsiteY7" fmla="*/ 120730 h 761503"/>
                <a:gd name="connsiteX8" fmla="*/ 370939 w 516735"/>
                <a:gd name="connsiteY8" fmla="*/ 120730 h 761503"/>
                <a:gd name="connsiteX9" fmla="*/ 346461 w 516735"/>
                <a:gd name="connsiteY9" fmla="*/ 123450 h 761503"/>
                <a:gd name="connsiteX10" fmla="*/ 335583 w 516735"/>
                <a:gd name="connsiteY10" fmla="*/ 123450 h 761503"/>
                <a:gd name="connsiteX11" fmla="*/ 335583 w 516735"/>
                <a:gd name="connsiteY11" fmla="*/ 123450 h 761503"/>
                <a:gd name="connsiteX12" fmla="*/ 324704 w 516735"/>
                <a:gd name="connsiteY12" fmla="*/ 128889 h 761503"/>
                <a:gd name="connsiteX13" fmla="*/ 327424 w 516735"/>
                <a:gd name="connsiteY13" fmla="*/ 139768 h 761503"/>
                <a:gd name="connsiteX14" fmla="*/ 330144 w 516735"/>
                <a:gd name="connsiteY14" fmla="*/ 175123 h 761503"/>
                <a:gd name="connsiteX15" fmla="*/ 330144 w 516735"/>
                <a:gd name="connsiteY15" fmla="*/ 199600 h 761503"/>
                <a:gd name="connsiteX16" fmla="*/ 327424 w 516735"/>
                <a:gd name="connsiteY16" fmla="*/ 224077 h 761503"/>
                <a:gd name="connsiteX17" fmla="*/ 330144 w 516735"/>
                <a:gd name="connsiteY17" fmla="*/ 251274 h 761503"/>
                <a:gd name="connsiteX18" fmla="*/ 327424 w 516735"/>
                <a:gd name="connsiteY18" fmla="*/ 278470 h 761503"/>
                <a:gd name="connsiteX19" fmla="*/ 327424 w 516735"/>
                <a:gd name="connsiteY19" fmla="*/ 332864 h 761503"/>
                <a:gd name="connsiteX20" fmla="*/ 330144 w 516735"/>
                <a:gd name="connsiteY20" fmla="*/ 357340 h 761503"/>
                <a:gd name="connsiteX21" fmla="*/ 330144 w 516735"/>
                <a:gd name="connsiteY21" fmla="*/ 368219 h 761503"/>
                <a:gd name="connsiteX22" fmla="*/ 332863 w 516735"/>
                <a:gd name="connsiteY22" fmla="*/ 387257 h 761503"/>
                <a:gd name="connsiteX23" fmla="*/ 332863 w 516735"/>
                <a:gd name="connsiteY23" fmla="*/ 433491 h 761503"/>
                <a:gd name="connsiteX24" fmla="*/ 332863 w 516735"/>
                <a:gd name="connsiteY24" fmla="*/ 487884 h 761503"/>
                <a:gd name="connsiteX25" fmla="*/ 330144 w 516735"/>
                <a:gd name="connsiteY25" fmla="*/ 512361 h 761503"/>
                <a:gd name="connsiteX26" fmla="*/ 330144 w 516735"/>
                <a:gd name="connsiteY26" fmla="*/ 539557 h 761503"/>
                <a:gd name="connsiteX27" fmla="*/ 332863 w 516735"/>
                <a:gd name="connsiteY27" fmla="*/ 593950 h 761503"/>
                <a:gd name="connsiteX28" fmla="*/ 332863 w 516735"/>
                <a:gd name="connsiteY28" fmla="*/ 648343 h 761503"/>
                <a:gd name="connsiteX29" fmla="*/ 332863 w 516735"/>
                <a:gd name="connsiteY29" fmla="*/ 656502 h 761503"/>
                <a:gd name="connsiteX30" fmla="*/ 357341 w 516735"/>
                <a:gd name="connsiteY30" fmla="*/ 656502 h 761503"/>
                <a:gd name="connsiteX31" fmla="*/ 395416 w 516735"/>
                <a:gd name="connsiteY31" fmla="*/ 675540 h 761503"/>
                <a:gd name="connsiteX32" fmla="*/ 389976 w 516735"/>
                <a:gd name="connsiteY32" fmla="*/ 691858 h 761503"/>
                <a:gd name="connsiteX33" fmla="*/ 373658 w 516735"/>
                <a:gd name="connsiteY33" fmla="*/ 700017 h 761503"/>
                <a:gd name="connsiteX34" fmla="*/ 351901 w 516735"/>
                <a:gd name="connsiteY34" fmla="*/ 702737 h 761503"/>
                <a:gd name="connsiteX35" fmla="*/ 319265 w 516735"/>
                <a:gd name="connsiteY35" fmla="*/ 702737 h 761503"/>
                <a:gd name="connsiteX36" fmla="*/ 311106 w 516735"/>
                <a:gd name="connsiteY36" fmla="*/ 708176 h 761503"/>
                <a:gd name="connsiteX37" fmla="*/ 289349 w 516735"/>
                <a:gd name="connsiteY37" fmla="*/ 713615 h 761503"/>
                <a:gd name="connsiteX38" fmla="*/ 270311 w 516735"/>
                <a:gd name="connsiteY38" fmla="*/ 713615 h 761503"/>
                <a:gd name="connsiteX39" fmla="*/ 243115 w 516735"/>
                <a:gd name="connsiteY39" fmla="*/ 705456 h 761503"/>
                <a:gd name="connsiteX40" fmla="*/ 237675 w 516735"/>
                <a:gd name="connsiteY40" fmla="*/ 702737 h 761503"/>
                <a:gd name="connsiteX41" fmla="*/ 199600 w 516735"/>
                <a:gd name="connsiteY41" fmla="*/ 702737 h 761503"/>
                <a:gd name="connsiteX42" fmla="*/ 175123 w 516735"/>
                <a:gd name="connsiteY42" fmla="*/ 702737 h 761503"/>
                <a:gd name="connsiteX43" fmla="*/ 147927 w 516735"/>
                <a:gd name="connsiteY43" fmla="*/ 697297 h 761503"/>
                <a:gd name="connsiteX44" fmla="*/ 131609 w 516735"/>
                <a:gd name="connsiteY44" fmla="*/ 678260 h 761503"/>
                <a:gd name="connsiteX45" fmla="*/ 137048 w 516735"/>
                <a:gd name="connsiteY45" fmla="*/ 670101 h 761503"/>
                <a:gd name="connsiteX46" fmla="*/ 158805 w 516735"/>
                <a:gd name="connsiteY46" fmla="*/ 661942 h 761503"/>
                <a:gd name="connsiteX47" fmla="*/ 199600 w 516735"/>
                <a:gd name="connsiteY47" fmla="*/ 659222 h 761503"/>
                <a:gd name="connsiteX48" fmla="*/ 199600 w 516735"/>
                <a:gd name="connsiteY48" fmla="*/ 659222 h 761503"/>
                <a:gd name="connsiteX49" fmla="*/ 196880 w 516735"/>
                <a:gd name="connsiteY49" fmla="*/ 629306 h 761503"/>
                <a:gd name="connsiteX50" fmla="*/ 199600 w 516735"/>
                <a:gd name="connsiteY50" fmla="*/ 574913 h 761503"/>
                <a:gd name="connsiteX51" fmla="*/ 202320 w 516735"/>
                <a:gd name="connsiteY51" fmla="*/ 523239 h 761503"/>
                <a:gd name="connsiteX52" fmla="*/ 205040 w 516735"/>
                <a:gd name="connsiteY52" fmla="*/ 460687 h 761503"/>
                <a:gd name="connsiteX53" fmla="*/ 205040 w 516735"/>
                <a:gd name="connsiteY53" fmla="*/ 417173 h 761503"/>
                <a:gd name="connsiteX54" fmla="*/ 207759 w 516735"/>
                <a:gd name="connsiteY54" fmla="*/ 392696 h 761503"/>
                <a:gd name="connsiteX55" fmla="*/ 210478 w 516735"/>
                <a:gd name="connsiteY55" fmla="*/ 368219 h 761503"/>
                <a:gd name="connsiteX56" fmla="*/ 210478 w 516735"/>
                <a:gd name="connsiteY56" fmla="*/ 313826 h 761503"/>
                <a:gd name="connsiteX57" fmla="*/ 210478 w 516735"/>
                <a:gd name="connsiteY57" fmla="*/ 259433 h 761503"/>
                <a:gd name="connsiteX58" fmla="*/ 210478 w 516735"/>
                <a:gd name="connsiteY58" fmla="*/ 213199 h 761503"/>
                <a:gd name="connsiteX59" fmla="*/ 210478 w 516735"/>
                <a:gd name="connsiteY59" fmla="*/ 145207 h 761503"/>
                <a:gd name="connsiteX60" fmla="*/ 213198 w 516735"/>
                <a:gd name="connsiteY60" fmla="*/ 131609 h 761503"/>
                <a:gd name="connsiteX61" fmla="*/ 205040 w 516735"/>
                <a:gd name="connsiteY61" fmla="*/ 123450 h 761503"/>
                <a:gd name="connsiteX62" fmla="*/ 161525 w 516735"/>
                <a:gd name="connsiteY62" fmla="*/ 123450 h 761503"/>
                <a:gd name="connsiteX63" fmla="*/ 112571 w 516735"/>
                <a:gd name="connsiteY63" fmla="*/ 120730 h 761503"/>
                <a:gd name="connsiteX64" fmla="*/ 104412 w 516735"/>
                <a:gd name="connsiteY64" fmla="*/ 118011 h 761503"/>
                <a:gd name="connsiteX65" fmla="*/ 107132 w 516735"/>
                <a:gd name="connsiteY65" fmla="*/ 191441 h 761503"/>
                <a:gd name="connsiteX66" fmla="*/ 90814 w 516735"/>
                <a:gd name="connsiteY66" fmla="*/ 224077 h 761503"/>
                <a:gd name="connsiteX67" fmla="*/ 74496 w 516735"/>
                <a:gd name="connsiteY67" fmla="*/ 218638 h 761503"/>
                <a:gd name="connsiteX68" fmla="*/ 66337 w 516735"/>
                <a:gd name="connsiteY68" fmla="*/ 205040 h 761503"/>
                <a:gd name="connsiteX69" fmla="*/ 63617 w 516735"/>
                <a:gd name="connsiteY69" fmla="*/ 186002 h 761503"/>
                <a:gd name="connsiteX70" fmla="*/ 63617 w 516735"/>
                <a:gd name="connsiteY70" fmla="*/ 145207 h 761503"/>
                <a:gd name="connsiteX71" fmla="*/ 63617 w 516735"/>
                <a:gd name="connsiteY71" fmla="*/ 109852 h 761503"/>
                <a:gd name="connsiteX72" fmla="*/ 58178 w 516735"/>
                <a:gd name="connsiteY72" fmla="*/ 96253 h 761503"/>
                <a:gd name="connsiteX73" fmla="*/ 66337 w 516735"/>
                <a:gd name="connsiteY73" fmla="*/ 85375 h 761503"/>
                <a:gd name="connsiteX74" fmla="*/ 93533 w 516735"/>
                <a:gd name="connsiteY74" fmla="*/ 77216 h 761503"/>
                <a:gd name="connsiteX75" fmla="*/ 115290 w 516735"/>
                <a:gd name="connsiteY75" fmla="*/ 77216 h 761503"/>
                <a:gd name="connsiteX76" fmla="*/ 169684 w 516735"/>
                <a:gd name="connsiteY76" fmla="*/ 74496 h 761503"/>
                <a:gd name="connsiteX77" fmla="*/ 194161 w 516735"/>
                <a:gd name="connsiteY77" fmla="*/ 71776 h 761503"/>
                <a:gd name="connsiteX78" fmla="*/ 196880 w 516735"/>
                <a:gd name="connsiteY78" fmla="*/ 71776 h 761503"/>
                <a:gd name="connsiteX79" fmla="*/ 210478 w 516735"/>
                <a:gd name="connsiteY79" fmla="*/ 71776 h 761503"/>
                <a:gd name="connsiteX80" fmla="*/ 218638 w 516735"/>
                <a:gd name="connsiteY80" fmla="*/ 71776 h 761503"/>
                <a:gd name="connsiteX81" fmla="*/ 237675 w 516735"/>
                <a:gd name="connsiteY81" fmla="*/ 60898 h 761503"/>
                <a:gd name="connsiteX82" fmla="*/ 253993 w 516735"/>
                <a:gd name="connsiteY82" fmla="*/ 58178 h 761503"/>
                <a:gd name="connsiteX83" fmla="*/ 283910 w 516735"/>
                <a:gd name="connsiteY83" fmla="*/ 60898 h 761503"/>
                <a:gd name="connsiteX84" fmla="*/ 294788 w 516735"/>
                <a:gd name="connsiteY84" fmla="*/ 66337 h 761503"/>
                <a:gd name="connsiteX85" fmla="*/ 305667 w 516735"/>
                <a:gd name="connsiteY85" fmla="*/ 74496 h 761503"/>
                <a:gd name="connsiteX86" fmla="*/ 313826 w 516735"/>
                <a:gd name="connsiteY86" fmla="*/ 74496 h 761503"/>
                <a:gd name="connsiteX87" fmla="*/ 327424 w 516735"/>
                <a:gd name="connsiteY87" fmla="*/ 74496 h 761503"/>
                <a:gd name="connsiteX88" fmla="*/ 354621 w 516735"/>
                <a:gd name="connsiteY88" fmla="*/ 74496 h 761503"/>
                <a:gd name="connsiteX89" fmla="*/ 422612 w 516735"/>
                <a:gd name="connsiteY89" fmla="*/ 74496 h 761503"/>
                <a:gd name="connsiteX90" fmla="*/ 455248 w 516735"/>
                <a:gd name="connsiteY90" fmla="*/ 79936 h 761503"/>
                <a:gd name="connsiteX91" fmla="*/ 466127 w 516735"/>
                <a:gd name="connsiteY91" fmla="*/ 98973 h 761503"/>
                <a:gd name="connsiteX92" fmla="*/ 463407 w 516735"/>
                <a:gd name="connsiteY92" fmla="*/ 109852 h 761503"/>
                <a:gd name="connsiteX93" fmla="*/ 463407 w 516735"/>
                <a:gd name="connsiteY93" fmla="*/ 120730 h 761503"/>
                <a:gd name="connsiteX94" fmla="*/ 463407 w 516735"/>
                <a:gd name="connsiteY94" fmla="*/ 194161 h 761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</a:cxnLst>
              <a:rect l="l" t="t" r="r" b="b"/>
              <a:pathLst>
                <a:path w="516735" h="761503">
                  <a:moveTo>
                    <a:pt x="463407" y="194161"/>
                  </a:moveTo>
                  <a:cubicBezTo>
                    <a:pt x="463407" y="205040"/>
                    <a:pt x="463407" y="226797"/>
                    <a:pt x="447089" y="226797"/>
                  </a:cubicBezTo>
                  <a:cubicBezTo>
                    <a:pt x="438930" y="226797"/>
                    <a:pt x="436211" y="226797"/>
                    <a:pt x="430771" y="221357"/>
                  </a:cubicBezTo>
                  <a:cubicBezTo>
                    <a:pt x="425332" y="218638"/>
                    <a:pt x="422612" y="210479"/>
                    <a:pt x="422612" y="207759"/>
                  </a:cubicBezTo>
                  <a:cubicBezTo>
                    <a:pt x="419893" y="199600"/>
                    <a:pt x="419893" y="194161"/>
                    <a:pt x="419893" y="188722"/>
                  </a:cubicBezTo>
                  <a:cubicBezTo>
                    <a:pt x="419893" y="183282"/>
                    <a:pt x="419893" y="147927"/>
                    <a:pt x="419893" y="139768"/>
                  </a:cubicBezTo>
                  <a:cubicBezTo>
                    <a:pt x="419893" y="134329"/>
                    <a:pt x="419893" y="128889"/>
                    <a:pt x="419893" y="120730"/>
                  </a:cubicBezTo>
                  <a:cubicBezTo>
                    <a:pt x="411734" y="120730"/>
                    <a:pt x="403574" y="120730"/>
                    <a:pt x="395416" y="120730"/>
                  </a:cubicBezTo>
                  <a:cubicBezTo>
                    <a:pt x="387256" y="120730"/>
                    <a:pt x="379098" y="120730"/>
                    <a:pt x="370939" y="120730"/>
                  </a:cubicBezTo>
                  <a:cubicBezTo>
                    <a:pt x="362780" y="120730"/>
                    <a:pt x="354621" y="123450"/>
                    <a:pt x="346461" y="123450"/>
                  </a:cubicBezTo>
                  <a:cubicBezTo>
                    <a:pt x="343742" y="123450"/>
                    <a:pt x="341023" y="123450"/>
                    <a:pt x="335583" y="123450"/>
                  </a:cubicBezTo>
                  <a:cubicBezTo>
                    <a:pt x="335583" y="123450"/>
                    <a:pt x="335583" y="123450"/>
                    <a:pt x="335583" y="123450"/>
                  </a:cubicBezTo>
                  <a:cubicBezTo>
                    <a:pt x="327424" y="123450"/>
                    <a:pt x="324704" y="126170"/>
                    <a:pt x="324704" y="128889"/>
                  </a:cubicBezTo>
                  <a:cubicBezTo>
                    <a:pt x="324704" y="131609"/>
                    <a:pt x="324704" y="137048"/>
                    <a:pt x="327424" y="139768"/>
                  </a:cubicBezTo>
                  <a:cubicBezTo>
                    <a:pt x="330144" y="147927"/>
                    <a:pt x="330144" y="166964"/>
                    <a:pt x="330144" y="175123"/>
                  </a:cubicBezTo>
                  <a:cubicBezTo>
                    <a:pt x="330144" y="183282"/>
                    <a:pt x="330144" y="191441"/>
                    <a:pt x="330144" y="199600"/>
                  </a:cubicBezTo>
                  <a:cubicBezTo>
                    <a:pt x="330144" y="207759"/>
                    <a:pt x="327424" y="215918"/>
                    <a:pt x="327424" y="224077"/>
                  </a:cubicBezTo>
                  <a:cubicBezTo>
                    <a:pt x="327424" y="232236"/>
                    <a:pt x="330144" y="243115"/>
                    <a:pt x="330144" y="251274"/>
                  </a:cubicBezTo>
                  <a:cubicBezTo>
                    <a:pt x="330144" y="259433"/>
                    <a:pt x="330144" y="267592"/>
                    <a:pt x="327424" y="278470"/>
                  </a:cubicBezTo>
                  <a:cubicBezTo>
                    <a:pt x="327424" y="294788"/>
                    <a:pt x="327424" y="313826"/>
                    <a:pt x="327424" y="332864"/>
                  </a:cubicBezTo>
                  <a:cubicBezTo>
                    <a:pt x="327424" y="341022"/>
                    <a:pt x="327424" y="349181"/>
                    <a:pt x="330144" y="357340"/>
                  </a:cubicBezTo>
                  <a:cubicBezTo>
                    <a:pt x="330144" y="360060"/>
                    <a:pt x="330144" y="365499"/>
                    <a:pt x="330144" y="368219"/>
                  </a:cubicBezTo>
                  <a:cubicBezTo>
                    <a:pt x="330144" y="373658"/>
                    <a:pt x="332863" y="384537"/>
                    <a:pt x="332863" y="387257"/>
                  </a:cubicBezTo>
                  <a:cubicBezTo>
                    <a:pt x="332863" y="406294"/>
                    <a:pt x="332863" y="414453"/>
                    <a:pt x="332863" y="433491"/>
                  </a:cubicBezTo>
                  <a:cubicBezTo>
                    <a:pt x="332863" y="452528"/>
                    <a:pt x="335583" y="468846"/>
                    <a:pt x="332863" y="487884"/>
                  </a:cubicBezTo>
                  <a:cubicBezTo>
                    <a:pt x="332863" y="496043"/>
                    <a:pt x="330144" y="504202"/>
                    <a:pt x="330144" y="512361"/>
                  </a:cubicBezTo>
                  <a:cubicBezTo>
                    <a:pt x="330144" y="520520"/>
                    <a:pt x="330144" y="531398"/>
                    <a:pt x="330144" y="539557"/>
                  </a:cubicBezTo>
                  <a:cubicBezTo>
                    <a:pt x="330144" y="558595"/>
                    <a:pt x="330144" y="574913"/>
                    <a:pt x="332863" y="593950"/>
                  </a:cubicBezTo>
                  <a:cubicBezTo>
                    <a:pt x="332863" y="610268"/>
                    <a:pt x="332863" y="632026"/>
                    <a:pt x="332863" y="648343"/>
                  </a:cubicBezTo>
                  <a:cubicBezTo>
                    <a:pt x="332863" y="651063"/>
                    <a:pt x="332863" y="653783"/>
                    <a:pt x="332863" y="656502"/>
                  </a:cubicBezTo>
                  <a:cubicBezTo>
                    <a:pt x="343742" y="656502"/>
                    <a:pt x="351901" y="656502"/>
                    <a:pt x="357341" y="656502"/>
                  </a:cubicBezTo>
                  <a:cubicBezTo>
                    <a:pt x="370939" y="656502"/>
                    <a:pt x="395416" y="659222"/>
                    <a:pt x="395416" y="675540"/>
                  </a:cubicBezTo>
                  <a:cubicBezTo>
                    <a:pt x="395416" y="683699"/>
                    <a:pt x="392696" y="686419"/>
                    <a:pt x="389976" y="691858"/>
                  </a:cubicBezTo>
                  <a:cubicBezTo>
                    <a:pt x="384537" y="697297"/>
                    <a:pt x="379098" y="700017"/>
                    <a:pt x="373658" y="700017"/>
                  </a:cubicBezTo>
                  <a:cubicBezTo>
                    <a:pt x="365499" y="702737"/>
                    <a:pt x="357341" y="702737"/>
                    <a:pt x="351901" y="702737"/>
                  </a:cubicBezTo>
                  <a:cubicBezTo>
                    <a:pt x="349181" y="702737"/>
                    <a:pt x="335583" y="702737"/>
                    <a:pt x="319265" y="702737"/>
                  </a:cubicBezTo>
                  <a:cubicBezTo>
                    <a:pt x="316546" y="705456"/>
                    <a:pt x="313826" y="705456"/>
                    <a:pt x="311106" y="708176"/>
                  </a:cubicBezTo>
                  <a:cubicBezTo>
                    <a:pt x="302948" y="713615"/>
                    <a:pt x="297508" y="713615"/>
                    <a:pt x="289349" y="713615"/>
                  </a:cubicBezTo>
                  <a:cubicBezTo>
                    <a:pt x="283910" y="713615"/>
                    <a:pt x="278470" y="713615"/>
                    <a:pt x="270311" y="713615"/>
                  </a:cubicBezTo>
                  <a:cubicBezTo>
                    <a:pt x="259433" y="713615"/>
                    <a:pt x="251273" y="710895"/>
                    <a:pt x="243115" y="705456"/>
                  </a:cubicBezTo>
                  <a:cubicBezTo>
                    <a:pt x="240395" y="705456"/>
                    <a:pt x="237675" y="702737"/>
                    <a:pt x="237675" y="702737"/>
                  </a:cubicBezTo>
                  <a:cubicBezTo>
                    <a:pt x="224077" y="702737"/>
                    <a:pt x="213198" y="702737"/>
                    <a:pt x="199600" y="702737"/>
                  </a:cubicBezTo>
                  <a:cubicBezTo>
                    <a:pt x="191441" y="702737"/>
                    <a:pt x="183282" y="702737"/>
                    <a:pt x="175123" y="702737"/>
                  </a:cubicBezTo>
                  <a:cubicBezTo>
                    <a:pt x="166965" y="702737"/>
                    <a:pt x="156085" y="702737"/>
                    <a:pt x="147927" y="697297"/>
                  </a:cubicBezTo>
                  <a:cubicBezTo>
                    <a:pt x="139768" y="694578"/>
                    <a:pt x="131609" y="680979"/>
                    <a:pt x="131609" y="678260"/>
                  </a:cubicBezTo>
                  <a:cubicBezTo>
                    <a:pt x="131609" y="675540"/>
                    <a:pt x="131609" y="672820"/>
                    <a:pt x="137048" y="670101"/>
                  </a:cubicBezTo>
                  <a:cubicBezTo>
                    <a:pt x="142487" y="667381"/>
                    <a:pt x="153366" y="664661"/>
                    <a:pt x="158805" y="661942"/>
                  </a:cubicBezTo>
                  <a:cubicBezTo>
                    <a:pt x="175123" y="659222"/>
                    <a:pt x="191441" y="659222"/>
                    <a:pt x="199600" y="659222"/>
                  </a:cubicBezTo>
                  <a:lnTo>
                    <a:pt x="199600" y="659222"/>
                  </a:lnTo>
                  <a:cubicBezTo>
                    <a:pt x="199600" y="648343"/>
                    <a:pt x="196880" y="640184"/>
                    <a:pt x="196880" y="629306"/>
                  </a:cubicBezTo>
                  <a:cubicBezTo>
                    <a:pt x="196880" y="612988"/>
                    <a:pt x="196880" y="591231"/>
                    <a:pt x="199600" y="574913"/>
                  </a:cubicBezTo>
                  <a:cubicBezTo>
                    <a:pt x="199600" y="558595"/>
                    <a:pt x="199600" y="539557"/>
                    <a:pt x="202320" y="523239"/>
                  </a:cubicBezTo>
                  <a:cubicBezTo>
                    <a:pt x="202320" y="501482"/>
                    <a:pt x="205040" y="482445"/>
                    <a:pt x="205040" y="460687"/>
                  </a:cubicBezTo>
                  <a:cubicBezTo>
                    <a:pt x="205040" y="447089"/>
                    <a:pt x="205040" y="430771"/>
                    <a:pt x="205040" y="417173"/>
                  </a:cubicBezTo>
                  <a:cubicBezTo>
                    <a:pt x="205040" y="409014"/>
                    <a:pt x="207759" y="400855"/>
                    <a:pt x="207759" y="392696"/>
                  </a:cubicBezTo>
                  <a:cubicBezTo>
                    <a:pt x="207759" y="384537"/>
                    <a:pt x="210478" y="376378"/>
                    <a:pt x="210478" y="368219"/>
                  </a:cubicBezTo>
                  <a:cubicBezTo>
                    <a:pt x="210478" y="351901"/>
                    <a:pt x="210478" y="332864"/>
                    <a:pt x="210478" y="313826"/>
                  </a:cubicBezTo>
                  <a:cubicBezTo>
                    <a:pt x="210478" y="294788"/>
                    <a:pt x="210478" y="275751"/>
                    <a:pt x="210478" y="259433"/>
                  </a:cubicBezTo>
                  <a:cubicBezTo>
                    <a:pt x="210478" y="243115"/>
                    <a:pt x="210478" y="226797"/>
                    <a:pt x="210478" y="213199"/>
                  </a:cubicBezTo>
                  <a:cubicBezTo>
                    <a:pt x="210478" y="194161"/>
                    <a:pt x="210478" y="164245"/>
                    <a:pt x="210478" y="145207"/>
                  </a:cubicBezTo>
                  <a:cubicBezTo>
                    <a:pt x="210478" y="139768"/>
                    <a:pt x="213198" y="134329"/>
                    <a:pt x="213198" y="131609"/>
                  </a:cubicBezTo>
                  <a:cubicBezTo>
                    <a:pt x="213198" y="126170"/>
                    <a:pt x="207759" y="123450"/>
                    <a:pt x="205040" y="123450"/>
                  </a:cubicBezTo>
                  <a:cubicBezTo>
                    <a:pt x="199600" y="123450"/>
                    <a:pt x="166965" y="123450"/>
                    <a:pt x="161525" y="123450"/>
                  </a:cubicBezTo>
                  <a:cubicBezTo>
                    <a:pt x="145207" y="123450"/>
                    <a:pt x="128889" y="123450"/>
                    <a:pt x="112571" y="120730"/>
                  </a:cubicBezTo>
                  <a:cubicBezTo>
                    <a:pt x="109852" y="120730"/>
                    <a:pt x="107132" y="120730"/>
                    <a:pt x="104412" y="118011"/>
                  </a:cubicBezTo>
                  <a:cubicBezTo>
                    <a:pt x="107132" y="137048"/>
                    <a:pt x="107132" y="172404"/>
                    <a:pt x="107132" y="191441"/>
                  </a:cubicBezTo>
                  <a:cubicBezTo>
                    <a:pt x="107132" y="202320"/>
                    <a:pt x="107132" y="224077"/>
                    <a:pt x="90814" y="224077"/>
                  </a:cubicBezTo>
                  <a:cubicBezTo>
                    <a:pt x="82655" y="224077"/>
                    <a:pt x="79935" y="221357"/>
                    <a:pt x="74496" y="218638"/>
                  </a:cubicBezTo>
                  <a:cubicBezTo>
                    <a:pt x="69057" y="215918"/>
                    <a:pt x="66337" y="210479"/>
                    <a:pt x="66337" y="205040"/>
                  </a:cubicBezTo>
                  <a:cubicBezTo>
                    <a:pt x="63617" y="196881"/>
                    <a:pt x="63617" y="191441"/>
                    <a:pt x="63617" y="186002"/>
                  </a:cubicBezTo>
                  <a:cubicBezTo>
                    <a:pt x="63617" y="180563"/>
                    <a:pt x="63617" y="153366"/>
                    <a:pt x="63617" y="145207"/>
                  </a:cubicBezTo>
                  <a:cubicBezTo>
                    <a:pt x="63617" y="134329"/>
                    <a:pt x="63617" y="120730"/>
                    <a:pt x="63617" y="109852"/>
                  </a:cubicBezTo>
                  <a:cubicBezTo>
                    <a:pt x="60897" y="104412"/>
                    <a:pt x="58178" y="101693"/>
                    <a:pt x="58178" y="96253"/>
                  </a:cubicBezTo>
                  <a:cubicBezTo>
                    <a:pt x="58178" y="93534"/>
                    <a:pt x="60897" y="88095"/>
                    <a:pt x="66337" y="85375"/>
                  </a:cubicBezTo>
                  <a:cubicBezTo>
                    <a:pt x="74496" y="79936"/>
                    <a:pt x="77215" y="77216"/>
                    <a:pt x="93533" y="77216"/>
                  </a:cubicBezTo>
                  <a:cubicBezTo>
                    <a:pt x="101692" y="77216"/>
                    <a:pt x="109852" y="77216"/>
                    <a:pt x="115290" y="77216"/>
                  </a:cubicBezTo>
                  <a:cubicBezTo>
                    <a:pt x="134328" y="77216"/>
                    <a:pt x="150646" y="77216"/>
                    <a:pt x="169684" y="74496"/>
                  </a:cubicBezTo>
                  <a:cubicBezTo>
                    <a:pt x="177843" y="74496"/>
                    <a:pt x="186002" y="71776"/>
                    <a:pt x="194161" y="71776"/>
                  </a:cubicBezTo>
                  <a:cubicBezTo>
                    <a:pt x="194161" y="71776"/>
                    <a:pt x="196880" y="71776"/>
                    <a:pt x="196880" y="71776"/>
                  </a:cubicBezTo>
                  <a:cubicBezTo>
                    <a:pt x="199600" y="71776"/>
                    <a:pt x="205040" y="71776"/>
                    <a:pt x="210478" y="71776"/>
                  </a:cubicBezTo>
                  <a:cubicBezTo>
                    <a:pt x="213198" y="71776"/>
                    <a:pt x="215918" y="71776"/>
                    <a:pt x="218638" y="71776"/>
                  </a:cubicBezTo>
                  <a:cubicBezTo>
                    <a:pt x="224077" y="69057"/>
                    <a:pt x="229516" y="63618"/>
                    <a:pt x="237675" y="60898"/>
                  </a:cubicBezTo>
                  <a:cubicBezTo>
                    <a:pt x="243115" y="58178"/>
                    <a:pt x="248554" y="58178"/>
                    <a:pt x="253993" y="58178"/>
                  </a:cubicBezTo>
                  <a:cubicBezTo>
                    <a:pt x="264872" y="58178"/>
                    <a:pt x="273031" y="58178"/>
                    <a:pt x="283910" y="60898"/>
                  </a:cubicBezTo>
                  <a:cubicBezTo>
                    <a:pt x="286629" y="60898"/>
                    <a:pt x="292068" y="63618"/>
                    <a:pt x="294788" y="66337"/>
                  </a:cubicBezTo>
                  <a:cubicBezTo>
                    <a:pt x="297508" y="69057"/>
                    <a:pt x="302948" y="71776"/>
                    <a:pt x="305667" y="74496"/>
                  </a:cubicBezTo>
                  <a:cubicBezTo>
                    <a:pt x="308386" y="74496"/>
                    <a:pt x="311106" y="74496"/>
                    <a:pt x="313826" y="74496"/>
                  </a:cubicBezTo>
                  <a:cubicBezTo>
                    <a:pt x="319265" y="74496"/>
                    <a:pt x="321985" y="74496"/>
                    <a:pt x="327424" y="74496"/>
                  </a:cubicBezTo>
                  <a:cubicBezTo>
                    <a:pt x="335583" y="74496"/>
                    <a:pt x="346461" y="74496"/>
                    <a:pt x="354621" y="74496"/>
                  </a:cubicBezTo>
                  <a:cubicBezTo>
                    <a:pt x="376378" y="74496"/>
                    <a:pt x="400855" y="74496"/>
                    <a:pt x="422612" y="74496"/>
                  </a:cubicBezTo>
                  <a:cubicBezTo>
                    <a:pt x="433491" y="74496"/>
                    <a:pt x="447089" y="74496"/>
                    <a:pt x="455248" y="79936"/>
                  </a:cubicBezTo>
                  <a:cubicBezTo>
                    <a:pt x="460687" y="82655"/>
                    <a:pt x="466127" y="90814"/>
                    <a:pt x="466127" y="98973"/>
                  </a:cubicBezTo>
                  <a:cubicBezTo>
                    <a:pt x="466127" y="101693"/>
                    <a:pt x="466127" y="107132"/>
                    <a:pt x="463407" y="109852"/>
                  </a:cubicBezTo>
                  <a:cubicBezTo>
                    <a:pt x="463407" y="112571"/>
                    <a:pt x="463407" y="112571"/>
                    <a:pt x="463407" y="120730"/>
                  </a:cubicBezTo>
                  <a:cubicBezTo>
                    <a:pt x="463407" y="142488"/>
                    <a:pt x="463407" y="172404"/>
                    <a:pt x="463407" y="194161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dirty="0"/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A0129EEC-9B42-496F-A2D1-85996ED46E8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96000" y="457200"/>
            <a:ext cx="5715000" cy="2565401"/>
          </a:xfrm>
        </p:spPr>
        <p:txBody>
          <a:bodyPr anchor="b"/>
          <a:lstStyle>
            <a:lvl1pPr algn="l">
              <a:lnSpc>
                <a:spcPct val="82000"/>
              </a:lnSpc>
              <a:defRPr sz="660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7FC3C0E5-30C1-434C-9ECA-434F7A55C49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096000" y="3306349"/>
            <a:ext cx="5715000" cy="731520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t>Subtitle or Presenter Name</a:t>
            </a:r>
          </a:p>
        </p:txBody>
      </p:sp>
    </p:spTree>
    <p:extLst>
      <p:ext uri="{BB962C8B-B14F-4D97-AF65-F5344CB8AC3E}">
        <p14:creationId xmlns:p14="http://schemas.microsoft.com/office/powerpoint/2010/main" val="22263780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Circl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F71D965E-4C58-47A3-8D87-9119AC8962E8}"/>
              </a:ext>
            </a:extLst>
          </p:cNvPr>
          <p:cNvSpPr/>
          <p:nvPr/>
        </p:nvSpPr>
        <p:spPr bwMode="white">
          <a:xfrm>
            <a:off x="1" y="0"/>
            <a:ext cx="5538665" cy="6858000"/>
          </a:xfrm>
          <a:custGeom>
            <a:avLst/>
            <a:gdLst>
              <a:gd name="connsiteX0" fmla="*/ 0 w 5538665"/>
              <a:gd name="connsiteY0" fmla="*/ 0 h 6853445"/>
              <a:gd name="connsiteX1" fmla="*/ 3789661 w 5538665"/>
              <a:gd name="connsiteY1" fmla="*/ 0 h 6853445"/>
              <a:gd name="connsiteX2" fmla="*/ 3864039 w 5538665"/>
              <a:gd name="connsiteY2" fmla="*/ 48915 h 6853445"/>
              <a:gd name="connsiteX3" fmla="*/ 5522925 w 5538665"/>
              <a:gd name="connsiteY3" fmla="*/ 3895777 h 6853445"/>
              <a:gd name="connsiteX4" fmla="*/ 3442584 w 5538665"/>
              <a:gd name="connsiteY4" fmla="*/ 6852853 h 6853445"/>
              <a:gd name="connsiteX5" fmla="*/ 3441243 w 5538665"/>
              <a:gd name="connsiteY5" fmla="*/ 6853445 h 6853445"/>
              <a:gd name="connsiteX6" fmla="*/ 0 w 5538665"/>
              <a:gd name="connsiteY6" fmla="*/ 6853445 h 68534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538665" h="6853445">
                <a:moveTo>
                  <a:pt x="0" y="0"/>
                </a:moveTo>
                <a:lnTo>
                  <a:pt x="3789661" y="0"/>
                </a:lnTo>
                <a:lnTo>
                  <a:pt x="3864039" y="48915"/>
                </a:lnTo>
                <a:cubicBezTo>
                  <a:pt x="5036717" y="905415"/>
                  <a:pt x="5646593" y="2400600"/>
                  <a:pt x="5522925" y="3895777"/>
                </a:cubicBezTo>
                <a:cubicBezTo>
                  <a:pt x="5403483" y="5448579"/>
                  <a:pt x="4490294" y="6359136"/>
                  <a:pt x="3442584" y="6852853"/>
                </a:cubicBezTo>
                <a:lnTo>
                  <a:pt x="3441243" y="6853445"/>
                </a:lnTo>
                <a:lnTo>
                  <a:pt x="0" y="6853445"/>
                </a:lnTo>
                <a:close/>
              </a:path>
            </a:pathLst>
          </a:custGeom>
          <a:solidFill>
            <a:schemeClr val="accent4"/>
          </a:solidFill>
          <a:ln w="9525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dirty="0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60008707-373C-4868-B058-05072F020C5B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3459602" y="0"/>
            <a:ext cx="8732399" cy="6858000"/>
          </a:xfrm>
          <a:custGeom>
            <a:avLst/>
            <a:gdLst>
              <a:gd name="connsiteX0" fmla="*/ 343919 w 8732399"/>
              <a:gd name="connsiteY0" fmla="*/ 0 h 6858000"/>
              <a:gd name="connsiteX1" fmla="*/ 8732399 w 8732399"/>
              <a:gd name="connsiteY1" fmla="*/ 0 h 6858000"/>
              <a:gd name="connsiteX2" fmla="*/ 8732399 w 8732399"/>
              <a:gd name="connsiteY2" fmla="*/ 6858000 h 6858000"/>
              <a:gd name="connsiteX3" fmla="*/ 0 w 8732399"/>
              <a:gd name="connsiteY3" fmla="*/ 6858000 h 6858000"/>
              <a:gd name="connsiteX4" fmla="*/ 177693 w 8732399"/>
              <a:gd name="connsiteY4" fmla="*/ 6768713 h 6858000"/>
              <a:gd name="connsiteX5" fmla="*/ 2063325 w 8732399"/>
              <a:gd name="connsiteY5" fmla="*/ 3899618 h 6858000"/>
              <a:gd name="connsiteX6" fmla="*/ 2077959 w 8732399"/>
              <a:gd name="connsiteY6" fmla="*/ 3618494 h 6858000"/>
              <a:gd name="connsiteX7" fmla="*/ 2077954 w 8732399"/>
              <a:gd name="connsiteY7" fmla="*/ 3617951 h 6858000"/>
              <a:gd name="connsiteX8" fmla="*/ 2077959 w 8732399"/>
              <a:gd name="connsiteY8" fmla="*/ 3617865 h 6858000"/>
              <a:gd name="connsiteX9" fmla="*/ 2076397 w 8732399"/>
              <a:gd name="connsiteY9" fmla="*/ 3429041 h 6858000"/>
              <a:gd name="connsiteX10" fmla="*/ 2075650 w 8732399"/>
              <a:gd name="connsiteY10" fmla="*/ 3338309 h 6858000"/>
              <a:gd name="connsiteX11" fmla="*/ 404439 w 8732399"/>
              <a:gd name="connsiteY11" fmla="*/ 39934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8732399" h="6858000">
                <a:moveTo>
                  <a:pt x="343919" y="0"/>
                </a:moveTo>
                <a:lnTo>
                  <a:pt x="8732399" y="0"/>
                </a:lnTo>
                <a:lnTo>
                  <a:pt x="8732399" y="6858000"/>
                </a:lnTo>
                <a:lnTo>
                  <a:pt x="0" y="6858000"/>
                </a:lnTo>
                <a:lnTo>
                  <a:pt x="177693" y="6768713"/>
                </a:lnTo>
                <a:cubicBezTo>
                  <a:pt x="1141742" y="6254472"/>
                  <a:pt x="1951349" y="5360222"/>
                  <a:pt x="2063325" y="3899618"/>
                </a:cubicBezTo>
                <a:cubicBezTo>
                  <a:pt x="2071055" y="3805858"/>
                  <a:pt x="2075919" y="3712098"/>
                  <a:pt x="2077959" y="3618494"/>
                </a:cubicBezTo>
                <a:lnTo>
                  <a:pt x="2077954" y="3617951"/>
                </a:lnTo>
                <a:lnTo>
                  <a:pt x="2077959" y="3617865"/>
                </a:lnTo>
                <a:lnTo>
                  <a:pt x="2076397" y="3429041"/>
                </a:lnTo>
                <a:lnTo>
                  <a:pt x="2075650" y="3338309"/>
                </a:lnTo>
                <a:cubicBezTo>
                  <a:pt x="2025731" y="2034428"/>
                  <a:pt x="1430533" y="791870"/>
                  <a:pt x="404439" y="39934"/>
                </a:cubicBezTo>
                <a:close/>
              </a:path>
            </a:pathLst>
          </a:custGeom>
          <a:solidFill>
            <a:srgbClr val="D9D9D9"/>
          </a:solidFill>
        </p:spPr>
        <p:txBody>
          <a:bodyPr wrap="square" lIns="4663440" tIns="0" rIns="0" anchor="ctr" anchorCtr="0">
            <a:noAutofit/>
          </a:bodyPr>
          <a:lstStyle>
            <a:lvl1pPr marL="0" indent="0" algn="l">
              <a:spcBef>
                <a:spcPts val="0"/>
              </a:spcBef>
              <a:buNone/>
              <a:defRPr sz="1600">
                <a:solidFill>
                  <a:schemeClr val="bg1"/>
                </a:solidFill>
              </a:defRPr>
            </a:lvl1pPr>
          </a:lstStyle>
          <a:p>
            <a:r>
              <a:rPr dirty="0"/>
              <a:t>Click icon to insert picture</a:t>
            </a:r>
            <a:br>
              <a:rPr dirty="0"/>
            </a:br>
            <a:r>
              <a:rPr dirty="0"/>
              <a:t>(minimum recommended size for </a:t>
            </a:r>
            <a:br>
              <a:rPr dirty="0"/>
            </a:br>
            <a:r>
              <a:rPr dirty="0"/>
              <a:t>full slide image is 1280 x 720 pixels)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A6AAFD9-7181-4BA5-A2B7-821424B513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914400"/>
            <a:ext cx="4389120" cy="2476500"/>
          </a:xfrm>
        </p:spPr>
        <p:txBody>
          <a:bodyPr/>
          <a:lstStyle>
            <a:lvl1pPr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9" name="Text Placeholder 53">
            <a:extLst>
              <a:ext uri="{FF2B5EF4-FFF2-40B4-BE49-F238E27FC236}">
                <a16:creationId xmlns:a16="http://schemas.microsoft.com/office/drawing/2014/main" id="{D275F703-BAB3-4AC2-B21C-F4D222E2981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21333" y="3714750"/>
            <a:ext cx="4389120" cy="78105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20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buNone/>
              <a:defRPr sz="200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None/>
              <a:defRPr sz="200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buNone/>
              <a:defRPr sz="200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None/>
              <a:defRPr sz="20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None/>
              <a:defRPr sz="200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buNone/>
              <a:defRPr sz="200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buNone/>
              <a:defRPr sz="200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buNone/>
              <a:defRPr sz="2000">
                <a:solidFill>
                  <a:schemeClr val="tx1"/>
                </a:solidFill>
              </a:defRPr>
            </a:lvl9pPr>
          </a:lstStyle>
          <a:p>
            <a:pPr lvl="0"/>
            <a:r>
              <a:t>Subtitle text (optional)</a:t>
            </a:r>
          </a:p>
        </p:txBody>
      </p:sp>
    </p:spTree>
    <p:extLst>
      <p:ext uri="{BB962C8B-B14F-4D97-AF65-F5344CB8AC3E}">
        <p14:creationId xmlns:p14="http://schemas.microsoft.com/office/powerpoint/2010/main" val="123535221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Arrow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: Shape 6">
            <a:extLst>
              <a:ext uri="{FF2B5EF4-FFF2-40B4-BE49-F238E27FC236}">
                <a16:creationId xmlns:a16="http://schemas.microsoft.com/office/drawing/2014/main" id="{930312BD-1466-44B1-91B9-A5BC6B67C99E}"/>
              </a:ext>
            </a:extLst>
          </p:cNvPr>
          <p:cNvSpPr/>
          <p:nvPr/>
        </p:nvSpPr>
        <p:spPr bwMode="white">
          <a:xfrm>
            <a:off x="0" y="271458"/>
            <a:ext cx="5590219" cy="6586542"/>
          </a:xfrm>
          <a:custGeom>
            <a:avLst/>
            <a:gdLst>
              <a:gd name="connsiteX0" fmla="*/ 2744145 w 5590219"/>
              <a:gd name="connsiteY0" fmla="*/ 2926 h 6586542"/>
              <a:gd name="connsiteX1" fmla="*/ 3035619 w 5590219"/>
              <a:gd name="connsiteY1" fmla="*/ 174376 h 6586542"/>
              <a:gd name="connsiteX2" fmla="*/ 4835835 w 5590219"/>
              <a:gd name="connsiteY2" fmla="*/ 1820293 h 6586542"/>
              <a:gd name="connsiteX3" fmla="*/ 5487345 w 5590219"/>
              <a:gd name="connsiteY3" fmla="*/ 2591825 h 6586542"/>
              <a:gd name="connsiteX4" fmla="*/ 5555925 w 5590219"/>
              <a:gd name="connsiteY4" fmla="*/ 2900435 h 6586542"/>
              <a:gd name="connsiteX5" fmla="*/ 5573079 w 5590219"/>
              <a:gd name="connsiteY5" fmla="*/ 3929133 h 6586542"/>
              <a:gd name="connsiteX6" fmla="*/ 5573079 w 5590219"/>
              <a:gd name="connsiteY6" fmla="*/ 4649221 h 6586542"/>
              <a:gd name="connsiteX7" fmla="*/ 5573079 w 5590219"/>
              <a:gd name="connsiteY7" fmla="*/ 6295138 h 6586542"/>
              <a:gd name="connsiteX8" fmla="*/ 5558606 w 5590219"/>
              <a:gd name="connsiteY8" fmla="*/ 6557937 h 6586542"/>
              <a:gd name="connsiteX9" fmla="*/ 5548028 w 5590219"/>
              <a:gd name="connsiteY9" fmla="*/ 6586542 h 6586542"/>
              <a:gd name="connsiteX10" fmla="*/ 0 w 5590219"/>
              <a:gd name="connsiteY10" fmla="*/ 6586542 h 6586542"/>
              <a:gd name="connsiteX11" fmla="*/ 0 w 5590219"/>
              <a:gd name="connsiteY11" fmla="*/ 2276131 h 6586542"/>
              <a:gd name="connsiteX12" fmla="*/ 37381 w 5590219"/>
              <a:gd name="connsiteY12" fmla="*/ 2238202 h 6586542"/>
              <a:gd name="connsiteX13" fmla="*/ 343844 w 5590219"/>
              <a:gd name="connsiteY13" fmla="*/ 1991742 h 6586542"/>
              <a:gd name="connsiteX14" fmla="*/ 1972629 w 5590219"/>
              <a:gd name="connsiteY14" fmla="*/ 448695 h 6586542"/>
              <a:gd name="connsiteX15" fmla="*/ 2744145 w 5590219"/>
              <a:gd name="connsiteY15" fmla="*/ 2926 h 65865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5590219" h="6586542">
                <a:moveTo>
                  <a:pt x="2744145" y="2926"/>
                </a:moveTo>
                <a:cubicBezTo>
                  <a:pt x="2847015" y="20080"/>
                  <a:pt x="2967039" y="105796"/>
                  <a:pt x="3035619" y="174376"/>
                </a:cubicBezTo>
                <a:cubicBezTo>
                  <a:pt x="3841425" y="808749"/>
                  <a:pt x="4287195" y="1254518"/>
                  <a:pt x="4835835" y="1820293"/>
                </a:cubicBezTo>
                <a:cubicBezTo>
                  <a:pt x="5024439" y="2008896"/>
                  <a:pt x="5384475" y="2351796"/>
                  <a:pt x="5487345" y="2591825"/>
                </a:cubicBezTo>
                <a:cubicBezTo>
                  <a:pt x="5521635" y="2694695"/>
                  <a:pt x="5538789" y="2797565"/>
                  <a:pt x="5555925" y="2900435"/>
                </a:cubicBezTo>
                <a:cubicBezTo>
                  <a:pt x="5607369" y="3260470"/>
                  <a:pt x="5590215" y="3551944"/>
                  <a:pt x="5573079" y="3929133"/>
                </a:cubicBezTo>
                <a:cubicBezTo>
                  <a:pt x="5573079" y="4134872"/>
                  <a:pt x="5573079" y="4443482"/>
                  <a:pt x="5573079" y="4649221"/>
                </a:cubicBezTo>
                <a:cubicBezTo>
                  <a:pt x="5555925" y="5283576"/>
                  <a:pt x="5573079" y="5626476"/>
                  <a:pt x="5573079" y="6295138"/>
                </a:cubicBezTo>
                <a:cubicBezTo>
                  <a:pt x="5573079" y="6385143"/>
                  <a:pt x="5582718" y="6475157"/>
                  <a:pt x="5558606" y="6557937"/>
                </a:cubicBezTo>
                <a:lnTo>
                  <a:pt x="5548028" y="6586542"/>
                </a:lnTo>
                <a:lnTo>
                  <a:pt x="0" y="6586542"/>
                </a:lnTo>
                <a:lnTo>
                  <a:pt x="0" y="2276131"/>
                </a:lnTo>
                <a:lnTo>
                  <a:pt x="37381" y="2238202"/>
                </a:lnTo>
                <a:cubicBezTo>
                  <a:pt x="138109" y="2146047"/>
                  <a:pt x="249551" y="2077467"/>
                  <a:pt x="343844" y="1991742"/>
                </a:cubicBezTo>
                <a:cubicBezTo>
                  <a:pt x="858194" y="1443103"/>
                  <a:pt x="1406835" y="945908"/>
                  <a:pt x="1972629" y="448695"/>
                </a:cubicBezTo>
                <a:cubicBezTo>
                  <a:pt x="2195505" y="242956"/>
                  <a:pt x="2452689" y="-31364"/>
                  <a:pt x="2744145" y="2926"/>
                </a:cubicBezTo>
                <a:close/>
              </a:path>
            </a:pathLst>
          </a:custGeom>
          <a:solidFill>
            <a:schemeClr val="accent3"/>
          </a:solidFill>
          <a:ln w="9525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>
              <a:lnSpc>
                <a:spcPct val="90000"/>
              </a:lnSpc>
            </a:pPr>
            <a:endParaRPr dirty="0">
              <a:solidFill>
                <a:schemeClr val="bg1"/>
              </a:solidFill>
            </a:endParaRP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5DC7C04E-5ED8-4EA9-8321-1C3F398CE0CA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1" cy="6858000"/>
          </a:xfrm>
          <a:custGeom>
            <a:avLst/>
            <a:gdLst>
              <a:gd name="connsiteX0" fmla="*/ 0 w 12192001"/>
              <a:gd name="connsiteY0" fmla="*/ 0 h 6858000"/>
              <a:gd name="connsiteX1" fmla="*/ 12192001 w 12192001"/>
              <a:gd name="connsiteY1" fmla="*/ 0 h 6858000"/>
              <a:gd name="connsiteX2" fmla="*/ 12192001 w 12192001"/>
              <a:gd name="connsiteY2" fmla="*/ 6858000 h 6858000"/>
              <a:gd name="connsiteX3" fmla="*/ 5548029 w 12192001"/>
              <a:gd name="connsiteY3" fmla="*/ 6858000 h 6858000"/>
              <a:gd name="connsiteX4" fmla="*/ 5558606 w 12192001"/>
              <a:gd name="connsiteY4" fmla="*/ 6829395 h 6858000"/>
              <a:gd name="connsiteX5" fmla="*/ 5573080 w 12192001"/>
              <a:gd name="connsiteY5" fmla="*/ 6566596 h 6858000"/>
              <a:gd name="connsiteX6" fmla="*/ 5573080 w 12192001"/>
              <a:gd name="connsiteY6" fmla="*/ 4920679 h 6858000"/>
              <a:gd name="connsiteX7" fmla="*/ 5573080 w 12192001"/>
              <a:gd name="connsiteY7" fmla="*/ 4200591 h 6858000"/>
              <a:gd name="connsiteX8" fmla="*/ 5555925 w 12192001"/>
              <a:gd name="connsiteY8" fmla="*/ 3171893 h 6858000"/>
              <a:gd name="connsiteX9" fmla="*/ 5487345 w 12192001"/>
              <a:gd name="connsiteY9" fmla="*/ 2863283 h 6858000"/>
              <a:gd name="connsiteX10" fmla="*/ 4835835 w 12192001"/>
              <a:gd name="connsiteY10" fmla="*/ 2091751 h 6858000"/>
              <a:gd name="connsiteX11" fmla="*/ 3035619 w 12192001"/>
              <a:gd name="connsiteY11" fmla="*/ 445834 h 6858000"/>
              <a:gd name="connsiteX12" fmla="*/ 2744145 w 12192001"/>
              <a:gd name="connsiteY12" fmla="*/ 274384 h 6858000"/>
              <a:gd name="connsiteX13" fmla="*/ 1972629 w 12192001"/>
              <a:gd name="connsiteY13" fmla="*/ 720153 h 6858000"/>
              <a:gd name="connsiteX14" fmla="*/ 343844 w 12192001"/>
              <a:gd name="connsiteY14" fmla="*/ 2263200 h 6858000"/>
              <a:gd name="connsiteX15" fmla="*/ 37381 w 12192001"/>
              <a:gd name="connsiteY15" fmla="*/ 2509660 h 6858000"/>
              <a:gd name="connsiteX16" fmla="*/ 0 w 12192001"/>
              <a:gd name="connsiteY16" fmla="*/ 2547589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12192001" h="6858000">
                <a:moveTo>
                  <a:pt x="0" y="0"/>
                </a:moveTo>
                <a:lnTo>
                  <a:pt x="12192001" y="0"/>
                </a:lnTo>
                <a:lnTo>
                  <a:pt x="12192001" y="6858000"/>
                </a:lnTo>
                <a:lnTo>
                  <a:pt x="5548029" y="6858000"/>
                </a:lnTo>
                <a:lnTo>
                  <a:pt x="5558606" y="6829395"/>
                </a:lnTo>
                <a:cubicBezTo>
                  <a:pt x="5582718" y="6746615"/>
                  <a:pt x="5573080" y="6656601"/>
                  <a:pt x="5573080" y="6566596"/>
                </a:cubicBezTo>
                <a:cubicBezTo>
                  <a:pt x="5573080" y="5897934"/>
                  <a:pt x="5555925" y="5555034"/>
                  <a:pt x="5573080" y="4920679"/>
                </a:cubicBezTo>
                <a:cubicBezTo>
                  <a:pt x="5573080" y="4714940"/>
                  <a:pt x="5573080" y="4406330"/>
                  <a:pt x="5573080" y="4200591"/>
                </a:cubicBezTo>
                <a:cubicBezTo>
                  <a:pt x="5590215" y="3823402"/>
                  <a:pt x="5607369" y="3531928"/>
                  <a:pt x="5555925" y="3171893"/>
                </a:cubicBezTo>
                <a:cubicBezTo>
                  <a:pt x="5538789" y="3069023"/>
                  <a:pt x="5521636" y="2966153"/>
                  <a:pt x="5487345" y="2863283"/>
                </a:cubicBezTo>
                <a:cubicBezTo>
                  <a:pt x="5384475" y="2623254"/>
                  <a:pt x="5024439" y="2280354"/>
                  <a:pt x="4835835" y="2091751"/>
                </a:cubicBezTo>
                <a:cubicBezTo>
                  <a:pt x="4287195" y="1525976"/>
                  <a:pt x="3841425" y="1080207"/>
                  <a:pt x="3035619" y="445834"/>
                </a:cubicBezTo>
                <a:cubicBezTo>
                  <a:pt x="2967039" y="377254"/>
                  <a:pt x="2847015" y="291538"/>
                  <a:pt x="2744145" y="274384"/>
                </a:cubicBezTo>
                <a:cubicBezTo>
                  <a:pt x="2452689" y="240094"/>
                  <a:pt x="2195505" y="514414"/>
                  <a:pt x="1972629" y="720153"/>
                </a:cubicBezTo>
                <a:cubicBezTo>
                  <a:pt x="1406835" y="1217366"/>
                  <a:pt x="858194" y="1714561"/>
                  <a:pt x="343844" y="2263200"/>
                </a:cubicBezTo>
                <a:cubicBezTo>
                  <a:pt x="249551" y="2348925"/>
                  <a:pt x="138109" y="2417505"/>
                  <a:pt x="37381" y="2509660"/>
                </a:cubicBezTo>
                <a:lnTo>
                  <a:pt x="0" y="2547589"/>
                </a:lnTo>
                <a:close/>
              </a:path>
            </a:pathLst>
          </a:custGeom>
          <a:solidFill>
            <a:srgbClr val="D9D9D9"/>
          </a:solidFill>
        </p:spPr>
        <p:txBody>
          <a:bodyPr wrap="square" lIns="6400800" tIns="0" anchor="ctr" anchorCtr="0">
            <a:noAutofit/>
          </a:bodyPr>
          <a:lstStyle>
            <a:lvl1pPr marL="0" indent="0" algn="l">
              <a:spcBef>
                <a:spcPts val="0"/>
              </a:spcBef>
              <a:buNone/>
              <a:defRPr sz="1600">
                <a:solidFill>
                  <a:schemeClr val="bg1"/>
                </a:solidFill>
              </a:defRPr>
            </a:lvl1pPr>
          </a:lstStyle>
          <a:p>
            <a:r>
              <a:rPr dirty="0"/>
              <a:t>Click icon to insert picture</a:t>
            </a:r>
            <a:br>
              <a:rPr dirty="0"/>
            </a:br>
            <a:r>
              <a:rPr dirty="0"/>
              <a:t>(minimum recommended size for </a:t>
            </a:r>
            <a:br>
              <a:rPr dirty="0"/>
            </a:br>
            <a:r>
              <a:rPr dirty="0"/>
              <a:t>full slide image is 1280 x 720 pixels)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A6AAFD9-7181-4BA5-A2B7-821424B513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599" y="2476500"/>
            <a:ext cx="4695825" cy="2463800"/>
          </a:xfrm>
        </p:spPr>
        <p:txBody>
          <a:bodyPr/>
          <a:lstStyle>
            <a:lvl1pPr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9" name="Text Placeholder 53">
            <a:extLst>
              <a:ext uri="{FF2B5EF4-FFF2-40B4-BE49-F238E27FC236}">
                <a16:creationId xmlns:a16="http://schemas.microsoft.com/office/drawing/2014/main" id="{D275F703-BAB3-4AC2-B21C-F4D222E2981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21332" y="5297713"/>
            <a:ext cx="4684090" cy="73152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20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buNone/>
              <a:defRPr sz="200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None/>
              <a:defRPr sz="200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buNone/>
              <a:defRPr sz="200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None/>
              <a:defRPr sz="20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None/>
              <a:defRPr sz="200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buNone/>
              <a:defRPr sz="200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buNone/>
              <a:defRPr sz="200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buNone/>
              <a:defRPr sz="2000">
                <a:solidFill>
                  <a:schemeClr val="tx1"/>
                </a:solidFill>
              </a:defRPr>
            </a:lvl9pPr>
          </a:lstStyle>
          <a:p>
            <a:pPr lvl="0"/>
            <a:r>
              <a:t>Subtitle text (optional)</a:t>
            </a:r>
          </a:p>
        </p:txBody>
      </p:sp>
    </p:spTree>
    <p:extLst>
      <p:ext uri="{BB962C8B-B14F-4D97-AF65-F5344CB8AC3E}">
        <p14:creationId xmlns:p14="http://schemas.microsoft.com/office/powerpoint/2010/main" val="40421888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2AA6159-B06A-4786-B440-2BBF2AD8CEE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914400"/>
            <a:ext cx="7353300" cy="3467100"/>
          </a:xfrm>
        </p:spPr>
        <p:txBody>
          <a:bodyPr anchor="b"/>
          <a:lstStyle>
            <a:lvl1pPr>
              <a:lnSpc>
                <a:spcPct val="82000"/>
              </a:lnSpc>
              <a:defRPr sz="66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61094D5-7DA6-4745-8DC9-C1C7B6A35847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609601" y="4726213"/>
            <a:ext cx="7353300" cy="73152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t>Subtitle text (optional)</a:t>
            </a:r>
          </a:p>
        </p:txBody>
      </p:sp>
    </p:spTree>
    <p:extLst>
      <p:ext uri="{BB962C8B-B14F-4D97-AF65-F5344CB8AC3E}">
        <p14:creationId xmlns:p14="http://schemas.microsoft.com/office/powerpoint/2010/main" val="177461625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8.xml"/><Relationship Id="rId13" Type="http://schemas.openxmlformats.org/officeDocument/2006/relationships/slideLayout" Target="../slideLayouts/slideLayout43.xml"/><Relationship Id="rId18" Type="http://schemas.openxmlformats.org/officeDocument/2006/relationships/slideLayout" Target="../slideLayouts/slideLayout48.xml"/><Relationship Id="rId3" Type="http://schemas.openxmlformats.org/officeDocument/2006/relationships/slideLayout" Target="../slideLayouts/slideLayout33.xml"/><Relationship Id="rId21" Type="http://schemas.openxmlformats.org/officeDocument/2006/relationships/slideLayout" Target="../slideLayouts/slideLayout51.xml"/><Relationship Id="rId7" Type="http://schemas.openxmlformats.org/officeDocument/2006/relationships/slideLayout" Target="../slideLayouts/slideLayout37.xml"/><Relationship Id="rId12" Type="http://schemas.openxmlformats.org/officeDocument/2006/relationships/slideLayout" Target="../slideLayouts/slideLayout42.xml"/><Relationship Id="rId17" Type="http://schemas.openxmlformats.org/officeDocument/2006/relationships/slideLayout" Target="../slideLayouts/slideLayout47.xml"/><Relationship Id="rId2" Type="http://schemas.openxmlformats.org/officeDocument/2006/relationships/slideLayout" Target="../slideLayouts/slideLayout32.xml"/><Relationship Id="rId16" Type="http://schemas.openxmlformats.org/officeDocument/2006/relationships/slideLayout" Target="../slideLayouts/slideLayout46.xml"/><Relationship Id="rId20" Type="http://schemas.openxmlformats.org/officeDocument/2006/relationships/slideLayout" Target="../slideLayouts/slideLayout50.xml"/><Relationship Id="rId1" Type="http://schemas.openxmlformats.org/officeDocument/2006/relationships/slideLayout" Target="../slideLayouts/slideLayout31.xml"/><Relationship Id="rId6" Type="http://schemas.openxmlformats.org/officeDocument/2006/relationships/slideLayout" Target="../slideLayouts/slideLayout36.xml"/><Relationship Id="rId11" Type="http://schemas.openxmlformats.org/officeDocument/2006/relationships/slideLayout" Target="../slideLayouts/slideLayout41.xml"/><Relationship Id="rId5" Type="http://schemas.openxmlformats.org/officeDocument/2006/relationships/slideLayout" Target="../slideLayouts/slideLayout35.xml"/><Relationship Id="rId15" Type="http://schemas.openxmlformats.org/officeDocument/2006/relationships/slideLayout" Target="../slideLayouts/slideLayout45.xml"/><Relationship Id="rId10" Type="http://schemas.openxmlformats.org/officeDocument/2006/relationships/slideLayout" Target="../slideLayouts/slideLayout40.xml"/><Relationship Id="rId19" Type="http://schemas.openxmlformats.org/officeDocument/2006/relationships/slideLayout" Target="../slideLayouts/slideLayout49.xml"/><Relationship Id="rId4" Type="http://schemas.openxmlformats.org/officeDocument/2006/relationships/slideLayout" Target="../slideLayouts/slideLayout34.xml"/><Relationship Id="rId9" Type="http://schemas.openxmlformats.org/officeDocument/2006/relationships/slideLayout" Target="../slideLayouts/slideLayout39.xml"/><Relationship Id="rId14" Type="http://schemas.openxmlformats.org/officeDocument/2006/relationships/slideLayout" Target="../slideLayouts/slideLayout44.xml"/><Relationship Id="rId22" Type="http://schemas.openxmlformats.org/officeDocument/2006/relationships/theme" Target="../theme/theme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71C3EA3B-7385-407F-B31D-54E05682D8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533400"/>
            <a:ext cx="11430001" cy="48533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E361816-B597-4099-B06F-8143822EEE1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81001" y="1295400"/>
            <a:ext cx="11430000" cy="47244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9314636-AB6E-4ED7-B39A-C71F11A5135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849474" y="6553200"/>
            <a:ext cx="306083" cy="158953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r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fld id="{565A54F4-DB31-4FC5-B748-3F06867349C3}" type="slidenum">
              <a:rPr lang="en-US" smtClean="0"/>
              <a:pPr/>
              <a:t>‹N›</a:t>
            </a:fld>
            <a:endParaRPr lang="en-US" dirty="0"/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675DF94D-DF42-4DC1-B915-F4687A8A6C91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0734260" y="6343014"/>
            <a:ext cx="1000539" cy="385285"/>
            <a:chOff x="2078951" y="1888610"/>
            <a:chExt cx="8030200" cy="3092248"/>
          </a:xfrm>
          <a:solidFill>
            <a:srgbClr val="4F2170"/>
          </a:solidFill>
        </p:grpSpPr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2DDFB966-99CE-4D00-B369-4873B39B0045}"/>
                </a:ext>
              </a:extLst>
            </p:cNvPr>
            <p:cNvSpPr/>
            <p:nvPr/>
          </p:nvSpPr>
          <p:spPr>
            <a:xfrm>
              <a:off x="2078951" y="2872694"/>
              <a:ext cx="951880" cy="652717"/>
            </a:xfrm>
            <a:custGeom>
              <a:avLst/>
              <a:gdLst>
                <a:gd name="connsiteX0" fmla="*/ 903041 w 951880"/>
                <a:gd name="connsiteY0" fmla="*/ 330574 h 652717"/>
                <a:gd name="connsiteX1" fmla="*/ 780656 w 951880"/>
                <a:gd name="connsiteY1" fmla="*/ 379528 h 652717"/>
                <a:gd name="connsiteX2" fmla="*/ 598439 w 951880"/>
                <a:gd name="connsiteY2" fmla="*/ 311537 h 652717"/>
                <a:gd name="connsiteX3" fmla="*/ 505970 w 951880"/>
                <a:gd name="connsiteY3" fmla="*/ 164675 h 652717"/>
                <a:gd name="connsiteX4" fmla="*/ 266640 w 951880"/>
                <a:gd name="connsiteY4" fmla="*/ 61329 h 652717"/>
                <a:gd name="connsiteX5" fmla="*/ 103461 w 951880"/>
                <a:gd name="connsiteY5" fmla="*/ 458398 h 652717"/>
                <a:gd name="connsiteX6" fmla="*/ 756179 w 951880"/>
                <a:gd name="connsiteY6" fmla="*/ 485595 h 652717"/>
                <a:gd name="connsiteX7" fmla="*/ 903041 w 951880"/>
                <a:gd name="connsiteY7" fmla="*/ 330574 h 6527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51880" h="652717">
                  <a:moveTo>
                    <a:pt x="903041" y="330574"/>
                  </a:moveTo>
                  <a:cubicBezTo>
                    <a:pt x="867685" y="363210"/>
                    <a:pt x="813292" y="374089"/>
                    <a:pt x="780656" y="379528"/>
                  </a:cubicBezTo>
                  <a:cubicBezTo>
                    <a:pt x="712664" y="387687"/>
                    <a:pt x="641953" y="365930"/>
                    <a:pt x="598439" y="311537"/>
                  </a:cubicBezTo>
                  <a:cubicBezTo>
                    <a:pt x="563083" y="268022"/>
                    <a:pt x="544046" y="210910"/>
                    <a:pt x="505970" y="164675"/>
                  </a:cubicBezTo>
                  <a:cubicBezTo>
                    <a:pt x="448858" y="93964"/>
                    <a:pt x="359109" y="45011"/>
                    <a:pt x="266640" y="61329"/>
                  </a:cubicBezTo>
                  <a:cubicBezTo>
                    <a:pt x="81704" y="93964"/>
                    <a:pt x="114" y="308817"/>
                    <a:pt x="103461" y="458398"/>
                  </a:cubicBezTo>
                  <a:cubicBezTo>
                    <a:pt x="253042" y="670531"/>
                    <a:pt x="584840" y="635176"/>
                    <a:pt x="756179" y="485595"/>
                  </a:cubicBezTo>
                  <a:cubicBezTo>
                    <a:pt x="813292" y="442080"/>
                    <a:pt x="862246" y="390407"/>
                    <a:pt x="903041" y="330574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02D4893C-4239-4261-AAAA-144E77C081DA}"/>
                </a:ext>
              </a:extLst>
            </p:cNvPr>
            <p:cNvSpPr/>
            <p:nvPr/>
          </p:nvSpPr>
          <p:spPr>
            <a:xfrm>
              <a:off x="9151831" y="2872694"/>
              <a:ext cx="951880" cy="652717"/>
            </a:xfrm>
            <a:custGeom>
              <a:avLst/>
              <a:gdLst>
                <a:gd name="connsiteX0" fmla="*/ 58178 w 951880"/>
                <a:gd name="connsiteY0" fmla="*/ 330574 h 652717"/>
                <a:gd name="connsiteX1" fmla="*/ 180563 w 951880"/>
                <a:gd name="connsiteY1" fmla="*/ 379528 h 652717"/>
                <a:gd name="connsiteX2" fmla="*/ 362780 w 951880"/>
                <a:gd name="connsiteY2" fmla="*/ 311537 h 652717"/>
                <a:gd name="connsiteX3" fmla="*/ 455249 w 951880"/>
                <a:gd name="connsiteY3" fmla="*/ 164675 h 652717"/>
                <a:gd name="connsiteX4" fmla="*/ 694578 w 951880"/>
                <a:gd name="connsiteY4" fmla="*/ 61329 h 652717"/>
                <a:gd name="connsiteX5" fmla="*/ 857758 w 951880"/>
                <a:gd name="connsiteY5" fmla="*/ 458398 h 652717"/>
                <a:gd name="connsiteX6" fmla="*/ 205040 w 951880"/>
                <a:gd name="connsiteY6" fmla="*/ 485595 h 652717"/>
                <a:gd name="connsiteX7" fmla="*/ 58178 w 951880"/>
                <a:gd name="connsiteY7" fmla="*/ 330574 h 6527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51880" h="652717">
                  <a:moveTo>
                    <a:pt x="58178" y="330574"/>
                  </a:moveTo>
                  <a:cubicBezTo>
                    <a:pt x="96253" y="363210"/>
                    <a:pt x="147927" y="374089"/>
                    <a:pt x="180563" y="379528"/>
                  </a:cubicBezTo>
                  <a:cubicBezTo>
                    <a:pt x="248554" y="387687"/>
                    <a:pt x="319266" y="365930"/>
                    <a:pt x="362780" y="311537"/>
                  </a:cubicBezTo>
                  <a:cubicBezTo>
                    <a:pt x="398136" y="268022"/>
                    <a:pt x="417174" y="210910"/>
                    <a:pt x="455249" y="164675"/>
                  </a:cubicBezTo>
                  <a:cubicBezTo>
                    <a:pt x="512362" y="93964"/>
                    <a:pt x="602110" y="45011"/>
                    <a:pt x="694578" y="61329"/>
                  </a:cubicBezTo>
                  <a:cubicBezTo>
                    <a:pt x="879515" y="93964"/>
                    <a:pt x="961105" y="308817"/>
                    <a:pt x="857758" y="458398"/>
                  </a:cubicBezTo>
                  <a:cubicBezTo>
                    <a:pt x="708176" y="670531"/>
                    <a:pt x="376379" y="635176"/>
                    <a:pt x="205040" y="485595"/>
                  </a:cubicBezTo>
                  <a:cubicBezTo>
                    <a:pt x="150646" y="442080"/>
                    <a:pt x="101693" y="390407"/>
                    <a:pt x="58178" y="330574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B3F3835C-7401-448E-A828-2AB0236A2950}"/>
                </a:ext>
              </a:extLst>
            </p:cNvPr>
            <p:cNvSpPr/>
            <p:nvPr/>
          </p:nvSpPr>
          <p:spPr>
            <a:xfrm>
              <a:off x="8001294" y="2010994"/>
              <a:ext cx="734308" cy="299162"/>
            </a:xfrm>
            <a:custGeom>
              <a:avLst/>
              <a:gdLst>
                <a:gd name="connsiteX0" fmla="*/ 596792 w 734307"/>
                <a:gd name="connsiteY0" fmla="*/ 58178 h 299162"/>
                <a:gd name="connsiteX1" fmla="*/ 148048 w 734307"/>
                <a:gd name="connsiteY1" fmla="*/ 58178 h 299162"/>
                <a:gd name="connsiteX2" fmla="*/ 58299 w 734307"/>
                <a:gd name="connsiteY2" fmla="*/ 150646 h 299162"/>
                <a:gd name="connsiteX3" fmla="*/ 148048 w 734307"/>
                <a:gd name="connsiteY3" fmla="*/ 251274 h 299162"/>
                <a:gd name="connsiteX4" fmla="*/ 596792 w 734307"/>
                <a:gd name="connsiteY4" fmla="*/ 251274 h 299162"/>
                <a:gd name="connsiteX5" fmla="*/ 686541 w 734307"/>
                <a:gd name="connsiteY5" fmla="*/ 158805 h 299162"/>
                <a:gd name="connsiteX6" fmla="*/ 596792 w 734307"/>
                <a:gd name="connsiteY6" fmla="*/ 58178 h 2991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34307" h="299162">
                  <a:moveTo>
                    <a:pt x="596792" y="58178"/>
                  </a:moveTo>
                  <a:cubicBezTo>
                    <a:pt x="591353" y="58178"/>
                    <a:pt x="153487" y="58178"/>
                    <a:pt x="148048" y="58178"/>
                  </a:cubicBezTo>
                  <a:cubicBezTo>
                    <a:pt x="99094" y="60898"/>
                    <a:pt x="61019" y="104412"/>
                    <a:pt x="58299" y="150646"/>
                  </a:cubicBezTo>
                  <a:cubicBezTo>
                    <a:pt x="55580" y="199600"/>
                    <a:pt x="99094" y="248554"/>
                    <a:pt x="148048" y="251274"/>
                  </a:cubicBezTo>
                  <a:cubicBezTo>
                    <a:pt x="153487" y="251274"/>
                    <a:pt x="591353" y="251274"/>
                    <a:pt x="596792" y="251274"/>
                  </a:cubicBezTo>
                  <a:cubicBezTo>
                    <a:pt x="645746" y="248554"/>
                    <a:pt x="683821" y="205040"/>
                    <a:pt x="686541" y="158805"/>
                  </a:cubicBezTo>
                  <a:cubicBezTo>
                    <a:pt x="689260" y="109852"/>
                    <a:pt x="648465" y="60898"/>
                    <a:pt x="596792" y="58178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01D31F7F-A45A-4A7D-9412-437ED4532711}"/>
                </a:ext>
              </a:extLst>
            </p:cNvPr>
            <p:cNvSpPr/>
            <p:nvPr/>
          </p:nvSpPr>
          <p:spPr>
            <a:xfrm>
              <a:off x="4920042" y="2277520"/>
              <a:ext cx="1006274" cy="951879"/>
            </a:xfrm>
            <a:custGeom>
              <a:avLst/>
              <a:gdLst>
                <a:gd name="connsiteX0" fmla="*/ 884954 w 1006273"/>
                <a:gd name="connsiteY0" fmla="*/ 746251 h 951879"/>
                <a:gd name="connsiteX1" fmla="*/ 874076 w 1006273"/>
                <a:gd name="connsiteY1" fmla="*/ 670101 h 951879"/>
                <a:gd name="connsiteX2" fmla="*/ 874076 w 1006273"/>
                <a:gd name="connsiteY2" fmla="*/ 536837 h 951879"/>
                <a:gd name="connsiteX3" fmla="*/ 689139 w 1006273"/>
                <a:gd name="connsiteY3" fmla="*/ 88094 h 951879"/>
                <a:gd name="connsiteX4" fmla="*/ 428052 w 1006273"/>
                <a:gd name="connsiteY4" fmla="*/ 253993 h 951879"/>
                <a:gd name="connsiteX5" fmla="*/ 196881 w 1006273"/>
                <a:gd name="connsiteY5" fmla="*/ 58178 h 951879"/>
                <a:gd name="connsiteX6" fmla="*/ 58178 w 1006273"/>
                <a:gd name="connsiteY6" fmla="*/ 128889 h 951879"/>
                <a:gd name="connsiteX7" fmla="*/ 142488 w 1006273"/>
                <a:gd name="connsiteY7" fmla="*/ 273031 h 951879"/>
                <a:gd name="connsiteX8" fmla="*/ 142488 w 1006273"/>
                <a:gd name="connsiteY8" fmla="*/ 757130 h 951879"/>
                <a:gd name="connsiteX9" fmla="*/ 283910 w 1006273"/>
                <a:gd name="connsiteY9" fmla="*/ 895832 h 951879"/>
                <a:gd name="connsiteX10" fmla="*/ 428052 w 1006273"/>
                <a:gd name="connsiteY10" fmla="*/ 757130 h 951879"/>
                <a:gd name="connsiteX11" fmla="*/ 428052 w 1006273"/>
                <a:gd name="connsiteY11" fmla="*/ 400855 h 951879"/>
                <a:gd name="connsiteX12" fmla="*/ 523240 w 1006273"/>
                <a:gd name="connsiteY12" fmla="*/ 283910 h 951879"/>
                <a:gd name="connsiteX13" fmla="*/ 591231 w 1006273"/>
                <a:gd name="connsiteY13" fmla="*/ 354621 h 951879"/>
                <a:gd name="connsiteX14" fmla="*/ 591231 w 1006273"/>
                <a:gd name="connsiteY14" fmla="*/ 697297 h 951879"/>
                <a:gd name="connsiteX15" fmla="*/ 593951 w 1006273"/>
                <a:gd name="connsiteY15" fmla="*/ 729933 h 951879"/>
                <a:gd name="connsiteX16" fmla="*/ 610269 w 1006273"/>
                <a:gd name="connsiteY16" fmla="*/ 778887 h 951879"/>
                <a:gd name="connsiteX17" fmla="*/ 822402 w 1006273"/>
                <a:gd name="connsiteY17" fmla="*/ 893112 h 951879"/>
                <a:gd name="connsiteX18" fmla="*/ 961105 w 1006273"/>
                <a:gd name="connsiteY18" fmla="*/ 822401 h 951879"/>
                <a:gd name="connsiteX19" fmla="*/ 884954 w 1006273"/>
                <a:gd name="connsiteY19" fmla="*/ 746251 h 9518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006273" h="951879">
                  <a:moveTo>
                    <a:pt x="884954" y="746251"/>
                  </a:moveTo>
                  <a:cubicBezTo>
                    <a:pt x="879515" y="721774"/>
                    <a:pt x="876795" y="694578"/>
                    <a:pt x="874076" y="670101"/>
                  </a:cubicBezTo>
                  <a:cubicBezTo>
                    <a:pt x="874076" y="634745"/>
                    <a:pt x="874076" y="583072"/>
                    <a:pt x="874076" y="536837"/>
                  </a:cubicBezTo>
                  <a:cubicBezTo>
                    <a:pt x="879515" y="373658"/>
                    <a:pt x="909431" y="88094"/>
                    <a:pt x="689139" y="88094"/>
                  </a:cubicBezTo>
                  <a:cubicBezTo>
                    <a:pt x="539558" y="88094"/>
                    <a:pt x="452529" y="213199"/>
                    <a:pt x="428052" y="253993"/>
                  </a:cubicBezTo>
                  <a:cubicBezTo>
                    <a:pt x="425332" y="139768"/>
                    <a:pt x="335583" y="58178"/>
                    <a:pt x="196881" y="58178"/>
                  </a:cubicBezTo>
                  <a:cubicBezTo>
                    <a:pt x="109852" y="58178"/>
                    <a:pt x="58178" y="128889"/>
                    <a:pt x="58178" y="128889"/>
                  </a:cubicBezTo>
                  <a:cubicBezTo>
                    <a:pt x="58178" y="128889"/>
                    <a:pt x="142488" y="158805"/>
                    <a:pt x="142488" y="273031"/>
                  </a:cubicBezTo>
                  <a:cubicBezTo>
                    <a:pt x="142488" y="354621"/>
                    <a:pt x="142488" y="757130"/>
                    <a:pt x="142488" y="757130"/>
                  </a:cubicBezTo>
                  <a:cubicBezTo>
                    <a:pt x="145207" y="827841"/>
                    <a:pt x="194161" y="895832"/>
                    <a:pt x="283910" y="895832"/>
                  </a:cubicBezTo>
                  <a:cubicBezTo>
                    <a:pt x="373659" y="895832"/>
                    <a:pt x="428052" y="827841"/>
                    <a:pt x="428052" y="757130"/>
                  </a:cubicBezTo>
                  <a:lnTo>
                    <a:pt x="428052" y="400855"/>
                  </a:lnTo>
                  <a:cubicBezTo>
                    <a:pt x="441650" y="343742"/>
                    <a:pt x="474286" y="283910"/>
                    <a:pt x="523240" y="283910"/>
                  </a:cubicBezTo>
                  <a:cubicBezTo>
                    <a:pt x="585792" y="283910"/>
                    <a:pt x="591231" y="354621"/>
                    <a:pt x="591231" y="354621"/>
                  </a:cubicBezTo>
                  <a:lnTo>
                    <a:pt x="591231" y="697297"/>
                  </a:lnTo>
                  <a:cubicBezTo>
                    <a:pt x="591231" y="708176"/>
                    <a:pt x="593951" y="719054"/>
                    <a:pt x="593951" y="729933"/>
                  </a:cubicBezTo>
                  <a:cubicBezTo>
                    <a:pt x="596671" y="748971"/>
                    <a:pt x="602110" y="765289"/>
                    <a:pt x="610269" y="778887"/>
                  </a:cubicBezTo>
                  <a:cubicBezTo>
                    <a:pt x="645624" y="846878"/>
                    <a:pt x="719055" y="893112"/>
                    <a:pt x="822402" y="893112"/>
                  </a:cubicBezTo>
                  <a:cubicBezTo>
                    <a:pt x="909431" y="893112"/>
                    <a:pt x="961105" y="822401"/>
                    <a:pt x="961105" y="822401"/>
                  </a:cubicBezTo>
                  <a:cubicBezTo>
                    <a:pt x="961105" y="822401"/>
                    <a:pt x="909431" y="808803"/>
                    <a:pt x="884954" y="746251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0CFFA8A5-B56A-4E5D-84C7-1DA7EC642538}"/>
                </a:ext>
              </a:extLst>
            </p:cNvPr>
            <p:cNvSpPr/>
            <p:nvPr/>
          </p:nvSpPr>
          <p:spPr>
            <a:xfrm>
              <a:off x="7552331" y="1888610"/>
              <a:ext cx="489539" cy="1332631"/>
            </a:xfrm>
            <a:custGeom>
              <a:avLst/>
              <a:gdLst>
                <a:gd name="connsiteX0" fmla="*/ 368560 w 489538"/>
                <a:gd name="connsiteY0" fmla="*/ 1135162 h 1332630"/>
                <a:gd name="connsiteX1" fmla="*/ 357681 w 489538"/>
                <a:gd name="connsiteY1" fmla="*/ 1059011 h 1332630"/>
                <a:gd name="connsiteX2" fmla="*/ 357681 w 489538"/>
                <a:gd name="connsiteY2" fmla="*/ 207759 h 1332630"/>
                <a:gd name="connsiteX3" fmla="*/ 208099 w 489538"/>
                <a:gd name="connsiteY3" fmla="*/ 58178 h 1332630"/>
                <a:gd name="connsiteX4" fmla="*/ 58518 w 489538"/>
                <a:gd name="connsiteY4" fmla="*/ 207759 h 1332630"/>
                <a:gd name="connsiteX5" fmla="*/ 58518 w 489538"/>
                <a:gd name="connsiteY5" fmla="*/ 961104 h 1332630"/>
                <a:gd name="connsiteX6" fmla="*/ 85715 w 489538"/>
                <a:gd name="connsiteY6" fmla="*/ 1159639 h 1332630"/>
                <a:gd name="connsiteX7" fmla="*/ 306007 w 489538"/>
                <a:gd name="connsiteY7" fmla="*/ 1282023 h 1332630"/>
                <a:gd name="connsiteX8" fmla="*/ 444710 w 489538"/>
                <a:gd name="connsiteY8" fmla="*/ 1211312 h 1332630"/>
                <a:gd name="connsiteX9" fmla="*/ 368560 w 489538"/>
                <a:gd name="connsiteY9" fmla="*/ 1135162 h 13326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89538" h="1332630">
                  <a:moveTo>
                    <a:pt x="368560" y="1135162"/>
                  </a:moveTo>
                  <a:cubicBezTo>
                    <a:pt x="363120" y="1110685"/>
                    <a:pt x="357681" y="1083488"/>
                    <a:pt x="357681" y="1059011"/>
                  </a:cubicBezTo>
                  <a:lnTo>
                    <a:pt x="357681" y="207759"/>
                  </a:lnTo>
                  <a:cubicBezTo>
                    <a:pt x="357681" y="126170"/>
                    <a:pt x="289689" y="58178"/>
                    <a:pt x="208099" y="58178"/>
                  </a:cubicBezTo>
                  <a:cubicBezTo>
                    <a:pt x="126510" y="58178"/>
                    <a:pt x="58518" y="126170"/>
                    <a:pt x="58518" y="207759"/>
                  </a:cubicBezTo>
                  <a:lnTo>
                    <a:pt x="58518" y="961104"/>
                  </a:lnTo>
                  <a:cubicBezTo>
                    <a:pt x="58518" y="1029095"/>
                    <a:pt x="53079" y="1097086"/>
                    <a:pt x="85715" y="1159639"/>
                  </a:cubicBezTo>
                  <a:cubicBezTo>
                    <a:pt x="118351" y="1227630"/>
                    <a:pt x="202660" y="1282023"/>
                    <a:pt x="306007" y="1282023"/>
                  </a:cubicBezTo>
                  <a:cubicBezTo>
                    <a:pt x="393036" y="1282023"/>
                    <a:pt x="444710" y="1211312"/>
                    <a:pt x="444710" y="1211312"/>
                  </a:cubicBezTo>
                  <a:cubicBezTo>
                    <a:pt x="444710" y="1211312"/>
                    <a:pt x="393036" y="1197714"/>
                    <a:pt x="368560" y="1135162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246382E1-A9BA-4A26-983B-2982AB4A1E99}"/>
                </a:ext>
              </a:extLst>
            </p:cNvPr>
            <p:cNvSpPr/>
            <p:nvPr/>
          </p:nvSpPr>
          <p:spPr>
            <a:xfrm>
              <a:off x="4162324" y="2357456"/>
              <a:ext cx="815899" cy="815898"/>
            </a:xfrm>
            <a:custGeom>
              <a:avLst/>
              <a:gdLst>
                <a:gd name="connsiteX0" fmla="*/ 407949 w 815899"/>
                <a:gd name="connsiteY0" fmla="*/ 174058 h 815898"/>
                <a:gd name="connsiteX1" fmla="*/ 293723 w 815899"/>
                <a:gd name="connsiteY1" fmla="*/ 407950 h 815898"/>
                <a:gd name="connsiteX2" fmla="*/ 410669 w 815899"/>
                <a:gd name="connsiteY2" fmla="*/ 641840 h 815898"/>
                <a:gd name="connsiteX3" fmla="*/ 522175 w 815899"/>
                <a:gd name="connsiteY3" fmla="*/ 407950 h 815898"/>
                <a:gd name="connsiteX4" fmla="*/ 407949 w 815899"/>
                <a:gd name="connsiteY4" fmla="*/ 174058 h 815898"/>
                <a:gd name="connsiteX5" fmla="*/ 407950 w 815899"/>
                <a:gd name="connsiteY5" fmla="*/ 0 h 815898"/>
                <a:gd name="connsiteX6" fmla="*/ 815899 w 815899"/>
                <a:gd name="connsiteY6" fmla="*/ 407949 h 815898"/>
                <a:gd name="connsiteX7" fmla="*/ 407950 w 815899"/>
                <a:gd name="connsiteY7" fmla="*/ 815898 h 815898"/>
                <a:gd name="connsiteX8" fmla="*/ 0 w 815899"/>
                <a:gd name="connsiteY8" fmla="*/ 407949 h 815898"/>
                <a:gd name="connsiteX9" fmla="*/ 407950 w 815899"/>
                <a:gd name="connsiteY9" fmla="*/ 0 h 815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15899" h="815898">
                  <a:moveTo>
                    <a:pt x="407949" y="174058"/>
                  </a:moveTo>
                  <a:cubicBezTo>
                    <a:pt x="342677" y="174058"/>
                    <a:pt x="293723" y="263807"/>
                    <a:pt x="293723" y="407950"/>
                  </a:cubicBezTo>
                  <a:cubicBezTo>
                    <a:pt x="293723" y="552091"/>
                    <a:pt x="331799" y="639120"/>
                    <a:pt x="410669" y="641840"/>
                  </a:cubicBezTo>
                  <a:cubicBezTo>
                    <a:pt x="489539" y="641840"/>
                    <a:pt x="527614" y="552091"/>
                    <a:pt x="522175" y="407950"/>
                  </a:cubicBezTo>
                  <a:cubicBezTo>
                    <a:pt x="522175" y="263807"/>
                    <a:pt x="473221" y="176778"/>
                    <a:pt x="407949" y="174058"/>
                  </a:cubicBezTo>
                  <a:close/>
                  <a:moveTo>
                    <a:pt x="407950" y="0"/>
                  </a:moveTo>
                  <a:cubicBezTo>
                    <a:pt x="633682" y="0"/>
                    <a:pt x="815899" y="182217"/>
                    <a:pt x="815899" y="407949"/>
                  </a:cubicBezTo>
                  <a:cubicBezTo>
                    <a:pt x="815899" y="633681"/>
                    <a:pt x="633682" y="815898"/>
                    <a:pt x="407950" y="815898"/>
                  </a:cubicBezTo>
                  <a:cubicBezTo>
                    <a:pt x="182218" y="815898"/>
                    <a:pt x="0" y="633681"/>
                    <a:pt x="0" y="407949"/>
                  </a:cubicBezTo>
                  <a:cubicBezTo>
                    <a:pt x="0" y="182217"/>
                    <a:pt x="182218" y="0"/>
                    <a:pt x="407950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161943EE-46A4-4440-BF00-038EF24C3294}"/>
                </a:ext>
              </a:extLst>
            </p:cNvPr>
            <p:cNvSpPr/>
            <p:nvPr/>
          </p:nvSpPr>
          <p:spPr>
            <a:xfrm>
              <a:off x="5884871" y="1946788"/>
              <a:ext cx="912802" cy="1223846"/>
            </a:xfrm>
            <a:custGeom>
              <a:avLst/>
              <a:gdLst>
                <a:gd name="connsiteX0" fmla="*/ 387907 w 912802"/>
                <a:gd name="connsiteY0" fmla="*/ 620081 h 1223846"/>
                <a:gd name="connsiteX1" fmla="*/ 273681 w 912802"/>
                <a:gd name="connsiteY1" fmla="*/ 824055 h 1223846"/>
                <a:gd name="connsiteX2" fmla="*/ 390627 w 912802"/>
                <a:gd name="connsiteY2" fmla="*/ 1028029 h 1223846"/>
                <a:gd name="connsiteX3" fmla="*/ 502132 w 912802"/>
                <a:gd name="connsiteY3" fmla="*/ 824055 h 1223846"/>
                <a:gd name="connsiteX4" fmla="*/ 387907 w 912802"/>
                <a:gd name="connsiteY4" fmla="*/ 620081 h 1223846"/>
                <a:gd name="connsiteX5" fmla="*/ 676192 w 912802"/>
                <a:gd name="connsiteY5" fmla="*/ 0 h 1223846"/>
                <a:gd name="connsiteX6" fmla="*/ 825773 w 912802"/>
                <a:gd name="connsiteY6" fmla="*/ 149581 h 1223846"/>
                <a:gd name="connsiteX7" fmla="*/ 825773 w 912802"/>
                <a:gd name="connsiteY7" fmla="*/ 1000834 h 1223846"/>
                <a:gd name="connsiteX8" fmla="*/ 836651 w 912802"/>
                <a:gd name="connsiteY8" fmla="*/ 1076985 h 1223846"/>
                <a:gd name="connsiteX9" fmla="*/ 912802 w 912802"/>
                <a:gd name="connsiteY9" fmla="*/ 1150415 h 1223846"/>
                <a:gd name="connsiteX10" fmla="*/ 774099 w 912802"/>
                <a:gd name="connsiteY10" fmla="*/ 1221126 h 1223846"/>
                <a:gd name="connsiteX11" fmla="*/ 553807 w 912802"/>
                <a:gd name="connsiteY11" fmla="*/ 1098742 h 1223846"/>
                <a:gd name="connsiteX12" fmla="*/ 548367 w 912802"/>
                <a:gd name="connsiteY12" fmla="*/ 1085144 h 1223846"/>
                <a:gd name="connsiteX13" fmla="*/ 398786 w 912802"/>
                <a:gd name="connsiteY13" fmla="*/ 1212967 h 1223846"/>
                <a:gd name="connsiteX14" fmla="*/ 156736 w 912802"/>
                <a:gd name="connsiteY14" fmla="*/ 1180332 h 1223846"/>
                <a:gd name="connsiteX15" fmla="*/ 287280 w 912802"/>
                <a:gd name="connsiteY15" fmla="*/ 416107 h 1223846"/>
                <a:gd name="connsiteX16" fmla="*/ 526611 w 912802"/>
                <a:gd name="connsiteY16" fmla="*/ 552091 h 1223846"/>
                <a:gd name="connsiteX17" fmla="*/ 526611 w 912802"/>
                <a:gd name="connsiteY17" fmla="*/ 149581 h 1223846"/>
                <a:gd name="connsiteX18" fmla="*/ 676192 w 912802"/>
                <a:gd name="connsiteY18" fmla="*/ 0 h 1223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912802" h="1223846">
                  <a:moveTo>
                    <a:pt x="387907" y="620081"/>
                  </a:moveTo>
                  <a:cubicBezTo>
                    <a:pt x="322635" y="620081"/>
                    <a:pt x="273681" y="698951"/>
                    <a:pt x="273681" y="824055"/>
                  </a:cubicBezTo>
                  <a:cubicBezTo>
                    <a:pt x="273681" y="949160"/>
                    <a:pt x="311756" y="1028029"/>
                    <a:pt x="390627" y="1028029"/>
                  </a:cubicBezTo>
                  <a:cubicBezTo>
                    <a:pt x="466777" y="1025310"/>
                    <a:pt x="504852" y="949160"/>
                    <a:pt x="502132" y="824055"/>
                  </a:cubicBezTo>
                  <a:cubicBezTo>
                    <a:pt x="502132" y="698951"/>
                    <a:pt x="455898" y="622801"/>
                    <a:pt x="387907" y="620081"/>
                  </a:cubicBezTo>
                  <a:close/>
                  <a:moveTo>
                    <a:pt x="676192" y="0"/>
                  </a:moveTo>
                  <a:cubicBezTo>
                    <a:pt x="757781" y="0"/>
                    <a:pt x="825773" y="67992"/>
                    <a:pt x="825773" y="149581"/>
                  </a:cubicBezTo>
                  <a:lnTo>
                    <a:pt x="825773" y="1000834"/>
                  </a:lnTo>
                  <a:cubicBezTo>
                    <a:pt x="828492" y="1025311"/>
                    <a:pt x="831212" y="1052508"/>
                    <a:pt x="836651" y="1076985"/>
                  </a:cubicBezTo>
                  <a:cubicBezTo>
                    <a:pt x="861128" y="1139537"/>
                    <a:pt x="912802" y="1150415"/>
                    <a:pt x="912802" y="1150415"/>
                  </a:cubicBezTo>
                  <a:cubicBezTo>
                    <a:pt x="912802" y="1150415"/>
                    <a:pt x="861128" y="1221126"/>
                    <a:pt x="774099" y="1221126"/>
                  </a:cubicBezTo>
                  <a:cubicBezTo>
                    <a:pt x="670752" y="1221126"/>
                    <a:pt x="589162" y="1166733"/>
                    <a:pt x="553807" y="1098742"/>
                  </a:cubicBezTo>
                  <a:cubicBezTo>
                    <a:pt x="551087" y="1093303"/>
                    <a:pt x="551087" y="1090583"/>
                    <a:pt x="548367" y="1085144"/>
                  </a:cubicBezTo>
                  <a:cubicBezTo>
                    <a:pt x="534769" y="1147696"/>
                    <a:pt x="450460" y="1199369"/>
                    <a:pt x="398786" y="1212967"/>
                  </a:cubicBezTo>
                  <a:cubicBezTo>
                    <a:pt x="322636" y="1234725"/>
                    <a:pt x="222008" y="1223846"/>
                    <a:pt x="156736" y="1180332"/>
                  </a:cubicBezTo>
                  <a:cubicBezTo>
                    <a:pt x="-79874" y="1028031"/>
                    <a:pt x="-58117" y="416107"/>
                    <a:pt x="287280" y="416107"/>
                  </a:cubicBezTo>
                  <a:cubicBezTo>
                    <a:pt x="412385" y="416107"/>
                    <a:pt x="491255" y="503137"/>
                    <a:pt x="526611" y="552091"/>
                  </a:cubicBezTo>
                  <a:lnTo>
                    <a:pt x="526611" y="149581"/>
                  </a:lnTo>
                  <a:cubicBezTo>
                    <a:pt x="526611" y="67992"/>
                    <a:pt x="594602" y="0"/>
                    <a:pt x="676192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289999A4-40ED-44FF-8230-ACE6D5A307FF}"/>
                </a:ext>
              </a:extLst>
            </p:cNvPr>
            <p:cNvSpPr/>
            <p:nvPr/>
          </p:nvSpPr>
          <p:spPr>
            <a:xfrm>
              <a:off x="6789513" y="2362895"/>
              <a:ext cx="747906" cy="810458"/>
            </a:xfrm>
            <a:custGeom>
              <a:avLst/>
              <a:gdLst>
                <a:gd name="connsiteX0" fmla="*/ 394818 w 747906"/>
                <a:gd name="connsiteY0" fmla="*/ 163222 h 810458"/>
                <a:gd name="connsiteX1" fmla="*/ 356275 w 747906"/>
                <a:gd name="connsiteY1" fmla="*/ 174058 h 810458"/>
                <a:gd name="connsiteX2" fmla="*/ 274685 w 747906"/>
                <a:gd name="connsiteY2" fmla="*/ 356275 h 810458"/>
                <a:gd name="connsiteX3" fmla="*/ 375313 w 747906"/>
                <a:gd name="connsiteY3" fmla="*/ 358994 h 810458"/>
                <a:gd name="connsiteX4" fmla="*/ 473220 w 747906"/>
                <a:gd name="connsiteY4" fmla="*/ 239329 h 810458"/>
                <a:gd name="connsiteX5" fmla="*/ 394818 w 747906"/>
                <a:gd name="connsiteY5" fmla="*/ 163222 h 810458"/>
                <a:gd name="connsiteX6" fmla="*/ 386192 w 747906"/>
                <a:gd name="connsiteY6" fmla="*/ 0 h 810458"/>
                <a:gd name="connsiteX7" fmla="*/ 747906 w 747906"/>
                <a:gd name="connsiteY7" fmla="*/ 266526 h 810458"/>
                <a:gd name="connsiteX8" fmla="*/ 291004 w 747906"/>
                <a:gd name="connsiteY8" fmla="*/ 484100 h 810458"/>
                <a:gd name="connsiteX9" fmla="*/ 497698 w 747906"/>
                <a:gd name="connsiteY9" fmla="*/ 617363 h 810458"/>
                <a:gd name="connsiteX10" fmla="*/ 712551 w 747906"/>
                <a:gd name="connsiteY10" fmla="*/ 557530 h 810458"/>
                <a:gd name="connsiteX11" fmla="*/ 388912 w 747906"/>
                <a:gd name="connsiteY11" fmla="*/ 810458 h 810458"/>
                <a:gd name="connsiteX12" fmla="*/ 0 w 747906"/>
                <a:gd name="connsiteY12" fmla="*/ 413389 h 810458"/>
                <a:gd name="connsiteX13" fmla="*/ 386192 w 747906"/>
                <a:gd name="connsiteY13" fmla="*/ 0 h 8104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747906" h="810458">
                  <a:moveTo>
                    <a:pt x="394818" y="163222"/>
                  </a:moveTo>
                  <a:cubicBezTo>
                    <a:pt x="381772" y="163179"/>
                    <a:pt x="368514" y="166579"/>
                    <a:pt x="356275" y="174058"/>
                  </a:cubicBezTo>
                  <a:cubicBezTo>
                    <a:pt x="299162" y="212133"/>
                    <a:pt x="282844" y="291003"/>
                    <a:pt x="274685" y="356275"/>
                  </a:cubicBezTo>
                  <a:cubicBezTo>
                    <a:pt x="274685" y="364434"/>
                    <a:pt x="369873" y="358994"/>
                    <a:pt x="375313" y="358994"/>
                  </a:cubicBezTo>
                  <a:cubicBezTo>
                    <a:pt x="432425" y="345396"/>
                    <a:pt x="473220" y="301881"/>
                    <a:pt x="473220" y="239329"/>
                  </a:cubicBezTo>
                  <a:cubicBezTo>
                    <a:pt x="471181" y="194455"/>
                    <a:pt x="433956" y="163349"/>
                    <a:pt x="394818" y="163222"/>
                  </a:cubicBezTo>
                  <a:close/>
                  <a:moveTo>
                    <a:pt x="386192" y="0"/>
                  </a:moveTo>
                  <a:cubicBezTo>
                    <a:pt x="519455" y="0"/>
                    <a:pt x="747906" y="65272"/>
                    <a:pt x="747906" y="266526"/>
                  </a:cubicBezTo>
                  <a:cubicBezTo>
                    <a:pt x="747906" y="467782"/>
                    <a:pt x="538493" y="484100"/>
                    <a:pt x="291004" y="484100"/>
                  </a:cubicBezTo>
                  <a:cubicBezTo>
                    <a:pt x="291004" y="484100"/>
                    <a:pt x="326359" y="617363"/>
                    <a:pt x="497698" y="617363"/>
                  </a:cubicBezTo>
                  <a:cubicBezTo>
                    <a:pt x="669036" y="617363"/>
                    <a:pt x="712551" y="557530"/>
                    <a:pt x="712551" y="557530"/>
                  </a:cubicBezTo>
                  <a:cubicBezTo>
                    <a:pt x="712551" y="557530"/>
                    <a:pt x="696233" y="810458"/>
                    <a:pt x="388912" y="810458"/>
                  </a:cubicBezTo>
                  <a:cubicBezTo>
                    <a:pt x="212134" y="810458"/>
                    <a:pt x="0" y="677195"/>
                    <a:pt x="0" y="413389"/>
                  </a:cubicBezTo>
                  <a:cubicBezTo>
                    <a:pt x="0" y="176778"/>
                    <a:pt x="163180" y="0"/>
                    <a:pt x="386192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C6298649-002A-4EEF-ACB1-CFCDC30BCA2B}"/>
                </a:ext>
              </a:extLst>
            </p:cNvPr>
            <p:cNvSpPr/>
            <p:nvPr/>
          </p:nvSpPr>
          <p:spPr>
            <a:xfrm>
              <a:off x="7988882" y="2362895"/>
              <a:ext cx="747906" cy="810458"/>
            </a:xfrm>
            <a:custGeom>
              <a:avLst/>
              <a:gdLst>
                <a:gd name="connsiteX0" fmla="*/ 394818 w 747906"/>
                <a:gd name="connsiteY0" fmla="*/ 163222 h 810458"/>
                <a:gd name="connsiteX1" fmla="*/ 356275 w 747906"/>
                <a:gd name="connsiteY1" fmla="*/ 174058 h 810458"/>
                <a:gd name="connsiteX2" fmla="*/ 274685 w 747906"/>
                <a:gd name="connsiteY2" fmla="*/ 356275 h 810458"/>
                <a:gd name="connsiteX3" fmla="*/ 375313 w 747906"/>
                <a:gd name="connsiteY3" fmla="*/ 358994 h 810458"/>
                <a:gd name="connsiteX4" fmla="*/ 473220 w 747906"/>
                <a:gd name="connsiteY4" fmla="*/ 239329 h 810458"/>
                <a:gd name="connsiteX5" fmla="*/ 394818 w 747906"/>
                <a:gd name="connsiteY5" fmla="*/ 163222 h 810458"/>
                <a:gd name="connsiteX6" fmla="*/ 386192 w 747906"/>
                <a:gd name="connsiteY6" fmla="*/ 0 h 810458"/>
                <a:gd name="connsiteX7" fmla="*/ 747906 w 747906"/>
                <a:gd name="connsiteY7" fmla="*/ 266526 h 810458"/>
                <a:gd name="connsiteX8" fmla="*/ 291004 w 747906"/>
                <a:gd name="connsiteY8" fmla="*/ 484100 h 810458"/>
                <a:gd name="connsiteX9" fmla="*/ 497697 w 747906"/>
                <a:gd name="connsiteY9" fmla="*/ 617363 h 810458"/>
                <a:gd name="connsiteX10" fmla="*/ 712551 w 747906"/>
                <a:gd name="connsiteY10" fmla="*/ 557530 h 810458"/>
                <a:gd name="connsiteX11" fmla="*/ 388911 w 747906"/>
                <a:gd name="connsiteY11" fmla="*/ 810458 h 810458"/>
                <a:gd name="connsiteX12" fmla="*/ 0 w 747906"/>
                <a:gd name="connsiteY12" fmla="*/ 413389 h 810458"/>
                <a:gd name="connsiteX13" fmla="*/ 386192 w 747906"/>
                <a:gd name="connsiteY13" fmla="*/ 0 h 8104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747906" h="810458">
                  <a:moveTo>
                    <a:pt x="394818" y="163222"/>
                  </a:moveTo>
                  <a:cubicBezTo>
                    <a:pt x="381772" y="163179"/>
                    <a:pt x="368514" y="166579"/>
                    <a:pt x="356275" y="174058"/>
                  </a:cubicBezTo>
                  <a:cubicBezTo>
                    <a:pt x="299162" y="212133"/>
                    <a:pt x="282844" y="291003"/>
                    <a:pt x="274685" y="356275"/>
                  </a:cubicBezTo>
                  <a:cubicBezTo>
                    <a:pt x="274685" y="364434"/>
                    <a:pt x="369873" y="358994"/>
                    <a:pt x="375313" y="358994"/>
                  </a:cubicBezTo>
                  <a:cubicBezTo>
                    <a:pt x="432426" y="345396"/>
                    <a:pt x="473220" y="301881"/>
                    <a:pt x="473220" y="239329"/>
                  </a:cubicBezTo>
                  <a:cubicBezTo>
                    <a:pt x="471181" y="194455"/>
                    <a:pt x="433955" y="163349"/>
                    <a:pt x="394818" y="163222"/>
                  </a:cubicBezTo>
                  <a:close/>
                  <a:moveTo>
                    <a:pt x="386192" y="0"/>
                  </a:moveTo>
                  <a:cubicBezTo>
                    <a:pt x="519455" y="0"/>
                    <a:pt x="747906" y="65272"/>
                    <a:pt x="747906" y="266526"/>
                  </a:cubicBezTo>
                  <a:cubicBezTo>
                    <a:pt x="747906" y="467782"/>
                    <a:pt x="538492" y="484100"/>
                    <a:pt x="291004" y="484100"/>
                  </a:cubicBezTo>
                  <a:cubicBezTo>
                    <a:pt x="291004" y="484100"/>
                    <a:pt x="326359" y="617363"/>
                    <a:pt x="497697" y="617363"/>
                  </a:cubicBezTo>
                  <a:cubicBezTo>
                    <a:pt x="669036" y="617363"/>
                    <a:pt x="712551" y="557530"/>
                    <a:pt x="712551" y="557530"/>
                  </a:cubicBezTo>
                  <a:cubicBezTo>
                    <a:pt x="712551" y="557530"/>
                    <a:pt x="696233" y="810458"/>
                    <a:pt x="388911" y="810458"/>
                  </a:cubicBezTo>
                  <a:cubicBezTo>
                    <a:pt x="212133" y="810458"/>
                    <a:pt x="0" y="677195"/>
                    <a:pt x="0" y="413389"/>
                  </a:cubicBezTo>
                  <a:cubicBezTo>
                    <a:pt x="0" y="176778"/>
                    <a:pt x="163180" y="0"/>
                    <a:pt x="386192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B2091D89-9B4E-4856-9468-815914855F9A}"/>
                </a:ext>
              </a:extLst>
            </p:cNvPr>
            <p:cNvSpPr/>
            <p:nvPr/>
          </p:nvSpPr>
          <p:spPr>
            <a:xfrm>
              <a:off x="8683414" y="2274801"/>
              <a:ext cx="897487" cy="951879"/>
            </a:xfrm>
            <a:custGeom>
              <a:avLst/>
              <a:gdLst>
                <a:gd name="connsiteX0" fmla="*/ 580988 w 897487"/>
                <a:gd name="connsiteY0" fmla="*/ 667381 h 951879"/>
                <a:gd name="connsiteX1" fmla="*/ 409649 w 897487"/>
                <a:gd name="connsiteY1" fmla="*/ 667381 h 951879"/>
                <a:gd name="connsiteX2" fmla="*/ 591866 w 897487"/>
                <a:gd name="connsiteY2" fmla="*/ 525959 h 951879"/>
                <a:gd name="connsiteX3" fmla="*/ 842075 w 897487"/>
                <a:gd name="connsiteY3" fmla="*/ 123450 h 951879"/>
                <a:gd name="connsiteX4" fmla="*/ 842075 w 897487"/>
                <a:gd name="connsiteY4" fmla="*/ 123450 h 951879"/>
                <a:gd name="connsiteX5" fmla="*/ 798560 w 897487"/>
                <a:gd name="connsiteY5" fmla="*/ 58178 h 951879"/>
                <a:gd name="connsiteX6" fmla="*/ 746887 w 897487"/>
                <a:gd name="connsiteY6" fmla="*/ 107132 h 951879"/>
                <a:gd name="connsiteX7" fmla="*/ 697933 w 897487"/>
                <a:gd name="connsiteY7" fmla="*/ 115291 h 951879"/>
                <a:gd name="connsiteX8" fmla="*/ 219273 w 897487"/>
                <a:gd name="connsiteY8" fmla="*/ 115291 h 951879"/>
                <a:gd name="connsiteX9" fmla="*/ 102328 w 897487"/>
                <a:gd name="connsiteY9" fmla="*/ 224077 h 951879"/>
                <a:gd name="connsiteX10" fmla="*/ 213834 w 897487"/>
                <a:gd name="connsiteY10" fmla="*/ 332863 h 951879"/>
                <a:gd name="connsiteX11" fmla="*/ 485800 w 897487"/>
                <a:gd name="connsiteY11" fmla="*/ 335583 h 951879"/>
                <a:gd name="connsiteX12" fmla="*/ 134964 w 897487"/>
                <a:gd name="connsiteY12" fmla="*/ 615708 h 951879"/>
                <a:gd name="connsiteX13" fmla="*/ 61533 w 897487"/>
                <a:gd name="connsiteY13" fmla="*/ 884953 h 951879"/>
                <a:gd name="connsiteX14" fmla="*/ 398771 w 897487"/>
                <a:gd name="connsiteY14" fmla="*/ 806083 h 951879"/>
                <a:gd name="connsiteX15" fmla="*/ 529314 w 897487"/>
                <a:gd name="connsiteY15" fmla="*/ 863196 h 951879"/>
                <a:gd name="connsiteX16" fmla="*/ 782242 w 897487"/>
                <a:gd name="connsiteY16" fmla="*/ 607549 h 951879"/>
                <a:gd name="connsiteX17" fmla="*/ 580988 w 897487"/>
                <a:gd name="connsiteY17" fmla="*/ 667381 h 9518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897487" h="951879">
                  <a:moveTo>
                    <a:pt x="580988" y="667381"/>
                  </a:moveTo>
                  <a:lnTo>
                    <a:pt x="409649" y="667381"/>
                  </a:lnTo>
                  <a:cubicBezTo>
                    <a:pt x="423248" y="667381"/>
                    <a:pt x="548352" y="561314"/>
                    <a:pt x="591866" y="525959"/>
                  </a:cubicBezTo>
                  <a:cubicBezTo>
                    <a:pt x="700653" y="433491"/>
                    <a:pt x="899188" y="297508"/>
                    <a:pt x="842075" y="123450"/>
                  </a:cubicBezTo>
                  <a:lnTo>
                    <a:pt x="842075" y="123450"/>
                  </a:lnTo>
                  <a:cubicBezTo>
                    <a:pt x="831197" y="82655"/>
                    <a:pt x="798560" y="58178"/>
                    <a:pt x="798560" y="58178"/>
                  </a:cubicBezTo>
                  <a:cubicBezTo>
                    <a:pt x="798560" y="58178"/>
                    <a:pt x="787682" y="90814"/>
                    <a:pt x="746887" y="107132"/>
                  </a:cubicBezTo>
                  <a:cubicBezTo>
                    <a:pt x="730569" y="109852"/>
                    <a:pt x="714251" y="115291"/>
                    <a:pt x="697933" y="115291"/>
                  </a:cubicBezTo>
                  <a:cubicBezTo>
                    <a:pt x="684334" y="115291"/>
                    <a:pt x="219273" y="115291"/>
                    <a:pt x="219273" y="115291"/>
                  </a:cubicBezTo>
                  <a:cubicBezTo>
                    <a:pt x="156721" y="115291"/>
                    <a:pt x="105048" y="166964"/>
                    <a:pt x="102328" y="224077"/>
                  </a:cubicBezTo>
                  <a:cubicBezTo>
                    <a:pt x="102328" y="283910"/>
                    <a:pt x="151282" y="332863"/>
                    <a:pt x="213834" y="332863"/>
                  </a:cubicBezTo>
                  <a:lnTo>
                    <a:pt x="485800" y="335583"/>
                  </a:lnTo>
                  <a:cubicBezTo>
                    <a:pt x="360695" y="406294"/>
                    <a:pt x="211114" y="487884"/>
                    <a:pt x="134964" y="615708"/>
                  </a:cubicBezTo>
                  <a:cubicBezTo>
                    <a:pt x="91449" y="689138"/>
                    <a:pt x="45215" y="800644"/>
                    <a:pt x="61533" y="884953"/>
                  </a:cubicBezTo>
                  <a:cubicBezTo>
                    <a:pt x="121366" y="830560"/>
                    <a:pt x="279106" y="778887"/>
                    <a:pt x="398771" y="806083"/>
                  </a:cubicBezTo>
                  <a:cubicBezTo>
                    <a:pt x="445005" y="814242"/>
                    <a:pt x="491239" y="838719"/>
                    <a:pt x="529314" y="863196"/>
                  </a:cubicBezTo>
                  <a:cubicBezTo>
                    <a:pt x="755046" y="1004618"/>
                    <a:pt x="891029" y="727213"/>
                    <a:pt x="782242" y="607549"/>
                  </a:cubicBezTo>
                  <a:cubicBezTo>
                    <a:pt x="784962" y="607549"/>
                    <a:pt x="722410" y="667381"/>
                    <a:pt x="580988" y="667381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D7F2BB29-4780-4E13-9447-551D7705D3EF}"/>
                </a:ext>
              </a:extLst>
            </p:cNvPr>
            <p:cNvSpPr/>
            <p:nvPr/>
          </p:nvSpPr>
          <p:spPr>
            <a:xfrm>
              <a:off x="2624650" y="1948442"/>
              <a:ext cx="1903761" cy="1577400"/>
            </a:xfrm>
            <a:custGeom>
              <a:avLst/>
              <a:gdLst>
                <a:gd name="connsiteX0" fmla="*/ 1559430 w 1903760"/>
                <a:gd name="connsiteY0" fmla="*/ 1165078 h 1577399"/>
                <a:gd name="connsiteX1" fmla="*/ 1369054 w 1903760"/>
                <a:gd name="connsiteY1" fmla="*/ 593950 h 1577399"/>
                <a:gd name="connsiteX2" fmla="*/ 1483279 w 1903760"/>
                <a:gd name="connsiteY2" fmla="*/ 126170 h 1577399"/>
                <a:gd name="connsiteX3" fmla="*/ 1311941 w 1903760"/>
                <a:gd name="connsiteY3" fmla="*/ 58178 h 1577399"/>
                <a:gd name="connsiteX4" fmla="*/ 1078050 w 1903760"/>
                <a:gd name="connsiteY4" fmla="*/ 205040 h 1577399"/>
                <a:gd name="connsiteX5" fmla="*/ 846879 w 1903760"/>
                <a:gd name="connsiteY5" fmla="*/ 523239 h 1577399"/>
                <a:gd name="connsiteX6" fmla="*/ 645624 w 1903760"/>
                <a:gd name="connsiteY6" fmla="*/ 210479 h 1577399"/>
                <a:gd name="connsiteX7" fmla="*/ 455248 w 1903760"/>
                <a:gd name="connsiteY7" fmla="*/ 63617 h 1577399"/>
                <a:gd name="connsiteX8" fmla="*/ 234956 w 1903760"/>
                <a:gd name="connsiteY8" fmla="*/ 137048 h 1577399"/>
                <a:gd name="connsiteX9" fmla="*/ 316546 w 1903760"/>
                <a:gd name="connsiteY9" fmla="*/ 588511 h 1577399"/>
                <a:gd name="connsiteX10" fmla="*/ 58178 w 1903760"/>
                <a:gd name="connsiteY10" fmla="*/ 1072610 h 1577399"/>
                <a:gd name="connsiteX11" fmla="*/ 474286 w 1903760"/>
                <a:gd name="connsiteY11" fmla="*/ 1020936 h 1577399"/>
                <a:gd name="connsiteX12" fmla="*/ 555876 w 1903760"/>
                <a:gd name="connsiteY12" fmla="*/ 572193 h 1577399"/>
                <a:gd name="connsiteX13" fmla="*/ 830561 w 1903760"/>
                <a:gd name="connsiteY13" fmla="*/ 993740 h 1577399"/>
                <a:gd name="connsiteX14" fmla="*/ 1140602 w 1903760"/>
                <a:gd name="connsiteY14" fmla="*/ 574913 h 1577399"/>
                <a:gd name="connsiteX15" fmla="*/ 1567589 w 1903760"/>
                <a:gd name="connsiteY15" fmla="*/ 1526792 h 1577399"/>
                <a:gd name="connsiteX16" fmla="*/ 1866751 w 1903760"/>
                <a:gd name="connsiteY16" fmla="*/ 1322818 h 1577399"/>
                <a:gd name="connsiteX17" fmla="*/ 1559430 w 1903760"/>
                <a:gd name="connsiteY17" fmla="*/ 1165078 h 15773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903760" h="1577399">
                  <a:moveTo>
                    <a:pt x="1559430" y="1165078"/>
                  </a:moveTo>
                  <a:cubicBezTo>
                    <a:pt x="1420727" y="1012777"/>
                    <a:pt x="1377213" y="762569"/>
                    <a:pt x="1369054" y="593950"/>
                  </a:cubicBezTo>
                  <a:cubicBezTo>
                    <a:pt x="1360895" y="449809"/>
                    <a:pt x="1369054" y="199600"/>
                    <a:pt x="1483279" y="126170"/>
                  </a:cubicBezTo>
                  <a:cubicBezTo>
                    <a:pt x="1445204" y="77216"/>
                    <a:pt x="1369054" y="58178"/>
                    <a:pt x="1311941" y="58178"/>
                  </a:cubicBezTo>
                  <a:cubicBezTo>
                    <a:pt x="1184117" y="58178"/>
                    <a:pt x="1121565" y="142488"/>
                    <a:pt x="1078050" y="205040"/>
                  </a:cubicBezTo>
                  <a:cubicBezTo>
                    <a:pt x="1064452" y="224077"/>
                    <a:pt x="846879" y="523239"/>
                    <a:pt x="846879" y="523239"/>
                  </a:cubicBezTo>
                  <a:cubicBezTo>
                    <a:pt x="846879" y="523239"/>
                    <a:pt x="667382" y="243115"/>
                    <a:pt x="645624" y="210479"/>
                  </a:cubicBezTo>
                  <a:cubicBezTo>
                    <a:pt x="615708" y="164245"/>
                    <a:pt x="555876" y="77216"/>
                    <a:pt x="455248" y="63617"/>
                  </a:cubicBezTo>
                  <a:cubicBezTo>
                    <a:pt x="411734" y="58178"/>
                    <a:pt x="297508" y="52739"/>
                    <a:pt x="234956" y="137048"/>
                  </a:cubicBezTo>
                  <a:cubicBezTo>
                    <a:pt x="341023" y="221357"/>
                    <a:pt x="338303" y="438930"/>
                    <a:pt x="316546" y="588511"/>
                  </a:cubicBezTo>
                  <a:cubicBezTo>
                    <a:pt x="248554" y="1031815"/>
                    <a:pt x="58178" y="1072610"/>
                    <a:pt x="58178" y="1072610"/>
                  </a:cubicBezTo>
                  <a:cubicBezTo>
                    <a:pt x="156086" y="1333696"/>
                    <a:pt x="403575" y="1230350"/>
                    <a:pt x="474286" y="1020936"/>
                  </a:cubicBezTo>
                  <a:cubicBezTo>
                    <a:pt x="520520" y="884953"/>
                    <a:pt x="550436" y="713615"/>
                    <a:pt x="555876" y="572193"/>
                  </a:cubicBezTo>
                  <a:lnTo>
                    <a:pt x="830561" y="993740"/>
                  </a:lnTo>
                  <a:cubicBezTo>
                    <a:pt x="830561" y="993740"/>
                    <a:pt x="1140602" y="574913"/>
                    <a:pt x="1140602" y="574913"/>
                  </a:cubicBezTo>
                  <a:cubicBezTo>
                    <a:pt x="1088929" y="1314659"/>
                    <a:pt x="1344577" y="1526792"/>
                    <a:pt x="1567589" y="1526792"/>
                  </a:cubicBezTo>
                  <a:cubicBezTo>
                    <a:pt x="1790601" y="1526792"/>
                    <a:pt x="1866751" y="1322818"/>
                    <a:pt x="1866751" y="1322818"/>
                  </a:cubicBezTo>
                  <a:cubicBezTo>
                    <a:pt x="1744367" y="1314659"/>
                    <a:pt x="1641019" y="1252107"/>
                    <a:pt x="1559430" y="1165078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571254D5-4491-4E5C-A533-A0FDC183833D}"/>
                </a:ext>
              </a:extLst>
            </p:cNvPr>
            <p:cNvSpPr/>
            <p:nvPr/>
          </p:nvSpPr>
          <p:spPr>
            <a:xfrm>
              <a:off x="4792218" y="3234839"/>
              <a:ext cx="271966" cy="652717"/>
            </a:xfrm>
            <a:custGeom>
              <a:avLst/>
              <a:gdLst>
                <a:gd name="connsiteX0" fmla="*/ 88095 w 271965"/>
                <a:gd name="connsiteY0" fmla="*/ 120730 h 652717"/>
                <a:gd name="connsiteX1" fmla="*/ 93534 w 271965"/>
                <a:gd name="connsiteY1" fmla="*/ 153366 h 652717"/>
                <a:gd name="connsiteX2" fmla="*/ 93534 w 271965"/>
                <a:gd name="connsiteY2" fmla="*/ 544997 h 652717"/>
                <a:gd name="connsiteX3" fmla="*/ 156086 w 271965"/>
                <a:gd name="connsiteY3" fmla="*/ 604829 h 652717"/>
                <a:gd name="connsiteX4" fmla="*/ 221358 w 271965"/>
                <a:gd name="connsiteY4" fmla="*/ 544997 h 652717"/>
                <a:gd name="connsiteX5" fmla="*/ 221358 w 271965"/>
                <a:gd name="connsiteY5" fmla="*/ 194161 h 652717"/>
                <a:gd name="connsiteX6" fmla="*/ 210479 w 271965"/>
                <a:gd name="connsiteY6" fmla="*/ 109852 h 652717"/>
                <a:gd name="connsiteX7" fmla="*/ 118011 w 271965"/>
                <a:gd name="connsiteY7" fmla="*/ 58178 h 652717"/>
                <a:gd name="connsiteX8" fmla="*/ 58178 w 271965"/>
                <a:gd name="connsiteY8" fmla="*/ 88094 h 652717"/>
                <a:gd name="connsiteX9" fmla="*/ 88095 w 271965"/>
                <a:gd name="connsiteY9" fmla="*/ 120730 h 6527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71965" h="652717">
                  <a:moveTo>
                    <a:pt x="88095" y="120730"/>
                  </a:moveTo>
                  <a:cubicBezTo>
                    <a:pt x="90814" y="131609"/>
                    <a:pt x="90814" y="142487"/>
                    <a:pt x="93534" y="153366"/>
                  </a:cubicBezTo>
                  <a:cubicBezTo>
                    <a:pt x="93534" y="156086"/>
                    <a:pt x="93534" y="542277"/>
                    <a:pt x="93534" y="544997"/>
                  </a:cubicBezTo>
                  <a:cubicBezTo>
                    <a:pt x="93534" y="577632"/>
                    <a:pt x="123450" y="604829"/>
                    <a:pt x="156086" y="604829"/>
                  </a:cubicBezTo>
                  <a:cubicBezTo>
                    <a:pt x="188722" y="607548"/>
                    <a:pt x="221358" y="577632"/>
                    <a:pt x="221358" y="544997"/>
                  </a:cubicBezTo>
                  <a:cubicBezTo>
                    <a:pt x="221358" y="539557"/>
                    <a:pt x="221358" y="194161"/>
                    <a:pt x="221358" y="194161"/>
                  </a:cubicBezTo>
                  <a:cubicBezTo>
                    <a:pt x="221358" y="164245"/>
                    <a:pt x="224078" y="134329"/>
                    <a:pt x="210479" y="109852"/>
                  </a:cubicBezTo>
                  <a:cubicBezTo>
                    <a:pt x="196881" y="79935"/>
                    <a:pt x="158806" y="58178"/>
                    <a:pt x="118011" y="58178"/>
                  </a:cubicBezTo>
                  <a:cubicBezTo>
                    <a:pt x="79936" y="58178"/>
                    <a:pt x="58178" y="88094"/>
                    <a:pt x="58178" y="88094"/>
                  </a:cubicBezTo>
                  <a:cubicBezTo>
                    <a:pt x="58178" y="88094"/>
                    <a:pt x="77216" y="93534"/>
                    <a:pt x="88095" y="120730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DA453BC8-0B36-4D4E-AC2E-A19401EAC3CD}"/>
                </a:ext>
              </a:extLst>
            </p:cNvPr>
            <p:cNvSpPr/>
            <p:nvPr/>
          </p:nvSpPr>
          <p:spPr>
            <a:xfrm>
              <a:off x="8751819" y="3234667"/>
              <a:ext cx="271966" cy="652717"/>
            </a:xfrm>
            <a:custGeom>
              <a:avLst/>
              <a:gdLst>
                <a:gd name="connsiteX0" fmla="*/ 191663 w 271965"/>
                <a:gd name="connsiteY0" fmla="*/ 542449 h 652717"/>
                <a:gd name="connsiteX1" fmla="*/ 186224 w 271965"/>
                <a:gd name="connsiteY1" fmla="*/ 509813 h 652717"/>
                <a:gd name="connsiteX2" fmla="*/ 186224 w 271965"/>
                <a:gd name="connsiteY2" fmla="*/ 118183 h 652717"/>
                <a:gd name="connsiteX3" fmla="*/ 123672 w 271965"/>
                <a:gd name="connsiteY3" fmla="*/ 58350 h 652717"/>
                <a:gd name="connsiteX4" fmla="*/ 58400 w 271965"/>
                <a:gd name="connsiteY4" fmla="*/ 118183 h 652717"/>
                <a:gd name="connsiteX5" fmla="*/ 58400 w 271965"/>
                <a:gd name="connsiteY5" fmla="*/ 469018 h 652717"/>
                <a:gd name="connsiteX6" fmla="*/ 69279 w 271965"/>
                <a:gd name="connsiteY6" fmla="*/ 553328 h 652717"/>
                <a:gd name="connsiteX7" fmla="*/ 161747 w 271965"/>
                <a:gd name="connsiteY7" fmla="*/ 605001 h 652717"/>
                <a:gd name="connsiteX8" fmla="*/ 221580 w 271965"/>
                <a:gd name="connsiteY8" fmla="*/ 575085 h 652717"/>
                <a:gd name="connsiteX9" fmla="*/ 191663 w 271965"/>
                <a:gd name="connsiteY9" fmla="*/ 542449 h 6527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71965" h="652717">
                  <a:moveTo>
                    <a:pt x="191663" y="542449"/>
                  </a:moveTo>
                  <a:cubicBezTo>
                    <a:pt x="188944" y="531570"/>
                    <a:pt x="186224" y="520692"/>
                    <a:pt x="186224" y="509813"/>
                  </a:cubicBezTo>
                  <a:cubicBezTo>
                    <a:pt x="186224" y="507093"/>
                    <a:pt x="186224" y="120902"/>
                    <a:pt x="186224" y="118183"/>
                  </a:cubicBezTo>
                  <a:cubicBezTo>
                    <a:pt x="186224" y="85547"/>
                    <a:pt x="156308" y="58350"/>
                    <a:pt x="123672" y="58350"/>
                  </a:cubicBezTo>
                  <a:cubicBezTo>
                    <a:pt x="91036" y="55631"/>
                    <a:pt x="58400" y="85547"/>
                    <a:pt x="58400" y="118183"/>
                  </a:cubicBezTo>
                  <a:cubicBezTo>
                    <a:pt x="58400" y="123622"/>
                    <a:pt x="58400" y="469018"/>
                    <a:pt x="58400" y="469018"/>
                  </a:cubicBezTo>
                  <a:cubicBezTo>
                    <a:pt x="58400" y="498934"/>
                    <a:pt x="55680" y="528851"/>
                    <a:pt x="69279" y="553328"/>
                  </a:cubicBezTo>
                  <a:cubicBezTo>
                    <a:pt x="82877" y="583244"/>
                    <a:pt x="120953" y="605001"/>
                    <a:pt x="161747" y="605001"/>
                  </a:cubicBezTo>
                  <a:cubicBezTo>
                    <a:pt x="199822" y="605001"/>
                    <a:pt x="221580" y="575085"/>
                    <a:pt x="221580" y="575085"/>
                  </a:cubicBezTo>
                  <a:cubicBezTo>
                    <a:pt x="221580" y="575085"/>
                    <a:pt x="202542" y="566926"/>
                    <a:pt x="191663" y="542449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517E3687-21BC-4B66-82A1-9652DB0C0A88}"/>
                </a:ext>
              </a:extLst>
            </p:cNvPr>
            <p:cNvSpPr/>
            <p:nvPr/>
          </p:nvSpPr>
          <p:spPr>
            <a:xfrm>
              <a:off x="6320666" y="3416868"/>
              <a:ext cx="435145" cy="462341"/>
            </a:xfrm>
            <a:custGeom>
              <a:avLst/>
              <a:gdLst>
                <a:gd name="connsiteX0" fmla="*/ 302948 w 435145"/>
                <a:gd name="connsiteY0" fmla="*/ 74684 h 462341"/>
                <a:gd name="connsiteX1" fmla="*/ 186003 w 435145"/>
                <a:gd name="connsiteY1" fmla="*/ 148115 h 462341"/>
                <a:gd name="connsiteX2" fmla="*/ 186003 w 435145"/>
                <a:gd name="connsiteY2" fmla="*/ 148115 h 462341"/>
                <a:gd name="connsiteX3" fmla="*/ 186003 w 435145"/>
                <a:gd name="connsiteY3" fmla="*/ 115479 h 462341"/>
                <a:gd name="connsiteX4" fmla="*/ 123450 w 435145"/>
                <a:gd name="connsiteY4" fmla="*/ 58366 h 462341"/>
                <a:gd name="connsiteX5" fmla="*/ 58178 w 435145"/>
                <a:gd name="connsiteY5" fmla="*/ 115479 h 462341"/>
                <a:gd name="connsiteX6" fmla="*/ 58178 w 435145"/>
                <a:gd name="connsiteY6" fmla="*/ 362967 h 462341"/>
                <a:gd name="connsiteX7" fmla="*/ 120730 w 435145"/>
                <a:gd name="connsiteY7" fmla="*/ 422800 h 462341"/>
                <a:gd name="connsiteX8" fmla="*/ 186003 w 435145"/>
                <a:gd name="connsiteY8" fmla="*/ 362967 h 462341"/>
                <a:gd name="connsiteX9" fmla="*/ 186003 w 435145"/>
                <a:gd name="connsiteY9" fmla="*/ 213386 h 462341"/>
                <a:gd name="connsiteX10" fmla="*/ 186003 w 435145"/>
                <a:gd name="connsiteY10" fmla="*/ 213386 h 462341"/>
                <a:gd name="connsiteX11" fmla="*/ 229517 w 435145"/>
                <a:gd name="connsiteY11" fmla="*/ 161713 h 462341"/>
                <a:gd name="connsiteX12" fmla="*/ 259433 w 435145"/>
                <a:gd name="connsiteY12" fmla="*/ 194349 h 462341"/>
                <a:gd name="connsiteX13" fmla="*/ 259433 w 435145"/>
                <a:gd name="connsiteY13" fmla="*/ 362967 h 462341"/>
                <a:gd name="connsiteX14" fmla="*/ 321985 w 435145"/>
                <a:gd name="connsiteY14" fmla="*/ 422800 h 462341"/>
                <a:gd name="connsiteX15" fmla="*/ 387257 w 435145"/>
                <a:gd name="connsiteY15" fmla="*/ 362967 h 462341"/>
                <a:gd name="connsiteX16" fmla="*/ 387257 w 435145"/>
                <a:gd name="connsiteY16" fmla="*/ 273219 h 462341"/>
                <a:gd name="connsiteX17" fmla="*/ 302948 w 435145"/>
                <a:gd name="connsiteY17" fmla="*/ 74684 h 4623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435145" h="462341">
                  <a:moveTo>
                    <a:pt x="302948" y="74684"/>
                  </a:moveTo>
                  <a:cubicBezTo>
                    <a:pt x="234956" y="74684"/>
                    <a:pt x="196881" y="131797"/>
                    <a:pt x="186003" y="148115"/>
                  </a:cubicBezTo>
                  <a:lnTo>
                    <a:pt x="186003" y="148115"/>
                  </a:lnTo>
                  <a:cubicBezTo>
                    <a:pt x="186003" y="129077"/>
                    <a:pt x="186003" y="115479"/>
                    <a:pt x="186003" y="115479"/>
                  </a:cubicBezTo>
                  <a:cubicBezTo>
                    <a:pt x="186003" y="82843"/>
                    <a:pt x="156086" y="58366"/>
                    <a:pt x="123450" y="58366"/>
                  </a:cubicBezTo>
                  <a:cubicBezTo>
                    <a:pt x="90814" y="55646"/>
                    <a:pt x="58178" y="82843"/>
                    <a:pt x="58178" y="115479"/>
                  </a:cubicBezTo>
                  <a:cubicBezTo>
                    <a:pt x="58178" y="120918"/>
                    <a:pt x="58178" y="360248"/>
                    <a:pt x="58178" y="362967"/>
                  </a:cubicBezTo>
                  <a:cubicBezTo>
                    <a:pt x="58178" y="395603"/>
                    <a:pt x="88095" y="422800"/>
                    <a:pt x="120730" y="422800"/>
                  </a:cubicBezTo>
                  <a:cubicBezTo>
                    <a:pt x="153366" y="425519"/>
                    <a:pt x="186003" y="395603"/>
                    <a:pt x="186003" y="362967"/>
                  </a:cubicBezTo>
                  <a:cubicBezTo>
                    <a:pt x="186003" y="360248"/>
                    <a:pt x="186003" y="281378"/>
                    <a:pt x="186003" y="213386"/>
                  </a:cubicBezTo>
                  <a:lnTo>
                    <a:pt x="186003" y="213386"/>
                  </a:lnTo>
                  <a:cubicBezTo>
                    <a:pt x="191442" y="186190"/>
                    <a:pt x="205040" y="161713"/>
                    <a:pt x="229517" y="161713"/>
                  </a:cubicBezTo>
                  <a:cubicBezTo>
                    <a:pt x="259433" y="161713"/>
                    <a:pt x="259433" y="194349"/>
                    <a:pt x="259433" y="194349"/>
                  </a:cubicBezTo>
                  <a:lnTo>
                    <a:pt x="259433" y="362967"/>
                  </a:lnTo>
                  <a:cubicBezTo>
                    <a:pt x="259433" y="395603"/>
                    <a:pt x="289349" y="422800"/>
                    <a:pt x="321985" y="422800"/>
                  </a:cubicBezTo>
                  <a:cubicBezTo>
                    <a:pt x="354621" y="425519"/>
                    <a:pt x="387257" y="395603"/>
                    <a:pt x="387257" y="362967"/>
                  </a:cubicBezTo>
                  <a:lnTo>
                    <a:pt x="387257" y="273219"/>
                  </a:lnTo>
                  <a:cubicBezTo>
                    <a:pt x="387257" y="183470"/>
                    <a:pt x="395416" y="71964"/>
                    <a:pt x="302948" y="74684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A7E08B6C-E100-4F26-B629-3732E3E024EC}"/>
                </a:ext>
              </a:extLst>
            </p:cNvPr>
            <p:cNvSpPr/>
            <p:nvPr/>
          </p:nvSpPr>
          <p:spPr>
            <a:xfrm>
              <a:off x="7960620" y="3416868"/>
              <a:ext cx="435145" cy="462341"/>
            </a:xfrm>
            <a:custGeom>
              <a:avLst/>
              <a:gdLst>
                <a:gd name="connsiteX0" fmla="*/ 302948 w 435145"/>
                <a:gd name="connsiteY0" fmla="*/ 74684 h 462341"/>
                <a:gd name="connsiteX1" fmla="*/ 186002 w 435145"/>
                <a:gd name="connsiteY1" fmla="*/ 148115 h 462341"/>
                <a:gd name="connsiteX2" fmla="*/ 186002 w 435145"/>
                <a:gd name="connsiteY2" fmla="*/ 148115 h 462341"/>
                <a:gd name="connsiteX3" fmla="*/ 186002 w 435145"/>
                <a:gd name="connsiteY3" fmla="*/ 115479 h 462341"/>
                <a:gd name="connsiteX4" fmla="*/ 123450 w 435145"/>
                <a:gd name="connsiteY4" fmla="*/ 58366 h 462341"/>
                <a:gd name="connsiteX5" fmla="*/ 58178 w 435145"/>
                <a:gd name="connsiteY5" fmla="*/ 115479 h 462341"/>
                <a:gd name="connsiteX6" fmla="*/ 58178 w 435145"/>
                <a:gd name="connsiteY6" fmla="*/ 362967 h 462341"/>
                <a:gd name="connsiteX7" fmla="*/ 120730 w 435145"/>
                <a:gd name="connsiteY7" fmla="*/ 422800 h 462341"/>
                <a:gd name="connsiteX8" fmla="*/ 186002 w 435145"/>
                <a:gd name="connsiteY8" fmla="*/ 362967 h 462341"/>
                <a:gd name="connsiteX9" fmla="*/ 186002 w 435145"/>
                <a:gd name="connsiteY9" fmla="*/ 213386 h 462341"/>
                <a:gd name="connsiteX10" fmla="*/ 186002 w 435145"/>
                <a:gd name="connsiteY10" fmla="*/ 213386 h 462341"/>
                <a:gd name="connsiteX11" fmla="*/ 229517 w 435145"/>
                <a:gd name="connsiteY11" fmla="*/ 161713 h 462341"/>
                <a:gd name="connsiteX12" fmla="*/ 259433 w 435145"/>
                <a:gd name="connsiteY12" fmla="*/ 194349 h 462341"/>
                <a:gd name="connsiteX13" fmla="*/ 259433 w 435145"/>
                <a:gd name="connsiteY13" fmla="*/ 362967 h 462341"/>
                <a:gd name="connsiteX14" fmla="*/ 321985 w 435145"/>
                <a:gd name="connsiteY14" fmla="*/ 422800 h 462341"/>
                <a:gd name="connsiteX15" fmla="*/ 387257 w 435145"/>
                <a:gd name="connsiteY15" fmla="*/ 362967 h 462341"/>
                <a:gd name="connsiteX16" fmla="*/ 387257 w 435145"/>
                <a:gd name="connsiteY16" fmla="*/ 273219 h 462341"/>
                <a:gd name="connsiteX17" fmla="*/ 302948 w 435145"/>
                <a:gd name="connsiteY17" fmla="*/ 74684 h 4623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435145" h="462341">
                  <a:moveTo>
                    <a:pt x="302948" y="74684"/>
                  </a:moveTo>
                  <a:cubicBezTo>
                    <a:pt x="234956" y="74684"/>
                    <a:pt x="196881" y="131797"/>
                    <a:pt x="186002" y="148115"/>
                  </a:cubicBezTo>
                  <a:lnTo>
                    <a:pt x="186002" y="148115"/>
                  </a:lnTo>
                  <a:cubicBezTo>
                    <a:pt x="186002" y="129077"/>
                    <a:pt x="186002" y="115479"/>
                    <a:pt x="186002" y="115479"/>
                  </a:cubicBezTo>
                  <a:cubicBezTo>
                    <a:pt x="186002" y="82843"/>
                    <a:pt x="156086" y="58366"/>
                    <a:pt x="123450" y="58366"/>
                  </a:cubicBezTo>
                  <a:cubicBezTo>
                    <a:pt x="90814" y="55646"/>
                    <a:pt x="58178" y="82843"/>
                    <a:pt x="58178" y="115479"/>
                  </a:cubicBezTo>
                  <a:cubicBezTo>
                    <a:pt x="58178" y="120918"/>
                    <a:pt x="58178" y="360248"/>
                    <a:pt x="58178" y="362967"/>
                  </a:cubicBezTo>
                  <a:cubicBezTo>
                    <a:pt x="58178" y="395603"/>
                    <a:pt x="88095" y="422800"/>
                    <a:pt x="120730" y="422800"/>
                  </a:cubicBezTo>
                  <a:cubicBezTo>
                    <a:pt x="153366" y="425519"/>
                    <a:pt x="186002" y="395603"/>
                    <a:pt x="186002" y="362967"/>
                  </a:cubicBezTo>
                  <a:cubicBezTo>
                    <a:pt x="186002" y="360248"/>
                    <a:pt x="186002" y="281378"/>
                    <a:pt x="186002" y="213386"/>
                  </a:cubicBezTo>
                  <a:lnTo>
                    <a:pt x="186002" y="213386"/>
                  </a:lnTo>
                  <a:cubicBezTo>
                    <a:pt x="191442" y="186190"/>
                    <a:pt x="205040" y="161713"/>
                    <a:pt x="229517" y="161713"/>
                  </a:cubicBezTo>
                  <a:cubicBezTo>
                    <a:pt x="259433" y="161713"/>
                    <a:pt x="259433" y="194349"/>
                    <a:pt x="259433" y="194349"/>
                  </a:cubicBezTo>
                  <a:lnTo>
                    <a:pt x="259433" y="362967"/>
                  </a:lnTo>
                  <a:cubicBezTo>
                    <a:pt x="259433" y="395603"/>
                    <a:pt x="289349" y="422800"/>
                    <a:pt x="321985" y="422800"/>
                  </a:cubicBezTo>
                  <a:cubicBezTo>
                    <a:pt x="354621" y="425519"/>
                    <a:pt x="387257" y="395603"/>
                    <a:pt x="387257" y="362967"/>
                  </a:cubicBezTo>
                  <a:lnTo>
                    <a:pt x="387257" y="273219"/>
                  </a:lnTo>
                  <a:cubicBezTo>
                    <a:pt x="384537" y="183470"/>
                    <a:pt x="395416" y="71964"/>
                    <a:pt x="302948" y="74684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7F095C42-829F-4A42-936F-5E5F8E797CAC}"/>
                </a:ext>
              </a:extLst>
            </p:cNvPr>
            <p:cNvSpPr/>
            <p:nvPr/>
          </p:nvSpPr>
          <p:spPr>
            <a:xfrm>
              <a:off x="5020669" y="3416868"/>
              <a:ext cx="435145" cy="462341"/>
            </a:xfrm>
            <a:custGeom>
              <a:avLst/>
              <a:gdLst>
                <a:gd name="connsiteX0" fmla="*/ 302948 w 435145"/>
                <a:gd name="connsiteY0" fmla="*/ 74684 h 462341"/>
                <a:gd name="connsiteX1" fmla="*/ 186002 w 435145"/>
                <a:gd name="connsiteY1" fmla="*/ 148115 h 462341"/>
                <a:gd name="connsiteX2" fmla="*/ 186002 w 435145"/>
                <a:gd name="connsiteY2" fmla="*/ 148115 h 462341"/>
                <a:gd name="connsiteX3" fmla="*/ 186002 w 435145"/>
                <a:gd name="connsiteY3" fmla="*/ 115479 h 462341"/>
                <a:gd name="connsiteX4" fmla="*/ 123450 w 435145"/>
                <a:gd name="connsiteY4" fmla="*/ 58366 h 462341"/>
                <a:gd name="connsiteX5" fmla="*/ 58178 w 435145"/>
                <a:gd name="connsiteY5" fmla="*/ 115479 h 462341"/>
                <a:gd name="connsiteX6" fmla="*/ 58178 w 435145"/>
                <a:gd name="connsiteY6" fmla="*/ 362967 h 462341"/>
                <a:gd name="connsiteX7" fmla="*/ 120730 w 435145"/>
                <a:gd name="connsiteY7" fmla="*/ 422800 h 462341"/>
                <a:gd name="connsiteX8" fmla="*/ 186002 w 435145"/>
                <a:gd name="connsiteY8" fmla="*/ 362967 h 462341"/>
                <a:gd name="connsiteX9" fmla="*/ 186002 w 435145"/>
                <a:gd name="connsiteY9" fmla="*/ 213386 h 462341"/>
                <a:gd name="connsiteX10" fmla="*/ 186002 w 435145"/>
                <a:gd name="connsiteY10" fmla="*/ 213386 h 462341"/>
                <a:gd name="connsiteX11" fmla="*/ 229517 w 435145"/>
                <a:gd name="connsiteY11" fmla="*/ 161713 h 462341"/>
                <a:gd name="connsiteX12" fmla="*/ 259433 w 435145"/>
                <a:gd name="connsiteY12" fmla="*/ 194349 h 462341"/>
                <a:gd name="connsiteX13" fmla="*/ 259433 w 435145"/>
                <a:gd name="connsiteY13" fmla="*/ 362967 h 462341"/>
                <a:gd name="connsiteX14" fmla="*/ 321985 w 435145"/>
                <a:gd name="connsiteY14" fmla="*/ 422800 h 462341"/>
                <a:gd name="connsiteX15" fmla="*/ 387257 w 435145"/>
                <a:gd name="connsiteY15" fmla="*/ 362967 h 462341"/>
                <a:gd name="connsiteX16" fmla="*/ 387257 w 435145"/>
                <a:gd name="connsiteY16" fmla="*/ 273219 h 462341"/>
                <a:gd name="connsiteX17" fmla="*/ 302948 w 435145"/>
                <a:gd name="connsiteY17" fmla="*/ 74684 h 4623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435145" h="462341">
                  <a:moveTo>
                    <a:pt x="302948" y="74684"/>
                  </a:moveTo>
                  <a:cubicBezTo>
                    <a:pt x="234956" y="74684"/>
                    <a:pt x="196881" y="131797"/>
                    <a:pt x="186002" y="148115"/>
                  </a:cubicBezTo>
                  <a:lnTo>
                    <a:pt x="186002" y="148115"/>
                  </a:lnTo>
                  <a:cubicBezTo>
                    <a:pt x="186002" y="129077"/>
                    <a:pt x="186002" y="115479"/>
                    <a:pt x="186002" y="115479"/>
                  </a:cubicBezTo>
                  <a:cubicBezTo>
                    <a:pt x="186002" y="82843"/>
                    <a:pt x="156086" y="58366"/>
                    <a:pt x="123450" y="58366"/>
                  </a:cubicBezTo>
                  <a:cubicBezTo>
                    <a:pt x="90814" y="55646"/>
                    <a:pt x="58178" y="82843"/>
                    <a:pt x="58178" y="115479"/>
                  </a:cubicBezTo>
                  <a:cubicBezTo>
                    <a:pt x="58178" y="120918"/>
                    <a:pt x="58178" y="360248"/>
                    <a:pt x="58178" y="362967"/>
                  </a:cubicBezTo>
                  <a:cubicBezTo>
                    <a:pt x="58178" y="395603"/>
                    <a:pt x="88094" y="422800"/>
                    <a:pt x="120730" y="422800"/>
                  </a:cubicBezTo>
                  <a:cubicBezTo>
                    <a:pt x="153366" y="425519"/>
                    <a:pt x="186002" y="395603"/>
                    <a:pt x="186002" y="362967"/>
                  </a:cubicBezTo>
                  <a:cubicBezTo>
                    <a:pt x="186002" y="360248"/>
                    <a:pt x="186002" y="281378"/>
                    <a:pt x="186002" y="213386"/>
                  </a:cubicBezTo>
                  <a:lnTo>
                    <a:pt x="186002" y="213386"/>
                  </a:lnTo>
                  <a:cubicBezTo>
                    <a:pt x="191442" y="186190"/>
                    <a:pt x="205040" y="161713"/>
                    <a:pt x="229517" y="161713"/>
                  </a:cubicBezTo>
                  <a:cubicBezTo>
                    <a:pt x="259433" y="161713"/>
                    <a:pt x="259433" y="194349"/>
                    <a:pt x="259433" y="194349"/>
                  </a:cubicBezTo>
                  <a:lnTo>
                    <a:pt x="259433" y="362967"/>
                  </a:lnTo>
                  <a:cubicBezTo>
                    <a:pt x="259433" y="395603"/>
                    <a:pt x="289349" y="422800"/>
                    <a:pt x="321985" y="422800"/>
                  </a:cubicBezTo>
                  <a:cubicBezTo>
                    <a:pt x="354621" y="425519"/>
                    <a:pt x="387257" y="395603"/>
                    <a:pt x="387257" y="362967"/>
                  </a:cubicBezTo>
                  <a:lnTo>
                    <a:pt x="387257" y="273219"/>
                  </a:lnTo>
                  <a:cubicBezTo>
                    <a:pt x="384537" y="183470"/>
                    <a:pt x="395416" y="71964"/>
                    <a:pt x="302948" y="74684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00D3CA62-E398-459B-A561-78BE2297E0B2}"/>
                </a:ext>
              </a:extLst>
            </p:cNvPr>
            <p:cNvSpPr/>
            <p:nvPr/>
          </p:nvSpPr>
          <p:spPr>
            <a:xfrm>
              <a:off x="7616289" y="3475234"/>
              <a:ext cx="364436" cy="364434"/>
            </a:xfrm>
            <a:custGeom>
              <a:avLst/>
              <a:gdLst>
                <a:gd name="connsiteX0" fmla="*/ 182218 w 364436"/>
                <a:gd name="connsiteY0" fmla="*/ 73431 h 364434"/>
                <a:gd name="connsiteX1" fmla="*/ 130544 w 364436"/>
                <a:gd name="connsiteY1" fmla="*/ 179499 h 364434"/>
                <a:gd name="connsiteX2" fmla="*/ 182218 w 364436"/>
                <a:gd name="connsiteY2" fmla="*/ 285565 h 364434"/>
                <a:gd name="connsiteX3" fmla="*/ 233891 w 364436"/>
                <a:gd name="connsiteY3" fmla="*/ 179499 h 364434"/>
                <a:gd name="connsiteX4" fmla="*/ 182218 w 364436"/>
                <a:gd name="connsiteY4" fmla="*/ 73431 h 364434"/>
                <a:gd name="connsiteX5" fmla="*/ 182219 w 364436"/>
                <a:gd name="connsiteY5" fmla="*/ 0 h 364434"/>
                <a:gd name="connsiteX6" fmla="*/ 364436 w 364436"/>
                <a:gd name="connsiteY6" fmla="*/ 182217 h 364434"/>
                <a:gd name="connsiteX7" fmla="*/ 182219 w 364436"/>
                <a:gd name="connsiteY7" fmla="*/ 364434 h 364434"/>
                <a:gd name="connsiteX8" fmla="*/ 0 w 364436"/>
                <a:gd name="connsiteY8" fmla="*/ 182217 h 364434"/>
                <a:gd name="connsiteX9" fmla="*/ 182219 w 364436"/>
                <a:gd name="connsiteY9" fmla="*/ 0 h 3644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64436" h="364434">
                  <a:moveTo>
                    <a:pt x="182218" y="73431"/>
                  </a:moveTo>
                  <a:cubicBezTo>
                    <a:pt x="152302" y="76151"/>
                    <a:pt x="130544" y="114226"/>
                    <a:pt x="130544" y="179499"/>
                  </a:cubicBezTo>
                  <a:cubicBezTo>
                    <a:pt x="130544" y="244770"/>
                    <a:pt x="146862" y="285565"/>
                    <a:pt x="182218" y="285565"/>
                  </a:cubicBezTo>
                  <a:cubicBezTo>
                    <a:pt x="217573" y="285565"/>
                    <a:pt x="233891" y="247490"/>
                    <a:pt x="233891" y="179499"/>
                  </a:cubicBezTo>
                  <a:cubicBezTo>
                    <a:pt x="233891" y="114226"/>
                    <a:pt x="212134" y="73431"/>
                    <a:pt x="182218" y="73431"/>
                  </a:cubicBezTo>
                  <a:close/>
                  <a:moveTo>
                    <a:pt x="182219" y="0"/>
                  </a:moveTo>
                  <a:cubicBezTo>
                    <a:pt x="282846" y="0"/>
                    <a:pt x="364436" y="81590"/>
                    <a:pt x="364436" y="182217"/>
                  </a:cubicBezTo>
                  <a:cubicBezTo>
                    <a:pt x="364436" y="282844"/>
                    <a:pt x="282846" y="364434"/>
                    <a:pt x="182219" y="364434"/>
                  </a:cubicBezTo>
                  <a:cubicBezTo>
                    <a:pt x="81591" y="364434"/>
                    <a:pt x="0" y="282844"/>
                    <a:pt x="0" y="182217"/>
                  </a:cubicBezTo>
                  <a:cubicBezTo>
                    <a:pt x="0" y="81590"/>
                    <a:pt x="81591" y="0"/>
                    <a:pt x="182219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B495AE45-21CF-4D1B-B9A4-3378621E31F8}"/>
                </a:ext>
              </a:extLst>
            </p:cNvPr>
            <p:cNvSpPr/>
            <p:nvPr/>
          </p:nvSpPr>
          <p:spPr>
            <a:xfrm>
              <a:off x="6743101" y="3464184"/>
              <a:ext cx="372773" cy="375657"/>
            </a:xfrm>
            <a:custGeom>
              <a:avLst/>
              <a:gdLst>
                <a:gd name="connsiteX0" fmla="*/ 176958 w 372773"/>
                <a:gd name="connsiteY0" fmla="*/ 98080 h 375657"/>
                <a:gd name="connsiteX1" fmla="*/ 125284 w 372773"/>
                <a:gd name="connsiteY1" fmla="*/ 190548 h 375657"/>
                <a:gd name="connsiteX2" fmla="*/ 176958 w 372773"/>
                <a:gd name="connsiteY2" fmla="*/ 283017 h 375657"/>
                <a:gd name="connsiteX3" fmla="*/ 228631 w 372773"/>
                <a:gd name="connsiteY3" fmla="*/ 190548 h 375657"/>
                <a:gd name="connsiteX4" fmla="*/ 176958 w 372773"/>
                <a:gd name="connsiteY4" fmla="*/ 98080 h 375657"/>
                <a:gd name="connsiteX5" fmla="*/ 307501 w 372773"/>
                <a:gd name="connsiteY5" fmla="*/ 172 h 375657"/>
                <a:gd name="connsiteX6" fmla="*/ 372773 w 372773"/>
                <a:gd name="connsiteY6" fmla="*/ 62724 h 375657"/>
                <a:gd name="connsiteX7" fmla="*/ 372773 w 372773"/>
                <a:gd name="connsiteY7" fmla="*/ 312934 h 375657"/>
                <a:gd name="connsiteX8" fmla="*/ 302061 w 372773"/>
                <a:gd name="connsiteY8" fmla="*/ 375486 h 375657"/>
                <a:gd name="connsiteX9" fmla="*/ 239509 w 372773"/>
                <a:gd name="connsiteY9" fmla="*/ 326532 h 375657"/>
                <a:gd name="connsiteX10" fmla="*/ 179677 w 372773"/>
                <a:gd name="connsiteY10" fmla="*/ 370046 h 375657"/>
                <a:gd name="connsiteX11" fmla="*/ 70890 w 372773"/>
                <a:gd name="connsiteY11" fmla="*/ 353728 h 375657"/>
                <a:gd name="connsiteX12" fmla="*/ 128003 w 372773"/>
                <a:gd name="connsiteY12" fmla="*/ 11051 h 375657"/>
                <a:gd name="connsiteX13" fmla="*/ 236790 w 372773"/>
                <a:gd name="connsiteY13" fmla="*/ 70883 h 375657"/>
                <a:gd name="connsiteX14" fmla="*/ 236790 w 372773"/>
                <a:gd name="connsiteY14" fmla="*/ 62724 h 375657"/>
                <a:gd name="connsiteX15" fmla="*/ 307501 w 372773"/>
                <a:gd name="connsiteY15" fmla="*/ 172 h 3756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72773" h="375657">
                  <a:moveTo>
                    <a:pt x="176958" y="98080"/>
                  </a:moveTo>
                  <a:cubicBezTo>
                    <a:pt x="147042" y="100800"/>
                    <a:pt x="125284" y="133436"/>
                    <a:pt x="125284" y="190548"/>
                  </a:cubicBezTo>
                  <a:cubicBezTo>
                    <a:pt x="125284" y="247661"/>
                    <a:pt x="141602" y="283017"/>
                    <a:pt x="176958" y="283017"/>
                  </a:cubicBezTo>
                  <a:cubicBezTo>
                    <a:pt x="212314" y="283017"/>
                    <a:pt x="228631" y="247661"/>
                    <a:pt x="228631" y="190548"/>
                  </a:cubicBezTo>
                  <a:cubicBezTo>
                    <a:pt x="228631" y="133436"/>
                    <a:pt x="206874" y="98080"/>
                    <a:pt x="176958" y="98080"/>
                  </a:cubicBezTo>
                  <a:close/>
                  <a:moveTo>
                    <a:pt x="307501" y="172"/>
                  </a:moveTo>
                  <a:cubicBezTo>
                    <a:pt x="340137" y="172"/>
                    <a:pt x="372773" y="30088"/>
                    <a:pt x="372773" y="62724"/>
                  </a:cubicBezTo>
                  <a:cubicBezTo>
                    <a:pt x="372773" y="65444"/>
                    <a:pt x="372773" y="307494"/>
                    <a:pt x="372773" y="312934"/>
                  </a:cubicBezTo>
                  <a:cubicBezTo>
                    <a:pt x="370053" y="348289"/>
                    <a:pt x="337417" y="378205"/>
                    <a:pt x="302061" y="375486"/>
                  </a:cubicBezTo>
                  <a:cubicBezTo>
                    <a:pt x="274865" y="372766"/>
                    <a:pt x="247668" y="353728"/>
                    <a:pt x="239509" y="326532"/>
                  </a:cubicBezTo>
                  <a:cubicBezTo>
                    <a:pt x="225911" y="348289"/>
                    <a:pt x="198715" y="364607"/>
                    <a:pt x="179677" y="370046"/>
                  </a:cubicBezTo>
                  <a:cubicBezTo>
                    <a:pt x="147041" y="378205"/>
                    <a:pt x="100807" y="372766"/>
                    <a:pt x="70890" y="353728"/>
                  </a:cubicBezTo>
                  <a:cubicBezTo>
                    <a:pt x="-35177" y="285737"/>
                    <a:pt x="-27018" y="11051"/>
                    <a:pt x="128003" y="11051"/>
                  </a:cubicBezTo>
                  <a:cubicBezTo>
                    <a:pt x="185116" y="11051"/>
                    <a:pt x="220471" y="49126"/>
                    <a:pt x="236790" y="70883"/>
                  </a:cubicBezTo>
                  <a:cubicBezTo>
                    <a:pt x="236790" y="70883"/>
                    <a:pt x="236790" y="65444"/>
                    <a:pt x="236790" y="62724"/>
                  </a:cubicBezTo>
                  <a:cubicBezTo>
                    <a:pt x="239509" y="27369"/>
                    <a:pt x="272145" y="-2547"/>
                    <a:pt x="307501" y="172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C216FC84-D2D6-4A19-8ECF-E28FA6872E1A}"/>
                </a:ext>
              </a:extLst>
            </p:cNvPr>
            <p:cNvSpPr/>
            <p:nvPr/>
          </p:nvSpPr>
          <p:spPr>
            <a:xfrm>
              <a:off x="8380335" y="3464184"/>
              <a:ext cx="372772" cy="375657"/>
            </a:xfrm>
            <a:custGeom>
              <a:avLst/>
              <a:gdLst>
                <a:gd name="connsiteX0" fmla="*/ 176957 w 372772"/>
                <a:gd name="connsiteY0" fmla="*/ 98080 h 375657"/>
                <a:gd name="connsiteX1" fmla="*/ 125282 w 372772"/>
                <a:gd name="connsiteY1" fmla="*/ 190548 h 375657"/>
                <a:gd name="connsiteX2" fmla="*/ 176957 w 372772"/>
                <a:gd name="connsiteY2" fmla="*/ 283017 h 375657"/>
                <a:gd name="connsiteX3" fmla="*/ 228630 w 372772"/>
                <a:gd name="connsiteY3" fmla="*/ 190548 h 375657"/>
                <a:gd name="connsiteX4" fmla="*/ 176957 w 372772"/>
                <a:gd name="connsiteY4" fmla="*/ 98080 h 375657"/>
                <a:gd name="connsiteX5" fmla="*/ 307501 w 372772"/>
                <a:gd name="connsiteY5" fmla="*/ 172 h 375657"/>
                <a:gd name="connsiteX6" fmla="*/ 372772 w 372772"/>
                <a:gd name="connsiteY6" fmla="*/ 62724 h 375657"/>
                <a:gd name="connsiteX7" fmla="*/ 372772 w 372772"/>
                <a:gd name="connsiteY7" fmla="*/ 312934 h 375657"/>
                <a:gd name="connsiteX8" fmla="*/ 302062 w 372772"/>
                <a:gd name="connsiteY8" fmla="*/ 375486 h 375657"/>
                <a:gd name="connsiteX9" fmla="*/ 239509 w 372772"/>
                <a:gd name="connsiteY9" fmla="*/ 326532 h 375657"/>
                <a:gd name="connsiteX10" fmla="*/ 179677 w 372772"/>
                <a:gd name="connsiteY10" fmla="*/ 370046 h 375657"/>
                <a:gd name="connsiteX11" fmla="*/ 70890 w 372772"/>
                <a:gd name="connsiteY11" fmla="*/ 353728 h 375657"/>
                <a:gd name="connsiteX12" fmla="*/ 128002 w 372772"/>
                <a:gd name="connsiteY12" fmla="*/ 11051 h 375657"/>
                <a:gd name="connsiteX13" fmla="*/ 236790 w 372772"/>
                <a:gd name="connsiteY13" fmla="*/ 70883 h 375657"/>
                <a:gd name="connsiteX14" fmla="*/ 236790 w 372772"/>
                <a:gd name="connsiteY14" fmla="*/ 62724 h 375657"/>
                <a:gd name="connsiteX15" fmla="*/ 307501 w 372772"/>
                <a:gd name="connsiteY15" fmla="*/ 172 h 3756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72772" h="375657">
                  <a:moveTo>
                    <a:pt x="176957" y="98080"/>
                  </a:moveTo>
                  <a:cubicBezTo>
                    <a:pt x="147039" y="100800"/>
                    <a:pt x="125282" y="133436"/>
                    <a:pt x="125282" y="190548"/>
                  </a:cubicBezTo>
                  <a:cubicBezTo>
                    <a:pt x="125282" y="247661"/>
                    <a:pt x="141600" y="283017"/>
                    <a:pt x="176957" y="283017"/>
                  </a:cubicBezTo>
                  <a:cubicBezTo>
                    <a:pt x="212312" y="283017"/>
                    <a:pt x="228630" y="247661"/>
                    <a:pt x="228630" y="190548"/>
                  </a:cubicBezTo>
                  <a:cubicBezTo>
                    <a:pt x="228630" y="133436"/>
                    <a:pt x="206873" y="98080"/>
                    <a:pt x="176957" y="98080"/>
                  </a:cubicBezTo>
                  <a:close/>
                  <a:moveTo>
                    <a:pt x="307501" y="172"/>
                  </a:moveTo>
                  <a:cubicBezTo>
                    <a:pt x="340137" y="172"/>
                    <a:pt x="372772" y="30088"/>
                    <a:pt x="372772" y="62724"/>
                  </a:cubicBezTo>
                  <a:cubicBezTo>
                    <a:pt x="372772" y="65444"/>
                    <a:pt x="372772" y="307494"/>
                    <a:pt x="372772" y="312934"/>
                  </a:cubicBezTo>
                  <a:cubicBezTo>
                    <a:pt x="370053" y="348289"/>
                    <a:pt x="337417" y="378205"/>
                    <a:pt x="302062" y="375486"/>
                  </a:cubicBezTo>
                  <a:cubicBezTo>
                    <a:pt x="274865" y="372766"/>
                    <a:pt x="247668" y="353728"/>
                    <a:pt x="239509" y="326532"/>
                  </a:cubicBezTo>
                  <a:cubicBezTo>
                    <a:pt x="228630" y="348289"/>
                    <a:pt x="198714" y="364607"/>
                    <a:pt x="179677" y="370046"/>
                  </a:cubicBezTo>
                  <a:cubicBezTo>
                    <a:pt x="147040" y="378205"/>
                    <a:pt x="100806" y="372766"/>
                    <a:pt x="70890" y="353728"/>
                  </a:cubicBezTo>
                  <a:cubicBezTo>
                    <a:pt x="-35177" y="285737"/>
                    <a:pt x="-27018" y="11051"/>
                    <a:pt x="128002" y="11051"/>
                  </a:cubicBezTo>
                  <a:cubicBezTo>
                    <a:pt x="185116" y="11051"/>
                    <a:pt x="220472" y="49126"/>
                    <a:pt x="236790" y="70883"/>
                  </a:cubicBezTo>
                  <a:cubicBezTo>
                    <a:pt x="236790" y="70883"/>
                    <a:pt x="236790" y="65444"/>
                    <a:pt x="236790" y="62724"/>
                  </a:cubicBezTo>
                  <a:cubicBezTo>
                    <a:pt x="239509" y="27369"/>
                    <a:pt x="272145" y="-2547"/>
                    <a:pt x="307501" y="172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064D8E5A-0B60-43A6-9CB4-0637AD08F72C}"/>
                </a:ext>
              </a:extLst>
            </p:cNvPr>
            <p:cNvSpPr/>
            <p:nvPr/>
          </p:nvSpPr>
          <p:spPr>
            <a:xfrm>
              <a:off x="7389492" y="3444253"/>
              <a:ext cx="217573" cy="435145"/>
            </a:xfrm>
            <a:custGeom>
              <a:avLst/>
              <a:gdLst>
                <a:gd name="connsiteX0" fmla="*/ 186002 w 217572"/>
                <a:gd name="connsiteY0" fmla="*/ 118011 h 435144"/>
                <a:gd name="connsiteX1" fmla="*/ 128890 w 217572"/>
                <a:gd name="connsiteY1" fmla="*/ 58178 h 435144"/>
                <a:gd name="connsiteX2" fmla="*/ 123450 w 217572"/>
                <a:gd name="connsiteY2" fmla="*/ 58178 h 435144"/>
                <a:gd name="connsiteX3" fmla="*/ 58178 w 217572"/>
                <a:gd name="connsiteY3" fmla="*/ 115291 h 435144"/>
                <a:gd name="connsiteX4" fmla="*/ 58178 w 217572"/>
                <a:gd name="connsiteY4" fmla="*/ 232236 h 435144"/>
                <a:gd name="connsiteX5" fmla="*/ 58178 w 217572"/>
                <a:gd name="connsiteY5" fmla="*/ 232236 h 435144"/>
                <a:gd name="connsiteX6" fmla="*/ 58178 w 217572"/>
                <a:gd name="connsiteY6" fmla="*/ 335583 h 435144"/>
                <a:gd name="connsiteX7" fmla="*/ 115291 w 217572"/>
                <a:gd name="connsiteY7" fmla="*/ 395415 h 435144"/>
                <a:gd name="connsiteX8" fmla="*/ 120730 w 217572"/>
                <a:gd name="connsiteY8" fmla="*/ 395415 h 435144"/>
                <a:gd name="connsiteX9" fmla="*/ 186002 w 217572"/>
                <a:gd name="connsiteY9" fmla="*/ 338303 h 435144"/>
                <a:gd name="connsiteX10" fmla="*/ 186002 w 217572"/>
                <a:gd name="connsiteY10" fmla="*/ 240395 h 435144"/>
                <a:gd name="connsiteX11" fmla="*/ 186002 w 217572"/>
                <a:gd name="connsiteY11" fmla="*/ 240395 h 435144"/>
                <a:gd name="connsiteX12" fmla="*/ 186002 w 217572"/>
                <a:gd name="connsiteY12" fmla="*/ 118011 h 4351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17572" h="435144">
                  <a:moveTo>
                    <a:pt x="186002" y="118011"/>
                  </a:moveTo>
                  <a:cubicBezTo>
                    <a:pt x="183283" y="85375"/>
                    <a:pt x="158806" y="60898"/>
                    <a:pt x="128890" y="58178"/>
                  </a:cubicBezTo>
                  <a:cubicBezTo>
                    <a:pt x="126170" y="58178"/>
                    <a:pt x="126170" y="58178"/>
                    <a:pt x="123450" y="58178"/>
                  </a:cubicBezTo>
                  <a:cubicBezTo>
                    <a:pt x="96254" y="58178"/>
                    <a:pt x="58178" y="82655"/>
                    <a:pt x="58178" y="115291"/>
                  </a:cubicBezTo>
                  <a:lnTo>
                    <a:pt x="58178" y="232236"/>
                  </a:lnTo>
                  <a:lnTo>
                    <a:pt x="58178" y="232236"/>
                  </a:lnTo>
                  <a:cubicBezTo>
                    <a:pt x="58178" y="270311"/>
                    <a:pt x="58178" y="335583"/>
                    <a:pt x="58178" y="335583"/>
                  </a:cubicBezTo>
                  <a:cubicBezTo>
                    <a:pt x="60898" y="368219"/>
                    <a:pt x="85375" y="392696"/>
                    <a:pt x="115291" y="395415"/>
                  </a:cubicBezTo>
                  <a:cubicBezTo>
                    <a:pt x="118011" y="395415"/>
                    <a:pt x="118011" y="395415"/>
                    <a:pt x="120730" y="395415"/>
                  </a:cubicBezTo>
                  <a:cubicBezTo>
                    <a:pt x="147927" y="395415"/>
                    <a:pt x="186002" y="370938"/>
                    <a:pt x="186002" y="338303"/>
                  </a:cubicBezTo>
                  <a:lnTo>
                    <a:pt x="186002" y="240395"/>
                  </a:lnTo>
                  <a:lnTo>
                    <a:pt x="186002" y="240395"/>
                  </a:lnTo>
                  <a:cubicBezTo>
                    <a:pt x="186002" y="202320"/>
                    <a:pt x="186002" y="118011"/>
                    <a:pt x="186002" y="118011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2ADC8310-343B-4477-9D7F-D6D4956A7823}"/>
                </a:ext>
              </a:extLst>
            </p:cNvPr>
            <p:cNvSpPr/>
            <p:nvPr/>
          </p:nvSpPr>
          <p:spPr>
            <a:xfrm>
              <a:off x="7392212" y="3280901"/>
              <a:ext cx="217573" cy="217572"/>
            </a:xfrm>
            <a:custGeom>
              <a:avLst/>
              <a:gdLst>
                <a:gd name="connsiteX0" fmla="*/ 183282 w 217572"/>
                <a:gd name="connsiteY0" fmla="*/ 120902 h 217572"/>
                <a:gd name="connsiteX1" fmla="*/ 120730 w 217572"/>
                <a:gd name="connsiteY1" fmla="*/ 183454 h 217572"/>
                <a:gd name="connsiteX2" fmla="*/ 58178 w 217572"/>
                <a:gd name="connsiteY2" fmla="*/ 120902 h 217572"/>
                <a:gd name="connsiteX3" fmla="*/ 120730 w 217572"/>
                <a:gd name="connsiteY3" fmla="*/ 58350 h 217572"/>
                <a:gd name="connsiteX4" fmla="*/ 183282 w 217572"/>
                <a:gd name="connsiteY4" fmla="*/ 120902 h 2175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17572" h="217572">
                  <a:moveTo>
                    <a:pt x="183282" y="120902"/>
                  </a:moveTo>
                  <a:cubicBezTo>
                    <a:pt x="183282" y="156258"/>
                    <a:pt x="156086" y="183454"/>
                    <a:pt x="120730" y="183454"/>
                  </a:cubicBezTo>
                  <a:cubicBezTo>
                    <a:pt x="85375" y="183454"/>
                    <a:pt x="58178" y="156258"/>
                    <a:pt x="58178" y="120902"/>
                  </a:cubicBezTo>
                  <a:cubicBezTo>
                    <a:pt x="58178" y="85547"/>
                    <a:pt x="85375" y="58350"/>
                    <a:pt x="120730" y="58350"/>
                  </a:cubicBezTo>
                  <a:cubicBezTo>
                    <a:pt x="153366" y="55630"/>
                    <a:pt x="183282" y="85547"/>
                    <a:pt x="183282" y="120902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8FAAD271-016E-4F1D-8EF6-91D222D38060}"/>
                </a:ext>
              </a:extLst>
            </p:cNvPr>
            <p:cNvSpPr/>
            <p:nvPr/>
          </p:nvSpPr>
          <p:spPr>
            <a:xfrm>
              <a:off x="6005186" y="3416884"/>
              <a:ext cx="380752" cy="462341"/>
            </a:xfrm>
            <a:custGeom>
              <a:avLst/>
              <a:gdLst>
                <a:gd name="connsiteX0" fmla="*/ 270312 w 380752"/>
                <a:gd name="connsiteY0" fmla="*/ 69229 h 462341"/>
                <a:gd name="connsiteX1" fmla="*/ 188722 w 380752"/>
                <a:gd name="connsiteY1" fmla="*/ 134501 h 462341"/>
                <a:gd name="connsiteX2" fmla="*/ 188722 w 380752"/>
                <a:gd name="connsiteY2" fmla="*/ 118183 h 462341"/>
                <a:gd name="connsiteX3" fmla="*/ 126170 w 380752"/>
                <a:gd name="connsiteY3" fmla="*/ 58350 h 462341"/>
                <a:gd name="connsiteX4" fmla="*/ 58178 w 380752"/>
                <a:gd name="connsiteY4" fmla="*/ 118183 h 462341"/>
                <a:gd name="connsiteX5" fmla="*/ 58178 w 380752"/>
                <a:gd name="connsiteY5" fmla="*/ 210651 h 462341"/>
                <a:gd name="connsiteX6" fmla="*/ 58178 w 380752"/>
                <a:gd name="connsiteY6" fmla="*/ 365671 h 462341"/>
                <a:gd name="connsiteX7" fmla="*/ 58178 w 380752"/>
                <a:gd name="connsiteY7" fmla="*/ 365671 h 462341"/>
                <a:gd name="connsiteX8" fmla="*/ 120730 w 380752"/>
                <a:gd name="connsiteY8" fmla="*/ 425504 h 462341"/>
                <a:gd name="connsiteX9" fmla="*/ 186002 w 380752"/>
                <a:gd name="connsiteY9" fmla="*/ 365671 h 462341"/>
                <a:gd name="connsiteX10" fmla="*/ 186002 w 380752"/>
                <a:gd name="connsiteY10" fmla="*/ 365671 h 462341"/>
                <a:gd name="connsiteX11" fmla="*/ 186002 w 380752"/>
                <a:gd name="connsiteY11" fmla="*/ 210651 h 462341"/>
                <a:gd name="connsiteX12" fmla="*/ 215919 w 380752"/>
                <a:gd name="connsiteY12" fmla="*/ 158978 h 462341"/>
                <a:gd name="connsiteX13" fmla="*/ 275751 w 380752"/>
                <a:gd name="connsiteY13" fmla="*/ 221530 h 462341"/>
                <a:gd name="connsiteX14" fmla="*/ 270312 w 380752"/>
                <a:gd name="connsiteY14" fmla="*/ 69229 h 4623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80752" h="462341">
                  <a:moveTo>
                    <a:pt x="270312" y="69229"/>
                  </a:moveTo>
                  <a:cubicBezTo>
                    <a:pt x="232236" y="71949"/>
                    <a:pt x="213199" y="99145"/>
                    <a:pt x="188722" y="134501"/>
                  </a:cubicBezTo>
                  <a:cubicBezTo>
                    <a:pt x="188722" y="134501"/>
                    <a:pt x="188722" y="118183"/>
                    <a:pt x="188722" y="118183"/>
                  </a:cubicBezTo>
                  <a:cubicBezTo>
                    <a:pt x="188722" y="85547"/>
                    <a:pt x="158806" y="58350"/>
                    <a:pt x="126170" y="58350"/>
                  </a:cubicBezTo>
                  <a:cubicBezTo>
                    <a:pt x="93534" y="55631"/>
                    <a:pt x="60898" y="85547"/>
                    <a:pt x="58178" y="118183"/>
                  </a:cubicBezTo>
                  <a:lnTo>
                    <a:pt x="58178" y="210651"/>
                  </a:lnTo>
                  <a:lnTo>
                    <a:pt x="58178" y="365671"/>
                  </a:lnTo>
                  <a:lnTo>
                    <a:pt x="58178" y="365671"/>
                  </a:lnTo>
                  <a:cubicBezTo>
                    <a:pt x="58178" y="398307"/>
                    <a:pt x="88094" y="425504"/>
                    <a:pt x="120730" y="425504"/>
                  </a:cubicBezTo>
                  <a:cubicBezTo>
                    <a:pt x="153366" y="428224"/>
                    <a:pt x="186002" y="398307"/>
                    <a:pt x="186002" y="365671"/>
                  </a:cubicBezTo>
                  <a:lnTo>
                    <a:pt x="186002" y="365671"/>
                  </a:lnTo>
                  <a:lnTo>
                    <a:pt x="186002" y="210651"/>
                  </a:lnTo>
                  <a:cubicBezTo>
                    <a:pt x="188722" y="188894"/>
                    <a:pt x="196881" y="158978"/>
                    <a:pt x="215919" y="158978"/>
                  </a:cubicBezTo>
                  <a:cubicBezTo>
                    <a:pt x="243115" y="158978"/>
                    <a:pt x="215919" y="221530"/>
                    <a:pt x="275751" y="221530"/>
                  </a:cubicBezTo>
                  <a:cubicBezTo>
                    <a:pt x="362780" y="221530"/>
                    <a:pt x="373658" y="63790"/>
                    <a:pt x="270312" y="69229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A2742EF4-689F-485B-BB36-526335213608}"/>
                </a:ext>
              </a:extLst>
            </p:cNvPr>
            <p:cNvSpPr/>
            <p:nvPr/>
          </p:nvSpPr>
          <p:spPr>
            <a:xfrm>
              <a:off x="5693490" y="3475234"/>
              <a:ext cx="337238" cy="364434"/>
            </a:xfrm>
            <a:custGeom>
              <a:avLst/>
              <a:gdLst>
                <a:gd name="connsiteX0" fmla="*/ 180433 w 337238"/>
                <a:gd name="connsiteY0" fmla="*/ 73984 h 364434"/>
                <a:gd name="connsiteX1" fmla="*/ 163180 w 337238"/>
                <a:gd name="connsiteY1" fmla="*/ 78870 h 364434"/>
                <a:gd name="connsiteX2" fmla="*/ 125105 w 337238"/>
                <a:gd name="connsiteY2" fmla="*/ 160461 h 364434"/>
                <a:gd name="connsiteX3" fmla="*/ 171339 w 337238"/>
                <a:gd name="connsiteY3" fmla="*/ 163180 h 364434"/>
                <a:gd name="connsiteX4" fmla="*/ 214854 w 337238"/>
                <a:gd name="connsiteY4" fmla="*/ 108787 h 364434"/>
                <a:gd name="connsiteX5" fmla="*/ 180433 w 337238"/>
                <a:gd name="connsiteY5" fmla="*/ 73984 h 364434"/>
                <a:gd name="connsiteX6" fmla="*/ 174059 w 337238"/>
                <a:gd name="connsiteY6" fmla="*/ 0 h 364434"/>
                <a:gd name="connsiteX7" fmla="*/ 337238 w 337238"/>
                <a:gd name="connsiteY7" fmla="*/ 119665 h 364434"/>
                <a:gd name="connsiteX8" fmla="*/ 133264 w 337238"/>
                <a:gd name="connsiteY8" fmla="*/ 217573 h 364434"/>
                <a:gd name="connsiteX9" fmla="*/ 225732 w 337238"/>
                <a:gd name="connsiteY9" fmla="*/ 277405 h 364434"/>
                <a:gd name="connsiteX10" fmla="*/ 320920 w 337238"/>
                <a:gd name="connsiteY10" fmla="*/ 250208 h 364434"/>
                <a:gd name="connsiteX11" fmla="*/ 174059 w 337238"/>
                <a:gd name="connsiteY11" fmla="*/ 364434 h 364434"/>
                <a:gd name="connsiteX12" fmla="*/ 0 w 337238"/>
                <a:gd name="connsiteY12" fmla="*/ 184937 h 364434"/>
                <a:gd name="connsiteX13" fmla="*/ 174059 w 337238"/>
                <a:gd name="connsiteY13" fmla="*/ 0 h 3644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37238" h="364434">
                  <a:moveTo>
                    <a:pt x="180433" y="73984"/>
                  </a:moveTo>
                  <a:cubicBezTo>
                    <a:pt x="174569" y="73941"/>
                    <a:pt x="168620" y="75471"/>
                    <a:pt x="163180" y="78870"/>
                  </a:cubicBezTo>
                  <a:cubicBezTo>
                    <a:pt x="135984" y="95189"/>
                    <a:pt x="127825" y="130544"/>
                    <a:pt x="125105" y="160461"/>
                  </a:cubicBezTo>
                  <a:cubicBezTo>
                    <a:pt x="125105" y="163180"/>
                    <a:pt x="168620" y="160461"/>
                    <a:pt x="171339" y="163180"/>
                  </a:cubicBezTo>
                  <a:cubicBezTo>
                    <a:pt x="195816" y="157741"/>
                    <a:pt x="214854" y="135984"/>
                    <a:pt x="214854" y="108787"/>
                  </a:cubicBezTo>
                  <a:cubicBezTo>
                    <a:pt x="214854" y="88389"/>
                    <a:pt x="198026" y="74111"/>
                    <a:pt x="180433" y="73984"/>
                  </a:cubicBezTo>
                  <a:close/>
                  <a:moveTo>
                    <a:pt x="174059" y="0"/>
                  </a:moveTo>
                  <a:cubicBezTo>
                    <a:pt x="233891" y="0"/>
                    <a:pt x="337238" y="29916"/>
                    <a:pt x="337238" y="119665"/>
                  </a:cubicBezTo>
                  <a:cubicBezTo>
                    <a:pt x="337238" y="209414"/>
                    <a:pt x="244770" y="217573"/>
                    <a:pt x="133264" y="217573"/>
                  </a:cubicBezTo>
                  <a:cubicBezTo>
                    <a:pt x="133264" y="217573"/>
                    <a:pt x="149581" y="277405"/>
                    <a:pt x="225732" y="277405"/>
                  </a:cubicBezTo>
                  <a:cubicBezTo>
                    <a:pt x="301883" y="277405"/>
                    <a:pt x="320920" y="250208"/>
                    <a:pt x="320920" y="250208"/>
                  </a:cubicBezTo>
                  <a:cubicBezTo>
                    <a:pt x="320920" y="250208"/>
                    <a:pt x="315481" y="364434"/>
                    <a:pt x="174059" y="364434"/>
                  </a:cubicBezTo>
                  <a:cubicBezTo>
                    <a:pt x="95188" y="364434"/>
                    <a:pt x="0" y="304602"/>
                    <a:pt x="0" y="184937"/>
                  </a:cubicBezTo>
                  <a:cubicBezTo>
                    <a:pt x="0" y="78870"/>
                    <a:pt x="73431" y="0"/>
                    <a:pt x="174059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id="{793F6E36-55ED-4F20-8333-159A45A3E524}"/>
                </a:ext>
              </a:extLst>
            </p:cNvPr>
            <p:cNvSpPr/>
            <p:nvPr/>
          </p:nvSpPr>
          <p:spPr>
            <a:xfrm>
              <a:off x="5376945" y="3338014"/>
              <a:ext cx="353556" cy="543931"/>
            </a:xfrm>
            <a:custGeom>
              <a:avLst/>
              <a:gdLst>
                <a:gd name="connsiteX0" fmla="*/ 311107 w 353555"/>
                <a:gd name="connsiteY0" fmla="*/ 433663 h 543931"/>
                <a:gd name="connsiteX1" fmla="*/ 215919 w 353555"/>
                <a:gd name="connsiteY1" fmla="*/ 501654 h 543931"/>
                <a:gd name="connsiteX2" fmla="*/ 98973 w 353555"/>
                <a:gd name="connsiteY2" fmla="*/ 392868 h 543931"/>
                <a:gd name="connsiteX3" fmla="*/ 98973 w 353555"/>
                <a:gd name="connsiteY3" fmla="*/ 221530 h 543931"/>
                <a:gd name="connsiteX4" fmla="*/ 82655 w 353555"/>
                <a:gd name="connsiteY4" fmla="*/ 221530 h 543931"/>
                <a:gd name="connsiteX5" fmla="*/ 58178 w 353555"/>
                <a:gd name="connsiteY5" fmla="*/ 191614 h 543931"/>
                <a:gd name="connsiteX6" fmla="*/ 85375 w 353555"/>
                <a:gd name="connsiteY6" fmla="*/ 164417 h 543931"/>
                <a:gd name="connsiteX7" fmla="*/ 101693 w 353555"/>
                <a:gd name="connsiteY7" fmla="*/ 164417 h 543931"/>
                <a:gd name="connsiteX8" fmla="*/ 101693 w 353555"/>
                <a:gd name="connsiteY8" fmla="*/ 118183 h 543931"/>
                <a:gd name="connsiteX9" fmla="*/ 166965 w 353555"/>
                <a:gd name="connsiteY9" fmla="*/ 58350 h 543931"/>
                <a:gd name="connsiteX10" fmla="*/ 229517 w 353555"/>
                <a:gd name="connsiteY10" fmla="*/ 118183 h 543931"/>
                <a:gd name="connsiteX11" fmla="*/ 229517 w 353555"/>
                <a:gd name="connsiteY11" fmla="*/ 118183 h 543931"/>
                <a:gd name="connsiteX12" fmla="*/ 229517 w 353555"/>
                <a:gd name="connsiteY12" fmla="*/ 164417 h 543931"/>
                <a:gd name="connsiteX13" fmla="*/ 283910 w 353555"/>
                <a:gd name="connsiteY13" fmla="*/ 164417 h 543931"/>
                <a:gd name="connsiteX14" fmla="*/ 308387 w 353555"/>
                <a:gd name="connsiteY14" fmla="*/ 194333 h 543931"/>
                <a:gd name="connsiteX15" fmla="*/ 281190 w 353555"/>
                <a:gd name="connsiteY15" fmla="*/ 221530 h 543931"/>
                <a:gd name="connsiteX16" fmla="*/ 229517 w 353555"/>
                <a:gd name="connsiteY16" fmla="*/ 221530 h 543931"/>
                <a:gd name="connsiteX17" fmla="*/ 229517 w 353555"/>
                <a:gd name="connsiteY17" fmla="*/ 365671 h 543931"/>
                <a:gd name="connsiteX18" fmla="*/ 311107 w 353555"/>
                <a:gd name="connsiteY18" fmla="*/ 433663 h 5439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353555" h="543931">
                  <a:moveTo>
                    <a:pt x="311107" y="433663"/>
                  </a:moveTo>
                  <a:cubicBezTo>
                    <a:pt x="311107" y="433663"/>
                    <a:pt x="278471" y="501654"/>
                    <a:pt x="215919" y="501654"/>
                  </a:cubicBezTo>
                  <a:cubicBezTo>
                    <a:pt x="164245" y="501654"/>
                    <a:pt x="101693" y="458140"/>
                    <a:pt x="98973" y="392868"/>
                  </a:cubicBezTo>
                  <a:cubicBezTo>
                    <a:pt x="98973" y="392868"/>
                    <a:pt x="98973" y="297680"/>
                    <a:pt x="98973" y="221530"/>
                  </a:cubicBezTo>
                  <a:lnTo>
                    <a:pt x="82655" y="221530"/>
                  </a:lnTo>
                  <a:cubicBezTo>
                    <a:pt x="74496" y="221530"/>
                    <a:pt x="58178" y="216090"/>
                    <a:pt x="58178" y="191614"/>
                  </a:cubicBezTo>
                  <a:cubicBezTo>
                    <a:pt x="58178" y="167137"/>
                    <a:pt x="77216" y="164417"/>
                    <a:pt x="85375" y="164417"/>
                  </a:cubicBezTo>
                  <a:lnTo>
                    <a:pt x="101693" y="164417"/>
                  </a:lnTo>
                  <a:cubicBezTo>
                    <a:pt x="101693" y="137220"/>
                    <a:pt x="101693" y="118183"/>
                    <a:pt x="101693" y="118183"/>
                  </a:cubicBezTo>
                  <a:cubicBezTo>
                    <a:pt x="104413" y="85547"/>
                    <a:pt x="134329" y="55631"/>
                    <a:pt x="166965" y="58350"/>
                  </a:cubicBezTo>
                  <a:cubicBezTo>
                    <a:pt x="196881" y="61070"/>
                    <a:pt x="229517" y="85547"/>
                    <a:pt x="229517" y="118183"/>
                  </a:cubicBezTo>
                  <a:lnTo>
                    <a:pt x="229517" y="118183"/>
                  </a:lnTo>
                  <a:lnTo>
                    <a:pt x="229517" y="164417"/>
                  </a:lnTo>
                  <a:lnTo>
                    <a:pt x="283910" y="164417"/>
                  </a:lnTo>
                  <a:cubicBezTo>
                    <a:pt x="292069" y="164417"/>
                    <a:pt x="308387" y="169856"/>
                    <a:pt x="308387" y="194333"/>
                  </a:cubicBezTo>
                  <a:cubicBezTo>
                    <a:pt x="308387" y="218810"/>
                    <a:pt x="292069" y="221530"/>
                    <a:pt x="281190" y="221530"/>
                  </a:cubicBezTo>
                  <a:lnTo>
                    <a:pt x="229517" y="221530"/>
                  </a:lnTo>
                  <a:lnTo>
                    <a:pt x="229517" y="365671"/>
                  </a:lnTo>
                  <a:cubicBezTo>
                    <a:pt x="226797" y="409186"/>
                    <a:pt x="267592" y="433663"/>
                    <a:pt x="311107" y="433663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35" name="Freeform: Shape 34">
              <a:extLst>
                <a:ext uri="{FF2B5EF4-FFF2-40B4-BE49-F238E27FC236}">
                  <a16:creationId xmlns:a16="http://schemas.microsoft.com/office/drawing/2014/main" id="{BD920CE9-16CC-42EA-AAD6-0680F860CC1E}"/>
                </a:ext>
              </a:extLst>
            </p:cNvPr>
            <p:cNvSpPr/>
            <p:nvPr/>
          </p:nvSpPr>
          <p:spPr>
            <a:xfrm>
              <a:off x="7090329" y="3338014"/>
              <a:ext cx="353556" cy="543931"/>
            </a:xfrm>
            <a:custGeom>
              <a:avLst/>
              <a:gdLst>
                <a:gd name="connsiteX0" fmla="*/ 311107 w 353555"/>
                <a:gd name="connsiteY0" fmla="*/ 433663 h 543931"/>
                <a:gd name="connsiteX1" fmla="*/ 215919 w 353555"/>
                <a:gd name="connsiteY1" fmla="*/ 501654 h 543931"/>
                <a:gd name="connsiteX2" fmla="*/ 98973 w 353555"/>
                <a:gd name="connsiteY2" fmla="*/ 392868 h 543931"/>
                <a:gd name="connsiteX3" fmla="*/ 98973 w 353555"/>
                <a:gd name="connsiteY3" fmla="*/ 221530 h 543931"/>
                <a:gd name="connsiteX4" fmla="*/ 82655 w 353555"/>
                <a:gd name="connsiteY4" fmla="*/ 221530 h 543931"/>
                <a:gd name="connsiteX5" fmla="*/ 58178 w 353555"/>
                <a:gd name="connsiteY5" fmla="*/ 191614 h 543931"/>
                <a:gd name="connsiteX6" fmla="*/ 85375 w 353555"/>
                <a:gd name="connsiteY6" fmla="*/ 164417 h 543931"/>
                <a:gd name="connsiteX7" fmla="*/ 101693 w 353555"/>
                <a:gd name="connsiteY7" fmla="*/ 164417 h 543931"/>
                <a:gd name="connsiteX8" fmla="*/ 101693 w 353555"/>
                <a:gd name="connsiteY8" fmla="*/ 118183 h 543931"/>
                <a:gd name="connsiteX9" fmla="*/ 166965 w 353555"/>
                <a:gd name="connsiteY9" fmla="*/ 58350 h 543931"/>
                <a:gd name="connsiteX10" fmla="*/ 229517 w 353555"/>
                <a:gd name="connsiteY10" fmla="*/ 118183 h 543931"/>
                <a:gd name="connsiteX11" fmla="*/ 229517 w 353555"/>
                <a:gd name="connsiteY11" fmla="*/ 118183 h 543931"/>
                <a:gd name="connsiteX12" fmla="*/ 229517 w 353555"/>
                <a:gd name="connsiteY12" fmla="*/ 164417 h 543931"/>
                <a:gd name="connsiteX13" fmla="*/ 283910 w 353555"/>
                <a:gd name="connsiteY13" fmla="*/ 164417 h 543931"/>
                <a:gd name="connsiteX14" fmla="*/ 308387 w 353555"/>
                <a:gd name="connsiteY14" fmla="*/ 194333 h 543931"/>
                <a:gd name="connsiteX15" fmla="*/ 281190 w 353555"/>
                <a:gd name="connsiteY15" fmla="*/ 221530 h 543931"/>
                <a:gd name="connsiteX16" fmla="*/ 229517 w 353555"/>
                <a:gd name="connsiteY16" fmla="*/ 221530 h 543931"/>
                <a:gd name="connsiteX17" fmla="*/ 229517 w 353555"/>
                <a:gd name="connsiteY17" fmla="*/ 365671 h 543931"/>
                <a:gd name="connsiteX18" fmla="*/ 311107 w 353555"/>
                <a:gd name="connsiteY18" fmla="*/ 433663 h 5439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353555" h="543931">
                  <a:moveTo>
                    <a:pt x="311107" y="433663"/>
                  </a:moveTo>
                  <a:cubicBezTo>
                    <a:pt x="311107" y="433663"/>
                    <a:pt x="278471" y="501654"/>
                    <a:pt x="215919" y="501654"/>
                  </a:cubicBezTo>
                  <a:cubicBezTo>
                    <a:pt x="164245" y="501654"/>
                    <a:pt x="101693" y="458140"/>
                    <a:pt x="98973" y="392868"/>
                  </a:cubicBezTo>
                  <a:cubicBezTo>
                    <a:pt x="98973" y="392868"/>
                    <a:pt x="98973" y="297680"/>
                    <a:pt x="98973" y="221530"/>
                  </a:cubicBezTo>
                  <a:lnTo>
                    <a:pt x="82655" y="221530"/>
                  </a:lnTo>
                  <a:cubicBezTo>
                    <a:pt x="74496" y="221530"/>
                    <a:pt x="58178" y="216090"/>
                    <a:pt x="58178" y="191614"/>
                  </a:cubicBezTo>
                  <a:cubicBezTo>
                    <a:pt x="58178" y="167137"/>
                    <a:pt x="77216" y="164417"/>
                    <a:pt x="85375" y="164417"/>
                  </a:cubicBezTo>
                  <a:lnTo>
                    <a:pt x="101693" y="164417"/>
                  </a:lnTo>
                  <a:cubicBezTo>
                    <a:pt x="101693" y="137220"/>
                    <a:pt x="101693" y="118183"/>
                    <a:pt x="101693" y="118183"/>
                  </a:cubicBezTo>
                  <a:cubicBezTo>
                    <a:pt x="104412" y="85547"/>
                    <a:pt x="134329" y="55631"/>
                    <a:pt x="166965" y="58350"/>
                  </a:cubicBezTo>
                  <a:cubicBezTo>
                    <a:pt x="196881" y="61070"/>
                    <a:pt x="229517" y="85547"/>
                    <a:pt x="229517" y="118183"/>
                  </a:cubicBezTo>
                  <a:lnTo>
                    <a:pt x="229517" y="118183"/>
                  </a:lnTo>
                  <a:lnTo>
                    <a:pt x="229517" y="164417"/>
                  </a:lnTo>
                  <a:lnTo>
                    <a:pt x="283910" y="164417"/>
                  </a:lnTo>
                  <a:cubicBezTo>
                    <a:pt x="292069" y="164417"/>
                    <a:pt x="308387" y="169856"/>
                    <a:pt x="308387" y="194333"/>
                  </a:cubicBezTo>
                  <a:cubicBezTo>
                    <a:pt x="308387" y="218810"/>
                    <a:pt x="292069" y="221530"/>
                    <a:pt x="281190" y="221530"/>
                  </a:cubicBezTo>
                  <a:lnTo>
                    <a:pt x="229517" y="221530"/>
                  </a:lnTo>
                  <a:lnTo>
                    <a:pt x="229517" y="365671"/>
                  </a:lnTo>
                  <a:cubicBezTo>
                    <a:pt x="229517" y="409186"/>
                    <a:pt x="270312" y="433663"/>
                    <a:pt x="311107" y="433663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36" name="Freeform: Shape 35">
              <a:extLst>
                <a:ext uri="{FF2B5EF4-FFF2-40B4-BE49-F238E27FC236}">
                  <a16:creationId xmlns:a16="http://schemas.microsoft.com/office/drawing/2014/main" id="{90987E9D-29E3-4FAD-B97E-DC5A0FA2C3B3}"/>
                </a:ext>
              </a:extLst>
            </p:cNvPr>
            <p:cNvSpPr/>
            <p:nvPr/>
          </p:nvSpPr>
          <p:spPr>
            <a:xfrm>
              <a:off x="2080719" y="4178559"/>
              <a:ext cx="462342" cy="788700"/>
            </a:xfrm>
            <a:custGeom>
              <a:avLst/>
              <a:gdLst>
                <a:gd name="connsiteX0" fmla="*/ 403575 w 462341"/>
                <a:gd name="connsiteY0" fmla="*/ 583072 h 788699"/>
                <a:gd name="connsiteX1" fmla="*/ 406295 w 462341"/>
                <a:gd name="connsiteY1" fmla="*/ 596670 h 788699"/>
                <a:gd name="connsiteX2" fmla="*/ 400855 w 462341"/>
                <a:gd name="connsiteY2" fmla="*/ 610268 h 788699"/>
                <a:gd name="connsiteX3" fmla="*/ 389977 w 462341"/>
                <a:gd name="connsiteY3" fmla="*/ 626586 h 788699"/>
                <a:gd name="connsiteX4" fmla="*/ 354621 w 462341"/>
                <a:gd name="connsiteY4" fmla="*/ 675540 h 788699"/>
                <a:gd name="connsiteX5" fmla="*/ 327424 w 462341"/>
                <a:gd name="connsiteY5" fmla="*/ 691858 h 788699"/>
                <a:gd name="connsiteX6" fmla="*/ 292069 w 462341"/>
                <a:gd name="connsiteY6" fmla="*/ 713615 h 788699"/>
                <a:gd name="connsiteX7" fmla="*/ 251274 w 462341"/>
                <a:gd name="connsiteY7" fmla="*/ 724494 h 788699"/>
                <a:gd name="connsiteX8" fmla="*/ 221358 w 462341"/>
                <a:gd name="connsiteY8" fmla="*/ 721774 h 788699"/>
                <a:gd name="connsiteX9" fmla="*/ 191442 w 462341"/>
                <a:gd name="connsiteY9" fmla="*/ 721774 h 788699"/>
                <a:gd name="connsiteX10" fmla="*/ 153366 w 462341"/>
                <a:gd name="connsiteY10" fmla="*/ 713615 h 788699"/>
                <a:gd name="connsiteX11" fmla="*/ 104412 w 462341"/>
                <a:gd name="connsiteY11" fmla="*/ 675540 h 788699"/>
                <a:gd name="connsiteX12" fmla="*/ 104412 w 462341"/>
                <a:gd name="connsiteY12" fmla="*/ 689138 h 788699"/>
                <a:gd name="connsiteX13" fmla="*/ 101693 w 462341"/>
                <a:gd name="connsiteY13" fmla="*/ 710895 h 788699"/>
                <a:gd name="connsiteX14" fmla="*/ 85375 w 462341"/>
                <a:gd name="connsiteY14" fmla="*/ 732653 h 788699"/>
                <a:gd name="connsiteX15" fmla="*/ 69057 w 462341"/>
                <a:gd name="connsiteY15" fmla="*/ 727214 h 788699"/>
                <a:gd name="connsiteX16" fmla="*/ 60898 w 462341"/>
                <a:gd name="connsiteY16" fmla="*/ 710895 h 788699"/>
                <a:gd name="connsiteX17" fmla="*/ 58178 w 462341"/>
                <a:gd name="connsiteY17" fmla="*/ 691858 h 788699"/>
                <a:gd name="connsiteX18" fmla="*/ 60898 w 462341"/>
                <a:gd name="connsiteY18" fmla="*/ 664661 h 788699"/>
                <a:gd name="connsiteX19" fmla="*/ 60898 w 462341"/>
                <a:gd name="connsiteY19" fmla="*/ 607549 h 788699"/>
                <a:gd name="connsiteX20" fmla="*/ 63618 w 462341"/>
                <a:gd name="connsiteY20" fmla="*/ 528679 h 788699"/>
                <a:gd name="connsiteX21" fmla="*/ 69057 w 462341"/>
                <a:gd name="connsiteY21" fmla="*/ 504202 h 788699"/>
                <a:gd name="connsiteX22" fmla="*/ 74496 w 462341"/>
                <a:gd name="connsiteY22" fmla="*/ 493323 h 788699"/>
                <a:gd name="connsiteX23" fmla="*/ 82655 w 462341"/>
                <a:gd name="connsiteY23" fmla="*/ 487884 h 788699"/>
                <a:gd name="connsiteX24" fmla="*/ 90814 w 462341"/>
                <a:gd name="connsiteY24" fmla="*/ 493323 h 788699"/>
                <a:gd name="connsiteX25" fmla="*/ 98973 w 462341"/>
                <a:gd name="connsiteY25" fmla="*/ 512361 h 788699"/>
                <a:gd name="connsiteX26" fmla="*/ 101693 w 462341"/>
                <a:gd name="connsiteY26" fmla="*/ 555875 h 788699"/>
                <a:gd name="connsiteX27" fmla="*/ 101693 w 462341"/>
                <a:gd name="connsiteY27" fmla="*/ 596670 h 788699"/>
                <a:gd name="connsiteX28" fmla="*/ 109852 w 462341"/>
                <a:gd name="connsiteY28" fmla="*/ 626586 h 788699"/>
                <a:gd name="connsiteX29" fmla="*/ 128889 w 462341"/>
                <a:gd name="connsiteY29" fmla="*/ 651063 h 788699"/>
                <a:gd name="connsiteX30" fmla="*/ 153366 w 462341"/>
                <a:gd name="connsiteY30" fmla="*/ 670101 h 788699"/>
                <a:gd name="connsiteX31" fmla="*/ 196881 w 462341"/>
                <a:gd name="connsiteY31" fmla="*/ 678260 h 788699"/>
                <a:gd name="connsiteX32" fmla="*/ 221358 w 462341"/>
                <a:gd name="connsiteY32" fmla="*/ 667381 h 788699"/>
                <a:gd name="connsiteX33" fmla="*/ 253994 w 462341"/>
                <a:gd name="connsiteY33" fmla="*/ 659222 h 788699"/>
                <a:gd name="connsiteX34" fmla="*/ 275751 w 462341"/>
                <a:gd name="connsiteY34" fmla="*/ 637465 h 788699"/>
                <a:gd name="connsiteX35" fmla="*/ 281190 w 462341"/>
                <a:gd name="connsiteY35" fmla="*/ 615708 h 788699"/>
                <a:gd name="connsiteX36" fmla="*/ 278471 w 462341"/>
                <a:gd name="connsiteY36" fmla="*/ 602109 h 788699"/>
                <a:gd name="connsiteX37" fmla="*/ 262153 w 462341"/>
                <a:gd name="connsiteY37" fmla="*/ 572193 h 788699"/>
                <a:gd name="connsiteX38" fmla="*/ 245835 w 462341"/>
                <a:gd name="connsiteY38" fmla="*/ 536838 h 788699"/>
                <a:gd name="connsiteX39" fmla="*/ 196881 w 462341"/>
                <a:gd name="connsiteY39" fmla="*/ 477005 h 788699"/>
                <a:gd name="connsiteX40" fmla="*/ 145207 w 462341"/>
                <a:gd name="connsiteY40" fmla="*/ 419892 h 788699"/>
                <a:gd name="connsiteX41" fmla="*/ 93534 w 462341"/>
                <a:gd name="connsiteY41" fmla="*/ 357340 h 788699"/>
                <a:gd name="connsiteX42" fmla="*/ 66337 w 462341"/>
                <a:gd name="connsiteY42" fmla="*/ 283910 h 788699"/>
                <a:gd name="connsiteX43" fmla="*/ 58178 w 462341"/>
                <a:gd name="connsiteY43" fmla="*/ 224077 h 788699"/>
                <a:gd name="connsiteX44" fmla="*/ 82655 w 462341"/>
                <a:gd name="connsiteY44" fmla="*/ 150647 h 788699"/>
                <a:gd name="connsiteX45" fmla="*/ 137048 w 462341"/>
                <a:gd name="connsiteY45" fmla="*/ 96253 h 788699"/>
                <a:gd name="connsiteX46" fmla="*/ 196881 w 462341"/>
                <a:gd name="connsiteY46" fmla="*/ 77216 h 788699"/>
                <a:gd name="connsiteX47" fmla="*/ 232236 w 462341"/>
                <a:gd name="connsiteY47" fmla="*/ 69057 h 788699"/>
                <a:gd name="connsiteX48" fmla="*/ 262153 w 462341"/>
                <a:gd name="connsiteY48" fmla="*/ 74496 h 788699"/>
                <a:gd name="connsiteX49" fmla="*/ 294789 w 462341"/>
                <a:gd name="connsiteY49" fmla="*/ 85375 h 788699"/>
                <a:gd name="connsiteX50" fmla="*/ 327424 w 462341"/>
                <a:gd name="connsiteY50" fmla="*/ 104412 h 788699"/>
                <a:gd name="connsiteX51" fmla="*/ 332864 w 462341"/>
                <a:gd name="connsiteY51" fmla="*/ 74496 h 788699"/>
                <a:gd name="connsiteX52" fmla="*/ 338303 w 462341"/>
                <a:gd name="connsiteY52" fmla="*/ 63618 h 788699"/>
                <a:gd name="connsiteX53" fmla="*/ 349182 w 462341"/>
                <a:gd name="connsiteY53" fmla="*/ 58178 h 788699"/>
                <a:gd name="connsiteX54" fmla="*/ 357341 w 462341"/>
                <a:gd name="connsiteY54" fmla="*/ 63618 h 788699"/>
                <a:gd name="connsiteX55" fmla="*/ 365500 w 462341"/>
                <a:gd name="connsiteY55" fmla="*/ 82655 h 788699"/>
                <a:gd name="connsiteX56" fmla="*/ 368219 w 462341"/>
                <a:gd name="connsiteY56" fmla="*/ 142488 h 788699"/>
                <a:gd name="connsiteX57" fmla="*/ 368219 w 462341"/>
                <a:gd name="connsiteY57" fmla="*/ 188722 h 788699"/>
                <a:gd name="connsiteX58" fmla="*/ 370939 w 462341"/>
                <a:gd name="connsiteY58" fmla="*/ 245834 h 788699"/>
                <a:gd name="connsiteX59" fmla="*/ 354621 w 462341"/>
                <a:gd name="connsiteY59" fmla="*/ 286629 h 788699"/>
                <a:gd name="connsiteX60" fmla="*/ 338303 w 462341"/>
                <a:gd name="connsiteY60" fmla="*/ 281190 h 788699"/>
                <a:gd name="connsiteX61" fmla="*/ 330144 w 462341"/>
                <a:gd name="connsiteY61" fmla="*/ 264872 h 788699"/>
                <a:gd name="connsiteX62" fmla="*/ 327424 w 462341"/>
                <a:gd name="connsiteY62" fmla="*/ 248554 h 788699"/>
                <a:gd name="connsiteX63" fmla="*/ 330144 w 462341"/>
                <a:gd name="connsiteY63" fmla="*/ 221357 h 788699"/>
                <a:gd name="connsiteX64" fmla="*/ 330144 w 462341"/>
                <a:gd name="connsiteY64" fmla="*/ 188722 h 788699"/>
                <a:gd name="connsiteX65" fmla="*/ 327424 w 462341"/>
                <a:gd name="connsiteY65" fmla="*/ 164245 h 788699"/>
                <a:gd name="connsiteX66" fmla="*/ 311107 w 462341"/>
                <a:gd name="connsiteY66" fmla="*/ 134329 h 788699"/>
                <a:gd name="connsiteX67" fmla="*/ 283910 w 462341"/>
                <a:gd name="connsiteY67" fmla="*/ 118011 h 788699"/>
                <a:gd name="connsiteX68" fmla="*/ 251274 w 462341"/>
                <a:gd name="connsiteY68" fmla="*/ 112571 h 788699"/>
                <a:gd name="connsiteX69" fmla="*/ 215918 w 462341"/>
                <a:gd name="connsiteY69" fmla="*/ 123450 h 788699"/>
                <a:gd name="connsiteX70" fmla="*/ 202320 w 462341"/>
                <a:gd name="connsiteY70" fmla="*/ 147927 h 788699"/>
                <a:gd name="connsiteX71" fmla="*/ 188722 w 462341"/>
                <a:gd name="connsiteY71" fmla="*/ 180563 h 788699"/>
                <a:gd name="connsiteX72" fmla="*/ 183283 w 462341"/>
                <a:gd name="connsiteY72" fmla="*/ 210479 h 788699"/>
                <a:gd name="connsiteX73" fmla="*/ 188722 w 462341"/>
                <a:gd name="connsiteY73" fmla="*/ 226797 h 788699"/>
                <a:gd name="connsiteX74" fmla="*/ 188722 w 462341"/>
                <a:gd name="connsiteY74" fmla="*/ 248554 h 788699"/>
                <a:gd name="connsiteX75" fmla="*/ 210479 w 462341"/>
                <a:gd name="connsiteY75" fmla="*/ 273031 h 788699"/>
                <a:gd name="connsiteX76" fmla="*/ 226797 w 462341"/>
                <a:gd name="connsiteY76" fmla="*/ 300228 h 788699"/>
                <a:gd name="connsiteX77" fmla="*/ 256713 w 462341"/>
                <a:gd name="connsiteY77" fmla="*/ 332864 h 788699"/>
                <a:gd name="connsiteX78" fmla="*/ 275751 w 462341"/>
                <a:gd name="connsiteY78" fmla="*/ 351901 h 788699"/>
                <a:gd name="connsiteX79" fmla="*/ 324705 w 462341"/>
                <a:gd name="connsiteY79" fmla="*/ 400855 h 788699"/>
                <a:gd name="connsiteX80" fmla="*/ 343742 w 462341"/>
                <a:gd name="connsiteY80" fmla="*/ 428051 h 788699"/>
                <a:gd name="connsiteX81" fmla="*/ 351901 w 462341"/>
                <a:gd name="connsiteY81" fmla="*/ 433491 h 788699"/>
                <a:gd name="connsiteX82" fmla="*/ 360060 w 462341"/>
                <a:gd name="connsiteY82" fmla="*/ 447089 h 788699"/>
                <a:gd name="connsiteX83" fmla="*/ 384537 w 462341"/>
                <a:gd name="connsiteY83" fmla="*/ 474286 h 788699"/>
                <a:gd name="connsiteX84" fmla="*/ 395416 w 462341"/>
                <a:gd name="connsiteY84" fmla="*/ 506921 h 788699"/>
                <a:gd name="connsiteX85" fmla="*/ 406295 w 462341"/>
                <a:gd name="connsiteY85" fmla="*/ 536838 h 788699"/>
                <a:gd name="connsiteX86" fmla="*/ 409014 w 462341"/>
                <a:gd name="connsiteY86" fmla="*/ 547716 h 788699"/>
                <a:gd name="connsiteX87" fmla="*/ 406295 w 462341"/>
                <a:gd name="connsiteY87" fmla="*/ 569473 h 788699"/>
                <a:gd name="connsiteX88" fmla="*/ 403575 w 462341"/>
                <a:gd name="connsiteY88" fmla="*/ 583072 h 788699"/>
                <a:gd name="connsiteX89" fmla="*/ 403575 w 462341"/>
                <a:gd name="connsiteY89" fmla="*/ 583072 h 7886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</a:cxnLst>
              <a:rect l="l" t="t" r="r" b="b"/>
              <a:pathLst>
                <a:path w="462341" h="788699">
                  <a:moveTo>
                    <a:pt x="403575" y="583072"/>
                  </a:moveTo>
                  <a:cubicBezTo>
                    <a:pt x="403575" y="588511"/>
                    <a:pt x="406295" y="591231"/>
                    <a:pt x="406295" y="596670"/>
                  </a:cubicBezTo>
                  <a:cubicBezTo>
                    <a:pt x="406295" y="602109"/>
                    <a:pt x="403575" y="604829"/>
                    <a:pt x="400855" y="610268"/>
                  </a:cubicBezTo>
                  <a:cubicBezTo>
                    <a:pt x="398136" y="615708"/>
                    <a:pt x="392696" y="621147"/>
                    <a:pt x="389977" y="626586"/>
                  </a:cubicBezTo>
                  <a:cubicBezTo>
                    <a:pt x="381818" y="645624"/>
                    <a:pt x="368219" y="661942"/>
                    <a:pt x="354621" y="675540"/>
                  </a:cubicBezTo>
                  <a:cubicBezTo>
                    <a:pt x="346462" y="683699"/>
                    <a:pt x="338303" y="686419"/>
                    <a:pt x="327424" y="691858"/>
                  </a:cubicBezTo>
                  <a:cubicBezTo>
                    <a:pt x="316546" y="700017"/>
                    <a:pt x="302948" y="708176"/>
                    <a:pt x="292069" y="713615"/>
                  </a:cubicBezTo>
                  <a:cubicBezTo>
                    <a:pt x="281190" y="719054"/>
                    <a:pt x="264872" y="724494"/>
                    <a:pt x="251274" y="724494"/>
                  </a:cubicBezTo>
                  <a:cubicBezTo>
                    <a:pt x="240395" y="724494"/>
                    <a:pt x="229517" y="721774"/>
                    <a:pt x="221358" y="721774"/>
                  </a:cubicBezTo>
                  <a:cubicBezTo>
                    <a:pt x="213199" y="721774"/>
                    <a:pt x="202320" y="721774"/>
                    <a:pt x="191442" y="721774"/>
                  </a:cubicBezTo>
                  <a:cubicBezTo>
                    <a:pt x="172404" y="721774"/>
                    <a:pt x="172404" y="721774"/>
                    <a:pt x="153366" y="713615"/>
                  </a:cubicBezTo>
                  <a:cubicBezTo>
                    <a:pt x="134329" y="708176"/>
                    <a:pt x="118011" y="691858"/>
                    <a:pt x="104412" y="675540"/>
                  </a:cubicBezTo>
                  <a:cubicBezTo>
                    <a:pt x="104412" y="678260"/>
                    <a:pt x="104412" y="680979"/>
                    <a:pt x="104412" y="689138"/>
                  </a:cubicBezTo>
                  <a:cubicBezTo>
                    <a:pt x="104412" y="694578"/>
                    <a:pt x="104412" y="702737"/>
                    <a:pt x="101693" y="710895"/>
                  </a:cubicBezTo>
                  <a:cubicBezTo>
                    <a:pt x="101693" y="721774"/>
                    <a:pt x="96253" y="732653"/>
                    <a:pt x="85375" y="732653"/>
                  </a:cubicBezTo>
                  <a:cubicBezTo>
                    <a:pt x="77216" y="732653"/>
                    <a:pt x="74496" y="729933"/>
                    <a:pt x="69057" y="727214"/>
                  </a:cubicBezTo>
                  <a:cubicBezTo>
                    <a:pt x="63618" y="724494"/>
                    <a:pt x="60898" y="716335"/>
                    <a:pt x="60898" y="710895"/>
                  </a:cubicBezTo>
                  <a:cubicBezTo>
                    <a:pt x="58178" y="702737"/>
                    <a:pt x="58178" y="697297"/>
                    <a:pt x="58178" y="691858"/>
                  </a:cubicBezTo>
                  <a:cubicBezTo>
                    <a:pt x="58178" y="683699"/>
                    <a:pt x="60898" y="678260"/>
                    <a:pt x="60898" y="664661"/>
                  </a:cubicBezTo>
                  <a:cubicBezTo>
                    <a:pt x="60898" y="656502"/>
                    <a:pt x="60898" y="632026"/>
                    <a:pt x="60898" y="607549"/>
                  </a:cubicBezTo>
                  <a:cubicBezTo>
                    <a:pt x="60898" y="574913"/>
                    <a:pt x="60898" y="542277"/>
                    <a:pt x="63618" y="528679"/>
                  </a:cubicBezTo>
                  <a:cubicBezTo>
                    <a:pt x="63618" y="520520"/>
                    <a:pt x="63618" y="509641"/>
                    <a:pt x="69057" y="504202"/>
                  </a:cubicBezTo>
                  <a:cubicBezTo>
                    <a:pt x="71777" y="501482"/>
                    <a:pt x="71777" y="498762"/>
                    <a:pt x="74496" y="493323"/>
                  </a:cubicBezTo>
                  <a:cubicBezTo>
                    <a:pt x="77216" y="490603"/>
                    <a:pt x="79936" y="487884"/>
                    <a:pt x="82655" y="487884"/>
                  </a:cubicBezTo>
                  <a:cubicBezTo>
                    <a:pt x="85375" y="487884"/>
                    <a:pt x="90814" y="490603"/>
                    <a:pt x="90814" y="493323"/>
                  </a:cubicBezTo>
                  <a:cubicBezTo>
                    <a:pt x="93534" y="498762"/>
                    <a:pt x="98973" y="506921"/>
                    <a:pt x="98973" y="512361"/>
                  </a:cubicBezTo>
                  <a:cubicBezTo>
                    <a:pt x="98973" y="520520"/>
                    <a:pt x="101693" y="536838"/>
                    <a:pt x="101693" y="555875"/>
                  </a:cubicBezTo>
                  <a:cubicBezTo>
                    <a:pt x="101693" y="569473"/>
                    <a:pt x="101693" y="583072"/>
                    <a:pt x="101693" y="596670"/>
                  </a:cubicBezTo>
                  <a:cubicBezTo>
                    <a:pt x="101693" y="607549"/>
                    <a:pt x="104412" y="618427"/>
                    <a:pt x="109852" y="626586"/>
                  </a:cubicBezTo>
                  <a:cubicBezTo>
                    <a:pt x="115291" y="637465"/>
                    <a:pt x="123450" y="642904"/>
                    <a:pt x="128889" y="651063"/>
                  </a:cubicBezTo>
                  <a:cubicBezTo>
                    <a:pt x="137048" y="661942"/>
                    <a:pt x="139768" y="667381"/>
                    <a:pt x="153366" y="670101"/>
                  </a:cubicBezTo>
                  <a:cubicBezTo>
                    <a:pt x="161525" y="670101"/>
                    <a:pt x="183283" y="678260"/>
                    <a:pt x="196881" y="678260"/>
                  </a:cubicBezTo>
                  <a:cubicBezTo>
                    <a:pt x="207759" y="678260"/>
                    <a:pt x="210479" y="672820"/>
                    <a:pt x="221358" y="667381"/>
                  </a:cubicBezTo>
                  <a:cubicBezTo>
                    <a:pt x="232236" y="661942"/>
                    <a:pt x="245835" y="664661"/>
                    <a:pt x="253994" y="659222"/>
                  </a:cubicBezTo>
                  <a:cubicBezTo>
                    <a:pt x="262153" y="653783"/>
                    <a:pt x="273031" y="645624"/>
                    <a:pt x="275751" y="637465"/>
                  </a:cubicBezTo>
                  <a:cubicBezTo>
                    <a:pt x="281190" y="629306"/>
                    <a:pt x="281190" y="621147"/>
                    <a:pt x="281190" y="615708"/>
                  </a:cubicBezTo>
                  <a:cubicBezTo>
                    <a:pt x="281190" y="610268"/>
                    <a:pt x="281190" y="607549"/>
                    <a:pt x="278471" y="602109"/>
                  </a:cubicBezTo>
                  <a:cubicBezTo>
                    <a:pt x="275751" y="591231"/>
                    <a:pt x="267592" y="583072"/>
                    <a:pt x="262153" y="572193"/>
                  </a:cubicBezTo>
                  <a:cubicBezTo>
                    <a:pt x="256713" y="561314"/>
                    <a:pt x="253994" y="547716"/>
                    <a:pt x="245835" y="536838"/>
                  </a:cubicBezTo>
                  <a:cubicBezTo>
                    <a:pt x="232236" y="515080"/>
                    <a:pt x="213199" y="498762"/>
                    <a:pt x="196881" y="477005"/>
                  </a:cubicBezTo>
                  <a:cubicBezTo>
                    <a:pt x="180563" y="457968"/>
                    <a:pt x="164245" y="438930"/>
                    <a:pt x="145207" y="419892"/>
                  </a:cubicBezTo>
                  <a:cubicBezTo>
                    <a:pt x="126170" y="400855"/>
                    <a:pt x="109852" y="379098"/>
                    <a:pt x="93534" y="357340"/>
                  </a:cubicBezTo>
                  <a:cubicBezTo>
                    <a:pt x="77216" y="335583"/>
                    <a:pt x="71777" y="308387"/>
                    <a:pt x="66337" y="283910"/>
                  </a:cubicBezTo>
                  <a:cubicBezTo>
                    <a:pt x="63618" y="267592"/>
                    <a:pt x="58178" y="245834"/>
                    <a:pt x="58178" y="224077"/>
                  </a:cubicBezTo>
                  <a:cubicBezTo>
                    <a:pt x="58178" y="194161"/>
                    <a:pt x="69057" y="175123"/>
                    <a:pt x="82655" y="150647"/>
                  </a:cubicBezTo>
                  <a:cubicBezTo>
                    <a:pt x="96253" y="128889"/>
                    <a:pt x="115291" y="109852"/>
                    <a:pt x="137048" y="96253"/>
                  </a:cubicBezTo>
                  <a:cubicBezTo>
                    <a:pt x="158806" y="82655"/>
                    <a:pt x="172404" y="79936"/>
                    <a:pt x="196881" y="77216"/>
                  </a:cubicBezTo>
                  <a:cubicBezTo>
                    <a:pt x="210479" y="77216"/>
                    <a:pt x="215918" y="69057"/>
                    <a:pt x="232236" y="69057"/>
                  </a:cubicBezTo>
                  <a:cubicBezTo>
                    <a:pt x="243115" y="69057"/>
                    <a:pt x="251274" y="71776"/>
                    <a:pt x="262153" y="74496"/>
                  </a:cubicBezTo>
                  <a:cubicBezTo>
                    <a:pt x="273031" y="77216"/>
                    <a:pt x="283910" y="82655"/>
                    <a:pt x="294789" y="85375"/>
                  </a:cubicBezTo>
                  <a:cubicBezTo>
                    <a:pt x="308387" y="90814"/>
                    <a:pt x="319265" y="96253"/>
                    <a:pt x="327424" y="104412"/>
                  </a:cubicBezTo>
                  <a:cubicBezTo>
                    <a:pt x="327424" y="90814"/>
                    <a:pt x="327424" y="79936"/>
                    <a:pt x="332864" y="74496"/>
                  </a:cubicBezTo>
                  <a:cubicBezTo>
                    <a:pt x="335583" y="71776"/>
                    <a:pt x="335583" y="69057"/>
                    <a:pt x="338303" y="63618"/>
                  </a:cubicBezTo>
                  <a:cubicBezTo>
                    <a:pt x="341023" y="60898"/>
                    <a:pt x="346462" y="58178"/>
                    <a:pt x="349182" y="58178"/>
                  </a:cubicBezTo>
                  <a:cubicBezTo>
                    <a:pt x="351901" y="58178"/>
                    <a:pt x="357341" y="60898"/>
                    <a:pt x="357341" y="63618"/>
                  </a:cubicBezTo>
                  <a:cubicBezTo>
                    <a:pt x="360060" y="69057"/>
                    <a:pt x="365500" y="77216"/>
                    <a:pt x="365500" y="82655"/>
                  </a:cubicBezTo>
                  <a:cubicBezTo>
                    <a:pt x="365500" y="90814"/>
                    <a:pt x="368219" y="123450"/>
                    <a:pt x="368219" y="142488"/>
                  </a:cubicBezTo>
                  <a:cubicBezTo>
                    <a:pt x="368219" y="158806"/>
                    <a:pt x="368219" y="177843"/>
                    <a:pt x="368219" y="188722"/>
                  </a:cubicBezTo>
                  <a:cubicBezTo>
                    <a:pt x="368219" y="213199"/>
                    <a:pt x="370939" y="224077"/>
                    <a:pt x="370939" y="245834"/>
                  </a:cubicBezTo>
                  <a:cubicBezTo>
                    <a:pt x="370939" y="256713"/>
                    <a:pt x="370939" y="286629"/>
                    <a:pt x="354621" y="286629"/>
                  </a:cubicBezTo>
                  <a:cubicBezTo>
                    <a:pt x="346462" y="286629"/>
                    <a:pt x="343742" y="283910"/>
                    <a:pt x="338303" y="281190"/>
                  </a:cubicBezTo>
                  <a:cubicBezTo>
                    <a:pt x="332864" y="278470"/>
                    <a:pt x="330144" y="270311"/>
                    <a:pt x="330144" y="264872"/>
                  </a:cubicBezTo>
                  <a:cubicBezTo>
                    <a:pt x="327424" y="256713"/>
                    <a:pt x="327424" y="251274"/>
                    <a:pt x="327424" y="248554"/>
                  </a:cubicBezTo>
                  <a:cubicBezTo>
                    <a:pt x="327424" y="240395"/>
                    <a:pt x="330144" y="234956"/>
                    <a:pt x="330144" y="221357"/>
                  </a:cubicBezTo>
                  <a:cubicBezTo>
                    <a:pt x="330144" y="213199"/>
                    <a:pt x="330144" y="202320"/>
                    <a:pt x="330144" y="188722"/>
                  </a:cubicBezTo>
                  <a:cubicBezTo>
                    <a:pt x="330144" y="180563"/>
                    <a:pt x="327424" y="172404"/>
                    <a:pt x="327424" y="164245"/>
                  </a:cubicBezTo>
                  <a:cubicBezTo>
                    <a:pt x="324705" y="153366"/>
                    <a:pt x="319265" y="142488"/>
                    <a:pt x="311107" y="134329"/>
                  </a:cubicBezTo>
                  <a:cubicBezTo>
                    <a:pt x="302948" y="126170"/>
                    <a:pt x="294789" y="120730"/>
                    <a:pt x="283910" y="118011"/>
                  </a:cubicBezTo>
                  <a:cubicBezTo>
                    <a:pt x="275751" y="115291"/>
                    <a:pt x="262153" y="112571"/>
                    <a:pt x="251274" y="112571"/>
                  </a:cubicBezTo>
                  <a:cubicBezTo>
                    <a:pt x="237676" y="112571"/>
                    <a:pt x="224077" y="115291"/>
                    <a:pt x="215918" y="123450"/>
                  </a:cubicBezTo>
                  <a:cubicBezTo>
                    <a:pt x="207759" y="128889"/>
                    <a:pt x="205040" y="139768"/>
                    <a:pt x="202320" y="147927"/>
                  </a:cubicBezTo>
                  <a:cubicBezTo>
                    <a:pt x="196881" y="158806"/>
                    <a:pt x="191442" y="166964"/>
                    <a:pt x="188722" y="180563"/>
                  </a:cubicBezTo>
                  <a:cubicBezTo>
                    <a:pt x="186002" y="191441"/>
                    <a:pt x="183283" y="199600"/>
                    <a:pt x="183283" y="210479"/>
                  </a:cubicBezTo>
                  <a:cubicBezTo>
                    <a:pt x="183283" y="215918"/>
                    <a:pt x="186002" y="221357"/>
                    <a:pt x="188722" y="226797"/>
                  </a:cubicBezTo>
                  <a:cubicBezTo>
                    <a:pt x="191442" y="234956"/>
                    <a:pt x="188722" y="243115"/>
                    <a:pt x="188722" y="248554"/>
                  </a:cubicBezTo>
                  <a:cubicBezTo>
                    <a:pt x="191442" y="259433"/>
                    <a:pt x="202320" y="264872"/>
                    <a:pt x="210479" y="273031"/>
                  </a:cubicBezTo>
                  <a:cubicBezTo>
                    <a:pt x="218638" y="281190"/>
                    <a:pt x="221358" y="292069"/>
                    <a:pt x="226797" y="300228"/>
                  </a:cubicBezTo>
                  <a:cubicBezTo>
                    <a:pt x="234956" y="311106"/>
                    <a:pt x="245835" y="321985"/>
                    <a:pt x="256713" y="332864"/>
                  </a:cubicBezTo>
                  <a:cubicBezTo>
                    <a:pt x="259433" y="338303"/>
                    <a:pt x="267592" y="343742"/>
                    <a:pt x="275751" y="351901"/>
                  </a:cubicBezTo>
                  <a:cubicBezTo>
                    <a:pt x="292069" y="368219"/>
                    <a:pt x="311107" y="384537"/>
                    <a:pt x="324705" y="400855"/>
                  </a:cubicBezTo>
                  <a:cubicBezTo>
                    <a:pt x="332864" y="409014"/>
                    <a:pt x="335583" y="419892"/>
                    <a:pt x="343742" y="428051"/>
                  </a:cubicBezTo>
                  <a:cubicBezTo>
                    <a:pt x="346462" y="430771"/>
                    <a:pt x="349182" y="430771"/>
                    <a:pt x="351901" y="433491"/>
                  </a:cubicBezTo>
                  <a:cubicBezTo>
                    <a:pt x="354621" y="436210"/>
                    <a:pt x="357341" y="441650"/>
                    <a:pt x="360060" y="447089"/>
                  </a:cubicBezTo>
                  <a:cubicBezTo>
                    <a:pt x="368219" y="455248"/>
                    <a:pt x="376378" y="463407"/>
                    <a:pt x="384537" y="474286"/>
                  </a:cubicBezTo>
                  <a:cubicBezTo>
                    <a:pt x="389977" y="482445"/>
                    <a:pt x="392696" y="496043"/>
                    <a:pt x="395416" y="506921"/>
                  </a:cubicBezTo>
                  <a:cubicBezTo>
                    <a:pt x="400855" y="517800"/>
                    <a:pt x="400855" y="528679"/>
                    <a:pt x="406295" y="536838"/>
                  </a:cubicBezTo>
                  <a:cubicBezTo>
                    <a:pt x="409014" y="539557"/>
                    <a:pt x="409014" y="544997"/>
                    <a:pt x="409014" y="547716"/>
                  </a:cubicBezTo>
                  <a:cubicBezTo>
                    <a:pt x="409014" y="555875"/>
                    <a:pt x="406295" y="561314"/>
                    <a:pt x="406295" y="569473"/>
                  </a:cubicBezTo>
                  <a:cubicBezTo>
                    <a:pt x="406295" y="574913"/>
                    <a:pt x="403575" y="577632"/>
                    <a:pt x="403575" y="583072"/>
                  </a:cubicBezTo>
                  <a:lnTo>
                    <a:pt x="403575" y="583072"/>
                  </a:ln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37" name="Freeform: Shape 36">
              <a:extLst>
                <a:ext uri="{FF2B5EF4-FFF2-40B4-BE49-F238E27FC236}">
                  <a16:creationId xmlns:a16="http://schemas.microsoft.com/office/drawing/2014/main" id="{4934AA60-0EF3-44BF-AB11-460538F37AFA}"/>
                </a:ext>
              </a:extLst>
            </p:cNvPr>
            <p:cNvSpPr/>
            <p:nvPr/>
          </p:nvSpPr>
          <p:spPr>
            <a:xfrm>
              <a:off x="2456032" y="4192158"/>
              <a:ext cx="571128" cy="761503"/>
            </a:xfrm>
            <a:custGeom>
              <a:avLst/>
              <a:gdLst>
                <a:gd name="connsiteX0" fmla="*/ 512361 w 571128"/>
                <a:gd name="connsiteY0" fmla="*/ 79936 h 761503"/>
                <a:gd name="connsiteX1" fmla="*/ 539558 w 571128"/>
                <a:gd name="connsiteY1" fmla="*/ 96253 h 761503"/>
                <a:gd name="connsiteX2" fmla="*/ 534118 w 571128"/>
                <a:gd name="connsiteY2" fmla="*/ 112571 h 761503"/>
                <a:gd name="connsiteX3" fmla="*/ 523240 w 571128"/>
                <a:gd name="connsiteY3" fmla="*/ 120730 h 761503"/>
                <a:gd name="connsiteX4" fmla="*/ 506922 w 571128"/>
                <a:gd name="connsiteY4" fmla="*/ 123450 h 761503"/>
                <a:gd name="connsiteX5" fmla="*/ 477006 w 571128"/>
                <a:gd name="connsiteY5" fmla="*/ 123450 h 761503"/>
                <a:gd name="connsiteX6" fmla="*/ 479725 w 571128"/>
                <a:gd name="connsiteY6" fmla="*/ 145207 h 761503"/>
                <a:gd name="connsiteX7" fmla="*/ 477006 w 571128"/>
                <a:gd name="connsiteY7" fmla="*/ 180563 h 761503"/>
                <a:gd name="connsiteX8" fmla="*/ 482445 w 571128"/>
                <a:gd name="connsiteY8" fmla="*/ 232236 h 761503"/>
                <a:gd name="connsiteX9" fmla="*/ 485165 w 571128"/>
                <a:gd name="connsiteY9" fmla="*/ 283910 h 761503"/>
                <a:gd name="connsiteX10" fmla="*/ 485165 w 571128"/>
                <a:gd name="connsiteY10" fmla="*/ 327424 h 761503"/>
                <a:gd name="connsiteX11" fmla="*/ 487884 w 571128"/>
                <a:gd name="connsiteY11" fmla="*/ 373658 h 761503"/>
                <a:gd name="connsiteX12" fmla="*/ 485165 w 571128"/>
                <a:gd name="connsiteY12" fmla="*/ 419892 h 761503"/>
                <a:gd name="connsiteX13" fmla="*/ 485165 w 571128"/>
                <a:gd name="connsiteY13" fmla="*/ 463407 h 761503"/>
                <a:gd name="connsiteX14" fmla="*/ 482445 w 571128"/>
                <a:gd name="connsiteY14" fmla="*/ 515080 h 761503"/>
                <a:gd name="connsiteX15" fmla="*/ 482445 w 571128"/>
                <a:gd name="connsiteY15" fmla="*/ 558595 h 761503"/>
                <a:gd name="connsiteX16" fmla="*/ 479725 w 571128"/>
                <a:gd name="connsiteY16" fmla="*/ 602109 h 761503"/>
                <a:gd name="connsiteX17" fmla="*/ 485165 w 571128"/>
                <a:gd name="connsiteY17" fmla="*/ 648343 h 761503"/>
                <a:gd name="connsiteX18" fmla="*/ 474286 w 571128"/>
                <a:gd name="connsiteY18" fmla="*/ 675540 h 761503"/>
                <a:gd name="connsiteX19" fmla="*/ 428052 w 571128"/>
                <a:gd name="connsiteY19" fmla="*/ 691858 h 761503"/>
                <a:gd name="connsiteX20" fmla="*/ 387257 w 571128"/>
                <a:gd name="connsiteY20" fmla="*/ 683699 h 761503"/>
                <a:gd name="connsiteX21" fmla="*/ 351901 w 571128"/>
                <a:gd name="connsiteY21" fmla="*/ 664661 h 761503"/>
                <a:gd name="connsiteX22" fmla="*/ 305667 w 571128"/>
                <a:gd name="connsiteY22" fmla="*/ 596670 h 761503"/>
                <a:gd name="connsiteX23" fmla="*/ 270312 w 571128"/>
                <a:gd name="connsiteY23" fmla="*/ 509641 h 761503"/>
                <a:gd name="connsiteX24" fmla="*/ 251274 w 571128"/>
                <a:gd name="connsiteY24" fmla="*/ 460687 h 761503"/>
                <a:gd name="connsiteX25" fmla="*/ 224077 w 571128"/>
                <a:gd name="connsiteY25" fmla="*/ 381817 h 761503"/>
                <a:gd name="connsiteX26" fmla="*/ 207759 w 571128"/>
                <a:gd name="connsiteY26" fmla="*/ 330144 h 761503"/>
                <a:gd name="connsiteX27" fmla="*/ 191442 w 571128"/>
                <a:gd name="connsiteY27" fmla="*/ 286629 h 761503"/>
                <a:gd name="connsiteX28" fmla="*/ 183283 w 571128"/>
                <a:gd name="connsiteY28" fmla="*/ 278470 h 761503"/>
                <a:gd name="connsiteX29" fmla="*/ 180563 w 571128"/>
                <a:gd name="connsiteY29" fmla="*/ 292069 h 761503"/>
                <a:gd name="connsiteX30" fmla="*/ 180563 w 571128"/>
                <a:gd name="connsiteY30" fmla="*/ 305667 h 761503"/>
                <a:gd name="connsiteX31" fmla="*/ 183283 w 571128"/>
                <a:gd name="connsiteY31" fmla="*/ 354621 h 761503"/>
                <a:gd name="connsiteX32" fmla="*/ 188722 w 571128"/>
                <a:gd name="connsiteY32" fmla="*/ 449809 h 761503"/>
                <a:gd name="connsiteX33" fmla="*/ 188722 w 571128"/>
                <a:gd name="connsiteY33" fmla="*/ 479725 h 761503"/>
                <a:gd name="connsiteX34" fmla="*/ 188722 w 571128"/>
                <a:gd name="connsiteY34" fmla="*/ 542277 h 761503"/>
                <a:gd name="connsiteX35" fmla="*/ 186002 w 571128"/>
                <a:gd name="connsiteY35" fmla="*/ 615708 h 761503"/>
                <a:gd name="connsiteX36" fmla="*/ 186002 w 571128"/>
                <a:gd name="connsiteY36" fmla="*/ 637465 h 761503"/>
                <a:gd name="connsiteX37" fmla="*/ 183283 w 571128"/>
                <a:gd name="connsiteY37" fmla="*/ 664661 h 761503"/>
                <a:gd name="connsiteX38" fmla="*/ 226797 w 571128"/>
                <a:gd name="connsiteY38" fmla="*/ 664661 h 761503"/>
                <a:gd name="connsiteX39" fmla="*/ 253994 w 571128"/>
                <a:gd name="connsiteY39" fmla="*/ 680979 h 761503"/>
                <a:gd name="connsiteX40" fmla="*/ 248554 w 571128"/>
                <a:gd name="connsiteY40" fmla="*/ 697297 h 761503"/>
                <a:gd name="connsiteX41" fmla="*/ 234956 w 571128"/>
                <a:gd name="connsiteY41" fmla="*/ 705456 h 761503"/>
                <a:gd name="connsiteX42" fmla="*/ 218638 w 571128"/>
                <a:gd name="connsiteY42" fmla="*/ 708176 h 761503"/>
                <a:gd name="connsiteX43" fmla="*/ 183283 w 571128"/>
                <a:gd name="connsiteY43" fmla="*/ 708176 h 761503"/>
                <a:gd name="connsiteX44" fmla="*/ 150647 w 571128"/>
                <a:gd name="connsiteY44" fmla="*/ 708176 h 761503"/>
                <a:gd name="connsiteX45" fmla="*/ 107132 w 571128"/>
                <a:gd name="connsiteY45" fmla="*/ 708176 h 761503"/>
                <a:gd name="connsiteX46" fmla="*/ 88094 w 571128"/>
                <a:gd name="connsiteY46" fmla="*/ 708176 h 761503"/>
                <a:gd name="connsiteX47" fmla="*/ 69057 w 571128"/>
                <a:gd name="connsiteY47" fmla="*/ 702737 h 761503"/>
                <a:gd name="connsiteX48" fmla="*/ 58178 w 571128"/>
                <a:gd name="connsiteY48" fmla="*/ 686419 h 761503"/>
                <a:gd name="connsiteX49" fmla="*/ 60898 w 571128"/>
                <a:gd name="connsiteY49" fmla="*/ 678260 h 761503"/>
                <a:gd name="connsiteX50" fmla="*/ 77216 w 571128"/>
                <a:gd name="connsiteY50" fmla="*/ 670101 h 761503"/>
                <a:gd name="connsiteX51" fmla="*/ 120730 w 571128"/>
                <a:gd name="connsiteY51" fmla="*/ 664661 h 761503"/>
                <a:gd name="connsiteX52" fmla="*/ 131609 w 571128"/>
                <a:gd name="connsiteY52" fmla="*/ 664661 h 761503"/>
                <a:gd name="connsiteX53" fmla="*/ 134329 w 571128"/>
                <a:gd name="connsiteY53" fmla="*/ 539557 h 761503"/>
                <a:gd name="connsiteX54" fmla="*/ 134329 w 571128"/>
                <a:gd name="connsiteY54" fmla="*/ 504202 h 761503"/>
                <a:gd name="connsiteX55" fmla="*/ 131609 w 571128"/>
                <a:gd name="connsiteY55" fmla="*/ 376378 h 761503"/>
                <a:gd name="connsiteX56" fmla="*/ 131609 w 571128"/>
                <a:gd name="connsiteY56" fmla="*/ 302947 h 761503"/>
                <a:gd name="connsiteX57" fmla="*/ 134329 w 571128"/>
                <a:gd name="connsiteY57" fmla="*/ 221357 h 761503"/>
                <a:gd name="connsiteX58" fmla="*/ 137048 w 571128"/>
                <a:gd name="connsiteY58" fmla="*/ 123450 h 761503"/>
                <a:gd name="connsiteX59" fmla="*/ 107132 w 571128"/>
                <a:gd name="connsiteY59" fmla="*/ 123450 h 761503"/>
                <a:gd name="connsiteX60" fmla="*/ 88094 w 571128"/>
                <a:gd name="connsiteY60" fmla="*/ 123450 h 761503"/>
                <a:gd name="connsiteX61" fmla="*/ 69057 w 571128"/>
                <a:gd name="connsiteY61" fmla="*/ 118011 h 761503"/>
                <a:gd name="connsiteX62" fmla="*/ 58178 w 571128"/>
                <a:gd name="connsiteY62" fmla="*/ 101693 h 761503"/>
                <a:gd name="connsiteX63" fmla="*/ 60898 w 571128"/>
                <a:gd name="connsiteY63" fmla="*/ 93534 h 761503"/>
                <a:gd name="connsiteX64" fmla="*/ 77216 w 571128"/>
                <a:gd name="connsiteY64" fmla="*/ 85375 h 761503"/>
                <a:gd name="connsiteX65" fmla="*/ 131609 w 571128"/>
                <a:gd name="connsiteY65" fmla="*/ 79936 h 761503"/>
                <a:gd name="connsiteX66" fmla="*/ 161525 w 571128"/>
                <a:gd name="connsiteY66" fmla="*/ 79936 h 761503"/>
                <a:gd name="connsiteX67" fmla="*/ 177843 w 571128"/>
                <a:gd name="connsiteY67" fmla="*/ 66337 h 761503"/>
                <a:gd name="connsiteX68" fmla="*/ 202320 w 571128"/>
                <a:gd name="connsiteY68" fmla="*/ 58178 h 761503"/>
                <a:gd name="connsiteX69" fmla="*/ 234956 w 571128"/>
                <a:gd name="connsiteY69" fmla="*/ 77216 h 761503"/>
                <a:gd name="connsiteX70" fmla="*/ 251274 w 571128"/>
                <a:gd name="connsiteY70" fmla="*/ 107132 h 761503"/>
                <a:gd name="connsiteX71" fmla="*/ 267592 w 571128"/>
                <a:gd name="connsiteY71" fmla="*/ 147927 h 761503"/>
                <a:gd name="connsiteX72" fmla="*/ 281190 w 571128"/>
                <a:gd name="connsiteY72" fmla="*/ 183282 h 761503"/>
                <a:gd name="connsiteX73" fmla="*/ 297508 w 571128"/>
                <a:gd name="connsiteY73" fmla="*/ 224077 h 761503"/>
                <a:gd name="connsiteX74" fmla="*/ 308387 w 571128"/>
                <a:gd name="connsiteY74" fmla="*/ 264872 h 761503"/>
                <a:gd name="connsiteX75" fmla="*/ 319265 w 571128"/>
                <a:gd name="connsiteY75" fmla="*/ 300228 h 761503"/>
                <a:gd name="connsiteX76" fmla="*/ 351901 w 571128"/>
                <a:gd name="connsiteY76" fmla="*/ 379098 h 761503"/>
                <a:gd name="connsiteX77" fmla="*/ 365500 w 571128"/>
                <a:gd name="connsiteY77" fmla="*/ 417173 h 761503"/>
                <a:gd name="connsiteX78" fmla="*/ 379098 w 571128"/>
                <a:gd name="connsiteY78" fmla="*/ 457968 h 761503"/>
                <a:gd name="connsiteX79" fmla="*/ 395416 w 571128"/>
                <a:gd name="connsiteY79" fmla="*/ 496043 h 761503"/>
                <a:gd name="connsiteX80" fmla="*/ 406295 w 571128"/>
                <a:gd name="connsiteY80" fmla="*/ 512361 h 761503"/>
                <a:gd name="connsiteX81" fmla="*/ 411734 w 571128"/>
                <a:gd name="connsiteY81" fmla="*/ 531398 h 761503"/>
                <a:gd name="connsiteX82" fmla="*/ 419893 w 571128"/>
                <a:gd name="connsiteY82" fmla="*/ 558595 h 761503"/>
                <a:gd name="connsiteX83" fmla="*/ 425332 w 571128"/>
                <a:gd name="connsiteY83" fmla="*/ 564034 h 761503"/>
                <a:gd name="connsiteX84" fmla="*/ 430771 w 571128"/>
                <a:gd name="connsiteY84" fmla="*/ 558595 h 761503"/>
                <a:gd name="connsiteX85" fmla="*/ 430771 w 571128"/>
                <a:gd name="connsiteY85" fmla="*/ 550436 h 761503"/>
                <a:gd name="connsiteX86" fmla="*/ 430771 w 571128"/>
                <a:gd name="connsiteY86" fmla="*/ 501482 h 761503"/>
                <a:gd name="connsiteX87" fmla="*/ 430771 w 571128"/>
                <a:gd name="connsiteY87" fmla="*/ 403575 h 761503"/>
                <a:gd name="connsiteX88" fmla="*/ 425332 w 571128"/>
                <a:gd name="connsiteY88" fmla="*/ 313826 h 761503"/>
                <a:gd name="connsiteX89" fmla="*/ 425332 w 571128"/>
                <a:gd name="connsiteY89" fmla="*/ 248554 h 761503"/>
                <a:gd name="connsiteX90" fmla="*/ 425332 w 571128"/>
                <a:gd name="connsiteY90" fmla="*/ 210479 h 761503"/>
                <a:gd name="connsiteX91" fmla="*/ 422613 w 571128"/>
                <a:gd name="connsiteY91" fmla="*/ 153366 h 761503"/>
                <a:gd name="connsiteX92" fmla="*/ 425332 w 571128"/>
                <a:gd name="connsiteY92" fmla="*/ 123450 h 761503"/>
                <a:gd name="connsiteX93" fmla="*/ 398136 w 571128"/>
                <a:gd name="connsiteY93" fmla="*/ 123450 h 761503"/>
                <a:gd name="connsiteX94" fmla="*/ 379098 w 571128"/>
                <a:gd name="connsiteY94" fmla="*/ 123450 h 761503"/>
                <a:gd name="connsiteX95" fmla="*/ 360060 w 571128"/>
                <a:gd name="connsiteY95" fmla="*/ 118011 h 761503"/>
                <a:gd name="connsiteX96" fmla="*/ 349182 w 571128"/>
                <a:gd name="connsiteY96" fmla="*/ 101693 h 761503"/>
                <a:gd name="connsiteX97" fmla="*/ 351901 w 571128"/>
                <a:gd name="connsiteY97" fmla="*/ 93534 h 761503"/>
                <a:gd name="connsiteX98" fmla="*/ 368219 w 571128"/>
                <a:gd name="connsiteY98" fmla="*/ 85375 h 761503"/>
                <a:gd name="connsiteX99" fmla="*/ 422613 w 571128"/>
                <a:gd name="connsiteY99" fmla="*/ 79936 h 761503"/>
                <a:gd name="connsiteX100" fmla="*/ 444370 w 571128"/>
                <a:gd name="connsiteY100" fmla="*/ 79936 h 761503"/>
                <a:gd name="connsiteX101" fmla="*/ 463407 w 571128"/>
                <a:gd name="connsiteY101" fmla="*/ 71776 h 761503"/>
                <a:gd name="connsiteX102" fmla="*/ 477006 w 571128"/>
                <a:gd name="connsiteY102" fmla="*/ 79936 h 761503"/>
                <a:gd name="connsiteX103" fmla="*/ 512361 w 571128"/>
                <a:gd name="connsiteY103" fmla="*/ 79936 h 761503"/>
                <a:gd name="connsiteX104" fmla="*/ 512361 w 571128"/>
                <a:gd name="connsiteY104" fmla="*/ 79936 h 761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</a:cxnLst>
              <a:rect l="l" t="t" r="r" b="b"/>
              <a:pathLst>
                <a:path w="571128" h="761503">
                  <a:moveTo>
                    <a:pt x="512361" y="79936"/>
                  </a:moveTo>
                  <a:cubicBezTo>
                    <a:pt x="520520" y="79936"/>
                    <a:pt x="539558" y="79936"/>
                    <a:pt x="539558" y="96253"/>
                  </a:cubicBezTo>
                  <a:cubicBezTo>
                    <a:pt x="539558" y="104412"/>
                    <a:pt x="539558" y="107132"/>
                    <a:pt x="534118" y="112571"/>
                  </a:cubicBezTo>
                  <a:cubicBezTo>
                    <a:pt x="531399" y="118011"/>
                    <a:pt x="525960" y="120730"/>
                    <a:pt x="523240" y="120730"/>
                  </a:cubicBezTo>
                  <a:cubicBezTo>
                    <a:pt x="515081" y="123450"/>
                    <a:pt x="512361" y="123450"/>
                    <a:pt x="506922" y="123450"/>
                  </a:cubicBezTo>
                  <a:cubicBezTo>
                    <a:pt x="504202" y="123450"/>
                    <a:pt x="490604" y="123450"/>
                    <a:pt x="477006" y="123450"/>
                  </a:cubicBezTo>
                  <a:cubicBezTo>
                    <a:pt x="477006" y="131609"/>
                    <a:pt x="479725" y="137048"/>
                    <a:pt x="479725" y="145207"/>
                  </a:cubicBezTo>
                  <a:cubicBezTo>
                    <a:pt x="479725" y="156086"/>
                    <a:pt x="477006" y="166964"/>
                    <a:pt x="477006" y="180563"/>
                  </a:cubicBezTo>
                  <a:cubicBezTo>
                    <a:pt x="477006" y="196881"/>
                    <a:pt x="479725" y="215918"/>
                    <a:pt x="482445" y="232236"/>
                  </a:cubicBezTo>
                  <a:cubicBezTo>
                    <a:pt x="485165" y="248554"/>
                    <a:pt x="485165" y="267592"/>
                    <a:pt x="485165" y="283910"/>
                  </a:cubicBezTo>
                  <a:cubicBezTo>
                    <a:pt x="485165" y="297508"/>
                    <a:pt x="485165" y="313826"/>
                    <a:pt x="485165" y="327424"/>
                  </a:cubicBezTo>
                  <a:cubicBezTo>
                    <a:pt x="485165" y="343742"/>
                    <a:pt x="487884" y="357340"/>
                    <a:pt x="487884" y="373658"/>
                  </a:cubicBezTo>
                  <a:cubicBezTo>
                    <a:pt x="487884" y="389976"/>
                    <a:pt x="485165" y="403575"/>
                    <a:pt x="485165" y="419892"/>
                  </a:cubicBezTo>
                  <a:cubicBezTo>
                    <a:pt x="485165" y="436210"/>
                    <a:pt x="485165" y="449809"/>
                    <a:pt x="485165" y="463407"/>
                  </a:cubicBezTo>
                  <a:cubicBezTo>
                    <a:pt x="485165" y="479725"/>
                    <a:pt x="485165" y="498762"/>
                    <a:pt x="482445" y="515080"/>
                  </a:cubicBezTo>
                  <a:cubicBezTo>
                    <a:pt x="482445" y="528679"/>
                    <a:pt x="482445" y="542277"/>
                    <a:pt x="482445" y="558595"/>
                  </a:cubicBezTo>
                  <a:cubicBezTo>
                    <a:pt x="482445" y="572193"/>
                    <a:pt x="479725" y="588511"/>
                    <a:pt x="479725" y="602109"/>
                  </a:cubicBezTo>
                  <a:cubicBezTo>
                    <a:pt x="479725" y="615708"/>
                    <a:pt x="485165" y="632026"/>
                    <a:pt x="485165" y="648343"/>
                  </a:cubicBezTo>
                  <a:cubicBezTo>
                    <a:pt x="485165" y="659222"/>
                    <a:pt x="482445" y="670101"/>
                    <a:pt x="474286" y="675540"/>
                  </a:cubicBezTo>
                  <a:cubicBezTo>
                    <a:pt x="460688" y="686419"/>
                    <a:pt x="444370" y="691858"/>
                    <a:pt x="428052" y="691858"/>
                  </a:cubicBezTo>
                  <a:cubicBezTo>
                    <a:pt x="414454" y="691858"/>
                    <a:pt x="400855" y="689138"/>
                    <a:pt x="387257" y="683699"/>
                  </a:cubicBezTo>
                  <a:cubicBezTo>
                    <a:pt x="373659" y="678260"/>
                    <a:pt x="360060" y="672820"/>
                    <a:pt x="351901" y="664661"/>
                  </a:cubicBezTo>
                  <a:cubicBezTo>
                    <a:pt x="330144" y="645624"/>
                    <a:pt x="316546" y="621147"/>
                    <a:pt x="305667" y="596670"/>
                  </a:cubicBezTo>
                  <a:cubicBezTo>
                    <a:pt x="292069" y="569473"/>
                    <a:pt x="281190" y="539557"/>
                    <a:pt x="270312" y="509641"/>
                  </a:cubicBezTo>
                  <a:cubicBezTo>
                    <a:pt x="264872" y="493323"/>
                    <a:pt x="256713" y="477005"/>
                    <a:pt x="251274" y="460687"/>
                  </a:cubicBezTo>
                  <a:cubicBezTo>
                    <a:pt x="240395" y="433491"/>
                    <a:pt x="232236" y="409014"/>
                    <a:pt x="224077" y="381817"/>
                  </a:cubicBezTo>
                  <a:cubicBezTo>
                    <a:pt x="218638" y="365499"/>
                    <a:pt x="213199" y="346462"/>
                    <a:pt x="207759" y="330144"/>
                  </a:cubicBezTo>
                  <a:cubicBezTo>
                    <a:pt x="202320" y="316545"/>
                    <a:pt x="196881" y="300228"/>
                    <a:pt x="191442" y="286629"/>
                  </a:cubicBezTo>
                  <a:cubicBezTo>
                    <a:pt x="188722" y="281190"/>
                    <a:pt x="186002" y="278470"/>
                    <a:pt x="183283" y="278470"/>
                  </a:cubicBezTo>
                  <a:cubicBezTo>
                    <a:pt x="180563" y="278470"/>
                    <a:pt x="180563" y="286629"/>
                    <a:pt x="180563" y="292069"/>
                  </a:cubicBezTo>
                  <a:cubicBezTo>
                    <a:pt x="180563" y="297508"/>
                    <a:pt x="180563" y="302947"/>
                    <a:pt x="180563" y="305667"/>
                  </a:cubicBezTo>
                  <a:cubicBezTo>
                    <a:pt x="180563" y="321985"/>
                    <a:pt x="183283" y="338303"/>
                    <a:pt x="183283" y="354621"/>
                  </a:cubicBezTo>
                  <a:cubicBezTo>
                    <a:pt x="183283" y="387257"/>
                    <a:pt x="186002" y="417173"/>
                    <a:pt x="188722" y="449809"/>
                  </a:cubicBezTo>
                  <a:cubicBezTo>
                    <a:pt x="188722" y="460687"/>
                    <a:pt x="188722" y="468846"/>
                    <a:pt x="188722" y="479725"/>
                  </a:cubicBezTo>
                  <a:cubicBezTo>
                    <a:pt x="188722" y="501482"/>
                    <a:pt x="188722" y="523239"/>
                    <a:pt x="188722" y="542277"/>
                  </a:cubicBezTo>
                  <a:cubicBezTo>
                    <a:pt x="188722" y="566754"/>
                    <a:pt x="186002" y="591231"/>
                    <a:pt x="186002" y="615708"/>
                  </a:cubicBezTo>
                  <a:cubicBezTo>
                    <a:pt x="186002" y="623867"/>
                    <a:pt x="186002" y="632026"/>
                    <a:pt x="186002" y="637465"/>
                  </a:cubicBezTo>
                  <a:cubicBezTo>
                    <a:pt x="186002" y="645624"/>
                    <a:pt x="183283" y="656502"/>
                    <a:pt x="183283" y="664661"/>
                  </a:cubicBezTo>
                  <a:cubicBezTo>
                    <a:pt x="202320" y="664661"/>
                    <a:pt x="218638" y="664661"/>
                    <a:pt x="226797" y="664661"/>
                  </a:cubicBezTo>
                  <a:cubicBezTo>
                    <a:pt x="234956" y="664661"/>
                    <a:pt x="253994" y="664661"/>
                    <a:pt x="253994" y="680979"/>
                  </a:cubicBezTo>
                  <a:cubicBezTo>
                    <a:pt x="253994" y="689138"/>
                    <a:pt x="253994" y="691858"/>
                    <a:pt x="248554" y="697297"/>
                  </a:cubicBezTo>
                  <a:cubicBezTo>
                    <a:pt x="245835" y="702737"/>
                    <a:pt x="240395" y="705456"/>
                    <a:pt x="234956" y="705456"/>
                  </a:cubicBezTo>
                  <a:cubicBezTo>
                    <a:pt x="226797" y="708176"/>
                    <a:pt x="224077" y="708176"/>
                    <a:pt x="218638" y="708176"/>
                  </a:cubicBezTo>
                  <a:cubicBezTo>
                    <a:pt x="215918" y="708176"/>
                    <a:pt x="199600" y="708176"/>
                    <a:pt x="183283" y="708176"/>
                  </a:cubicBezTo>
                  <a:cubicBezTo>
                    <a:pt x="166965" y="708176"/>
                    <a:pt x="153366" y="708176"/>
                    <a:pt x="150647" y="708176"/>
                  </a:cubicBezTo>
                  <a:cubicBezTo>
                    <a:pt x="139768" y="708176"/>
                    <a:pt x="120730" y="708176"/>
                    <a:pt x="107132" y="708176"/>
                  </a:cubicBezTo>
                  <a:cubicBezTo>
                    <a:pt x="101693" y="708176"/>
                    <a:pt x="96253" y="708176"/>
                    <a:pt x="88094" y="708176"/>
                  </a:cubicBezTo>
                  <a:cubicBezTo>
                    <a:pt x="82655" y="708176"/>
                    <a:pt x="74496" y="708176"/>
                    <a:pt x="69057" y="702737"/>
                  </a:cubicBezTo>
                  <a:cubicBezTo>
                    <a:pt x="63618" y="700017"/>
                    <a:pt x="58178" y="691858"/>
                    <a:pt x="58178" y="686419"/>
                  </a:cubicBezTo>
                  <a:cubicBezTo>
                    <a:pt x="58178" y="683699"/>
                    <a:pt x="58178" y="680979"/>
                    <a:pt x="60898" y="678260"/>
                  </a:cubicBezTo>
                  <a:cubicBezTo>
                    <a:pt x="63618" y="675540"/>
                    <a:pt x="71777" y="672820"/>
                    <a:pt x="77216" y="670101"/>
                  </a:cubicBezTo>
                  <a:cubicBezTo>
                    <a:pt x="90814" y="667381"/>
                    <a:pt x="115291" y="664661"/>
                    <a:pt x="120730" y="664661"/>
                  </a:cubicBezTo>
                  <a:cubicBezTo>
                    <a:pt x="123450" y="664661"/>
                    <a:pt x="126170" y="664661"/>
                    <a:pt x="131609" y="664661"/>
                  </a:cubicBezTo>
                  <a:cubicBezTo>
                    <a:pt x="131609" y="623867"/>
                    <a:pt x="134329" y="583072"/>
                    <a:pt x="134329" y="539557"/>
                  </a:cubicBezTo>
                  <a:cubicBezTo>
                    <a:pt x="134329" y="528679"/>
                    <a:pt x="134329" y="515080"/>
                    <a:pt x="134329" y="504202"/>
                  </a:cubicBezTo>
                  <a:cubicBezTo>
                    <a:pt x="131609" y="460687"/>
                    <a:pt x="131609" y="417173"/>
                    <a:pt x="131609" y="376378"/>
                  </a:cubicBezTo>
                  <a:cubicBezTo>
                    <a:pt x="131609" y="351901"/>
                    <a:pt x="131609" y="327424"/>
                    <a:pt x="131609" y="302947"/>
                  </a:cubicBezTo>
                  <a:cubicBezTo>
                    <a:pt x="131609" y="275751"/>
                    <a:pt x="131609" y="248554"/>
                    <a:pt x="134329" y="221357"/>
                  </a:cubicBezTo>
                  <a:cubicBezTo>
                    <a:pt x="134329" y="188722"/>
                    <a:pt x="137048" y="156086"/>
                    <a:pt x="137048" y="123450"/>
                  </a:cubicBezTo>
                  <a:cubicBezTo>
                    <a:pt x="126170" y="123450"/>
                    <a:pt x="115291" y="123450"/>
                    <a:pt x="107132" y="123450"/>
                  </a:cubicBezTo>
                  <a:cubicBezTo>
                    <a:pt x="101693" y="123450"/>
                    <a:pt x="96253" y="123450"/>
                    <a:pt x="88094" y="123450"/>
                  </a:cubicBezTo>
                  <a:cubicBezTo>
                    <a:pt x="82655" y="123450"/>
                    <a:pt x="74496" y="120730"/>
                    <a:pt x="69057" y="118011"/>
                  </a:cubicBezTo>
                  <a:cubicBezTo>
                    <a:pt x="63618" y="115291"/>
                    <a:pt x="58178" y="107132"/>
                    <a:pt x="58178" y="101693"/>
                  </a:cubicBezTo>
                  <a:cubicBezTo>
                    <a:pt x="58178" y="98973"/>
                    <a:pt x="58178" y="96253"/>
                    <a:pt x="60898" y="93534"/>
                  </a:cubicBezTo>
                  <a:cubicBezTo>
                    <a:pt x="63618" y="90814"/>
                    <a:pt x="71777" y="88095"/>
                    <a:pt x="77216" y="85375"/>
                  </a:cubicBezTo>
                  <a:cubicBezTo>
                    <a:pt x="90814" y="82655"/>
                    <a:pt x="126170" y="79936"/>
                    <a:pt x="131609" y="79936"/>
                  </a:cubicBezTo>
                  <a:cubicBezTo>
                    <a:pt x="137048" y="79936"/>
                    <a:pt x="147927" y="79936"/>
                    <a:pt x="161525" y="79936"/>
                  </a:cubicBezTo>
                  <a:cubicBezTo>
                    <a:pt x="166965" y="74496"/>
                    <a:pt x="172404" y="71776"/>
                    <a:pt x="177843" y="66337"/>
                  </a:cubicBezTo>
                  <a:cubicBezTo>
                    <a:pt x="186002" y="60898"/>
                    <a:pt x="194161" y="58178"/>
                    <a:pt x="202320" y="58178"/>
                  </a:cubicBezTo>
                  <a:cubicBezTo>
                    <a:pt x="215918" y="58178"/>
                    <a:pt x="226797" y="63618"/>
                    <a:pt x="234956" y="77216"/>
                  </a:cubicBezTo>
                  <a:cubicBezTo>
                    <a:pt x="240395" y="88095"/>
                    <a:pt x="248554" y="96253"/>
                    <a:pt x="251274" y="107132"/>
                  </a:cubicBezTo>
                  <a:cubicBezTo>
                    <a:pt x="256713" y="120730"/>
                    <a:pt x="259433" y="134329"/>
                    <a:pt x="267592" y="147927"/>
                  </a:cubicBezTo>
                  <a:cubicBezTo>
                    <a:pt x="273031" y="158806"/>
                    <a:pt x="275751" y="172404"/>
                    <a:pt x="281190" y="183282"/>
                  </a:cubicBezTo>
                  <a:cubicBezTo>
                    <a:pt x="286630" y="196881"/>
                    <a:pt x="292069" y="210479"/>
                    <a:pt x="297508" y="224077"/>
                  </a:cubicBezTo>
                  <a:cubicBezTo>
                    <a:pt x="300228" y="237676"/>
                    <a:pt x="305667" y="251274"/>
                    <a:pt x="308387" y="264872"/>
                  </a:cubicBezTo>
                  <a:cubicBezTo>
                    <a:pt x="311107" y="278470"/>
                    <a:pt x="311107" y="289349"/>
                    <a:pt x="319265" y="300228"/>
                  </a:cubicBezTo>
                  <a:cubicBezTo>
                    <a:pt x="332864" y="324704"/>
                    <a:pt x="346462" y="351901"/>
                    <a:pt x="351901" y="379098"/>
                  </a:cubicBezTo>
                  <a:cubicBezTo>
                    <a:pt x="354621" y="392696"/>
                    <a:pt x="360060" y="403575"/>
                    <a:pt x="365500" y="417173"/>
                  </a:cubicBezTo>
                  <a:cubicBezTo>
                    <a:pt x="373659" y="430771"/>
                    <a:pt x="373659" y="444369"/>
                    <a:pt x="379098" y="457968"/>
                  </a:cubicBezTo>
                  <a:cubicBezTo>
                    <a:pt x="381818" y="471566"/>
                    <a:pt x="387257" y="482445"/>
                    <a:pt x="395416" y="496043"/>
                  </a:cubicBezTo>
                  <a:cubicBezTo>
                    <a:pt x="398136" y="501482"/>
                    <a:pt x="403575" y="506921"/>
                    <a:pt x="406295" y="512361"/>
                  </a:cubicBezTo>
                  <a:cubicBezTo>
                    <a:pt x="409014" y="517800"/>
                    <a:pt x="409014" y="525959"/>
                    <a:pt x="411734" y="531398"/>
                  </a:cubicBezTo>
                  <a:cubicBezTo>
                    <a:pt x="414454" y="539557"/>
                    <a:pt x="417173" y="550436"/>
                    <a:pt x="419893" y="558595"/>
                  </a:cubicBezTo>
                  <a:cubicBezTo>
                    <a:pt x="422613" y="561314"/>
                    <a:pt x="422613" y="564034"/>
                    <a:pt x="425332" y="564034"/>
                  </a:cubicBezTo>
                  <a:cubicBezTo>
                    <a:pt x="428052" y="564034"/>
                    <a:pt x="428052" y="561314"/>
                    <a:pt x="430771" y="558595"/>
                  </a:cubicBezTo>
                  <a:cubicBezTo>
                    <a:pt x="430771" y="555875"/>
                    <a:pt x="430771" y="553156"/>
                    <a:pt x="430771" y="550436"/>
                  </a:cubicBezTo>
                  <a:cubicBezTo>
                    <a:pt x="430771" y="534118"/>
                    <a:pt x="430771" y="517800"/>
                    <a:pt x="430771" y="501482"/>
                  </a:cubicBezTo>
                  <a:cubicBezTo>
                    <a:pt x="430771" y="468846"/>
                    <a:pt x="433491" y="436210"/>
                    <a:pt x="430771" y="403575"/>
                  </a:cubicBezTo>
                  <a:cubicBezTo>
                    <a:pt x="430771" y="373658"/>
                    <a:pt x="425332" y="343742"/>
                    <a:pt x="425332" y="313826"/>
                  </a:cubicBezTo>
                  <a:cubicBezTo>
                    <a:pt x="425332" y="292069"/>
                    <a:pt x="425332" y="270311"/>
                    <a:pt x="425332" y="248554"/>
                  </a:cubicBezTo>
                  <a:cubicBezTo>
                    <a:pt x="425332" y="234956"/>
                    <a:pt x="425332" y="224077"/>
                    <a:pt x="425332" y="210479"/>
                  </a:cubicBezTo>
                  <a:cubicBezTo>
                    <a:pt x="425332" y="191441"/>
                    <a:pt x="422613" y="172404"/>
                    <a:pt x="422613" y="153366"/>
                  </a:cubicBezTo>
                  <a:cubicBezTo>
                    <a:pt x="422613" y="142488"/>
                    <a:pt x="422613" y="134329"/>
                    <a:pt x="425332" y="123450"/>
                  </a:cubicBezTo>
                  <a:cubicBezTo>
                    <a:pt x="417173" y="123450"/>
                    <a:pt x="406295" y="123450"/>
                    <a:pt x="398136" y="123450"/>
                  </a:cubicBezTo>
                  <a:cubicBezTo>
                    <a:pt x="392696" y="123450"/>
                    <a:pt x="387257" y="123450"/>
                    <a:pt x="379098" y="123450"/>
                  </a:cubicBezTo>
                  <a:cubicBezTo>
                    <a:pt x="373659" y="123450"/>
                    <a:pt x="365500" y="120730"/>
                    <a:pt x="360060" y="118011"/>
                  </a:cubicBezTo>
                  <a:cubicBezTo>
                    <a:pt x="354621" y="115291"/>
                    <a:pt x="349182" y="107132"/>
                    <a:pt x="349182" y="101693"/>
                  </a:cubicBezTo>
                  <a:cubicBezTo>
                    <a:pt x="349182" y="98973"/>
                    <a:pt x="349182" y="96253"/>
                    <a:pt x="351901" y="93534"/>
                  </a:cubicBezTo>
                  <a:cubicBezTo>
                    <a:pt x="354621" y="90814"/>
                    <a:pt x="362780" y="88095"/>
                    <a:pt x="368219" y="85375"/>
                  </a:cubicBezTo>
                  <a:cubicBezTo>
                    <a:pt x="381818" y="82655"/>
                    <a:pt x="417173" y="79936"/>
                    <a:pt x="422613" y="79936"/>
                  </a:cubicBezTo>
                  <a:cubicBezTo>
                    <a:pt x="428052" y="79936"/>
                    <a:pt x="433491" y="79936"/>
                    <a:pt x="444370" y="79936"/>
                  </a:cubicBezTo>
                  <a:cubicBezTo>
                    <a:pt x="449809" y="74496"/>
                    <a:pt x="455248" y="71776"/>
                    <a:pt x="463407" y="71776"/>
                  </a:cubicBezTo>
                  <a:cubicBezTo>
                    <a:pt x="471566" y="71776"/>
                    <a:pt x="477006" y="74496"/>
                    <a:pt x="477006" y="79936"/>
                  </a:cubicBezTo>
                  <a:cubicBezTo>
                    <a:pt x="490604" y="82655"/>
                    <a:pt x="504202" y="79936"/>
                    <a:pt x="512361" y="79936"/>
                  </a:cubicBezTo>
                  <a:lnTo>
                    <a:pt x="512361" y="79936"/>
                  </a:ln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38" name="Freeform: Shape 37">
              <a:extLst>
                <a:ext uri="{FF2B5EF4-FFF2-40B4-BE49-F238E27FC236}">
                  <a16:creationId xmlns:a16="http://schemas.microsoft.com/office/drawing/2014/main" id="{02C14CBB-D0EA-4098-8F25-912BA05B86AD}"/>
                </a:ext>
              </a:extLst>
            </p:cNvPr>
            <p:cNvSpPr/>
            <p:nvPr/>
          </p:nvSpPr>
          <p:spPr>
            <a:xfrm>
              <a:off x="2987430" y="4242177"/>
              <a:ext cx="494979" cy="674476"/>
            </a:xfrm>
            <a:custGeom>
              <a:avLst/>
              <a:gdLst>
                <a:gd name="connsiteX0" fmla="*/ 228453 w 494979"/>
                <a:gd name="connsiteY0" fmla="*/ 97907 h 674476"/>
                <a:gd name="connsiteX1" fmla="*/ 212135 w 494979"/>
                <a:gd name="connsiteY1" fmla="*/ 119665 h 674476"/>
                <a:gd name="connsiteX2" fmla="*/ 203976 w 494979"/>
                <a:gd name="connsiteY2" fmla="*/ 152300 h 674476"/>
                <a:gd name="connsiteX3" fmla="*/ 201256 w 494979"/>
                <a:gd name="connsiteY3" fmla="*/ 168618 h 674476"/>
                <a:gd name="connsiteX4" fmla="*/ 198537 w 494979"/>
                <a:gd name="connsiteY4" fmla="*/ 184936 h 674476"/>
                <a:gd name="connsiteX5" fmla="*/ 190378 w 494979"/>
                <a:gd name="connsiteY5" fmla="*/ 220292 h 674476"/>
                <a:gd name="connsiteX6" fmla="*/ 171340 w 494979"/>
                <a:gd name="connsiteY6" fmla="*/ 291003 h 674476"/>
                <a:gd name="connsiteX7" fmla="*/ 163180 w 494979"/>
                <a:gd name="connsiteY7" fmla="*/ 323639 h 674476"/>
                <a:gd name="connsiteX8" fmla="*/ 152302 w 494979"/>
                <a:gd name="connsiteY8" fmla="*/ 361714 h 674476"/>
                <a:gd name="connsiteX9" fmla="*/ 146862 w 494979"/>
                <a:gd name="connsiteY9" fmla="*/ 388910 h 674476"/>
                <a:gd name="connsiteX10" fmla="*/ 152302 w 494979"/>
                <a:gd name="connsiteY10" fmla="*/ 391630 h 674476"/>
                <a:gd name="connsiteX11" fmla="*/ 174060 w 494979"/>
                <a:gd name="connsiteY11" fmla="*/ 391630 h 674476"/>
                <a:gd name="connsiteX12" fmla="*/ 195817 w 494979"/>
                <a:gd name="connsiteY12" fmla="*/ 388910 h 674476"/>
                <a:gd name="connsiteX13" fmla="*/ 214855 w 494979"/>
                <a:gd name="connsiteY13" fmla="*/ 388910 h 674476"/>
                <a:gd name="connsiteX14" fmla="*/ 239332 w 494979"/>
                <a:gd name="connsiteY14" fmla="*/ 388910 h 674476"/>
                <a:gd name="connsiteX15" fmla="*/ 252930 w 494979"/>
                <a:gd name="connsiteY15" fmla="*/ 386191 h 674476"/>
                <a:gd name="connsiteX16" fmla="*/ 261089 w 494979"/>
                <a:gd name="connsiteY16" fmla="*/ 386191 h 674476"/>
                <a:gd name="connsiteX17" fmla="*/ 258369 w 494979"/>
                <a:gd name="connsiteY17" fmla="*/ 367153 h 674476"/>
                <a:gd name="connsiteX18" fmla="*/ 252930 w 494979"/>
                <a:gd name="connsiteY18" fmla="*/ 331797 h 674476"/>
                <a:gd name="connsiteX19" fmla="*/ 250210 w 494979"/>
                <a:gd name="connsiteY19" fmla="*/ 244769 h 674476"/>
                <a:gd name="connsiteX20" fmla="*/ 244771 w 494979"/>
                <a:gd name="connsiteY20" fmla="*/ 203974 h 674476"/>
                <a:gd name="connsiteX21" fmla="*/ 239332 w 494979"/>
                <a:gd name="connsiteY21" fmla="*/ 157740 h 674476"/>
                <a:gd name="connsiteX22" fmla="*/ 236612 w 494979"/>
                <a:gd name="connsiteY22" fmla="*/ 119665 h 674476"/>
                <a:gd name="connsiteX23" fmla="*/ 228453 w 494979"/>
                <a:gd name="connsiteY23" fmla="*/ 97907 h 674476"/>
                <a:gd name="connsiteX24" fmla="*/ 274687 w 494979"/>
                <a:gd name="connsiteY24" fmla="*/ 0 h 674476"/>
                <a:gd name="connsiteX25" fmla="*/ 304603 w 494979"/>
                <a:gd name="connsiteY25" fmla="*/ 5439 h 674476"/>
                <a:gd name="connsiteX26" fmla="*/ 320921 w 494979"/>
                <a:gd name="connsiteY26" fmla="*/ 24477 h 674476"/>
                <a:gd name="connsiteX27" fmla="*/ 334519 w 494979"/>
                <a:gd name="connsiteY27" fmla="*/ 43515 h 674476"/>
                <a:gd name="connsiteX28" fmla="*/ 339959 w 494979"/>
                <a:gd name="connsiteY28" fmla="*/ 65272 h 674476"/>
                <a:gd name="connsiteX29" fmla="*/ 348118 w 494979"/>
                <a:gd name="connsiteY29" fmla="*/ 114226 h 674476"/>
                <a:gd name="connsiteX30" fmla="*/ 361716 w 494979"/>
                <a:gd name="connsiteY30" fmla="*/ 163180 h 674476"/>
                <a:gd name="connsiteX31" fmla="*/ 369875 w 494979"/>
                <a:gd name="connsiteY31" fmla="*/ 220293 h 674476"/>
                <a:gd name="connsiteX32" fmla="*/ 378034 w 494979"/>
                <a:gd name="connsiteY32" fmla="*/ 274686 h 674476"/>
                <a:gd name="connsiteX33" fmla="*/ 383473 w 494979"/>
                <a:gd name="connsiteY33" fmla="*/ 301883 h 674476"/>
                <a:gd name="connsiteX34" fmla="*/ 391632 w 494979"/>
                <a:gd name="connsiteY34" fmla="*/ 337238 h 674476"/>
                <a:gd name="connsiteX35" fmla="*/ 397071 w 494979"/>
                <a:gd name="connsiteY35" fmla="*/ 364435 h 674476"/>
                <a:gd name="connsiteX36" fmla="*/ 405230 w 494979"/>
                <a:gd name="connsiteY36" fmla="*/ 383473 h 674476"/>
                <a:gd name="connsiteX37" fmla="*/ 416109 w 494979"/>
                <a:gd name="connsiteY37" fmla="*/ 386192 h 674476"/>
                <a:gd name="connsiteX38" fmla="*/ 426988 w 494979"/>
                <a:gd name="connsiteY38" fmla="*/ 386192 h 674476"/>
                <a:gd name="connsiteX39" fmla="*/ 454184 w 494979"/>
                <a:gd name="connsiteY39" fmla="*/ 397071 h 674476"/>
                <a:gd name="connsiteX40" fmla="*/ 456904 w 494979"/>
                <a:gd name="connsiteY40" fmla="*/ 405230 h 674476"/>
                <a:gd name="connsiteX41" fmla="*/ 451465 w 494979"/>
                <a:gd name="connsiteY41" fmla="*/ 416108 h 674476"/>
                <a:gd name="connsiteX42" fmla="*/ 432427 w 494979"/>
                <a:gd name="connsiteY42" fmla="*/ 429707 h 674476"/>
                <a:gd name="connsiteX43" fmla="*/ 421548 w 494979"/>
                <a:gd name="connsiteY43" fmla="*/ 432426 h 674476"/>
                <a:gd name="connsiteX44" fmla="*/ 413389 w 494979"/>
                <a:gd name="connsiteY44" fmla="*/ 435146 h 674476"/>
                <a:gd name="connsiteX45" fmla="*/ 413389 w 494979"/>
                <a:gd name="connsiteY45" fmla="*/ 440585 h 674476"/>
                <a:gd name="connsiteX46" fmla="*/ 416109 w 494979"/>
                <a:gd name="connsiteY46" fmla="*/ 451464 h 674476"/>
                <a:gd name="connsiteX47" fmla="*/ 418829 w 494979"/>
                <a:gd name="connsiteY47" fmla="*/ 465062 h 674476"/>
                <a:gd name="connsiteX48" fmla="*/ 418829 w 494979"/>
                <a:gd name="connsiteY48" fmla="*/ 475941 h 674476"/>
                <a:gd name="connsiteX49" fmla="*/ 418829 w 494979"/>
                <a:gd name="connsiteY49" fmla="*/ 486820 h 674476"/>
                <a:gd name="connsiteX50" fmla="*/ 426988 w 494979"/>
                <a:gd name="connsiteY50" fmla="*/ 516736 h 674476"/>
                <a:gd name="connsiteX51" fmla="*/ 432427 w 494979"/>
                <a:gd name="connsiteY51" fmla="*/ 543932 h 674476"/>
                <a:gd name="connsiteX52" fmla="*/ 437866 w 494979"/>
                <a:gd name="connsiteY52" fmla="*/ 573848 h 674476"/>
                <a:gd name="connsiteX53" fmla="*/ 443306 w 494979"/>
                <a:gd name="connsiteY53" fmla="*/ 606484 h 674476"/>
                <a:gd name="connsiteX54" fmla="*/ 446025 w 494979"/>
                <a:gd name="connsiteY54" fmla="*/ 617363 h 674476"/>
                <a:gd name="connsiteX55" fmla="*/ 470502 w 494979"/>
                <a:gd name="connsiteY55" fmla="*/ 617363 h 674476"/>
                <a:gd name="connsiteX56" fmla="*/ 494979 w 494979"/>
                <a:gd name="connsiteY56" fmla="*/ 641840 h 674476"/>
                <a:gd name="connsiteX57" fmla="*/ 486820 w 494979"/>
                <a:gd name="connsiteY57" fmla="*/ 655438 h 674476"/>
                <a:gd name="connsiteX58" fmla="*/ 470502 w 494979"/>
                <a:gd name="connsiteY58" fmla="*/ 663597 h 674476"/>
                <a:gd name="connsiteX59" fmla="*/ 446025 w 494979"/>
                <a:gd name="connsiteY59" fmla="*/ 666317 h 674476"/>
                <a:gd name="connsiteX60" fmla="*/ 424268 w 494979"/>
                <a:gd name="connsiteY60" fmla="*/ 666317 h 674476"/>
                <a:gd name="connsiteX61" fmla="*/ 416109 w 494979"/>
                <a:gd name="connsiteY61" fmla="*/ 666317 h 674476"/>
                <a:gd name="connsiteX62" fmla="*/ 402511 w 494979"/>
                <a:gd name="connsiteY62" fmla="*/ 671756 h 674476"/>
                <a:gd name="connsiteX63" fmla="*/ 386193 w 494979"/>
                <a:gd name="connsiteY63" fmla="*/ 674476 h 674476"/>
                <a:gd name="connsiteX64" fmla="*/ 350837 w 494979"/>
                <a:gd name="connsiteY64" fmla="*/ 669036 h 674476"/>
                <a:gd name="connsiteX65" fmla="*/ 329080 w 494979"/>
                <a:gd name="connsiteY65" fmla="*/ 669036 h 674476"/>
                <a:gd name="connsiteX66" fmla="*/ 280126 w 494979"/>
                <a:gd name="connsiteY66" fmla="*/ 669036 h 674476"/>
                <a:gd name="connsiteX67" fmla="*/ 255649 w 494979"/>
                <a:gd name="connsiteY67" fmla="*/ 663597 h 674476"/>
                <a:gd name="connsiteX68" fmla="*/ 239331 w 494979"/>
                <a:gd name="connsiteY68" fmla="*/ 647279 h 674476"/>
                <a:gd name="connsiteX69" fmla="*/ 263808 w 494979"/>
                <a:gd name="connsiteY69" fmla="*/ 630961 h 674476"/>
                <a:gd name="connsiteX70" fmla="*/ 291005 w 494979"/>
                <a:gd name="connsiteY70" fmla="*/ 628241 h 674476"/>
                <a:gd name="connsiteX71" fmla="*/ 288285 w 494979"/>
                <a:gd name="connsiteY71" fmla="*/ 609204 h 674476"/>
                <a:gd name="connsiteX72" fmla="*/ 285565 w 494979"/>
                <a:gd name="connsiteY72" fmla="*/ 582007 h 674476"/>
                <a:gd name="connsiteX73" fmla="*/ 282846 w 494979"/>
                <a:gd name="connsiteY73" fmla="*/ 568409 h 674476"/>
                <a:gd name="connsiteX74" fmla="*/ 285565 w 494979"/>
                <a:gd name="connsiteY74" fmla="*/ 554811 h 674476"/>
                <a:gd name="connsiteX75" fmla="*/ 280126 w 494979"/>
                <a:gd name="connsiteY75" fmla="*/ 538493 h 674476"/>
                <a:gd name="connsiteX76" fmla="*/ 274687 w 494979"/>
                <a:gd name="connsiteY76" fmla="*/ 505857 h 674476"/>
                <a:gd name="connsiteX77" fmla="*/ 271967 w 494979"/>
                <a:gd name="connsiteY77" fmla="*/ 478660 h 674476"/>
                <a:gd name="connsiteX78" fmla="*/ 269247 w 494979"/>
                <a:gd name="connsiteY78" fmla="*/ 446025 h 674476"/>
                <a:gd name="connsiteX79" fmla="*/ 263808 w 494979"/>
                <a:gd name="connsiteY79" fmla="*/ 437866 h 674476"/>
                <a:gd name="connsiteX80" fmla="*/ 252929 w 494979"/>
                <a:gd name="connsiteY80" fmla="*/ 437866 h 674476"/>
                <a:gd name="connsiteX81" fmla="*/ 223013 w 494979"/>
                <a:gd name="connsiteY81" fmla="*/ 440585 h 674476"/>
                <a:gd name="connsiteX82" fmla="*/ 193097 w 494979"/>
                <a:gd name="connsiteY82" fmla="*/ 443305 h 674476"/>
                <a:gd name="connsiteX83" fmla="*/ 168620 w 494979"/>
                <a:gd name="connsiteY83" fmla="*/ 443305 h 674476"/>
                <a:gd name="connsiteX84" fmla="*/ 146862 w 494979"/>
                <a:gd name="connsiteY84" fmla="*/ 440585 h 674476"/>
                <a:gd name="connsiteX85" fmla="*/ 138703 w 494979"/>
                <a:gd name="connsiteY85" fmla="*/ 454184 h 674476"/>
                <a:gd name="connsiteX86" fmla="*/ 133263 w 494979"/>
                <a:gd name="connsiteY86" fmla="*/ 486820 h 674476"/>
                <a:gd name="connsiteX87" fmla="*/ 122385 w 494979"/>
                <a:gd name="connsiteY87" fmla="*/ 541213 h 674476"/>
                <a:gd name="connsiteX88" fmla="*/ 106067 w 494979"/>
                <a:gd name="connsiteY88" fmla="*/ 614643 h 674476"/>
                <a:gd name="connsiteX89" fmla="*/ 135983 w 494979"/>
                <a:gd name="connsiteY89" fmla="*/ 614643 h 674476"/>
                <a:gd name="connsiteX90" fmla="*/ 171340 w 494979"/>
                <a:gd name="connsiteY90" fmla="*/ 630961 h 674476"/>
                <a:gd name="connsiteX91" fmla="*/ 165900 w 494979"/>
                <a:gd name="connsiteY91" fmla="*/ 647279 h 674476"/>
                <a:gd name="connsiteX92" fmla="*/ 149581 w 494979"/>
                <a:gd name="connsiteY92" fmla="*/ 655438 h 674476"/>
                <a:gd name="connsiteX93" fmla="*/ 127824 w 494979"/>
                <a:gd name="connsiteY93" fmla="*/ 658158 h 674476"/>
                <a:gd name="connsiteX94" fmla="*/ 106067 w 494979"/>
                <a:gd name="connsiteY94" fmla="*/ 658158 h 674476"/>
                <a:gd name="connsiteX95" fmla="*/ 62552 w 494979"/>
                <a:gd name="connsiteY95" fmla="*/ 658158 h 674476"/>
                <a:gd name="connsiteX96" fmla="*/ 40795 w 494979"/>
                <a:gd name="connsiteY96" fmla="*/ 658158 h 674476"/>
                <a:gd name="connsiteX97" fmla="*/ 16318 w 494979"/>
                <a:gd name="connsiteY97" fmla="*/ 652718 h 674476"/>
                <a:gd name="connsiteX98" fmla="*/ 0 w 494979"/>
                <a:gd name="connsiteY98" fmla="*/ 636401 h 674476"/>
                <a:gd name="connsiteX99" fmla="*/ 2720 w 494979"/>
                <a:gd name="connsiteY99" fmla="*/ 628241 h 674476"/>
                <a:gd name="connsiteX100" fmla="*/ 24477 w 494979"/>
                <a:gd name="connsiteY100" fmla="*/ 620082 h 674476"/>
                <a:gd name="connsiteX101" fmla="*/ 62552 w 494979"/>
                <a:gd name="connsiteY101" fmla="*/ 617363 h 674476"/>
                <a:gd name="connsiteX102" fmla="*/ 62552 w 494979"/>
                <a:gd name="connsiteY102" fmla="*/ 614643 h 674476"/>
                <a:gd name="connsiteX103" fmla="*/ 65272 w 494979"/>
                <a:gd name="connsiteY103" fmla="*/ 587447 h 674476"/>
                <a:gd name="connsiteX104" fmla="*/ 76151 w 494979"/>
                <a:gd name="connsiteY104" fmla="*/ 522175 h 674476"/>
                <a:gd name="connsiteX105" fmla="*/ 87029 w 494979"/>
                <a:gd name="connsiteY105" fmla="*/ 470501 h 674476"/>
                <a:gd name="connsiteX106" fmla="*/ 92469 w 494979"/>
                <a:gd name="connsiteY106" fmla="*/ 446025 h 674476"/>
                <a:gd name="connsiteX107" fmla="*/ 65272 w 494979"/>
                <a:gd name="connsiteY107" fmla="*/ 432426 h 674476"/>
                <a:gd name="connsiteX108" fmla="*/ 54393 w 494979"/>
                <a:gd name="connsiteY108" fmla="*/ 421548 h 674476"/>
                <a:gd name="connsiteX109" fmla="*/ 73431 w 494979"/>
                <a:gd name="connsiteY109" fmla="*/ 407949 h 674476"/>
                <a:gd name="connsiteX110" fmla="*/ 100628 w 494979"/>
                <a:gd name="connsiteY110" fmla="*/ 399790 h 674476"/>
                <a:gd name="connsiteX111" fmla="*/ 108787 w 494979"/>
                <a:gd name="connsiteY111" fmla="*/ 369874 h 674476"/>
                <a:gd name="connsiteX112" fmla="*/ 125105 w 494979"/>
                <a:gd name="connsiteY112" fmla="*/ 307322 h 674476"/>
                <a:gd name="connsiteX113" fmla="*/ 141423 w 494979"/>
                <a:gd name="connsiteY113" fmla="*/ 242051 h 674476"/>
                <a:gd name="connsiteX114" fmla="*/ 155021 w 494979"/>
                <a:gd name="connsiteY114" fmla="*/ 179498 h 674476"/>
                <a:gd name="connsiteX115" fmla="*/ 168620 w 494979"/>
                <a:gd name="connsiteY115" fmla="*/ 119665 h 674476"/>
                <a:gd name="connsiteX116" fmla="*/ 193097 w 494979"/>
                <a:gd name="connsiteY116" fmla="*/ 57113 h 674476"/>
                <a:gd name="connsiteX117" fmla="*/ 201256 w 494979"/>
                <a:gd name="connsiteY117" fmla="*/ 38075 h 674476"/>
                <a:gd name="connsiteX118" fmla="*/ 217574 w 494979"/>
                <a:gd name="connsiteY118" fmla="*/ 13598 h 674476"/>
                <a:gd name="connsiteX119" fmla="*/ 274687 w 494979"/>
                <a:gd name="connsiteY119" fmla="*/ 0 h 6744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</a:cxnLst>
              <a:rect l="l" t="t" r="r" b="b"/>
              <a:pathLst>
                <a:path w="494979" h="674476">
                  <a:moveTo>
                    <a:pt x="228453" y="97907"/>
                  </a:moveTo>
                  <a:cubicBezTo>
                    <a:pt x="220294" y="97907"/>
                    <a:pt x="212135" y="114225"/>
                    <a:pt x="212135" y="119665"/>
                  </a:cubicBezTo>
                  <a:cubicBezTo>
                    <a:pt x="209415" y="130543"/>
                    <a:pt x="206696" y="144141"/>
                    <a:pt x="203976" y="152300"/>
                  </a:cubicBezTo>
                  <a:cubicBezTo>
                    <a:pt x="201256" y="157740"/>
                    <a:pt x="201256" y="163179"/>
                    <a:pt x="201256" y="168618"/>
                  </a:cubicBezTo>
                  <a:cubicBezTo>
                    <a:pt x="201256" y="174058"/>
                    <a:pt x="198537" y="179497"/>
                    <a:pt x="198537" y="184936"/>
                  </a:cubicBezTo>
                  <a:cubicBezTo>
                    <a:pt x="195817" y="195815"/>
                    <a:pt x="193097" y="209413"/>
                    <a:pt x="190378" y="220292"/>
                  </a:cubicBezTo>
                  <a:cubicBezTo>
                    <a:pt x="187658" y="244769"/>
                    <a:pt x="179499" y="269246"/>
                    <a:pt x="171340" y="291003"/>
                  </a:cubicBezTo>
                  <a:cubicBezTo>
                    <a:pt x="168620" y="301881"/>
                    <a:pt x="165900" y="312760"/>
                    <a:pt x="163180" y="323639"/>
                  </a:cubicBezTo>
                  <a:cubicBezTo>
                    <a:pt x="160461" y="337237"/>
                    <a:pt x="157741" y="348115"/>
                    <a:pt x="152302" y="361714"/>
                  </a:cubicBezTo>
                  <a:cubicBezTo>
                    <a:pt x="149582" y="367153"/>
                    <a:pt x="146862" y="383471"/>
                    <a:pt x="146862" y="388910"/>
                  </a:cubicBezTo>
                  <a:cubicBezTo>
                    <a:pt x="146862" y="391630"/>
                    <a:pt x="149582" y="391630"/>
                    <a:pt x="152302" y="391630"/>
                  </a:cubicBezTo>
                  <a:cubicBezTo>
                    <a:pt x="157741" y="391630"/>
                    <a:pt x="171340" y="391630"/>
                    <a:pt x="174060" y="391630"/>
                  </a:cubicBezTo>
                  <a:cubicBezTo>
                    <a:pt x="182219" y="391630"/>
                    <a:pt x="190378" y="391630"/>
                    <a:pt x="195817" y="388910"/>
                  </a:cubicBezTo>
                  <a:cubicBezTo>
                    <a:pt x="201256" y="388910"/>
                    <a:pt x="206696" y="388910"/>
                    <a:pt x="214855" y="388910"/>
                  </a:cubicBezTo>
                  <a:cubicBezTo>
                    <a:pt x="220294" y="388910"/>
                    <a:pt x="228453" y="388910"/>
                    <a:pt x="239332" y="388910"/>
                  </a:cubicBezTo>
                  <a:cubicBezTo>
                    <a:pt x="244771" y="388910"/>
                    <a:pt x="250210" y="388910"/>
                    <a:pt x="252930" y="386191"/>
                  </a:cubicBezTo>
                  <a:cubicBezTo>
                    <a:pt x="258369" y="391630"/>
                    <a:pt x="261089" y="388910"/>
                    <a:pt x="261089" y="386191"/>
                  </a:cubicBezTo>
                  <a:cubicBezTo>
                    <a:pt x="261089" y="380751"/>
                    <a:pt x="258369" y="372592"/>
                    <a:pt x="258369" y="367153"/>
                  </a:cubicBezTo>
                  <a:cubicBezTo>
                    <a:pt x="255650" y="353555"/>
                    <a:pt x="252930" y="342676"/>
                    <a:pt x="252930" y="331797"/>
                  </a:cubicBezTo>
                  <a:cubicBezTo>
                    <a:pt x="252930" y="301881"/>
                    <a:pt x="252930" y="274685"/>
                    <a:pt x="250210" y="244769"/>
                  </a:cubicBezTo>
                  <a:cubicBezTo>
                    <a:pt x="250210" y="231170"/>
                    <a:pt x="247491" y="217572"/>
                    <a:pt x="244771" y="203974"/>
                  </a:cubicBezTo>
                  <a:cubicBezTo>
                    <a:pt x="242051" y="187656"/>
                    <a:pt x="239332" y="174058"/>
                    <a:pt x="239332" y="157740"/>
                  </a:cubicBezTo>
                  <a:cubicBezTo>
                    <a:pt x="239332" y="152300"/>
                    <a:pt x="239332" y="133263"/>
                    <a:pt x="236612" y="119665"/>
                  </a:cubicBezTo>
                  <a:cubicBezTo>
                    <a:pt x="236612" y="106066"/>
                    <a:pt x="233892" y="97907"/>
                    <a:pt x="228453" y="97907"/>
                  </a:cubicBezTo>
                  <a:close/>
                  <a:moveTo>
                    <a:pt x="274687" y="0"/>
                  </a:moveTo>
                  <a:cubicBezTo>
                    <a:pt x="288285" y="0"/>
                    <a:pt x="293724" y="2720"/>
                    <a:pt x="304603" y="5439"/>
                  </a:cubicBezTo>
                  <a:cubicBezTo>
                    <a:pt x="315482" y="10879"/>
                    <a:pt x="315482" y="16318"/>
                    <a:pt x="320921" y="24477"/>
                  </a:cubicBezTo>
                  <a:cubicBezTo>
                    <a:pt x="326360" y="29916"/>
                    <a:pt x="331800" y="35356"/>
                    <a:pt x="334519" y="43515"/>
                  </a:cubicBezTo>
                  <a:cubicBezTo>
                    <a:pt x="337239" y="51674"/>
                    <a:pt x="337239" y="57113"/>
                    <a:pt x="339959" y="65272"/>
                  </a:cubicBezTo>
                  <a:cubicBezTo>
                    <a:pt x="345398" y="78870"/>
                    <a:pt x="342678" y="97908"/>
                    <a:pt x="348118" y="114226"/>
                  </a:cubicBezTo>
                  <a:cubicBezTo>
                    <a:pt x="350837" y="130544"/>
                    <a:pt x="358996" y="146863"/>
                    <a:pt x="361716" y="163180"/>
                  </a:cubicBezTo>
                  <a:cubicBezTo>
                    <a:pt x="364435" y="182218"/>
                    <a:pt x="364435" y="201256"/>
                    <a:pt x="369875" y="220293"/>
                  </a:cubicBezTo>
                  <a:cubicBezTo>
                    <a:pt x="375314" y="239331"/>
                    <a:pt x="378034" y="255649"/>
                    <a:pt x="378034" y="274686"/>
                  </a:cubicBezTo>
                  <a:cubicBezTo>
                    <a:pt x="378034" y="282845"/>
                    <a:pt x="380753" y="293724"/>
                    <a:pt x="383473" y="301883"/>
                  </a:cubicBezTo>
                  <a:cubicBezTo>
                    <a:pt x="386193" y="312762"/>
                    <a:pt x="388912" y="326360"/>
                    <a:pt x="391632" y="337238"/>
                  </a:cubicBezTo>
                  <a:cubicBezTo>
                    <a:pt x="391632" y="342678"/>
                    <a:pt x="394352" y="353556"/>
                    <a:pt x="397071" y="364435"/>
                  </a:cubicBezTo>
                  <a:cubicBezTo>
                    <a:pt x="399791" y="372594"/>
                    <a:pt x="402511" y="380753"/>
                    <a:pt x="405230" y="383473"/>
                  </a:cubicBezTo>
                  <a:cubicBezTo>
                    <a:pt x="407950" y="386192"/>
                    <a:pt x="413389" y="386192"/>
                    <a:pt x="416109" y="386192"/>
                  </a:cubicBezTo>
                  <a:cubicBezTo>
                    <a:pt x="418829" y="386192"/>
                    <a:pt x="424268" y="386192"/>
                    <a:pt x="426988" y="386192"/>
                  </a:cubicBezTo>
                  <a:cubicBezTo>
                    <a:pt x="437866" y="386192"/>
                    <a:pt x="448745" y="388912"/>
                    <a:pt x="454184" y="397071"/>
                  </a:cubicBezTo>
                  <a:cubicBezTo>
                    <a:pt x="456904" y="399790"/>
                    <a:pt x="456904" y="402510"/>
                    <a:pt x="456904" y="405230"/>
                  </a:cubicBezTo>
                  <a:cubicBezTo>
                    <a:pt x="456904" y="407949"/>
                    <a:pt x="454184" y="410669"/>
                    <a:pt x="451465" y="416108"/>
                  </a:cubicBezTo>
                  <a:cubicBezTo>
                    <a:pt x="446025" y="421548"/>
                    <a:pt x="440586" y="426987"/>
                    <a:pt x="432427" y="429707"/>
                  </a:cubicBezTo>
                  <a:cubicBezTo>
                    <a:pt x="429707" y="429707"/>
                    <a:pt x="426988" y="432426"/>
                    <a:pt x="421548" y="432426"/>
                  </a:cubicBezTo>
                  <a:cubicBezTo>
                    <a:pt x="418829" y="432426"/>
                    <a:pt x="416109" y="432426"/>
                    <a:pt x="413389" y="435146"/>
                  </a:cubicBezTo>
                  <a:cubicBezTo>
                    <a:pt x="413389" y="435146"/>
                    <a:pt x="413389" y="437866"/>
                    <a:pt x="413389" y="440585"/>
                  </a:cubicBezTo>
                  <a:cubicBezTo>
                    <a:pt x="413389" y="443305"/>
                    <a:pt x="413389" y="448744"/>
                    <a:pt x="416109" y="451464"/>
                  </a:cubicBezTo>
                  <a:cubicBezTo>
                    <a:pt x="416109" y="456903"/>
                    <a:pt x="418829" y="462343"/>
                    <a:pt x="418829" y="465062"/>
                  </a:cubicBezTo>
                  <a:lnTo>
                    <a:pt x="418829" y="475941"/>
                  </a:lnTo>
                  <a:cubicBezTo>
                    <a:pt x="418829" y="481380"/>
                    <a:pt x="418829" y="484100"/>
                    <a:pt x="418829" y="486820"/>
                  </a:cubicBezTo>
                  <a:cubicBezTo>
                    <a:pt x="421548" y="497698"/>
                    <a:pt x="424268" y="505857"/>
                    <a:pt x="426988" y="516736"/>
                  </a:cubicBezTo>
                  <a:cubicBezTo>
                    <a:pt x="426988" y="524895"/>
                    <a:pt x="429707" y="535773"/>
                    <a:pt x="432427" y="543932"/>
                  </a:cubicBezTo>
                  <a:cubicBezTo>
                    <a:pt x="435147" y="554811"/>
                    <a:pt x="437866" y="562970"/>
                    <a:pt x="437866" y="573848"/>
                  </a:cubicBezTo>
                  <a:cubicBezTo>
                    <a:pt x="437866" y="587447"/>
                    <a:pt x="440586" y="595606"/>
                    <a:pt x="443306" y="606484"/>
                  </a:cubicBezTo>
                  <a:cubicBezTo>
                    <a:pt x="443306" y="609204"/>
                    <a:pt x="446025" y="614643"/>
                    <a:pt x="446025" y="617363"/>
                  </a:cubicBezTo>
                  <a:cubicBezTo>
                    <a:pt x="454184" y="617363"/>
                    <a:pt x="462343" y="617363"/>
                    <a:pt x="470502" y="617363"/>
                  </a:cubicBezTo>
                  <a:cubicBezTo>
                    <a:pt x="478661" y="625522"/>
                    <a:pt x="492259" y="630961"/>
                    <a:pt x="494979" y="641840"/>
                  </a:cubicBezTo>
                  <a:cubicBezTo>
                    <a:pt x="494979" y="647279"/>
                    <a:pt x="489540" y="649999"/>
                    <a:pt x="486820" y="655438"/>
                  </a:cubicBezTo>
                  <a:cubicBezTo>
                    <a:pt x="484100" y="660877"/>
                    <a:pt x="475942" y="663597"/>
                    <a:pt x="470502" y="663597"/>
                  </a:cubicBezTo>
                  <a:cubicBezTo>
                    <a:pt x="459623" y="666317"/>
                    <a:pt x="454184" y="666317"/>
                    <a:pt x="446025" y="666317"/>
                  </a:cubicBezTo>
                  <a:cubicBezTo>
                    <a:pt x="440586" y="666317"/>
                    <a:pt x="432427" y="666317"/>
                    <a:pt x="424268" y="666317"/>
                  </a:cubicBezTo>
                  <a:cubicBezTo>
                    <a:pt x="421548" y="666317"/>
                    <a:pt x="418829" y="666317"/>
                    <a:pt x="416109" y="666317"/>
                  </a:cubicBezTo>
                  <a:cubicBezTo>
                    <a:pt x="410670" y="669036"/>
                    <a:pt x="407950" y="669036"/>
                    <a:pt x="402511" y="671756"/>
                  </a:cubicBezTo>
                  <a:cubicBezTo>
                    <a:pt x="397071" y="671756"/>
                    <a:pt x="391632" y="674476"/>
                    <a:pt x="386193" y="674476"/>
                  </a:cubicBezTo>
                  <a:cubicBezTo>
                    <a:pt x="375314" y="674476"/>
                    <a:pt x="361716" y="671756"/>
                    <a:pt x="350837" y="669036"/>
                  </a:cubicBezTo>
                  <a:cubicBezTo>
                    <a:pt x="342678" y="669036"/>
                    <a:pt x="334519" y="669036"/>
                    <a:pt x="329080" y="669036"/>
                  </a:cubicBezTo>
                  <a:cubicBezTo>
                    <a:pt x="307323" y="669036"/>
                    <a:pt x="288285" y="669036"/>
                    <a:pt x="280126" y="669036"/>
                  </a:cubicBezTo>
                  <a:cubicBezTo>
                    <a:pt x="271967" y="669036"/>
                    <a:pt x="261088" y="669036"/>
                    <a:pt x="255649" y="663597"/>
                  </a:cubicBezTo>
                  <a:cubicBezTo>
                    <a:pt x="250210" y="660877"/>
                    <a:pt x="239331" y="655438"/>
                    <a:pt x="239331" y="647279"/>
                  </a:cubicBezTo>
                  <a:cubicBezTo>
                    <a:pt x="239331" y="636401"/>
                    <a:pt x="255649" y="633681"/>
                    <a:pt x="263808" y="630961"/>
                  </a:cubicBezTo>
                  <a:cubicBezTo>
                    <a:pt x="269247" y="630961"/>
                    <a:pt x="277406" y="630961"/>
                    <a:pt x="291005" y="628241"/>
                  </a:cubicBezTo>
                  <a:cubicBezTo>
                    <a:pt x="291005" y="620082"/>
                    <a:pt x="291005" y="614643"/>
                    <a:pt x="288285" y="609204"/>
                  </a:cubicBezTo>
                  <a:cubicBezTo>
                    <a:pt x="288285" y="601045"/>
                    <a:pt x="285565" y="590166"/>
                    <a:pt x="285565" y="582007"/>
                  </a:cubicBezTo>
                  <a:cubicBezTo>
                    <a:pt x="285565" y="576568"/>
                    <a:pt x="282846" y="573848"/>
                    <a:pt x="282846" y="568409"/>
                  </a:cubicBezTo>
                  <a:cubicBezTo>
                    <a:pt x="282846" y="562970"/>
                    <a:pt x="285565" y="557531"/>
                    <a:pt x="285565" y="554811"/>
                  </a:cubicBezTo>
                  <a:cubicBezTo>
                    <a:pt x="285565" y="549371"/>
                    <a:pt x="282846" y="546652"/>
                    <a:pt x="280126" y="538493"/>
                  </a:cubicBezTo>
                  <a:cubicBezTo>
                    <a:pt x="280126" y="527614"/>
                    <a:pt x="274687" y="516736"/>
                    <a:pt x="274687" y="505857"/>
                  </a:cubicBezTo>
                  <a:cubicBezTo>
                    <a:pt x="274687" y="494978"/>
                    <a:pt x="274687" y="486820"/>
                    <a:pt x="271967" y="478660"/>
                  </a:cubicBezTo>
                  <a:cubicBezTo>
                    <a:pt x="269247" y="467782"/>
                    <a:pt x="269247" y="456903"/>
                    <a:pt x="269247" y="446025"/>
                  </a:cubicBezTo>
                  <a:cubicBezTo>
                    <a:pt x="269247" y="440585"/>
                    <a:pt x="266528" y="437866"/>
                    <a:pt x="263808" y="437866"/>
                  </a:cubicBezTo>
                  <a:cubicBezTo>
                    <a:pt x="261088" y="437866"/>
                    <a:pt x="258369" y="437866"/>
                    <a:pt x="252929" y="437866"/>
                  </a:cubicBezTo>
                  <a:cubicBezTo>
                    <a:pt x="242051" y="437866"/>
                    <a:pt x="231172" y="437866"/>
                    <a:pt x="223013" y="440585"/>
                  </a:cubicBezTo>
                  <a:cubicBezTo>
                    <a:pt x="212135" y="440585"/>
                    <a:pt x="203976" y="443305"/>
                    <a:pt x="193097" y="443305"/>
                  </a:cubicBezTo>
                  <a:cubicBezTo>
                    <a:pt x="184938" y="443305"/>
                    <a:pt x="176779" y="443305"/>
                    <a:pt x="168620" y="443305"/>
                  </a:cubicBezTo>
                  <a:cubicBezTo>
                    <a:pt x="165900" y="443305"/>
                    <a:pt x="155021" y="440585"/>
                    <a:pt x="146862" y="440585"/>
                  </a:cubicBezTo>
                  <a:cubicBezTo>
                    <a:pt x="138703" y="440585"/>
                    <a:pt x="138703" y="448744"/>
                    <a:pt x="138703" y="454184"/>
                  </a:cubicBezTo>
                  <a:cubicBezTo>
                    <a:pt x="138703" y="465062"/>
                    <a:pt x="135983" y="475941"/>
                    <a:pt x="133263" y="486820"/>
                  </a:cubicBezTo>
                  <a:cubicBezTo>
                    <a:pt x="130544" y="505857"/>
                    <a:pt x="125105" y="522175"/>
                    <a:pt x="122385" y="541213"/>
                  </a:cubicBezTo>
                  <a:cubicBezTo>
                    <a:pt x="119665" y="560250"/>
                    <a:pt x="111506" y="595606"/>
                    <a:pt x="106067" y="614643"/>
                  </a:cubicBezTo>
                  <a:cubicBezTo>
                    <a:pt x="114226" y="614643"/>
                    <a:pt x="125105" y="614643"/>
                    <a:pt x="135983" y="614643"/>
                  </a:cubicBezTo>
                  <a:cubicBezTo>
                    <a:pt x="149581" y="614643"/>
                    <a:pt x="171340" y="614643"/>
                    <a:pt x="171340" y="630961"/>
                  </a:cubicBezTo>
                  <a:cubicBezTo>
                    <a:pt x="171340" y="639120"/>
                    <a:pt x="168620" y="639120"/>
                    <a:pt x="165900" y="647279"/>
                  </a:cubicBezTo>
                  <a:cubicBezTo>
                    <a:pt x="163181" y="652718"/>
                    <a:pt x="155021" y="655438"/>
                    <a:pt x="149581" y="655438"/>
                  </a:cubicBezTo>
                  <a:cubicBezTo>
                    <a:pt x="141423" y="658158"/>
                    <a:pt x="135983" y="658158"/>
                    <a:pt x="127824" y="658158"/>
                  </a:cubicBezTo>
                  <a:cubicBezTo>
                    <a:pt x="122385" y="658158"/>
                    <a:pt x="116946" y="658158"/>
                    <a:pt x="106067" y="658158"/>
                  </a:cubicBezTo>
                  <a:cubicBezTo>
                    <a:pt x="92469" y="658158"/>
                    <a:pt x="78870" y="658158"/>
                    <a:pt x="62552" y="658158"/>
                  </a:cubicBezTo>
                  <a:cubicBezTo>
                    <a:pt x="54393" y="658158"/>
                    <a:pt x="46234" y="658158"/>
                    <a:pt x="40795" y="658158"/>
                  </a:cubicBezTo>
                  <a:cubicBezTo>
                    <a:pt x="32636" y="658158"/>
                    <a:pt x="21758" y="658158"/>
                    <a:pt x="16318" y="652718"/>
                  </a:cubicBezTo>
                  <a:cubicBezTo>
                    <a:pt x="8159" y="649999"/>
                    <a:pt x="0" y="641840"/>
                    <a:pt x="0" y="636401"/>
                  </a:cubicBezTo>
                  <a:cubicBezTo>
                    <a:pt x="0" y="633681"/>
                    <a:pt x="0" y="630961"/>
                    <a:pt x="2720" y="628241"/>
                  </a:cubicBezTo>
                  <a:cubicBezTo>
                    <a:pt x="8159" y="625522"/>
                    <a:pt x="16318" y="622802"/>
                    <a:pt x="24477" y="620082"/>
                  </a:cubicBezTo>
                  <a:cubicBezTo>
                    <a:pt x="38075" y="617363"/>
                    <a:pt x="48954" y="617363"/>
                    <a:pt x="62552" y="617363"/>
                  </a:cubicBezTo>
                  <a:cubicBezTo>
                    <a:pt x="62552" y="617363"/>
                    <a:pt x="62552" y="614643"/>
                    <a:pt x="62552" y="614643"/>
                  </a:cubicBezTo>
                  <a:cubicBezTo>
                    <a:pt x="62552" y="603765"/>
                    <a:pt x="65272" y="590166"/>
                    <a:pt x="65272" y="587447"/>
                  </a:cubicBezTo>
                  <a:cubicBezTo>
                    <a:pt x="67992" y="565689"/>
                    <a:pt x="73431" y="543932"/>
                    <a:pt x="76151" y="522175"/>
                  </a:cubicBezTo>
                  <a:cubicBezTo>
                    <a:pt x="78870" y="505857"/>
                    <a:pt x="81590" y="486820"/>
                    <a:pt x="87029" y="470501"/>
                  </a:cubicBezTo>
                  <a:cubicBezTo>
                    <a:pt x="87029" y="465062"/>
                    <a:pt x="92469" y="451464"/>
                    <a:pt x="92469" y="446025"/>
                  </a:cubicBezTo>
                  <a:cubicBezTo>
                    <a:pt x="92469" y="437866"/>
                    <a:pt x="73431" y="437866"/>
                    <a:pt x="65272" y="432426"/>
                  </a:cubicBezTo>
                  <a:cubicBezTo>
                    <a:pt x="59833" y="429707"/>
                    <a:pt x="54393" y="426987"/>
                    <a:pt x="54393" y="421548"/>
                  </a:cubicBezTo>
                  <a:cubicBezTo>
                    <a:pt x="54393" y="413389"/>
                    <a:pt x="62552" y="410669"/>
                    <a:pt x="73431" y="407949"/>
                  </a:cubicBezTo>
                  <a:cubicBezTo>
                    <a:pt x="78870" y="407949"/>
                    <a:pt x="92469" y="405230"/>
                    <a:pt x="100628" y="399790"/>
                  </a:cubicBezTo>
                  <a:cubicBezTo>
                    <a:pt x="106067" y="394351"/>
                    <a:pt x="106067" y="378033"/>
                    <a:pt x="108787" y="369874"/>
                  </a:cubicBezTo>
                  <a:cubicBezTo>
                    <a:pt x="114226" y="348117"/>
                    <a:pt x="119665" y="326360"/>
                    <a:pt x="125105" y="307322"/>
                  </a:cubicBezTo>
                  <a:cubicBezTo>
                    <a:pt x="130544" y="285565"/>
                    <a:pt x="135983" y="263808"/>
                    <a:pt x="141423" y="242051"/>
                  </a:cubicBezTo>
                  <a:cubicBezTo>
                    <a:pt x="146862" y="220293"/>
                    <a:pt x="152301" y="198536"/>
                    <a:pt x="155021" y="179498"/>
                  </a:cubicBezTo>
                  <a:cubicBezTo>
                    <a:pt x="157740" y="160461"/>
                    <a:pt x="163181" y="138703"/>
                    <a:pt x="168620" y="119665"/>
                  </a:cubicBezTo>
                  <a:cubicBezTo>
                    <a:pt x="176779" y="100627"/>
                    <a:pt x="182218" y="76150"/>
                    <a:pt x="193097" y="57113"/>
                  </a:cubicBezTo>
                  <a:lnTo>
                    <a:pt x="201256" y="38075"/>
                  </a:lnTo>
                  <a:cubicBezTo>
                    <a:pt x="206695" y="29916"/>
                    <a:pt x="209415" y="19038"/>
                    <a:pt x="217574" y="13598"/>
                  </a:cubicBezTo>
                  <a:cubicBezTo>
                    <a:pt x="231172" y="2720"/>
                    <a:pt x="255649" y="0"/>
                    <a:pt x="274687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39" name="Freeform: Shape 38">
              <a:extLst>
                <a:ext uri="{FF2B5EF4-FFF2-40B4-BE49-F238E27FC236}">
                  <a16:creationId xmlns:a16="http://schemas.microsoft.com/office/drawing/2014/main" id="{A990F68E-345F-4F2A-88A6-34880AC52359}"/>
                </a:ext>
              </a:extLst>
            </p:cNvPr>
            <p:cNvSpPr/>
            <p:nvPr/>
          </p:nvSpPr>
          <p:spPr>
            <a:xfrm>
              <a:off x="3443268" y="4186718"/>
              <a:ext cx="435145" cy="761503"/>
            </a:xfrm>
            <a:custGeom>
              <a:avLst/>
              <a:gdLst>
                <a:gd name="connsiteX0" fmla="*/ 400855 w 435145"/>
                <a:gd name="connsiteY0" fmla="*/ 678260 h 761503"/>
                <a:gd name="connsiteX1" fmla="*/ 384537 w 435145"/>
                <a:gd name="connsiteY1" fmla="*/ 719054 h 761503"/>
                <a:gd name="connsiteX2" fmla="*/ 368219 w 435145"/>
                <a:gd name="connsiteY2" fmla="*/ 713615 h 761503"/>
                <a:gd name="connsiteX3" fmla="*/ 360060 w 435145"/>
                <a:gd name="connsiteY3" fmla="*/ 697297 h 761503"/>
                <a:gd name="connsiteX4" fmla="*/ 360060 w 435145"/>
                <a:gd name="connsiteY4" fmla="*/ 651063 h 761503"/>
                <a:gd name="connsiteX5" fmla="*/ 332864 w 435145"/>
                <a:gd name="connsiteY5" fmla="*/ 686418 h 761503"/>
                <a:gd name="connsiteX6" fmla="*/ 251274 w 435145"/>
                <a:gd name="connsiteY6" fmla="*/ 721774 h 761503"/>
                <a:gd name="connsiteX7" fmla="*/ 229517 w 435145"/>
                <a:gd name="connsiteY7" fmla="*/ 719054 h 761503"/>
                <a:gd name="connsiteX8" fmla="*/ 158806 w 435145"/>
                <a:gd name="connsiteY8" fmla="*/ 694578 h 761503"/>
                <a:gd name="connsiteX9" fmla="*/ 112571 w 435145"/>
                <a:gd name="connsiteY9" fmla="*/ 659222 h 761503"/>
                <a:gd name="connsiteX10" fmla="*/ 79936 w 435145"/>
                <a:gd name="connsiteY10" fmla="*/ 607548 h 761503"/>
                <a:gd name="connsiteX11" fmla="*/ 63618 w 435145"/>
                <a:gd name="connsiteY11" fmla="*/ 542277 h 761503"/>
                <a:gd name="connsiteX12" fmla="*/ 58178 w 435145"/>
                <a:gd name="connsiteY12" fmla="*/ 471566 h 761503"/>
                <a:gd name="connsiteX13" fmla="*/ 60898 w 435145"/>
                <a:gd name="connsiteY13" fmla="*/ 400855 h 761503"/>
                <a:gd name="connsiteX14" fmla="*/ 66337 w 435145"/>
                <a:gd name="connsiteY14" fmla="*/ 335583 h 761503"/>
                <a:gd name="connsiteX15" fmla="*/ 85375 w 435145"/>
                <a:gd name="connsiteY15" fmla="*/ 267592 h 761503"/>
                <a:gd name="connsiteX16" fmla="*/ 109852 w 435145"/>
                <a:gd name="connsiteY16" fmla="*/ 199600 h 761503"/>
                <a:gd name="connsiteX17" fmla="*/ 145207 w 435145"/>
                <a:gd name="connsiteY17" fmla="*/ 145207 h 761503"/>
                <a:gd name="connsiteX18" fmla="*/ 188722 w 435145"/>
                <a:gd name="connsiteY18" fmla="*/ 96253 h 761503"/>
                <a:gd name="connsiteX19" fmla="*/ 243115 w 435145"/>
                <a:gd name="connsiteY19" fmla="*/ 71776 h 761503"/>
                <a:gd name="connsiteX20" fmla="*/ 286630 w 435145"/>
                <a:gd name="connsiteY20" fmla="*/ 63617 h 761503"/>
                <a:gd name="connsiteX21" fmla="*/ 305667 w 435145"/>
                <a:gd name="connsiteY21" fmla="*/ 66337 h 761503"/>
                <a:gd name="connsiteX22" fmla="*/ 324705 w 435145"/>
                <a:gd name="connsiteY22" fmla="*/ 79936 h 761503"/>
                <a:gd name="connsiteX23" fmla="*/ 341023 w 435145"/>
                <a:gd name="connsiteY23" fmla="*/ 101693 h 761503"/>
                <a:gd name="connsiteX24" fmla="*/ 354621 w 435145"/>
                <a:gd name="connsiteY24" fmla="*/ 123450 h 761503"/>
                <a:gd name="connsiteX25" fmla="*/ 354621 w 435145"/>
                <a:gd name="connsiteY25" fmla="*/ 98973 h 761503"/>
                <a:gd name="connsiteX26" fmla="*/ 360060 w 435145"/>
                <a:gd name="connsiteY26" fmla="*/ 74496 h 761503"/>
                <a:gd name="connsiteX27" fmla="*/ 365500 w 435145"/>
                <a:gd name="connsiteY27" fmla="*/ 63617 h 761503"/>
                <a:gd name="connsiteX28" fmla="*/ 373659 w 435145"/>
                <a:gd name="connsiteY28" fmla="*/ 58178 h 761503"/>
                <a:gd name="connsiteX29" fmla="*/ 381818 w 435145"/>
                <a:gd name="connsiteY29" fmla="*/ 63617 h 761503"/>
                <a:gd name="connsiteX30" fmla="*/ 389977 w 435145"/>
                <a:gd name="connsiteY30" fmla="*/ 82655 h 761503"/>
                <a:gd name="connsiteX31" fmla="*/ 392696 w 435145"/>
                <a:gd name="connsiteY31" fmla="*/ 126170 h 761503"/>
                <a:gd name="connsiteX32" fmla="*/ 395416 w 435145"/>
                <a:gd name="connsiteY32" fmla="*/ 186002 h 761503"/>
                <a:gd name="connsiteX33" fmla="*/ 398136 w 435145"/>
                <a:gd name="connsiteY33" fmla="*/ 237675 h 761503"/>
                <a:gd name="connsiteX34" fmla="*/ 398136 w 435145"/>
                <a:gd name="connsiteY34" fmla="*/ 243115 h 761503"/>
                <a:gd name="connsiteX35" fmla="*/ 395416 w 435145"/>
                <a:gd name="connsiteY35" fmla="*/ 256713 h 761503"/>
                <a:gd name="connsiteX36" fmla="*/ 379098 w 435145"/>
                <a:gd name="connsiteY36" fmla="*/ 278470 h 761503"/>
                <a:gd name="connsiteX37" fmla="*/ 362780 w 435145"/>
                <a:gd name="connsiteY37" fmla="*/ 273031 h 761503"/>
                <a:gd name="connsiteX38" fmla="*/ 354621 w 435145"/>
                <a:gd name="connsiteY38" fmla="*/ 256713 h 761503"/>
                <a:gd name="connsiteX39" fmla="*/ 354621 w 435145"/>
                <a:gd name="connsiteY39" fmla="*/ 213198 h 761503"/>
                <a:gd name="connsiteX40" fmla="*/ 354621 w 435145"/>
                <a:gd name="connsiteY40" fmla="*/ 205040 h 761503"/>
                <a:gd name="connsiteX41" fmla="*/ 338303 w 435145"/>
                <a:gd name="connsiteY41" fmla="*/ 147927 h 761503"/>
                <a:gd name="connsiteX42" fmla="*/ 292069 w 435145"/>
                <a:gd name="connsiteY42" fmla="*/ 107132 h 761503"/>
                <a:gd name="connsiteX43" fmla="*/ 262153 w 435145"/>
                <a:gd name="connsiteY43" fmla="*/ 120730 h 761503"/>
                <a:gd name="connsiteX44" fmla="*/ 251274 w 435145"/>
                <a:gd name="connsiteY44" fmla="*/ 131609 h 761503"/>
                <a:gd name="connsiteX45" fmla="*/ 240395 w 435145"/>
                <a:gd name="connsiteY45" fmla="*/ 139768 h 761503"/>
                <a:gd name="connsiteX46" fmla="*/ 237676 w 435145"/>
                <a:gd name="connsiteY46" fmla="*/ 164245 h 761503"/>
                <a:gd name="connsiteX47" fmla="*/ 226797 w 435145"/>
                <a:gd name="connsiteY47" fmla="*/ 196881 h 761503"/>
                <a:gd name="connsiteX48" fmla="*/ 213199 w 435145"/>
                <a:gd name="connsiteY48" fmla="*/ 259433 h 761503"/>
                <a:gd name="connsiteX49" fmla="*/ 207759 w 435145"/>
                <a:gd name="connsiteY49" fmla="*/ 324704 h 761503"/>
                <a:gd name="connsiteX50" fmla="*/ 207759 w 435145"/>
                <a:gd name="connsiteY50" fmla="*/ 335583 h 761503"/>
                <a:gd name="connsiteX51" fmla="*/ 205040 w 435145"/>
                <a:gd name="connsiteY51" fmla="*/ 349181 h 761503"/>
                <a:gd name="connsiteX52" fmla="*/ 207759 w 435145"/>
                <a:gd name="connsiteY52" fmla="*/ 368219 h 761503"/>
                <a:gd name="connsiteX53" fmla="*/ 207759 w 435145"/>
                <a:gd name="connsiteY53" fmla="*/ 376378 h 761503"/>
                <a:gd name="connsiteX54" fmla="*/ 205040 w 435145"/>
                <a:gd name="connsiteY54" fmla="*/ 387256 h 761503"/>
                <a:gd name="connsiteX55" fmla="*/ 205040 w 435145"/>
                <a:gd name="connsiteY55" fmla="*/ 395415 h 761503"/>
                <a:gd name="connsiteX56" fmla="*/ 205040 w 435145"/>
                <a:gd name="connsiteY56" fmla="*/ 406294 h 761503"/>
                <a:gd name="connsiteX57" fmla="*/ 205040 w 435145"/>
                <a:gd name="connsiteY57" fmla="*/ 425332 h 761503"/>
                <a:gd name="connsiteX58" fmla="*/ 213199 w 435145"/>
                <a:gd name="connsiteY58" fmla="*/ 493323 h 761503"/>
                <a:gd name="connsiteX59" fmla="*/ 221358 w 435145"/>
                <a:gd name="connsiteY59" fmla="*/ 561314 h 761503"/>
                <a:gd name="connsiteX60" fmla="*/ 226797 w 435145"/>
                <a:gd name="connsiteY60" fmla="*/ 591231 h 761503"/>
                <a:gd name="connsiteX61" fmla="*/ 240395 w 435145"/>
                <a:gd name="connsiteY61" fmla="*/ 618427 h 761503"/>
                <a:gd name="connsiteX62" fmla="*/ 283910 w 435145"/>
                <a:gd name="connsiteY62" fmla="*/ 651063 h 761503"/>
                <a:gd name="connsiteX63" fmla="*/ 338303 w 435145"/>
                <a:gd name="connsiteY63" fmla="*/ 612988 h 761503"/>
                <a:gd name="connsiteX64" fmla="*/ 354621 w 435145"/>
                <a:gd name="connsiteY64" fmla="*/ 577632 h 761503"/>
                <a:gd name="connsiteX65" fmla="*/ 357341 w 435145"/>
                <a:gd name="connsiteY65" fmla="*/ 509641 h 761503"/>
                <a:gd name="connsiteX66" fmla="*/ 362780 w 435145"/>
                <a:gd name="connsiteY66" fmla="*/ 485164 h 761503"/>
                <a:gd name="connsiteX67" fmla="*/ 368219 w 435145"/>
                <a:gd name="connsiteY67" fmla="*/ 474286 h 761503"/>
                <a:gd name="connsiteX68" fmla="*/ 376378 w 435145"/>
                <a:gd name="connsiteY68" fmla="*/ 468846 h 761503"/>
                <a:gd name="connsiteX69" fmla="*/ 384537 w 435145"/>
                <a:gd name="connsiteY69" fmla="*/ 474286 h 761503"/>
                <a:gd name="connsiteX70" fmla="*/ 392696 w 435145"/>
                <a:gd name="connsiteY70" fmla="*/ 493323 h 761503"/>
                <a:gd name="connsiteX71" fmla="*/ 395416 w 435145"/>
                <a:gd name="connsiteY71" fmla="*/ 558595 h 761503"/>
                <a:gd name="connsiteX72" fmla="*/ 398136 w 435145"/>
                <a:gd name="connsiteY72" fmla="*/ 618427 h 761503"/>
                <a:gd name="connsiteX73" fmla="*/ 400855 w 435145"/>
                <a:gd name="connsiteY73" fmla="*/ 678260 h 761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</a:cxnLst>
              <a:rect l="l" t="t" r="r" b="b"/>
              <a:pathLst>
                <a:path w="435145" h="761503">
                  <a:moveTo>
                    <a:pt x="400855" y="678260"/>
                  </a:moveTo>
                  <a:cubicBezTo>
                    <a:pt x="400855" y="689138"/>
                    <a:pt x="400855" y="719054"/>
                    <a:pt x="384537" y="719054"/>
                  </a:cubicBezTo>
                  <a:cubicBezTo>
                    <a:pt x="376378" y="719054"/>
                    <a:pt x="373659" y="716335"/>
                    <a:pt x="368219" y="713615"/>
                  </a:cubicBezTo>
                  <a:cubicBezTo>
                    <a:pt x="362780" y="710895"/>
                    <a:pt x="360060" y="702736"/>
                    <a:pt x="360060" y="697297"/>
                  </a:cubicBezTo>
                  <a:cubicBezTo>
                    <a:pt x="357341" y="680979"/>
                    <a:pt x="357341" y="664661"/>
                    <a:pt x="360060" y="651063"/>
                  </a:cubicBezTo>
                  <a:cubicBezTo>
                    <a:pt x="354621" y="659222"/>
                    <a:pt x="341023" y="678260"/>
                    <a:pt x="332864" y="686418"/>
                  </a:cubicBezTo>
                  <a:cubicBezTo>
                    <a:pt x="311107" y="708176"/>
                    <a:pt x="283910" y="721774"/>
                    <a:pt x="251274" y="721774"/>
                  </a:cubicBezTo>
                  <a:cubicBezTo>
                    <a:pt x="243115" y="721774"/>
                    <a:pt x="237676" y="721774"/>
                    <a:pt x="229517" y="719054"/>
                  </a:cubicBezTo>
                  <a:cubicBezTo>
                    <a:pt x="207759" y="716335"/>
                    <a:pt x="183283" y="708176"/>
                    <a:pt x="158806" y="694578"/>
                  </a:cubicBezTo>
                  <a:cubicBezTo>
                    <a:pt x="142488" y="686418"/>
                    <a:pt x="126170" y="672820"/>
                    <a:pt x="112571" y="659222"/>
                  </a:cubicBezTo>
                  <a:cubicBezTo>
                    <a:pt x="98973" y="642904"/>
                    <a:pt x="88095" y="626586"/>
                    <a:pt x="79936" y="607548"/>
                  </a:cubicBezTo>
                  <a:cubicBezTo>
                    <a:pt x="71777" y="585791"/>
                    <a:pt x="66337" y="566754"/>
                    <a:pt x="63618" y="542277"/>
                  </a:cubicBezTo>
                  <a:cubicBezTo>
                    <a:pt x="60898" y="517800"/>
                    <a:pt x="58178" y="493323"/>
                    <a:pt x="58178" y="471566"/>
                  </a:cubicBezTo>
                  <a:cubicBezTo>
                    <a:pt x="58178" y="447089"/>
                    <a:pt x="58178" y="425332"/>
                    <a:pt x="60898" y="400855"/>
                  </a:cubicBezTo>
                  <a:cubicBezTo>
                    <a:pt x="63618" y="379098"/>
                    <a:pt x="60898" y="357340"/>
                    <a:pt x="66337" y="335583"/>
                  </a:cubicBezTo>
                  <a:cubicBezTo>
                    <a:pt x="69057" y="313826"/>
                    <a:pt x="77216" y="289349"/>
                    <a:pt x="85375" y="267592"/>
                  </a:cubicBezTo>
                  <a:cubicBezTo>
                    <a:pt x="93534" y="243115"/>
                    <a:pt x="98973" y="221357"/>
                    <a:pt x="109852" y="199600"/>
                  </a:cubicBezTo>
                  <a:cubicBezTo>
                    <a:pt x="118011" y="177843"/>
                    <a:pt x="131609" y="161525"/>
                    <a:pt x="145207" y="145207"/>
                  </a:cubicBezTo>
                  <a:cubicBezTo>
                    <a:pt x="158806" y="128889"/>
                    <a:pt x="172404" y="109852"/>
                    <a:pt x="188722" y="96253"/>
                  </a:cubicBezTo>
                  <a:cubicBezTo>
                    <a:pt x="205040" y="82655"/>
                    <a:pt x="224077" y="77216"/>
                    <a:pt x="243115" y="71776"/>
                  </a:cubicBezTo>
                  <a:cubicBezTo>
                    <a:pt x="256713" y="69057"/>
                    <a:pt x="273031" y="63617"/>
                    <a:pt x="286630" y="63617"/>
                  </a:cubicBezTo>
                  <a:cubicBezTo>
                    <a:pt x="292069" y="63617"/>
                    <a:pt x="297508" y="63617"/>
                    <a:pt x="305667" y="66337"/>
                  </a:cubicBezTo>
                  <a:cubicBezTo>
                    <a:pt x="313826" y="69057"/>
                    <a:pt x="319266" y="74496"/>
                    <a:pt x="324705" y="79936"/>
                  </a:cubicBezTo>
                  <a:cubicBezTo>
                    <a:pt x="332864" y="85375"/>
                    <a:pt x="332864" y="93534"/>
                    <a:pt x="341023" y="101693"/>
                  </a:cubicBezTo>
                  <a:cubicBezTo>
                    <a:pt x="346462" y="107132"/>
                    <a:pt x="349182" y="118011"/>
                    <a:pt x="354621" y="123450"/>
                  </a:cubicBezTo>
                  <a:cubicBezTo>
                    <a:pt x="354621" y="115291"/>
                    <a:pt x="354621" y="101693"/>
                    <a:pt x="354621" y="98973"/>
                  </a:cubicBezTo>
                  <a:cubicBezTo>
                    <a:pt x="354621" y="90814"/>
                    <a:pt x="354621" y="79936"/>
                    <a:pt x="360060" y="74496"/>
                  </a:cubicBezTo>
                  <a:cubicBezTo>
                    <a:pt x="362780" y="71776"/>
                    <a:pt x="362780" y="69057"/>
                    <a:pt x="365500" y="63617"/>
                  </a:cubicBezTo>
                  <a:cubicBezTo>
                    <a:pt x="368219" y="60898"/>
                    <a:pt x="370939" y="58178"/>
                    <a:pt x="373659" y="58178"/>
                  </a:cubicBezTo>
                  <a:cubicBezTo>
                    <a:pt x="376378" y="58178"/>
                    <a:pt x="379098" y="60898"/>
                    <a:pt x="381818" y="63617"/>
                  </a:cubicBezTo>
                  <a:cubicBezTo>
                    <a:pt x="384537" y="69057"/>
                    <a:pt x="387257" y="77216"/>
                    <a:pt x="389977" y="82655"/>
                  </a:cubicBezTo>
                  <a:cubicBezTo>
                    <a:pt x="389977" y="90814"/>
                    <a:pt x="392696" y="107132"/>
                    <a:pt x="392696" y="126170"/>
                  </a:cubicBezTo>
                  <a:cubicBezTo>
                    <a:pt x="392696" y="150647"/>
                    <a:pt x="392696" y="177843"/>
                    <a:pt x="395416" y="186002"/>
                  </a:cubicBezTo>
                  <a:cubicBezTo>
                    <a:pt x="398136" y="205040"/>
                    <a:pt x="398136" y="215918"/>
                    <a:pt x="398136" y="237675"/>
                  </a:cubicBezTo>
                  <a:cubicBezTo>
                    <a:pt x="398136" y="240395"/>
                    <a:pt x="398136" y="243115"/>
                    <a:pt x="398136" y="243115"/>
                  </a:cubicBezTo>
                  <a:cubicBezTo>
                    <a:pt x="398136" y="248554"/>
                    <a:pt x="398136" y="251274"/>
                    <a:pt x="395416" y="256713"/>
                  </a:cubicBezTo>
                  <a:cubicBezTo>
                    <a:pt x="392696" y="267592"/>
                    <a:pt x="389977" y="278470"/>
                    <a:pt x="379098" y="278470"/>
                  </a:cubicBezTo>
                  <a:cubicBezTo>
                    <a:pt x="370939" y="278470"/>
                    <a:pt x="368219" y="275751"/>
                    <a:pt x="362780" y="273031"/>
                  </a:cubicBezTo>
                  <a:cubicBezTo>
                    <a:pt x="357341" y="270311"/>
                    <a:pt x="354621" y="262152"/>
                    <a:pt x="354621" y="256713"/>
                  </a:cubicBezTo>
                  <a:cubicBezTo>
                    <a:pt x="349182" y="237675"/>
                    <a:pt x="354621" y="232236"/>
                    <a:pt x="354621" y="213198"/>
                  </a:cubicBezTo>
                  <a:cubicBezTo>
                    <a:pt x="354621" y="210479"/>
                    <a:pt x="354621" y="207759"/>
                    <a:pt x="354621" y="205040"/>
                  </a:cubicBezTo>
                  <a:cubicBezTo>
                    <a:pt x="349182" y="186002"/>
                    <a:pt x="343742" y="169684"/>
                    <a:pt x="338303" y="147927"/>
                  </a:cubicBezTo>
                  <a:cubicBezTo>
                    <a:pt x="332864" y="131609"/>
                    <a:pt x="311107" y="107132"/>
                    <a:pt x="292069" y="107132"/>
                  </a:cubicBezTo>
                  <a:cubicBezTo>
                    <a:pt x="281190" y="107132"/>
                    <a:pt x="270312" y="115291"/>
                    <a:pt x="262153" y="120730"/>
                  </a:cubicBezTo>
                  <a:cubicBezTo>
                    <a:pt x="259433" y="123450"/>
                    <a:pt x="256713" y="126170"/>
                    <a:pt x="251274" y="131609"/>
                  </a:cubicBezTo>
                  <a:cubicBezTo>
                    <a:pt x="248554" y="134329"/>
                    <a:pt x="243115" y="137048"/>
                    <a:pt x="240395" y="139768"/>
                  </a:cubicBezTo>
                  <a:cubicBezTo>
                    <a:pt x="237676" y="145207"/>
                    <a:pt x="240395" y="156086"/>
                    <a:pt x="237676" y="164245"/>
                  </a:cubicBezTo>
                  <a:cubicBezTo>
                    <a:pt x="232236" y="175123"/>
                    <a:pt x="229517" y="186002"/>
                    <a:pt x="226797" y="196881"/>
                  </a:cubicBezTo>
                  <a:cubicBezTo>
                    <a:pt x="221358" y="218638"/>
                    <a:pt x="218638" y="237675"/>
                    <a:pt x="213199" y="259433"/>
                  </a:cubicBezTo>
                  <a:cubicBezTo>
                    <a:pt x="210479" y="281190"/>
                    <a:pt x="207759" y="302947"/>
                    <a:pt x="207759" y="324704"/>
                  </a:cubicBezTo>
                  <a:cubicBezTo>
                    <a:pt x="207759" y="327424"/>
                    <a:pt x="207759" y="332863"/>
                    <a:pt x="207759" y="335583"/>
                  </a:cubicBezTo>
                  <a:cubicBezTo>
                    <a:pt x="207759" y="341022"/>
                    <a:pt x="205040" y="343742"/>
                    <a:pt x="205040" y="349181"/>
                  </a:cubicBezTo>
                  <a:cubicBezTo>
                    <a:pt x="205040" y="354621"/>
                    <a:pt x="207759" y="362779"/>
                    <a:pt x="207759" y="368219"/>
                  </a:cubicBezTo>
                  <a:cubicBezTo>
                    <a:pt x="207759" y="370939"/>
                    <a:pt x="207759" y="373658"/>
                    <a:pt x="207759" y="376378"/>
                  </a:cubicBezTo>
                  <a:cubicBezTo>
                    <a:pt x="205040" y="381817"/>
                    <a:pt x="205040" y="384537"/>
                    <a:pt x="205040" y="387256"/>
                  </a:cubicBezTo>
                  <a:cubicBezTo>
                    <a:pt x="205040" y="389976"/>
                    <a:pt x="205040" y="392696"/>
                    <a:pt x="205040" y="395415"/>
                  </a:cubicBezTo>
                  <a:cubicBezTo>
                    <a:pt x="205040" y="398135"/>
                    <a:pt x="205040" y="403574"/>
                    <a:pt x="205040" y="406294"/>
                  </a:cubicBezTo>
                  <a:cubicBezTo>
                    <a:pt x="205040" y="411733"/>
                    <a:pt x="205040" y="417173"/>
                    <a:pt x="205040" y="425332"/>
                  </a:cubicBezTo>
                  <a:cubicBezTo>
                    <a:pt x="205040" y="449809"/>
                    <a:pt x="213199" y="471566"/>
                    <a:pt x="213199" y="493323"/>
                  </a:cubicBezTo>
                  <a:cubicBezTo>
                    <a:pt x="213199" y="517800"/>
                    <a:pt x="215919" y="539557"/>
                    <a:pt x="221358" y="561314"/>
                  </a:cubicBezTo>
                  <a:cubicBezTo>
                    <a:pt x="224077" y="572193"/>
                    <a:pt x="224077" y="580352"/>
                    <a:pt x="226797" y="591231"/>
                  </a:cubicBezTo>
                  <a:cubicBezTo>
                    <a:pt x="229517" y="599390"/>
                    <a:pt x="237676" y="607548"/>
                    <a:pt x="240395" y="618427"/>
                  </a:cubicBezTo>
                  <a:cubicBezTo>
                    <a:pt x="248554" y="637465"/>
                    <a:pt x="262153" y="651063"/>
                    <a:pt x="283910" y="651063"/>
                  </a:cubicBezTo>
                  <a:cubicBezTo>
                    <a:pt x="302948" y="651063"/>
                    <a:pt x="330144" y="629306"/>
                    <a:pt x="338303" y="612988"/>
                  </a:cubicBezTo>
                  <a:cubicBezTo>
                    <a:pt x="346462" y="599390"/>
                    <a:pt x="351901" y="591231"/>
                    <a:pt x="354621" y="577632"/>
                  </a:cubicBezTo>
                  <a:cubicBezTo>
                    <a:pt x="354621" y="550436"/>
                    <a:pt x="354621" y="517800"/>
                    <a:pt x="357341" y="509641"/>
                  </a:cubicBezTo>
                  <a:cubicBezTo>
                    <a:pt x="357341" y="501482"/>
                    <a:pt x="357341" y="490603"/>
                    <a:pt x="362780" y="485164"/>
                  </a:cubicBezTo>
                  <a:cubicBezTo>
                    <a:pt x="365500" y="482444"/>
                    <a:pt x="365500" y="479725"/>
                    <a:pt x="368219" y="474286"/>
                  </a:cubicBezTo>
                  <a:cubicBezTo>
                    <a:pt x="370939" y="471566"/>
                    <a:pt x="373659" y="468846"/>
                    <a:pt x="376378" y="468846"/>
                  </a:cubicBezTo>
                  <a:cubicBezTo>
                    <a:pt x="379098" y="468846"/>
                    <a:pt x="381818" y="471566"/>
                    <a:pt x="384537" y="474286"/>
                  </a:cubicBezTo>
                  <a:cubicBezTo>
                    <a:pt x="387257" y="479725"/>
                    <a:pt x="389977" y="487884"/>
                    <a:pt x="392696" y="493323"/>
                  </a:cubicBezTo>
                  <a:cubicBezTo>
                    <a:pt x="392696" y="501482"/>
                    <a:pt x="395416" y="539557"/>
                    <a:pt x="395416" y="558595"/>
                  </a:cubicBezTo>
                  <a:cubicBezTo>
                    <a:pt x="395416" y="583072"/>
                    <a:pt x="395416" y="610268"/>
                    <a:pt x="398136" y="618427"/>
                  </a:cubicBezTo>
                  <a:cubicBezTo>
                    <a:pt x="398136" y="648343"/>
                    <a:pt x="400855" y="659222"/>
                    <a:pt x="400855" y="678260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40" name="Freeform: Shape 39">
              <a:extLst>
                <a:ext uri="{FF2B5EF4-FFF2-40B4-BE49-F238E27FC236}">
                  <a16:creationId xmlns:a16="http://schemas.microsoft.com/office/drawing/2014/main" id="{59B53308-CE8E-45AD-BA18-F188CE4630E5}"/>
                </a:ext>
              </a:extLst>
            </p:cNvPr>
            <p:cNvSpPr/>
            <p:nvPr/>
          </p:nvSpPr>
          <p:spPr>
            <a:xfrm>
              <a:off x="3829459" y="4200317"/>
              <a:ext cx="598325" cy="761503"/>
            </a:xfrm>
            <a:custGeom>
              <a:avLst/>
              <a:gdLst>
                <a:gd name="connsiteX0" fmla="*/ 360060 w 598324"/>
                <a:gd name="connsiteY0" fmla="*/ 332863 h 761503"/>
                <a:gd name="connsiteX1" fmla="*/ 341023 w 598324"/>
                <a:gd name="connsiteY1" fmla="*/ 370939 h 761503"/>
                <a:gd name="connsiteX2" fmla="*/ 376378 w 598324"/>
                <a:gd name="connsiteY2" fmla="*/ 389976 h 761503"/>
                <a:gd name="connsiteX3" fmla="*/ 425332 w 598324"/>
                <a:gd name="connsiteY3" fmla="*/ 433491 h 761503"/>
                <a:gd name="connsiteX4" fmla="*/ 438930 w 598324"/>
                <a:gd name="connsiteY4" fmla="*/ 463407 h 761503"/>
                <a:gd name="connsiteX5" fmla="*/ 449809 w 598324"/>
                <a:gd name="connsiteY5" fmla="*/ 498762 h 761503"/>
                <a:gd name="connsiteX6" fmla="*/ 457968 w 598324"/>
                <a:gd name="connsiteY6" fmla="*/ 528679 h 761503"/>
                <a:gd name="connsiteX7" fmla="*/ 466127 w 598324"/>
                <a:gd name="connsiteY7" fmla="*/ 564034 h 761503"/>
                <a:gd name="connsiteX8" fmla="*/ 471566 w 598324"/>
                <a:gd name="connsiteY8" fmla="*/ 593950 h 761503"/>
                <a:gd name="connsiteX9" fmla="*/ 479725 w 598324"/>
                <a:gd name="connsiteY9" fmla="*/ 607548 h 761503"/>
                <a:gd name="connsiteX10" fmla="*/ 487884 w 598324"/>
                <a:gd name="connsiteY10" fmla="*/ 623867 h 761503"/>
                <a:gd name="connsiteX11" fmla="*/ 501482 w 598324"/>
                <a:gd name="connsiteY11" fmla="*/ 651063 h 761503"/>
                <a:gd name="connsiteX12" fmla="*/ 523240 w 598324"/>
                <a:gd name="connsiteY12" fmla="*/ 670101 h 761503"/>
                <a:gd name="connsiteX13" fmla="*/ 534119 w 598324"/>
                <a:gd name="connsiteY13" fmla="*/ 686418 h 761503"/>
                <a:gd name="connsiteX14" fmla="*/ 531399 w 598324"/>
                <a:gd name="connsiteY14" fmla="*/ 694578 h 761503"/>
                <a:gd name="connsiteX15" fmla="*/ 498763 w 598324"/>
                <a:gd name="connsiteY15" fmla="*/ 708176 h 761503"/>
                <a:gd name="connsiteX16" fmla="*/ 449809 w 598324"/>
                <a:gd name="connsiteY16" fmla="*/ 700017 h 761503"/>
                <a:gd name="connsiteX17" fmla="*/ 400855 w 598324"/>
                <a:gd name="connsiteY17" fmla="*/ 667381 h 761503"/>
                <a:gd name="connsiteX18" fmla="*/ 381817 w 598324"/>
                <a:gd name="connsiteY18" fmla="*/ 642904 h 761503"/>
                <a:gd name="connsiteX19" fmla="*/ 368219 w 598324"/>
                <a:gd name="connsiteY19" fmla="*/ 610268 h 761503"/>
                <a:gd name="connsiteX20" fmla="*/ 349182 w 598324"/>
                <a:gd name="connsiteY20" fmla="*/ 550436 h 761503"/>
                <a:gd name="connsiteX21" fmla="*/ 338303 w 598324"/>
                <a:gd name="connsiteY21" fmla="*/ 504202 h 761503"/>
                <a:gd name="connsiteX22" fmla="*/ 330144 w 598324"/>
                <a:gd name="connsiteY22" fmla="*/ 477005 h 761503"/>
                <a:gd name="connsiteX23" fmla="*/ 321985 w 598324"/>
                <a:gd name="connsiteY23" fmla="*/ 455248 h 761503"/>
                <a:gd name="connsiteX24" fmla="*/ 305667 w 598324"/>
                <a:gd name="connsiteY24" fmla="*/ 436210 h 761503"/>
                <a:gd name="connsiteX25" fmla="*/ 294788 w 598324"/>
                <a:gd name="connsiteY25" fmla="*/ 441650 h 761503"/>
                <a:gd name="connsiteX26" fmla="*/ 278471 w 598324"/>
                <a:gd name="connsiteY26" fmla="*/ 463407 h 761503"/>
                <a:gd name="connsiteX27" fmla="*/ 264872 w 598324"/>
                <a:gd name="connsiteY27" fmla="*/ 496043 h 761503"/>
                <a:gd name="connsiteX28" fmla="*/ 262153 w 598324"/>
                <a:gd name="connsiteY28" fmla="*/ 517800 h 761503"/>
                <a:gd name="connsiteX29" fmla="*/ 262153 w 598324"/>
                <a:gd name="connsiteY29" fmla="*/ 523239 h 761503"/>
                <a:gd name="connsiteX30" fmla="*/ 262153 w 598324"/>
                <a:gd name="connsiteY30" fmla="*/ 553155 h 761503"/>
                <a:gd name="connsiteX31" fmla="*/ 262153 w 598324"/>
                <a:gd name="connsiteY31" fmla="*/ 629306 h 761503"/>
                <a:gd name="connsiteX32" fmla="*/ 259433 w 598324"/>
                <a:gd name="connsiteY32" fmla="*/ 659222 h 761503"/>
                <a:gd name="connsiteX33" fmla="*/ 283910 w 598324"/>
                <a:gd name="connsiteY33" fmla="*/ 659222 h 761503"/>
                <a:gd name="connsiteX34" fmla="*/ 321985 w 598324"/>
                <a:gd name="connsiteY34" fmla="*/ 675540 h 761503"/>
                <a:gd name="connsiteX35" fmla="*/ 316546 w 598324"/>
                <a:gd name="connsiteY35" fmla="*/ 691858 h 761503"/>
                <a:gd name="connsiteX36" fmla="*/ 300228 w 598324"/>
                <a:gd name="connsiteY36" fmla="*/ 700017 h 761503"/>
                <a:gd name="connsiteX37" fmla="*/ 278471 w 598324"/>
                <a:gd name="connsiteY37" fmla="*/ 702736 h 761503"/>
                <a:gd name="connsiteX38" fmla="*/ 243115 w 598324"/>
                <a:gd name="connsiteY38" fmla="*/ 702736 h 761503"/>
                <a:gd name="connsiteX39" fmla="*/ 221358 w 598324"/>
                <a:gd name="connsiteY39" fmla="*/ 710895 h 761503"/>
                <a:gd name="connsiteX40" fmla="*/ 194161 w 598324"/>
                <a:gd name="connsiteY40" fmla="*/ 702736 h 761503"/>
                <a:gd name="connsiteX41" fmla="*/ 177843 w 598324"/>
                <a:gd name="connsiteY41" fmla="*/ 702736 h 761503"/>
                <a:gd name="connsiteX42" fmla="*/ 126170 w 598324"/>
                <a:gd name="connsiteY42" fmla="*/ 702736 h 761503"/>
                <a:gd name="connsiteX43" fmla="*/ 101693 w 598324"/>
                <a:gd name="connsiteY43" fmla="*/ 702736 h 761503"/>
                <a:gd name="connsiteX44" fmla="*/ 74496 w 598324"/>
                <a:gd name="connsiteY44" fmla="*/ 697297 h 761503"/>
                <a:gd name="connsiteX45" fmla="*/ 58178 w 598324"/>
                <a:gd name="connsiteY45" fmla="*/ 680979 h 761503"/>
                <a:gd name="connsiteX46" fmla="*/ 63617 w 598324"/>
                <a:gd name="connsiteY46" fmla="*/ 672820 h 761503"/>
                <a:gd name="connsiteX47" fmla="*/ 85375 w 598324"/>
                <a:gd name="connsiteY47" fmla="*/ 664661 h 761503"/>
                <a:gd name="connsiteX48" fmla="*/ 128889 w 598324"/>
                <a:gd name="connsiteY48" fmla="*/ 659222 h 761503"/>
                <a:gd name="connsiteX49" fmla="*/ 147927 w 598324"/>
                <a:gd name="connsiteY49" fmla="*/ 659222 h 761503"/>
                <a:gd name="connsiteX50" fmla="*/ 145207 w 598324"/>
                <a:gd name="connsiteY50" fmla="*/ 653783 h 761503"/>
                <a:gd name="connsiteX51" fmla="*/ 131609 w 598324"/>
                <a:gd name="connsiteY51" fmla="*/ 585791 h 761503"/>
                <a:gd name="connsiteX52" fmla="*/ 134329 w 598324"/>
                <a:gd name="connsiteY52" fmla="*/ 498762 h 761503"/>
                <a:gd name="connsiteX53" fmla="*/ 137048 w 598324"/>
                <a:gd name="connsiteY53" fmla="*/ 406294 h 761503"/>
                <a:gd name="connsiteX54" fmla="*/ 134329 w 598324"/>
                <a:gd name="connsiteY54" fmla="*/ 327424 h 761503"/>
                <a:gd name="connsiteX55" fmla="*/ 137048 w 598324"/>
                <a:gd name="connsiteY55" fmla="*/ 253993 h 761503"/>
                <a:gd name="connsiteX56" fmla="*/ 139768 w 598324"/>
                <a:gd name="connsiteY56" fmla="*/ 207759 h 761503"/>
                <a:gd name="connsiteX57" fmla="*/ 137048 w 598324"/>
                <a:gd name="connsiteY57" fmla="*/ 172404 h 761503"/>
                <a:gd name="connsiteX58" fmla="*/ 137048 w 598324"/>
                <a:gd name="connsiteY58" fmla="*/ 112571 h 761503"/>
                <a:gd name="connsiteX59" fmla="*/ 126170 w 598324"/>
                <a:gd name="connsiteY59" fmla="*/ 112571 h 761503"/>
                <a:gd name="connsiteX60" fmla="*/ 101693 w 598324"/>
                <a:gd name="connsiteY60" fmla="*/ 112571 h 761503"/>
                <a:gd name="connsiteX61" fmla="*/ 74496 w 598324"/>
                <a:gd name="connsiteY61" fmla="*/ 107132 h 761503"/>
                <a:gd name="connsiteX62" fmla="*/ 58178 w 598324"/>
                <a:gd name="connsiteY62" fmla="*/ 90814 h 761503"/>
                <a:gd name="connsiteX63" fmla="*/ 63617 w 598324"/>
                <a:gd name="connsiteY63" fmla="*/ 82655 h 761503"/>
                <a:gd name="connsiteX64" fmla="*/ 85375 w 598324"/>
                <a:gd name="connsiteY64" fmla="*/ 74496 h 761503"/>
                <a:gd name="connsiteX65" fmla="*/ 137048 w 598324"/>
                <a:gd name="connsiteY65" fmla="*/ 69057 h 761503"/>
                <a:gd name="connsiteX66" fmla="*/ 145207 w 598324"/>
                <a:gd name="connsiteY66" fmla="*/ 69057 h 761503"/>
                <a:gd name="connsiteX67" fmla="*/ 169684 w 598324"/>
                <a:gd name="connsiteY67" fmla="*/ 58178 h 761503"/>
                <a:gd name="connsiteX68" fmla="*/ 177843 w 598324"/>
                <a:gd name="connsiteY68" fmla="*/ 58178 h 761503"/>
                <a:gd name="connsiteX69" fmla="*/ 205040 w 598324"/>
                <a:gd name="connsiteY69" fmla="*/ 66337 h 761503"/>
                <a:gd name="connsiteX70" fmla="*/ 286629 w 598324"/>
                <a:gd name="connsiteY70" fmla="*/ 63617 h 761503"/>
                <a:gd name="connsiteX71" fmla="*/ 324705 w 598324"/>
                <a:gd name="connsiteY71" fmla="*/ 79936 h 761503"/>
                <a:gd name="connsiteX72" fmla="*/ 319265 w 598324"/>
                <a:gd name="connsiteY72" fmla="*/ 96253 h 761503"/>
                <a:gd name="connsiteX73" fmla="*/ 302948 w 598324"/>
                <a:gd name="connsiteY73" fmla="*/ 104412 h 761503"/>
                <a:gd name="connsiteX74" fmla="*/ 278471 w 598324"/>
                <a:gd name="connsiteY74" fmla="*/ 112571 h 761503"/>
                <a:gd name="connsiteX75" fmla="*/ 232236 w 598324"/>
                <a:gd name="connsiteY75" fmla="*/ 112571 h 761503"/>
                <a:gd name="connsiteX76" fmla="*/ 240395 w 598324"/>
                <a:gd name="connsiteY76" fmla="*/ 137048 h 761503"/>
                <a:gd name="connsiteX77" fmla="*/ 240395 w 598324"/>
                <a:gd name="connsiteY77" fmla="*/ 150647 h 761503"/>
                <a:gd name="connsiteX78" fmla="*/ 243115 w 598324"/>
                <a:gd name="connsiteY78" fmla="*/ 158805 h 761503"/>
                <a:gd name="connsiteX79" fmla="*/ 248554 w 598324"/>
                <a:gd name="connsiteY79" fmla="*/ 188722 h 761503"/>
                <a:gd name="connsiteX80" fmla="*/ 248554 w 598324"/>
                <a:gd name="connsiteY80" fmla="*/ 199600 h 761503"/>
                <a:gd name="connsiteX81" fmla="*/ 248554 w 598324"/>
                <a:gd name="connsiteY81" fmla="*/ 221357 h 761503"/>
                <a:gd name="connsiteX82" fmla="*/ 253994 w 598324"/>
                <a:gd name="connsiteY82" fmla="*/ 264872 h 761503"/>
                <a:gd name="connsiteX83" fmla="*/ 262153 w 598324"/>
                <a:gd name="connsiteY83" fmla="*/ 297508 h 761503"/>
                <a:gd name="connsiteX84" fmla="*/ 264872 w 598324"/>
                <a:gd name="connsiteY84" fmla="*/ 324704 h 761503"/>
                <a:gd name="connsiteX85" fmla="*/ 264872 w 598324"/>
                <a:gd name="connsiteY85" fmla="*/ 332863 h 761503"/>
                <a:gd name="connsiteX86" fmla="*/ 264872 w 598324"/>
                <a:gd name="connsiteY86" fmla="*/ 351901 h 761503"/>
                <a:gd name="connsiteX87" fmla="*/ 262153 w 598324"/>
                <a:gd name="connsiteY87" fmla="*/ 370939 h 761503"/>
                <a:gd name="connsiteX88" fmla="*/ 267592 w 598324"/>
                <a:gd name="connsiteY88" fmla="*/ 384537 h 761503"/>
                <a:gd name="connsiteX89" fmla="*/ 278471 w 598324"/>
                <a:gd name="connsiteY89" fmla="*/ 370939 h 761503"/>
                <a:gd name="connsiteX90" fmla="*/ 297508 w 598324"/>
                <a:gd name="connsiteY90" fmla="*/ 332863 h 761503"/>
                <a:gd name="connsiteX91" fmla="*/ 311106 w 598324"/>
                <a:gd name="connsiteY91" fmla="*/ 305667 h 761503"/>
                <a:gd name="connsiteX92" fmla="*/ 335583 w 598324"/>
                <a:gd name="connsiteY92" fmla="*/ 259433 h 761503"/>
                <a:gd name="connsiteX93" fmla="*/ 354621 w 598324"/>
                <a:gd name="connsiteY93" fmla="*/ 224077 h 761503"/>
                <a:gd name="connsiteX94" fmla="*/ 381817 w 598324"/>
                <a:gd name="connsiteY94" fmla="*/ 172404 h 761503"/>
                <a:gd name="connsiteX95" fmla="*/ 409014 w 598324"/>
                <a:gd name="connsiteY95" fmla="*/ 118011 h 761503"/>
                <a:gd name="connsiteX96" fmla="*/ 411734 w 598324"/>
                <a:gd name="connsiteY96" fmla="*/ 115291 h 761503"/>
                <a:gd name="connsiteX97" fmla="*/ 398136 w 598324"/>
                <a:gd name="connsiteY97" fmla="*/ 115291 h 761503"/>
                <a:gd name="connsiteX98" fmla="*/ 379098 w 598324"/>
                <a:gd name="connsiteY98" fmla="*/ 109852 h 761503"/>
                <a:gd name="connsiteX99" fmla="*/ 368219 w 598324"/>
                <a:gd name="connsiteY99" fmla="*/ 93534 h 761503"/>
                <a:gd name="connsiteX100" fmla="*/ 370939 w 598324"/>
                <a:gd name="connsiteY100" fmla="*/ 85375 h 761503"/>
                <a:gd name="connsiteX101" fmla="*/ 387257 w 598324"/>
                <a:gd name="connsiteY101" fmla="*/ 77216 h 761503"/>
                <a:gd name="connsiteX102" fmla="*/ 422612 w 598324"/>
                <a:gd name="connsiteY102" fmla="*/ 71776 h 761503"/>
                <a:gd name="connsiteX103" fmla="*/ 436211 w 598324"/>
                <a:gd name="connsiteY103" fmla="*/ 71776 h 761503"/>
                <a:gd name="connsiteX104" fmla="*/ 438930 w 598324"/>
                <a:gd name="connsiteY104" fmla="*/ 69057 h 761503"/>
                <a:gd name="connsiteX105" fmla="*/ 452529 w 598324"/>
                <a:gd name="connsiteY105" fmla="*/ 66337 h 761503"/>
                <a:gd name="connsiteX106" fmla="*/ 466127 w 598324"/>
                <a:gd name="connsiteY106" fmla="*/ 69057 h 761503"/>
                <a:gd name="connsiteX107" fmla="*/ 471566 w 598324"/>
                <a:gd name="connsiteY107" fmla="*/ 71776 h 761503"/>
                <a:gd name="connsiteX108" fmla="*/ 515081 w 598324"/>
                <a:gd name="connsiteY108" fmla="*/ 71776 h 761503"/>
                <a:gd name="connsiteX109" fmla="*/ 542277 w 598324"/>
                <a:gd name="connsiteY109" fmla="*/ 88094 h 761503"/>
                <a:gd name="connsiteX110" fmla="*/ 536838 w 598324"/>
                <a:gd name="connsiteY110" fmla="*/ 104412 h 761503"/>
                <a:gd name="connsiteX111" fmla="*/ 525959 w 598324"/>
                <a:gd name="connsiteY111" fmla="*/ 112571 h 761503"/>
                <a:gd name="connsiteX112" fmla="*/ 509642 w 598324"/>
                <a:gd name="connsiteY112" fmla="*/ 115291 h 761503"/>
                <a:gd name="connsiteX113" fmla="*/ 468847 w 598324"/>
                <a:gd name="connsiteY113" fmla="*/ 115291 h 761503"/>
                <a:gd name="connsiteX114" fmla="*/ 457968 w 598324"/>
                <a:gd name="connsiteY114" fmla="*/ 137048 h 761503"/>
                <a:gd name="connsiteX115" fmla="*/ 430771 w 598324"/>
                <a:gd name="connsiteY115" fmla="*/ 194161 h 761503"/>
                <a:gd name="connsiteX116" fmla="*/ 400855 w 598324"/>
                <a:gd name="connsiteY116" fmla="*/ 262152 h 761503"/>
                <a:gd name="connsiteX117" fmla="*/ 360060 w 598324"/>
                <a:gd name="connsiteY117" fmla="*/ 332863 h 761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</a:cxnLst>
              <a:rect l="l" t="t" r="r" b="b"/>
              <a:pathLst>
                <a:path w="598324" h="761503">
                  <a:moveTo>
                    <a:pt x="360060" y="332863"/>
                  </a:moveTo>
                  <a:cubicBezTo>
                    <a:pt x="351901" y="343742"/>
                    <a:pt x="341023" y="357340"/>
                    <a:pt x="341023" y="370939"/>
                  </a:cubicBezTo>
                  <a:cubicBezTo>
                    <a:pt x="341023" y="379098"/>
                    <a:pt x="357341" y="381817"/>
                    <a:pt x="376378" y="389976"/>
                  </a:cubicBezTo>
                  <a:cubicBezTo>
                    <a:pt x="395416" y="398135"/>
                    <a:pt x="417173" y="417173"/>
                    <a:pt x="425332" y="433491"/>
                  </a:cubicBezTo>
                  <a:cubicBezTo>
                    <a:pt x="430771" y="444369"/>
                    <a:pt x="436211" y="452528"/>
                    <a:pt x="438930" y="463407"/>
                  </a:cubicBezTo>
                  <a:cubicBezTo>
                    <a:pt x="444370" y="474286"/>
                    <a:pt x="447089" y="487884"/>
                    <a:pt x="449809" y="498762"/>
                  </a:cubicBezTo>
                  <a:cubicBezTo>
                    <a:pt x="452529" y="512361"/>
                    <a:pt x="452529" y="517800"/>
                    <a:pt x="457968" y="528679"/>
                  </a:cubicBezTo>
                  <a:cubicBezTo>
                    <a:pt x="463407" y="539557"/>
                    <a:pt x="463407" y="553155"/>
                    <a:pt x="466127" y="564034"/>
                  </a:cubicBezTo>
                  <a:cubicBezTo>
                    <a:pt x="468847" y="572193"/>
                    <a:pt x="468847" y="585791"/>
                    <a:pt x="471566" y="593950"/>
                  </a:cubicBezTo>
                  <a:cubicBezTo>
                    <a:pt x="474286" y="599390"/>
                    <a:pt x="477006" y="602109"/>
                    <a:pt x="479725" y="607548"/>
                  </a:cubicBezTo>
                  <a:cubicBezTo>
                    <a:pt x="482445" y="612988"/>
                    <a:pt x="487884" y="618427"/>
                    <a:pt x="487884" y="623867"/>
                  </a:cubicBezTo>
                  <a:cubicBezTo>
                    <a:pt x="490604" y="634745"/>
                    <a:pt x="496043" y="642904"/>
                    <a:pt x="501482" y="651063"/>
                  </a:cubicBezTo>
                  <a:cubicBezTo>
                    <a:pt x="506922" y="661942"/>
                    <a:pt x="512361" y="664661"/>
                    <a:pt x="523240" y="670101"/>
                  </a:cubicBezTo>
                  <a:cubicBezTo>
                    <a:pt x="528679" y="672820"/>
                    <a:pt x="534119" y="680979"/>
                    <a:pt x="534119" y="686418"/>
                  </a:cubicBezTo>
                  <a:cubicBezTo>
                    <a:pt x="534119" y="689138"/>
                    <a:pt x="534119" y="691858"/>
                    <a:pt x="531399" y="694578"/>
                  </a:cubicBezTo>
                  <a:cubicBezTo>
                    <a:pt x="525959" y="702736"/>
                    <a:pt x="512361" y="708176"/>
                    <a:pt x="498763" y="708176"/>
                  </a:cubicBezTo>
                  <a:cubicBezTo>
                    <a:pt x="485165" y="708176"/>
                    <a:pt x="466127" y="705456"/>
                    <a:pt x="449809" y="700017"/>
                  </a:cubicBezTo>
                  <a:cubicBezTo>
                    <a:pt x="430771" y="694578"/>
                    <a:pt x="409014" y="675540"/>
                    <a:pt x="400855" y="667381"/>
                  </a:cubicBezTo>
                  <a:cubicBezTo>
                    <a:pt x="392696" y="659222"/>
                    <a:pt x="387257" y="651063"/>
                    <a:pt x="381817" y="642904"/>
                  </a:cubicBezTo>
                  <a:cubicBezTo>
                    <a:pt x="376378" y="632025"/>
                    <a:pt x="370939" y="623867"/>
                    <a:pt x="368219" y="610268"/>
                  </a:cubicBezTo>
                  <a:cubicBezTo>
                    <a:pt x="360060" y="588511"/>
                    <a:pt x="357341" y="574913"/>
                    <a:pt x="349182" y="550436"/>
                  </a:cubicBezTo>
                  <a:cubicBezTo>
                    <a:pt x="343742" y="534118"/>
                    <a:pt x="341023" y="520520"/>
                    <a:pt x="338303" y="504202"/>
                  </a:cubicBezTo>
                  <a:cubicBezTo>
                    <a:pt x="335583" y="493323"/>
                    <a:pt x="332864" y="485164"/>
                    <a:pt x="330144" y="477005"/>
                  </a:cubicBezTo>
                  <a:cubicBezTo>
                    <a:pt x="327424" y="471566"/>
                    <a:pt x="324705" y="463407"/>
                    <a:pt x="321985" y="455248"/>
                  </a:cubicBezTo>
                  <a:cubicBezTo>
                    <a:pt x="316546" y="444369"/>
                    <a:pt x="311106" y="436210"/>
                    <a:pt x="305667" y="436210"/>
                  </a:cubicBezTo>
                  <a:cubicBezTo>
                    <a:pt x="302948" y="436210"/>
                    <a:pt x="300228" y="438930"/>
                    <a:pt x="294788" y="441650"/>
                  </a:cubicBezTo>
                  <a:cubicBezTo>
                    <a:pt x="289349" y="447089"/>
                    <a:pt x="283910" y="455248"/>
                    <a:pt x="278471" y="463407"/>
                  </a:cubicBezTo>
                  <a:cubicBezTo>
                    <a:pt x="270312" y="474286"/>
                    <a:pt x="267592" y="485164"/>
                    <a:pt x="264872" y="496043"/>
                  </a:cubicBezTo>
                  <a:cubicBezTo>
                    <a:pt x="264872" y="504202"/>
                    <a:pt x="262153" y="512361"/>
                    <a:pt x="262153" y="517800"/>
                  </a:cubicBezTo>
                  <a:cubicBezTo>
                    <a:pt x="262153" y="520520"/>
                    <a:pt x="262153" y="520520"/>
                    <a:pt x="262153" y="523239"/>
                  </a:cubicBezTo>
                  <a:cubicBezTo>
                    <a:pt x="262153" y="528679"/>
                    <a:pt x="262153" y="544997"/>
                    <a:pt x="262153" y="553155"/>
                  </a:cubicBezTo>
                  <a:cubicBezTo>
                    <a:pt x="262153" y="583072"/>
                    <a:pt x="264872" y="599390"/>
                    <a:pt x="262153" y="629306"/>
                  </a:cubicBezTo>
                  <a:cubicBezTo>
                    <a:pt x="262153" y="640184"/>
                    <a:pt x="262153" y="648343"/>
                    <a:pt x="259433" y="659222"/>
                  </a:cubicBezTo>
                  <a:cubicBezTo>
                    <a:pt x="270312" y="659222"/>
                    <a:pt x="278471" y="659222"/>
                    <a:pt x="283910" y="659222"/>
                  </a:cubicBezTo>
                  <a:cubicBezTo>
                    <a:pt x="297508" y="659222"/>
                    <a:pt x="321985" y="659222"/>
                    <a:pt x="321985" y="675540"/>
                  </a:cubicBezTo>
                  <a:cubicBezTo>
                    <a:pt x="321985" y="683699"/>
                    <a:pt x="319265" y="686418"/>
                    <a:pt x="316546" y="691858"/>
                  </a:cubicBezTo>
                  <a:cubicBezTo>
                    <a:pt x="311106" y="697297"/>
                    <a:pt x="305667" y="700017"/>
                    <a:pt x="300228" y="700017"/>
                  </a:cubicBezTo>
                  <a:cubicBezTo>
                    <a:pt x="292069" y="702736"/>
                    <a:pt x="283910" y="702736"/>
                    <a:pt x="278471" y="702736"/>
                  </a:cubicBezTo>
                  <a:cubicBezTo>
                    <a:pt x="275751" y="702736"/>
                    <a:pt x="259433" y="702736"/>
                    <a:pt x="243115" y="702736"/>
                  </a:cubicBezTo>
                  <a:cubicBezTo>
                    <a:pt x="237676" y="708176"/>
                    <a:pt x="229517" y="710895"/>
                    <a:pt x="221358" y="710895"/>
                  </a:cubicBezTo>
                  <a:cubicBezTo>
                    <a:pt x="213199" y="710895"/>
                    <a:pt x="202320" y="708176"/>
                    <a:pt x="194161" y="702736"/>
                  </a:cubicBezTo>
                  <a:cubicBezTo>
                    <a:pt x="186002" y="702736"/>
                    <a:pt x="180563" y="702736"/>
                    <a:pt x="177843" y="702736"/>
                  </a:cubicBezTo>
                  <a:cubicBezTo>
                    <a:pt x="164245" y="702736"/>
                    <a:pt x="139768" y="702736"/>
                    <a:pt x="126170" y="702736"/>
                  </a:cubicBezTo>
                  <a:cubicBezTo>
                    <a:pt x="118011" y="702736"/>
                    <a:pt x="109852" y="702736"/>
                    <a:pt x="101693" y="702736"/>
                  </a:cubicBezTo>
                  <a:cubicBezTo>
                    <a:pt x="93534" y="702736"/>
                    <a:pt x="82655" y="702736"/>
                    <a:pt x="74496" y="697297"/>
                  </a:cubicBezTo>
                  <a:cubicBezTo>
                    <a:pt x="66337" y="694578"/>
                    <a:pt x="58178" y="686418"/>
                    <a:pt x="58178" y="680979"/>
                  </a:cubicBezTo>
                  <a:cubicBezTo>
                    <a:pt x="58178" y="678260"/>
                    <a:pt x="58178" y="675540"/>
                    <a:pt x="63617" y="672820"/>
                  </a:cubicBezTo>
                  <a:cubicBezTo>
                    <a:pt x="69057" y="670101"/>
                    <a:pt x="79935" y="667381"/>
                    <a:pt x="85375" y="664661"/>
                  </a:cubicBezTo>
                  <a:cubicBezTo>
                    <a:pt x="104412" y="661942"/>
                    <a:pt x="123450" y="659222"/>
                    <a:pt x="128889" y="659222"/>
                  </a:cubicBezTo>
                  <a:cubicBezTo>
                    <a:pt x="134329" y="659222"/>
                    <a:pt x="139768" y="659222"/>
                    <a:pt x="147927" y="659222"/>
                  </a:cubicBezTo>
                  <a:cubicBezTo>
                    <a:pt x="147927" y="656502"/>
                    <a:pt x="145207" y="653783"/>
                    <a:pt x="145207" y="653783"/>
                  </a:cubicBezTo>
                  <a:cubicBezTo>
                    <a:pt x="131609" y="632025"/>
                    <a:pt x="131609" y="610268"/>
                    <a:pt x="131609" y="585791"/>
                  </a:cubicBezTo>
                  <a:cubicBezTo>
                    <a:pt x="131609" y="555875"/>
                    <a:pt x="131609" y="528679"/>
                    <a:pt x="134329" y="498762"/>
                  </a:cubicBezTo>
                  <a:cubicBezTo>
                    <a:pt x="134329" y="468846"/>
                    <a:pt x="137048" y="436210"/>
                    <a:pt x="137048" y="406294"/>
                  </a:cubicBezTo>
                  <a:cubicBezTo>
                    <a:pt x="137048" y="379098"/>
                    <a:pt x="134329" y="354621"/>
                    <a:pt x="134329" y="327424"/>
                  </a:cubicBezTo>
                  <a:cubicBezTo>
                    <a:pt x="134329" y="302947"/>
                    <a:pt x="137048" y="278470"/>
                    <a:pt x="137048" y="253993"/>
                  </a:cubicBezTo>
                  <a:cubicBezTo>
                    <a:pt x="137048" y="237675"/>
                    <a:pt x="139768" y="224077"/>
                    <a:pt x="139768" y="207759"/>
                  </a:cubicBezTo>
                  <a:cubicBezTo>
                    <a:pt x="139768" y="196881"/>
                    <a:pt x="137048" y="183282"/>
                    <a:pt x="137048" y="172404"/>
                  </a:cubicBezTo>
                  <a:cubicBezTo>
                    <a:pt x="137048" y="150647"/>
                    <a:pt x="137048" y="131609"/>
                    <a:pt x="137048" y="112571"/>
                  </a:cubicBezTo>
                  <a:cubicBezTo>
                    <a:pt x="134329" y="112571"/>
                    <a:pt x="137048" y="112571"/>
                    <a:pt x="126170" y="112571"/>
                  </a:cubicBezTo>
                  <a:cubicBezTo>
                    <a:pt x="118011" y="112571"/>
                    <a:pt x="109852" y="112571"/>
                    <a:pt x="101693" y="112571"/>
                  </a:cubicBezTo>
                  <a:cubicBezTo>
                    <a:pt x="93534" y="112571"/>
                    <a:pt x="82655" y="109852"/>
                    <a:pt x="74496" y="107132"/>
                  </a:cubicBezTo>
                  <a:cubicBezTo>
                    <a:pt x="66337" y="104412"/>
                    <a:pt x="58178" y="96253"/>
                    <a:pt x="58178" y="90814"/>
                  </a:cubicBezTo>
                  <a:cubicBezTo>
                    <a:pt x="58178" y="88094"/>
                    <a:pt x="58178" y="85375"/>
                    <a:pt x="63617" y="82655"/>
                  </a:cubicBezTo>
                  <a:cubicBezTo>
                    <a:pt x="69057" y="79936"/>
                    <a:pt x="79935" y="77216"/>
                    <a:pt x="85375" y="74496"/>
                  </a:cubicBezTo>
                  <a:cubicBezTo>
                    <a:pt x="104412" y="71776"/>
                    <a:pt x="128889" y="69057"/>
                    <a:pt x="137048" y="69057"/>
                  </a:cubicBezTo>
                  <a:cubicBezTo>
                    <a:pt x="137048" y="69057"/>
                    <a:pt x="139768" y="69057"/>
                    <a:pt x="145207" y="69057"/>
                  </a:cubicBezTo>
                  <a:cubicBezTo>
                    <a:pt x="150646" y="60898"/>
                    <a:pt x="158806" y="58178"/>
                    <a:pt x="169684" y="58178"/>
                  </a:cubicBezTo>
                  <a:cubicBezTo>
                    <a:pt x="172404" y="58178"/>
                    <a:pt x="175123" y="58178"/>
                    <a:pt x="177843" y="58178"/>
                  </a:cubicBezTo>
                  <a:cubicBezTo>
                    <a:pt x="186002" y="58178"/>
                    <a:pt x="196881" y="63617"/>
                    <a:pt x="205040" y="66337"/>
                  </a:cubicBezTo>
                  <a:cubicBezTo>
                    <a:pt x="237676" y="66337"/>
                    <a:pt x="273031" y="63617"/>
                    <a:pt x="286629" y="63617"/>
                  </a:cubicBezTo>
                  <a:cubicBezTo>
                    <a:pt x="300228" y="63617"/>
                    <a:pt x="324705" y="63617"/>
                    <a:pt x="324705" y="79936"/>
                  </a:cubicBezTo>
                  <a:cubicBezTo>
                    <a:pt x="324705" y="88094"/>
                    <a:pt x="321985" y="90814"/>
                    <a:pt x="319265" y="96253"/>
                  </a:cubicBezTo>
                  <a:cubicBezTo>
                    <a:pt x="313826" y="101693"/>
                    <a:pt x="308387" y="104412"/>
                    <a:pt x="302948" y="104412"/>
                  </a:cubicBezTo>
                  <a:cubicBezTo>
                    <a:pt x="289349" y="112571"/>
                    <a:pt x="283910" y="112571"/>
                    <a:pt x="278471" y="112571"/>
                  </a:cubicBezTo>
                  <a:cubicBezTo>
                    <a:pt x="273031" y="112571"/>
                    <a:pt x="253994" y="112571"/>
                    <a:pt x="232236" y="112571"/>
                  </a:cubicBezTo>
                  <a:cubicBezTo>
                    <a:pt x="237676" y="120730"/>
                    <a:pt x="240395" y="128889"/>
                    <a:pt x="240395" y="137048"/>
                  </a:cubicBezTo>
                  <a:cubicBezTo>
                    <a:pt x="240395" y="142487"/>
                    <a:pt x="240395" y="145207"/>
                    <a:pt x="240395" y="150647"/>
                  </a:cubicBezTo>
                  <a:cubicBezTo>
                    <a:pt x="240395" y="153366"/>
                    <a:pt x="240395" y="156086"/>
                    <a:pt x="243115" y="158805"/>
                  </a:cubicBezTo>
                  <a:cubicBezTo>
                    <a:pt x="245835" y="169684"/>
                    <a:pt x="245835" y="180563"/>
                    <a:pt x="248554" y="188722"/>
                  </a:cubicBezTo>
                  <a:cubicBezTo>
                    <a:pt x="248554" y="191441"/>
                    <a:pt x="248554" y="194161"/>
                    <a:pt x="248554" y="199600"/>
                  </a:cubicBezTo>
                  <a:cubicBezTo>
                    <a:pt x="248554" y="207759"/>
                    <a:pt x="248554" y="213198"/>
                    <a:pt x="248554" y="221357"/>
                  </a:cubicBezTo>
                  <a:cubicBezTo>
                    <a:pt x="248554" y="234956"/>
                    <a:pt x="251274" y="248554"/>
                    <a:pt x="253994" y="264872"/>
                  </a:cubicBezTo>
                  <a:cubicBezTo>
                    <a:pt x="256713" y="275751"/>
                    <a:pt x="259433" y="286629"/>
                    <a:pt x="262153" y="297508"/>
                  </a:cubicBezTo>
                  <a:cubicBezTo>
                    <a:pt x="264872" y="305667"/>
                    <a:pt x="264872" y="313826"/>
                    <a:pt x="264872" y="324704"/>
                  </a:cubicBezTo>
                  <a:cubicBezTo>
                    <a:pt x="264872" y="327424"/>
                    <a:pt x="264872" y="330144"/>
                    <a:pt x="264872" y="332863"/>
                  </a:cubicBezTo>
                  <a:cubicBezTo>
                    <a:pt x="264872" y="338303"/>
                    <a:pt x="264872" y="346462"/>
                    <a:pt x="264872" y="351901"/>
                  </a:cubicBezTo>
                  <a:cubicBezTo>
                    <a:pt x="264872" y="357340"/>
                    <a:pt x="262153" y="365499"/>
                    <a:pt x="262153" y="370939"/>
                  </a:cubicBezTo>
                  <a:cubicBezTo>
                    <a:pt x="262153" y="376378"/>
                    <a:pt x="264872" y="384537"/>
                    <a:pt x="267592" y="384537"/>
                  </a:cubicBezTo>
                  <a:cubicBezTo>
                    <a:pt x="273031" y="384537"/>
                    <a:pt x="275751" y="376378"/>
                    <a:pt x="278471" y="370939"/>
                  </a:cubicBezTo>
                  <a:cubicBezTo>
                    <a:pt x="283910" y="360060"/>
                    <a:pt x="289349" y="346462"/>
                    <a:pt x="297508" y="332863"/>
                  </a:cubicBezTo>
                  <a:cubicBezTo>
                    <a:pt x="302948" y="324704"/>
                    <a:pt x="305667" y="313826"/>
                    <a:pt x="311106" y="305667"/>
                  </a:cubicBezTo>
                  <a:cubicBezTo>
                    <a:pt x="319265" y="289349"/>
                    <a:pt x="327424" y="275751"/>
                    <a:pt x="335583" y="259433"/>
                  </a:cubicBezTo>
                  <a:cubicBezTo>
                    <a:pt x="341023" y="248554"/>
                    <a:pt x="349182" y="234956"/>
                    <a:pt x="354621" y="224077"/>
                  </a:cubicBezTo>
                  <a:cubicBezTo>
                    <a:pt x="362780" y="207759"/>
                    <a:pt x="370939" y="191441"/>
                    <a:pt x="381817" y="172404"/>
                  </a:cubicBezTo>
                  <a:cubicBezTo>
                    <a:pt x="389977" y="153366"/>
                    <a:pt x="400855" y="134329"/>
                    <a:pt x="409014" y="118011"/>
                  </a:cubicBezTo>
                  <a:cubicBezTo>
                    <a:pt x="409014" y="115291"/>
                    <a:pt x="409014" y="115291"/>
                    <a:pt x="411734" y="115291"/>
                  </a:cubicBezTo>
                  <a:cubicBezTo>
                    <a:pt x="406294" y="115291"/>
                    <a:pt x="400855" y="115291"/>
                    <a:pt x="398136" y="115291"/>
                  </a:cubicBezTo>
                  <a:cubicBezTo>
                    <a:pt x="392696" y="115291"/>
                    <a:pt x="384537" y="115291"/>
                    <a:pt x="379098" y="109852"/>
                  </a:cubicBezTo>
                  <a:cubicBezTo>
                    <a:pt x="373659" y="107132"/>
                    <a:pt x="368219" y="98973"/>
                    <a:pt x="368219" y="93534"/>
                  </a:cubicBezTo>
                  <a:cubicBezTo>
                    <a:pt x="368219" y="90814"/>
                    <a:pt x="368219" y="88094"/>
                    <a:pt x="370939" y="85375"/>
                  </a:cubicBezTo>
                  <a:cubicBezTo>
                    <a:pt x="373659" y="82655"/>
                    <a:pt x="381817" y="79936"/>
                    <a:pt x="387257" y="77216"/>
                  </a:cubicBezTo>
                  <a:cubicBezTo>
                    <a:pt x="400855" y="74496"/>
                    <a:pt x="414453" y="71776"/>
                    <a:pt x="422612" y="71776"/>
                  </a:cubicBezTo>
                  <a:cubicBezTo>
                    <a:pt x="425332" y="71776"/>
                    <a:pt x="430771" y="71776"/>
                    <a:pt x="436211" y="71776"/>
                  </a:cubicBezTo>
                  <a:cubicBezTo>
                    <a:pt x="436211" y="71776"/>
                    <a:pt x="438930" y="69057"/>
                    <a:pt x="438930" y="69057"/>
                  </a:cubicBezTo>
                  <a:cubicBezTo>
                    <a:pt x="444370" y="66337"/>
                    <a:pt x="447089" y="66337"/>
                    <a:pt x="452529" y="66337"/>
                  </a:cubicBezTo>
                  <a:cubicBezTo>
                    <a:pt x="457968" y="66337"/>
                    <a:pt x="460688" y="66337"/>
                    <a:pt x="466127" y="69057"/>
                  </a:cubicBezTo>
                  <a:cubicBezTo>
                    <a:pt x="468847" y="69057"/>
                    <a:pt x="471566" y="71776"/>
                    <a:pt x="471566" y="71776"/>
                  </a:cubicBezTo>
                  <a:cubicBezTo>
                    <a:pt x="490604" y="71776"/>
                    <a:pt x="506922" y="71776"/>
                    <a:pt x="515081" y="71776"/>
                  </a:cubicBezTo>
                  <a:cubicBezTo>
                    <a:pt x="523240" y="71776"/>
                    <a:pt x="542277" y="71776"/>
                    <a:pt x="542277" y="88094"/>
                  </a:cubicBezTo>
                  <a:cubicBezTo>
                    <a:pt x="542277" y="96253"/>
                    <a:pt x="542277" y="98973"/>
                    <a:pt x="536838" y="104412"/>
                  </a:cubicBezTo>
                  <a:cubicBezTo>
                    <a:pt x="534119" y="109852"/>
                    <a:pt x="528679" y="112571"/>
                    <a:pt x="525959" y="112571"/>
                  </a:cubicBezTo>
                  <a:cubicBezTo>
                    <a:pt x="520520" y="115291"/>
                    <a:pt x="515081" y="115291"/>
                    <a:pt x="509642" y="115291"/>
                  </a:cubicBezTo>
                  <a:cubicBezTo>
                    <a:pt x="506922" y="115291"/>
                    <a:pt x="487884" y="115291"/>
                    <a:pt x="468847" y="115291"/>
                  </a:cubicBezTo>
                  <a:cubicBezTo>
                    <a:pt x="466127" y="123450"/>
                    <a:pt x="460688" y="128889"/>
                    <a:pt x="457968" y="137048"/>
                  </a:cubicBezTo>
                  <a:cubicBezTo>
                    <a:pt x="447089" y="156086"/>
                    <a:pt x="438930" y="175123"/>
                    <a:pt x="430771" y="194161"/>
                  </a:cubicBezTo>
                  <a:cubicBezTo>
                    <a:pt x="419893" y="215918"/>
                    <a:pt x="411734" y="240395"/>
                    <a:pt x="400855" y="262152"/>
                  </a:cubicBezTo>
                  <a:cubicBezTo>
                    <a:pt x="387257" y="289349"/>
                    <a:pt x="373659" y="311106"/>
                    <a:pt x="360060" y="332863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41" name="Freeform: Shape 40">
              <a:extLst>
                <a:ext uri="{FF2B5EF4-FFF2-40B4-BE49-F238E27FC236}">
                  <a16:creationId xmlns:a16="http://schemas.microsoft.com/office/drawing/2014/main" id="{AE3F4F14-A16D-4D77-9802-11BABF614845}"/>
                </a:ext>
              </a:extLst>
            </p:cNvPr>
            <p:cNvSpPr/>
            <p:nvPr/>
          </p:nvSpPr>
          <p:spPr>
            <a:xfrm>
              <a:off x="4335316" y="4186718"/>
              <a:ext cx="353556" cy="761503"/>
            </a:xfrm>
            <a:custGeom>
              <a:avLst/>
              <a:gdLst>
                <a:gd name="connsiteX0" fmla="*/ 283910 w 353555"/>
                <a:gd name="connsiteY0" fmla="*/ 672820 h 761503"/>
                <a:gd name="connsiteX1" fmla="*/ 321985 w 353555"/>
                <a:gd name="connsiteY1" fmla="*/ 689138 h 761503"/>
                <a:gd name="connsiteX2" fmla="*/ 316546 w 353555"/>
                <a:gd name="connsiteY2" fmla="*/ 705456 h 761503"/>
                <a:gd name="connsiteX3" fmla="*/ 300228 w 353555"/>
                <a:gd name="connsiteY3" fmla="*/ 713615 h 761503"/>
                <a:gd name="connsiteX4" fmla="*/ 278471 w 353555"/>
                <a:gd name="connsiteY4" fmla="*/ 716335 h 761503"/>
                <a:gd name="connsiteX5" fmla="*/ 237676 w 353555"/>
                <a:gd name="connsiteY5" fmla="*/ 716335 h 761503"/>
                <a:gd name="connsiteX6" fmla="*/ 180563 w 353555"/>
                <a:gd name="connsiteY6" fmla="*/ 719054 h 761503"/>
                <a:gd name="connsiteX7" fmla="*/ 126170 w 353555"/>
                <a:gd name="connsiteY7" fmla="*/ 719054 h 761503"/>
                <a:gd name="connsiteX8" fmla="*/ 101693 w 353555"/>
                <a:gd name="connsiteY8" fmla="*/ 719054 h 761503"/>
                <a:gd name="connsiteX9" fmla="*/ 74496 w 353555"/>
                <a:gd name="connsiteY9" fmla="*/ 713615 h 761503"/>
                <a:gd name="connsiteX10" fmla="*/ 58178 w 353555"/>
                <a:gd name="connsiteY10" fmla="*/ 697297 h 761503"/>
                <a:gd name="connsiteX11" fmla="*/ 63617 w 353555"/>
                <a:gd name="connsiteY11" fmla="*/ 689138 h 761503"/>
                <a:gd name="connsiteX12" fmla="*/ 85375 w 353555"/>
                <a:gd name="connsiteY12" fmla="*/ 680979 h 761503"/>
                <a:gd name="connsiteX13" fmla="*/ 131609 w 353555"/>
                <a:gd name="connsiteY13" fmla="*/ 675540 h 761503"/>
                <a:gd name="connsiteX14" fmla="*/ 142488 w 353555"/>
                <a:gd name="connsiteY14" fmla="*/ 675540 h 761503"/>
                <a:gd name="connsiteX15" fmla="*/ 131609 w 353555"/>
                <a:gd name="connsiteY15" fmla="*/ 653783 h 761503"/>
                <a:gd name="connsiteX16" fmla="*/ 128889 w 353555"/>
                <a:gd name="connsiteY16" fmla="*/ 640184 h 761503"/>
                <a:gd name="connsiteX17" fmla="*/ 128889 w 353555"/>
                <a:gd name="connsiteY17" fmla="*/ 629306 h 761503"/>
                <a:gd name="connsiteX18" fmla="*/ 128889 w 353555"/>
                <a:gd name="connsiteY18" fmla="*/ 621147 h 761503"/>
                <a:gd name="connsiteX19" fmla="*/ 128889 w 353555"/>
                <a:gd name="connsiteY19" fmla="*/ 593950 h 761503"/>
                <a:gd name="connsiteX20" fmla="*/ 128889 w 353555"/>
                <a:gd name="connsiteY20" fmla="*/ 583072 h 761503"/>
                <a:gd name="connsiteX21" fmla="*/ 128889 w 353555"/>
                <a:gd name="connsiteY21" fmla="*/ 436210 h 761503"/>
                <a:gd name="connsiteX22" fmla="*/ 128889 w 353555"/>
                <a:gd name="connsiteY22" fmla="*/ 357340 h 761503"/>
                <a:gd name="connsiteX23" fmla="*/ 131609 w 353555"/>
                <a:gd name="connsiteY23" fmla="*/ 289349 h 761503"/>
                <a:gd name="connsiteX24" fmla="*/ 131609 w 353555"/>
                <a:gd name="connsiteY24" fmla="*/ 251274 h 761503"/>
                <a:gd name="connsiteX25" fmla="*/ 131609 w 353555"/>
                <a:gd name="connsiteY25" fmla="*/ 205040 h 761503"/>
                <a:gd name="connsiteX26" fmla="*/ 131609 w 353555"/>
                <a:gd name="connsiteY26" fmla="*/ 139768 h 761503"/>
                <a:gd name="connsiteX27" fmla="*/ 131609 w 353555"/>
                <a:gd name="connsiteY27" fmla="*/ 128889 h 761503"/>
                <a:gd name="connsiteX28" fmla="*/ 126170 w 353555"/>
                <a:gd name="connsiteY28" fmla="*/ 128889 h 761503"/>
                <a:gd name="connsiteX29" fmla="*/ 101693 w 353555"/>
                <a:gd name="connsiteY29" fmla="*/ 128889 h 761503"/>
                <a:gd name="connsiteX30" fmla="*/ 74496 w 353555"/>
                <a:gd name="connsiteY30" fmla="*/ 123450 h 761503"/>
                <a:gd name="connsiteX31" fmla="*/ 58178 w 353555"/>
                <a:gd name="connsiteY31" fmla="*/ 107132 h 761503"/>
                <a:gd name="connsiteX32" fmla="*/ 60898 w 353555"/>
                <a:gd name="connsiteY32" fmla="*/ 98973 h 761503"/>
                <a:gd name="connsiteX33" fmla="*/ 82655 w 353555"/>
                <a:gd name="connsiteY33" fmla="*/ 93534 h 761503"/>
                <a:gd name="connsiteX34" fmla="*/ 131609 w 353555"/>
                <a:gd name="connsiteY34" fmla="*/ 88094 h 761503"/>
                <a:gd name="connsiteX35" fmla="*/ 131609 w 353555"/>
                <a:gd name="connsiteY35" fmla="*/ 82655 h 761503"/>
                <a:gd name="connsiteX36" fmla="*/ 134329 w 353555"/>
                <a:gd name="connsiteY36" fmla="*/ 71776 h 761503"/>
                <a:gd name="connsiteX37" fmla="*/ 147927 w 353555"/>
                <a:gd name="connsiteY37" fmla="*/ 63617 h 761503"/>
                <a:gd name="connsiteX38" fmla="*/ 164245 w 353555"/>
                <a:gd name="connsiteY38" fmla="*/ 58178 h 761503"/>
                <a:gd name="connsiteX39" fmla="*/ 177843 w 353555"/>
                <a:gd name="connsiteY39" fmla="*/ 58178 h 761503"/>
                <a:gd name="connsiteX40" fmla="*/ 196881 w 353555"/>
                <a:gd name="connsiteY40" fmla="*/ 60898 h 761503"/>
                <a:gd name="connsiteX41" fmla="*/ 232236 w 353555"/>
                <a:gd name="connsiteY41" fmla="*/ 88094 h 761503"/>
                <a:gd name="connsiteX42" fmla="*/ 278471 w 353555"/>
                <a:gd name="connsiteY42" fmla="*/ 88094 h 761503"/>
                <a:gd name="connsiteX43" fmla="*/ 316546 w 353555"/>
                <a:gd name="connsiteY43" fmla="*/ 104412 h 761503"/>
                <a:gd name="connsiteX44" fmla="*/ 311106 w 353555"/>
                <a:gd name="connsiteY44" fmla="*/ 120730 h 761503"/>
                <a:gd name="connsiteX45" fmla="*/ 294788 w 353555"/>
                <a:gd name="connsiteY45" fmla="*/ 128889 h 761503"/>
                <a:gd name="connsiteX46" fmla="*/ 273031 w 353555"/>
                <a:gd name="connsiteY46" fmla="*/ 131609 h 761503"/>
                <a:gd name="connsiteX47" fmla="*/ 243115 w 353555"/>
                <a:gd name="connsiteY47" fmla="*/ 131609 h 761503"/>
                <a:gd name="connsiteX48" fmla="*/ 243115 w 353555"/>
                <a:gd name="connsiteY48" fmla="*/ 134329 h 761503"/>
                <a:gd name="connsiteX49" fmla="*/ 248554 w 353555"/>
                <a:gd name="connsiteY49" fmla="*/ 169684 h 761503"/>
                <a:gd name="connsiteX50" fmla="*/ 251274 w 353555"/>
                <a:gd name="connsiteY50" fmla="*/ 205040 h 761503"/>
                <a:gd name="connsiteX51" fmla="*/ 251274 w 353555"/>
                <a:gd name="connsiteY51" fmla="*/ 240395 h 761503"/>
                <a:gd name="connsiteX52" fmla="*/ 251274 w 353555"/>
                <a:gd name="connsiteY52" fmla="*/ 256713 h 761503"/>
                <a:gd name="connsiteX53" fmla="*/ 253994 w 353555"/>
                <a:gd name="connsiteY53" fmla="*/ 270311 h 761503"/>
                <a:gd name="connsiteX54" fmla="*/ 259433 w 353555"/>
                <a:gd name="connsiteY54" fmla="*/ 343742 h 761503"/>
                <a:gd name="connsiteX55" fmla="*/ 262153 w 353555"/>
                <a:gd name="connsiteY55" fmla="*/ 425332 h 761503"/>
                <a:gd name="connsiteX56" fmla="*/ 264872 w 353555"/>
                <a:gd name="connsiteY56" fmla="*/ 490603 h 761503"/>
                <a:gd name="connsiteX57" fmla="*/ 270312 w 353555"/>
                <a:gd name="connsiteY57" fmla="*/ 564034 h 761503"/>
                <a:gd name="connsiteX58" fmla="*/ 270312 w 353555"/>
                <a:gd name="connsiteY58" fmla="*/ 599390 h 761503"/>
                <a:gd name="connsiteX59" fmla="*/ 270312 w 353555"/>
                <a:gd name="connsiteY59" fmla="*/ 637465 h 761503"/>
                <a:gd name="connsiteX60" fmla="*/ 264872 w 353555"/>
                <a:gd name="connsiteY60" fmla="*/ 670101 h 761503"/>
                <a:gd name="connsiteX61" fmla="*/ 283910 w 353555"/>
                <a:gd name="connsiteY61" fmla="*/ 672820 h 761503"/>
                <a:gd name="connsiteX62" fmla="*/ 283910 w 353555"/>
                <a:gd name="connsiteY62" fmla="*/ 672820 h 761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</a:cxnLst>
              <a:rect l="l" t="t" r="r" b="b"/>
              <a:pathLst>
                <a:path w="353555" h="761503">
                  <a:moveTo>
                    <a:pt x="283910" y="672820"/>
                  </a:moveTo>
                  <a:cubicBezTo>
                    <a:pt x="297508" y="672820"/>
                    <a:pt x="321985" y="672820"/>
                    <a:pt x="321985" y="689138"/>
                  </a:cubicBezTo>
                  <a:cubicBezTo>
                    <a:pt x="321985" y="697297"/>
                    <a:pt x="319265" y="697297"/>
                    <a:pt x="316546" y="705456"/>
                  </a:cubicBezTo>
                  <a:cubicBezTo>
                    <a:pt x="311106" y="710895"/>
                    <a:pt x="305667" y="713615"/>
                    <a:pt x="300228" y="713615"/>
                  </a:cubicBezTo>
                  <a:cubicBezTo>
                    <a:pt x="292069" y="716335"/>
                    <a:pt x="283910" y="716335"/>
                    <a:pt x="278471" y="716335"/>
                  </a:cubicBezTo>
                  <a:cubicBezTo>
                    <a:pt x="275751" y="716335"/>
                    <a:pt x="256713" y="716335"/>
                    <a:pt x="237676" y="716335"/>
                  </a:cubicBezTo>
                  <a:cubicBezTo>
                    <a:pt x="213199" y="716335"/>
                    <a:pt x="186002" y="719054"/>
                    <a:pt x="180563" y="719054"/>
                  </a:cubicBezTo>
                  <a:cubicBezTo>
                    <a:pt x="166965" y="719054"/>
                    <a:pt x="142488" y="719054"/>
                    <a:pt x="126170" y="719054"/>
                  </a:cubicBezTo>
                  <a:cubicBezTo>
                    <a:pt x="118011" y="719054"/>
                    <a:pt x="109852" y="719054"/>
                    <a:pt x="101693" y="719054"/>
                  </a:cubicBezTo>
                  <a:cubicBezTo>
                    <a:pt x="93534" y="719054"/>
                    <a:pt x="82655" y="719054"/>
                    <a:pt x="74496" y="713615"/>
                  </a:cubicBezTo>
                  <a:cubicBezTo>
                    <a:pt x="66337" y="710895"/>
                    <a:pt x="58178" y="702736"/>
                    <a:pt x="58178" y="697297"/>
                  </a:cubicBezTo>
                  <a:cubicBezTo>
                    <a:pt x="58178" y="694578"/>
                    <a:pt x="58178" y="691858"/>
                    <a:pt x="63617" y="689138"/>
                  </a:cubicBezTo>
                  <a:cubicBezTo>
                    <a:pt x="69057" y="686418"/>
                    <a:pt x="79935" y="683699"/>
                    <a:pt x="85375" y="680979"/>
                  </a:cubicBezTo>
                  <a:cubicBezTo>
                    <a:pt x="104412" y="678260"/>
                    <a:pt x="123450" y="675540"/>
                    <a:pt x="131609" y="675540"/>
                  </a:cubicBezTo>
                  <a:cubicBezTo>
                    <a:pt x="134329" y="675540"/>
                    <a:pt x="137048" y="675540"/>
                    <a:pt x="142488" y="675540"/>
                  </a:cubicBezTo>
                  <a:cubicBezTo>
                    <a:pt x="134329" y="670101"/>
                    <a:pt x="131609" y="661942"/>
                    <a:pt x="131609" y="653783"/>
                  </a:cubicBezTo>
                  <a:cubicBezTo>
                    <a:pt x="131609" y="648343"/>
                    <a:pt x="131609" y="642904"/>
                    <a:pt x="128889" y="640184"/>
                  </a:cubicBezTo>
                  <a:cubicBezTo>
                    <a:pt x="128889" y="637465"/>
                    <a:pt x="128889" y="634745"/>
                    <a:pt x="128889" y="629306"/>
                  </a:cubicBezTo>
                  <a:cubicBezTo>
                    <a:pt x="128889" y="626586"/>
                    <a:pt x="128889" y="623867"/>
                    <a:pt x="128889" y="621147"/>
                  </a:cubicBezTo>
                  <a:cubicBezTo>
                    <a:pt x="128889" y="612988"/>
                    <a:pt x="128889" y="604829"/>
                    <a:pt x="128889" y="593950"/>
                  </a:cubicBezTo>
                  <a:cubicBezTo>
                    <a:pt x="128889" y="591231"/>
                    <a:pt x="128889" y="585791"/>
                    <a:pt x="128889" y="583072"/>
                  </a:cubicBezTo>
                  <a:cubicBezTo>
                    <a:pt x="128889" y="534118"/>
                    <a:pt x="131609" y="485164"/>
                    <a:pt x="128889" y="436210"/>
                  </a:cubicBezTo>
                  <a:cubicBezTo>
                    <a:pt x="128889" y="409014"/>
                    <a:pt x="128889" y="384537"/>
                    <a:pt x="128889" y="357340"/>
                  </a:cubicBezTo>
                  <a:cubicBezTo>
                    <a:pt x="128889" y="335583"/>
                    <a:pt x="131609" y="313826"/>
                    <a:pt x="131609" y="289349"/>
                  </a:cubicBezTo>
                  <a:cubicBezTo>
                    <a:pt x="131609" y="275751"/>
                    <a:pt x="131609" y="264872"/>
                    <a:pt x="131609" y="251274"/>
                  </a:cubicBezTo>
                  <a:cubicBezTo>
                    <a:pt x="131609" y="234956"/>
                    <a:pt x="131609" y="221357"/>
                    <a:pt x="131609" y="205040"/>
                  </a:cubicBezTo>
                  <a:cubicBezTo>
                    <a:pt x="131609" y="183282"/>
                    <a:pt x="131609" y="161525"/>
                    <a:pt x="131609" y="139768"/>
                  </a:cubicBezTo>
                  <a:cubicBezTo>
                    <a:pt x="131609" y="137048"/>
                    <a:pt x="131609" y="134329"/>
                    <a:pt x="131609" y="128889"/>
                  </a:cubicBezTo>
                  <a:cubicBezTo>
                    <a:pt x="128889" y="128889"/>
                    <a:pt x="126170" y="128889"/>
                    <a:pt x="126170" y="128889"/>
                  </a:cubicBezTo>
                  <a:cubicBezTo>
                    <a:pt x="118011" y="128889"/>
                    <a:pt x="109852" y="128889"/>
                    <a:pt x="101693" y="128889"/>
                  </a:cubicBezTo>
                  <a:cubicBezTo>
                    <a:pt x="93534" y="128889"/>
                    <a:pt x="82655" y="128889"/>
                    <a:pt x="74496" y="123450"/>
                  </a:cubicBezTo>
                  <a:cubicBezTo>
                    <a:pt x="66337" y="120730"/>
                    <a:pt x="58178" y="112571"/>
                    <a:pt x="58178" y="107132"/>
                  </a:cubicBezTo>
                  <a:cubicBezTo>
                    <a:pt x="58178" y="104412"/>
                    <a:pt x="58178" y="101693"/>
                    <a:pt x="60898" y="98973"/>
                  </a:cubicBezTo>
                  <a:cubicBezTo>
                    <a:pt x="63617" y="96253"/>
                    <a:pt x="77216" y="93534"/>
                    <a:pt x="82655" y="93534"/>
                  </a:cubicBezTo>
                  <a:cubicBezTo>
                    <a:pt x="98973" y="90814"/>
                    <a:pt x="123450" y="88094"/>
                    <a:pt x="131609" y="88094"/>
                  </a:cubicBezTo>
                  <a:cubicBezTo>
                    <a:pt x="131609" y="85375"/>
                    <a:pt x="131609" y="85375"/>
                    <a:pt x="131609" y="82655"/>
                  </a:cubicBezTo>
                  <a:cubicBezTo>
                    <a:pt x="131609" y="77216"/>
                    <a:pt x="131609" y="74496"/>
                    <a:pt x="134329" y="71776"/>
                  </a:cubicBezTo>
                  <a:cubicBezTo>
                    <a:pt x="137048" y="69057"/>
                    <a:pt x="145207" y="66337"/>
                    <a:pt x="147927" y="63617"/>
                  </a:cubicBezTo>
                  <a:cubicBezTo>
                    <a:pt x="153366" y="60898"/>
                    <a:pt x="158806" y="58178"/>
                    <a:pt x="164245" y="58178"/>
                  </a:cubicBezTo>
                  <a:cubicBezTo>
                    <a:pt x="169684" y="58178"/>
                    <a:pt x="175123" y="58178"/>
                    <a:pt x="177843" y="58178"/>
                  </a:cubicBezTo>
                  <a:cubicBezTo>
                    <a:pt x="183283" y="58178"/>
                    <a:pt x="191442" y="58178"/>
                    <a:pt x="196881" y="60898"/>
                  </a:cubicBezTo>
                  <a:cubicBezTo>
                    <a:pt x="213199" y="63617"/>
                    <a:pt x="224077" y="74496"/>
                    <a:pt x="232236" y="88094"/>
                  </a:cubicBezTo>
                  <a:cubicBezTo>
                    <a:pt x="253994" y="88094"/>
                    <a:pt x="270312" y="88094"/>
                    <a:pt x="278471" y="88094"/>
                  </a:cubicBezTo>
                  <a:cubicBezTo>
                    <a:pt x="292069" y="88094"/>
                    <a:pt x="316546" y="88094"/>
                    <a:pt x="316546" y="104412"/>
                  </a:cubicBezTo>
                  <a:cubicBezTo>
                    <a:pt x="316546" y="112571"/>
                    <a:pt x="313826" y="112571"/>
                    <a:pt x="311106" y="120730"/>
                  </a:cubicBezTo>
                  <a:cubicBezTo>
                    <a:pt x="305667" y="126170"/>
                    <a:pt x="300228" y="128889"/>
                    <a:pt x="294788" y="128889"/>
                  </a:cubicBezTo>
                  <a:cubicBezTo>
                    <a:pt x="286630" y="131609"/>
                    <a:pt x="278471" y="131609"/>
                    <a:pt x="273031" y="131609"/>
                  </a:cubicBezTo>
                  <a:cubicBezTo>
                    <a:pt x="270312" y="131609"/>
                    <a:pt x="259433" y="131609"/>
                    <a:pt x="243115" y="131609"/>
                  </a:cubicBezTo>
                  <a:lnTo>
                    <a:pt x="243115" y="134329"/>
                  </a:lnTo>
                  <a:cubicBezTo>
                    <a:pt x="245835" y="145207"/>
                    <a:pt x="245835" y="158805"/>
                    <a:pt x="248554" y="169684"/>
                  </a:cubicBezTo>
                  <a:cubicBezTo>
                    <a:pt x="251274" y="180563"/>
                    <a:pt x="251274" y="194161"/>
                    <a:pt x="251274" y="205040"/>
                  </a:cubicBezTo>
                  <a:cubicBezTo>
                    <a:pt x="251274" y="215918"/>
                    <a:pt x="251274" y="226797"/>
                    <a:pt x="251274" y="240395"/>
                  </a:cubicBezTo>
                  <a:cubicBezTo>
                    <a:pt x="251274" y="245834"/>
                    <a:pt x="251274" y="251274"/>
                    <a:pt x="251274" y="256713"/>
                  </a:cubicBezTo>
                  <a:cubicBezTo>
                    <a:pt x="251274" y="262152"/>
                    <a:pt x="251274" y="267592"/>
                    <a:pt x="253994" y="270311"/>
                  </a:cubicBezTo>
                  <a:cubicBezTo>
                    <a:pt x="256713" y="294788"/>
                    <a:pt x="256713" y="319265"/>
                    <a:pt x="259433" y="343742"/>
                  </a:cubicBezTo>
                  <a:cubicBezTo>
                    <a:pt x="259433" y="370939"/>
                    <a:pt x="262153" y="398135"/>
                    <a:pt x="262153" y="425332"/>
                  </a:cubicBezTo>
                  <a:cubicBezTo>
                    <a:pt x="262153" y="447089"/>
                    <a:pt x="262153" y="468846"/>
                    <a:pt x="264872" y="490603"/>
                  </a:cubicBezTo>
                  <a:cubicBezTo>
                    <a:pt x="264872" y="515080"/>
                    <a:pt x="270312" y="539557"/>
                    <a:pt x="270312" y="564034"/>
                  </a:cubicBezTo>
                  <a:cubicBezTo>
                    <a:pt x="270312" y="574913"/>
                    <a:pt x="270312" y="588511"/>
                    <a:pt x="270312" y="599390"/>
                  </a:cubicBezTo>
                  <a:cubicBezTo>
                    <a:pt x="270312" y="612988"/>
                    <a:pt x="270312" y="623867"/>
                    <a:pt x="270312" y="637465"/>
                  </a:cubicBezTo>
                  <a:cubicBezTo>
                    <a:pt x="270312" y="648343"/>
                    <a:pt x="270312" y="661942"/>
                    <a:pt x="264872" y="670101"/>
                  </a:cubicBezTo>
                  <a:cubicBezTo>
                    <a:pt x="273031" y="672820"/>
                    <a:pt x="278471" y="672820"/>
                    <a:pt x="283910" y="672820"/>
                  </a:cubicBezTo>
                  <a:lnTo>
                    <a:pt x="283910" y="672820"/>
                  </a:ln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42" name="Freeform: Shape 41">
              <a:extLst>
                <a:ext uri="{FF2B5EF4-FFF2-40B4-BE49-F238E27FC236}">
                  <a16:creationId xmlns:a16="http://schemas.microsoft.com/office/drawing/2014/main" id="{BC607246-0D6B-4302-A63C-E82116AD65DF}"/>
                </a:ext>
              </a:extLst>
            </p:cNvPr>
            <p:cNvSpPr/>
            <p:nvPr/>
          </p:nvSpPr>
          <p:spPr>
            <a:xfrm>
              <a:off x="4620880" y="4194877"/>
              <a:ext cx="598325" cy="761503"/>
            </a:xfrm>
            <a:custGeom>
              <a:avLst/>
              <a:gdLst>
                <a:gd name="connsiteX0" fmla="*/ 515081 w 598324"/>
                <a:gd name="connsiteY0" fmla="*/ 79935 h 761503"/>
                <a:gd name="connsiteX1" fmla="*/ 542277 w 598324"/>
                <a:gd name="connsiteY1" fmla="*/ 96253 h 761503"/>
                <a:gd name="connsiteX2" fmla="*/ 536838 w 598324"/>
                <a:gd name="connsiteY2" fmla="*/ 112571 h 761503"/>
                <a:gd name="connsiteX3" fmla="*/ 523240 w 598324"/>
                <a:gd name="connsiteY3" fmla="*/ 120730 h 761503"/>
                <a:gd name="connsiteX4" fmla="*/ 506922 w 598324"/>
                <a:gd name="connsiteY4" fmla="*/ 123450 h 761503"/>
                <a:gd name="connsiteX5" fmla="*/ 477006 w 598324"/>
                <a:gd name="connsiteY5" fmla="*/ 123450 h 761503"/>
                <a:gd name="connsiteX6" fmla="*/ 479725 w 598324"/>
                <a:gd name="connsiteY6" fmla="*/ 145207 h 761503"/>
                <a:gd name="connsiteX7" fmla="*/ 477006 w 598324"/>
                <a:gd name="connsiteY7" fmla="*/ 180563 h 761503"/>
                <a:gd name="connsiteX8" fmla="*/ 482445 w 598324"/>
                <a:gd name="connsiteY8" fmla="*/ 232236 h 761503"/>
                <a:gd name="connsiteX9" fmla="*/ 485165 w 598324"/>
                <a:gd name="connsiteY9" fmla="*/ 283909 h 761503"/>
                <a:gd name="connsiteX10" fmla="*/ 485165 w 598324"/>
                <a:gd name="connsiteY10" fmla="*/ 327424 h 761503"/>
                <a:gd name="connsiteX11" fmla="*/ 487884 w 598324"/>
                <a:gd name="connsiteY11" fmla="*/ 373658 h 761503"/>
                <a:gd name="connsiteX12" fmla="*/ 485165 w 598324"/>
                <a:gd name="connsiteY12" fmla="*/ 419892 h 761503"/>
                <a:gd name="connsiteX13" fmla="*/ 485165 w 598324"/>
                <a:gd name="connsiteY13" fmla="*/ 463407 h 761503"/>
                <a:gd name="connsiteX14" fmla="*/ 482445 w 598324"/>
                <a:gd name="connsiteY14" fmla="*/ 515080 h 761503"/>
                <a:gd name="connsiteX15" fmla="*/ 482445 w 598324"/>
                <a:gd name="connsiteY15" fmla="*/ 558595 h 761503"/>
                <a:gd name="connsiteX16" fmla="*/ 479725 w 598324"/>
                <a:gd name="connsiteY16" fmla="*/ 602109 h 761503"/>
                <a:gd name="connsiteX17" fmla="*/ 485165 w 598324"/>
                <a:gd name="connsiteY17" fmla="*/ 648343 h 761503"/>
                <a:gd name="connsiteX18" fmla="*/ 474286 w 598324"/>
                <a:gd name="connsiteY18" fmla="*/ 675540 h 761503"/>
                <a:gd name="connsiteX19" fmla="*/ 428052 w 598324"/>
                <a:gd name="connsiteY19" fmla="*/ 691858 h 761503"/>
                <a:gd name="connsiteX20" fmla="*/ 387257 w 598324"/>
                <a:gd name="connsiteY20" fmla="*/ 683699 h 761503"/>
                <a:gd name="connsiteX21" fmla="*/ 351901 w 598324"/>
                <a:gd name="connsiteY21" fmla="*/ 664661 h 761503"/>
                <a:gd name="connsiteX22" fmla="*/ 305667 w 598324"/>
                <a:gd name="connsiteY22" fmla="*/ 596670 h 761503"/>
                <a:gd name="connsiteX23" fmla="*/ 270312 w 598324"/>
                <a:gd name="connsiteY23" fmla="*/ 509641 h 761503"/>
                <a:gd name="connsiteX24" fmla="*/ 251274 w 598324"/>
                <a:gd name="connsiteY24" fmla="*/ 460687 h 761503"/>
                <a:gd name="connsiteX25" fmla="*/ 224077 w 598324"/>
                <a:gd name="connsiteY25" fmla="*/ 381817 h 761503"/>
                <a:gd name="connsiteX26" fmla="*/ 207759 w 598324"/>
                <a:gd name="connsiteY26" fmla="*/ 330144 h 761503"/>
                <a:gd name="connsiteX27" fmla="*/ 191442 w 598324"/>
                <a:gd name="connsiteY27" fmla="*/ 286629 h 761503"/>
                <a:gd name="connsiteX28" fmla="*/ 183283 w 598324"/>
                <a:gd name="connsiteY28" fmla="*/ 278470 h 761503"/>
                <a:gd name="connsiteX29" fmla="*/ 180563 w 598324"/>
                <a:gd name="connsiteY29" fmla="*/ 292068 h 761503"/>
                <a:gd name="connsiteX30" fmla="*/ 180563 w 598324"/>
                <a:gd name="connsiteY30" fmla="*/ 305667 h 761503"/>
                <a:gd name="connsiteX31" fmla="*/ 183283 w 598324"/>
                <a:gd name="connsiteY31" fmla="*/ 354620 h 761503"/>
                <a:gd name="connsiteX32" fmla="*/ 188722 w 598324"/>
                <a:gd name="connsiteY32" fmla="*/ 449808 h 761503"/>
                <a:gd name="connsiteX33" fmla="*/ 188722 w 598324"/>
                <a:gd name="connsiteY33" fmla="*/ 479725 h 761503"/>
                <a:gd name="connsiteX34" fmla="*/ 188722 w 598324"/>
                <a:gd name="connsiteY34" fmla="*/ 542277 h 761503"/>
                <a:gd name="connsiteX35" fmla="*/ 186002 w 598324"/>
                <a:gd name="connsiteY35" fmla="*/ 615708 h 761503"/>
                <a:gd name="connsiteX36" fmla="*/ 186002 w 598324"/>
                <a:gd name="connsiteY36" fmla="*/ 637465 h 761503"/>
                <a:gd name="connsiteX37" fmla="*/ 183283 w 598324"/>
                <a:gd name="connsiteY37" fmla="*/ 664661 h 761503"/>
                <a:gd name="connsiteX38" fmla="*/ 226797 w 598324"/>
                <a:gd name="connsiteY38" fmla="*/ 664661 h 761503"/>
                <a:gd name="connsiteX39" fmla="*/ 253994 w 598324"/>
                <a:gd name="connsiteY39" fmla="*/ 680979 h 761503"/>
                <a:gd name="connsiteX40" fmla="*/ 248554 w 598324"/>
                <a:gd name="connsiteY40" fmla="*/ 697297 h 761503"/>
                <a:gd name="connsiteX41" fmla="*/ 234956 w 598324"/>
                <a:gd name="connsiteY41" fmla="*/ 705456 h 761503"/>
                <a:gd name="connsiteX42" fmla="*/ 218638 w 598324"/>
                <a:gd name="connsiteY42" fmla="*/ 708176 h 761503"/>
                <a:gd name="connsiteX43" fmla="*/ 183283 w 598324"/>
                <a:gd name="connsiteY43" fmla="*/ 708176 h 761503"/>
                <a:gd name="connsiteX44" fmla="*/ 150647 w 598324"/>
                <a:gd name="connsiteY44" fmla="*/ 708176 h 761503"/>
                <a:gd name="connsiteX45" fmla="*/ 107132 w 598324"/>
                <a:gd name="connsiteY45" fmla="*/ 708176 h 761503"/>
                <a:gd name="connsiteX46" fmla="*/ 88094 w 598324"/>
                <a:gd name="connsiteY46" fmla="*/ 708176 h 761503"/>
                <a:gd name="connsiteX47" fmla="*/ 69057 w 598324"/>
                <a:gd name="connsiteY47" fmla="*/ 702736 h 761503"/>
                <a:gd name="connsiteX48" fmla="*/ 58178 w 598324"/>
                <a:gd name="connsiteY48" fmla="*/ 686418 h 761503"/>
                <a:gd name="connsiteX49" fmla="*/ 60898 w 598324"/>
                <a:gd name="connsiteY49" fmla="*/ 678259 h 761503"/>
                <a:gd name="connsiteX50" fmla="*/ 77216 w 598324"/>
                <a:gd name="connsiteY50" fmla="*/ 670101 h 761503"/>
                <a:gd name="connsiteX51" fmla="*/ 120730 w 598324"/>
                <a:gd name="connsiteY51" fmla="*/ 664661 h 761503"/>
                <a:gd name="connsiteX52" fmla="*/ 131609 w 598324"/>
                <a:gd name="connsiteY52" fmla="*/ 664661 h 761503"/>
                <a:gd name="connsiteX53" fmla="*/ 134329 w 598324"/>
                <a:gd name="connsiteY53" fmla="*/ 539557 h 761503"/>
                <a:gd name="connsiteX54" fmla="*/ 134329 w 598324"/>
                <a:gd name="connsiteY54" fmla="*/ 504201 h 761503"/>
                <a:gd name="connsiteX55" fmla="*/ 131609 w 598324"/>
                <a:gd name="connsiteY55" fmla="*/ 376378 h 761503"/>
                <a:gd name="connsiteX56" fmla="*/ 131609 w 598324"/>
                <a:gd name="connsiteY56" fmla="*/ 302947 h 761503"/>
                <a:gd name="connsiteX57" fmla="*/ 134329 w 598324"/>
                <a:gd name="connsiteY57" fmla="*/ 221357 h 761503"/>
                <a:gd name="connsiteX58" fmla="*/ 137048 w 598324"/>
                <a:gd name="connsiteY58" fmla="*/ 123450 h 761503"/>
                <a:gd name="connsiteX59" fmla="*/ 107132 w 598324"/>
                <a:gd name="connsiteY59" fmla="*/ 123450 h 761503"/>
                <a:gd name="connsiteX60" fmla="*/ 88094 w 598324"/>
                <a:gd name="connsiteY60" fmla="*/ 123450 h 761503"/>
                <a:gd name="connsiteX61" fmla="*/ 69057 w 598324"/>
                <a:gd name="connsiteY61" fmla="*/ 118011 h 761503"/>
                <a:gd name="connsiteX62" fmla="*/ 58178 w 598324"/>
                <a:gd name="connsiteY62" fmla="*/ 101693 h 761503"/>
                <a:gd name="connsiteX63" fmla="*/ 60898 w 598324"/>
                <a:gd name="connsiteY63" fmla="*/ 93534 h 761503"/>
                <a:gd name="connsiteX64" fmla="*/ 77216 w 598324"/>
                <a:gd name="connsiteY64" fmla="*/ 85375 h 761503"/>
                <a:gd name="connsiteX65" fmla="*/ 131609 w 598324"/>
                <a:gd name="connsiteY65" fmla="*/ 79935 h 761503"/>
                <a:gd name="connsiteX66" fmla="*/ 161525 w 598324"/>
                <a:gd name="connsiteY66" fmla="*/ 79935 h 761503"/>
                <a:gd name="connsiteX67" fmla="*/ 177843 w 598324"/>
                <a:gd name="connsiteY67" fmla="*/ 66337 h 761503"/>
                <a:gd name="connsiteX68" fmla="*/ 202320 w 598324"/>
                <a:gd name="connsiteY68" fmla="*/ 58178 h 761503"/>
                <a:gd name="connsiteX69" fmla="*/ 234956 w 598324"/>
                <a:gd name="connsiteY69" fmla="*/ 77216 h 761503"/>
                <a:gd name="connsiteX70" fmla="*/ 251274 w 598324"/>
                <a:gd name="connsiteY70" fmla="*/ 107132 h 761503"/>
                <a:gd name="connsiteX71" fmla="*/ 267592 w 598324"/>
                <a:gd name="connsiteY71" fmla="*/ 147927 h 761503"/>
                <a:gd name="connsiteX72" fmla="*/ 281190 w 598324"/>
                <a:gd name="connsiteY72" fmla="*/ 183282 h 761503"/>
                <a:gd name="connsiteX73" fmla="*/ 297508 w 598324"/>
                <a:gd name="connsiteY73" fmla="*/ 224077 h 761503"/>
                <a:gd name="connsiteX74" fmla="*/ 308387 w 598324"/>
                <a:gd name="connsiteY74" fmla="*/ 264872 h 761503"/>
                <a:gd name="connsiteX75" fmla="*/ 319265 w 598324"/>
                <a:gd name="connsiteY75" fmla="*/ 300227 h 761503"/>
                <a:gd name="connsiteX76" fmla="*/ 351901 w 598324"/>
                <a:gd name="connsiteY76" fmla="*/ 379097 h 761503"/>
                <a:gd name="connsiteX77" fmla="*/ 365500 w 598324"/>
                <a:gd name="connsiteY77" fmla="*/ 417173 h 761503"/>
                <a:gd name="connsiteX78" fmla="*/ 379098 w 598324"/>
                <a:gd name="connsiteY78" fmla="*/ 457967 h 761503"/>
                <a:gd name="connsiteX79" fmla="*/ 395416 w 598324"/>
                <a:gd name="connsiteY79" fmla="*/ 496043 h 761503"/>
                <a:gd name="connsiteX80" fmla="*/ 406294 w 598324"/>
                <a:gd name="connsiteY80" fmla="*/ 512361 h 761503"/>
                <a:gd name="connsiteX81" fmla="*/ 411734 w 598324"/>
                <a:gd name="connsiteY81" fmla="*/ 531398 h 761503"/>
                <a:gd name="connsiteX82" fmla="*/ 419893 w 598324"/>
                <a:gd name="connsiteY82" fmla="*/ 558595 h 761503"/>
                <a:gd name="connsiteX83" fmla="*/ 425332 w 598324"/>
                <a:gd name="connsiteY83" fmla="*/ 564034 h 761503"/>
                <a:gd name="connsiteX84" fmla="*/ 430771 w 598324"/>
                <a:gd name="connsiteY84" fmla="*/ 558595 h 761503"/>
                <a:gd name="connsiteX85" fmla="*/ 430771 w 598324"/>
                <a:gd name="connsiteY85" fmla="*/ 550436 h 761503"/>
                <a:gd name="connsiteX86" fmla="*/ 430771 w 598324"/>
                <a:gd name="connsiteY86" fmla="*/ 501482 h 761503"/>
                <a:gd name="connsiteX87" fmla="*/ 430771 w 598324"/>
                <a:gd name="connsiteY87" fmla="*/ 403574 h 761503"/>
                <a:gd name="connsiteX88" fmla="*/ 425332 w 598324"/>
                <a:gd name="connsiteY88" fmla="*/ 313826 h 761503"/>
                <a:gd name="connsiteX89" fmla="*/ 425332 w 598324"/>
                <a:gd name="connsiteY89" fmla="*/ 248554 h 761503"/>
                <a:gd name="connsiteX90" fmla="*/ 425332 w 598324"/>
                <a:gd name="connsiteY90" fmla="*/ 210479 h 761503"/>
                <a:gd name="connsiteX91" fmla="*/ 422613 w 598324"/>
                <a:gd name="connsiteY91" fmla="*/ 153366 h 761503"/>
                <a:gd name="connsiteX92" fmla="*/ 425332 w 598324"/>
                <a:gd name="connsiteY92" fmla="*/ 123450 h 761503"/>
                <a:gd name="connsiteX93" fmla="*/ 398136 w 598324"/>
                <a:gd name="connsiteY93" fmla="*/ 123450 h 761503"/>
                <a:gd name="connsiteX94" fmla="*/ 379098 w 598324"/>
                <a:gd name="connsiteY94" fmla="*/ 123450 h 761503"/>
                <a:gd name="connsiteX95" fmla="*/ 360060 w 598324"/>
                <a:gd name="connsiteY95" fmla="*/ 118011 h 761503"/>
                <a:gd name="connsiteX96" fmla="*/ 349182 w 598324"/>
                <a:gd name="connsiteY96" fmla="*/ 101693 h 761503"/>
                <a:gd name="connsiteX97" fmla="*/ 351901 w 598324"/>
                <a:gd name="connsiteY97" fmla="*/ 93534 h 761503"/>
                <a:gd name="connsiteX98" fmla="*/ 368219 w 598324"/>
                <a:gd name="connsiteY98" fmla="*/ 85375 h 761503"/>
                <a:gd name="connsiteX99" fmla="*/ 422613 w 598324"/>
                <a:gd name="connsiteY99" fmla="*/ 79935 h 761503"/>
                <a:gd name="connsiteX100" fmla="*/ 444370 w 598324"/>
                <a:gd name="connsiteY100" fmla="*/ 79935 h 761503"/>
                <a:gd name="connsiteX101" fmla="*/ 463407 w 598324"/>
                <a:gd name="connsiteY101" fmla="*/ 71776 h 761503"/>
                <a:gd name="connsiteX102" fmla="*/ 477006 w 598324"/>
                <a:gd name="connsiteY102" fmla="*/ 79935 h 761503"/>
                <a:gd name="connsiteX103" fmla="*/ 515081 w 598324"/>
                <a:gd name="connsiteY103" fmla="*/ 79935 h 761503"/>
                <a:gd name="connsiteX104" fmla="*/ 515081 w 598324"/>
                <a:gd name="connsiteY104" fmla="*/ 79935 h 761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</a:cxnLst>
              <a:rect l="l" t="t" r="r" b="b"/>
              <a:pathLst>
                <a:path w="598324" h="761503">
                  <a:moveTo>
                    <a:pt x="515081" y="79935"/>
                  </a:moveTo>
                  <a:cubicBezTo>
                    <a:pt x="523240" y="79935"/>
                    <a:pt x="542277" y="79935"/>
                    <a:pt x="542277" y="96253"/>
                  </a:cubicBezTo>
                  <a:cubicBezTo>
                    <a:pt x="542277" y="104412"/>
                    <a:pt x="542277" y="107132"/>
                    <a:pt x="536838" y="112571"/>
                  </a:cubicBezTo>
                  <a:cubicBezTo>
                    <a:pt x="534119" y="118011"/>
                    <a:pt x="528679" y="120730"/>
                    <a:pt x="523240" y="120730"/>
                  </a:cubicBezTo>
                  <a:cubicBezTo>
                    <a:pt x="515081" y="123450"/>
                    <a:pt x="512361" y="123450"/>
                    <a:pt x="506922" y="123450"/>
                  </a:cubicBezTo>
                  <a:cubicBezTo>
                    <a:pt x="504202" y="123450"/>
                    <a:pt x="490604" y="123450"/>
                    <a:pt x="477006" y="123450"/>
                  </a:cubicBezTo>
                  <a:cubicBezTo>
                    <a:pt x="477006" y="131609"/>
                    <a:pt x="479725" y="137048"/>
                    <a:pt x="479725" y="145207"/>
                  </a:cubicBezTo>
                  <a:cubicBezTo>
                    <a:pt x="479725" y="156086"/>
                    <a:pt x="477006" y="166964"/>
                    <a:pt x="477006" y="180563"/>
                  </a:cubicBezTo>
                  <a:cubicBezTo>
                    <a:pt x="477006" y="196881"/>
                    <a:pt x="479725" y="215918"/>
                    <a:pt x="482445" y="232236"/>
                  </a:cubicBezTo>
                  <a:cubicBezTo>
                    <a:pt x="485165" y="248554"/>
                    <a:pt x="485165" y="267592"/>
                    <a:pt x="485165" y="283909"/>
                  </a:cubicBezTo>
                  <a:cubicBezTo>
                    <a:pt x="485165" y="297508"/>
                    <a:pt x="485165" y="313826"/>
                    <a:pt x="485165" y="327424"/>
                  </a:cubicBezTo>
                  <a:cubicBezTo>
                    <a:pt x="485165" y="343742"/>
                    <a:pt x="487884" y="357340"/>
                    <a:pt x="487884" y="373658"/>
                  </a:cubicBezTo>
                  <a:cubicBezTo>
                    <a:pt x="487884" y="389976"/>
                    <a:pt x="485165" y="403574"/>
                    <a:pt x="485165" y="419892"/>
                  </a:cubicBezTo>
                  <a:cubicBezTo>
                    <a:pt x="485165" y="436210"/>
                    <a:pt x="485165" y="449808"/>
                    <a:pt x="485165" y="463407"/>
                  </a:cubicBezTo>
                  <a:cubicBezTo>
                    <a:pt x="485165" y="479725"/>
                    <a:pt x="485165" y="498762"/>
                    <a:pt x="482445" y="515080"/>
                  </a:cubicBezTo>
                  <a:cubicBezTo>
                    <a:pt x="482445" y="528678"/>
                    <a:pt x="482445" y="542277"/>
                    <a:pt x="482445" y="558595"/>
                  </a:cubicBezTo>
                  <a:cubicBezTo>
                    <a:pt x="482445" y="572193"/>
                    <a:pt x="479725" y="588511"/>
                    <a:pt x="479725" y="602109"/>
                  </a:cubicBezTo>
                  <a:cubicBezTo>
                    <a:pt x="479725" y="615708"/>
                    <a:pt x="485165" y="632025"/>
                    <a:pt x="485165" y="648343"/>
                  </a:cubicBezTo>
                  <a:cubicBezTo>
                    <a:pt x="485165" y="659222"/>
                    <a:pt x="482445" y="670101"/>
                    <a:pt x="474286" y="675540"/>
                  </a:cubicBezTo>
                  <a:cubicBezTo>
                    <a:pt x="460688" y="686418"/>
                    <a:pt x="444370" y="691858"/>
                    <a:pt x="428052" y="691858"/>
                  </a:cubicBezTo>
                  <a:cubicBezTo>
                    <a:pt x="414453" y="691858"/>
                    <a:pt x="400855" y="689138"/>
                    <a:pt x="387257" y="683699"/>
                  </a:cubicBezTo>
                  <a:cubicBezTo>
                    <a:pt x="373659" y="678259"/>
                    <a:pt x="360060" y="672820"/>
                    <a:pt x="351901" y="664661"/>
                  </a:cubicBezTo>
                  <a:cubicBezTo>
                    <a:pt x="330144" y="645624"/>
                    <a:pt x="316546" y="621147"/>
                    <a:pt x="305667" y="596670"/>
                  </a:cubicBezTo>
                  <a:cubicBezTo>
                    <a:pt x="292069" y="569473"/>
                    <a:pt x="281190" y="539557"/>
                    <a:pt x="270312" y="509641"/>
                  </a:cubicBezTo>
                  <a:cubicBezTo>
                    <a:pt x="264872" y="493323"/>
                    <a:pt x="256713" y="477005"/>
                    <a:pt x="251274" y="460687"/>
                  </a:cubicBezTo>
                  <a:cubicBezTo>
                    <a:pt x="240395" y="433490"/>
                    <a:pt x="232236" y="409014"/>
                    <a:pt x="224077" y="381817"/>
                  </a:cubicBezTo>
                  <a:cubicBezTo>
                    <a:pt x="218638" y="365499"/>
                    <a:pt x="213199" y="346462"/>
                    <a:pt x="207759" y="330144"/>
                  </a:cubicBezTo>
                  <a:cubicBezTo>
                    <a:pt x="202320" y="316545"/>
                    <a:pt x="196881" y="300227"/>
                    <a:pt x="191442" y="286629"/>
                  </a:cubicBezTo>
                  <a:cubicBezTo>
                    <a:pt x="188722" y="281190"/>
                    <a:pt x="186002" y="278470"/>
                    <a:pt x="183283" y="278470"/>
                  </a:cubicBezTo>
                  <a:cubicBezTo>
                    <a:pt x="180563" y="278470"/>
                    <a:pt x="180563" y="286629"/>
                    <a:pt x="180563" y="292068"/>
                  </a:cubicBezTo>
                  <a:cubicBezTo>
                    <a:pt x="180563" y="297508"/>
                    <a:pt x="180563" y="302947"/>
                    <a:pt x="180563" y="305667"/>
                  </a:cubicBezTo>
                  <a:cubicBezTo>
                    <a:pt x="180563" y="321985"/>
                    <a:pt x="183283" y="338303"/>
                    <a:pt x="183283" y="354620"/>
                  </a:cubicBezTo>
                  <a:cubicBezTo>
                    <a:pt x="183283" y="387256"/>
                    <a:pt x="186002" y="417173"/>
                    <a:pt x="188722" y="449808"/>
                  </a:cubicBezTo>
                  <a:cubicBezTo>
                    <a:pt x="188722" y="460687"/>
                    <a:pt x="188722" y="468846"/>
                    <a:pt x="188722" y="479725"/>
                  </a:cubicBezTo>
                  <a:cubicBezTo>
                    <a:pt x="188722" y="501482"/>
                    <a:pt x="188722" y="523239"/>
                    <a:pt x="188722" y="542277"/>
                  </a:cubicBezTo>
                  <a:cubicBezTo>
                    <a:pt x="188722" y="566754"/>
                    <a:pt x="186002" y="591231"/>
                    <a:pt x="186002" y="615708"/>
                  </a:cubicBezTo>
                  <a:cubicBezTo>
                    <a:pt x="186002" y="623866"/>
                    <a:pt x="186002" y="632025"/>
                    <a:pt x="186002" y="637465"/>
                  </a:cubicBezTo>
                  <a:cubicBezTo>
                    <a:pt x="186002" y="645624"/>
                    <a:pt x="183283" y="656502"/>
                    <a:pt x="183283" y="664661"/>
                  </a:cubicBezTo>
                  <a:cubicBezTo>
                    <a:pt x="202320" y="664661"/>
                    <a:pt x="218638" y="664661"/>
                    <a:pt x="226797" y="664661"/>
                  </a:cubicBezTo>
                  <a:cubicBezTo>
                    <a:pt x="234956" y="664661"/>
                    <a:pt x="253994" y="664661"/>
                    <a:pt x="253994" y="680979"/>
                  </a:cubicBezTo>
                  <a:cubicBezTo>
                    <a:pt x="253994" y="689138"/>
                    <a:pt x="253994" y="691858"/>
                    <a:pt x="248554" y="697297"/>
                  </a:cubicBezTo>
                  <a:cubicBezTo>
                    <a:pt x="245835" y="702736"/>
                    <a:pt x="240395" y="705456"/>
                    <a:pt x="234956" y="705456"/>
                  </a:cubicBezTo>
                  <a:cubicBezTo>
                    <a:pt x="226797" y="708176"/>
                    <a:pt x="224077" y="708176"/>
                    <a:pt x="218638" y="708176"/>
                  </a:cubicBezTo>
                  <a:cubicBezTo>
                    <a:pt x="215918" y="708176"/>
                    <a:pt x="199600" y="708176"/>
                    <a:pt x="183283" y="708176"/>
                  </a:cubicBezTo>
                  <a:cubicBezTo>
                    <a:pt x="166965" y="708176"/>
                    <a:pt x="153366" y="708176"/>
                    <a:pt x="150647" y="708176"/>
                  </a:cubicBezTo>
                  <a:cubicBezTo>
                    <a:pt x="139768" y="708176"/>
                    <a:pt x="120730" y="708176"/>
                    <a:pt x="107132" y="708176"/>
                  </a:cubicBezTo>
                  <a:cubicBezTo>
                    <a:pt x="101693" y="708176"/>
                    <a:pt x="96254" y="708176"/>
                    <a:pt x="88094" y="708176"/>
                  </a:cubicBezTo>
                  <a:cubicBezTo>
                    <a:pt x="82655" y="708176"/>
                    <a:pt x="74496" y="708176"/>
                    <a:pt x="69057" y="702736"/>
                  </a:cubicBezTo>
                  <a:cubicBezTo>
                    <a:pt x="63617" y="700017"/>
                    <a:pt x="58178" y="691858"/>
                    <a:pt x="58178" y="686418"/>
                  </a:cubicBezTo>
                  <a:cubicBezTo>
                    <a:pt x="58178" y="683699"/>
                    <a:pt x="58178" y="680979"/>
                    <a:pt x="60898" y="678259"/>
                  </a:cubicBezTo>
                  <a:cubicBezTo>
                    <a:pt x="63617" y="675540"/>
                    <a:pt x="71777" y="672820"/>
                    <a:pt x="77216" y="670101"/>
                  </a:cubicBezTo>
                  <a:cubicBezTo>
                    <a:pt x="90814" y="667381"/>
                    <a:pt x="115291" y="664661"/>
                    <a:pt x="120730" y="664661"/>
                  </a:cubicBezTo>
                  <a:cubicBezTo>
                    <a:pt x="123450" y="664661"/>
                    <a:pt x="126170" y="664661"/>
                    <a:pt x="131609" y="664661"/>
                  </a:cubicBezTo>
                  <a:cubicBezTo>
                    <a:pt x="131609" y="623866"/>
                    <a:pt x="134329" y="583072"/>
                    <a:pt x="134329" y="539557"/>
                  </a:cubicBezTo>
                  <a:cubicBezTo>
                    <a:pt x="134329" y="528678"/>
                    <a:pt x="134329" y="515080"/>
                    <a:pt x="134329" y="504201"/>
                  </a:cubicBezTo>
                  <a:cubicBezTo>
                    <a:pt x="131609" y="460687"/>
                    <a:pt x="131609" y="417173"/>
                    <a:pt x="131609" y="376378"/>
                  </a:cubicBezTo>
                  <a:cubicBezTo>
                    <a:pt x="131609" y="351901"/>
                    <a:pt x="131609" y="327424"/>
                    <a:pt x="131609" y="302947"/>
                  </a:cubicBezTo>
                  <a:cubicBezTo>
                    <a:pt x="131609" y="275751"/>
                    <a:pt x="131609" y="248554"/>
                    <a:pt x="134329" y="221357"/>
                  </a:cubicBezTo>
                  <a:cubicBezTo>
                    <a:pt x="134329" y="188722"/>
                    <a:pt x="137048" y="156086"/>
                    <a:pt x="137048" y="123450"/>
                  </a:cubicBezTo>
                  <a:cubicBezTo>
                    <a:pt x="126170" y="123450"/>
                    <a:pt x="115291" y="123450"/>
                    <a:pt x="107132" y="123450"/>
                  </a:cubicBezTo>
                  <a:cubicBezTo>
                    <a:pt x="101693" y="123450"/>
                    <a:pt x="96254" y="123450"/>
                    <a:pt x="88094" y="123450"/>
                  </a:cubicBezTo>
                  <a:cubicBezTo>
                    <a:pt x="82655" y="123450"/>
                    <a:pt x="74496" y="120730"/>
                    <a:pt x="69057" y="118011"/>
                  </a:cubicBezTo>
                  <a:cubicBezTo>
                    <a:pt x="63617" y="115291"/>
                    <a:pt x="58178" y="107132"/>
                    <a:pt x="58178" y="101693"/>
                  </a:cubicBezTo>
                  <a:cubicBezTo>
                    <a:pt x="58178" y="98973"/>
                    <a:pt x="58178" y="96253"/>
                    <a:pt x="60898" y="93534"/>
                  </a:cubicBezTo>
                  <a:cubicBezTo>
                    <a:pt x="63617" y="90814"/>
                    <a:pt x="71777" y="88094"/>
                    <a:pt x="77216" y="85375"/>
                  </a:cubicBezTo>
                  <a:cubicBezTo>
                    <a:pt x="90814" y="82655"/>
                    <a:pt x="126170" y="79935"/>
                    <a:pt x="131609" y="79935"/>
                  </a:cubicBezTo>
                  <a:cubicBezTo>
                    <a:pt x="137048" y="79935"/>
                    <a:pt x="147927" y="79935"/>
                    <a:pt x="161525" y="79935"/>
                  </a:cubicBezTo>
                  <a:cubicBezTo>
                    <a:pt x="166965" y="74496"/>
                    <a:pt x="172404" y="71776"/>
                    <a:pt x="177843" y="66337"/>
                  </a:cubicBezTo>
                  <a:cubicBezTo>
                    <a:pt x="186002" y="60898"/>
                    <a:pt x="194161" y="58178"/>
                    <a:pt x="202320" y="58178"/>
                  </a:cubicBezTo>
                  <a:cubicBezTo>
                    <a:pt x="215918" y="58178"/>
                    <a:pt x="226797" y="63617"/>
                    <a:pt x="234956" y="77216"/>
                  </a:cubicBezTo>
                  <a:cubicBezTo>
                    <a:pt x="240395" y="88094"/>
                    <a:pt x="248554" y="96253"/>
                    <a:pt x="251274" y="107132"/>
                  </a:cubicBezTo>
                  <a:cubicBezTo>
                    <a:pt x="256713" y="120730"/>
                    <a:pt x="259433" y="134328"/>
                    <a:pt x="267592" y="147927"/>
                  </a:cubicBezTo>
                  <a:cubicBezTo>
                    <a:pt x="273031" y="158805"/>
                    <a:pt x="275751" y="172404"/>
                    <a:pt x="281190" y="183282"/>
                  </a:cubicBezTo>
                  <a:cubicBezTo>
                    <a:pt x="286630" y="196881"/>
                    <a:pt x="292069" y="210479"/>
                    <a:pt x="297508" y="224077"/>
                  </a:cubicBezTo>
                  <a:cubicBezTo>
                    <a:pt x="300228" y="237675"/>
                    <a:pt x="305667" y="251274"/>
                    <a:pt x="308387" y="264872"/>
                  </a:cubicBezTo>
                  <a:cubicBezTo>
                    <a:pt x="311106" y="278470"/>
                    <a:pt x="311106" y="289349"/>
                    <a:pt x="319265" y="300227"/>
                  </a:cubicBezTo>
                  <a:cubicBezTo>
                    <a:pt x="332864" y="324704"/>
                    <a:pt x="346462" y="351901"/>
                    <a:pt x="351901" y="379097"/>
                  </a:cubicBezTo>
                  <a:cubicBezTo>
                    <a:pt x="354621" y="392696"/>
                    <a:pt x="360060" y="403574"/>
                    <a:pt x="365500" y="417173"/>
                  </a:cubicBezTo>
                  <a:cubicBezTo>
                    <a:pt x="373659" y="430771"/>
                    <a:pt x="373659" y="444369"/>
                    <a:pt x="379098" y="457967"/>
                  </a:cubicBezTo>
                  <a:cubicBezTo>
                    <a:pt x="381818" y="471566"/>
                    <a:pt x="387257" y="482444"/>
                    <a:pt x="395416" y="496043"/>
                  </a:cubicBezTo>
                  <a:cubicBezTo>
                    <a:pt x="398136" y="501482"/>
                    <a:pt x="403575" y="506921"/>
                    <a:pt x="406294" y="512361"/>
                  </a:cubicBezTo>
                  <a:cubicBezTo>
                    <a:pt x="409014" y="517800"/>
                    <a:pt x="409014" y="525959"/>
                    <a:pt x="411734" y="531398"/>
                  </a:cubicBezTo>
                  <a:cubicBezTo>
                    <a:pt x="414453" y="539557"/>
                    <a:pt x="417173" y="550436"/>
                    <a:pt x="419893" y="558595"/>
                  </a:cubicBezTo>
                  <a:cubicBezTo>
                    <a:pt x="422613" y="561314"/>
                    <a:pt x="422613" y="564034"/>
                    <a:pt x="425332" y="564034"/>
                  </a:cubicBezTo>
                  <a:cubicBezTo>
                    <a:pt x="428052" y="564034"/>
                    <a:pt x="428052" y="561314"/>
                    <a:pt x="430771" y="558595"/>
                  </a:cubicBezTo>
                  <a:cubicBezTo>
                    <a:pt x="430771" y="555875"/>
                    <a:pt x="430771" y="553155"/>
                    <a:pt x="430771" y="550436"/>
                  </a:cubicBezTo>
                  <a:cubicBezTo>
                    <a:pt x="430771" y="534118"/>
                    <a:pt x="430771" y="517800"/>
                    <a:pt x="430771" y="501482"/>
                  </a:cubicBezTo>
                  <a:cubicBezTo>
                    <a:pt x="430771" y="468846"/>
                    <a:pt x="433491" y="436210"/>
                    <a:pt x="430771" y="403574"/>
                  </a:cubicBezTo>
                  <a:cubicBezTo>
                    <a:pt x="430771" y="373658"/>
                    <a:pt x="425332" y="343742"/>
                    <a:pt x="425332" y="313826"/>
                  </a:cubicBezTo>
                  <a:cubicBezTo>
                    <a:pt x="425332" y="292068"/>
                    <a:pt x="425332" y="270311"/>
                    <a:pt x="425332" y="248554"/>
                  </a:cubicBezTo>
                  <a:cubicBezTo>
                    <a:pt x="425332" y="234956"/>
                    <a:pt x="425332" y="224077"/>
                    <a:pt x="425332" y="210479"/>
                  </a:cubicBezTo>
                  <a:cubicBezTo>
                    <a:pt x="425332" y="191441"/>
                    <a:pt x="422613" y="172404"/>
                    <a:pt x="422613" y="153366"/>
                  </a:cubicBezTo>
                  <a:cubicBezTo>
                    <a:pt x="422613" y="142487"/>
                    <a:pt x="422613" y="134328"/>
                    <a:pt x="425332" y="123450"/>
                  </a:cubicBezTo>
                  <a:cubicBezTo>
                    <a:pt x="417173" y="123450"/>
                    <a:pt x="406294" y="123450"/>
                    <a:pt x="398136" y="123450"/>
                  </a:cubicBezTo>
                  <a:cubicBezTo>
                    <a:pt x="392696" y="123450"/>
                    <a:pt x="387257" y="123450"/>
                    <a:pt x="379098" y="123450"/>
                  </a:cubicBezTo>
                  <a:cubicBezTo>
                    <a:pt x="373659" y="123450"/>
                    <a:pt x="365500" y="120730"/>
                    <a:pt x="360060" y="118011"/>
                  </a:cubicBezTo>
                  <a:cubicBezTo>
                    <a:pt x="354621" y="115291"/>
                    <a:pt x="349182" y="107132"/>
                    <a:pt x="349182" y="101693"/>
                  </a:cubicBezTo>
                  <a:cubicBezTo>
                    <a:pt x="349182" y="98973"/>
                    <a:pt x="349182" y="96253"/>
                    <a:pt x="351901" y="93534"/>
                  </a:cubicBezTo>
                  <a:cubicBezTo>
                    <a:pt x="354621" y="90814"/>
                    <a:pt x="362780" y="88094"/>
                    <a:pt x="368219" y="85375"/>
                  </a:cubicBezTo>
                  <a:cubicBezTo>
                    <a:pt x="381818" y="82655"/>
                    <a:pt x="417173" y="79935"/>
                    <a:pt x="422613" y="79935"/>
                  </a:cubicBezTo>
                  <a:cubicBezTo>
                    <a:pt x="428052" y="79935"/>
                    <a:pt x="433491" y="79935"/>
                    <a:pt x="444370" y="79935"/>
                  </a:cubicBezTo>
                  <a:cubicBezTo>
                    <a:pt x="449809" y="74496"/>
                    <a:pt x="455248" y="71776"/>
                    <a:pt x="463407" y="71776"/>
                  </a:cubicBezTo>
                  <a:cubicBezTo>
                    <a:pt x="471566" y="71776"/>
                    <a:pt x="477006" y="74496"/>
                    <a:pt x="477006" y="79935"/>
                  </a:cubicBezTo>
                  <a:cubicBezTo>
                    <a:pt x="493324" y="79935"/>
                    <a:pt x="506922" y="79935"/>
                    <a:pt x="515081" y="79935"/>
                  </a:cubicBezTo>
                  <a:lnTo>
                    <a:pt x="515081" y="79935"/>
                  </a:ln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43" name="Freeform: Shape 42">
              <a:extLst>
                <a:ext uri="{FF2B5EF4-FFF2-40B4-BE49-F238E27FC236}">
                  <a16:creationId xmlns:a16="http://schemas.microsoft.com/office/drawing/2014/main" id="{333FD0A1-B4A7-40CA-B9EE-32085C096039}"/>
                </a:ext>
              </a:extLst>
            </p:cNvPr>
            <p:cNvSpPr/>
            <p:nvPr/>
          </p:nvSpPr>
          <p:spPr>
            <a:xfrm>
              <a:off x="5139126" y="4192158"/>
              <a:ext cx="516735" cy="788700"/>
            </a:xfrm>
            <a:custGeom>
              <a:avLst/>
              <a:gdLst>
                <a:gd name="connsiteX0" fmla="*/ 464616 w 516735"/>
                <a:gd name="connsiteY0" fmla="*/ 436210 h 788699"/>
                <a:gd name="connsiteX1" fmla="*/ 445578 w 516735"/>
                <a:gd name="connsiteY1" fmla="*/ 455248 h 788699"/>
                <a:gd name="connsiteX2" fmla="*/ 404784 w 516735"/>
                <a:gd name="connsiteY2" fmla="*/ 466126 h 788699"/>
                <a:gd name="connsiteX3" fmla="*/ 385746 w 516735"/>
                <a:gd name="connsiteY3" fmla="*/ 479725 h 788699"/>
                <a:gd name="connsiteX4" fmla="*/ 388466 w 516735"/>
                <a:gd name="connsiteY4" fmla="*/ 512361 h 788699"/>
                <a:gd name="connsiteX5" fmla="*/ 388466 w 516735"/>
                <a:gd name="connsiteY5" fmla="*/ 544997 h 788699"/>
                <a:gd name="connsiteX6" fmla="*/ 388466 w 516735"/>
                <a:gd name="connsiteY6" fmla="*/ 566754 h 788699"/>
                <a:gd name="connsiteX7" fmla="*/ 391185 w 516735"/>
                <a:gd name="connsiteY7" fmla="*/ 632026 h 788699"/>
                <a:gd name="connsiteX8" fmla="*/ 393905 w 516735"/>
                <a:gd name="connsiteY8" fmla="*/ 683699 h 788699"/>
                <a:gd name="connsiteX9" fmla="*/ 377587 w 516735"/>
                <a:gd name="connsiteY9" fmla="*/ 724494 h 788699"/>
                <a:gd name="connsiteX10" fmla="*/ 361269 w 516735"/>
                <a:gd name="connsiteY10" fmla="*/ 719054 h 788699"/>
                <a:gd name="connsiteX11" fmla="*/ 353110 w 516735"/>
                <a:gd name="connsiteY11" fmla="*/ 702737 h 788699"/>
                <a:gd name="connsiteX12" fmla="*/ 350390 w 516735"/>
                <a:gd name="connsiteY12" fmla="*/ 686419 h 788699"/>
                <a:gd name="connsiteX13" fmla="*/ 353110 w 516735"/>
                <a:gd name="connsiteY13" fmla="*/ 659222 h 788699"/>
                <a:gd name="connsiteX14" fmla="*/ 353110 w 516735"/>
                <a:gd name="connsiteY14" fmla="*/ 656502 h 788699"/>
                <a:gd name="connsiteX15" fmla="*/ 317755 w 516735"/>
                <a:gd name="connsiteY15" fmla="*/ 708176 h 788699"/>
                <a:gd name="connsiteX16" fmla="*/ 241604 w 516735"/>
                <a:gd name="connsiteY16" fmla="*/ 735372 h 788699"/>
                <a:gd name="connsiteX17" fmla="*/ 187211 w 516735"/>
                <a:gd name="connsiteY17" fmla="*/ 727214 h 788699"/>
                <a:gd name="connsiteX18" fmla="*/ 135538 w 516735"/>
                <a:gd name="connsiteY18" fmla="*/ 694578 h 788699"/>
                <a:gd name="connsiteX19" fmla="*/ 86584 w 516735"/>
                <a:gd name="connsiteY19" fmla="*/ 621147 h 788699"/>
                <a:gd name="connsiteX20" fmla="*/ 67546 w 516735"/>
                <a:gd name="connsiteY20" fmla="*/ 555875 h 788699"/>
                <a:gd name="connsiteX21" fmla="*/ 59387 w 516735"/>
                <a:gd name="connsiteY21" fmla="*/ 509641 h 788699"/>
                <a:gd name="connsiteX22" fmla="*/ 59387 w 516735"/>
                <a:gd name="connsiteY22" fmla="*/ 468846 h 788699"/>
                <a:gd name="connsiteX23" fmla="*/ 86584 w 516735"/>
                <a:gd name="connsiteY23" fmla="*/ 302947 h 788699"/>
                <a:gd name="connsiteX24" fmla="*/ 108341 w 516735"/>
                <a:gd name="connsiteY24" fmla="*/ 224077 h 788699"/>
                <a:gd name="connsiteX25" fmla="*/ 146416 w 516735"/>
                <a:gd name="connsiteY25" fmla="*/ 145207 h 788699"/>
                <a:gd name="connsiteX26" fmla="*/ 198090 w 516735"/>
                <a:gd name="connsiteY26" fmla="*/ 85375 h 788699"/>
                <a:gd name="connsiteX27" fmla="*/ 228006 w 516735"/>
                <a:gd name="connsiteY27" fmla="*/ 69057 h 788699"/>
                <a:gd name="connsiteX28" fmla="*/ 268801 w 516735"/>
                <a:gd name="connsiteY28" fmla="*/ 58178 h 788699"/>
                <a:gd name="connsiteX29" fmla="*/ 274240 w 516735"/>
                <a:gd name="connsiteY29" fmla="*/ 58178 h 788699"/>
                <a:gd name="connsiteX30" fmla="*/ 295997 w 516735"/>
                <a:gd name="connsiteY30" fmla="*/ 60898 h 788699"/>
                <a:gd name="connsiteX31" fmla="*/ 331353 w 516735"/>
                <a:gd name="connsiteY31" fmla="*/ 71776 h 788699"/>
                <a:gd name="connsiteX32" fmla="*/ 350390 w 516735"/>
                <a:gd name="connsiteY32" fmla="*/ 93534 h 788699"/>
                <a:gd name="connsiteX33" fmla="*/ 353110 w 516735"/>
                <a:gd name="connsiteY33" fmla="*/ 74496 h 788699"/>
                <a:gd name="connsiteX34" fmla="*/ 358549 w 516735"/>
                <a:gd name="connsiteY34" fmla="*/ 63618 h 788699"/>
                <a:gd name="connsiteX35" fmla="*/ 366708 w 516735"/>
                <a:gd name="connsiteY35" fmla="*/ 58178 h 788699"/>
                <a:gd name="connsiteX36" fmla="*/ 374867 w 516735"/>
                <a:gd name="connsiteY36" fmla="*/ 63618 h 788699"/>
                <a:gd name="connsiteX37" fmla="*/ 383026 w 516735"/>
                <a:gd name="connsiteY37" fmla="*/ 82655 h 788699"/>
                <a:gd name="connsiteX38" fmla="*/ 385746 w 516735"/>
                <a:gd name="connsiteY38" fmla="*/ 126170 h 788699"/>
                <a:gd name="connsiteX39" fmla="*/ 388466 w 516735"/>
                <a:gd name="connsiteY39" fmla="*/ 186002 h 788699"/>
                <a:gd name="connsiteX40" fmla="*/ 391185 w 516735"/>
                <a:gd name="connsiteY40" fmla="*/ 237676 h 788699"/>
                <a:gd name="connsiteX41" fmla="*/ 374867 w 516735"/>
                <a:gd name="connsiteY41" fmla="*/ 278470 h 788699"/>
                <a:gd name="connsiteX42" fmla="*/ 358549 w 516735"/>
                <a:gd name="connsiteY42" fmla="*/ 273031 h 788699"/>
                <a:gd name="connsiteX43" fmla="*/ 350390 w 516735"/>
                <a:gd name="connsiteY43" fmla="*/ 256713 h 788699"/>
                <a:gd name="connsiteX44" fmla="*/ 347671 w 516735"/>
                <a:gd name="connsiteY44" fmla="*/ 240395 h 788699"/>
                <a:gd name="connsiteX45" fmla="*/ 347671 w 516735"/>
                <a:gd name="connsiteY45" fmla="*/ 213199 h 788699"/>
                <a:gd name="connsiteX46" fmla="*/ 344951 w 516735"/>
                <a:gd name="connsiteY46" fmla="*/ 194161 h 788699"/>
                <a:gd name="connsiteX47" fmla="*/ 339512 w 516735"/>
                <a:gd name="connsiteY47" fmla="*/ 150647 h 788699"/>
                <a:gd name="connsiteX48" fmla="*/ 323194 w 516735"/>
                <a:gd name="connsiteY48" fmla="*/ 112571 h 788699"/>
                <a:gd name="connsiteX49" fmla="*/ 293278 w 516735"/>
                <a:gd name="connsiteY49" fmla="*/ 101693 h 788699"/>
                <a:gd name="connsiteX50" fmla="*/ 263361 w 516735"/>
                <a:gd name="connsiteY50" fmla="*/ 120730 h 788699"/>
                <a:gd name="connsiteX51" fmla="*/ 241604 w 516735"/>
                <a:gd name="connsiteY51" fmla="*/ 153366 h 788699"/>
                <a:gd name="connsiteX52" fmla="*/ 233445 w 516735"/>
                <a:gd name="connsiteY52" fmla="*/ 194161 h 788699"/>
                <a:gd name="connsiteX53" fmla="*/ 225286 w 516735"/>
                <a:gd name="connsiteY53" fmla="*/ 232236 h 788699"/>
                <a:gd name="connsiteX54" fmla="*/ 217127 w 516735"/>
                <a:gd name="connsiteY54" fmla="*/ 275751 h 788699"/>
                <a:gd name="connsiteX55" fmla="*/ 211688 w 516735"/>
                <a:gd name="connsiteY55" fmla="*/ 316545 h 788699"/>
                <a:gd name="connsiteX56" fmla="*/ 206249 w 516735"/>
                <a:gd name="connsiteY56" fmla="*/ 354621 h 788699"/>
                <a:gd name="connsiteX57" fmla="*/ 200809 w 516735"/>
                <a:gd name="connsiteY57" fmla="*/ 398135 h 788699"/>
                <a:gd name="connsiteX58" fmla="*/ 195370 w 516735"/>
                <a:gd name="connsiteY58" fmla="*/ 438930 h 788699"/>
                <a:gd name="connsiteX59" fmla="*/ 192650 w 516735"/>
                <a:gd name="connsiteY59" fmla="*/ 474286 h 788699"/>
                <a:gd name="connsiteX60" fmla="*/ 195370 w 516735"/>
                <a:gd name="connsiteY60" fmla="*/ 525959 h 788699"/>
                <a:gd name="connsiteX61" fmla="*/ 208968 w 516735"/>
                <a:gd name="connsiteY61" fmla="*/ 596670 h 788699"/>
                <a:gd name="connsiteX62" fmla="*/ 214407 w 516735"/>
                <a:gd name="connsiteY62" fmla="*/ 623867 h 788699"/>
                <a:gd name="connsiteX63" fmla="*/ 228006 w 516735"/>
                <a:gd name="connsiteY63" fmla="*/ 656502 h 788699"/>
                <a:gd name="connsiteX64" fmla="*/ 271520 w 516735"/>
                <a:gd name="connsiteY64" fmla="*/ 689138 h 788699"/>
                <a:gd name="connsiteX65" fmla="*/ 306876 w 516735"/>
                <a:gd name="connsiteY65" fmla="*/ 664661 h 788699"/>
                <a:gd name="connsiteX66" fmla="*/ 331353 w 516735"/>
                <a:gd name="connsiteY66" fmla="*/ 602109 h 788699"/>
                <a:gd name="connsiteX67" fmla="*/ 336792 w 516735"/>
                <a:gd name="connsiteY67" fmla="*/ 544997 h 788699"/>
                <a:gd name="connsiteX68" fmla="*/ 336792 w 516735"/>
                <a:gd name="connsiteY68" fmla="*/ 498762 h 788699"/>
                <a:gd name="connsiteX69" fmla="*/ 336792 w 516735"/>
                <a:gd name="connsiteY69" fmla="*/ 490603 h 788699"/>
                <a:gd name="connsiteX70" fmla="*/ 320474 w 516735"/>
                <a:gd name="connsiteY70" fmla="*/ 477005 h 788699"/>
                <a:gd name="connsiteX71" fmla="*/ 282399 w 516735"/>
                <a:gd name="connsiteY71" fmla="*/ 479725 h 788699"/>
                <a:gd name="connsiteX72" fmla="*/ 252483 w 516735"/>
                <a:gd name="connsiteY72" fmla="*/ 474286 h 788699"/>
                <a:gd name="connsiteX73" fmla="*/ 247043 w 516735"/>
                <a:gd name="connsiteY73" fmla="*/ 466126 h 788699"/>
                <a:gd name="connsiteX74" fmla="*/ 249763 w 516735"/>
                <a:gd name="connsiteY74" fmla="*/ 457968 h 788699"/>
                <a:gd name="connsiteX75" fmla="*/ 268801 w 516735"/>
                <a:gd name="connsiteY75" fmla="*/ 447089 h 788699"/>
                <a:gd name="connsiteX76" fmla="*/ 312315 w 516735"/>
                <a:gd name="connsiteY76" fmla="*/ 436210 h 788699"/>
                <a:gd name="connsiteX77" fmla="*/ 353110 w 516735"/>
                <a:gd name="connsiteY77" fmla="*/ 430771 h 788699"/>
                <a:gd name="connsiteX78" fmla="*/ 385746 w 516735"/>
                <a:gd name="connsiteY78" fmla="*/ 430771 h 788699"/>
                <a:gd name="connsiteX79" fmla="*/ 437420 w 516735"/>
                <a:gd name="connsiteY79" fmla="*/ 428051 h 788699"/>
                <a:gd name="connsiteX80" fmla="*/ 464616 w 516735"/>
                <a:gd name="connsiteY80" fmla="*/ 436210 h 7886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</a:cxnLst>
              <a:rect l="l" t="t" r="r" b="b"/>
              <a:pathLst>
                <a:path w="516735" h="788699">
                  <a:moveTo>
                    <a:pt x="464616" y="436210"/>
                  </a:moveTo>
                  <a:cubicBezTo>
                    <a:pt x="464616" y="447089"/>
                    <a:pt x="453737" y="452528"/>
                    <a:pt x="445578" y="455248"/>
                  </a:cubicBezTo>
                  <a:cubicBezTo>
                    <a:pt x="434700" y="460687"/>
                    <a:pt x="415662" y="463407"/>
                    <a:pt x="404784" y="466126"/>
                  </a:cubicBezTo>
                  <a:cubicBezTo>
                    <a:pt x="393905" y="466126"/>
                    <a:pt x="385746" y="468846"/>
                    <a:pt x="385746" y="479725"/>
                  </a:cubicBezTo>
                  <a:cubicBezTo>
                    <a:pt x="385746" y="487884"/>
                    <a:pt x="388466" y="506921"/>
                    <a:pt x="388466" y="512361"/>
                  </a:cubicBezTo>
                  <a:cubicBezTo>
                    <a:pt x="388466" y="515080"/>
                    <a:pt x="388466" y="539557"/>
                    <a:pt x="388466" y="544997"/>
                  </a:cubicBezTo>
                  <a:cubicBezTo>
                    <a:pt x="388466" y="550436"/>
                    <a:pt x="388466" y="558595"/>
                    <a:pt x="388466" y="566754"/>
                  </a:cubicBezTo>
                  <a:cubicBezTo>
                    <a:pt x="388466" y="591231"/>
                    <a:pt x="388466" y="621147"/>
                    <a:pt x="391185" y="632026"/>
                  </a:cubicBezTo>
                  <a:cubicBezTo>
                    <a:pt x="393905" y="653783"/>
                    <a:pt x="393905" y="661942"/>
                    <a:pt x="393905" y="683699"/>
                  </a:cubicBezTo>
                  <a:cubicBezTo>
                    <a:pt x="393905" y="694578"/>
                    <a:pt x="393905" y="724494"/>
                    <a:pt x="377587" y="724494"/>
                  </a:cubicBezTo>
                  <a:cubicBezTo>
                    <a:pt x="369428" y="724494"/>
                    <a:pt x="366708" y="721774"/>
                    <a:pt x="361269" y="719054"/>
                  </a:cubicBezTo>
                  <a:cubicBezTo>
                    <a:pt x="355830" y="716335"/>
                    <a:pt x="353110" y="708176"/>
                    <a:pt x="353110" y="702737"/>
                  </a:cubicBezTo>
                  <a:cubicBezTo>
                    <a:pt x="350390" y="694578"/>
                    <a:pt x="350390" y="689138"/>
                    <a:pt x="350390" y="686419"/>
                  </a:cubicBezTo>
                  <a:cubicBezTo>
                    <a:pt x="350390" y="678260"/>
                    <a:pt x="353110" y="672820"/>
                    <a:pt x="353110" y="659222"/>
                  </a:cubicBezTo>
                  <a:lnTo>
                    <a:pt x="353110" y="656502"/>
                  </a:lnTo>
                  <a:cubicBezTo>
                    <a:pt x="347671" y="675540"/>
                    <a:pt x="334072" y="694578"/>
                    <a:pt x="317755" y="708176"/>
                  </a:cubicBezTo>
                  <a:cubicBezTo>
                    <a:pt x="293278" y="727214"/>
                    <a:pt x="274240" y="735372"/>
                    <a:pt x="241604" y="735372"/>
                  </a:cubicBezTo>
                  <a:cubicBezTo>
                    <a:pt x="222566" y="735372"/>
                    <a:pt x="203529" y="732653"/>
                    <a:pt x="187211" y="727214"/>
                  </a:cubicBezTo>
                  <a:cubicBezTo>
                    <a:pt x="165454" y="719054"/>
                    <a:pt x="149136" y="708176"/>
                    <a:pt x="135538" y="694578"/>
                  </a:cubicBezTo>
                  <a:cubicBezTo>
                    <a:pt x="113780" y="672820"/>
                    <a:pt x="100182" y="648343"/>
                    <a:pt x="86584" y="621147"/>
                  </a:cubicBezTo>
                  <a:cubicBezTo>
                    <a:pt x="75705" y="599390"/>
                    <a:pt x="70266" y="580352"/>
                    <a:pt x="67546" y="555875"/>
                  </a:cubicBezTo>
                  <a:cubicBezTo>
                    <a:pt x="64826" y="539557"/>
                    <a:pt x="62107" y="525959"/>
                    <a:pt x="59387" y="509641"/>
                  </a:cubicBezTo>
                  <a:cubicBezTo>
                    <a:pt x="56667" y="493323"/>
                    <a:pt x="59387" y="485164"/>
                    <a:pt x="59387" y="468846"/>
                  </a:cubicBezTo>
                  <a:cubicBezTo>
                    <a:pt x="59387" y="414453"/>
                    <a:pt x="72985" y="362780"/>
                    <a:pt x="86584" y="302947"/>
                  </a:cubicBezTo>
                  <a:cubicBezTo>
                    <a:pt x="92023" y="275751"/>
                    <a:pt x="100182" y="248554"/>
                    <a:pt x="108341" y="224077"/>
                  </a:cubicBezTo>
                  <a:cubicBezTo>
                    <a:pt x="116500" y="196881"/>
                    <a:pt x="130098" y="169684"/>
                    <a:pt x="146416" y="145207"/>
                  </a:cubicBezTo>
                  <a:cubicBezTo>
                    <a:pt x="160014" y="123450"/>
                    <a:pt x="176332" y="101693"/>
                    <a:pt x="198090" y="85375"/>
                  </a:cubicBezTo>
                  <a:cubicBezTo>
                    <a:pt x="206249" y="77216"/>
                    <a:pt x="217127" y="71776"/>
                    <a:pt x="228006" y="69057"/>
                  </a:cubicBezTo>
                  <a:cubicBezTo>
                    <a:pt x="241604" y="63618"/>
                    <a:pt x="255202" y="58178"/>
                    <a:pt x="268801" y="58178"/>
                  </a:cubicBezTo>
                  <a:cubicBezTo>
                    <a:pt x="271520" y="58178"/>
                    <a:pt x="274240" y="58178"/>
                    <a:pt x="274240" y="58178"/>
                  </a:cubicBezTo>
                  <a:cubicBezTo>
                    <a:pt x="279679" y="58178"/>
                    <a:pt x="285119" y="58178"/>
                    <a:pt x="295997" y="60898"/>
                  </a:cubicBezTo>
                  <a:cubicBezTo>
                    <a:pt x="309595" y="63618"/>
                    <a:pt x="320474" y="66337"/>
                    <a:pt x="331353" y="71776"/>
                  </a:cubicBezTo>
                  <a:cubicBezTo>
                    <a:pt x="339512" y="77216"/>
                    <a:pt x="347671" y="85375"/>
                    <a:pt x="350390" y="93534"/>
                  </a:cubicBezTo>
                  <a:cubicBezTo>
                    <a:pt x="350390" y="88095"/>
                    <a:pt x="353110" y="79936"/>
                    <a:pt x="353110" y="74496"/>
                  </a:cubicBezTo>
                  <a:cubicBezTo>
                    <a:pt x="355830" y="71776"/>
                    <a:pt x="355830" y="69057"/>
                    <a:pt x="358549" y="63618"/>
                  </a:cubicBezTo>
                  <a:cubicBezTo>
                    <a:pt x="361269" y="60898"/>
                    <a:pt x="363989" y="58178"/>
                    <a:pt x="366708" y="58178"/>
                  </a:cubicBezTo>
                  <a:cubicBezTo>
                    <a:pt x="369428" y="58178"/>
                    <a:pt x="372148" y="60898"/>
                    <a:pt x="374867" y="63618"/>
                  </a:cubicBezTo>
                  <a:cubicBezTo>
                    <a:pt x="377587" y="69057"/>
                    <a:pt x="380307" y="77216"/>
                    <a:pt x="383026" y="82655"/>
                  </a:cubicBezTo>
                  <a:cubicBezTo>
                    <a:pt x="383026" y="90814"/>
                    <a:pt x="385746" y="107132"/>
                    <a:pt x="385746" y="126170"/>
                  </a:cubicBezTo>
                  <a:cubicBezTo>
                    <a:pt x="385746" y="150647"/>
                    <a:pt x="385746" y="177843"/>
                    <a:pt x="388466" y="186002"/>
                  </a:cubicBezTo>
                  <a:cubicBezTo>
                    <a:pt x="391185" y="207759"/>
                    <a:pt x="391185" y="215918"/>
                    <a:pt x="391185" y="237676"/>
                  </a:cubicBezTo>
                  <a:cubicBezTo>
                    <a:pt x="391185" y="248554"/>
                    <a:pt x="391185" y="278470"/>
                    <a:pt x="374867" y="278470"/>
                  </a:cubicBezTo>
                  <a:cubicBezTo>
                    <a:pt x="366708" y="278470"/>
                    <a:pt x="363989" y="275751"/>
                    <a:pt x="358549" y="273031"/>
                  </a:cubicBezTo>
                  <a:cubicBezTo>
                    <a:pt x="353110" y="270311"/>
                    <a:pt x="350390" y="262152"/>
                    <a:pt x="350390" y="256713"/>
                  </a:cubicBezTo>
                  <a:cubicBezTo>
                    <a:pt x="350390" y="251274"/>
                    <a:pt x="347671" y="245834"/>
                    <a:pt x="347671" y="240395"/>
                  </a:cubicBezTo>
                  <a:cubicBezTo>
                    <a:pt x="347671" y="232236"/>
                    <a:pt x="347671" y="224077"/>
                    <a:pt x="347671" y="213199"/>
                  </a:cubicBezTo>
                  <a:cubicBezTo>
                    <a:pt x="347671" y="207759"/>
                    <a:pt x="347671" y="199600"/>
                    <a:pt x="344951" y="194161"/>
                  </a:cubicBezTo>
                  <a:cubicBezTo>
                    <a:pt x="342232" y="180563"/>
                    <a:pt x="342232" y="164245"/>
                    <a:pt x="339512" y="150647"/>
                  </a:cubicBezTo>
                  <a:cubicBezTo>
                    <a:pt x="336792" y="137048"/>
                    <a:pt x="331353" y="123450"/>
                    <a:pt x="323194" y="112571"/>
                  </a:cubicBezTo>
                  <a:cubicBezTo>
                    <a:pt x="317755" y="104412"/>
                    <a:pt x="304156" y="101693"/>
                    <a:pt x="293278" y="101693"/>
                  </a:cubicBezTo>
                  <a:cubicBezTo>
                    <a:pt x="279679" y="101693"/>
                    <a:pt x="271520" y="109852"/>
                    <a:pt x="263361" y="120730"/>
                  </a:cubicBezTo>
                  <a:cubicBezTo>
                    <a:pt x="257922" y="131609"/>
                    <a:pt x="247043" y="139768"/>
                    <a:pt x="241604" y="153366"/>
                  </a:cubicBezTo>
                  <a:cubicBezTo>
                    <a:pt x="236165" y="166964"/>
                    <a:pt x="233445" y="180563"/>
                    <a:pt x="233445" y="194161"/>
                  </a:cubicBezTo>
                  <a:cubicBezTo>
                    <a:pt x="233445" y="207759"/>
                    <a:pt x="230726" y="218638"/>
                    <a:pt x="225286" y="232236"/>
                  </a:cubicBezTo>
                  <a:cubicBezTo>
                    <a:pt x="219847" y="245834"/>
                    <a:pt x="219847" y="262152"/>
                    <a:pt x="217127" y="275751"/>
                  </a:cubicBezTo>
                  <a:cubicBezTo>
                    <a:pt x="214407" y="289349"/>
                    <a:pt x="214407" y="302947"/>
                    <a:pt x="211688" y="316545"/>
                  </a:cubicBezTo>
                  <a:cubicBezTo>
                    <a:pt x="211688" y="330144"/>
                    <a:pt x="206249" y="341022"/>
                    <a:pt x="206249" y="354621"/>
                  </a:cubicBezTo>
                  <a:cubicBezTo>
                    <a:pt x="203529" y="368219"/>
                    <a:pt x="203529" y="381817"/>
                    <a:pt x="200809" y="398135"/>
                  </a:cubicBezTo>
                  <a:cubicBezTo>
                    <a:pt x="198090" y="411733"/>
                    <a:pt x="198090" y="425332"/>
                    <a:pt x="195370" y="438930"/>
                  </a:cubicBezTo>
                  <a:cubicBezTo>
                    <a:pt x="195370" y="449809"/>
                    <a:pt x="192650" y="463407"/>
                    <a:pt x="192650" y="474286"/>
                  </a:cubicBezTo>
                  <a:cubicBezTo>
                    <a:pt x="192650" y="490603"/>
                    <a:pt x="195370" y="509641"/>
                    <a:pt x="195370" y="525959"/>
                  </a:cubicBezTo>
                  <a:cubicBezTo>
                    <a:pt x="195370" y="550436"/>
                    <a:pt x="203529" y="572193"/>
                    <a:pt x="208968" y="596670"/>
                  </a:cubicBezTo>
                  <a:cubicBezTo>
                    <a:pt x="211688" y="604829"/>
                    <a:pt x="211688" y="615708"/>
                    <a:pt x="214407" y="623867"/>
                  </a:cubicBezTo>
                  <a:cubicBezTo>
                    <a:pt x="217127" y="634745"/>
                    <a:pt x="222566" y="645624"/>
                    <a:pt x="228006" y="656502"/>
                  </a:cubicBezTo>
                  <a:cubicBezTo>
                    <a:pt x="236165" y="670101"/>
                    <a:pt x="252483" y="689138"/>
                    <a:pt x="271520" y="689138"/>
                  </a:cubicBezTo>
                  <a:cubicBezTo>
                    <a:pt x="287838" y="689138"/>
                    <a:pt x="298717" y="675540"/>
                    <a:pt x="306876" y="664661"/>
                  </a:cubicBezTo>
                  <a:cubicBezTo>
                    <a:pt x="320474" y="645624"/>
                    <a:pt x="325914" y="623867"/>
                    <a:pt x="331353" y="602109"/>
                  </a:cubicBezTo>
                  <a:cubicBezTo>
                    <a:pt x="334072" y="583072"/>
                    <a:pt x="336792" y="564034"/>
                    <a:pt x="336792" y="544997"/>
                  </a:cubicBezTo>
                  <a:cubicBezTo>
                    <a:pt x="336792" y="531398"/>
                    <a:pt x="336792" y="512361"/>
                    <a:pt x="336792" y="498762"/>
                  </a:cubicBezTo>
                  <a:cubicBezTo>
                    <a:pt x="336792" y="496043"/>
                    <a:pt x="336792" y="493323"/>
                    <a:pt x="336792" y="490603"/>
                  </a:cubicBezTo>
                  <a:cubicBezTo>
                    <a:pt x="336792" y="479725"/>
                    <a:pt x="336792" y="477005"/>
                    <a:pt x="320474" y="477005"/>
                  </a:cubicBezTo>
                  <a:cubicBezTo>
                    <a:pt x="309595" y="477005"/>
                    <a:pt x="295997" y="479725"/>
                    <a:pt x="282399" y="479725"/>
                  </a:cubicBezTo>
                  <a:cubicBezTo>
                    <a:pt x="271520" y="479725"/>
                    <a:pt x="260642" y="479725"/>
                    <a:pt x="252483" y="474286"/>
                  </a:cubicBezTo>
                  <a:cubicBezTo>
                    <a:pt x="249763" y="471566"/>
                    <a:pt x="247043" y="468846"/>
                    <a:pt x="247043" y="466126"/>
                  </a:cubicBezTo>
                  <a:cubicBezTo>
                    <a:pt x="247043" y="463407"/>
                    <a:pt x="247043" y="460687"/>
                    <a:pt x="249763" y="457968"/>
                  </a:cubicBezTo>
                  <a:cubicBezTo>
                    <a:pt x="255202" y="452528"/>
                    <a:pt x="260642" y="449809"/>
                    <a:pt x="268801" y="447089"/>
                  </a:cubicBezTo>
                  <a:cubicBezTo>
                    <a:pt x="282399" y="441650"/>
                    <a:pt x="295997" y="438930"/>
                    <a:pt x="312315" y="436210"/>
                  </a:cubicBezTo>
                  <a:cubicBezTo>
                    <a:pt x="325914" y="433491"/>
                    <a:pt x="339512" y="433491"/>
                    <a:pt x="353110" y="430771"/>
                  </a:cubicBezTo>
                  <a:cubicBezTo>
                    <a:pt x="363989" y="430771"/>
                    <a:pt x="374867" y="430771"/>
                    <a:pt x="385746" y="430771"/>
                  </a:cubicBezTo>
                  <a:cubicBezTo>
                    <a:pt x="402064" y="430771"/>
                    <a:pt x="426541" y="428051"/>
                    <a:pt x="437420" y="428051"/>
                  </a:cubicBezTo>
                  <a:cubicBezTo>
                    <a:pt x="451018" y="419892"/>
                    <a:pt x="464616" y="425332"/>
                    <a:pt x="464616" y="436210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44" name="Freeform: Shape 43">
              <a:extLst>
                <a:ext uri="{FF2B5EF4-FFF2-40B4-BE49-F238E27FC236}">
                  <a16:creationId xmlns:a16="http://schemas.microsoft.com/office/drawing/2014/main" id="{A3BFD3D4-F4DA-42C1-8F72-C50C400F25E5}"/>
                </a:ext>
              </a:extLst>
            </p:cNvPr>
            <p:cNvSpPr/>
            <p:nvPr/>
          </p:nvSpPr>
          <p:spPr>
            <a:xfrm>
              <a:off x="5651630" y="4181279"/>
              <a:ext cx="734308" cy="788700"/>
            </a:xfrm>
            <a:custGeom>
              <a:avLst/>
              <a:gdLst>
                <a:gd name="connsiteX0" fmla="*/ 653783 w 734307"/>
                <a:gd name="connsiteY0" fmla="*/ 678259 h 788699"/>
                <a:gd name="connsiteX1" fmla="*/ 691859 w 734307"/>
                <a:gd name="connsiteY1" fmla="*/ 694577 h 788699"/>
                <a:gd name="connsiteX2" fmla="*/ 686419 w 734307"/>
                <a:gd name="connsiteY2" fmla="*/ 710895 h 788699"/>
                <a:gd name="connsiteX3" fmla="*/ 670101 w 734307"/>
                <a:gd name="connsiteY3" fmla="*/ 719054 h 788699"/>
                <a:gd name="connsiteX4" fmla="*/ 648344 w 734307"/>
                <a:gd name="connsiteY4" fmla="*/ 721774 h 788699"/>
                <a:gd name="connsiteX5" fmla="*/ 618428 w 734307"/>
                <a:gd name="connsiteY5" fmla="*/ 721774 h 788699"/>
                <a:gd name="connsiteX6" fmla="*/ 572194 w 734307"/>
                <a:gd name="connsiteY6" fmla="*/ 735372 h 788699"/>
                <a:gd name="connsiteX7" fmla="*/ 544997 w 734307"/>
                <a:gd name="connsiteY7" fmla="*/ 729933 h 788699"/>
                <a:gd name="connsiteX8" fmla="*/ 534119 w 734307"/>
                <a:gd name="connsiteY8" fmla="*/ 721774 h 788699"/>
                <a:gd name="connsiteX9" fmla="*/ 496043 w 734307"/>
                <a:gd name="connsiteY9" fmla="*/ 721774 h 788699"/>
                <a:gd name="connsiteX10" fmla="*/ 471566 w 734307"/>
                <a:gd name="connsiteY10" fmla="*/ 721774 h 788699"/>
                <a:gd name="connsiteX11" fmla="*/ 444370 w 734307"/>
                <a:gd name="connsiteY11" fmla="*/ 716335 h 788699"/>
                <a:gd name="connsiteX12" fmla="*/ 428052 w 734307"/>
                <a:gd name="connsiteY12" fmla="*/ 700017 h 788699"/>
                <a:gd name="connsiteX13" fmla="*/ 433491 w 734307"/>
                <a:gd name="connsiteY13" fmla="*/ 691858 h 788699"/>
                <a:gd name="connsiteX14" fmla="*/ 455248 w 734307"/>
                <a:gd name="connsiteY14" fmla="*/ 683699 h 788699"/>
                <a:gd name="connsiteX15" fmla="*/ 506922 w 734307"/>
                <a:gd name="connsiteY15" fmla="*/ 678259 h 788699"/>
                <a:gd name="connsiteX16" fmla="*/ 509641 w 734307"/>
                <a:gd name="connsiteY16" fmla="*/ 678259 h 788699"/>
                <a:gd name="connsiteX17" fmla="*/ 506922 w 734307"/>
                <a:gd name="connsiteY17" fmla="*/ 664661 h 788699"/>
                <a:gd name="connsiteX18" fmla="*/ 498763 w 734307"/>
                <a:gd name="connsiteY18" fmla="*/ 580352 h 788699"/>
                <a:gd name="connsiteX19" fmla="*/ 496043 w 734307"/>
                <a:gd name="connsiteY19" fmla="*/ 479725 h 788699"/>
                <a:gd name="connsiteX20" fmla="*/ 493324 w 734307"/>
                <a:gd name="connsiteY20" fmla="*/ 389976 h 788699"/>
                <a:gd name="connsiteX21" fmla="*/ 490604 w 734307"/>
                <a:gd name="connsiteY21" fmla="*/ 302947 h 788699"/>
                <a:gd name="connsiteX22" fmla="*/ 487884 w 734307"/>
                <a:gd name="connsiteY22" fmla="*/ 229516 h 788699"/>
                <a:gd name="connsiteX23" fmla="*/ 485165 w 734307"/>
                <a:gd name="connsiteY23" fmla="*/ 221357 h 788699"/>
                <a:gd name="connsiteX24" fmla="*/ 482445 w 734307"/>
                <a:gd name="connsiteY24" fmla="*/ 226797 h 788699"/>
                <a:gd name="connsiteX25" fmla="*/ 477006 w 734307"/>
                <a:gd name="connsiteY25" fmla="*/ 262152 h 788699"/>
                <a:gd name="connsiteX26" fmla="*/ 460688 w 734307"/>
                <a:gd name="connsiteY26" fmla="*/ 341022 h 788699"/>
                <a:gd name="connsiteX27" fmla="*/ 444370 w 734307"/>
                <a:gd name="connsiteY27" fmla="*/ 417173 h 788699"/>
                <a:gd name="connsiteX28" fmla="*/ 436211 w 734307"/>
                <a:gd name="connsiteY28" fmla="*/ 455248 h 788699"/>
                <a:gd name="connsiteX29" fmla="*/ 425332 w 734307"/>
                <a:gd name="connsiteY29" fmla="*/ 493323 h 788699"/>
                <a:gd name="connsiteX30" fmla="*/ 411734 w 734307"/>
                <a:gd name="connsiteY30" fmla="*/ 531398 h 788699"/>
                <a:gd name="connsiteX31" fmla="*/ 376378 w 734307"/>
                <a:gd name="connsiteY31" fmla="*/ 547716 h 788699"/>
                <a:gd name="connsiteX32" fmla="*/ 319265 w 734307"/>
                <a:gd name="connsiteY32" fmla="*/ 525959 h 788699"/>
                <a:gd name="connsiteX33" fmla="*/ 289349 w 734307"/>
                <a:gd name="connsiteY33" fmla="*/ 455248 h 788699"/>
                <a:gd name="connsiteX34" fmla="*/ 273031 w 734307"/>
                <a:gd name="connsiteY34" fmla="*/ 373658 h 788699"/>
                <a:gd name="connsiteX35" fmla="*/ 262153 w 734307"/>
                <a:gd name="connsiteY35" fmla="*/ 316545 h 788699"/>
                <a:gd name="connsiteX36" fmla="*/ 245835 w 734307"/>
                <a:gd name="connsiteY36" fmla="*/ 237675 h 788699"/>
                <a:gd name="connsiteX37" fmla="*/ 234956 w 734307"/>
                <a:gd name="connsiteY37" fmla="*/ 196881 h 788699"/>
                <a:gd name="connsiteX38" fmla="*/ 232236 w 734307"/>
                <a:gd name="connsiteY38" fmla="*/ 191441 h 788699"/>
                <a:gd name="connsiteX39" fmla="*/ 226797 w 734307"/>
                <a:gd name="connsiteY39" fmla="*/ 207759 h 788699"/>
                <a:gd name="connsiteX40" fmla="*/ 226797 w 734307"/>
                <a:gd name="connsiteY40" fmla="*/ 232236 h 788699"/>
                <a:gd name="connsiteX41" fmla="*/ 224077 w 734307"/>
                <a:gd name="connsiteY41" fmla="*/ 267592 h 788699"/>
                <a:gd name="connsiteX42" fmla="*/ 221358 w 734307"/>
                <a:gd name="connsiteY42" fmla="*/ 311106 h 788699"/>
                <a:gd name="connsiteX43" fmla="*/ 218638 w 734307"/>
                <a:gd name="connsiteY43" fmla="*/ 360060 h 788699"/>
                <a:gd name="connsiteX44" fmla="*/ 215919 w 734307"/>
                <a:gd name="connsiteY44" fmla="*/ 398135 h 788699"/>
                <a:gd name="connsiteX45" fmla="*/ 213199 w 734307"/>
                <a:gd name="connsiteY45" fmla="*/ 430771 h 788699"/>
                <a:gd name="connsiteX46" fmla="*/ 213199 w 734307"/>
                <a:gd name="connsiteY46" fmla="*/ 455248 h 788699"/>
                <a:gd name="connsiteX47" fmla="*/ 213199 w 734307"/>
                <a:gd name="connsiteY47" fmla="*/ 477005 h 788699"/>
                <a:gd name="connsiteX48" fmla="*/ 207759 w 734307"/>
                <a:gd name="connsiteY48" fmla="*/ 520520 h 788699"/>
                <a:gd name="connsiteX49" fmla="*/ 196881 w 734307"/>
                <a:gd name="connsiteY49" fmla="*/ 610268 h 788699"/>
                <a:gd name="connsiteX50" fmla="*/ 194161 w 734307"/>
                <a:gd name="connsiteY50" fmla="*/ 653783 h 788699"/>
                <a:gd name="connsiteX51" fmla="*/ 191441 w 734307"/>
                <a:gd name="connsiteY51" fmla="*/ 667381 h 788699"/>
                <a:gd name="connsiteX52" fmla="*/ 243115 w 734307"/>
                <a:gd name="connsiteY52" fmla="*/ 667381 h 788699"/>
                <a:gd name="connsiteX53" fmla="*/ 273031 w 734307"/>
                <a:gd name="connsiteY53" fmla="*/ 683699 h 788699"/>
                <a:gd name="connsiteX54" fmla="*/ 262153 w 734307"/>
                <a:gd name="connsiteY54" fmla="*/ 697297 h 788699"/>
                <a:gd name="connsiteX55" fmla="*/ 248554 w 734307"/>
                <a:gd name="connsiteY55" fmla="*/ 705456 h 788699"/>
                <a:gd name="connsiteX56" fmla="*/ 232236 w 734307"/>
                <a:gd name="connsiteY56" fmla="*/ 708176 h 788699"/>
                <a:gd name="connsiteX57" fmla="*/ 166965 w 734307"/>
                <a:gd name="connsiteY57" fmla="*/ 708176 h 788699"/>
                <a:gd name="connsiteX58" fmla="*/ 109852 w 734307"/>
                <a:gd name="connsiteY58" fmla="*/ 708176 h 788699"/>
                <a:gd name="connsiteX59" fmla="*/ 90814 w 734307"/>
                <a:gd name="connsiteY59" fmla="*/ 708176 h 788699"/>
                <a:gd name="connsiteX60" fmla="*/ 69057 w 734307"/>
                <a:gd name="connsiteY60" fmla="*/ 702736 h 788699"/>
                <a:gd name="connsiteX61" fmla="*/ 58178 w 734307"/>
                <a:gd name="connsiteY61" fmla="*/ 686418 h 788699"/>
                <a:gd name="connsiteX62" fmla="*/ 60898 w 734307"/>
                <a:gd name="connsiteY62" fmla="*/ 678259 h 788699"/>
                <a:gd name="connsiteX63" fmla="*/ 77216 w 734307"/>
                <a:gd name="connsiteY63" fmla="*/ 670101 h 788699"/>
                <a:gd name="connsiteX64" fmla="*/ 126170 w 734307"/>
                <a:gd name="connsiteY64" fmla="*/ 664661 h 788699"/>
                <a:gd name="connsiteX65" fmla="*/ 142487 w 734307"/>
                <a:gd name="connsiteY65" fmla="*/ 664661 h 788699"/>
                <a:gd name="connsiteX66" fmla="*/ 147927 w 734307"/>
                <a:gd name="connsiteY66" fmla="*/ 588511 h 788699"/>
                <a:gd name="connsiteX67" fmla="*/ 153366 w 734307"/>
                <a:gd name="connsiteY67" fmla="*/ 493323 h 788699"/>
                <a:gd name="connsiteX68" fmla="*/ 156086 w 734307"/>
                <a:gd name="connsiteY68" fmla="*/ 411733 h 788699"/>
                <a:gd name="connsiteX69" fmla="*/ 161525 w 734307"/>
                <a:gd name="connsiteY69" fmla="*/ 297508 h 788699"/>
                <a:gd name="connsiteX70" fmla="*/ 166965 w 734307"/>
                <a:gd name="connsiteY70" fmla="*/ 240395 h 788699"/>
                <a:gd name="connsiteX71" fmla="*/ 177843 w 734307"/>
                <a:gd name="connsiteY71" fmla="*/ 161525 h 788699"/>
                <a:gd name="connsiteX72" fmla="*/ 183282 w 734307"/>
                <a:gd name="connsiteY72" fmla="*/ 118011 h 788699"/>
                <a:gd name="connsiteX73" fmla="*/ 183282 w 734307"/>
                <a:gd name="connsiteY73" fmla="*/ 115291 h 788699"/>
                <a:gd name="connsiteX74" fmla="*/ 161525 w 734307"/>
                <a:gd name="connsiteY74" fmla="*/ 115291 h 788699"/>
                <a:gd name="connsiteX75" fmla="*/ 137048 w 734307"/>
                <a:gd name="connsiteY75" fmla="*/ 115291 h 788699"/>
                <a:gd name="connsiteX76" fmla="*/ 109852 w 734307"/>
                <a:gd name="connsiteY76" fmla="*/ 109851 h 788699"/>
                <a:gd name="connsiteX77" fmla="*/ 93534 w 734307"/>
                <a:gd name="connsiteY77" fmla="*/ 93534 h 788699"/>
                <a:gd name="connsiteX78" fmla="*/ 98973 w 734307"/>
                <a:gd name="connsiteY78" fmla="*/ 85375 h 788699"/>
                <a:gd name="connsiteX79" fmla="*/ 120730 w 734307"/>
                <a:gd name="connsiteY79" fmla="*/ 77216 h 788699"/>
                <a:gd name="connsiteX80" fmla="*/ 172404 w 734307"/>
                <a:gd name="connsiteY80" fmla="*/ 71776 h 788699"/>
                <a:gd name="connsiteX81" fmla="*/ 234956 w 734307"/>
                <a:gd name="connsiteY81" fmla="*/ 69057 h 788699"/>
                <a:gd name="connsiteX82" fmla="*/ 243115 w 734307"/>
                <a:gd name="connsiteY82" fmla="*/ 69057 h 788699"/>
                <a:gd name="connsiteX83" fmla="*/ 270312 w 734307"/>
                <a:gd name="connsiteY83" fmla="*/ 74496 h 788699"/>
                <a:gd name="connsiteX84" fmla="*/ 308387 w 734307"/>
                <a:gd name="connsiteY84" fmla="*/ 123450 h 788699"/>
                <a:gd name="connsiteX85" fmla="*/ 332864 w 734307"/>
                <a:gd name="connsiteY85" fmla="*/ 202320 h 788699"/>
                <a:gd name="connsiteX86" fmla="*/ 338303 w 734307"/>
                <a:gd name="connsiteY86" fmla="*/ 237675 h 788699"/>
                <a:gd name="connsiteX87" fmla="*/ 349182 w 734307"/>
                <a:gd name="connsiteY87" fmla="*/ 281190 h 788699"/>
                <a:gd name="connsiteX88" fmla="*/ 357341 w 734307"/>
                <a:gd name="connsiteY88" fmla="*/ 316545 h 788699"/>
                <a:gd name="connsiteX89" fmla="*/ 365500 w 734307"/>
                <a:gd name="connsiteY89" fmla="*/ 351901 h 788699"/>
                <a:gd name="connsiteX90" fmla="*/ 376378 w 734307"/>
                <a:gd name="connsiteY90" fmla="*/ 389976 h 788699"/>
                <a:gd name="connsiteX91" fmla="*/ 387257 w 734307"/>
                <a:gd name="connsiteY91" fmla="*/ 414453 h 788699"/>
                <a:gd name="connsiteX92" fmla="*/ 398136 w 734307"/>
                <a:gd name="connsiteY92" fmla="*/ 376378 h 788699"/>
                <a:gd name="connsiteX93" fmla="*/ 406295 w 734307"/>
                <a:gd name="connsiteY93" fmla="*/ 332863 h 788699"/>
                <a:gd name="connsiteX94" fmla="*/ 425332 w 734307"/>
                <a:gd name="connsiteY94" fmla="*/ 243115 h 788699"/>
                <a:gd name="connsiteX95" fmla="*/ 444370 w 734307"/>
                <a:gd name="connsiteY95" fmla="*/ 150646 h 788699"/>
                <a:gd name="connsiteX96" fmla="*/ 477006 w 734307"/>
                <a:gd name="connsiteY96" fmla="*/ 79935 h 788699"/>
                <a:gd name="connsiteX97" fmla="*/ 523240 w 734307"/>
                <a:gd name="connsiteY97" fmla="*/ 58178 h 788699"/>
                <a:gd name="connsiteX98" fmla="*/ 544997 w 734307"/>
                <a:gd name="connsiteY98" fmla="*/ 63617 h 788699"/>
                <a:gd name="connsiteX99" fmla="*/ 612988 w 734307"/>
                <a:gd name="connsiteY99" fmla="*/ 63617 h 788699"/>
                <a:gd name="connsiteX100" fmla="*/ 651064 w 734307"/>
                <a:gd name="connsiteY100" fmla="*/ 79935 h 788699"/>
                <a:gd name="connsiteX101" fmla="*/ 645624 w 734307"/>
                <a:gd name="connsiteY101" fmla="*/ 96253 h 788699"/>
                <a:gd name="connsiteX102" fmla="*/ 629307 w 734307"/>
                <a:gd name="connsiteY102" fmla="*/ 104412 h 788699"/>
                <a:gd name="connsiteX103" fmla="*/ 607549 w 734307"/>
                <a:gd name="connsiteY103" fmla="*/ 107132 h 788699"/>
                <a:gd name="connsiteX104" fmla="*/ 580353 w 734307"/>
                <a:gd name="connsiteY104" fmla="*/ 107132 h 788699"/>
                <a:gd name="connsiteX105" fmla="*/ 583072 w 734307"/>
                <a:gd name="connsiteY105" fmla="*/ 115291 h 788699"/>
                <a:gd name="connsiteX106" fmla="*/ 588512 w 734307"/>
                <a:gd name="connsiteY106" fmla="*/ 156086 h 788699"/>
                <a:gd name="connsiteX107" fmla="*/ 593951 w 734307"/>
                <a:gd name="connsiteY107" fmla="*/ 196881 h 788699"/>
                <a:gd name="connsiteX108" fmla="*/ 599390 w 734307"/>
                <a:gd name="connsiteY108" fmla="*/ 226797 h 788699"/>
                <a:gd name="connsiteX109" fmla="*/ 599390 w 734307"/>
                <a:gd name="connsiteY109" fmla="*/ 232236 h 788699"/>
                <a:gd name="connsiteX110" fmla="*/ 599390 w 734307"/>
                <a:gd name="connsiteY110" fmla="*/ 240395 h 788699"/>
                <a:gd name="connsiteX111" fmla="*/ 602110 w 734307"/>
                <a:gd name="connsiteY111" fmla="*/ 270311 h 788699"/>
                <a:gd name="connsiteX112" fmla="*/ 607549 w 734307"/>
                <a:gd name="connsiteY112" fmla="*/ 308386 h 788699"/>
                <a:gd name="connsiteX113" fmla="*/ 607549 w 734307"/>
                <a:gd name="connsiteY113" fmla="*/ 319265 h 788699"/>
                <a:gd name="connsiteX114" fmla="*/ 612988 w 734307"/>
                <a:gd name="connsiteY114" fmla="*/ 335583 h 788699"/>
                <a:gd name="connsiteX115" fmla="*/ 612988 w 734307"/>
                <a:gd name="connsiteY115" fmla="*/ 346462 h 788699"/>
                <a:gd name="connsiteX116" fmla="*/ 612988 w 734307"/>
                <a:gd name="connsiteY116" fmla="*/ 370939 h 788699"/>
                <a:gd name="connsiteX117" fmla="*/ 612988 w 734307"/>
                <a:gd name="connsiteY117" fmla="*/ 395415 h 788699"/>
                <a:gd name="connsiteX118" fmla="*/ 615708 w 734307"/>
                <a:gd name="connsiteY118" fmla="*/ 422612 h 788699"/>
                <a:gd name="connsiteX119" fmla="*/ 618428 w 734307"/>
                <a:gd name="connsiteY119" fmla="*/ 441650 h 788699"/>
                <a:gd name="connsiteX120" fmla="*/ 618428 w 734307"/>
                <a:gd name="connsiteY120" fmla="*/ 455248 h 788699"/>
                <a:gd name="connsiteX121" fmla="*/ 621147 w 734307"/>
                <a:gd name="connsiteY121" fmla="*/ 463407 h 788699"/>
                <a:gd name="connsiteX122" fmla="*/ 626587 w 734307"/>
                <a:gd name="connsiteY122" fmla="*/ 482444 h 788699"/>
                <a:gd name="connsiteX123" fmla="*/ 629307 w 734307"/>
                <a:gd name="connsiteY123" fmla="*/ 517800 h 788699"/>
                <a:gd name="connsiteX124" fmla="*/ 634746 w 734307"/>
                <a:gd name="connsiteY124" fmla="*/ 561314 h 788699"/>
                <a:gd name="connsiteX125" fmla="*/ 634746 w 734307"/>
                <a:gd name="connsiteY125" fmla="*/ 566754 h 788699"/>
                <a:gd name="connsiteX126" fmla="*/ 634746 w 734307"/>
                <a:gd name="connsiteY126" fmla="*/ 583072 h 788699"/>
                <a:gd name="connsiteX127" fmla="*/ 637466 w 734307"/>
                <a:gd name="connsiteY127" fmla="*/ 607548 h 788699"/>
                <a:gd name="connsiteX128" fmla="*/ 640185 w 734307"/>
                <a:gd name="connsiteY128" fmla="*/ 618427 h 788699"/>
                <a:gd name="connsiteX129" fmla="*/ 640185 w 734307"/>
                <a:gd name="connsiteY129" fmla="*/ 632025 h 788699"/>
                <a:gd name="connsiteX130" fmla="*/ 640185 w 734307"/>
                <a:gd name="connsiteY130" fmla="*/ 640184 h 788699"/>
                <a:gd name="connsiteX131" fmla="*/ 642905 w 734307"/>
                <a:gd name="connsiteY131" fmla="*/ 659222 h 788699"/>
                <a:gd name="connsiteX132" fmla="*/ 642905 w 734307"/>
                <a:gd name="connsiteY132" fmla="*/ 664661 h 788699"/>
                <a:gd name="connsiteX133" fmla="*/ 653783 w 734307"/>
                <a:gd name="connsiteY133" fmla="*/ 678259 h 788699"/>
                <a:gd name="connsiteX134" fmla="*/ 653783 w 734307"/>
                <a:gd name="connsiteY134" fmla="*/ 678259 h 7886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</a:cxnLst>
              <a:rect l="l" t="t" r="r" b="b"/>
              <a:pathLst>
                <a:path w="734307" h="788699">
                  <a:moveTo>
                    <a:pt x="653783" y="678259"/>
                  </a:moveTo>
                  <a:cubicBezTo>
                    <a:pt x="667382" y="678259"/>
                    <a:pt x="691859" y="678259"/>
                    <a:pt x="691859" y="694577"/>
                  </a:cubicBezTo>
                  <a:cubicBezTo>
                    <a:pt x="691859" y="702736"/>
                    <a:pt x="689139" y="705456"/>
                    <a:pt x="686419" y="710895"/>
                  </a:cubicBezTo>
                  <a:cubicBezTo>
                    <a:pt x="683700" y="716335"/>
                    <a:pt x="675541" y="719054"/>
                    <a:pt x="670101" y="719054"/>
                  </a:cubicBezTo>
                  <a:cubicBezTo>
                    <a:pt x="661942" y="721774"/>
                    <a:pt x="653783" y="721774"/>
                    <a:pt x="648344" y="721774"/>
                  </a:cubicBezTo>
                  <a:cubicBezTo>
                    <a:pt x="645624" y="721774"/>
                    <a:pt x="634746" y="721774"/>
                    <a:pt x="618428" y="721774"/>
                  </a:cubicBezTo>
                  <a:cubicBezTo>
                    <a:pt x="604829" y="729933"/>
                    <a:pt x="588512" y="735372"/>
                    <a:pt x="572194" y="735372"/>
                  </a:cubicBezTo>
                  <a:cubicBezTo>
                    <a:pt x="564035" y="735372"/>
                    <a:pt x="553156" y="732653"/>
                    <a:pt x="544997" y="729933"/>
                  </a:cubicBezTo>
                  <a:cubicBezTo>
                    <a:pt x="539558" y="727213"/>
                    <a:pt x="536838" y="724494"/>
                    <a:pt x="534119" y="721774"/>
                  </a:cubicBezTo>
                  <a:cubicBezTo>
                    <a:pt x="520520" y="721774"/>
                    <a:pt x="509641" y="721774"/>
                    <a:pt x="496043" y="721774"/>
                  </a:cubicBezTo>
                  <a:cubicBezTo>
                    <a:pt x="487884" y="721774"/>
                    <a:pt x="479725" y="721774"/>
                    <a:pt x="471566" y="721774"/>
                  </a:cubicBezTo>
                  <a:cubicBezTo>
                    <a:pt x="463407" y="721774"/>
                    <a:pt x="452529" y="721774"/>
                    <a:pt x="444370" y="716335"/>
                  </a:cubicBezTo>
                  <a:cubicBezTo>
                    <a:pt x="436211" y="713615"/>
                    <a:pt x="428052" y="705456"/>
                    <a:pt x="428052" y="700017"/>
                  </a:cubicBezTo>
                  <a:cubicBezTo>
                    <a:pt x="428052" y="697297"/>
                    <a:pt x="428052" y="694577"/>
                    <a:pt x="433491" y="691858"/>
                  </a:cubicBezTo>
                  <a:cubicBezTo>
                    <a:pt x="438930" y="689138"/>
                    <a:pt x="449809" y="686418"/>
                    <a:pt x="455248" y="683699"/>
                  </a:cubicBezTo>
                  <a:cubicBezTo>
                    <a:pt x="474286" y="680979"/>
                    <a:pt x="498763" y="678259"/>
                    <a:pt x="506922" y="678259"/>
                  </a:cubicBezTo>
                  <a:cubicBezTo>
                    <a:pt x="506922" y="678259"/>
                    <a:pt x="509641" y="678259"/>
                    <a:pt x="509641" y="678259"/>
                  </a:cubicBezTo>
                  <a:cubicBezTo>
                    <a:pt x="509641" y="672820"/>
                    <a:pt x="506922" y="670101"/>
                    <a:pt x="506922" y="664661"/>
                  </a:cubicBezTo>
                  <a:cubicBezTo>
                    <a:pt x="501483" y="640184"/>
                    <a:pt x="501483" y="612988"/>
                    <a:pt x="498763" y="580352"/>
                  </a:cubicBezTo>
                  <a:cubicBezTo>
                    <a:pt x="496043" y="547716"/>
                    <a:pt x="498763" y="512361"/>
                    <a:pt x="496043" y="479725"/>
                  </a:cubicBezTo>
                  <a:cubicBezTo>
                    <a:pt x="493324" y="449808"/>
                    <a:pt x="493324" y="419892"/>
                    <a:pt x="493324" y="389976"/>
                  </a:cubicBezTo>
                  <a:cubicBezTo>
                    <a:pt x="493324" y="360060"/>
                    <a:pt x="490604" y="332863"/>
                    <a:pt x="490604" y="302947"/>
                  </a:cubicBezTo>
                  <a:cubicBezTo>
                    <a:pt x="487884" y="275751"/>
                    <a:pt x="487884" y="240395"/>
                    <a:pt x="487884" y="229516"/>
                  </a:cubicBezTo>
                  <a:cubicBezTo>
                    <a:pt x="487884" y="224077"/>
                    <a:pt x="487884" y="221357"/>
                    <a:pt x="485165" y="221357"/>
                  </a:cubicBezTo>
                  <a:cubicBezTo>
                    <a:pt x="485165" y="221357"/>
                    <a:pt x="482445" y="224077"/>
                    <a:pt x="482445" y="226797"/>
                  </a:cubicBezTo>
                  <a:cubicBezTo>
                    <a:pt x="479725" y="237675"/>
                    <a:pt x="479725" y="251274"/>
                    <a:pt x="477006" y="262152"/>
                  </a:cubicBezTo>
                  <a:cubicBezTo>
                    <a:pt x="471566" y="289349"/>
                    <a:pt x="466127" y="316545"/>
                    <a:pt x="460688" y="341022"/>
                  </a:cubicBezTo>
                  <a:cubicBezTo>
                    <a:pt x="455248" y="365499"/>
                    <a:pt x="447090" y="392696"/>
                    <a:pt x="444370" y="417173"/>
                  </a:cubicBezTo>
                  <a:cubicBezTo>
                    <a:pt x="441650" y="430771"/>
                    <a:pt x="438930" y="441650"/>
                    <a:pt x="436211" y="455248"/>
                  </a:cubicBezTo>
                  <a:cubicBezTo>
                    <a:pt x="433491" y="468846"/>
                    <a:pt x="428052" y="479725"/>
                    <a:pt x="425332" y="493323"/>
                  </a:cubicBezTo>
                  <a:cubicBezTo>
                    <a:pt x="422612" y="506921"/>
                    <a:pt x="419893" y="520520"/>
                    <a:pt x="411734" y="531398"/>
                  </a:cubicBezTo>
                  <a:cubicBezTo>
                    <a:pt x="406295" y="539557"/>
                    <a:pt x="395416" y="547716"/>
                    <a:pt x="376378" y="547716"/>
                  </a:cubicBezTo>
                  <a:cubicBezTo>
                    <a:pt x="357341" y="547716"/>
                    <a:pt x="335583" y="539557"/>
                    <a:pt x="319265" y="525959"/>
                  </a:cubicBezTo>
                  <a:cubicBezTo>
                    <a:pt x="300228" y="506921"/>
                    <a:pt x="294788" y="479725"/>
                    <a:pt x="289349" y="455248"/>
                  </a:cubicBezTo>
                  <a:cubicBezTo>
                    <a:pt x="283910" y="428051"/>
                    <a:pt x="278470" y="400855"/>
                    <a:pt x="273031" y="373658"/>
                  </a:cubicBezTo>
                  <a:cubicBezTo>
                    <a:pt x="273031" y="368219"/>
                    <a:pt x="267592" y="346462"/>
                    <a:pt x="262153" y="316545"/>
                  </a:cubicBezTo>
                  <a:cubicBezTo>
                    <a:pt x="256713" y="292068"/>
                    <a:pt x="251274" y="262152"/>
                    <a:pt x="245835" y="237675"/>
                  </a:cubicBezTo>
                  <a:cubicBezTo>
                    <a:pt x="240395" y="218638"/>
                    <a:pt x="237675" y="205039"/>
                    <a:pt x="234956" y="196881"/>
                  </a:cubicBezTo>
                  <a:cubicBezTo>
                    <a:pt x="232236" y="191441"/>
                    <a:pt x="232236" y="191441"/>
                    <a:pt x="232236" y="191441"/>
                  </a:cubicBezTo>
                  <a:cubicBezTo>
                    <a:pt x="229517" y="191441"/>
                    <a:pt x="229517" y="196881"/>
                    <a:pt x="226797" y="207759"/>
                  </a:cubicBezTo>
                  <a:cubicBezTo>
                    <a:pt x="226797" y="215918"/>
                    <a:pt x="226797" y="229516"/>
                    <a:pt x="226797" y="232236"/>
                  </a:cubicBezTo>
                  <a:cubicBezTo>
                    <a:pt x="226797" y="243115"/>
                    <a:pt x="224077" y="256713"/>
                    <a:pt x="224077" y="267592"/>
                  </a:cubicBezTo>
                  <a:cubicBezTo>
                    <a:pt x="224077" y="278470"/>
                    <a:pt x="224077" y="294788"/>
                    <a:pt x="221358" y="311106"/>
                  </a:cubicBezTo>
                  <a:cubicBezTo>
                    <a:pt x="221358" y="327424"/>
                    <a:pt x="218638" y="343742"/>
                    <a:pt x="218638" y="360060"/>
                  </a:cubicBezTo>
                  <a:cubicBezTo>
                    <a:pt x="218638" y="373658"/>
                    <a:pt x="215919" y="384537"/>
                    <a:pt x="215919" y="398135"/>
                  </a:cubicBezTo>
                  <a:cubicBezTo>
                    <a:pt x="215919" y="409014"/>
                    <a:pt x="213199" y="419892"/>
                    <a:pt x="213199" y="430771"/>
                  </a:cubicBezTo>
                  <a:cubicBezTo>
                    <a:pt x="213199" y="438930"/>
                    <a:pt x="213199" y="447089"/>
                    <a:pt x="213199" y="455248"/>
                  </a:cubicBezTo>
                  <a:cubicBezTo>
                    <a:pt x="213199" y="463407"/>
                    <a:pt x="213199" y="471566"/>
                    <a:pt x="213199" y="477005"/>
                  </a:cubicBezTo>
                  <a:cubicBezTo>
                    <a:pt x="210479" y="490603"/>
                    <a:pt x="207759" y="506921"/>
                    <a:pt x="207759" y="520520"/>
                  </a:cubicBezTo>
                  <a:cubicBezTo>
                    <a:pt x="202320" y="550436"/>
                    <a:pt x="199600" y="580352"/>
                    <a:pt x="196881" y="610268"/>
                  </a:cubicBezTo>
                  <a:cubicBezTo>
                    <a:pt x="196881" y="623866"/>
                    <a:pt x="196881" y="640184"/>
                    <a:pt x="194161" y="653783"/>
                  </a:cubicBezTo>
                  <a:cubicBezTo>
                    <a:pt x="194161" y="659222"/>
                    <a:pt x="194161" y="661942"/>
                    <a:pt x="191441" y="667381"/>
                  </a:cubicBezTo>
                  <a:cubicBezTo>
                    <a:pt x="213199" y="667381"/>
                    <a:pt x="232236" y="667381"/>
                    <a:pt x="243115" y="667381"/>
                  </a:cubicBezTo>
                  <a:cubicBezTo>
                    <a:pt x="253994" y="667381"/>
                    <a:pt x="273031" y="670101"/>
                    <a:pt x="273031" y="683699"/>
                  </a:cubicBezTo>
                  <a:cubicBezTo>
                    <a:pt x="273031" y="691858"/>
                    <a:pt x="267592" y="691858"/>
                    <a:pt x="262153" y="697297"/>
                  </a:cubicBezTo>
                  <a:cubicBezTo>
                    <a:pt x="259433" y="702736"/>
                    <a:pt x="253994" y="705456"/>
                    <a:pt x="248554" y="705456"/>
                  </a:cubicBezTo>
                  <a:cubicBezTo>
                    <a:pt x="240395" y="708176"/>
                    <a:pt x="234956" y="708176"/>
                    <a:pt x="232236" y="708176"/>
                  </a:cubicBezTo>
                  <a:cubicBezTo>
                    <a:pt x="226797" y="708176"/>
                    <a:pt x="175124" y="708176"/>
                    <a:pt x="166965" y="708176"/>
                  </a:cubicBezTo>
                  <a:cubicBezTo>
                    <a:pt x="156086" y="708176"/>
                    <a:pt x="120730" y="708176"/>
                    <a:pt x="109852" y="708176"/>
                  </a:cubicBezTo>
                  <a:cubicBezTo>
                    <a:pt x="104412" y="708176"/>
                    <a:pt x="96253" y="708176"/>
                    <a:pt x="90814" y="708176"/>
                  </a:cubicBezTo>
                  <a:cubicBezTo>
                    <a:pt x="85375" y="708176"/>
                    <a:pt x="77216" y="705456"/>
                    <a:pt x="69057" y="702736"/>
                  </a:cubicBezTo>
                  <a:cubicBezTo>
                    <a:pt x="63617" y="700017"/>
                    <a:pt x="58178" y="691858"/>
                    <a:pt x="58178" y="686418"/>
                  </a:cubicBezTo>
                  <a:cubicBezTo>
                    <a:pt x="58178" y="683699"/>
                    <a:pt x="58178" y="680979"/>
                    <a:pt x="60898" y="678259"/>
                  </a:cubicBezTo>
                  <a:cubicBezTo>
                    <a:pt x="63617" y="675540"/>
                    <a:pt x="71777" y="672820"/>
                    <a:pt x="77216" y="670101"/>
                  </a:cubicBezTo>
                  <a:cubicBezTo>
                    <a:pt x="90814" y="667381"/>
                    <a:pt x="120730" y="664661"/>
                    <a:pt x="126170" y="664661"/>
                  </a:cubicBezTo>
                  <a:cubicBezTo>
                    <a:pt x="128889" y="664661"/>
                    <a:pt x="134329" y="664661"/>
                    <a:pt x="142487" y="664661"/>
                  </a:cubicBezTo>
                  <a:cubicBezTo>
                    <a:pt x="142487" y="640184"/>
                    <a:pt x="147927" y="612988"/>
                    <a:pt x="147927" y="588511"/>
                  </a:cubicBezTo>
                  <a:cubicBezTo>
                    <a:pt x="150646" y="555875"/>
                    <a:pt x="153366" y="523239"/>
                    <a:pt x="153366" y="493323"/>
                  </a:cubicBezTo>
                  <a:cubicBezTo>
                    <a:pt x="153366" y="466126"/>
                    <a:pt x="156086" y="438930"/>
                    <a:pt x="156086" y="411733"/>
                  </a:cubicBezTo>
                  <a:cubicBezTo>
                    <a:pt x="158806" y="373658"/>
                    <a:pt x="158806" y="335583"/>
                    <a:pt x="161525" y="297508"/>
                  </a:cubicBezTo>
                  <a:cubicBezTo>
                    <a:pt x="161525" y="278470"/>
                    <a:pt x="164245" y="259433"/>
                    <a:pt x="166965" y="240395"/>
                  </a:cubicBezTo>
                  <a:cubicBezTo>
                    <a:pt x="169684" y="210479"/>
                    <a:pt x="172404" y="191441"/>
                    <a:pt x="177843" y="161525"/>
                  </a:cubicBezTo>
                  <a:cubicBezTo>
                    <a:pt x="180563" y="147927"/>
                    <a:pt x="180563" y="131609"/>
                    <a:pt x="183282" y="118011"/>
                  </a:cubicBezTo>
                  <a:cubicBezTo>
                    <a:pt x="183282" y="118011"/>
                    <a:pt x="183282" y="115291"/>
                    <a:pt x="183282" y="115291"/>
                  </a:cubicBezTo>
                  <a:cubicBezTo>
                    <a:pt x="177843" y="115291"/>
                    <a:pt x="172404" y="115291"/>
                    <a:pt x="161525" y="115291"/>
                  </a:cubicBezTo>
                  <a:cubicBezTo>
                    <a:pt x="153366" y="115291"/>
                    <a:pt x="145207" y="115291"/>
                    <a:pt x="137048" y="115291"/>
                  </a:cubicBezTo>
                  <a:cubicBezTo>
                    <a:pt x="128889" y="115291"/>
                    <a:pt x="118011" y="115291"/>
                    <a:pt x="109852" y="109851"/>
                  </a:cubicBezTo>
                  <a:cubicBezTo>
                    <a:pt x="101693" y="107132"/>
                    <a:pt x="93534" y="98973"/>
                    <a:pt x="93534" y="93534"/>
                  </a:cubicBezTo>
                  <a:cubicBezTo>
                    <a:pt x="93534" y="90814"/>
                    <a:pt x="93534" y="88094"/>
                    <a:pt x="98973" y="85375"/>
                  </a:cubicBezTo>
                  <a:cubicBezTo>
                    <a:pt x="104412" y="82655"/>
                    <a:pt x="115291" y="79935"/>
                    <a:pt x="120730" y="77216"/>
                  </a:cubicBezTo>
                  <a:cubicBezTo>
                    <a:pt x="139768" y="74496"/>
                    <a:pt x="164245" y="71776"/>
                    <a:pt x="172404" y="71776"/>
                  </a:cubicBezTo>
                  <a:cubicBezTo>
                    <a:pt x="194161" y="71776"/>
                    <a:pt x="210479" y="69057"/>
                    <a:pt x="234956" y="69057"/>
                  </a:cubicBezTo>
                  <a:cubicBezTo>
                    <a:pt x="237675" y="69057"/>
                    <a:pt x="240395" y="69057"/>
                    <a:pt x="243115" y="69057"/>
                  </a:cubicBezTo>
                  <a:cubicBezTo>
                    <a:pt x="251274" y="69057"/>
                    <a:pt x="262153" y="69057"/>
                    <a:pt x="270312" y="74496"/>
                  </a:cubicBezTo>
                  <a:cubicBezTo>
                    <a:pt x="283910" y="82655"/>
                    <a:pt x="300228" y="96253"/>
                    <a:pt x="308387" y="123450"/>
                  </a:cubicBezTo>
                  <a:cubicBezTo>
                    <a:pt x="316546" y="147927"/>
                    <a:pt x="327424" y="175123"/>
                    <a:pt x="332864" y="202320"/>
                  </a:cubicBezTo>
                  <a:cubicBezTo>
                    <a:pt x="335583" y="213198"/>
                    <a:pt x="335583" y="226797"/>
                    <a:pt x="338303" y="237675"/>
                  </a:cubicBezTo>
                  <a:cubicBezTo>
                    <a:pt x="343742" y="251274"/>
                    <a:pt x="346462" y="264872"/>
                    <a:pt x="349182" y="281190"/>
                  </a:cubicBezTo>
                  <a:cubicBezTo>
                    <a:pt x="351901" y="292068"/>
                    <a:pt x="351901" y="305667"/>
                    <a:pt x="357341" y="316545"/>
                  </a:cubicBezTo>
                  <a:cubicBezTo>
                    <a:pt x="362780" y="327424"/>
                    <a:pt x="362780" y="338303"/>
                    <a:pt x="365500" y="351901"/>
                  </a:cubicBezTo>
                  <a:cubicBezTo>
                    <a:pt x="365500" y="357340"/>
                    <a:pt x="373658" y="373658"/>
                    <a:pt x="376378" y="389976"/>
                  </a:cubicBezTo>
                  <a:cubicBezTo>
                    <a:pt x="381817" y="403574"/>
                    <a:pt x="384537" y="414453"/>
                    <a:pt x="387257" y="414453"/>
                  </a:cubicBezTo>
                  <a:cubicBezTo>
                    <a:pt x="392696" y="414453"/>
                    <a:pt x="395416" y="381817"/>
                    <a:pt x="398136" y="376378"/>
                  </a:cubicBezTo>
                  <a:cubicBezTo>
                    <a:pt x="400855" y="362779"/>
                    <a:pt x="403575" y="346462"/>
                    <a:pt x="406295" y="332863"/>
                  </a:cubicBezTo>
                  <a:cubicBezTo>
                    <a:pt x="411734" y="302947"/>
                    <a:pt x="417173" y="273031"/>
                    <a:pt x="425332" y="243115"/>
                  </a:cubicBezTo>
                  <a:cubicBezTo>
                    <a:pt x="430771" y="213198"/>
                    <a:pt x="436211" y="180563"/>
                    <a:pt x="444370" y="150646"/>
                  </a:cubicBezTo>
                  <a:cubicBezTo>
                    <a:pt x="449809" y="126170"/>
                    <a:pt x="460688" y="98973"/>
                    <a:pt x="477006" y="79935"/>
                  </a:cubicBezTo>
                  <a:cubicBezTo>
                    <a:pt x="487884" y="66337"/>
                    <a:pt x="506922" y="58178"/>
                    <a:pt x="523240" y="58178"/>
                  </a:cubicBezTo>
                  <a:cubicBezTo>
                    <a:pt x="528679" y="58178"/>
                    <a:pt x="539558" y="58178"/>
                    <a:pt x="544997" y="63617"/>
                  </a:cubicBezTo>
                  <a:lnTo>
                    <a:pt x="612988" y="63617"/>
                  </a:lnTo>
                  <a:cubicBezTo>
                    <a:pt x="626587" y="63617"/>
                    <a:pt x="651064" y="63617"/>
                    <a:pt x="651064" y="79935"/>
                  </a:cubicBezTo>
                  <a:cubicBezTo>
                    <a:pt x="651064" y="88094"/>
                    <a:pt x="648344" y="88094"/>
                    <a:pt x="645624" y="96253"/>
                  </a:cubicBezTo>
                  <a:cubicBezTo>
                    <a:pt x="640185" y="101693"/>
                    <a:pt x="634746" y="104412"/>
                    <a:pt x="629307" y="104412"/>
                  </a:cubicBezTo>
                  <a:cubicBezTo>
                    <a:pt x="621147" y="107132"/>
                    <a:pt x="612988" y="107132"/>
                    <a:pt x="607549" y="107132"/>
                  </a:cubicBezTo>
                  <a:cubicBezTo>
                    <a:pt x="604829" y="107132"/>
                    <a:pt x="591231" y="107132"/>
                    <a:pt x="580353" y="107132"/>
                  </a:cubicBezTo>
                  <a:cubicBezTo>
                    <a:pt x="580353" y="109851"/>
                    <a:pt x="583072" y="112571"/>
                    <a:pt x="583072" y="115291"/>
                  </a:cubicBezTo>
                  <a:cubicBezTo>
                    <a:pt x="585792" y="128889"/>
                    <a:pt x="585792" y="142487"/>
                    <a:pt x="588512" y="156086"/>
                  </a:cubicBezTo>
                  <a:cubicBezTo>
                    <a:pt x="591231" y="169684"/>
                    <a:pt x="591231" y="183282"/>
                    <a:pt x="593951" y="196881"/>
                  </a:cubicBezTo>
                  <a:cubicBezTo>
                    <a:pt x="593951" y="207759"/>
                    <a:pt x="599390" y="215918"/>
                    <a:pt x="599390" y="226797"/>
                  </a:cubicBezTo>
                  <a:cubicBezTo>
                    <a:pt x="599390" y="229516"/>
                    <a:pt x="599390" y="229516"/>
                    <a:pt x="599390" y="232236"/>
                  </a:cubicBezTo>
                  <a:cubicBezTo>
                    <a:pt x="599390" y="234956"/>
                    <a:pt x="599390" y="237675"/>
                    <a:pt x="599390" y="240395"/>
                  </a:cubicBezTo>
                  <a:cubicBezTo>
                    <a:pt x="599390" y="251274"/>
                    <a:pt x="599390" y="259433"/>
                    <a:pt x="602110" y="270311"/>
                  </a:cubicBezTo>
                  <a:cubicBezTo>
                    <a:pt x="604829" y="283909"/>
                    <a:pt x="607549" y="294788"/>
                    <a:pt x="607549" y="308386"/>
                  </a:cubicBezTo>
                  <a:cubicBezTo>
                    <a:pt x="607549" y="311106"/>
                    <a:pt x="607549" y="316545"/>
                    <a:pt x="607549" y="319265"/>
                  </a:cubicBezTo>
                  <a:cubicBezTo>
                    <a:pt x="607549" y="324704"/>
                    <a:pt x="610269" y="330144"/>
                    <a:pt x="612988" y="335583"/>
                  </a:cubicBezTo>
                  <a:cubicBezTo>
                    <a:pt x="612988" y="338303"/>
                    <a:pt x="612988" y="343742"/>
                    <a:pt x="612988" y="346462"/>
                  </a:cubicBezTo>
                  <a:cubicBezTo>
                    <a:pt x="612988" y="354620"/>
                    <a:pt x="612988" y="362779"/>
                    <a:pt x="612988" y="370939"/>
                  </a:cubicBezTo>
                  <a:cubicBezTo>
                    <a:pt x="612988" y="379097"/>
                    <a:pt x="612988" y="387256"/>
                    <a:pt x="612988" y="395415"/>
                  </a:cubicBezTo>
                  <a:cubicBezTo>
                    <a:pt x="612988" y="403574"/>
                    <a:pt x="615708" y="414453"/>
                    <a:pt x="615708" y="422612"/>
                  </a:cubicBezTo>
                  <a:cubicBezTo>
                    <a:pt x="618428" y="430771"/>
                    <a:pt x="618428" y="436210"/>
                    <a:pt x="618428" y="441650"/>
                  </a:cubicBezTo>
                  <a:cubicBezTo>
                    <a:pt x="618428" y="444369"/>
                    <a:pt x="618428" y="449808"/>
                    <a:pt x="618428" y="455248"/>
                  </a:cubicBezTo>
                  <a:cubicBezTo>
                    <a:pt x="618428" y="460687"/>
                    <a:pt x="618428" y="460687"/>
                    <a:pt x="621147" y="463407"/>
                  </a:cubicBezTo>
                  <a:cubicBezTo>
                    <a:pt x="623867" y="471566"/>
                    <a:pt x="623867" y="477005"/>
                    <a:pt x="626587" y="482444"/>
                  </a:cubicBezTo>
                  <a:cubicBezTo>
                    <a:pt x="629307" y="493323"/>
                    <a:pt x="629307" y="506921"/>
                    <a:pt x="629307" y="517800"/>
                  </a:cubicBezTo>
                  <a:cubicBezTo>
                    <a:pt x="632026" y="534118"/>
                    <a:pt x="632026" y="547716"/>
                    <a:pt x="634746" y="561314"/>
                  </a:cubicBezTo>
                  <a:cubicBezTo>
                    <a:pt x="634746" y="564034"/>
                    <a:pt x="634746" y="564034"/>
                    <a:pt x="634746" y="566754"/>
                  </a:cubicBezTo>
                  <a:cubicBezTo>
                    <a:pt x="634746" y="572193"/>
                    <a:pt x="634746" y="577632"/>
                    <a:pt x="634746" y="583072"/>
                  </a:cubicBezTo>
                  <a:cubicBezTo>
                    <a:pt x="634746" y="596670"/>
                    <a:pt x="637466" y="602109"/>
                    <a:pt x="637466" y="607548"/>
                  </a:cubicBezTo>
                  <a:cubicBezTo>
                    <a:pt x="637466" y="610268"/>
                    <a:pt x="640185" y="615708"/>
                    <a:pt x="640185" y="618427"/>
                  </a:cubicBezTo>
                  <a:cubicBezTo>
                    <a:pt x="640185" y="623866"/>
                    <a:pt x="640185" y="629306"/>
                    <a:pt x="640185" y="632025"/>
                  </a:cubicBezTo>
                  <a:cubicBezTo>
                    <a:pt x="640185" y="634745"/>
                    <a:pt x="640185" y="637465"/>
                    <a:pt x="640185" y="640184"/>
                  </a:cubicBezTo>
                  <a:cubicBezTo>
                    <a:pt x="640185" y="645624"/>
                    <a:pt x="642905" y="653783"/>
                    <a:pt x="642905" y="659222"/>
                  </a:cubicBezTo>
                  <a:cubicBezTo>
                    <a:pt x="642905" y="661942"/>
                    <a:pt x="642905" y="661942"/>
                    <a:pt x="642905" y="664661"/>
                  </a:cubicBezTo>
                  <a:cubicBezTo>
                    <a:pt x="645624" y="678259"/>
                    <a:pt x="651064" y="678259"/>
                    <a:pt x="653783" y="678259"/>
                  </a:cubicBezTo>
                  <a:lnTo>
                    <a:pt x="653783" y="678259"/>
                  </a:ln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45" name="Freeform: Shape 44">
              <a:extLst>
                <a:ext uri="{FF2B5EF4-FFF2-40B4-BE49-F238E27FC236}">
                  <a16:creationId xmlns:a16="http://schemas.microsoft.com/office/drawing/2014/main" id="{21C17497-81A0-4FD0-9BEB-3D32B47739B3}"/>
                </a:ext>
              </a:extLst>
            </p:cNvPr>
            <p:cNvSpPr/>
            <p:nvPr/>
          </p:nvSpPr>
          <p:spPr>
            <a:xfrm>
              <a:off x="6362526" y="4242177"/>
              <a:ext cx="492259" cy="674476"/>
            </a:xfrm>
            <a:custGeom>
              <a:avLst/>
              <a:gdLst>
                <a:gd name="connsiteX0" fmla="*/ 225733 w 492259"/>
                <a:gd name="connsiteY0" fmla="*/ 97907 h 674476"/>
                <a:gd name="connsiteX1" fmla="*/ 209415 w 492259"/>
                <a:gd name="connsiteY1" fmla="*/ 119665 h 674476"/>
                <a:gd name="connsiteX2" fmla="*/ 201256 w 492259"/>
                <a:gd name="connsiteY2" fmla="*/ 152300 h 674476"/>
                <a:gd name="connsiteX3" fmla="*/ 198536 w 492259"/>
                <a:gd name="connsiteY3" fmla="*/ 168618 h 674476"/>
                <a:gd name="connsiteX4" fmla="*/ 195817 w 492259"/>
                <a:gd name="connsiteY4" fmla="*/ 184936 h 674476"/>
                <a:gd name="connsiteX5" fmla="*/ 187658 w 492259"/>
                <a:gd name="connsiteY5" fmla="*/ 220292 h 674476"/>
                <a:gd name="connsiteX6" fmla="*/ 168620 w 492259"/>
                <a:gd name="connsiteY6" fmla="*/ 291003 h 674476"/>
                <a:gd name="connsiteX7" fmla="*/ 160461 w 492259"/>
                <a:gd name="connsiteY7" fmla="*/ 323639 h 674476"/>
                <a:gd name="connsiteX8" fmla="*/ 149582 w 492259"/>
                <a:gd name="connsiteY8" fmla="*/ 361714 h 674476"/>
                <a:gd name="connsiteX9" fmla="*/ 144143 w 492259"/>
                <a:gd name="connsiteY9" fmla="*/ 388910 h 674476"/>
                <a:gd name="connsiteX10" fmla="*/ 149582 w 492259"/>
                <a:gd name="connsiteY10" fmla="*/ 391630 h 674476"/>
                <a:gd name="connsiteX11" fmla="*/ 171340 w 492259"/>
                <a:gd name="connsiteY11" fmla="*/ 391630 h 674476"/>
                <a:gd name="connsiteX12" fmla="*/ 193097 w 492259"/>
                <a:gd name="connsiteY12" fmla="*/ 388910 h 674476"/>
                <a:gd name="connsiteX13" fmla="*/ 212135 w 492259"/>
                <a:gd name="connsiteY13" fmla="*/ 388910 h 674476"/>
                <a:gd name="connsiteX14" fmla="*/ 236611 w 492259"/>
                <a:gd name="connsiteY14" fmla="*/ 388910 h 674476"/>
                <a:gd name="connsiteX15" fmla="*/ 250210 w 492259"/>
                <a:gd name="connsiteY15" fmla="*/ 386191 h 674476"/>
                <a:gd name="connsiteX16" fmla="*/ 258369 w 492259"/>
                <a:gd name="connsiteY16" fmla="*/ 386191 h 674476"/>
                <a:gd name="connsiteX17" fmla="*/ 255649 w 492259"/>
                <a:gd name="connsiteY17" fmla="*/ 367153 h 674476"/>
                <a:gd name="connsiteX18" fmla="*/ 250210 w 492259"/>
                <a:gd name="connsiteY18" fmla="*/ 331797 h 674476"/>
                <a:gd name="connsiteX19" fmla="*/ 247490 w 492259"/>
                <a:gd name="connsiteY19" fmla="*/ 244769 h 674476"/>
                <a:gd name="connsiteX20" fmla="*/ 242051 w 492259"/>
                <a:gd name="connsiteY20" fmla="*/ 203974 h 674476"/>
                <a:gd name="connsiteX21" fmla="*/ 236611 w 492259"/>
                <a:gd name="connsiteY21" fmla="*/ 157740 h 674476"/>
                <a:gd name="connsiteX22" fmla="*/ 233892 w 492259"/>
                <a:gd name="connsiteY22" fmla="*/ 119665 h 674476"/>
                <a:gd name="connsiteX23" fmla="*/ 225733 w 492259"/>
                <a:gd name="connsiteY23" fmla="*/ 97907 h 674476"/>
                <a:gd name="connsiteX24" fmla="*/ 274687 w 492259"/>
                <a:gd name="connsiteY24" fmla="*/ 0 h 674476"/>
                <a:gd name="connsiteX25" fmla="*/ 304603 w 492259"/>
                <a:gd name="connsiteY25" fmla="*/ 5439 h 674476"/>
                <a:gd name="connsiteX26" fmla="*/ 320921 w 492259"/>
                <a:gd name="connsiteY26" fmla="*/ 24477 h 674476"/>
                <a:gd name="connsiteX27" fmla="*/ 334519 w 492259"/>
                <a:gd name="connsiteY27" fmla="*/ 43515 h 674476"/>
                <a:gd name="connsiteX28" fmla="*/ 339959 w 492259"/>
                <a:gd name="connsiteY28" fmla="*/ 65272 h 674476"/>
                <a:gd name="connsiteX29" fmla="*/ 348118 w 492259"/>
                <a:gd name="connsiteY29" fmla="*/ 114226 h 674476"/>
                <a:gd name="connsiteX30" fmla="*/ 361716 w 492259"/>
                <a:gd name="connsiteY30" fmla="*/ 163180 h 674476"/>
                <a:gd name="connsiteX31" fmla="*/ 369875 w 492259"/>
                <a:gd name="connsiteY31" fmla="*/ 220293 h 674476"/>
                <a:gd name="connsiteX32" fmla="*/ 378034 w 492259"/>
                <a:gd name="connsiteY32" fmla="*/ 274686 h 674476"/>
                <a:gd name="connsiteX33" fmla="*/ 383473 w 492259"/>
                <a:gd name="connsiteY33" fmla="*/ 301883 h 674476"/>
                <a:gd name="connsiteX34" fmla="*/ 391632 w 492259"/>
                <a:gd name="connsiteY34" fmla="*/ 337238 h 674476"/>
                <a:gd name="connsiteX35" fmla="*/ 397071 w 492259"/>
                <a:gd name="connsiteY35" fmla="*/ 364435 h 674476"/>
                <a:gd name="connsiteX36" fmla="*/ 405230 w 492259"/>
                <a:gd name="connsiteY36" fmla="*/ 383473 h 674476"/>
                <a:gd name="connsiteX37" fmla="*/ 416109 w 492259"/>
                <a:gd name="connsiteY37" fmla="*/ 386192 h 674476"/>
                <a:gd name="connsiteX38" fmla="*/ 426988 w 492259"/>
                <a:gd name="connsiteY38" fmla="*/ 386192 h 674476"/>
                <a:gd name="connsiteX39" fmla="*/ 454184 w 492259"/>
                <a:gd name="connsiteY39" fmla="*/ 397071 h 674476"/>
                <a:gd name="connsiteX40" fmla="*/ 456904 w 492259"/>
                <a:gd name="connsiteY40" fmla="*/ 405230 h 674476"/>
                <a:gd name="connsiteX41" fmla="*/ 451464 w 492259"/>
                <a:gd name="connsiteY41" fmla="*/ 416108 h 674476"/>
                <a:gd name="connsiteX42" fmla="*/ 432427 w 492259"/>
                <a:gd name="connsiteY42" fmla="*/ 429707 h 674476"/>
                <a:gd name="connsiteX43" fmla="*/ 421548 w 492259"/>
                <a:gd name="connsiteY43" fmla="*/ 432426 h 674476"/>
                <a:gd name="connsiteX44" fmla="*/ 413389 w 492259"/>
                <a:gd name="connsiteY44" fmla="*/ 435146 h 674476"/>
                <a:gd name="connsiteX45" fmla="*/ 413389 w 492259"/>
                <a:gd name="connsiteY45" fmla="*/ 440585 h 674476"/>
                <a:gd name="connsiteX46" fmla="*/ 416109 w 492259"/>
                <a:gd name="connsiteY46" fmla="*/ 451464 h 674476"/>
                <a:gd name="connsiteX47" fmla="*/ 418829 w 492259"/>
                <a:gd name="connsiteY47" fmla="*/ 465062 h 674476"/>
                <a:gd name="connsiteX48" fmla="*/ 418829 w 492259"/>
                <a:gd name="connsiteY48" fmla="*/ 475941 h 674476"/>
                <a:gd name="connsiteX49" fmla="*/ 418829 w 492259"/>
                <a:gd name="connsiteY49" fmla="*/ 486820 h 674476"/>
                <a:gd name="connsiteX50" fmla="*/ 426988 w 492259"/>
                <a:gd name="connsiteY50" fmla="*/ 516736 h 674476"/>
                <a:gd name="connsiteX51" fmla="*/ 432427 w 492259"/>
                <a:gd name="connsiteY51" fmla="*/ 543932 h 674476"/>
                <a:gd name="connsiteX52" fmla="*/ 437866 w 492259"/>
                <a:gd name="connsiteY52" fmla="*/ 573848 h 674476"/>
                <a:gd name="connsiteX53" fmla="*/ 443306 w 492259"/>
                <a:gd name="connsiteY53" fmla="*/ 606484 h 674476"/>
                <a:gd name="connsiteX54" fmla="*/ 446025 w 492259"/>
                <a:gd name="connsiteY54" fmla="*/ 617363 h 674476"/>
                <a:gd name="connsiteX55" fmla="*/ 470502 w 492259"/>
                <a:gd name="connsiteY55" fmla="*/ 617363 h 674476"/>
                <a:gd name="connsiteX56" fmla="*/ 492259 w 492259"/>
                <a:gd name="connsiteY56" fmla="*/ 641840 h 674476"/>
                <a:gd name="connsiteX57" fmla="*/ 484101 w 492259"/>
                <a:gd name="connsiteY57" fmla="*/ 655438 h 674476"/>
                <a:gd name="connsiteX58" fmla="*/ 467782 w 492259"/>
                <a:gd name="connsiteY58" fmla="*/ 663597 h 674476"/>
                <a:gd name="connsiteX59" fmla="*/ 443306 w 492259"/>
                <a:gd name="connsiteY59" fmla="*/ 666317 h 674476"/>
                <a:gd name="connsiteX60" fmla="*/ 421548 w 492259"/>
                <a:gd name="connsiteY60" fmla="*/ 666317 h 674476"/>
                <a:gd name="connsiteX61" fmla="*/ 413389 w 492259"/>
                <a:gd name="connsiteY61" fmla="*/ 666317 h 674476"/>
                <a:gd name="connsiteX62" fmla="*/ 399791 w 492259"/>
                <a:gd name="connsiteY62" fmla="*/ 671756 h 674476"/>
                <a:gd name="connsiteX63" fmla="*/ 383473 w 492259"/>
                <a:gd name="connsiteY63" fmla="*/ 674476 h 674476"/>
                <a:gd name="connsiteX64" fmla="*/ 348118 w 492259"/>
                <a:gd name="connsiteY64" fmla="*/ 669036 h 674476"/>
                <a:gd name="connsiteX65" fmla="*/ 326360 w 492259"/>
                <a:gd name="connsiteY65" fmla="*/ 669036 h 674476"/>
                <a:gd name="connsiteX66" fmla="*/ 277406 w 492259"/>
                <a:gd name="connsiteY66" fmla="*/ 669036 h 674476"/>
                <a:gd name="connsiteX67" fmla="*/ 252930 w 492259"/>
                <a:gd name="connsiteY67" fmla="*/ 663597 h 674476"/>
                <a:gd name="connsiteX68" fmla="*/ 236611 w 492259"/>
                <a:gd name="connsiteY68" fmla="*/ 647279 h 674476"/>
                <a:gd name="connsiteX69" fmla="*/ 261088 w 492259"/>
                <a:gd name="connsiteY69" fmla="*/ 630961 h 674476"/>
                <a:gd name="connsiteX70" fmla="*/ 288285 w 492259"/>
                <a:gd name="connsiteY70" fmla="*/ 628241 h 674476"/>
                <a:gd name="connsiteX71" fmla="*/ 285565 w 492259"/>
                <a:gd name="connsiteY71" fmla="*/ 609204 h 674476"/>
                <a:gd name="connsiteX72" fmla="*/ 282846 w 492259"/>
                <a:gd name="connsiteY72" fmla="*/ 582007 h 674476"/>
                <a:gd name="connsiteX73" fmla="*/ 280126 w 492259"/>
                <a:gd name="connsiteY73" fmla="*/ 568409 h 674476"/>
                <a:gd name="connsiteX74" fmla="*/ 282846 w 492259"/>
                <a:gd name="connsiteY74" fmla="*/ 554811 h 674476"/>
                <a:gd name="connsiteX75" fmla="*/ 277406 w 492259"/>
                <a:gd name="connsiteY75" fmla="*/ 538493 h 674476"/>
                <a:gd name="connsiteX76" fmla="*/ 271967 w 492259"/>
                <a:gd name="connsiteY76" fmla="*/ 505857 h 674476"/>
                <a:gd name="connsiteX77" fmla="*/ 269247 w 492259"/>
                <a:gd name="connsiteY77" fmla="*/ 478660 h 674476"/>
                <a:gd name="connsiteX78" fmla="*/ 266528 w 492259"/>
                <a:gd name="connsiteY78" fmla="*/ 446025 h 674476"/>
                <a:gd name="connsiteX79" fmla="*/ 261088 w 492259"/>
                <a:gd name="connsiteY79" fmla="*/ 437866 h 674476"/>
                <a:gd name="connsiteX80" fmla="*/ 250210 w 492259"/>
                <a:gd name="connsiteY80" fmla="*/ 437866 h 674476"/>
                <a:gd name="connsiteX81" fmla="*/ 220293 w 492259"/>
                <a:gd name="connsiteY81" fmla="*/ 440585 h 674476"/>
                <a:gd name="connsiteX82" fmla="*/ 190377 w 492259"/>
                <a:gd name="connsiteY82" fmla="*/ 443305 h 674476"/>
                <a:gd name="connsiteX83" fmla="*/ 165900 w 492259"/>
                <a:gd name="connsiteY83" fmla="*/ 443305 h 674476"/>
                <a:gd name="connsiteX84" fmla="*/ 144143 w 492259"/>
                <a:gd name="connsiteY84" fmla="*/ 440585 h 674476"/>
                <a:gd name="connsiteX85" fmla="*/ 135984 w 492259"/>
                <a:gd name="connsiteY85" fmla="*/ 454184 h 674476"/>
                <a:gd name="connsiteX86" fmla="*/ 130545 w 492259"/>
                <a:gd name="connsiteY86" fmla="*/ 486820 h 674476"/>
                <a:gd name="connsiteX87" fmla="*/ 119666 w 492259"/>
                <a:gd name="connsiteY87" fmla="*/ 541213 h 674476"/>
                <a:gd name="connsiteX88" fmla="*/ 103348 w 492259"/>
                <a:gd name="connsiteY88" fmla="*/ 614643 h 674476"/>
                <a:gd name="connsiteX89" fmla="*/ 133264 w 492259"/>
                <a:gd name="connsiteY89" fmla="*/ 614643 h 674476"/>
                <a:gd name="connsiteX90" fmla="*/ 168620 w 492259"/>
                <a:gd name="connsiteY90" fmla="*/ 630961 h 674476"/>
                <a:gd name="connsiteX91" fmla="*/ 163181 w 492259"/>
                <a:gd name="connsiteY91" fmla="*/ 647279 h 674476"/>
                <a:gd name="connsiteX92" fmla="*/ 146863 w 492259"/>
                <a:gd name="connsiteY92" fmla="*/ 655438 h 674476"/>
                <a:gd name="connsiteX93" fmla="*/ 127825 w 492259"/>
                <a:gd name="connsiteY93" fmla="*/ 658158 h 674476"/>
                <a:gd name="connsiteX94" fmla="*/ 106068 w 492259"/>
                <a:gd name="connsiteY94" fmla="*/ 658158 h 674476"/>
                <a:gd name="connsiteX95" fmla="*/ 62552 w 492259"/>
                <a:gd name="connsiteY95" fmla="*/ 658158 h 674476"/>
                <a:gd name="connsiteX96" fmla="*/ 40795 w 492259"/>
                <a:gd name="connsiteY96" fmla="*/ 658158 h 674476"/>
                <a:gd name="connsiteX97" fmla="*/ 16318 w 492259"/>
                <a:gd name="connsiteY97" fmla="*/ 652718 h 674476"/>
                <a:gd name="connsiteX98" fmla="*/ 0 w 492259"/>
                <a:gd name="connsiteY98" fmla="*/ 636401 h 674476"/>
                <a:gd name="connsiteX99" fmla="*/ 2720 w 492259"/>
                <a:gd name="connsiteY99" fmla="*/ 628241 h 674476"/>
                <a:gd name="connsiteX100" fmla="*/ 24477 w 492259"/>
                <a:gd name="connsiteY100" fmla="*/ 620082 h 674476"/>
                <a:gd name="connsiteX101" fmla="*/ 62552 w 492259"/>
                <a:gd name="connsiteY101" fmla="*/ 617363 h 674476"/>
                <a:gd name="connsiteX102" fmla="*/ 62552 w 492259"/>
                <a:gd name="connsiteY102" fmla="*/ 614643 h 674476"/>
                <a:gd name="connsiteX103" fmla="*/ 65272 w 492259"/>
                <a:gd name="connsiteY103" fmla="*/ 587447 h 674476"/>
                <a:gd name="connsiteX104" fmla="*/ 76151 w 492259"/>
                <a:gd name="connsiteY104" fmla="*/ 522175 h 674476"/>
                <a:gd name="connsiteX105" fmla="*/ 87029 w 492259"/>
                <a:gd name="connsiteY105" fmla="*/ 470501 h 674476"/>
                <a:gd name="connsiteX106" fmla="*/ 92468 w 492259"/>
                <a:gd name="connsiteY106" fmla="*/ 446025 h 674476"/>
                <a:gd name="connsiteX107" fmla="*/ 65272 w 492259"/>
                <a:gd name="connsiteY107" fmla="*/ 432426 h 674476"/>
                <a:gd name="connsiteX108" fmla="*/ 54393 w 492259"/>
                <a:gd name="connsiteY108" fmla="*/ 421548 h 674476"/>
                <a:gd name="connsiteX109" fmla="*/ 73431 w 492259"/>
                <a:gd name="connsiteY109" fmla="*/ 407949 h 674476"/>
                <a:gd name="connsiteX110" fmla="*/ 100629 w 492259"/>
                <a:gd name="connsiteY110" fmla="*/ 399790 h 674476"/>
                <a:gd name="connsiteX111" fmla="*/ 108788 w 492259"/>
                <a:gd name="connsiteY111" fmla="*/ 369874 h 674476"/>
                <a:gd name="connsiteX112" fmla="*/ 125105 w 492259"/>
                <a:gd name="connsiteY112" fmla="*/ 307322 h 674476"/>
                <a:gd name="connsiteX113" fmla="*/ 141423 w 492259"/>
                <a:gd name="connsiteY113" fmla="*/ 242051 h 674476"/>
                <a:gd name="connsiteX114" fmla="*/ 155022 w 492259"/>
                <a:gd name="connsiteY114" fmla="*/ 179498 h 674476"/>
                <a:gd name="connsiteX115" fmla="*/ 168620 w 492259"/>
                <a:gd name="connsiteY115" fmla="*/ 119665 h 674476"/>
                <a:gd name="connsiteX116" fmla="*/ 193097 w 492259"/>
                <a:gd name="connsiteY116" fmla="*/ 57113 h 674476"/>
                <a:gd name="connsiteX117" fmla="*/ 201256 w 492259"/>
                <a:gd name="connsiteY117" fmla="*/ 38075 h 674476"/>
                <a:gd name="connsiteX118" fmla="*/ 217574 w 492259"/>
                <a:gd name="connsiteY118" fmla="*/ 13598 h 674476"/>
                <a:gd name="connsiteX119" fmla="*/ 274687 w 492259"/>
                <a:gd name="connsiteY119" fmla="*/ 0 h 6744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</a:cxnLst>
              <a:rect l="l" t="t" r="r" b="b"/>
              <a:pathLst>
                <a:path w="492259" h="674476">
                  <a:moveTo>
                    <a:pt x="225733" y="97907"/>
                  </a:moveTo>
                  <a:cubicBezTo>
                    <a:pt x="217574" y="97907"/>
                    <a:pt x="209415" y="114225"/>
                    <a:pt x="209415" y="119665"/>
                  </a:cubicBezTo>
                  <a:cubicBezTo>
                    <a:pt x="206695" y="130543"/>
                    <a:pt x="203976" y="144141"/>
                    <a:pt x="201256" y="152300"/>
                  </a:cubicBezTo>
                  <a:cubicBezTo>
                    <a:pt x="198536" y="157740"/>
                    <a:pt x="198536" y="163179"/>
                    <a:pt x="198536" y="168618"/>
                  </a:cubicBezTo>
                  <a:cubicBezTo>
                    <a:pt x="198536" y="174058"/>
                    <a:pt x="195817" y="179497"/>
                    <a:pt x="195817" y="184936"/>
                  </a:cubicBezTo>
                  <a:cubicBezTo>
                    <a:pt x="193097" y="195815"/>
                    <a:pt x="190377" y="209413"/>
                    <a:pt x="187658" y="220292"/>
                  </a:cubicBezTo>
                  <a:cubicBezTo>
                    <a:pt x="184938" y="244769"/>
                    <a:pt x="176779" y="269246"/>
                    <a:pt x="168620" y="291003"/>
                  </a:cubicBezTo>
                  <a:cubicBezTo>
                    <a:pt x="165900" y="301881"/>
                    <a:pt x="163181" y="312760"/>
                    <a:pt x="160461" y="323639"/>
                  </a:cubicBezTo>
                  <a:cubicBezTo>
                    <a:pt x="157742" y="337237"/>
                    <a:pt x="155022" y="348115"/>
                    <a:pt x="149582" y="361714"/>
                  </a:cubicBezTo>
                  <a:cubicBezTo>
                    <a:pt x="146863" y="367153"/>
                    <a:pt x="144143" y="383471"/>
                    <a:pt x="144143" y="388910"/>
                  </a:cubicBezTo>
                  <a:cubicBezTo>
                    <a:pt x="144143" y="391630"/>
                    <a:pt x="146863" y="391630"/>
                    <a:pt x="149582" y="391630"/>
                  </a:cubicBezTo>
                  <a:cubicBezTo>
                    <a:pt x="155022" y="391630"/>
                    <a:pt x="168620" y="391630"/>
                    <a:pt x="171340" y="391630"/>
                  </a:cubicBezTo>
                  <a:cubicBezTo>
                    <a:pt x="179498" y="391630"/>
                    <a:pt x="187658" y="391630"/>
                    <a:pt x="193097" y="388910"/>
                  </a:cubicBezTo>
                  <a:cubicBezTo>
                    <a:pt x="198536" y="388910"/>
                    <a:pt x="203976" y="388910"/>
                    <a:pt x="212135" y="388910"/>
                  </a:cubicBezTo>
                  <a:cubicBezTo>
                    <a:pt x="217574" y="388910"/>
                    <a:pt x="225733" y="388910"/>
                    <a:pt x="236611" y="388910"/>
                  </a:cubicBezTo>
                  <a:cubicBezTo>
                    <a:pt x="242051" y="388910"/>
                    <a:pt x="247490" y="388910"/>
                    <a:pt x="250210" y="386191"/>
                  </a:cubicBezTo>
                  <a:cubicBezTo>
                    <a:pt x="255649" y="391630"/>
                    <a:pt x="258369" y="388910"/>
                    <a:pt x="258369" y="386191"/>
                  </a:cubicBezTo>
                  <a:cubicBezTo>
                    <a:pt x="258369" y="380751"/>
                    <a:pt x="255649" y="372592"/>
                    <a:pt x="255649" y="367153"/>
                  </a:cubicBezTo>
                  <a:cubicBezTo>
                    <a:pt x="252930" y="353555"/>
                    <a:pt x="250210" y="342676"/>
                    <a:pt x="250210" y="331797"/>
                  </a:cubicBezTo>
                  <a:cubicBezTo>
                    <a:pt x="250210" y="301881"/>
                    <a:pt x="250210" y="274685"/>
                    <a:pt x="247490" y="244769"/>
                  </a:cubicBezTo>
                  <a:cubicBezTo>
                    <a:pt x="247490" y="231170"/>
                    <a:pt x="244771" y="217572"/>
                    <a:pt x="242051" y="203974"/>
                  </a:cubicBezTo>
                  <a:cubicBezTo>
                    <a:pt x="239331" y="187656"/>
                    <a:pt x="236611" y="174058"/>
                    <a:pt x="236611" y="157740"/>
                  </a:cubicBezTo>
                  <a:cubicBezTo>
                    <a:pt x="236611" y="152300"/>
                    <a:pt x="236611" y="133263"/>
                    <a:pt x="233892" y="119665"/>
                  </a:cubicBezTo>
                  <a:cubicBezTo>
                    <a:pt x="233892" y="106066"/>
                    <a:pt x="231172" y="97907"/>
                    <a:pt x="225733" y="97907"/>
                  </a:cubicBezTo>
                  <a:close/>
                  <a:moveTo>
                    <a:pt x="274687" y="0"/>
                  </a:moveTo>
                  <a:cubicBezTo>
                    <a:pt x="288285" y="0"/>
                    <a:pt x="293724" y="2720"/>
                    <a:pt x="304603" y="5439"/>
                  </a:cubicBezTo>
                  <a:cubicBezTo>
                    <a:pt x="315481" y="10879"/>
                    <a:pt x="315481" y="16318"/>
                    <a:pt x="320921" y="24477"/>
                  </a:cubicBezTo>
                  <a:cubicBezTo>
                    <a:pt x="326360" y="29916"/>
                    <a:pt x="331800" y="35356"/>
                    <a:pt x="334519" y="43515"/>
                  </a:cubicBezTo>
                  <a:cubicBezTo>
                    <a:pt x="337239" y="51674"/>
                    <a:pt x="337239" y="57113"/>
                    <a:pt x="339959" y="65272"/>
                  </a:cubicBezTo>
                  <a:cubicBezTo>
                    <a:pt x="345398" y="78870"/>
                    <a:pt x="342678" y="97908"/>
                    <a:pt x="348118" y="114226"/>
                  </a:cubicBezTo>
                  <a:cubicBezTo>
                    <a:pt x="350837" y="130544"/>
                    <a:pt x="358996" y="146863"/>
                    <a:pt x="361716" y="163180"/>
                  </a:cubicBezTo>
                  <a:cubicBezTo>
                    <a:pt x="364435" y="182218"/>
                    <a:pt x="364435" y="201256"/>
                    <a:pt x="369875" y="220293"/>
                  </a:cubicBezTo>
                  <a:cubicBezTo>
                    <a:pt x="375314" y="239331"/>
                    <a:pt x="378034" y="255649"/>
                    <a:pt x="378034" y="274686"/>
                  </a:cubicBezTo>
                  <a:cubicBezTo>
                    <a:pt x="378034" y="282845"/>
                    <a:pt x="380753" y="293724"/>
                    <a:pt x="383473" y="301883"/>
                  </a:cubicBezTo>
                  <a:cubicBezTo>
                    <a:pt x="386193" y="312762"/>
                    <a:pt x="388913" y="326360"/>
                    <a:pt x="391632" y="337238"/>
                  </a:cubicBezTo>
                  <a:cubicBezTo>
                    <a:pt x="391632" y="342678"/>
                    <a:pt x="394352" y="353556"/>
                    <a:pt x="397071" y="364435"/>
                  </a:cubicBezTo>
                  <a:cubicBezTo>
                    <a:pt x="399791" y="372594"/>
                    <a:pt x="402511" y="380753"/>
                    <a:pt x="405230" y="383473"/>
                  </a:cubicBezTo>
                  <a:cubicBezTo>
                    <a:pt x="407950" y="386192"/>
                    <a:pt x="413389" y="386192"/>
                    <a:pt x="416109" y="386192"/>
                  </a:cubicBezTo>
                  <a:cubicBezTo>
                    <a:pt x="418829" y="386192"/>
                    <a:pt x="424268" y="386192"/>
                    <a:pt x="426988" y="386192"/>
                  </a:cubicBezTo>
                  <a:cubicBezTo>
                    <a:pt x="437866" y="386192"/>
                    <a:pt x="448745" y="388912"/>
                    <a:pt x="454184" y="397071"/>
                  </a:cubicBezTo>
                  <a:cubicBezTo>
                    <a:pt x="456904" y="399790"/>
                    <a:pt x="456904" y="402510"/>
                    <a:pt x="456904" y="405230"/>
                  </a:cubicBezTo>
                  <a:cubicBezTo>
                    <a:pt x="456904" y="407949"/>
                    <a:pt x="454184" y="410669"/>
                    <a:pt x="451464" y="416108"/>
                  </a:cubicBezTo>
                  <a:cubicBezTo>
                    <a:pt x="446025" y="421548"/>
                    <a:pt x="440586" y="426987"/>
                    <a:pt x="432427" y="429707"/>
                  </a:cubicBezTo>
                  <a:cubicBezTo>
                    <a:pt x="429707" y="429707"/>
                    <a:pt x="426988" y="432426"/>
                    <a:pt x="421548" y="432426"/>
                  </a:cubicBezTo>
                  <a:cubicBezTo>
                    <a:pt x="418829" y="432426"/>
                    <a:pt x="416109" y="432426"/>
                    <a:pt x="413389" y="435146"/>
                  </a:cubicBezTo>
                  <a:cubicBezTo>
                    <a:pt x="413389" y="435146"/>
                    <a:pt x="413389" y="437866"/>
                    <a:pt x="413389" y="440585"/>
                  </a:cubicBezTo>
                  <a:cubicBezTo>
                    <a:pt x="413389" y="443305"/>
                    <a:pt x="413389" y="448744"/>
                    <a:pt x="416109" y="451464"/>
                  </a:cubicBezTo>
                  <a:cubicBezTo>
                    <a:pt x="416109" y="456903"/>
                    <a:pt x="418829" y="462343"/>
                    <a:pt x="418829" y="465062"/>
                  </a:cubicBezTo>
                  <a:lnTo>
                    <a:pt x="418829" y="475941"/>
                  </a:lnTo>
                  <a:cubicBezTo>
                    <a:pt x="418829" y="481380"/>
                    <a:pt x="418829" y="484100"/>
                    <a:pt x="418829" y="486820"/>
                  </a:cubicBezTo>
                  <a:cubicBezTo>
                    <a:pt x="421548" y="497698"/>
                    <a:pt x="424268" y="505857"/>
                    <a:pt x="426988" y="516736"/>
                  </a:cubicBezTo>
                  <a:cubicBezTo>
                    <a:pt x="426988" y="524895"/>
                    <a:pt x="429707" y="535773"/>
                    <a:pt x="432427" y="543932"/>
                  </a:cubicBezTo>
                  <a:cubicBezTo>
                    <a:pt x="435147" y="554811"/>
                    <a:pt x="437866" y="562970"/>
                    <a:pt x="437866" y="573848"/>
                  </a:cubicBezTo>
                  <a:cubicBezTo>
                    <a:pt x="437866" y="587447"/>
                    <a:pt x="440586" y="595606"/>
                    <a:pt x="443306" y="606484"/>
                  </a:cubicBezTo>
                  <a:cubicBezTo>
                    <a:pt x="443306" y="609204"/>
                    <a:pt x="446025" y="614643"/>
                    <a:pt x="446025" y="617363"/>
                  </a:cubicBezTo>
                  <a:cubicBezTo>
                    <a:pt x="454184" y="617363"/>
                    <a:pt x="462343" y="617363"/>
                    <a:pt x="470502" y="617363"/>
                  </a:cubicBezTo>
                  <a:cubicBezTo>
                    <a:pt x="475942" y="625522"/>
                    <a:pt x="492259" y="630961"/>
                    <a:pt x="492259" y="641840"/>
                  </a:cubicBezTo>
                  <a:cubicBezTo>
                    <a:pt x="492259" y="647279"/>
                    <a:pt x="486820" y="649999"/>
                    <a:pt x="484101" y="655438"/>
                  </a:cubicBezTo>
                  <a:cubicBezTo>
                    <a:pt x="481381" y="660877"/>
                    <a:pt x="473222" y="663597"/>
                    <a:pt x="467782" y="663597"/>
                  </a:cubicBezTo>
                  <a:cubicBezTo>
                    <a:pt x="456904" y="666317"/>
                    <a:pt x="451464" y="666317"/>
                    <a:pt x="443306" y="666317"/>
                  </a:cubicBezTo>
                  <a:cubicBezTo>
                    <a:pt x="437866" y="666317"/>
                    <a:pt x="429707" y="666317"/>
                    <a:pt x="421548" y="666317"/>
                  </a:cubicBezTo>
                  <a:cubicBezTo>
                    <a:pt x="418829" y="666317"/>
                    <a:pt x="416109" y="666317"/>
                    <a:pt x="413389" y="666317"/>
                  </a:cubicBezTo>
                  <a:cubicBezTo>
                    <a:pt x="407950" y="669036"/>
                    <a:pt x="405230" y="669036"/>
                    <a:pt x="399791" y="671756"/>
                  </a:cubicBezTo>
                  <a:cubicBezTo>
                    <a:pt x="394352" y="671756"/>
                    <a:pt x="388913" y="674476"/>
                    <a:pt x="383473" y="674476"/>
                  </a:cubicBezTo>
                  <a:cubicBezTo>
                    <a:pt x="372594" y="674476"/>
                    <a:pt x="358996" y="671756"/>
                    <a:pt x="348118" y="669036"/>
                  </a:cubicBezTo>
                  <a:cubicBezTo>
                    <a:pt x="339959" y="669036"/>
                    <a:pt x="331800" y="669036"/>
                    <a:pt x="326360" y="669036"/>
                  </a:cubicBezTo>
                  <a:cubicBezTo>
                    <a:pt x="304603" y="669036"/>
                    <a:pt x="285565" y="669036"/>
                    <a:pt x="277406" y="669036"/>
                  </a:cubicBezTo>
                  <a:cubicBezTo>
                    <a:pt x="269247" y="669036"/>
                    <a:pt x="258369" y="669036"/>
                    <a:pt x="252930" y="663597"/>
                  </a:cubicBezTo>
                  <a:cubicBezTo>
                    <a:pt x="247490" y="660877"/>
                    <a:pt x="236611" y="655438"/>
                    <a:pt x="236611" y="647279"/>
                  </a:cubicBezTo>
                  <a:cubicBezTo>
                    <a:pt x="236611" y="636401"/>
                    <a:pt x="252930" y="633681"/>
                    <a:pt x="261088" y="630961"/>
                  </a:cubicBezTo>
                  <a:cubicBezTo>
                    <a:pt x="266528" y="630961"/>
                    <a:pt x="274687" y="630961"/>
                    <a:pt x="288285" y="628241"/>
                  </a:cubicBezTo>
                  <a:cubicBezTo>
                    <a:pt x="288285" y="620082"/>
                    <a:pt x="288285" y="614643"/>
                    <a:pt x="285565" y="609204"/>
                  </a:cubicBezTo>
                  <a:cubicBezTo>
                    <a:pt x="285565" y="601045"/>
                    <a:pt x="282846" y="590166"/>
                    <a:pt x="282846" y="582007"/>
                  </a:cubicBezTo>
                  <a:cubicBezTo>
                    <a:pt x="282846" y="576568"/>
                    <a:pt x="280126" y="573848"/>
                    <a:pt x="280126" y="568409"/>
                  </a:cubicBezTo>
                  <a:cubicBezTo>
                    <a:pt x="280126" y="562970"/>
                    <a:pt x="282846" y="557531"/>
                    <a:pt x="282846" y="554811"/>
                  </a:cubicBezTo>
                  <a:cubicBezTo>
                    <a:pt x="282846" y="549371"/>
                    <a:pt x="280126" y="546652"/>
                    <a:pt x="277406" y="538493"/>
                  </a:cubicBezTo>
                  <a:cubicBezTo>
                    <a:pt x="277406" y="527614"/>
                    <a:pt x="271967" y="516736"/>
                    <a:pt x="271967" y="505857"/>
                  </a:cubicBezTo>
                  <a:cubicBezTo>
                    <a:pt x="271967" y="494978"/>
                    <a:pt x="271967" y="486820"/>
                    <a:pt x="269247" y="478660"/>
                  </a:cubicBezTo>
                  <a:cubicBezTo>
                    <a:pt x="266528" y="467782"/>
                    <a:pt x="266528" y="456903"/>
                    <a:pt x="266528" y="446025"/>
                  </a:cubicBezTo>
                  <a:cubicBezTo>
                    <a:pt x="266528" y="440585"/>
                    <a:pt x="263808" y="437866"/>
                    <a:pt x="261088" y="437866"/>
                  </a:cubicBezTo>
                  <a:cubicBezTo>
                    <a:pt x="258369" y="437866"/>
                    <a:pt x="255649" y="437866"/>
                    <a:pt x="250210" y="437866"/>
                  </a:cubicBezTo>
                  <a:cubicBezTo>
                    <a:pt x="239331" y="437866"/>
                    <a:pt x="228452" y="437866"/>
                    <a:pt x="220293" y="440585"/>
                  </a:cubicBezTo>
                  <a:cubicBezTo>
                    <a:pt x="209415" y="440585"/>
                    <a:pt x="201256" y="443305"/>
                    <a:pt x="190377" y="443305"/>
                  </a:cubicBezTo>
                  <a:cubicBezTo>
                    <a:pt x="182218" y="443305"/>
                    <a:pt x="174059" y="443305"/>
                    <a:pt x="165900" y="443305"/>
                  </a:cubicBezTo>
                  <a:cubicBezTo>
                    <a:pt x="163181" y="443305"/>
                    <a:pt x="152302" y="440585"/>
                    <a:pt x="144143" y="440585"/>
                  </a:cubicBezTo>
                  <a:cubicBezTo>
                    <a:pt x="135984" y="440585"/>
                    <a:pt x="135984" y="448744"/>
                    <a:pt x="135984" y="454184"/>
                  </a:cubicBezTo>
                  <a:cubicBezTo>
                    <a:pt x="135984" y="465062"/>
                    <a:pt x="133264" y="475941"/>
                    <a:pt x="130545" y="486820"/>
                  </a:cubicBezTo>
                  <a:cubicBezTo>
                    <a:pt x="127825" y="505857"/>
                    <a:pt x="122386" y="522175"/>
                    <a:pt x="119666" y="541213"/>
                  </a:cubicBezTo>
                  <a:cubicBezTo>
                    <a:pt x="116947" y="560250"/>
                    <a:pt x="108788" y="595606"/>
                    <a:pt x="103348" y="614643"/>
                  </a:cubicBezTo>
                  <a:cubicBezTo>
                    <a:pt x="111507" y="614643"/>
                    <a:pt x="122386" y="614643"/>
                    <a:pt x="133264" y="614643"/>
                  </a:cubicBezTo>
                  <a:cubicBezTo>
                    <a:pt x="146863" y="614643"/>
                    <a:pt x="168620" y="614643"/>
                    <a:pt x="168620" y="630961"/>
                  </a:cubicBezTo>
                  <a:cubicBezTo>
                    <a:pt x="168620" y="639120"/>
                    <a:pt x="165900" y="639120"/>
                    <a:pt x="163181" y="647279"/>
                  </a:cubicBezTo>
                  <a:cubicBezTo>
                    <a:pt x="160461" y="652718"/>
                    <a:pt x="152302" y="655438"/>
                    <a:pt x="146863" y="655438"/>
                  </a:cubicBezTo>
                  <a:cubicBezTo>
                    <a:pt x="138704" y="658158"/>
                    <a:pt x="133264" y="658158"/>
                    <a:pt x="127825" y="658158"/>
                  </a:cubicBezTo>
                  <a:cubicBezTo>
                    <a:pt x="122386" y="658158"/>
                    <a:pt x="116947" y="658158"/>
                    <a:pt x="106068" y="658158"/>
                  </a:cubicBezTo>
                  <a:cubicBezTo>
                    <a:pt x="92468" y="658158"/>
                    <a:pt x="78870" y="658158"/>
                    <a:pt x="62552" y="658158"/>
                  </a:cubicBezTo>
                  <a:cubicBezTo>
                    <a:pt x="54393" y="658158"/>
                    <a:pt x="46234" y="658158"/>
                    <a:pt x="40795" y="658158"/>
                  </a:cubicBezTo>
                  <a:cubicBezTo>
                    <a:pt x="32636" y="658158"/>
                    <a:pt x="21758" y="658158"/>
                    <a:pt x="16318" y="652718"/>
                  </a:cubicBezTo>
                  <a:cubicBezTo>
                    <a:pt x="8159" y="649999"/>
                    <a:pt x="0" y="641840"/>
                    <a:pt x="0" y="636401"/>
                  </a:cubicBezTo>
                  <a:cubicBezTo>
                    <a:pt x="0" y="633681"/>
                    <a:pt x="0" y="630961"/>
                    <a:pt x="2720" y="628241"/>
                  </a:cubicBezTo>
                  <a:cubicBezTo>
                    <a:pt x="8159" y="625522"/>
                    <a:pt x="16318" y="622802"/>
                    <a:pt x="24477" y="620082"/>
                  </a:cubicBezTo>
                  <a:cubicBezTo>
                    <a:pt x="38075" y="617363"/>
                    <a:pt x="48954" y="617363"/>
                    <a:pt x="62552" y="617363"/>
                  </a:cubicBezTo>
                  <a:cubicBezTo>
                    <a:pt x="62552" y="617363"/>
                    <a:pt x="62552" y="614643"/>
                    <a:pt x="62552" y="614643"/>
                  </a:cubicBezTo>
                  <a:cubicBezTo>
                    <a:pt x="62552" y="603765"/>
                    <a:pt x="65272" y="590166"/>
                    <a:pt x="65272" y="587447"/>
                  </a:cubicBezTo>
                  <a:cubicBezTo>
                    <a:pt x="67992" y="565689"/>
                    <a:pt x="73431" y="543932"/>
                    <a:pt x="76151" y="522175"/>
                  </a:cubicBezTo>
                  <a:cubicBezTo>
                    <a:pt x="78870" y="505857"/>
                    <a:pt x="81590" y="486820"/>
                    <a:pt x="87029" y="470501"/>
                  </a:cubicBezTo>
                  <a:cubicBezTo>
                    <a:pt x="87029" y="465062"/>
                    <a:pt x="92468" y="451464"/>
                    <a:pt x="92468" y="446025"/>
                  </a:cubicBezTo>
                  <a:cubicBezTo>
                    <a:pt x="92468" y="437866"/>
                    <a:pt x="73431" y="437866"/>
                    <a:pt x="65272" y="432426"/>
                  </a:cubicBezTo>
                  <a:cubicBezTo>
                    <a:pt x="59833" y="429707"/>
                    <a:pt x="54393" y="426987"/>
                    <a:pt x="54393" y="421548"/>
                  </a:cubicBezTo>
                  <a:cubicBezTo>
                    <a:pt x="54393" y="413389"/>
                    <a:pt x="62552" y="410669"/>
                    <a:pt x="73431" y="407949"/>
                  </a:cubicBezTo>
                  <a:cubicBezTo>
                    <a:pt x="78870" y="407949"/>
                    <a:pt x="92468" y="405230"/>
                    <a:pt x="100629" y="399790"/>
                  </a:cubicBezTo>
                  <a:cubicBezTo>
                    <a:pt x="106068" y="394351"/>
                    <a:pt x="106068" y="378033"/>
                    <a:pt x="108788" y="369874"/>
                  </a:cubicBezTo>
                  <a:cubicBezTo>
                    <a:pt x="114227" y="348117"/>
                    <a:pt x="119666" y="326360"/>
                    <a:pt x="125105" y="307322"/>
                  </a:cubicBezTo>
                  <a:cubicBezTo>
                    <a:pt x="130545" y="285565"/>
                    <a:pt x="135984" y="263808"/>
                    <a:pt x="141423" y="242051"/>
                  </a:cubicBezTo>
                  <a:cubicBezTo>
                    <a:pt x="146863" y="220293"/>
                    <a:pt x="152302" y="198536"/>
                    <a:pt x="155022" y="179498"/>
                  </a:cubicBezTo>
                  <a:cubicBezTo>
                    <a:pt x="157742" y="160461"/>
                    <a:pt x="163181" y="138703"/>
                    <a:pt x="168620" y="119665"/>
                  </a:cubicBezTo>
                  <a:cubicBezTo>
                    <a:pt x="176779" y="100627"/>
                    <a:pt x="182218" y="76150"/>
                    <a:pt x="193097" y="57113"/>
                  </a:cubicBezTo>
                  <a:lnTo>
                    <a:pt x="201256" y="38075"/>
                  </a:lnTo>
                  <a:cubicBezTo>
                    <a:pt x="206695" y="29916"/>
                    <a:pt x="209415" y="19038"/>
                    <a:pt x="217574" y="13598"/>
                  </a:cubicBezTo>
                  <a:cubicBezTo>
                    <a:pt x="231172" y="2720"/>
                    <a:pt x="255649" y="0"/>
                    <a:pt x="274687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46" name="Freeform: Shape 45">
              <a:extLst>
                <a:ext uri="{FF2B5EF4-FFF2-40B4-BE49-F238E27FC236}">
                  <a16:creationId xmlns:a16="http://schemas.microsoft.com/office/drawing/2014/main" id="{5DC50316-A07C-4F98-A88F-9678B26F0223}"/>
                </a:ext>
              </a:extLst>
            </p:cNvPr>
            <p:cNvSpPr/>
            <p:nvPr/>
          </p:nvSpPr>
          <p:spPr>
            <a:xfrm>
              <a:off x="6876542" y="4244897"/>
              <a:ext cx="462342" cy="677195"/>
            </a:xfrm>
            <a:custGeom>
              <a:avLst/>
              <a:gdLst>
                <a:gd name="connsiteX0" fmla="*/ 214853 w 462342"/>
                <a:gd name="connsiteY0" fmla="*/ 65272 h 677195"/>
                <a:gd name="connsiteX1" fmla="*/ 195815 w 462342"/>
                <a:gd name="connsiteY1" fmla="*/ 73431 h 677195"/>
                <a:gd name="connsiteX2" fmla="*/ 193096 w 462342"/>
                <a:gd name="connsiteY2" fmla="*/ 125105 h 677195"/>
                <a:gd name="connsiteX3" fmla="*/ 190376 w 462342"/>
                <a:gd name="connsiteY3" fmla="*/ 280125 h 677195"/>
                <a:gd name="connsiteX4" fmla="*/ 190376 w 462342"/>
                <a:gd name="connsiteY4" fmla="*/ 301882 h 677195"/>
                <a:gd name="connsiteX5" fmla="*/ 193096 w 462342"/>
                <a:gd name="connsiteY5" fmla="*/ 342677 h 677195"/>
                <a:gd name="connsiteX6" fmla="*/ 195815 w 462342"/>
                <a:gd name="connsiteY6" fmla="*/ 397070 h 677195"/>
                <a:gd name="connsiteX7" fmla="*/ 195815 w 462342"/>
                <a:gd name="connsiteY7" fmla="*/ 443304 h 677195"/>
                <a:gd name="connsiteX8" fmla="*/ 195815 w 462342"/>
                <a:gd name="connsiteY8" fmla="*/ 530333 h 677195"/>
                <a:gd name="connsiteX9" fmla="*/ 193096 w 462342"/>
                <a:gd name="connsiteY9" fmla="*/ 554810 h 677195"/>
                <a:gd name="connsiteX10" fmla="*/ 190376 w 462342"/>
                <a:gd name="connsiteY10" fmla="*/ 603764 h 677195"/>
                <a:gd name="connsiteX11" fmla="*/ 198535 w 462342"/>
                <a:gd name="connsiteY11" fmla="*/ 611923 h 677195"/>
                <a:gd name="connsiteX12" fmla="*/ 214853 w 462342"/>
                <a:gd name="connsiteY12" fmla="*/ 611923 h 677195"/>
                <a:gd name="connsiteX13" fmla="*/ 236610 w 462342"/>
                <a:gd name="connsiteY13" fmla="*/ 611923 h 677195"/>
                <a:gd name="connsiteX14" fmla="*/ 263807 w 462342"/>
                <a:gd name="connsiteY14" fmla="*/ 598325 h 677195"/>
                <a:gd name="connsiteX15" fmla="*/ 277405 w 462342"/>
                <a:gd name="connsiteY15" fmla="*/ 592885 h 677195"/>
                <a:gd name="connsiteX16" fmla="*/ 291004 w 462342"/>
                <a:gd name="connsiteY16" fmla="*/ 573848 h 677195"/>
                <a:gd name="connsiteX17" fmla="*/ 307322 w 462342"/>
                <a:gd name="connsiteY17" fmla="*/ 543931 h 677195"/>
                <a:gd name="connsiteX18" fmla="*/ 326359 w 462342"/>
                <a:gd name="connsiteY18" fmla="*/ 481379 h 677195"/>
                <a:gd name="connsiteX19" fmla="*/ 337238 w 462342"/>
                <a:gd name="connsiteY19" fmla="*/ 413388 h 677195"/>
                <a:gd name="connsiteX20" fmla="*/ 337238 w 462342"/>
                <a:gd name="connsiteY20" fmla="*/ 350836 h 677195"/>
                <a:gd name="connsiteX21" fmla="*/ 334518 w 462342"/>
                <a:gd name="connsiteY21" fmla="*/ 296443 h 677195"/>
                <a:gd name="connsiteX22" fmla="*/ 329079 w 462342"/>
                <a:gd name="connsiteY22" fmla="*/ 244769 h 677195"/>
                <a:gd name="connsiteX23" fmla="*/ 307322 w 462342"/>
                <a:gd name="connsiteY23" fmla="*/ 135983 h 677195"/>
                <a:gd name="connsiteX24" fmla="*/ 271966 w 462342"/>
                <a:gd name="connsiteY24" fmla="*/ 78870 h 677195"/>
                <a:gd name="connsiteX25" fmla="*/ 214853 w 462342"/>
                <a:gd name="connsiteY25" fmla="*/ 65272 h 677195"/>
                <a:gd name="connsiteX26" fmla="*/ 114226 w 462342"/>
                <a:gd name="connsiteY26" fmla="*/ 0 h 677195"/>
                <a:gd name="connsiteX27" fmla="*/ 127824 w 462342"/>
                <a:gd name="connsiteY27" fmla="*/ 0 h 677195"/>
                <a:gd name="connsiteX28" fmla="*/ 146862 w 462342"/>
                <a:gd name="connsiteY28" fmla="*/ 2720 h 677195"/>
                <a:gd name="connsiteX29" fmla="*/ 174059 w 462342"/>
                <a:gd name="connsiteY29" fmla="*/ 21758 h 677195"/>
                <a:gd name="connsiteX30" fmla="*/ 193096 w 462342"/>
                <a:gd name="connsiteY30" fmla="*/ 21758 h 677195"/>
                <a:gd name="connsiteX31" fmla="*/ 261088 w 462342"/>
                <a:gd name="connsiteY31" fmla="*/ 27197 h 677195"/>
                <a:gd name="connsiteX32" fmla="*/ 310042 w 462342"/>
                <a:gd name="connsiteY32" fmla="*/ 35356 h 677195"/>
                <a:gd name="connsiteX33" fmla="*/ 334518 w 462342"/>
                <a:gd name="connsiteY33" fmla="*/ 40795 h 677195"/>
                <a:gd name="connsiteX34" fmla="*/ 356276 w 462342"/>
                <a:gd name="connsiteY34" fmla="*/ 59833 h 677195"/>
                <a:gd name="connsiteX35" fmla="*/ 372593 w 462342"/>
                <a:gd name="connsiteY35" fmla="*/ 76151 h 677195"/>
                <a:gd name="connsiteX36" fmla="*/ 380752 w 462342"/>
                <a:gd name="connsiteY36" fmla="*/ 95188 h 677195"/>
                <a:gd name="connsiteX37" fmla="*/ 405230 w 462342"/>
                <a:gd name="connsiteY37" fmla="*/ 114226 h 677195"/>
                <a:gd name="connsiteX38" fmla="*/ 416108 w 462342"/>
                <a:gd name="connsiteY38" fmla="*/ 141422 h 677195"/>
                <a:gd name="connsiteX39" fmla="*/ 451464 w 462342"/>
                <a:gd name="connsiteY39" fmla="*/ 201256 h 677195"/>
                <a:gd name="connsiteX40" fmla="*/ 456903 w 462342"/>
                <a:gd name="connsiteY40" fmla="*/ 252929 h 677195"/>
                <a:gd name="connsiteX41" fmla="*/ 456903 w 462342"/>
                <a:gd name="connsiteY41" fmla="*/ 291004 h 677195"/>
                <a:gd name="connsiteX42" fmla="*/ 459623 w 462342"/>
                <a:gd name="connsiteY42" fmla="*/ 318201 h 677195"/>
                <a:gd name="connsiteX43" fmla="*/ 459623 w 462342"/>
                <a:gd name="connsiteY43" fmla="*/ 326360 h 677195"/>
                <a:gd name="connsiteX44" fmla="*/ 459623 w 462342"/>
                <a:gd name="connsiteY44" fmla="*/ 348117 h 677195"/>
                <a:gd name="connsiteX45" fmla="*/ 462342 w 462342"/>
                <a:gd name="connsiteY45" fmla="*/ 367155 h 677195"/>
                <a:gd name="connsiteX46" fmla="*/ 456903 w 462342"/>
                <a:gd name="connsiteY46" fmla="*/ 391632 h 677195"/>
                <a:gd name="connsiteX47" fmla="*/ 456903 w 462342"/>
                <a:gd name="connsiteY47" fmla="*/ 418828 h 677195"/>
                <a:gd name="connsiteX48" fmla="*/ 451464 w 462342"/>
                <a:gd name="connsiteY48" fmla="*/ 437866 h 677195"/>
                <a:gd name="connsiteX49" fmla="*/ 446025 w 462342"/>
                <a:gd name="connsiteY49" fmla="*/ 454184 h 677195"/>
                <a:gd name="connsiteX50" fmla="*/ 440585 w 462342"/>
                <a:gd name="connsiteY50" fmla="*/ 481380 h 677195"/>
                <a:gd name="connsiteX51" fmla="*/ 432426 w 462342"/>
                <a:gd name="connsiteY51" fmla="*/ 508577 h 677195"/>
                <a:gd name="connsiteX52" fmla="*/ 418828 w 462342"/>
                <a:gd name="connsiteY52" fmla="*/ 530334 h 677195"/>
                <a:gd name="connsiteX53" fmla="*/ 410669 w 462342"/>
                <a:gd name="connsiteY53" fmla="*/ 549371 h 677195"/>
                <a:gd name="connsiteX54" fmla="*/ 391631 w 462342"/>
                <a:gd name="connsiteY54" fmla="*/ 579288 h 677195"/>
                <a:gd name="connsiteX55" fmla="*/ 337238 w 462342"/>
                <a:gd name="connsiteY55" fmla="*/ 630961 h 677195"/>
                <a:gd name="connsiteX56" fmla="*/ 301883 w 462342"/>
                <a:gd name="connsiteY56" fmla="*/ 647279 h 677195"/>
                <a:gd name="connsiteX57" fmla="*/ 263807 w 462342"/>
                <a:gd name="connsiteY57" fmla="*/ 652718 h 677195"/>
                <a:gd name="connsiteX58" fmla="*/ 233891 w 462342"/>
                <a:gd name="connsiteY58" fmla="*/ 649999 h 677195"/>
                <a:gd name="connsiteX59" fmla="*/ 187657 w 462342"/>
                <a:gd name="connsiteY59" fmla="*/ 652718 h 677195"/>
                <a:gd name="connsiteX60" fmla="*/ 171339 w 462342"/>
                <a:gd name="connsiteY60" fmla="*/ 669036 h 677195"/>
                <a:gd name="connsiteX61" fmla="*/ 155021 w 462342"/>
                <a:gd name="connsiteY61" fmla="*/ 671756 h 677195"/>
                <a:gd name="connsiteX62" fmla="*/ 138703 w 462342"/>
                <a:gd name="connsiteY62" fmla="*/ 674476 h 677195"/>
                <a:gd name="connsiteX63" fmla="*/ 125105 w 462342"/>
                <a:gd name="connsiteY63" fmla="*/ 677195 h 677195"/>
                <a:gd name="connsiteX64" fmla="*/ 106067 w 462342"/>
                <a:gd name="connsiteY64" fmla="*/ 671756 h 677195"/>
                <a:gd name="connsiteX65" fmla="*/ 87029 w 462342"/>
                <a:gd name="connsiteY65" fmla="*/ 658158 h 677195"/>
                <a:gd name="connsiteX66" fmla="*/ 81590 w 462342"/>
                <a:gd name="connsiteY66" fmla="*/ 652718 h 677195"/>
                <a:gd name="connsiteX67" fmla="*/ 67992 w 462342"/>
                <a:gd name="connsiteY67" fmla="*/ 652718 h 677195"/>
                <a:gd name="connsiteX68" fmla="*/ 43515 w 462342"/>
                <a:gd name="connsiteY68" fmla="*/ 652718 h 677195"/>
                <a:gd name="connsiteX69" fmla="*/ 16318 w 462342"/>
                <a:gd name="connsiteY69" fmla="*/ 647279 h 677195"/>
                <a:gd name="connsiteX70" fmla="*/ 0 w 462342"/>
                <a:gd name="connsiteY70" fmla="*/ 630961 h 677195"/>
                <a:gd name="connsiteX71" fmla="*/ 5439 w 462342"/>
                <a:gd name="connsiteY71" fmla="*/ 620083 h 677195"/>
                <a:gd name="connsiteX72" fmla="*/ 27197 w 462342"/>
                <a:gd name="connsiteY72" fmla="*/ 611924 h 677195"/>
                <a:gd name="connsiteX73" fmla="*/ 65272 w 462342"/>
                <a:gd name="connsiteY73" fmla="*/ 609204 h 677195"/>
                <a:gd name="connsiteX74" fmla="*/ 65272 w 462342"/>
                <a:gd name="connsiteY74" fmla="*/ 584727 h 677195"/>
                <a:gd name="connsiteX75" fmla="*/ 62552 w 462342"/>
                <a:gd name="connsiteY75" fmla="*/ 456903 h 677195"/>
                <a:gd name="connsiteX76" fmla="*/ 65272 w 462342"/>
                <a:gd name="connsiteY76" fmla="*/ 337238 h 677195"/>
                <a:gd name="connsiteX77" fmla="*/ 67992 w 462342"/>
                <a:gd name="connsiteY77" fmla="*/ 203975 h 677195"/>
                <a:gd name="connsiteX78" fmla="*/ 70712 w 462342"/>
                <a:gd name="connsiteY78" fmla="*/ 119665 h 677195"/>
                <a:gd name="connsiteX79" fmla="*/ 73431 w 462342"/>
                <a:gd name="connsiteY79" fmla="*/ 67992 h 677195"/>
                <a:gd name="connsiteX80" fmla="*/ 67992 w 462342"/>
                <a:gd name="connsiteY80" fmla="*/ 67992 h 677195"/>
                <a:gd name="connsiteX81" fmla="*/ 43515 w 462342"/>
                <a:gd name="connsiteY81" fmla="*/ 67992 h 677195"/>
                <a:gd name="connsiteX82" fmla="*/ 16318 w 462342"/>
                <a:gd name="connsiteY82" fmla="*/ 62552 h 677195"/>
                <a:gd name="connsiteX83" fmla="*/ 0 w 462342"/>
                <a:gd name="connsiteY83" fmla="*/ 46234 h 677195"/>
                <a:gd name="connsiteX84" fmla="*/ 5439 w 462342"/>
                <a:gd name="connsiteY84" fmla="*/ 35356 h 677195"/>
                <a:gd name="connsiteX85" fmla="*/ 27197 w 462342"/>
                <a:gd name="connsiteY85" fmla="*/ 27197 h 677195"/>
                <a:gd name="connsiteX86" fmla="*/ 76151 w 462342"/>
                <a:gd name="connsiteY86" fmla="*/ 21758 h 677195"/>
                <a:gd name="connsiteX87" fmla="*/ 81590 w 462342"/>
                <a:gd name="connsiteY87" fmla="*/ 13598 h 677195"/>
                <a:gd name="connsiteX88" fmla="*/ 97908 w 462342"/>
                <a:gd name="connsiteY88" fmla="*/ 5439 h 677195"/>
                <a:gd name="connsiteX89" fmla="*/ 114226 w 462342"/>
                <a:gd name="connsiteY89" fmla="*/ 0 h 6771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</a:cxnLst>
              <a:rect l="l" t="t" r="r" b="b"/>
              <a:pathLst>
                <a:path w="462342" h="677195">
                  <a:moveTo>
                    <a:pt x="214853" y="65272"/>
                  </a:moveTo>
                  <a:cubicBezTo>
                    <a:pt x="203975" y="65272"/>
                    <a:pt x="195815" y="67992"/>
                    <a:pt x="195815" y="73431"/>
                  </a:cubicBezTo>
                  <a:cubicBezTo>
                    <a:pt x="193096" y="78870"/>
                    <a:pt x="193096" y="100628"/>
                    <a:pt x="193096" y="125105"/>
                  </a:cubicBezTo>
                  <a:cubicBezTo>
                    <a:pt x="193096" y="182217"/>
                    <a:pt x="193096" y="266527"/>
                    <a:pt x="190376" y="280125"/>
                  </a:cubicBezTo>
                  <a:cubicBezTo>
                    <a:pt x="190376" y="288284"/>
                    <a:pt x="190376" y="293723"/>
                    <a:pt x="190376" y="301882"/>
                  </a:cubicBezTo>
                  <a:cubicBezTo>
                    <a:pt x="190376" y="315480"/>
                    <a:pt x="190376" y="329079"/>
                    <a:pt x="193096" y="342677"/>
                  </a:cubicBezTo>
                  <a:cubicBezTo>
                    <a:pt x="193096" y="361715"/>
                    <a:pt x="193096" y="378033"/>
                    <a:pt x="195815" y="397070"/>
                  </a:cubicBezTo>
                  <a:cubicBezTo>
                    <a:pt x="195815" y="413388"/>
                    <a:pt x="195815" y="426986"/>
                    <a:pt x="195815" y="443304"/>
                  </a:cubicBezTo>
                  <a:cubicBezTo>
                    <a:pt x="195815" y="465061"/>
                    <a:pt x="198535" y="508576"/>
                    <a:pt x="195815" y="530333"/>
                  </a:cubicBezTo>
                  <a:cubicBezTo>
                    <a:pt x="195815" y="538492"/>
                    <a:pt x="193096" y="546651"/>
                    <a:pt x="193096" y="554810"/>
                  </a:cubicBezTo>
                  <a:cubicBezTo>
                    <a:pt x="193096" y="560249"/>
                    <a:pt x="190376" y="590166"/>
                    <a:pt x="190376" y="603764"/>
                  </a:cubicBezTo>
                  <a:cubicBezTo>
                    <a:pt x="190376" y="609203"/>
                    <a:pt x="190376" y="611923"/>
                    <a:pt x="198535" y="611923"/>
                  </a:cubicBezTo>
                  <a:cubicBezTo>
                    <a:pt x="206694" y="611923"/>
                    <a:pt x="209414" y="611923"/>
                    <a:pt x="214853" y="611923"/>
                  </a:cubicBezTo>
                  <a:cubicBezTo>
                    <a:pt x="223012" y="611923"/>
                    <a:pt x="220293" y="611923"/>
                    <a:pt x="236610" y="611923"/>
                  </a:cubicBezTo>
                  <a:cubicBezTo>
                    <a:pt x="242050" y="611923"/>
                    <a:pt x="258368" y="601044"/>
                    <a:pt x="263807" y="598325"/>
                  </a:cubicBezTo>
                  <a:cubicBezTo>
                    <a:pt x="266527" y="598325"/>
                    <a:pt x="274686" y="592885"/>
                    <a:pt x="277405" y="592885"/>
                  </a:cubicBezTo>
                  <a:cubicBezTo>
                    <a:pt x="285564" y="587446"/>
                    <a:pt x="288284" y="579287"/>
                    <a:pt x="291004" y="573848"/>
                  </a:cubicBezTo>
                  <a:cubicBezTo>
                    <a:pt x="296443" y="562969"/>
                    <a:pt x="301882" y="554810"/>
                    <a:pt x="307322" y="543931"/>
                  </a:cubicBezTo>
                  <a:cubicBezTo>
                    <a:pt x="315481" y="524894"/>
                    <a:pt x="320920" y="524894"/>
                    <a:pt x="326359" y="481379"/>
                  </a:cubicBezTo>
                  <a:cubicBezTo>
                    <a:pt x="329079" y="456903"/>
                    <a:pt x="334518" y="435145"/>
                    <a:pt x="337238" y="413388"/>
                  </a:cubicBezTo>
                  <a:cubicBezTo>
                    <a:pt x="337238" y="391631"/>
                    <a:pt x="337238" y="369873"/>
                    <a:pt x="337238" y="350836"/>
                  </a:cubicBezTo>
                  <a:cubicBezTo>
                    <a:pt x="337238" y="339957"/>
                    <a:pt x="337238" y="320920"/>
                    <a:pt x="334518" y="296443"/>
                  </a:cubicBezTo>
                  <a:cubicBezTo>
                    <a:pt x="331798" y="269246"/>
                    <a:pt x="329079" y="250209"/>
                    <a:pt x="329079" y="244769"/>
                  </a:cubicBezTo>
                  <a:cubicBezTo>
                    <a:pt x="323640" y="206694"/>
                    <a:pt x="318200" y="174058"/>
                    <a:pt x="307322" y="135983"/>
                  </a:cubicBezTo>
                  <a:cubicBezTo>
                    <a:pt x="304602" y="125105"/>
                    <a:pt x="304602" y="108787"/>
                    <a:pt x="271966" y="78870"/>
                  </a:cubicBezTo>
                  <a:cubicBezTo>
                    <a:pt x="263807" y="73431"/>
                    <a:pt x="233891" y="65272"/>
                    <a:pt x="214853" y="65272"/>
                  </a:cubicBezTo>
                  <a:close/>
                  <a:moveTo>
                    <a:pt x="114226" y="0"/>
                  </a:moveTo>
                  <a:cubicBezTo>
                    <a:pt x="119665" y="0"/>
                    <a:pt x="125105" y="0"/>
                    <a:pt x="127824" y="0"/>
                  </a:cubicBezTo>
                  <a:cubicBezTo>
                    <a:pt x="133264" y="0"/>
                    <a:pt x="141422" y="0"/>
                    <a:pt x="146862" y="2720"/>
                  </a:cubicBezTo>
                  <a:cubicBezTo>
                    <a:pt x="157741" y="5439"/>
                    <a:pt x="165900" y="13598"/>
                    <a:pt x="174059" y="21758"/>
                  </a:cubicBezTo>
                  <a:cubicBezTo>
                    <a:pt x="179498" y="21758"/>
                    <a:pt x="187657" y="21758"/>
                    <a:pt x="193096" y="21758"/>
                  </a:cubicBezTo>
                  <a:cubicBezTo>
                    <a:pt x="212134" y="21758"/>
                    <a:pt x="228452" y="27197"/>
                    <a:pt x="261088" y="27197"/>
                  </a:cubicBezTo>
                  <a:cubicBezTo>
                    <a:pt x="277405" y="27197"/>
                    <a:pt x="293723" y="35356"/>
                    <a:pt x="310042" y="35356"/>
                  </a:cubicBezTo>
                  <a:cubicBezTo>
                    <a:pt x="318200" y="35356"/>
                    <a:pt x="329079" y="35356"/>
                    <a:pt x="334518" y="40795"/>
                  </a:cubicBezTo>
                  <a:cubicBezTo>
                    <a:pt x="342677" y="46234"/>
                    <a:pt x="348117" y="54393"/>
                    <a:pt x="356276" y="59833"/>
                  </a:cubicBezTo>
                  <a:cubicBezTo>
                    <a:pt x="361715" y="65272"/>
                    <a:pt x="369874" y="67992"/>
                    <a:pt x="372593" y="76151"/>
                  </a:cubicBezTo>
                  <a:cubicBezTo>
                    <a:pt x="375313" y="81590"/>
                    <a:pt x="378033" y="89749"/>
                    <a:pt x="380752" y="95188"/>
                  </a:cubicBezTo>
                  <a:cubicBezTo>
                    <a:pt x="386192" y="103347"/>
                    <a:pt x="391631" y="106067"/>
                    <a:pt x="405230" y="114226"/>
                  </a:cubicBezTo>
                  <a:cubicBezTo>
                    <a:pt x="413388" y="119665"/>
                    <a:pt x="410669" y="133263"/>
                    <a:pt x="416108" y="141422"/>
                  </a:cubicBezTo>
                  <a:cubicBezTo>
                    <a:pt x="426987" y="160461"/>
                    <a:pt x="446025" y="182218"/>
                    <a:pt x="451464" y="201256"/>
                  </a:cubicBezTo>
                  <a:cubicBezTo>
                    <a:pt x="456903" y="220293"/>
                    <a:pt x="456903" y="236611"/>
                    <a:pt x="456903" y="252929"/>
                  </a:cubicBezTo>
                  <a:cubicBezTo>
                    <a:pt x="456903" y="266527"/>
                    <a:pt x="456903" y="277406"/>
                    <a:pt x="456903" y="291004"/>
                  </a:cubicBezTo>
                  <a:cubicBezTo>
                    <a:pt x="456903" y="299163"/>
                    <a:pt x="456903" y="307322"/>
                    <a:pt x="459623" y="318201"/>
                  </a:cubicBezTo>
                  <a:cubicBezTo>
                    <a:pt x="459623" y="320921"/>
                    <a:pt x="459623" y="323640"/>
                    <a:pt x="459623" y="326360"/>
                  </a:cubicBezTo>
                  <a:cubicBezTo>
                    <a:pt x="462342" y="331799"/>
                    <a:pt x="459623" y="337238"/>
                    <a:pt x="459623" y="348117"/>
                  </a:cubicBezTo>
                  <a:cubicBezTo>
                    <a:pt x="459623" y="350837"/>
                    <a:pt x="462342" y="361715"/>
                    <a:pt x="462342" y="367155"/>
                  </a:cubicBezTo>
                  <a:cubicBezTo>
                    <a:pt x="462342" y="375314"/>
                    <a:pt x="456903" y="383473"/>
                    <a:pt x="456903" y="391632"/>
                  </a:cubicBezTo>
                  <a:cubicBezTo>
                    <a:pt x="456903" y="399790"/>
                    <a:pt x="456903" y="410669"/>
                    <a:pt x="456903" y="418828"/>
                  </a:cubicBezTo>
                  <a:cubicBezTo>
                    <a:pt x="456903" y="421548"/>
                    <a:pt x="454183" y="429707"/>
                    <a:pt x="451464" y="437866"/>
                  </a:cubicBezTo>
                  <a:cubicBezTo>
                    <a:pt x="448744" y="443305"/>
                    <a:pt x="448744" y="451464"/>
                    <a:pt x="446025" y="454184"/>
                  </a:cubicBezTo>
                  <a:cubicBezTo>
                    <a:pt x="443305" y="462343"/>
                    <a:pt x="440585" y="473221"/>
                    <a:pt x="440585" y="481380"/>
                  </a:cubicBezTo>
                  <a:cubicBezTo>
                    <a:pt x="437865" y="489539"/>
                    <a:pt x="437865" y="500418"/>
                    <a:pt x="432426" y="508577"/>
                  </a:cubicBezTo>
                  <a:cubicBezTo>
                    <a:pt x="429706" y="516736"/>
                    <a:pt x="424267" y="522175"/>
                    <a:pt x="418828" y="530334"/>
                  </a:cubicBezTo>
                  <a:cubicBezTo>
                    <a:pt x="416108" y="535773"/>
                    <a:pt x="413388" y="543932"/>
                    <a:pt x="410669" y="549371"/>
                  </a:cubicBezTo>
                  <a:cubicBezTo>
                    <a:pt x="405230" y="557531"/>
                    <a:pt x="397071" y="573848"/>
                    <a:pt x="391631" y="579288"/>
                  </a:cubicBezTo>
                  <a:cubicBezTo>
                    <a:pt x="369874" y="609204"/>
                    <a:pt x="350836" y="620083"/>
                    <a:pt x="337238" y="630961"/>
                  </a:cubicBezTo>
                  <a:cubicBezTo>
                    <a:pt x="326359" y="639120"/>
                    <a:pt x="315481" y="641840"/>
                    <a:pt x="301883" y="647279"/>
                  </a:cubicBezTo>
                  <a:cubicBezTo>
                    <a:pt x="291004" y="649999"/>
                    <a:pt x="277405" y="652718"/>
                    <a:pt x="263807" y="652718"/>
                  </a:cubicBezTo>
                  <a:cubicBezTo>
                    <a:pt x="252929" y="652718"/>
                    <a:pt x="244770" y="649999"/>
                    <a:pt x="233891" y="649999"/>
                  </a:cubicBezTo>
                  <a:cubicBezTo>
                    <a:pt x="206694" y="649999"/>
                    <a:pt x="217573" y="652718"/>
                    <a:pt x="187657" y="652718"/>
                  </a:cubicBezTo>
                  <a:cubicBezTo>
                    <a:pt x="184937" y="660877"/>
                    <a:pt x="179498" y="666317"/>
                    <a:pt x="171339" y="669036"/>
                  </a:cubicBezTo>
                  <a:cubicBezTo>
                    <a:pt x="165900" y="671756"/>
                    <a:pt x="160460" y="671756"/>
                    <a:pt x="155021" y="671756"/>
                  </a:cubicBezTo>
                  <a:cubicBezTo>
                    <a:pt x="149581" y="671756"/>
                    <a:pt x="144142" y="674476"/>
                    <a:pt x="138703" y="674476"/>
                  </a:cubicBezTo>
                  <a:cubicBezTo>
                    <a:pt x="135983" y="674476"/>
                    <a:pt x="127824" y="677195"/>
                    <a:pt x="125105" y="677195"/>
                  </a:cubicBezTo>
                  <a:cubicBezTo>
                    <a:pt x="116946" y="677195"/>
                    <a:pt x="108787" y="671756"/>
                    <a:pt x="106067" y="671756"/>
                  </a:cubicBezTo>
                  <a:cubicBezTo>
                    <a:pt x="100628" y="669036"/>
                    <a:pt x="95188" y="663597"/>
                    <a:pt x="87029" y="658158"/>
                  </a:cubicBezTo>
                  <a:cubicBezTo>
                    <a:pt x="84310" y="655438"/>
                    <a:pt x="81590" y="655438"/>
                    <a:pt x="81590" y="652718"/>
                  </a:cubicBezTo>
                  <a:cubicBezTo>
                    <a:pt x="73431" y="652718"/>
                    <a:pt x="81590" y="652718"/>
                    <a:pt x="67992" y="652718"/>
                  </a:cubicBezTo>
                  <a:cubicBezTo>
                    <a:pt x="59833" y="652718"/>
                    <a:pt x="51674" y="652718"/>
                    <a:pt x="43515" y="652718"/>
                  </a:cubicBezTo>
                  <a:cubicBezTo>
                    <a:pt x="35356" y="652718"/>
                    <a:pt x="24477" y="652718"/>
                    <a:pt x="16318" y="647279"/>
                  </a:cubicBezTo>
                  <a:cubicBezTo>
                    <a:pt x="8159" y="644559"/>
                    <a:pt x="0" y="636401"/>
                    <a:pt x="0" y="630961"/>
                  </a:cubicBezTo>
                  <a:cubicBezTo>
                    <a:pt x="0" y="625522"/>
                    <a:pt x="0" y="622802"/>
                    <a:pt x="5439" y="620083"/>
                  </a:cubicBezTo>
                  <a:cubicBezTo>
                    <a:pt x="10879" y="617363"/>
                    <a:pt x="21758" y="614643"/>
                    <a:pt x="27197" y="611924"/>
                  </a:cubicBezTo>
                  <a:cubicBezTo>
                    <a:pt x="38076" y="609204"/>
                    <a:pt x="54393" y="609204"/>
                    <a:pt x="65272" y="609204"/>
                  </a:cubicBezTo>
                  <a:cubicBezTo>
                    <a:pt x="65272" y="601045"/>
                    <a:pt x="65272" y="592886"/>
                    <a:pt x="65272" y="584727"/>
                  </a:cubicBezTo>
                  <a:cubicBezTo>
                    <a:pt x="65272" y="541213"/>
                    <a:pt x="62552" y="500418"/>
                    <a:pt x="62552" y="456903"/>
                  </a:cubicBezTo>
                  <a:cubicBezTo>
                    <a:pt x="62552" y="440585"/>
                    <a:pt x="65272" y="397071"/>
                    <a:pt x="65272" y="337238"/>
                  </a:cubicBezTo>
                  <a:cubicBezTo>
                    <a:pt x="65272" y="293724"/>
                    <a:pt x="67992" y="247490"/>
                    <a:pt x="67992" y="203975"/>
                  </a:cubicBezTo>
                  <a:cubicBezTo>
                    <a:pt x="67992" y="179498"/>
                    <a:pt x="67992" y="149582"/>
                    <a:pt x="70712" y="119665"/>
                  </a:cubicBezTo>
                  <a:cubicBezTo>
                    <a:pt x="70712" y="103347"/>
                    <a:pt x="73431" y="84309"/>
                    <a:pt x="73431" y="67992"/>
                  </a:cubicBezTo>
                  <a:cubicBezTo>
                    <a:pt x="73431" y="67992"/>
                    <a:pt x="70712" y="67992"/>
                    <a:pt x="67992" y="67992"/>
                  </a:cubicBezTo>
                  <a:cubicBezTo>
                    <a:pt x="59833" y="67992"/>
                    <a:pt x="51674" y="67992"/>
                    <a:pt x="43515" y="67992"/>
                  </a:cubicBezTo>
                  <a:cubicBezTo>
                    <a:pt x="35356" y="67992"/>
                    <a:pt x="24477" y="67992"/>
                    <a:pt x="16318" y="62552"/>
                  </a:cubicBezTo>
                  <a:cubicBezTo>
                    <a:pt x="8159" y="59833"/>
                    <a:pt x="0" y="51674"/>
                    <a:pt x="0" y="46234"/>
                  </a:cubicBezTo>
                  <a:cubicBezTo>
                    <a:pt x="0" y="43515"/>
                    <a:pt x="0" y="38075"/>
                    <a:pt x="5439" y="35356"/>
                  </a:cubicBezTo>
                  <a:cubicBezTo>
                    <a:pt x="10879" y="32636"/>
                    <a:pt x="21758" y="29916"/>
                    <a:pt x="27197" y="27197"/>
                  </a:cubicBezTo>
                  <a:cubicBezTo>
                    <a:pt x="46234" y="24477"/>
                    <a:pt x="65272" y="21758"/>
                    <a:pt x="76151" y="21758"/>
                  </a:cubicBezTo>
                  <a:cubicBezTo>
                    <a:pt x="76151" y="19038"/>
                    <a:pt x="78871" y="16318"/>
                    <a:pt x="81590" y="13598"/>
                  </a:cubicBezTo>
                  <a:cubicBezTo>
                    <a:pt x="84310" y="10879"/>
                    <a:pt x="92469" y="5439"/>
                    <a:pt x="97908" y="5439"/>
                  </a:cubicBezTo>
                  <a:cubicBezTo>
                    <a:pt x="103347" y="2720"/>
                    <a:pt x="108787" y="0"/>
                    <a:pt x="114226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47" name="Freeform: Shape 46">
              <a:extLst>
                <a:ext uri="{FF2B5EF4-FFF2-40B4-BE49-F238E27FC236}">
                  <a16:creationId xmlns:a16="http://schemas.microsoft.com/office/drawing/2014/main" id="{C7E78CC9-07D3-4E5F-9486-4571F99E25AF}"/>
                </a:ext>
              </a:extLst>
            </p:cNvPr>
            <p:cNvSpPr/>
            <p:nvPr/>
          </p:nvSpPr>
          <p:spPr>
            <a:xfrm>
              <a:off x="7310622" y="4197597"/>
              <a:ext cx="489539" cy="761503"/>
            </a:xfrm>
            <a:custGeom>
              <a:avLst/>
              <a:gdLst>
                <a:gd name="connsiteX0" fmla="*/ 433491 w 489538"/>
                <a:gd name="connsiteY0" fmla="*/ 651063 h 761503"/>
                <a:gd name="connsiteX1" fmla="*/ 438930 w 489538"/>
                <a:gd name="connsiteY1" fmla="*/ 661942 h 761503"/>
                <a:gd name="connsiteX2" fmla="*/ 425332 w 489538"/>
                <a:gd name="connsiteY2" fmla="*/ 683699 h 761503"/>
                <a:gd name="connsiteX3" fmla="*/ 400855 w 489538"/>
                <a:gd name="connsiteY3" fmla="*/ 691858 h 761503"/>
                <a:gd name="connsiteX4" fmla="*/ 343742 w 489538"/>
                <a:gd name="connsiteY4" fmla="*/ 700017 h 761503"/>
                <a:gd name="connsiteX5" fmla="*/ 316546 w 489538"/>
                <a:gd name="connsiteY5" fmla="*/ 705456 h 761503"/>
                <a:gd name="connsiteX6" fmla="*/ 275751 w 489538"/>
                <a:gd name="connsiteY6" fmla="*/ 705456 h 761503"/>
                <a:gd name="connsiteX7" fmla="*/ 264872 w 489538"/>
                <a:gd name="connsiteY7" fmla="*/ 708176 h 761503"/>
                <a:gd name="connsiteX8" fmla="*/ 253994 w 489538"/>
                <a:gd name="connsiteY8" fmla="*/ 708176 h 761503"/>
                <a:gd name="connsiteX9" fmla="*/ 240395 w 489538"/>
                <a:gd name="connsiteY9" fmla="*/ 719054 h 761503"/>
                <a:gd name="connsiteX10" fmla="*/ 224077 w 489538"/>
                <a:gd name="connsiteY10" fmla="*/ 721774 h 761503"/>
                <a:gd name="connsiteX11" fmla="*/ 205040 w 489538"/>
                <a:gd name="connsiteY11" fmla="*/ 724494 h 761503"/>
                <a:gd name="connsiteX12" fmla="*/ 191441 w 489538"/>
                <a:gd name="connsiteY12" fmla="*/ 727213 h 761503"/>
                <a:gd name="connsiteX13" fmla="*/ 169684 w 489538"/>
                <a:gd name="connsiteY13" fmla="*/ 721774 h 761503"/>
                <a:gd name="connsiteX14" fmla="*/ 150646 w 489538"/>
                <a:gd name="connsiteY14" fmla="*/ 708176 h 761503"/>
                <a:gd name="connsiteX15" fmla="*/ 139768 w 489538"/>
                <a:gd name="connsiteY15" fmla="*/ 708176 h 761503"/>
                <a:gd name="connsiteX16" fmla="*/ 120730 w 489538"/>
                <a:gd name="connsiteY16" fmla="*/ 708176 h 761503"/>
                <a:gd name="connsiteX17" fmla="*/ 98973 w 489538"/>
                <a:gd name="connsiteY17" fmla="*/ 708176 h 761503"/>
                <a:gd name="connsiteX18" fmla="*/ 74496 w 489538"/>
                <a:gd name="connsiteY18" fmla="*/ 702736 h 761503"/>
                <a:gd name="connsiteX19" fmla="*/ 58178 w 489538"/>
                <a:gd name="connsiteY19" fmla="*/ 683699 h 761503"/>
                <a:gd name="connsiteX20" fmla="*/ 63617 w 489538"/>
                <a:gd name="connsiteY20" fmla="*/ 675540 h 761503"/>
                <a:gd name="connsiteX21" fmla="*/ 85375 w 489538"/>
                <a:gd name="connsiteY21" fmla="*/ 667381 h 761503"/>
                <a:gd name="connsiteX22" fmla="*/ 128889 w 489538"/>
                <a:gd name="connsiteY22" fmla="*/ 661942 h 761503"/>
                <a:gd name="connsiteX23" fmla="*/ 128889 w 489538"/>
                <a:gd name="connsiteY23" fmla="*/ 602109 h 761503"/>
                <a:gd name="connsiteX24" fmla="*/ 126170 w 489538"/>
                <a:gd name="connsiteY24" fmla="*/ 523239 h 761503"/>
                <a:gd name="connsiteX25" fmla="*/ 126170 w 489538"/>
                <a:gd name="connsiteY25" fmla="*/ 468846 h 761503"/>
                <a:gd name="connsiteX26" fmla="*/ 123450 w 489538"/>
                <a:gd name="connsiteY26" fmla="*/ 409014 h 761503"/>
                <a:gd name="connsiteX27" fmla="*/ 123450 w 489538"/>
                <a:gd name="connsiteY27" fmla="*/ 384537 h 761503"/>
                <a:gd name="connsiteX28" fmla="*/ 126170 w 489538"/>
                <a:gd name="connsiteY28" fmla="*/ 349181 h 761503"/>
                <a:gd name="connsiteX29" fmla="*/ 126170 w 489538"/>
                <a:gd name="connsiteY29" fmla="*/ 324704 h 761503"/>
                <a:gd name="connsiteX30" fmla="*/ 128889 w 489538"/>
                <a:gd name="connsiteY30" fmla="*/ 292068 h 761503"/>
                <a:gd name="connsiteX31" fmla="*/ 134329 w 489538"/>
                <a:gd name="connsiteY31" fmla="*/ 234956 h 761503"/>
                <a:gd name="connsiteX32" fmla="*/ 134329 w 489538"/>
                <a:gd name="connsiteY32" fmla="*/ 172404 h 761503"/>
                <a:gd name="connsiteX33" fmla="*/ 137048 w 489538"/>
                <a:gd name="connsiteY33" fmla="*/ 123450 h 761503"/>
                <a:gd name="connsiteX34" fmla="*/ 123450 w 489538"/>
                <a:gd name="connsiteY34" fmla="*/ 123450 h 761503"/>
                <a:gd name="connsiteX35" fmla="*/ 101693 w 489538"/>
                <a:gd name="connsiteY35" fmla="*/ 123450 h 761503"/>
                <a:gd name="connsiteX36" fmla="*/ 77216 w 489538"/>
                <a:gd name="connsiteY36" fmla="*/ 118011 h 761503"/>
                <a:gd name="connsiteX37" fmla="*/ 60898 w 489538"/>
                <a:gd name="connsiteY37" fmla="*/ 98973 h 761503"/>
                <a:gd name="connsiteX38" fmla="*/ 66337 w 489538"/>
                <a:gd name="connsiteY38" fmla="*/ 90814 h 761503"/>
                <a:gd name="connsiteX39" fmla="*/ 88094 w 489538"/>
                <a:gd name="connsiteY39" fmla="*/ 82655 h 761503"/>
                <a:gd name="connsiteX40" fmla="*/ 145207 w 489538"/>
                <a:gd name="connsiteY40" fmla="*/ 77216 h 761503"/>
                <a:gd name="connsiteX41" fmla="*/ 145207 w 489538"/>
                <a:gd name="connsiteY41" fmla="*/ 77216 h 761503"/>
                <a:gd name="connsiteX42" fmla="*/ 153366 w 489538"/>
                <a:gd name="connsiteY42" fmla="*/ 69057 h 761503"/>
                <a:gd name="connsiteX43" fmla="*/ 177843 w 489538"/>
                <a:gd name="connsiteY43" fmla="*/ 60898 h 761503"/>
                <a:gd name="connsiteX44" fmla="*/ 196881 w 489538"/>
                <a:gd name="connsiteY44" fmla="*/ 58178 h 761503"/>
                <a:gd name="connsiteX45" fmla="*/ 205040 w 489538"/>
                <a:gd name="connsiteY45" fmla="*/ 58178 h 761503"/>
                <a:gd name="connsiteX46" fmla="*/ 215919 w 489538"/>
                <a:gd name="connsiteY46" fmla="*/ 63617 h 761503"/>
                <a:gd name="connsiteX47" fmla="*/ 229517 w 489538"/>
                <a:gd name="connsiteY47" fmla="*/ 69057 h 761503"/>
                <a:gd name="connsiteX48" fmla="*/ 256713 w 489538"/>
                <a:gd name="connsiteY48" fmla="*/ 77216 h 761503"/>
                <a:gd name="connsiteX49" fmla="*/ 264872 w 489538"/>
                <a:gd name="connsiteY49" fmla="*/ 77216 h 761503"/>
                <a:gd name="connsiteX50" fmla="*/ 281190 w 489538"/>
                <a:gd name="connsiteY50" fmla="*/ 77216 h 761503"/>
                <a:gd name="connsiteX51" fmla="*/ 330144 w 489538"/>
                <a:gd name="connsiteY51" fmla="*/ 77216 h 761503"/>
                <a:gd name="connsiteX52" fmla="*/ 357341 w 489538"/>
                <a:gd name="connsiteY52" fmla="*/ 79935 h 761503"/>
                <a:gd name="connsiteX53" fmla="*/ 387257 w 489538"/>
                <a:gd name="connsiteY53" fmla="*/ 82655 h 761503"/>
                <a:gd name="connsiteX54" fmla="*/ 406295 w 489538"/>
                <a:gd name="connsiteY54" fmla="*/ 85375 h 761503"/>
                <a:gd name="connsiteX55" fmla="*/ 417173 w 489538"/>
                <a:gd name="connsiteY55" fmla="*/ 79935 h 761503"/>
                <a:gd name="connsiteX56" fmla="*/ 425332 w 489538"/>
                <a:gd name="connsiteY56" fmla="*/ 85375 h 761503"/>
                <a:gd name="connsiteX57" fmla="*/ 433491 w 489538"/>
                <a:gd name="connsiteY57" fmla="*/ 104412 h 761503"/>
                <a:gd name="connsiteX58" fmla="*/ 436211 w 489538"/>
                <a:gd name="connsiteY58" fmla="*/ 137048 h 761503"/>
                <a:gd name="connsiteX59" fmla="*/ 438930 w 489538"/>
                <a:gd name="connsiteY59" fmla="*/ 183282 h 761503"/>
                <a:gd name="connsiteX60" fmla="*/ 422612 w 489538"/>
                <a:gd name="connsiteY60" fmla="*/ 218638 h 761503"/>
                <a:gd name="connsiteX61" fmla="*/ 406295 w 489538"/>
                <a:gd name="connsiteY61" fmla="*/ 213198 h 761503"/>
                <a:gd name="connsiteX62" fmla="*/ 398136 w 489538"/>
                <a:gd name="connsiteY62" fmla="*/ 196881 h 761503"/>
                <a:gd name="connsiteX63" fmla="*/ 395416 w 489538"/>
                <a:gd name="connsiteY63" fmla="*/ 175123 h 761503"/>
                <a:gd name="connsiteX64" fmla="*/ 395416 w 489538"/>
                <a:gd name="connsiteY64" fmla="*/ 153366 h 761503"/>
                <a:gd name="connsiteX65" fmla="*/ 395416 w 489538"/>
                <a:gd name="connsiteY65" fmla="*/ 126170 h 761503"/>
                <a:gd name="connsiteX66" fmla="*/ 370939 w 489538"/>
                <a:gd name="connsiteY66" fmla="*/ 128889 h 761503"/>
                <a:gd name="connsiteX67" fmla="*/ 338303 w 489538"/>
                <a:gd name="connsiteY67" fmla="*/ 131609 h 761503"/>
                <a:gd name="connsiteX68" fmla="*/ 286629 w 489538"/>
                <a:gd name="connsiteY68" fmla="*/ 134328 h 761503"/>
                <a:gd name="connsiteX69" fmla="*/ 273031 w 489538"/>
                <a:gd name="connsiteY69" fmla="*/ 137048 h 761503"/>
                <a:gd name="connsiteX70" fmla="*/ 262153 w 489538"/>
                <a:gd name="connsiteY70" fmla="*/ 142487 h 761503"/>
                <a:gd name="connsiteX71" fmla="*/ 259433 w 489538"/>
                <a:gd name="connsiteY71" fmla="*/ 153366 h 761503"/>
                <a:gd name="connsiteX72" fmla="*/ 262153 w 489538"/>
                <a:gd name="connsiteY72" fmla="*/ 166964 h 761503"/>
                <a:gd name="connsiteX73" fmla="*/ 262153 w 489538"/>
                <a:gd name="connsiteY73" fmla="*/ 196881 h 761503"/>
                <a:gd name="connsiteX74" fmla="*/ 262153 w 489538"/>
                <a:gd name="connsiteY74" fmla="*/ 215918 h 761503"/>
                <a:gd name="connsiteX75" fmla="*/ 262153 w 489538"/>
                <a:gd name="connsiteY75" fmla="*/ 251274 h 761503"/>
                <a:gd name="connsiteX76" fmla="*/ 259433 w 489538"/>
                <a:gd name="connsiteY76" fmla="*/ 278470 h 761503"/>
                <a:gd name="connsiteX77" fmla="*/ 259433 w 489538"/>
                <a:gd name="connsiteY77" fmla="*/ 308386 h 761503"/>
                <a:gd name="connsiteX78" fmla="*/ 259433 w 489538"/>
                <a:gd name="connsiteY78" fmla="*/ 321985 h 761503"/>
                <a:gd name="connsiteX79" fmla="*/ 259433 w 489538"/>
                <a:gd name="connsiteY79" fmla="*/ 332863 h 761503"/>
                <a:gd name="connsiteX80" fmla="*/ 267592 w 489538"/>
                <a:gd name="connsiteY80" fmla="*/ 335583 h 761503"/>
                <a:gd name="connsiteX81" fmla="*/ 281190 w 489538"/>
                <a:gd name="connsiteY81" fmla="*/ 335583 h 761503"/>
                <a:gd name="connsiteX82" fmla="*/ 327424 w 489538"/>
                <a:gd name="connsiteY82" fmla="*/ 338303 h 761503"/>
                <a:gd name="connsiteX83" fmla="*/ 351901 w 489538"/>
                <a:gd name="connsiteY83" fmla="*/ 341022 h 761503"/>
                <a:gd name="connsiteX84" fmla="*/ 351901 w 489538"/>
                <a:gd name="connsiteY84" fmla="*/ 335583 h 761503"/>
                <a:gd name="connsiteX85" fmla="*/ 351901 w 489538"/>
                <a:gd name="connsiteY85" fmla="*/ 313826 h 761503"/>
                <a:gd name="connsiteX86" fmla="*/ 357341 w 489538"/>
                <a:gd name="connsiteY86" fmla="*/ 289349 h 761503"/>
                <a:gd name="connsiteX87" fmla="*/ 373658 w 489538"/>
                <a:gd name="connsiteY87" fmla="*/ 273031 h 761503"/>
                <a:gd name="connsiteX88" fmla="*/ 381817 w 489538"/>
                <a:gd name="connsiteY88" fmla="*/ 278470 h 761503"/>
                <a:gd name="connsiteX89" fmla="*/ 389977 w 489538"/>
                <a:gd name="connsiteY89" fmla="*/ 300228 h 761503"/>
                <a:gd name="connsiteX90" fmla="*/ 395416 w 489538"/>
                <a:gd name="connsiteY90" fmla="*/ 351901 h 761503"/>
                <a:gd name="connsiteX91" fmla="*/ 398136 w 489538"/>
                <a:gd name="connsiteY91" fmla="*/ 409014 h 761503"/>
                <a:gd name="connsiteX92" fmla="*/ 381817 w 489538"/>
                <a:gd name="connsiteY92" fmla="*/ 444369 h 761503"/>
                <a:gd name="connsiteX93" fmla="*/ 365500 w 489538"/>
                <a:gd name="connsiteY93" fmla="*/ 438930 h 761503"/>
                <a:gd name="connsiteX94" fmla="*/ 357341 w 489538"/>
                <a:gd name="connsiteY94" fmla="*/ 422612 h 761503"/>
                <a:gd name="connsiteX95" fmla="*/ 354621 w 489538"/>
                <a:gd name="connsiteY95" fmla="*/ 400855 h 761503"/>
                <a:gd name="connsiteX96" fmla="*/ 354621 w 489538"/>
                <a:gd name="connsiteY96" fmla="*/ 381817 h 761503"/>
                <a:gd name="connsiteX97" fmla="*/ 270312 w 489538"/>
                <a:gd name="connsiteY97" fmla="*/ 381817 h 761503"/>
                <a:gd name="connsiteX98" fmla="*/ 256713 w 489538"/>
                <a:gd name="connsiteY98" fmla="*/ 395415 h 761503"/>
                <a:gd name="connsiteX99" fmla="*/ 253994 w 489538"/>
                <a:gd name="connsiteY99" fmla="*/ 422612 h 761503"/>
                <a:gd name="connsiteX100" fmla="*/ 253994 w 489538"/>
                <a:gd name="connsiteY100" fmla="*/ 433490 h 761503"/>
                <a:gd name="connsiteX101" fmla="*/ 253994 w 489538"/>
                <a:gd name="connsiteY101" fmla="*/ 449809 h 761503"/>
                <a:gd name="connsiteX102" fmla="*/ 256713 w 489538"/>
                <a:gd name="connsiteY102" fmla="*/ 474285 h 761503"/>
                <a:gd name="connsiteX103" fmla="*/ 256713 w 489538"/>
                <a:gd name="connsiteY103" fmla="*/ 496043 h 761503"/>
                <a:gd name="connsiteX104" fmla="*/ 259433 w 489538"/>
                <a:gd name="connsiteY104" fmla="*/ 534118 h 761503"/>
                <a:gd name="connsiteX105" fmla="*/ 259433 w 489538"/>
                <a:gd name="connsiteY105" fmla="*/ 591231 h 761503"/>
                <a:gd name="connsiteX106" fmla="*/ 262153 w 489538"/>
                <a:gd name="connsiteY106" fmla="*/ 618427 h 761503"/>
                <a:gd name="connsiteX107" fmla="*/ 267592 w 489538"/>
                <a:gd name="connsiteY107" fmla="*/ 648343 h 761503"/>
                <a:gd name="connsiteX108" fmla="*/ 292069 w 489538"/>
                <a:gd name="connsiteY108" fmla="*/ 651063 h 761503"/>
                <a:gd name="connsiteX109" fmla="*/ 327424 w 489538"/>
                <a:gd name="connsiteY109" fmla="*/ 651063 h 761503"/>
                <a:gd name="connsiteX110" fmla="*/ 362780 w 489538"/>
                <a:gd name="connsiteY110" fmla="*/ 653783 h 761503"/>
                <a:gd name="connsiteX111" fmla="*/ 395416 w 489538"/>
                <a:gd name="connsiteY111" fmla="*/ 648343 h 761503"/>
                <a:gd name="connsiteX112" fmla="*/ 395416 w 489538"/>
                <a:gd name="connsiteY112" fmla="*/ 618427 h 761503"/>
                <a:gd name="connsiteX113" fmla="*/ 395416 w 489538"/>
                <a:gd name="connsiteY113" fmla="*/ 596670 h 761503"/>
                <a:gd name="connsiteX114" fmla="*/ 398136 w 489538"/>
                <a:gd name="connsiteY114" fmla="*/ 574913 h 761503"/>
                <a:gd name="connsiteX115" fmla="*/ 406295 w 489538"/>
                <a:gd name="connsiteY115" fmla="*/ 558595 h 761503"/>
                <a:gd name="connsiteX116" fmla="*/ 422612 w 489538"/>
                <a:gd name="connsiteY116" fmla="*/ 553155 h 761503"/>
                <a:gd name="connsiteX117" fmla="*/ 438930 w 489538"/>
                <a:gd name="connsiteY117" fmla="*/ 588511 h 761503"/>
                <a:gd name="connsiteX118" fmla="*/ 436211 w 489538"/>
                <a:gd name="connsiteY118" fmla="*/ 645624 h 761503"/>
                <a:gd name="connsiteX119" fmla="*/ 433491 w 489538"/>
                <a:gd name="connsiteY119" fmla="*/ 651063 h 761503"/>
                <a:gd name="connsiteX120" fmla="*/ 433491 w 489538"/>
                <a:gd name="connsiteY120" fmla="*/ 651063 h 761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</a:cxnLst>
              <a:rect l="l" t="t" r="r" b="b"/>
              <a:pathLst>
                <a:path w="489538" h="761503">
                  <a:moveTo>
                    <a:pt x="433491" y="651063"/>
                  </a:moveTo>
                  <a:cubicBezTo>
                    <a:pt x="436211" y="653783"/>
                    <a:pt x="438930" y="656502"/>
                    <a:pt x="438930" y="661942"/>
                  </a:cubicBezTo>
                  <a:cubicBezTo>
                    <a:pt x="438930" y="670101"/>
                    <a:pt x="433491" y="678259"/>
                    <a:pt x="425332" y="683699"/>
                  </a:cubicBezTo>
                  <a:cubicBezTo>
                    <a:pt x="417173" y="689138"/>
                    <a:pt x="409014" y="689138"/>
                    <a:pt x="400855" y="691858"/>
                  </a:cubicBezTo>
                  <a:cubicBezTo>
                    <a:pt x="381817" y="694578"/>
                    <a:pt x="362780" y="694578"/>
                    <a:pt x="343742" y="700017"/>
                  </a:cubicBezTo>
                  <a:cubicBezTo>
                    <a:pt x="335583" y="702736"/>
                    <a:pt x="324705" y="702736"/>
                    <a:pt x="316546" y="705456"/>
                  </a:cubicBezTo>
                  <a:cubicBezTo>
                    <a:pt x="308387" y="705456"/>
                    <a:pt x="289349" y="705456"/>
                    <a:pt x="275751" y="705456"/>
                  </a:cubicBezTo>
                  <a:cubicBezTo>
                    <a:pt x="270312" y="705456"/>
                    <a:pt x="267592" y="708176"/>
                    <a:pt x="264872" y="708176"/>
                  </a:cubicBezTo>
                  <a:cubicBezTo>
                    <a:pt x="264872" y="708176"/>
                    <a:pt x="259433" y="708176"/>
                    <a:pt x="253994" y="708176"/>
                  </a:cubicBezTo>
                  <a:cubicBezTo>
                    <a:pt x="251274" y="713615"/>
                    <a:pt x="245835" y="716335"/>
                    <a:pt x="240395" y="719054"/>
                  </a:cubicBezTo>
                  <a:cubicBezTo>
                    <a:pt x="234956" y="721774"/>
                    <a:pt x="229517" y="721774"/>
                    <a:pt x="224077" y="721774"/>
                  </a:cubicBezTo>
                  <a:cubicBezTo>
                    <a:pt x="218638" y="721774"/>
                    <a:pt x="213199" y="724494"/>
                    <a:pt x="205040" y="724494"/>
                  </a:cubicBezTo>
                  <a:cubicBezTo>
                    <a:pt x="202320" y="724494"/>
                    <a:pt x="194161" y="727213"/>
                    <a:pt x="191441" y="727213"/>
                  </a:cubicBezTo>
                  <a:cubicBezTo>
                    <a:pt x="183282" y="727213"/>
                    <a:pt x="172404" y="721774"/>
                    <a:pt x="169684" y="721774"/>
                  </a:cubicBezTo>
                  <a:cubicBezTo>
                    <a:pt x="164245" y="719054"/>
                    <a:pt x="156086" y="713615"/>
                    <a:pt x="150646" y="708176"/>
                  </a:cubicBezTo>
                  <a:cubicBezTo>
                    <a:pt x="145207" y="708176"/>
                    <a:pt x="139768" y="708176"/>
                    <a:pt x="139768" y="708176"/>
                  </a:cubicBezTo>
                  <a:cubicBezTo>
                    <a:pt x="126170" y="708176"/>
                    <a:pt x="137048" y="708176"/>
                    <a:pt x="120730" y="708176"/>
                  </a:cubicBezTo>
                  <a:cubicBezTo>
                    <a:pt x="112571" y="708176"/>
                    <a:pt x="104412" y="708176"/>
                    <a:pt x="98973" y="708176"/>
                  </a:cubicBezTo>
                  <a:cubicBezTo>
                    <a:pt x="90814" y="708176"/>
                    <a:pt x="79936" y="708176"/>
                    <a:pt x="74496" y="702736"/>
                  </a:cubicBezTo>
                  <a:cubicBezTo>
                    <a:pt x="66337" y="700017"/>
                    <a:pt x="58178" y="689138"/>
                    <a:pt x="58178" y="683699"/>
                  </a:cubicBezTo>
                  <a:cubicBezTo>
                    <a:pt x="58178" y="680979"/>
                    <a:pt x="58178" y="678259"/>
                    <a:pt x="63617" y="675540"/>
                  </a:cubicBezTo>
                  <a:cubicBezTo>
                    <a:pt x="69057" y="672820"/>
                    <a:pt x="77216" y="670101"/>
                    <a:pt x="85375" y="667381"/>
                  </a:cubicBezTo>
                  <a:cubicBezTo>
                    <a:pt x="98973" y="664661"/>
                    <a:pt x="115291" y="664661"/>
                    <a:pt x="128889" y="661942"/>
                  </a:cubicBezTo>
                  <a:cubicBezTo>
                    <a:pt x="128889" y="645624"/>
                    <a:pt x="128889" y="623866"/>
                    <a:pt x="128889" y="602109"/>
                  </a:cubicBezTo>
                  <a:cubicBezTo>
                    <a:pt x="128889" y="566754"/>
                    <a:pt x="128889" y="531398"/>
                    <a:pt x="126170" y="523239"/>
                  </a:cubicBezTo>
                  <a:cubicBezTo>
                    <a:pt x="126170" y="517800"/>
                    <a:pt x="126170" y="487884"/>
                    <a:pt x="126170" y="468846"/>
                  </a:cubicBezTo>
                  <a:cubicBezTo>
                    <a:pt x="126170" y="449809"/>
                    <a:pt x="123450" y="430771"/>
                    <a:pt x="123450" y="409014"/>
                  </a:cubicBezTo>
                  <a:cubicBezTo>
                    <a:pt x="123450" y="400855"/>
                    <a:pt x="123450" y="392696"/>
                    <a:pt x="123450" y="384537"/>
                  </a:cubicBezTo>
                  <a:cubicBezTo>
                    <a:pt x="123450" y="373658"/>
                    <a:pt x="126170" y="360060"/>
                    <a:pt x="126170" y="349181"/>
                  </a:cubicBezTo>
                  <a:cubicBezTo>
                    <a:pt x="126170" y="341022"/>
                    <a:pt x="126170" y="332863"/>
                    <a:pt x="126170" y="324704"/>
                  </a:cubicBezTo>
                  <a:cubicBezTo>
                    <a:pt x="126170" y="313826"/>
                    <a:pt x="126170" y="302947"/>
                    <a:pt x="128889" y="292068"/>
                  </a:cubicBezTo>
                  <a:cubicBezTo>
                    <a:pt x="131609" y="273031"/>
                    <a:pt x="134329" y="253993"/>
                    <a:pt x="134329" y="234956"/>
                  </a:cubicBezTo>
                  <a:cubicBezTo>
                    <a:pt x="134329" y="213198"/>
                    <a:pt x="134329" y="191441"/>
                    <a:pt x="134329" y="172404"/>
                  </a:cubicBezTo>
                  <a:cubicBezTo>
                    <a:pt x="134329" y="156086"/>
                    <a:pt x="134329" y="139768"/>
                    <a:pt x="137048" y="123450"/>
                  </a:cubicBezTo>
                  <a:cubicBezTo>
                    <a:pt x="131609" y="123450"/>
                    <a:pt x="134329" y="123450"/>
                    <a:pt x="123450" y="123450"/>
                  </a:cubicBezTo>
                  <a:cubicBezTo>
                    <a:pt x="115291" y="123450"/>
                    <a:pt x="107132" y="123450"/>
                    <a:pt x="101693" y="123450"/>
                  </a:cubicBezTo>
                  <a:cubicBezTo>
                    <a:pt x="93534" y="123450"/>
                    <a:pt x="82655" y="123450"/>
                    <a:pt x="77216" y="118011"/>
                  </a:cubicBezTo>
                  <a:cubicBezTo>
                    <a:pt x="69057" y="115291"/>
                    <a:pt x="60898" y="101693"/>
                    <a:pt x="60898" y="98973"/>
                  </a:cubicBezTo>
                  <a:cubicBezTo>
                    <a:pt x="60898" y="96253"/>
                    <a:pt x="60898" y="93534"/>
                    <a:pt x="66337" y="90814"/>
                  </a:cubicBezTo>
                  <a:cubicBezTo>
                    <a:pt x="71777" y="88094"/>
                    <a:pt x="79936" y="85375"/>
                    <a:pt x="88094" y="82655"/>
                  </a:cubicBezTo>
                  <a:cubicBezTo>
                    <a:pt x="104412" y="79935"/>
                    <a:pt x="131609" y="77216"/>
                    <a:pt x="145207" y="77216"/>
                  </a:cubicBezTo>
                  <a:cubicBezTo>
                    <a:pt x="145207" y="77216"/>
                    <a:pt x="145207" y="77216"/>
                    <a:pt x="145207" y="77216"/>
                  </a:cubicBezTo>
                  <a:cubicBezTo>
                    <a:pt x="145207" y="74496"/>
                    <a:pt x="150646" y="71776"/>
                    <a:pt x="153366" y="69057"/>
                  </a:cubicBezTo>
                  <a:cubicBezTo>
                    <a:pt x="161525" y="63617"/>
                    <a:pt x="169684" y="63617"/>
                    <a:pt x="177843" y="60898"/>
                  </a:cubicBezTo>
                  <a:cubicBezTo>
                    <a:pt x="183282" y="58178"/>
                    <a:pt x="191441" y="58178"/>
                    <a:pt x="196881" y="58178"/>
                  </a:cubicBezTo>
                  <a:cubicBezTo>
                    <a:pt x="199600" y="58178"/>
                    <a:pt x="202320" y="58178"/>
                    <a:pt x="205040" y="58178"/>
                  </a:cubicBezTo>
                  <a:cubicBezTo>
                    <a:pt x="207759" y="58178"/>
                    <a:pt x="213199" y="60898"/>
                    <a:pt x="215919" y="63617"/>
                  </a:cubicBezTo>
                  <a:cubicBezTo>
                    <a:pt x="221358" y="66337"/>
                    <a:pt x="224077" y="66337"/>
                    <a:pt x="229517" y="69057"/>
                  </a:cubicBezTo>
                  <a:cubicBezTo>
                    <a:pt x="237675" y="71776"/>
                    <a:pt x="245835" y="77216"/>
                    <a:pt x="256713" y="77216"/>
                  </a:cubicBezTo>
                  <a:cubicBezTo>
                    <a:pt x="259433" y="77216"/>
                    <a:pt x="262153" y="77216"/>
                    <a:pt x="264872" y="77216"/>
                  </a:cubicBezTo>
                  <a:cubicBezTo>
                    <a:pt x="270312" y="77216"/>
                    <a:pt x="275751" y="77216"/>
                    <a:pt x="281190" y="77216"/>
                  </a:cubicBezTo>
                  <a:cubicBezTo>
                    <a:pt x="292069" y="77216"/>
                    <a:pt x="321985" y="77216"/>
                    <a:pt x="330144" y="77216"/>
                  </a:cubicBezTo>
                  <a:cubicBezTo>
                    <a:pt x="338303" y="77216"/>
                    <a:pt x="349182" y="77216"/>
                    <a:pt x="357341" y="79935"/>
                  </a:cubicBezTo>
                  <a:cubicBezTo>
                    <a:pt x="368219" y="79935"/>
                    <a:pt x="379098" y="82655"/>
                    <a:pt x="387257" y="82655"/>
                  </a:cubicBezTo>
                  <a:cubicBezTo>
                    <a:pt x="392696" y="82655"/>
                    <a:pt x="400855" y="85375"/>
                    <a:pt x="406295" y="85375"/>
                  </a:cubicBezTo>
                  <a:cubicBezTo>
                    <a:pt x="409014" y="82655"/>
                    <a:pt x="414453" y="79935"/>
                    <a:pt x="417173" y="79935"/>
                  </a:cubicBezTo>
                  <a:cubicBezTo>
                    <a:pt x="419893" y="79935"/>
                    <a:pt x="422612" y="79935"/>
                    <a:pt x="425332" y="85375"/>
                  </a:cubicBezTo>
                  <a:cubicBezTo>
                    <a:pt x="428052" y="90814"/>
                    <a:pt x="433491" y="98973"/>
                    <a:pt x="433491" y="104412"/>
                  </a:cubicBezTo>
                  <a:cubicBezTo>
                    <a:pt x="436211" y="131609"/>
                    <a:pt x="436211" y="120730"/>
                    <a:pt x="436211" y="137048"/>
                  </a:cubicBezTo>
                  <a:cubicBezTo>
                    <a:pt x="438930" y="158805"/>
                    <a:pt x="438930" y="158805"/>
                    <a:pt x="438930" y="183282"/>
                  </a:cubicBezTo>
                  <a:cubicBezTo>
                    <a:pt x="438930" y="194161"/>
                    <a:pt x="438930" y="218638"/>
                    <a:pt x="422612" y="218638"/>
                  </a:cubicBezTo>
                  <a:cubicBezTo>
                    <a:pt x="414453" y="218638"/>
                    <a:pt x="411734" y="215918"/>
                    <a:pt x="406295" y="213198"/>
                  </a:cubicBezTo>
                  <a:cubicBezTo>
                    <a:pt x="400855" y="210479"/>
                    <a:pt x="398136" y="202320"/>
                    <a:pt x="398136" y="196881"/>
                  </a:cubicBezTo>
                  <a:cubicBezTo>
                    <a:pt x="395416" y="188722"/>
                    <a:pt x="395416" y="183282"/>
                    <a:pt x="395416" y="175123"/>
                  </a:cubicBezTo>
                  <a:cubicBezTo>
                    <a:pt x="395416" y="169684"/>
                    <a:pt x="395416" y="164245"/>
                    <a:pt x="395416" y="153366"/>
                  </a:cubicBezTo>
                  <a:cubicBezTo>
                    <a:pt x="395416" y="145207"/>
                    <a:pt x="395416" y="134328"/>
                    <a:pt x="395416" y="126170"/>
                  </a:cubicBezTo>
                  <a:cubicBezTo>
                    <a:pt x="387257" y="128889"/>
                    <a:pt x="379098" y="128889"/>
                    <a:pt x="370939" y="128889"/>
                  </a:cubicBezTo>
                  <a:cubicBezTo>
                    <a:pt x="360060" y="128889"/>
                    <a:pt x="349182" y="128889"/>
                    <a:pt x="338303" y="131609"/>
                  </a:cubicBezTo>
                  <a:cubicBezTo>
                    <a:pt x="327424" y="131609"/>
                    <a:pt x="319265" y="134328"/>
                    <a:pt x="286629" y="134328"/>
                  </a:cubicBezTo>
                  <a:cubicBezTo>
                    <a:pt x="281190" y="134328"/>
                    <a:pt x="278470" y="134328"/>
                    <a:pt x="273031" y="137048"/>
                  </a:cubicBezTo>
                  <a:cubicBezTo>
                    <a:pt x="270312" y="137048"/>
                    <a:pt x="264872" y="137048"/>
                    <a:pt x="262153" y="142487"/>
                  </a:cubicBezTo>
                  <a:cubicBezTo>
                    <a:pt x="259433" y="145207"/>
                    <a:pt x="259433" y="150647"/>
                    <a:pt x="259433" y="153366"/>
                  </a:cubicBezTo>
                  <a:cubicBezTo>
                    <a:pt x="259433" y="158805"/>
                    <a:pt x="259433" y="164245"/>
                    <a:pt x="262153" y="166964"/>
                  </a:cubicBezTo>
                  <a:cubicBezTo>
                    <a:pt x="262153" y="177843"/>
                    <a:pt x="262153" y="186002"/>
                    <a:pt x="262153" y="196881"/>
                  </a:cubicBezTo>
                  <a:cubicBezTo>
                    <a:pt x="262153" y="202320"/>
                    <a:pt x="262153" y="210479"/>
                    <a:pt x="262153" y="215918"/>
                  </a:cubicBezTo>
                  <a:cubicBezTo>
                    <a:pt x="262153" y="229516"/>
                    <a:pt x="262153" y="240395"/>
                    <a:pt x="262153" y="251274"/>
                  </a:cubicBezTo>
                  <a:cubicBezTo>
                    <a:pt x="262153" y="259433"/>
                    <a:pt x="259433" y="270311"/>
                    <a:pt x="259433" y="278470"/>
                  </a:cubicBezTo>
                  <a:cubicBezTo>
                    <a:pt x="259433" y="289349"/>
                    <a:pt x="259433" y="297508"/>
                    <a:pt x="259433" y="308386"/>
                  </a:cubicBezTo>
                  <a:cubicBezTo>
                    <a:pt x="259433" y="313826"/>
                    <a:pt x="259433" y="319265"/>
                    <a:pt x="259433" y="321985"/>
                  </a:cubicBezTo>
                  <a:cubicBezTo>
                    <a:pt x="259433" y="324704"/>
                    <a:pt x="259433" y="330144"/>
                    <a:pt x="259433" y="332863"/>
                  </a:cubicBezTo>
                  <a:cubicBezTo>
                    <a:pt x="262153" y="335583"/>
                    <a:pt x="264872" y="335583"/>
                    <a:pt x="267592" y="335583"/>
                  </a:cubicBezTo>
                  <a:cubicBezTo>
                    <a:pt x="273031" y="335583"/>
                    <a:pt x="275751" y="335583"/>
                    <a:pt x="281190" y="335583"/>
                  </a:cubicBezTo>
                  <a:cubicBezTo>
                    <a:pt x="311107" y="335583"/>
                    <a:pt x="319265" y="335583"/>
                    <a:pt x="327424" y="338303"/>
                  </a:cubicBezTo>
                  <a:cubicBezTo>
                    <a:pt x="335583" y="341022"/>
                    <a:pt x="343742" y="341022"/>
                    <a:pt x="351901" y="341022"/>
                  </a:cubicBezTo>
                  <a:cubicBezTo>
                    <a:pt x="351901" y="338303"/>
                    <a:pt x="351901" y="338303"/>
                    <a:pt x="351901" y="335583"/>
                  </a:cubicBezTo>
                  <a:cubicBezTo>
                    <a:pt x="351901" y="327424"/>
                    <a:pt x="351901" y="319265"/>
                    <a:pt x="351901" y="313826"/>
                  </a:cubicBezTo>
                  <a:cubicBezTo>
                    <a:pt x="351901" y="305667"/>
                    <a:pt x="351901" y="294788"/>
                    <a:pt x="357341" y="289349"/>
                  </a:cubicBezTo>
                  <a:cubicBezTo>
                    <a:pt x="360060" y="281190"/>
                    <a:pt x="368219" y="273031"/>
                    <a:pt x="373658" y="273031"/>
                  </a:cubicBezTo>
                  <a:cubicBezTo>
                    <a:pt x="376378" y="273031"/>
                    <a:pt x="379098" y="273031"/>
                    <a:pt x="381817" y="278470"/>
                  </a:cubicBezTo>
                  <a:cubicBezTo>
                    <a:pt x="384537" y="283909"/>
                    <a:pt x="387257" y="292068"/>
                    <a:pt x="389977" y="300228"/>
                  </a:cubicBezTo>
                  <a:cubicBezTo>
                    <a:pt x="392696" y="316545"/>
                    <a:pt x="392696" y="335583"/>
                    <a:pt x="395416" y="351901"/>
                  </a:cubicBezTo>
                  <a:cubicBezTo>
                    <a:pt x="398136" y="373658"/>
                    <a:pt x="398136" y="384537"/>
                    <a:pt x="398136" y="409014"/>
                  </a:cubicBezTo>
                  <a:cubicBezTo>
                    <a:pt x="398136" y="422612"/>
                    <a:pt x="398136" y="444369"/>
                    <a:pt x="381817" y="444369"/>
                  </a:cubicBezTo>
                  <a:cubicBezTo>
                    <a:pt x="373658" y="444369"/>
                    <a:pt x="370939" y="441650"/>
                    <a:pt x="365500" y="438930"/>
                  </a:cubicBezTo>
                  <a:cubicBezTo>
                    <a:pt x="360060" y="436210"/>
                    <a:pt x="357341" y="428051"/>
                    <a:pt x="357341" y="422612"/>
                  </a:cubicBezTo>
                  <a:cubicBezTo>
                    <a:pt x="354621" y="414453"/>
                    <a:pt x="354621" y="409014"/>
                    <a:pt x="354621" y="400855"/>
                  </a:cubicBezTo>
                  <a:cubicBezTo>
                    <a:pt x="354621" y="395415"/>
                    <a:pt x="354621" y="389976"/>
                    <a:pt x="354621" y="381817"/>
                  </a:cubicBezTo>
                  <a:cubicBezTo>
                    <a:pt x="335583" y="381817"/>
                    <a:pt x="308387" y="384537"/>
                    <a:pt x="270312" y="381817"/>
                  </a:cubicBezTo>
                  <a:cubicBezTo>
                    <a:pt x="262153" y="381817"/>
                    <a:pt x="256713" y="387256"/>
                    <a:pt x="256713" y="395415"/>
                  </a:cubicBezTo>
                  <a:cubicBezTo>
                    <a:pt x="256713" y="403574"/>
                    <a:pt x="256713" y="414453"/>
                    <a:pt x="253994" y="422612"/>
                  </a:cubicBezTo>
                  <a:cubicBezTo>
                    <a:pt x="253994" y="425332"/>
                    <a:pt x="253994" y="430771"/>
                    <a:pt x="253994" y="433490"/>
                  </a:cubicBezTo>
                  <a:cubicBezTo>
                    <a:pt x="253994" y="438930"/>
                    <a:pt x="253994" y="444369"/>
                    <a:pt x="253994" y="449809"/>
                  </a:cubicBezTo>
                  <a:cubicBezTo>
                    <a:pt x="253994" y="457967"/>
                    <a:pt x="256713" y="466126"/>
                    <a:pt x="256713" y="474285"/>
                  </a:cubicBezTo>
                  <a:cubicBezTo>
                    <a:pt x="256713" y="482444"/>
                    <a:pt x="256713" y="490603"/>
                    <a:pt x="256713" y="496043"/>
                  </a:cubicBezTo>
                  <a:cubicBezTo>
                    <a:pt x="256713" y="509641"/>
                    <a:pt x="259433" y="520520"/>
                    <a:pt x="259433" y="534118"/>
                  </a:cubicBezTo>
                  <a:cubicBezTo>
                    <a:pt x="259433" y="553155"/>
                    <a:pt x="259433" y="572193"/>
                    <a:pt x="259433" y="591231"/>
                  </a:cubicBezTo>
                  <a:cubicBezTo>
                    <a:pt x="259433" y="602109"/>
                    <a:pt x="262153" y="610268"/>
                    <a:pt x="262153" y="618427"/>
                  </a:cubicBezTo>
                  <a:cubicBezTo>
                    <a:pt x="264872" y="626586"/>
                    <a:pt x="262153" y="642904"/>
                    <a:pt x="267592" y="648343"/>
                  </a:cubicBezTo>
                  <a:cubicBezTo>
                    <a:pt x="270312" y="651063"/>
                    <a:pt x="275751" y="651063"/>
                    <a:pt x="292069" y="651063"/>
                  </a:cubicBezTo>
                  <a:cubicBezTo>
                    <a:pt x="305667" y="651063"/>
                    <a:pt x="319265" y="651063"/>
                    <a:pt x="327424" y="651063"/>
                  </a:cubicBezTo>
                  <a:cubicBezTo>
                    <a:pt x="338303" y="651063"/>
                    <a:pt x="351901" y="653783"/>
                    <a:pt x="362780" y="653783"/>
                  </a:cubicBezTo>
                  <a:cubicBezTo>
                    <a:pt x="376378" y="653783"/>
                    <a:pt x="384537" y="651063"/>
                    <a:pt x="395416" y="648343"/>
                  </a:cubicBezTo>
                  <a:cubicBezTo>
                    <a:pt x="395416" y="637465"/>
                    <a:pt x="395416" y="629306"/>
                    <a:pt x="395416" y="618427"/>
                  </a:cubicBezTo>
                  <a:cubicBezTo>
                    <a:pt x="395416" y="610268"/>
                    <a:pt x="395416" y="602109"/>
                    <a:pt x="395416" y="596670"/>
                  </a:cubicBezTo>
                  <a:cubicBezTo>
                    <a:pt x="395416" y="591231"/>
                    <a:pt x="395416" y="585791"/>
                    <a:pt x="398136" y="574913"/>
                  </a:cubicBezTo>
                  <a:cubicBezTo>
                    <a:pt x="400855" y="569473"/>
                    <a:pt x="400855" y="564034"/>
                    <a:pt x="406295" y="558595"/>
                  </a:cubicBezTo>
                  <a:cubicBezTo>
                    <a:pt x="411734" y="553155"/>
                    <a:pt x="414453" y="553155"/>
                    <a:pt x="422612" y="553155"/>
                  </a:cubicBezTo>
                  <a:cubicBezTo>
                    <a:pt x="436211" y="553155"/>
                    <a:pt x="438930" y="577632"/>
                    <a:pt x="438930" y="588511"/>
                  </a:cubicBezTo>
                  <a:cubicBezTo>
                    <a:pt x="438930" y="612988"/>
                    <a:pt x="438930" y="623866"/>
                    <a:pt x="436211" y="645624"/>
                  </a:cubicBezTo>
                  <a:cubicBezTo>
                    <a:pt x="433491" y="648343"/>
                    <a:pt x="433491" y="648343"/>
                    <a:pt x="433491" y="651063"/>
                  </a:cubicBezTo>
                  <a:lnTo>
                    <a:pt x="433491" y="651063"/>
                  </a:ln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48" name="Freeform: Shape 47">
              <a:extLst>
                <a:ext uri="{FF2B5EF4-FFF2-40B4-BE49-F238E27FC236}">
                  <a16:creationId xmlns:a16="http://schemas.microsoft.com/office/drawing/2014/main" id="{283C7F09-BDBA-419E-A82F-29A47CF06020}"/>
                </a:ext>
              </a:extLst>
            </p:cNvPr>
            <p:cNvSpPr/>
            <p:nvPr/>
          </p:nvSpPr>
          <p:spPr>
            <a:xfrm>
              <a:off x="7912732" y="4250336"/>
              <a:ext cx="465062" cy="658157"/>
            </a:xfrm>
            <a:custGeom>
              <a:avLst/>
              <a:gdLst>
                <a:gd name="connsiteX0" fmla="*/ 193096 w 465062"/>
                <a:gd name="connsiteY0" fmla="*/ 59832 h 658157"/>
                <a:gd name="connsiteX1" fmla="*/ 193096 w 465062"/>
                <a:gd name="connsiteY1" fmla="*/ 114226 h 658157"/>
                <a:gd name="connsiteX2" fmla="*/ 198536 w 465062"/>
                <a:gd name="connsiteY2" fmla="*/ 209414 h 658157"/>
                <a:gd name="connsiteX3" fmla="*/ 201255 w 465062"/>
                <a:gd name="connsiteY3" fmla="*/ 282845 h 658157"/>
                <a:gd name="connsiteX4" fmla="*/ 203975 w 465062"/>
                <a:gd name="connsiteY4" fmla="*/ 315481 h 658157"/>
                <a:gd name="connsiteX5" fmla="*/ 203975 w 465062"/>
                <a:gd name="connsiteY5" fmla="*/ 320920 h 658157"/>
                <a:gd name="connsiteX6" fmla="*/ 212134 w 465062"/>
                <a:gd name="connsiteY6" fmla="*/ 329079 h 658157"/>
                <a:gd name="connsiteX7" fmla="*/ 223013 w 465062"/>
                <a:gd name="connsiteY7" fmla="*/ 329079 h 658157"/>
                <a:gd name="connsiteX8" fmla="*/ 239331 w 465062"/>
                <a:gd name="connsiteY8" fmla="*/ 329079 h 658157"/>
                <a:gd name="connsiteX9" fmla="*/ 280126 w 465062"/>
                <a:gd name="connsiteY9" fmla="*/ 312761 h 658157"/>
                <a:gd name="connsiteX10" fmla="*/ 296443 w 465062"/>
                <a:gd name="connsiteY10" fmla="*/ 288284 h 658157"/>
                <a:gd name="connsiteX11" fmla="*/ 304602 w 465062"/>
                <a:gd name="connsiteY11" fmla="*/ 258368 h 658157"/>
                <a:gd name="connsiteX12" fmla="*/ 312761 w 465062"/>
                <a:gd name="connsiteY12" fmla="*/ 225732 h 658157"/>
                <a:gd name="connsiteX13" fmla="*/ 315481 w 465062"/>
                <a:gd name="connsiteY13" fmla="*/ 195816 h 658157"/>
                <a:gd name="connsiteX14" fmla="*/ 318201 w 465062"/>
                <a:gd name="connsiteY14" fmla="*/ 168619 h 658157"/>
                <a:gd name="connsiteX15" fmla="*/ 312761 w 465062"/>
                <a:gd name="connsiteY15" fmla="*/ 135983 h 658157"/>
                <a:gd name="connsiteX16" fmla="*/ 312761 w 465062"/>
                <a:gd name="connsiteY16" fmla="*/ 122385 h 658157"/>
                <a:gd name="connsiteX17" fmla="*/ 293724 w 465062"/>
                <a:gd name="connsiteY17" fmla="*/ 84309 h 658157"/>
                <a:gd name="connsiteX18" fmla="*/ 280126 w 465062"/>
                <a:gd name="connsiteY18" fmla="*/ 73430 h 658157"/>
                <a:gd name="connsiteX19" fmla="*/ 258368 w 465062"/>
                <a:gd name="connsiteY19" fmla="*/ 62552 h 658157"/>
                <a:gd name="connsiteX20" fmla="*/ 217573 w 465062"/>
                <a:gd name="connsiteY20" fmla="*/ 59832 h 658157"/>
                <a:gd name="connsiteX21" fmla="*/ 111506 w 465062"/>
                <a:gd name="connsiteY21" fmla="*/ 0 h 658157"/>
                <a:gd name="connsiteX22" fmla="*/ 127824 w 465062"/>
                <a:gd name="connsiteY22" fmla="*/ 0 h 658157"/>
                <a:gd name="connsiteX23" fmla="*/ 157741 w 465062"/>
                <a:gd name="connsiteY23" fmla="*/ 5440 h 658157"/>
                <a:gd name="connsiteX24" fmla="*/ 179497 w 465062"/>
                <a:gd name="connsiteY24" fmla="*/ 16318 h 658157"/>
                <a:gd name="connsiteX25" fmla="*/ 209414 w 465062"/>
                <a:gd name="connsiteY25" fmla="*/ 16318 h 658157"/>
                <a:gd name="connsiteX26" fmla="*/ 247489 w 465062"/>
                <a:gd name="connsiteY26" fmla="*/ 16318 h 658157"/>
                <a:gd name="connsiteX27" fmla="*/ 266527 w 465062"/>
                <a:gd name="connsiteY27" fmla="*/ 16318 h 658157"/>
                <a:gd name="connsiteX28" fmla="*/ 312761 w 465062"/>
                <a:gd name="connsiteY28" fmla="*/ 27197 h 658157"/>
                <a:gd name="connsiteX29" fmla="*/ 337238 w 465062"/>
                <a:gd name="connsiteY29" fmla="*/ 38075 h 658157"/>
                <a:gd name="connsiteX30" fmla="*/ 364434 w 465062"/>
                <a:gd name="connsiteY30" fmla="*/ 54393 h 658157"/>
                <a:gd name="connsiteX31" fmla="*/ 386192 w 465062"/>
                <a:gd name="connsiteY31" fmla="*/ 73431 h 658157"/>
                <a:gd name="connsiteX32" fmla="*/ 407949 w 465062"/>
                <a:gd name="connsiteY32" fmla="*/ 103347 h 658157"/>
                <a:gd name="connsiteX33" fmla="*/ 416108 w 465062"/>
                <a:gd name="connsiteY33" fmla="*/ 141422 h 658157"/>
                <a:gd name="connsiteX34" fmla="*/ 418828 w 465062"/>
                <a:gd name="connsiteY34" fmla="*/ 163179 h 658157"/>
                <a:gd name="connsiteX35" fmla="*/ 418828 w 465062"/>
                <a:gd name="connsiteY35" fmla="*/ 171339 h 658157"/>
                <a:gd name="connsiteX36" fmla="*/ 421547 w 465062"/>
                <a:gd name="connsiteY36" fmla="*/ 187656 h 658157"/>
                <a:gd name="connsiteX37" fmla="*/ 418828 w 465062"/>
                <a:gd name="connsiteY37" fmla="*/ 206694 h 658157"/>
                <a:gd name="connsiteX38" fmla="*/ 416108 w 465062"/>
                <a:gd name="connsiteY38" fmla="*/ 233891 h 658157"/>
                <a:gd name="connsiteX39" fmla="*/ 405229 w 465062"/>
                <a:gd name="connsiteY39" fmla="*/ 263807 h 658157"/>
                <a:gd name="connsiteX40" fmla="*/ 394351 w 465062"/>
                <a:gd name="connsiteY40" fmla="*/ 274686 h 658157"/>
                <a:gd name="connsiteX41" fmla="*/ 388912 w 465062"/>
                <a:gd name="connsiteY41" fmla="*/ 285564 h 658157"/>
                <a:gd name="connsiteX42" fmla="*/ 369874 w 465062"/>
                <a:gd name="connsiteY42" fmla="*/ 304602 h 658157"/>
                <a:gd name="connsiteX43" fmla="*/ 358995 w 465062"/>
                <a:gd name="connsiteY43" fmla="*/ 310041 h 658157"/>
                <a:gd name="connsiteX44" fmla="*/ 348117 w 465062"/>
                <a:gd name="connsiteY44" fmla="*/ 320920 h 658157"/>
                <a:gd name="connsiteX45" fmla="*/ 326359 w 465062"/>
                <a:gd name="connsiteY45" fmla="*/ 339957 h 658157"/>
                <a:gd name="connsiteX46" fmla="*/ 312761 w 465062"/>
                <a:gd name="connsiteY46" fmla="*/ 353555 h 658157"/>
                <a:gd name="connsiteX47" fmla="*/ 337238 w 465062"/>
                <a:gd name="connsiteY47" fmla="*/ 380752 h 658157"/>
                <a:gd name="connsiteX48" fmla="*/ 358995 w 465062"/>
                <a:gd name="connsiteY48" fmla="*/ 421547 h 658157"/>
                <a:gd name="connsiteX49" fmla="*/ 372593 w 465062"/>
                <a:gd name="connsiteY49" fmla="*/ 459622 h 658157"/>
                <a:gd name="connsiteX50" fmla="*/ 386192 w 465062"/>
                <a:gd name="connsiteY50" fmla="*/ 514015 h 658157"/>
                <a:gd name="connsiteX51" fmla="*/ 407949 w 465062"/>
                <a:gd name="connsiteY51" fmla="*/ 568408 h 658157"/>
                <a:gd name="connsiteX52" fmla="*/ 421547 w 465062"/>
                <a:gd name="connsiteY52" fmla="*/ 598324 h 658157"/>
                <a:gd name="connsiteX53" fmla="*/ 451463 w 465062"/>
                <a:gd name="connsiteY53" fmla="*/ 628241 h 658157"/>
                <a:gd name="connsiteX54" fmla="*/ 465062 w 465062"/>
                <a:gd name="connsiteY54" fmla="*/ 644559 h 658157"/>
                <a:gd name="connsiteX55" fmla="*/ 462342 w 465062"/>
                <a:gd name="connsiteY55" fmla="*/ 649998 h 658157"/>
                <a:gd name="connsiteX56" fmla="*/ 437865 w 465062"/>
                <a:gd name="connsiteY56" fmla="*/ 658157 h 658157"/>
                <a:gd name="connsiteX57" fmla="*/ 361715 w 465062"/>
                <a:gd name="connsiteY57" fmla="*/ 622801 h 658157"/>
                <a:gd name="connsiteX58" fmla="*/ 320920 w 465062"/>
                <a:gd name="connsiteY58" fmla="*/ 565689 h 658157"/>
                <a:gd name="connsiteX59" fmla="*/ 304602 w 465062"/>
                <a:gd name="connsiteY59" fmla="*/ 530333 h 658157"/>
                <a:gd name="connsiteX60" fmla="*/ 293723 w 465062"/>
                <a:gd name="connsiteY60" fmla="*/ 497697 h 658157"/>
                <a:gd name="connsiteX61" fmla="*/ 282845 w 465062"/>
                <a:gd name="connsiteY61" fmla="*/ 462342 h 658157"/>
                <a:gd name="connsiteX62" fmla="*/ 269246 w 465062"/>
                <a:gd name="connsiteY62" fmla="*/ 424267 h 658157"/>
                <a:gd name="connsiteX63" fmla="*/ 255648 w 465062"/>
                <a:gd name="connsiteY63" fmla="*/ 391631 h 658157"/>
                <a:gd name="connsiteX64" fmla="*/ 236610 w 465062"/>
                <a:gd name="connsiteY64" fmla="*/ 367154 h 658157"/>
                <a:gd name="connsiteX65" fmla="*/ 217573 w 465062"/>
                <a:gd name="connsiteY65" fmla="*/ 361714 h 658157"/>
                <a:gd name="connsiteX66" fmla="*/ 201255 w 465062"/>
                <a:gd name="connsiteY66" fmla="*/ 361714 h 658157"/>
                <a:gd name="connsiteX67" fmla="*/ 198535 w 465062"/>
                <a:gd name="connsiteY67" fmla="*/ 367154 h 658157"/>
                <a:gd name="connsiteX68" fmla="*/ 201255 w 465062"/>
                <a:gd name="connsiteY68" fmla="*/ 388911 h 658157"/>
                <a:gd name="connsiteX69" fmla="*/ 198535 w 465062"/>
                <a:gd name="connsiteY69" fmla="*/ 426986 h 658157"/>
                <a:gd name="connsiteX70" fmla="*/ 203975 w 465062"/>
                <a:gd name="connsiteY70" fmla="*/ 478660 h 658157"/>
                <a:gd name="connsiteX71" fmla="*/ 198535 w 465062"/>
                <a:gd name="connsiteY71" fmla="*/ 552090 h 658157"/>
                <a:gd name="connsiteX72" fmla="*/ 195816 w 465062"/>
                <a:gd name="connsiteY72" fmla="*/ 576567 h 658157"/>
                <a:gd name="connsiteX73" fmla="*/ 198535 w 465062"/>
                <a:gd name="connsiteY73" fmla="*/ 592885 h 658157"/>
                <a:gd name="connsiteX74" fmla="*/ 233891 w 465062"/>
                <a:gd name="connsiteY74" fmla="*/ 592885 h 658157"/>
                <a:gd name="connsiteX75" fmla="*/ 271966 w 465062"/>
                <a:gd name="connsiteY75" fmla="*/ 611923 h 658157"/>
                <a:gd name="connsiteX76" fmla="*/ 266527 w 465062"/>
                <a:gd name="connsiteY76" fmla="*/ 628241 h 658157"/>
                <a:gd name="connsiteX77" fmla="*/ 250209 w 465062"/>
                <a:gd name="connsiteY77" fmla="*/ 636400 h 658157"/>
                <a:gd name="connsiteX78" fmla="*/ 228451 w 465062"/>
                <a:gd name="connsiteY78" fmla="*/ 639119 h 658157"/>
                <a:gd name="connsiteX79" fmla="*/ 187657 w 465062"/>
                <a:gd name="connsiteY79" fmla="*/ 639119 h 658157"/>
                <a:gd name="connsiteX80" fmla="*/ 152301 w 465062"/>
                <a:gd name="connsiteY80" fmla="*/ 652717 h 658157"/>
                <a:gd name="connsiteX81" fmla="*/ 133263 w 465062"/>
                <a:gd name="connsiteY81" fmla="*/ 655437 h 658157"/>
                <a:gd name="connsiteX82" fmla="*/ 122385 w 465062"/>
                <a:gd name="connsiteY82" fmla="*/ 652717 h 658157"/>
                <a:gd name="connsiteX83" fmla="*/ 97908 w 465062"/>
                <a:gd name="connsiteY83" fmla="*/ 639119 h 658157"/>
                <a:gd name="connsiteX84" fmla="*/ 70711 w 465062"/>
                <a:gd name="connsiteY84" fmla="*/ 639119 h 658157"/>
                <a:gd name="connsiteX85" fmla="*/ 46234 w 465062"/>
                <a:gd name="connsiteY85" fmla="*/ 639119 h 658157"/>
                <a:gd name="connsiteX86" fmla="*/ 19038 w 465062"/>
                <a:gd name="connsiteY86" fmla="*/ 630960 h 658157"/>
                <a:gd name="connsiteX87" fmla="*/ 2720 w 465062"/>
                <a:gd name="connsiteY87" fmla="*/ 614642 h 658157"/>
                <a:gd name="connsiteX88" fmla="*/ 8159 w 465062"/>
                <a:gd name="connsiteY88" fmla="*/ 606483 h 658157"/>
                <a:gd name="connsiteX89" fmla="*/ 29916 w 465062"/>
                <a:gd name="connsiteY89" fmla="*/ 598324 h 658157"/>
                <a:gd name="connsiteX90" fmla="*/ 76151 w 465062"/>
                <a:gd name="connsiteY90" fmla="*/ 592885 h 658157"/>
                <a:gd name="connsiteX91" fmla="*/ 73431 w 465062"/>
                <a:gd name="connsiteY91" fmla="*/ 573848 h 658157"/>
                <a:gd name="connsiteX92" fmla="*/ 70711 w 465062"/>
                <a:gd name="connsiteY92" fmla="*/ 500417 h 658157"/>
                <a:gd name="connsiteX93" fmla="*/ 73431 w 465062"/>
                <a:gd name="connsiteY93" fmla="*/ 437865 h 658157"/>
                <a:gd name="connsiteX94" fmla="*/ 70711 w 465062"/>
                <a:gd name="connsiteY94" fmla="*/ 369873 h 658157"/>
                <a:gd name="connsiteX95" fmla="*/ 70711 w 465062"/>
                <a:gd name="connsiteY95" fmla="*/ 293723 h 658157"/>
                <a:gd name="connsiteX96" fmla="*/ 73431 w 465062"/>
                <a:gd name="connsiteY96" fmla="*/ 212133 h 658157"/>
                <a:gd name="connsiteX97" fmla="*/ 76151 w 465062"/>
                <a:gd name="connsiteY97" fmla="*/ 155021 h 658157"/>
                <a:gd name="connsiteX98" fmla="*/ 76151 w 465062"/>
                <a:gd name="connsiteY98" fmla="*/ 119665 h 658157"/>
                <a:gd name="connsiteX99" fmla="*/ 78870 w 465062"/>
                <a:gd name="connsiteY99" fmla="*/ 84310 h 658157"/>
                <a:gd name="connsiteX100" fmla="*/ 76151 w 465062"/>
                <a:gd name="connsiteY100" fmla="*/ 62552 h 658157"/>
                <a:gd name="connsiteX101" fmla="*/ 67992 w 465062"/>
                <a:gd name="connsiteY101" fmla="*/ 62552 h 658157"/>
                <a:gd name="connsiteX102" fmla="*/ 43515 w 465062"/>
                <a:gd name="connsiteY102" fmla="*/ 62552 h 658157"/>
                <a:gd name="connsiteX103" fmla="*/ 16318 w 465062"/>
                <a:gd name="connsiteY103" fmla="*/ 57113 h 658157"/>
                <a:gd name="connsiteX104" fmla="*/ 0 w 465062"/>
                <a:gd name="connsiteY104" fmla="*/ 40795 h 658157"/>
                <a:gd name="connsiteX105" fmla="*/ 5439 w 465062"/>
                <a:gd name="connsiteY105" fmla="*/ 32636 h 658157"/>
                <a:gd name="connsiteX106" fmla="*/ 27197 w 465062"/>
                <a:gd name="connsiteY106" fmla="*/ 24477 h 658157"/>
                <a:gd name="connsiteX107" fmla="*/ 76151 w 465062"/>
                <a:gd name="connsiteY107" fmla="*/ 19038 h 658157"/>
                <a:gd name="connsiteX108" fmla="*/ 78870 w 465062"/>
                <a:gd name="connsiteY108" fmla="*/ 13598 h 658157"/>
                <a:gd name="connsiteX109" fmla="*/ 95188 w 465062"/>
                <a:gd name="connsiteY109" fmla="*/ 5440 h 658157"/>
                <a:gd name="connsiteX110" fmla="*/ 111506 w 465062"/>
                <a:gd name="connsiteY110" fmla="*/ 0 h 6581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</a:cxnLst>
              <a:rect l="l" t="t" r="r" b="b"/>
              <a:pathLst>
                <a:path w="465062" h="658157">
                  <a:moveTo>
                    <a:pt x="193096" y="59832"/>
                  </a:moveTo>
                  <a:cubicBezTo>
                    <a:pt x="193096" y="73430"/>
                    <a:pt x="193096" y="89748"/>
                    <a:pt x="193096" y="114226"/>
                  </a:cubicBezTo>
                  <a:cubicBezTo>
                    <a:pt x="193096" y="144142"/>
                    <a:pt x="195816" y="176778"/>
                    <a:pt x="198536" y="209414"/>
                  </a:cubicBezTo>
                  <a:cubicBezTo>
                    <a:pt x="198536" y="247489"/>
                    <a:pt x="201255" y="277406"/>
                    <a:pt x="201255" y="282845"/>
                  </a:cubicBezTo>
                  <a:cubicBezTo>
                    <a:pt x="201255" y="293723"/>
                    <a:pt x="203975" y="304602"/>
                    <a:pt x="203975" y="315481"/>
                  </a:cubicBezTo>
                  <a:cubicBezTo>
                    <a:pt x="203975" y="318200"/>
                    <a:pt x="203975" y="318200"/>
                    <a:pt x="203975" y="320920"/>
                  </a:cubicBezTo>
                  <a:cubicBezTo>
                    <a:pt x="203975" y="326359"/>
                    <a:pt x="206695" y="329079"/>
                    <a:pt x="212134" y="329079"/>
                  </a:cubicBezTo>
                  <a:cubicBezTo>
                    <a:pt x="214854" y="329079"/>
                    <a:pt x="220293" y="329079"/>
                    <a:pt x="223013" y="329079"/>
                  </a:cubicBezTo>
                  <a:cubicBezTo>
                    <a:pt x="228452" y="329079"/>
                    <a:pt x="233891" y="329079"/>
                    <a:pt x="239331" y="329079"/>
                  </a:cubicBezTo>
                  <a:cubicBezTo>
                    <a:pt x="252929" y="329079"/>
                    <a:pt x="271967" y="323640"/>
                    <a:pt x="280126" y="312761"/>
                  </a:cubicBezTo>
                  <a:cubicBezTo>
                    <a:pt x="288284" y="304602"/>
                    <a:pt x="291004" y="299163"/>
                    <a:pt x="296443" y="288284"/>
                  </a:cubicBezTo>
                  <a:cubicBezTo>
                    <a:pt x="299163" y="277406"/>
                    <a:pt x="301883" y="269247"/>
                    <a:pt x="304602" y="258368"/>
                  </a:cubicBezTo>
                  <a:cubicBezTo>
                    <a:pt x="307322" y="244770"/>
                    <a:pt x="310042" y="239330"/>
                    <a:pt x="312761" y="225732"/>
                  </a:cubicBezTo>
                  <a:cubicBezTo>
                    <a:pt x="315481" y="212134"/>
                    <a:pt x="315481" y="209414"/>
                    <a:pt x="315481" y="195816"/>
                  </a:cubicBezTo>
                  <a:cubicBezTo>
                    <a:pt x="315481" y="179498"/>
                    <a:pt x="315481" y="184937"/>
                    <a:pt x="318201" y="168619"/>
                  </a:cubicBezTo>
                  <a:cubicBezTo>
                    <a:pt x="312761" y="152302"/>
                    <a:pt x="312761" y="149582"/>
                    <a:pt x="312761" y="135983"/>
                  </a:cubicBezTo>
                  <a:cubicBezTo>
                    <a:pt x="312761" y="133264"/>
                    <a:pt x="312761" y="127825"/>
                    <a:pt x="312761" y="122385"/>
                  </a:cubicBezTo>
                  <a:cubicBezTo>
                    <a:pt x="312761" y="111507"/>
                    <a:pt x="301883" y="95188"/>
                    <a:pt x="293724" y="84309"/>
                  </a:cubicBezTo>
                  <a:cubicBezTo>
                    <a:pt x="288284" y="78870"/>
                    <a:pt x="285565" y="76150"/>
                    <a:pt x="280126" y="73430"/>
                  </a:cubicBezTo>
                  <a:cubicBezTo>
                    <a:pt x="271967" y="67991"/>
                    <a:pt x="266527" y="65271"/>
                    <a:pt x="258368" y="62552"/>
                  </a:cubicBezTo>
                  <a:cubicBezTo>
                    <a:pt x="244770" y="59832"/>
                    <a:pt x="228452" y="59832"/>
                    <a:pt x="217573" y="59832"/>
                  </a:cubicBezTo>
                  <a:close/>
                  <a:moveTo>
                    <a:pt x="111506" y="0"/>
                  </a:moveTo>
                  <a:cubicBezTo>
                    <a:pt x="114226" y="0"/>
                    <a:pt x="122385" y="0"/>
                    <a:pt x="127824" y="0"/>
                  </a:cubicBezTo>
                  <a:cubicBezTo>
                    <a:pt x="135983" y="0"/>
                    <a:pt x="146862" y="2720"/>
                    <a:pt x="157741" y="5440"/>
                  </a:cubicBezTo>
                  <a:cubicBezTo>
                    <a:pt x="168619" y="8159"/>
                    <a:pt x="176778" y="10879"/>
                    <a:pt x="179497" y="16318"/>
                  </a:cubicBezTo>
                  <a:cubicBezTo>
                    <a:pt x="193096" y="16318"/>
                    <a:pt x="201255" y="16318"/>
                    <a:pt x="209414" y="16318"/>
                  </a:cubicBezTo>
                  <a:cubicBezTo>
                    <a:pt x="220292" y="16318"/>
                    <a:pt x="231171" y="16318"/>
                    <a:pt x="247489" y="16318"/>
                  </a:cubicBezTo>
                  <a:cubicBezTo>
                    <a:pt x="250209" y="16318"/>
                    <a:pt x="258368" y="16318"/>
                    <a:pt x="266527" y="16318"/>
                  </a:cubicBezTo>
                  <a:cubicBezTo>
                    <a:pt x="277405" y="16318"/>
                    <a:pt x="291004" y="21758"/>
                    <a:pt x="312761" y="27197"/>
                  </a:cubicBezTo>
                  <a:cubicBezTo>
                    <a:pt x="320920" y="29917"/>
                    <a:pt x="329079" y="35356"/>
                    <a:pt x="337238" y="38075"/>
                  </a:cubicBezTo>
                  <a:cubicBezTo>
                    <a:pt x="342677" y="40795"/>
                    <a:pt x="353556" y="48954"/>
                    <a:pt x="364434" y="54393"/>
                  </a:cubicBezTo>
                  <a:cubicBezTo>
                    <a:pt x="375313" y="62552"/>
                    <a:pt x="386192" y="67992"/>
                    <a:pt x="386192" y="73431"/>
                  </a:cubicBezTo>
                  <a:cubicBezTo>
                    <a:pt x="391631" y="84310"/>
                    <a:pt x="402510" y="92469"/>
                    <a:pt x="407949" y="103347"/>
                  </a:cubicBezTo>
                  <a:cubicBezTo>
                    <a:pt x="413388" y="116945"/>
                    <a:pt x="416108" y="130544"/>
                    <a:pt x="416108" y="141422"/>
                  </a:cubicBezTo>
                  <a:cubicBezTo>
                    <a:pt x="416108" y="152301"/>
                    <a:pt x="418828" y="157740"/>
                    <a:pt x="418828" y="163179"/>
                  </a:cubicBezTo>
                  <a:cubicBezTo>
                    <a:pt x="418828" y="165899"/>
                    <a:pt x="418828" y="168619"/>
                    <a:pt x="418828" y="171339"/>
                  </a:cubicBezTo>
                  <a:cubicBezTo>
                    <a:pt x="418828" y="174058"/>
                    <a:pt x="421547" y="182217"/>
                    <a:pt x="421547" y="187656"/>
                  </a:cubicBezTo>
                  <a:cubicBezTo>
                    <a:pt x="421547" y="193096"/>
                    <a:pt x="418828" y="201255"/>
                    <a:pt x="418828" y="206694"/>
                  </a:cubicBezTo>
                  <a:cubicBezTo>
                    <a:pt x="418828" y="217573"/>
                    <a:pt x="418828" y="223012"/>
                    <a:pt x="416108" y="233891"/>
                  </a:cubicBezTo>
                  <a:cubicBezTo>
                    <a:pt x="413388" y="244769"/>
                    <a:pt x="410668" y="255648"/>
                    <a:pt x="405229" y="263807"/>
                  </a:cubicBezTo>
                  <a:cubicBezTo>
                    <a:pt x="402510" y="269246"/>
                    <a:pt x="397070" y="269246"/>
                    <a:pt x="394351" y="274686"/>
                  </a:cubicBezTo>
                  <a:cubicBezTo>
                    <a:pt x="391631" y="277405"/>
                    <a:pt x="391631" y="282844"/>
                    <a:pt x="388912" y="285564"/>
                  </a:cubicBezTo>
                  <a:cubicBezTo>
                    <a:pt x="383472" y="291003"/>
                    <a:pt x="375313" y="301882"/>
                    <a:pt x="369874" y="304602"/>
                  </a:cubicBezTo>
                  <a:cubicBezTo>
                    <a:pt x="367154" y="307321"/>
                    <a:pt x="361715" y="307321"/>
                    <a:pt x="358995" y="310041"/>
                  </a:cubicBezTo>
                  <a:cubicBezTo>
                    <a:pt x="356275" y="312761"/>
                    <a:pt x="350836" y="318200"/>
                    <a:pt x="348117" y="320920"/>
                  </a:cubicBezTo>
                  <a:cubicBezTo>
                    <a:pt x="339958" y="326359"/>
                    <a:pt x="334518" y="334518"/>
                    <a:pt x="326359" y="339957"/>
                  </a:cubicBezTo>
                  <a:cubicBezTo>
                    <a:pt x="320920" y="342677"/>
                    <a:pt x="312761" y="342677"/>
                    <a:pt x="312761" y="353555"/>
                  </a:cubicBezTo>
                  <a:cubicBezTo>
                    <a:pt x="312761" y="361714"/>
                    <a:pt x="334518" y="372593"/>
                    <a:pt x="337238" y="380752"/>
                  </a:cubicBezTo>
                  <a:cubicBezTo>
                    <a:pt x="345397" y="394350"/>
                    <a:pt x="353556" y="407948"/>
                    <a:pt x="358995" y="421547"/>
                  </a:cubicBezTo>
                  <a:cubicBezTo>
                    <a:pt x="364434" y="435145"/>
                    <a:pt x="367154" y="446024"/>
                    <a:pt x="372593" y="459622"/>
                  </a:cubicBezTo>
                  <a:cubicBezTo>
                    <a:pt x="378033" y="478660"/>
                    <a:pt x="383472" y="494978"/>
                    <a:pt x="386192" y="514015"/>
                  </a:cubicBezTo>
                  <a:cubicBezTo>
                    <a:pt x="391631" y="533053"/>
                    <a:pt x="402510" y="549371"/>
                    <a:pt x="407949" y="568408"/>
                  </a:cubicBezTo>
                  <a:cubicBezTo>
                    <a:pt x="410668" y="579287"/>
                    <a:pt x="416108" y="590165"/>
                    <a:pt x="421547" y="598324"/>
                  </a:cubicBezTo>
                  <a:cubicBezTo>
                    <a:pt x="435146" y="614642"/>
                    <a:pt x="443305" y="622801"/>
                    <a:pt x="451463" y="628241"/>
                  </a:cubicBezTo>
                  <a:cubicBezTo>
                    <a:pt x="456903" y="630960"/>
                    <a:pt x="465062" y="636400"/>
                    <a:pt x="465062" y="644559"/>
                  </a:cubicBezTo>
                  <a:cubicBezTo>
                    <a:pt x="465062" y="647278"/>
                    <a:pt x="465062" y="647278"/>
                    <a:pt x="462342" y="649998"/>
                  </a:cubicBezTo>
                  <a:cubicBezTo>
                    <a:pt x="456903" y="655437"/>
                    <a:pt x="446024" y="658157"/>
                    <a:pt x="437865" y="658157"/>
                  </a:cubicBezTo>
                  <a:cubicBezTo>
                    <a:pt x="413388" y="658157"/>
                    <a:pt x="378033" y="641839"/>
                    <a:pt x="361715" y="622801"/>
                  </a:cubicBezTo>
                  <a:cubicBezTo>
                    <a:pt x="345397" y="606483"/>
                    <a:pt x="334518" y="584726"/>
                    <a:pt x="320920" y="565689"/>
                  </a:cubicBezTo>
                  <a:cubicBezTo>
                    <a:pt x="315480" y="554810"/>
                    <a:pt x="310041" y="543931"/>
                    <a:pt x="304602" y="530333"/>
                  </a:cubicBezTo>
                  <a:cubicBezTo>
                    <a:pt x="299163" y="519454"/>
                    <a:pt x="296443" y="508576"/>
                    <a:pt x="293723" y="497697"/>
                  </a:cubicBezTo>
                  <a:cubicBezTo>
                    <a:pt x="291004" y="486819"/>
                    <a:pt x="288284" y="473220"/>
                    <a:pt x="282845" y="462342"/>
                  </a:cubicBezTo>
                  <a:cubicBezTo>
                    <a:pt x="280125" y="448743"/>
                    <a:pt x="274686" y="437865"/>
                    <a:pt x="269246" y="424267"/>
                  </a:cubicBezTo>
                  <a:cubicBezTo>
                    <a:pt x="266527" y="416108"/>
                    <a:pt x="261087" y="402509"/>
                    <a:pt x="255648" y="391631"/>
                  </a:cubicBezTo>
                  <a:cubicBezTo>
                    <a:pt x="250209" y="380752"/>
                    <a:pt x="244770" y="375313"/>
                    <a:pt x="236610" y="367154"/>
                  </a:cubicBezTo>
                  <a:cubicBezTo>
                    <a:pt x="231171" y="361714"/>
                    <a:pt x="223012" y="361714"/>
                    <a:pt x="217573" y="361714"/>
                  </a:cubicBezTo>
                  <a:cubicBezTo>
                    <a:pt x="212134" y="361714"/>
                    <a:pt x="206694" y="361714"/>
                    <a:pt x="201255" y="361714"/>
                  </a:cubicBezTo>
                  <a:cubicBezTo>
                    <a:pt x="198535" y="361714"/>
                    <a:pt x="198535" y="364434"/>
                    <a:pt x="198535" y="367154"/>
                  </a:cubicBezTo>
                  <a:cubicBezTo>
                    <a:pt x="198535" y="375313"/>
                    <a:pt x="201255" y="386191"/>
                    <a:pt x="201255" y="388911"/>
                  </a:cubicBezTo>
                  <a:cubicBezTo>
                    <a:pt x="201255" y="402509"/>
                    <a:pt x="198535" y="413388"/>
                    <a:pt x="198535" y="426986"/>
                  </a:cubicBezTo>
                  <a:cubicBezTo>
                    <a:pt x="198535" y="446024"/>
                    <a:pt x="203975" y="456902"/>
                    <a:pt x="203975" y="478660"/>
                  </a:cubicBezTo>
                  <a:cubicBezTo>
                    <a:pt x="203975" y="503136"/>
                    <a:pt x="201255" y="527613"/>
                    <a:pt x="198535" y="552090"/>
                  </a:cubicBezTo>
                  <a:cubicBezTo>
                    <a:pt x="198535" y="560249"/>
                    <a:pt x="195816" y="568408"/>
                    <a:pt x="195816" y="576567"/>
                  </a:cubicBezTo>
                  <a:cubicBezTo>
                    <a:pt x="195816" y="582006"/>
                    <a:pt x="195816" y="587446"/>
                    <a:pt x="198535" y="592885"/>
                  </a:cubicBezTo>
                  <a:cubicBezTo>
                    <a:pt x="212134" y="592885"/>
                    <a:pt x="225732" y="592885"/>
                    <a:pt x="233891" y="592885"/>
                  </a:cubicBezTo>
                  <a:cubicBezTo>
                    <a:pt x="247489" y="592885"/>
                    <a:pt x="271966" y="592885"/>
                    <a:pt x="271966" y="611923"/>
                  </a:cubicBezTo>
                  <a:cubicBezTo>
                    <a:pt x="271966" y="620082"/>
                    <a:pt x="269246" y="622801"/>
                    <a:pt x="266527" y="628241"/>
                  </a:cubicBezTo>
                  <a:cubicBezTo>
                    <a:pt x="261087" y="633680"/>
                    <a:pt x="255648" y="636400"/>
                    <a:pt x="250209" y="636400"/>
                  </a:cubicBezTo>
                  <a:cubicBezTo>
                    <a:pt x="239330" y="639119"/>
                    <a:pt x="233891" y="639119"/>
                    <a:pt x="228451" y="639119"/>
                  </a:cubicBezTo>
                  <a:cubicBezTo>
                    <a:pt x="223012" y="639119"/>
                    <a:pt x="206694" y="639119"/>
                    <a:pt x="187657" y="639119"/>
                  </a:cubicBezTo>
                  <a:cubicBezTo>
                    <a:pt x="176778" y="647278"/>
                    <a:pt x="163180" y="649998"/>
                    <a:pt x="152301" y="652717"/>
                  </a:cubicBezTo>
                  <a:cubicBezTo>
                    <a:pt x="146862" y="652717"/>
                    <a:pt x="138703" y="655437"/>
                    <a:pt x="133263" y="655437"/>
                  </a:cubicBezTo>
                  <a:cubicBezTo>
                    <a:pt x="130544" y="655437"/>
                    <a:pt x="125104" y="655437"/>
                    <a:pt x="122385" y="652717"/>
                  </a:cubicBezTo>
                  <a:cubicBezTo>
                    <a:pt x="114226" y="649998"/>
                    <a:pt x="103347" y="644559"/>
                    <a:pt x="97908" y="639119"/>
                  </a:cubicBezTo>
                  <a:cubicBezTo>
                    <a:pt x="87029" y="639119"/>
                    <a:pt x="78870" y="639119"/>
                    <a:pt x="70711" y="639119"/>
                  </a:cubicBezTo>
                  <a:cubicBezTo>
                    <a:pt x="62552" y="639119"/>
                    <a:pt x="54393" y="639119"/>
                    <a:pt x="46234" y="639119"/>
                  </a:cubicBezTo>
                  <a:cubicBezTo>
                    <a:pt x="38075" y="639119"/>
                    <a:pt x="27197" y="633680"/>
                    <a:pt x="19038" y="630960"/>
                  </a:cubicBezTo>
                  <a:cubicBezTo>
                    <a:pt x="10879" y="628241"/>
                    <a:pt x="2720" y="620082"/>
                    <a:pt x="2720" y="614642"/>
                  </a:cubicBezTo>
                  <a:cubicBezTo>
                    <a:pt x="2720" y="611923"/>
                    <a:pt x="2720" y="609203"/>
                    <a:pt x="8159" y="606483"/>
                  </a:cubicBezTo>
                  <a:cubicBezTo>
                    <a:pt x="13599" y="603764"/>
                    <a:pt x="24477" y="601044"/>
                    <a:pt x="29916" y="598324"/>
                  </a:cubicBezTo>
                  <a:cubicBezTo>
                    <a:pt x="43515" y="595605"/>
                    <a:pt x="62552" y="595605"/>
                    <a:pt x="76151" y="592885"/>
                  </a:cubicBezTo>
                  <a:cubicBezTo>
                    <a:pt x="76151" y="587446"/>
                    <a:pt x="73431" y="582006"/>
                    <a:pt x="73431" y="573848"/>
                  </a:cubicBezTo>
                  <a:cubicBezTo>
                    <a:pt x="73431" y="565689"/>
                    <a:pt x="70711" y="516735"/>
                    <a:pt x="70711" y="500417"/>
                  </a:cubicBezTo>
                  <a:cubicBezTo>
                    <a:pt x="70711" y="481379"/>
                    <a:pt x="73431" y="456902"/>
                    <a:pt x="73431" y="437865"/>
                  </a:cubicBezTo>
                  <a:cubicBezTo>
                    <a:pt x="73431" y="416108"/>
                    <a:pt x="70711" y="391631"/>
                    <a:pt x="70711" y="369873"/>
                  </a:cubicBezTo>
                  <a:cubicBezTo>
                    <a:pt x="70711" y="345397"/>
                    <a:pt x="70711" y="318200"/>
                    <a:pt x="70711" y="293723"/>
                  </a:cubicBezTo>
                  <a:cubicBezTo>
                    <a:pt x="70711" y="266526"/>
                    <a:pt x="73431" y="239330"/>
                    <a:pt x="73431" y="212133"/>
                  </a:cubicBezTo>
                  <a:cubicBezTo>
                    <a:pt x="73431" y="187656"/>
                    <a:pt x="76151" y="179498"/>
                    <a:pt x="76151" y="155021"/>
                  </a:cubicBezTo>
                  <a:cubicBezTo>
                    <a:pt x="76151" y="144142"/>
                    <a:pt x="76151" y="130544"/>
                    <a:pt x="76151" y="119665"/>
                  </a:cubicBezTo>
                  <a:cubicBezTo>
                    <a:pt x="76151" y="106067"/>
                    <a:pt x="78870" y="95188"/>
                    <a:pt x="78870" y="84310"/>
                  </a:cubicBezTo>
                  <a:cubicBezTo>
                    <a:pt x="78870" y="78870"/>
                    <a:pt x="78870" y="70711"/>
                    <a:pt x="76151" y="62552"/>
                  </a:cubicBezTo>
                  <a:cubicBezTo>
                    <a:pt x="76151" y="62552"/>
                    <a:pt x="73431" y="62552"/>
                    <a:pt x="67992" y="62552"/>
                  </a:cubicBezTo>
                  <a:cubicBezTo>
                    <a:pt x="59833" y="62552"/>
                    <a:pt x="51674" y="62552"/>
                    <a:pt x="43515" y="62552"/>
                  </a:cubicBezTo>
                  <a:cubicBezTo>
                    <a:pt x="35356" y="62552"/>
                    <a:pt x="24477" y="59833"/>
                    <a:pt x="16318" y="57113"/>
                  </a:cubicBezTo>
                  <a:cubicBezTo>
                    <a:pt x="8159" y="54393"/>
                    <a:pt x="0" y="43515"/>
                    <a:pt x="0" y="40795"/>
                  </a:cubicBezTo>
                  <a:cubicBezTo>
                    <a:pt x="0" y="38075"/>
                    <a:pt x="0" y="35356"/>
                    <a:pt x="5439" y="32636"/>
                  </a:cubicBezTo>
                  <a:cubicBezTo>
                    <a:pt x="10879" y="29917"/>
                    <a:pt x="21758" y="27197"/>
                    <a:pt x="27197" y="24477"/>
                  </a:cubicBezTo>
                  <a:cubicBezTo>
                    <a:pt x="46234" y="21758"/>
                    <a:pt x="62552" y="19038"/>
                    <a:pt x="76151" y="19038"/>
                  </a:cubicBezTo>
                  <a:cubicBezTo>
                    <a:pt x="76151" y="16318"/>
                    <a:pt x="78870" y="16318"/>
                    <a:pt x="78870" y="13598"/>
                  </a:cubicBezTo>
                  <a:cubicBezTo>
                    <a:pt x="84309" y="10879"/>
                    <a:pt x="89749" y="8159"/>
                    <a:pt x="95188" y="5440"/>
                  </a:cubicBezTo>
                  <a:cubicBezTo>
                    <a:pt x="100628" y="2720"/>
                    <a:pt x="106067" y="0"/>
                    <a:pt x="111506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49" name="Freeform: Shape 48">
              <a:extLst>
                <a:ext uri="{FF2B5EF4-FFF2-40B4-BE49-F238E27FC236}">
                  <a16:creationId xmlns:a16="http://schemas.microsoft.com/office/drawing/2014/main" id="{67094D88-7910-4ABA-AB84-F44B55F3B694}"/>
                </a:ext>
              </a:extLst>
            </p:cNvPr>
            <p:cNvSpPr/>
            <p:nvPr/>
          </p:nvSpPr>
          <p:spPr>
            <a:xfrm>
              <a:off x="8346812" y="4186718"/>
              <a:ext cx="353556" cy="761503"/>
            </a:xfrm>
            <a:custGeom>
              <a:avLst/>
              <a:gdLst>
                <a:gd name="connsiteX0" fmla="*/ 283910 w 353555"/>
                <a:gd name="connsiteY0" fmla="*/ 672820 h 761503"/>
                <a:gd name="connsiteX1" fmla="*/ 321985 w 353555"/>
                <a:gd name="connsiteY1" fmla="*/ 689138 h 761503"/>
                <a:gd name="connsiteX2" fmla="*/ 316546 w 353555"/>
                <a:gd name="connsiteY2" fmla="*/ 705456 h 761503"/>
                <a:gd name="connsiteX3" fmla="*/ 300228 w 353555"/>
                <a:gd name="connsiteY3" fmla="*/ 713615 h 761503"/>
                <a:gd name="connsiteX4" fmla="*/ 278471 w 353555"/>
                <a:gd name="connsiteY4" fmla="*/ 716335 h 761503"/>
                <a:gd name="connsiteX5" fmla="*/ 237676 w 353555"/>
                <a:gd name="connsiteY5" fmla="*/ 716335 h 761503"/>
                <a:gd name="connsiteX6" fmla="*/ 180563 w 353555"/>
                <a:gd name="connsiteY6" fmla="*/ 719054 h 761503"/>
                <a:gd name="connsiteX7" fmla="*/ 126170 w 353555"/>
                <a:gd name="connsiteY7" fmla="*/ 719054 h 761503"/>
                <a:gd name="connsiteX8" fmla="*/ 101693 w 353555"/>
                <a:gd name="connsiteY8" fmla="*/ 719054 h 761503"/>
                <a:gd name="connsiteX9" fmla="*/ 74496 w 353555"/>
                <a:gd name="connsiteY9" fmla="*/ 713615 h 761503"/>
                <a:gd name="connsiteX10" fmla="*/ 58178 w 353555"/>
                <a:gd name="connsiteY10" fmla="*/ 697297 h 761503"/>
                <a:gd name="connsiteX11" fmla="*/ 63618 w 353555"/>
                <a:gd name="connsiteY11" fmla="*/ 689138 h 761503"/>
                <a:gd name="connsiteX12" fmla="*/ 85375 w 353555"/>
                <a:gd name="connsiteY12" fmla="*/ 680979 h 761503"/>
                <a:gd name="connsiteX13" fmla="*/ 131609 w 353555"/>
                <a:gd name="connsiteY13" fmla="*/ 675540 h 761503"/>
                <a:gd name="connsiteX14" fmla="*/ 142488 w 353555"/>
                <a:gd name="connsiteY14" fmla="*/ 675540 h 761503"/>
                <a:gd name="connsiteX15" fmla="*/ 131609 w 353555"/>
                <a:gd name="connsiteY15" fmla="*/ 653783 h 761503"/>
                <a:gd name="connsiteX16" fmla="*/ 128890 w 353555"/>
                <a:gd name="connsiteY16" fmla="*/ 640184 h 761503"/>
                <a:gd name="connsiteX17" fmla="*/ 128890 w 353555"/>
                <a:gd name="connsiteY17" fmla="*/ 629306 h 761503"/>
                <a:gd name="connsiteX18" fmla="*/ 128890 w 353555"/>
                <a:gd name="connsiteY18" fmla="*/ 621147 h 761503"/>
                <a:gd name="connsiteX19" fmla="*/ 128890 w 353555"/>
                <a:gd name="connsiteY19" fmla="*/ 593950 h 761503"/>
                <a:gd name="connsiteX20" fmla="*/ 128890 w 353555"/>
                <a:gd name="connsiteY20" fmla="*/ 583072 h 761503"/>
                <a:gd name="connsiteX21" fmla="*/ 128890 w 353555"/>
                <a:gd name="connsiteY21" fmla="*/ 436210 h 761503"/>
                <a:gd name="connsiteX22" fmla="*/ 128890 w 353555"/>
                <a:gd name="connsiteY22" fmla="*/ 357340 h 761503"/>
                <a:gd name="connsiteX23" fmla="*/ 131609 w 353555"/>
                <a:gd name="connsiteY23" fmla="*/ 289349 h 761503"/>
                <a:gd name="connsiteX24" fmla="*/ 131609 w 353555"/>
                <a:gd name="connsiteY24" fmla="*/ 251274 h 761503"/>
                <a:gd name="connsiteX25" fmla="*/ 131609 w 353555"/>
                <a:gd name="connsiteY25" fmla="*/ 205040 h 761503"/>
                <a:gd name="connsiteX26" fmla="*/ 131609 w 353555"/>
                <a:gd name="connsiteY26" fmla="*/ 139768 h 761503"/>
                <a:gd name="connsiteX27" fmla="*/ 131609 w 353555"/>
                <a:gd name="connsiteY27" fmla="*/ 128889 h 761503"/>
                <a:gd name="connsiteX28" fmla="*/ 126170 w 353555"/>
                <a:gd name="connsiteY28" fmla="*/ 128889 h 761503"/>
                <a:gd name="connsiteX29" fmla="*/ 101693 w 353555"/>
                <a:gd name="connsiteY29" fmla="*/ 128889 h 761503"/>
                <a:gd name="connsiteX30" fmla="*/ 74496 w 353555"/>
                <a:gd name="connsiteY30" fmla="*/ 123450 h 761503"/>
                <a:gd name="connsiteX31" fmla="*/ 58178 w 353555"/>
                <a:gd name="connsiteY31" fmla="*/ 107132 h 761503"/>
                <a:gd name="connsiteX32" fmla="*/ 60898 w 353555"/>
                <a:gd name="connsiteY32" fmla="*/ 98973 h 761503"/>
                <a:gd name="connsiteX33" fmla="*/ 82655 w 353555"/>
                <a:gd name="connsiteY33" fmla="*/ 93534 h 761503"/>
                <a:gd name="connsiteX34" fmla="*/ 131609 w 353555"/>
                <a:gd name="connsiteY34" fmla="*/ 88094 h 761503"/>
                <a:gd name="connsiteX35" fmla="*/ 131609 w 353555"/>
                <a:gd name="connsiteY35" fmla="*/ 82655 h 761503"/>
                <a:gd name="connsiteX36" fmla="*/ 134329 w 353555"/>
                <a:gd name="connsiteY36" fmla="*/ 71776 h 761503"/>
                <a:gd name="connsiteX37" fmla="*/ 147927 w 353555"/>
                <a:gd name="connsiteY37" fmla="*/ 63617 h 761503"/>
                <a:gd name="connsiteX38" fmla="*/ 164245 w 353555"/>
                <a:gd name="connsiteY38" fmla="*/ 58178 h 761503"/>
                <a:gd name="connsiteX39" fmla="*/ 177843 w 353555"/>
                <a:gd name="connsiteY39" fmla="*/ 58178 h 761503"/>
                <a:gd name="connsiteX40" fmla="*/ 196881 w 353555"/>
                <a:gd name="connsiteY40" fmla="*/ 60898 h 761503"/>
                <a:gd name="connsiteX41" fmla="*/ 232237 w 353555"/>
                <a:gd name="connsiteY41" fmla="*/ 88094 h 761503"/>
                <a:gd name="connsiteX42" fmla="*/ 278471 w 353555"/>
                <a:gd name="connsiteY42" fmla="*/ 88094 h 761503"/>
                <a:gd name="connsiteX43" fmla="*/ 316546 w 353555"/>
                <a:gd name="connsiteY43" fmla="*/ 104412 h 761503"/>
                <a:gd name="connsiteX44" fmla="*/ 311107 w 353555"/>
                <a:gd name="connsiteY44" fmla="*/ 120730 h 761503"/>
                <a:gd name="connsiteX45" fmla="*/ 294789 w 353555"/>
                <a:gd name="connsiteY45" fmla="*/ 128889 h 761503"/>
                <a:gd name="connsiteX46" fmla="*/ 273032 w 353555"/>
                <a:gd name="connsiteY46" fmla="*/ 131609 h 761503"/>
                <a:gd name="connsiteX47" fmla="*/ 243115 w 353555"/>
                <a:gd name="connsiteY47" fmla="*/ 131609 h 761503"/>
                <a:gd name="connsiteX48" fmla="*/ 243115 w 353555"/>
                <a:gd name="connsiteY48" fmla="*/ 134329 h 761503"/>
                <a:gd name="connsiteX49" fmla="*/ 248554 w 353555"/>
                <a:gd name="connsiteY49" fmla="*/ 169684 h 761503"/>
                <a:gd name="connsiteX50" fmla="*/ 251274 w 353555"/>
                <a:gd name="connsiteY50" fmla="*/ 205040 h 761503"/>
                <a:gd name="connsiteX51" fmla="*/ 251274 w 353555"/>
                <a:gd name="connsiteY51" fmla="*/ 240395 h 761503"/>
                <a:gd name="connsiteX52" fmla="*/ 251274 w 353555"/>
                <a:gd name="connsiteY52" fmla="*/ 256713 h 761503"/>
                <a:gd name="connsiteX53" fmla="*/ 253994 w 353555"/>
                <a:gd name="connsiteY53" fmla="*/ 270311 h 761503"/>
                <a:gd name="connsiteX54" fmla="*/ 259433 w 353555"/>
                <a:gd name="connsiteY54" fmla="*/ 343742 h 761503"/>
                <a:gd name="connsiteX55" fmla="*/ 262153 w 353555"/>
                <a:gd name="connsiteY55" fmla="*/ 425332 h 761503"/>
                <a:gd name="connsiteX56" fmla="*/ 264872 w 353555"/>
                <a:gd name="connsiteY56" fmla="*/ 490603 h 761503"/>
                <a:gd name="connsiteX57" fmla="*/ 270312 w 353555"/>
                <a:gd name="connsiteY57" fmla="*/ 564034 h 761503"/>
                <a:gd name="connsiteX58" fmla="*/ 270312 w 353555"/>
                <a:gd name="connsiteY58" fmla="*/ 599390 h 761503"/>
                <a:gd name="connsiteX59" fmla="*/ 270312 w 353555"/>
                <a:gd name="connsiteY59" fmla="*/ 637465 h 761503"/>
                <a:gd name="connsiteX60" fmla="*/ 264872 w 353555"/>
                <a:gd name="connsiteY60" fmla="*/ 670101 h 761503"/>
                <a:gd name="connsiteX61" fmla="*/ 283910 w 353555"/>
                <a:gd name="connsiteY61" fmla="*/ 672820 h 761503"/>
                <a:gd name="connsiteX62" fmla="*/ 283910 w 353555"/>
                <a:gd name="connsiteY62" fmla="*/ 672820 h 761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</a:cxnLst>
              <a:rect l="l" t="t" r="r" b="b"/>
              <a:pathLst>
                <a:path w="353555" h="761503">
                  <a:moveTo>
                    <a:pt x="283910" y="672820"/>
                  </a:moveTo>
                  <a:cubicBezTo>
                    <a:pt x="297508" y="672820"/>
                    <a:pt x="321985" y="672820"/>
                    <a:pt x="321985" y="689138"/>
                  </a:cubicBezTo>
                  <a:cubicBezTo>
                    <a:pt x="321985" y="697297"/>
                    <a:pt x="319266" y="697297"/>
                    <a:pt x="316546" y="705456"/>
                  </a:cubicBezTo>
                  <a:cubicBezTo>
                    <a:pt x="311107" y="710895"/>
                    <a:pt x="305667" y="713615"/>
                    <a:pt x="300228" y="713615"/>
                  </a:cubicBezTo>
                  <a:cubicBezTo>
                    <a:pt x="292069" y="716335"/>
                    <a:pt x="283910" y="716335"/>
                    <a:pt x="278471" y="716335"/>
                  </a:cubicBezTo>
                  <a:cubicBezTo>
                    <a:pt x="275751" y="716335"/>
                    <a:pt x="256713" y="716335"/>
                    <a:pt x="237676" y="716335"/>
                  </a:cubicBezTo>
                  <a:cubicBezTo>
                    <a:pt x="213199" y="716335"/>
                    <a:pt x="186003" y="719054"/>
                    <a:pt x="180563" y="719054"/>
                  </a:cubicBezTo>
                  <a:cubicBezTo>
                    <a:pt x="166965" y="719054"/>
                    <a:pt x="142488" y="719054"/>
                    <a:pt x="126170" y="719054"/>
                  </a:cubicBezTo>
                  <a:cubicBezTo>
                    <a:pt x="118011" y="719054"/>
                    <a:pt x="109852" y="719054"/>
                    <a:pt x="101693" y="719054"/>
                  </a:cubicBezTo>
                  <a:cubicBezTo>
                    <a:pt x="93534" y="719054"/>
                    <a:pt x="82655" y="719054"/>
                    <a:pt x="74496" y="713615"/>
                  </a:cubicBezTo>
                  <a:cubicBezTo>
                    <a:pt x="66337" y="710895"/>
                    <a:pt x="58178" y="702736"/>
                    <a:pt x="58178" y="697297"/>
                  </a:cubicBezTo>
                  <a:cubicBezTo>
                    <a:pt x="58178" y="694578"/>
                    <a:pt x="58178" y="691858"/>
                    <a:pt x="63618" y="689138"/>
                  </a:cubicBezTo>
                  <a:cubicBezTo>
                    <a:pt x="69057" y="686418"/>
                    <a:pt x="79936" y="683699"/>
                    <a:pt x="85375" y="680979"/>
                  </a:cubicBezTo>
                  <a:cubicBezTo>
                    <a:pt x="104413" y="678260"/>
                    <a:pt x="123450" y="675540"/>
                    <a:pt x="131609" y="675540"/>
                  </a:cubicBezTo>
                  <a:cubicBezTo>
                    <a:pt x="134329" y="675540"/>
                    <a:pt x="137049" y="675540"/>
                    <a:pt x="142488" y="675540"/>
                  </a:cubicBezTo>
                  <a:cubicBezTo>
                    <a:pt x="134329" y="670101"/>
                    <a:pt x="131609" y="661942"/>
                    <a:pt x="131609" y="653783"/>
                  </a:cubicBezTo>
                  <a:cubicBezTo>
                    <a:pt x="131609" y="648343"/>
                    <a:pt x="131609" y="642904"/>
                    <a:pt x="128890" y="640184"/>
                  </a:cubicBezTo>
                  <a:cubicBezTo>
                    <a:pt x="128890" y="637465"/>
                    <a:pt x="128890" y="634745"/>
                    <a:pt x="128890" y="629306"/>
                  </a:cubicBezTo>
                  <a:cubicBezTo>
                    <a:pt x="128890" y="626586"/>
                    <a:pt x="128890" y="623867"/>
                    <a:pt x="128890" y="621147"/>
                  </a:cubicBezTo>
                  <a:cubicBezTo>
                    <a:pt x="128890" y="612988"/>
                    <a:pt x="128890" y="604829"/>
                    <a:pt x="128890" y="593950"/>
                  </a:cubicBezTo>
                  <a:cubicBezTo>
                    <a:pt x="128890" y="591231"/>
                    <a:pt x="128890" y="585791"/>
                    <a:pt x="128890" y="583072"/>
                  </a:cubicBezTo>
                  <a:cubicBezTo>
                    <a:pt x="128890" y="534118"/>
                    <a:pt x="131609" y="485164"/>
                    <a:pt x="128890" y="436210"/>
                  </a:cubicBezTo>
                  <a:cubicBezTo>
                    <a:pt x="128890" y="409014"/>
                    <a:pt x="128890" y="384537"/>
                    <a:pt x="128890" y="357340"/>
                  </a:cubicBezTo>
                  <a:cubicBezTo>
                    <a:pt x="128890" y="335583"/>
                    <a:pt x="131609" y="313826"/>
                    <a:pt x="131609" y="289349"/>
                  </a:cubicBezTo>
                  <a:cubicBezTo>
                    <a:pt x="131609" y="275751"/>
                    <a:pt x="131609" y="264872"/>
                    <a:pt x="131609" y="251274"/>
                  </a:cubicBezTo>
                  <a:cubicBezTo>
                    <a:pt x="131609" y="234956"/>
                    <a:pt x="131609" y="221357"/>
                    <a:pt x="131609" y="205040"/>
                  </a:cubicBezTo>
                  <a:cubicBezTo>
                    <a:pt x="131609" y="183282"/>
                    <a:pt x="131609" y="161525"/>
                    <a:pt x="131609" y="139768"/>
                  </a:cubicBezTo>
                  <a:cubicBezTo>
                    <a:pt x="131609" y="137048"/>
                    <a:pt x="131609" y="134329"/>
                    <a:pt x="131609" y="128889"/>
                  </a:cubicBezTo>
                  <a:cubicBezTo>
                    <a:pt x="128890" y="128889"/>
                    <a:pt x="126170" y="128889"/>
                    <a:pt x="126170" y="128889"/>
                  </a:cubicBezTo>
                  <a:cubicBezTo>
                    <a:pt x="118011" y="128889"/>
                    <a:pt x="109852" y="128889"/>
                    <a:pt x="101693" y="128889"/>
                  </a:cubicBezTo>
                  <a:cubicBezTo>
                    <a:pt x="93534" y="128889"/>
                    <a:pt x="82655" y="128889"/>
                    <a:pt x="74496" y="123450"/>
                  </a:cubicBezTo>
                  <a:cubicBezTo>
                    <a:pt x="66337" y="120730"/>
                    <a:pt x="58178" y="112571"/>
                    <a:pt x="58178" y="107132"/>
                  </a:cubicBezTo>
                  <a:cubicBezTo>
                    <a:pt x="58178" y="104412"/>
                    <a:pt x="58178" y="101693"/>
                    <a:pt x="60898" y="98973"/>
                  </a:cubicBezTo>
                  <a:cubicBezTo>
                    <a:pt x="63618" y="96253"/>
                    <a:pt x="77216" y="93534"/>
                    <a:pt x="82655" y="93534"/>
                  </a:cubicBezTo>
                  <a:cubicBezTo>
                    <a:pt x="98973" y="90814"/>
                    <a:pt x="123450" y="88094"/>
                    <a:pt x="131609" y="88094"/>
                  </a:cubicBezTo>
                  <a:cubicBezTo>
                    <a:pt x="131609" y="85375"/>
                    <a:pt x="131609" y="85375"/>
                    <a:pt x="131609" y="82655"/>
                  </a:cubicBezTo>
                  <a:cubicBezTo>
                    <a:pt x="131609" y="77216"/>
                    <a:pt x="131609" y="74496"/>
                    <a:pt x="134329" y="71776"/>
                  </a:cubicBezTo>
                  <a:cubicBezTo>
                    <a:pt x="137049" y="69057"/>
                    <a:pt x="145208" y="66337"/>
                    <a:pt x="147927" y="63617"/>
                  </a:cubicBezTo>
                  <a:cubicBezTo>
                    <a:pt x="153366" y="60898"/>
                    <a:pt x="158806" y="58178"/>
                    <a:pt x="164245" y="58178"/>
                  </a:cubicBezTo>
                  <a:cubicBezTo>
                    <a:pt x="169684" y="58178"/>
                    <a:pt x="175124" y="58178"/>
                    <a:pt x="177843" y="58178"/>
                  </a:cubicBezTo>
                  <a:cubicBezTo>
                    <a:pt x="183283" y="58178"/>
                    <a:pt x="191442" y="58178"/>
                    <a:pt x="196881" y="60898"/>
                  </a:cubicBezTo>
                  <a:cubicBezTo>
                    <a:pt x="213199" y="63617"/>
                    <a:pt x="224078" y="74496"/>
                    <a:pt x="232237" y="88094"/>
                  </a:cubicBezTo>
                  <a:cubicBezTo>
                    <a:pt x="253994" y="88094"/>
                    <a:pt x="270312" y="88094"/>
                    <a:pt x="278471" y="88094"/>
                  </a:cubicBezTo>
                  <a:cubicBezTo>
                    <a:pt x="292069" y="88094"/>
                    <a:pt x="316546" y="88094"/>
                    <a:pt x="316546" y="104412"/>
                  </a:cubicBezTo>
                  <a:cubicBezTo>
                    <a:pt x="316546" y="112571"/>
                    <a:pt x="313826" y="112571"/>
                    <a:pt x="311107" y="120730"/>
                  </a:cubicBezTo>
                  <a:cubicBezTo>
                    <a:pt x="305667" y="126170"/>
                    <a:pt x="300228" y="128889"/>
                    <a:pt x="294789" y="128889"/>
                  </a:cubicBezTo>
                  <a:cubicBezTo>
                    <a:pt x="286630" y="131609"/>
                    <a:pt x="278471" y="131609"/>
                    <a:pt x="273032" y="131609"/>
                  </a:cubicBezTo>
                  <a:cubicBezTo>
                    <a:pt x="270312" y="131609"/>
                    <a:pt x="259433" y="131609"/>
                    <a:pt x="243115" y="131609"/>
                  </a:cubicBezTo>
                  <a:lnTo>
                    <a:pt x="243115" y="134329"/>
                  </a:lnTo>
                  <a:cubicBezTo>
                    <a:pt x="245835" y="145207"/>
                    <a:pt x="245835" y="158805"/>
                    <a:pt x="248554" y="169684"/>
                  </a:cubicBezTo>
                  <a:cubicBezTo>
                    <a:pt x="251274" y="180563"/>
                    <a:pt x="251274" y="194161"/>
                    <a:pt x="251274" y="205040"/>
                  </a:cubicBezTo>
                  <a:cubicBezTo>
                    <a:pt x="251274" y="215918"/>
                    <a:pt x="251274" y="226797"/>
                    <a:pt x="251274" y="240395"/>
                  </a:cubicBezTo>
                  <a:cubicBezTo>
                    <a:pt x="251274" y="245834"/>
                    <a:pt x="251274" y="251274"/>
                    <a:pt x="251274" y="256713"/>
                  </a:cubicBezTo>
                  <a:cubicBezTo>
                    <a:pt x="251274" y="262152"/>
                    <a:pt x="251274" y="267592"/>
                    <a:pt x="253994" y="270311"/>
                  </a:cubicBezTo>
                  <a:cubicBezTo>
                    <a:pt x="256713" y="294788"/>
                    <a:pt x="256713" y="319265"/>
                    <a:pt x="259433" y="343742"/>
                  </a:cubicBezTo>
                  <a:cubicBezTo>
                    <a:pt x="259433" y="370939"/>
                    <a:pt x="262153" y="398135"/>
                    <a:pt x="262153" y="425332"/>
                  </a:cubicBezTo>
                  <a:cubicBezTo>
                    <a:pt x="262153" y="447089"/>
                    <a:pt x="262153" y="468846"/>
                    <a:pt x="264872" y="490603"/>
                  </a:cubicBezTo>
                  <a:cubicBezTo>
                    <a:pt x="264872" y="515080"/>
                    <a:pt x="270312" y="539557"/>
                    <a:pt x="270312" y="564034"/>
                  </a:cubicBezTo>
                  <a:cubicBezTo>
                    <a:pt x="270312" y="574913"/>
                    <a:pt x="270312" y="588511"/>
                    <a:pt x="270312" y="599390"/>
                  </a:cubicBezTo>
                  <a:cubicBezTo>
                    <a:pt x="270312" y="612988"/>
                    <a:pt x="270312" y="623867"/>
                    <a:pt x="270312" y="637465"/>
                  </a:cubicBezTo>
                  <a:cubicBezTo>
                    <a:pt x="270312" y="648343"/>
                    <a:pt x="270312" y="661942"/>
                    <a:pt x="264872" y="670101"/>
                  </a:cubicBezTo>
                  <a:cubicBezTo>
                    <a:pt x="273032" y="672820"/>
                    <a:pt x="278471" y="672820"/>
                    <a:pt x="283910" y="672820"/>
                  </a:cubicBezTo>
                  <a:lnTo>
                    <a:pt x="283910" y="672820"/>
                  </a:ln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50" name="Freeform: Shape 49">
              <a:extLst>
                <a:ext uri="{FF2B5EF4-FFF2-40B4-BE49-F238E27FC236}">
                  <a16:creationId xmlns:a16="http://schemas.microsoft.com/office/drawing/2014/main" id="{6F0F00D5-B1EC-45A7-A3B2-BE9B8DD2EEB7}"/>
                </a:ext>
              </a:extLst>
            </p:cNvPr>
            <p:cNvSpPr/>
            <p:nvPr/>
          </p:nvSpPr>
          <p:spPr>
            <a:xfrm>
              <a:off x="8652924" y="4192158"/>
              <a:ext cx="516735" cy="788700"/>
            </a:xfrm>
            <a:custGeom>
              <a:avLst/>
              <a:gdLst>
                <a:gd name="connsiteX0" fmla="*/ 464616 w 516735"/>
                <a:gd name="connsiteY0" fmla="*/ 436210 h 788699"/>
                <a:gd name="connsiteX1" fmla="*/ 445578 w 516735"/>
                <a:gd name="connsiteY1" fmla="*/ 455248 h 788699"/>
                <a:gd name="connsiteX2" fmla="*/ 404783 w 516735"/>
                <a:gd name="connsiteY2" fmla="*/ 466126 h 788699"/>
                <a:gd name="connsiteX3" fmla="*/ 385746 w 516735"/>
                <a:gd name="connsiteY3" fmla="*/ 479725 h 788699"/>
                <a:gd name="connsiteX4" fmla="*/ 388466 w 516735"/>
                <a:gd name="connsiteY4" fmla="*/ 512361 h 788699"/>
                <a:gd name="connsiteX5" fmla="*/ 388466 w 516735"/>
                <a:gd name="connsiteY5" fmla="*/ 544997 h 788699"/>
                <a:gd name="connsiteX6" fmla="*/ 388466 w 516735"/>
                <a:gd name="connsiteY6" fmla="*/ 566754 h 788699"/>
                <a:gd name="connsiteX7" fmla="*/ 391185 w 516735"/>
                <a:gd name="connsiteY7" fmla="*/ 632026 h 788699"/>
                <a:gd name="connsiteX8" fmla="*/ 393905 w 516735"/>
                <a:gd name="connsiteY8" fmla="*/ 683699 h 788699"/>
                <a:gd name="connsiteX9" fmla="*/ 377587 w 516735"/>
                <a:gd name="connsiteY9" fmla="*/ 724494 h 788699"/>
                <a:gd name="connsiteX10" fmla="*/ 361269 w 516735"/>
                <a:gd name="connsiteY10" fmla="*/ 719054 h 788699"/>
                <a:gd name="connsiteX11" fmla="*/ 353110 w 516735"/>
                <a:gd name="connsiteY11" fmla="*/ 702737 h 788699"/>
                <a:gd name="connsiteX12" fmla="*/ 350390 w 516735"/>
                <a:gd name="connsiteY12" fmla="*/ 686419 h 788699"/>
                <a:gd name="connsiteX13" fmla="*/ 353110 w 516735"/>
                <a:gd name="connsiteY13" fmla="*/ 659222 h 788699"/>
                <a:gd name="connsiteX14" fmla="*/ 353110 w 516735"/>
                <a:gd name="connsiteY14" fmla="*/ 656502 h 788699"/>
                <a:gd name="connsiteX15" fmla="*/ 317754 w 516735"/>
                <a:gd name="connsiteY15" fmla="*/ 708176 h 788699"/>
                <a:gd name="connsiteX16" fmla="*/ 241604 w 516735"/>
                <a:gd name="connsiteY16" fmla="*/ 735372 h 788699"/>
                <a:gd name="connsiteX17" fmla="*/ 187211 w 516735"/>
                <a:gd name="connsiteY17" fmla="*/ 727214 h 788699"/>
                <a:gd name="connsiteX18" fmla="*/ 135537 w 516735"/>
                <a:gd name="connsiteY18" fmla="*/ 694578 h 788699"/>
                <a:gd name="connsiteX19" fmla="*/ 86583 w 516735"/>
                <a:gd name="connsiteY19" fmla="*/ 621147 h 788699"/>
                <a:gd name="connsiteX20" fmla="*/ 67546 w 516735"/>
                <a:gd name="connsiteY20" fmla="*/ 555875 h 788699"/>
                <a:gd name="connsiteX21" fmla="*/ 59387 w 516735"/>
                <a:gd name="connsiteY21" fmla="*/ 509641 h 788699"/>
                <a:gd name="connsiteX22" fmla="*/ 59387 w 516735"/>
                <a:gd name="connsiteY22" fmla="*/ 468846 h 788699"/>
                <a:gd name="connsiteX23" fmla="*/ 86583 w 516735"/>
                <a:gd name="connsiteY23" fmla="*/ 302947 h 788699"/>
                <a:gd name="connsiteX24" fmla="*/ 108341 w 516735"/>
                <a:gd name="connsiteY24" fmla="*/ 224077 h 788699"/>
                <a:gd name="connsiteX25" fmla="*/ 146416 w 516735"/>
                <a:gd name="connsiteY25" fmla="*/ 145207 h 788699"/>
                <a:gd name="connsiteX26" fmla="*/ 198090 w 516735"/>
                <a:gd name="connsiteY26" fmla="*/ 85375 h 788699"/>
                <a:gd name="connsiteX27" fmla="*/ 228006 w 516735"/>
                <a:gd name="connsiteY27" fmla="*/ 69057 h 788699"/>
                <a:gd name="connsiteX28" fmla="*/ 268801 w 516735"/>
                <a:gd name="connsiteY28" fmla="*/ 58178 h 788699"/>
                <a:gd name="connsiteX29" fmla="*/ 274240 w 516735"/>
                <a:gd name="connsiteY29" fmla="*/ 58178 h 788699"/>
                <a:gd name="connsiteX30" fmla="*/ 295997 w 516735"/>
                <a:gd name="connsiteY30" fmla="*/ 60898 h 788699"/>
                <a:gd name="connsiteX31" fmla="*/ 331353 w 516735"/>
                <a:gd name="connsiteY31" fmla="*/ 71776 h 788699"/>
                <a:gd name="connsiteX32" fmla="*/ 350390 w 516735"/>
                <a:gd name="connsiteY32" fmla="*/ 93534 h 788699"/>
                <a:gd name="connsiteX33" fmla="*/ 353110 w 516735"/>
                <a:gd name="connsiteY33" fmla="*/ 74496 h 788699"/>
                <a:gd name="connsiteX34" fmla="*/ 358549 w 516735"/>
                <a:gd name="connsiteY34" fmla="*/ 63618 h 788699"/>
                <a:gd name="connsiteX35" fmla="*/ 366708 w 516735"/>
                <a:gd name="connsiteY35" fmla="*/ 58178 h 788699"/>
                <a:gd name="connsiteX36" fmla="*/ 374867 w 516735"/>
                <a:gd name="connsiteY36" fmla="*/ 63618 h 788699"/>
                <a:gd name="connsiteX37" fmla="*/ 383027 w 516735"/>
                <a:gd name="connsiteY37" fmla="*/ 82655 h 788699"/>
                <a:gd name="connsiteX38" fmla="*/ 385746 w 516735"/>
                <a:gd name="connsiteY38" fmla="*/ 126170 h 788699"/>
                <a:gd name="connsiteX39" fmla="*/ 388466 w 516735"/>
                <a:gd name="connsiteY39" fmla="*/ 186002 h 788699"/>
                <a:gd name="connsiteX40" fmla="*/ 391185 w 516735"/>
                <a:gd name="connsiteY40" fmla="*/ 237676 h 788699"/>
                <a:gd name="connsiteX41" fmla="*/ 374867 w 516735"/>
                <a:gd name="connsiteY41" fmla="*/ 278470 h 788699"/>
                <a:gd name="connsiteX42" fmla="*/ 358549 w 516735"/>
                <a:gd name="connsiteY42" fmla="*/ 273031 h 788699"/>
                <a:gd name="connsiteX43" fmla="*/ 350390 w 516735"/>
                <a:gd name="connsiteY43" fmla="*/ 256713 h 788699"/>
                <a:gd name="connsiteX44" fmla="*/ 347671 w 516735"/>
                <a:gd name="connsiteY44" fmla="*/ 240395 h 788699"/>
                <a:gd name="connsiteX45" fmla="*/ 347671 w 516735"/>
                <a:gd name="connsiteY45" fmla="*/ 213199 h 788699"/>
                <a:gd name="connsiteX46" fmla="*/ 344951 w 516735"/>
                <a:gd name="connsiteY46" fmla="*/ 194161 h 788699"/>
                <a:gd name="connsiteX47" fmla="*/ 339512 w 516735"/>
                <a:gd name="connsiteY47" fmla="*/ 150647 h 788699"/>
                <a:gd name="connsiteX48" fmla="*/ 323194 w 516735"/>
                <a:gd name="connsiteY48" fmla="*/ 112571 h 788699"/>
                <a:gd name="connsiteX49" fmla="*/ 293278 w 516735"/>
                <a:gd name="connsiteY49" fmla="*/ 101693 h 788699"/>
                <a:gd name="connsiteX50" fmla="*/ 263361 w 516735"/>
                <a:gd name="connsiteY50" fmla="*/ 120730 h 788699"/>
                <a:gd name="connsiteX51" fmla="*/ 241604 w 516735"/>
                <a:gd name="connsiteY51" fmla="*/ 153366 h 788699"/>
                <a:gd name="connsiteX52" fmla="*/ 233445 w 516735"/>
                <a:gd name="connsiteY52" fmla="*/ 194161 h 788699"/>
                <a:gd name="connsiteX53" fmla="*/ 225286 w 516735"/>
                <a:gd name="connsiteY53" fmla="*/ 232236 h 788699"/>
                <a:gd name="connsiteX54" fmla="*/ 217127 w 516735"/>
                <a:gd name="connsiteY54" fmla="*/ 275751 h 788699"/>
                <a:gd name="connsiteX55" fmla="*/ 211688 w 516735"/>
                <a:gd name="connsiteY55" fmla="*/ 316545 h 788699"/>
                <a:gd name="connsiteX56" fmla="*/ 206249 w 516735"/>
                <a:gd name="connsiteY56" fmla="*/ 354621 h 788699"/>
                <a:gd name="connsiteX57" fmla="*/ 200809 w 516735"/>
                <a:gd name="connsiteY57" fmla="*/ 398135 h 788699"/>
                <a:gd name="connsiteX58" fmla="*/ 195370 w 516735"/>
                <a:gd name="connsiteY58" fmla="*/ 438930 h 788699"/>
                <a:gd name="connsiteX59" fmla="*/ 192650 w 516735"/>
                <a:gd name="connsiteY59" fmla="*/ 474286 h 788699"/>
                <a:gd name="connsiteX60" fmla="*/ 195370 w 516735"/>
                <a:gd name="connsiteY60" fmla="*/ 525959 h 788699"/>
                <a:gd name="connsiteX61" fmla="*/ 208968 w 516735"/>
                <a:gd name="connsiteY61" fmla="*/ 596670 h 788699"/>
                <a:gd name="connsiteX62" fmla="*/ 214407 w 516735"/>
                <a:gd name="connsiteY62" fmla="*/ 623867 h 788699"/>
                <a:gd name="connsiteX63" fmla="*/ 228006 w 516735"/>
                <a:gd name="connsiteY63" fmla="*/ 656502 h 788699"/>
                <a:gd name="connsiteX64" fmla="*/ 271520 w 516735"/>
                <a:gd name="connsiteY64" fmla="*/ 689138 h 788699"/>
                <a:gd name="connsiteX65" fmla="*/ 306876 w 516735"/>
                <a:gd name="connsiteY65" fmla="*/ 664661 h 788699"/>
                <a:gd name="connsiteX66" fmla="*/ 331353 w 516735"/>
                <a:gd name="connsiteY66" fmla="*/ 602109 h 788699"/>
                <a:gd name="connsiteX67" fmla="*/ 336792 w 516735"/>
                <a:gd name="connsiteY67" fmla="*/ 544997 h 788699"/>
                <a:gd name="connsiteX68" fmla="*/ 336792 w 516735"/>
                <a:gd name="connsiteY68" fmla="*/ 498762 h 788699"/>
                <a:gd name="connsiteX69" fmla="*/ 336792 w 516735"/>
                <a:gd name="connsiteY69" fmla="*/ 490603 h 788699"/>
                <a:gd name="connsiteX70" fmla="*/ 320474 w 516735"/>
                <a:gd name="connsiteY70" fmla="*/ 477005 h 788699"/>
                <a:gd name="connsiteX71" fmla="*/ 282399 w 516735"/>
                <a:gd name="connsiteY71" fmla="*/ 479725 h 788699"/>
                <a:gd name="connsiteX72" fmla="*/ 252483 w 516735"/>
                <a:gd name="connsiteY72" fmla="*/ 474286 h 788699"/>
                <a:gd name="connsiteX73" fmla="*/ 247044 w 516735"/>
                <a:gd name="connsiteY73" fmla="*/ 466126 h 788699"/>
                <a:gd name="connsiteX74" fmla="*/ 249763 w 516735"/>
                <a:gd name="connsiteY74" fmla="*/ 457968 h 788699"/>
                <a:gd name="connsiteX75" fmla="*/ 268801 w 516735"/>
                <a:gd name="connsiteY75" fmla="*/ 447089 h 788699"/>
                <a:gd name="connsiteX76" fmla="*/ 312315 w 516735"/>
                <a:gd name="connsiteY76" fmla="*/ 436210 h 788699"/>
                <a:gd name="connsiteX77" fmla="*/ 353110 w 516735"/>
                <a:gd name="connsiteY77" fmla="*/ 430771 h 788699"/>
                <a:gd name="connsiteX78" fmla="*/ 385746 w 516735"/>
                <a:gd name="connsiteY78" fmla="*/ 430771 h 788699"/>
                <a:gd name="connsiteX79" fmla="*/ 437420 w 516735"/>
                <a:gd name="connsiteY79" fmla="*/ 428051 h 788699"/>
                <a:gd name="connsiteX80" fmla="*/ 464616 w 516735"/>
                <a:gd name="connsiteY80" fmla="*/ 436210 h 7886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</a:cxnLst>
              <a:rect l="l" t="t" r="r" b="b"/>
              <a:pathLst>
                <a:path w="516735" h="788699">
                  <a:moveTo>
                    <a:pt x="464616" y="436210"/>
                  </a:moveTo>
                  <a:cubicBezTo>
                    <a:pt x="464616" y="447089"/>
                    <a:pt x="453738" y="452528"/>
                    <a:pt x="445578" y="455248"/>
                  </a:cubicBezTo>
                  <a:cubicBezTo>
                    <a:pt x="434700" y="460687"/>
                    <a:pt x="415662" y="463407"/>
                    <a:pt x="404783" y="466126"/>
                  </a:cubicBezTo>
                  <a:cubicBezTo>
                    <a:pt x="393905" y="466126"/>
                    <a:pt x="385746" y="468846"/>
                    <a:pt x="385746" y="479725"/>
                  </a:cubicBezTo>
                  <a:cubicBezTo>
                    <a:pt x="385746" y="487884"/>
                    <a:pt x="388466" y="506921"/>
                    <a:pt x="388466" y="512361"/>
                  </a:cubicBezTo>
                  <a:cubicBezTo>
                    <a:pt x="388466" y="515080"/>
                    <a:pt x="388466" y="539557"/>
                    <a:pt x="388466" y="544997"/>
                  </a:cubicBezTo>
                  <a:cubicBezTo>
                    <a:pt x="388466" y="550436"/>
                    <a:pt x="388466" y="558595"/>
                    <a:pt x="388466" y="566754"/>
                  </a:cubicBezTo>
                  <a:cubicBezTo>
                    <a:pt x="388466" y="591231"/>
                    <a:pt x="388466" y="621147"/>
                    <a:pt x="391185" y="632026"/>
                  </a:cubicBezTo>
                  <a:cubicBezTo>
                    <a:pt x="393905" y="653783"/>
                    <a:pt x="393905" y="661942"/>
                    <a:pt x="393905" y="683699"/>
                  </a:cubicBezTo>
                  <a:cubicBezTo>
                    <a:pt x="393905" y="694578"/>
                    <a:pt x="393905" y="724494"/>
                    <a:pt x="377587" y="724494"/>
                  </a:cubicBezTo>
                  <a:cubicBezTo>
                    <a:pt x="369428" y="724494"/>
                    <a:pt x="366708" y="721774"/>
                    <a:pt x="361269" y="719054"/>
                  </a:cubicBezTo>
                  <a:cubicBezTo>
                    <a:pt x="355830" y="716335"/>
                    <a:pt x="353110" y="708176"/>
                    <a:pt x="353110" y="702737"/>
                  </a:cubicBezTo>
                  <a:cubicBezTo>
                    <a:pt x="350390" y="694578"/>
                    <a:pt x="350390" y="689138"/>
                    <a:pt x="350390" y="686419"/>
                  </a:cubicBezTo>
                  <a:cubicBezTo>
                    <a:pt x="350390" y="678260"/>
                    <a:pt x="353110" y="672820"/>
                    <a:pt x="353110" y="659222"/>
                  </a:cubicBezTo>
                  <a:lnTo>
                    <a:pt x="353110" y="656502"/>
                  </a:lnTo>
                  <a:cubicBezTo>
                    <a:pt x="347671" y="675540"/>
                    <a:pt x="334073" y="694578"/>
                    <a:pt x="317754" y="708176"/>
                  </a:cubicBezTo>
                  <a:cubicBezTo>
                    <a:pt x="293278" y="727214"/>
                    <a:pt x="274240" y="735372"/>
                    <a:pt x="241604" y="735372"/>
                  </a:cubicBezTo>
                  <a:cubicBezTo>
                    <a:pt x="222566" y="735372"/>
                    <a:pt x="203529" y="732653"/>
                    <a:pt x="187211" y="727214"/>
                  </a:cubicBezTo>
                  <a:cubicBezTo>
                    <a:pt x="165454" y="719054"/>
                    <a:pt x="149136" y="708176"/>
                    <a:pt x="135537" y="694578"/>
                  </a:cubicBezTo>
                  <a:cubicBezTo>
                    <a:pt x="113780" y="672820"/>
                    <a:pt x="100182" y="648343"/>
                    <a:pt x="86583" y="621147"/>
                  </a:cubicBezTo>
                  <a:cubicBezTo>
                    <a:pt x="75705" y="599390"/>
                    <a:pt x="70266" y="580352"/>
                    <a:pt x="67546" y="555875"/>
                  </a:cubicBezTo>
                  <a:cubicBezTo>
                    <a:pt x="64826" y="539557"/>
                    <a:pt x="62107" y="525959"/>
                    <a:pt x="59387" y="509641"/>
                  </a:cubicBezTo>
                  <a:cubicBezTo>
                    <a:pt x="56667" y="493323"/>
                    <a:pt x="59387" y="485164"/>
                    <a:pt x="59387" y="468846"/>
                  </a:cubicBezTo>
                  <a:cubicBezTo>
                    <a:pt x="59387" y="414453"/>
                    <a:pt x="72985" y="362780"/>
                    <a:pt x="86583" y="302947"/>
                  </a:cubicBezTo>
                  <a:cubicBezTo>
                    <a:pt x="92023" y="275751"/>
                    <a:pt x="100182" y="248554"/>
                    <a:pt x="108341" y="224077"/>
                  </a:cubicBezTo>
                  <a:cubicBezTo>
                    <a:pt x="116500" y="196881"/>
                    <a:pt x="130098" y="169684"/>
                    <a:pt x="146416" y="145207"/>
                  </a:cubicBezTo>
                  <a:cubicBezTo>
                    <a:pt x="160014" y="123450"/>
                    <a:pt x="176332" y="101693"/>
                    <a:pt x="198090" y="85375"/>
                  </a:cubicBezTo>
                  <a:cubicBezTo>
                    <a:pt x="206249" y="77216"/>
                    <a:pt x="217127" y="71776"/>
                    <a:pt x="228006" y="69057"/>
                  </a:cubicBezTo>
                  <a:cubicBezTo>
                    <a:pt x="241604" y="63618"/>
                    <a:pt x="255202" y="58178"/>
                    <a:pt x="268801" y="58178"/>
                  </a:cubicBezTo>
                  <a:cubicBezTo>
                    <a:pt x="271520" y="58178"/>
                    <a:pt x="274240" y="58178"/>
                    <a:pt x="274240" y="58178"/>
                  </a:cubicBezTo>
                  <a:cubicBezTo>
                    <a:pt x="279679" y="58178"/>
                    <a:pt x="285119" y="58178"/>
                    <a:pt x="295997" y="60898"/>
                  </a:cubicBezTo>
                  <a:cubicBezTo>
                    <a:pt x="309595" y="63618"/>
                    <a:pt x="320474" y="66337"/>
                    <a:pt x="331353" y="71776"/>
                  </a:cubicBezTo>
                  <a:cubicBezTo>
                    <a:pt x="339512" y="77216"/>
                    <a:pt x="347671" y="85375"/>
                    <a:pt x="350390" y="93534"/>
                  </a:cubicBezTo>
                  <a:cubicBezTo>
                    <a:pt x="350390" y="88095"/>
                    <a:pt x="353110" y="79936"/>
                    <a:pt x="353110" y="74496"/>
                  </a:cubicBezTo>
                  <a:cubicBezTo>
                    <a:pt x="355830" y="71776"/>
                    <a:pt x="355830" y="69057"/>
                    <a:pt x="358549" y="63618"/>
                  </a:cubicBezTo>
                  <a:cubicBezTo>
                    <a:pt x="361269" y="60898"/>
                    <a:pt x="363989" y="58178"/>
                    <a:pt x="366708" y="58178"/>
                  </a:cubicBezTo>
                  <a:cubicBezTo>
                    <a:pt x="369428" y="58178"/>
                    <a:pt x="372148" y="60898"/>
                    <a:pt x="374867" y="63618"/>
                  </a:cubicBezTo>
                  <a:cubicBezTo>
                    <a:pt x="377587" y="69057"/>
                    <a:pt x="380307" y="77216"/>
                    <a:pt x="383027" y="82655"/>
                  </a:cubicBezTo>
                  <a:cubicBezTo>
                    <a:pt x="383027" y="90814"/>
                    <a:pt x="385746" y="107132"/>
                    <a:pt x="385746" y="126170"/>
                  </a:cubicBezTo>
                  <a:cubicBezTo>
                    <a:pt x="385746" y="150647"/>
                    <a:pt x="385746" y="177843"/>
                    <a:pt x="388466" y="186002"/>
                  </a:cubicBezTo>
                  <a:cubicBezTo>
                    <a:pt x="391185" y="207759"/>
                    <a:pt x="391185" y="215918"/>
                    <a:pt x="391185" y="237676"/>
                  </a:cubicBezTo>
                  <a:cubicBezTo>
                    <a:pt x="391185" y="248554"/>
                    <a:pt x="391185" y="278470"/>
                    <a:pt x="374867" y="278470"/>
                  </a:cubicBezTo>
                  <a:cubicBezTo>
                    <a:pt x="366708" y="278470"/>
                    <a:pt x="363989" y="275751"/>
                    <a:pt x="358549" y="273031"/>
                  </a:cubicBezTo>
                  <a:cubicBezTo>
                    <a:pt x="353110" y="270311"/>
                    <a:pt x="350390" y="262152"/>
                    <a:pt x="350390" y="256713"/>
                  </a:cubicBezTo>
                  <a:cubicBezTo>
                    <a:pt x="350390" y="251274"/>
                    <a:pt x="347671" y="245834"/>
                    <a:pt x="347671" y="240395"/>
                  </a:cubicBezTo>
                  <a:cubicBezTo>
                    <a:pt x="347671" y="232236"/>
                    <a:pt x="347671" y="224077"/>
                    <a:pt x="347671" y="213199"/>
                  </a:cubicBezTo>
                  <a:cubicBezTo>
                    <a:pt x="347671" y="207759"/>
                    <a:pt x="347671" y="199600"/>
                    <a:pt x="344951" y="194161"/>
                  </a:cubicBezTo>
                  <a:cubicBezTo>
                    <a:pt x="342232" y="180563"/>
                    <a:pt x="342232" y="164245"/>
                    <a:pt x="339512" y="150647"/>
                  </a:cubicBezTo>
                  <a:cubicBezTo>
                    <a:pt x="336792" y="137048"/>
                    <a:pt x="331353" y="123450"/>
                    <a:pt x="323194" y="112571"/>
                  </a:cubicBezTo>
                  <a:cubicBezTo>
                    <a:pt x="317754" y="104412"/>
                    <a:pt x="304156" y="101693"/>
                    <a:pt x="293278" y="101693"/>
                  </a:cubicBezTo>
                  <a:cubicBezTo>
                    <a:pt x="279679" y="101693"/>
                    <a:pt x="271520" y="109852"/>
                    <a:pt x="263361" y="120730"/>
                  </a:cubicBezTo>
                  <a:cubicBezTo>
                    <a:pt x="257922" y="131609"/>
                    <a:pt x="247044" y="139768"/>
                    <a:pt x="241604" y="153366"/>
                  </a:cubicBezTo>
                  <a:cubicBezTo>
                    <a:pt x="236165" y="166964"/>
                    <a:pt x="233445" y="180563"/>
                    <a:pt x="233445" y="194161"/>
                  </a:cubicBezTo>
                  <a:cubicBezTo>
                    <a:pt x="233445" y="207759"/>
                    <a:pt x="230725" y="218638"/>
                    <a:pt x="225286" y="232236"/>
                  </a:cubicBezTo>
                  <a:cubicBezTo>
                    <a:pt x="219847" y="245834"/>
                    <a:pt x="219847" y="262152"/>
                    <a:pt x="217127" y="275751"/>
                  </a:cubicBezTo>
                  <a:cubicBezTo>
                    <a:pt x="214407" y="289349"/>
                    <a:pt x="214407" y="302947"/>
                    <a:pt x="211688" y="316545"/>
                  </a:cubicBezTo>
                  <a:cubicBezTo>
                    <a:pt x="211688" y="330144"/>
                    <a:pt x="206249" y="341022"/>
                    <a:pt x="206249" y="354621"/>
                  </a:cubicBezTo>
                  <a:cubicBezTo>
                    <a:pt x="203529" y="368219"/>
                    <a:pt x="203529" y="381817"/>
                    <a:pt x="200809" y="398135"/>
                  </a:cubicBezTo>
                  <a:cubicBezTo>
                    <a:pt x="198090" y="411733"/>
                    <a:pt x="198090" y="425332"/>
                    <a:pt x="195370" y="438930"/>
                  </a:cubicBezTo>
                  <a:cubicBezTo>
                    <a:pt x="195370" y="449809"/>
                    <a:pt x="192650" y="463407"/>
                    <a:pt x="192650" y="474286"/>
                  </a:cubicBezTo>
                  <a:cubicBezTo>
                    <a:pt x="192650" y="490603"/>
                    <a:pt x="195370" y="509641"/>
                    <a:pt x="195370" y="525959"/>
                  </a:cubicBezTo>
                  <a:cubicBezTo>
                    <a:pt x="195370" y="550436"/>
                    <a:pt x="203529" y="572193"/>
                    <a:pt x="208968" y="596670"/>
                  </a:cubicBezTo>
                  <a:cubicBezTo>
                    <a:pt x="211688" y="604829"/>
                    <a:pt x="211688" y="615708"/>
                    <a:pt x="214407" y="623867"/>
                  </a:cubicBezTo>
                  <a:cubicBezTo>
                    <a:pt x="217127" y="634745"/>
                    <a:pt x="222566" y="645624"/>
                    <a:pt x="228006" y="656502"/>
                  </a:cubicBezTo>
                  <a:cubicBezTo>
                    <a:pt x="236165" y="670101"/>
                    <a:pt x="252483" y="689138"/>
                    <a:pt x="271520" y="689138"/>
                  </a:cubicBezTo>
                  <a:cubicBezTo>
                    <a:pt x="287838" y="689138"/>
                    <a:pt x="298717" y="675540"/>
                    <a:pt x="306876" y="664661"/>
                  </a:cubicBezTo>
                  <a:cubicBezTo>
                    <a:pt x="320474" y="645624"/>
                    <a:pt x="325914" y="623867"/>
                    <a:pt x="331353" y="602109"/>
                  </a:cubicBezTo>
                  <a:cubicBezTo>
                    <a:pt x="334073" y="583072"/>
                    <a:pt x="336792" y="564034"/>
                    <a:pt x="336792" y="544997"/>
                  </a:cubicBezTo>
                  <a:cubicBezTo>
                    <a:pt x="336792" y="531398"/>
                    <a:pt x="336792" y="512361"/>
                    <a:pt x="336792" y="498762"/>
                  </a:cubicBezTo>
                  <a:cubicBezTo>
                    <a:pt x="336792" y="496043"/>
                    <a:pt x="336792" y="493323"/>
                    <a:pt x="336792" y="490603"/>
                  </a:cubicBezTo>
                  <a:cubicBezTo>
                    <a:pt x="336792" y="479725"/>
                    <a:pt x="336792" y="477005"/>
                    <a:pt x="320474" y="477005"/>
                  </a:cubicBezTo>
                  <a:cubicBezTo>
                    <a:pt x="309595" y="477005"/>
                    <a:pt x="295997" y="479725"/>
                    <a:pt x="282399" y="479725"/>
                  </a:cubicBezTo>
                  <a:cubicBezTo>
                    <a:pt x="271520" y="479725"/>
                    <a:pt x="260642" y="479725"/>
                    <a:pt x="252483" y="474286"/>
                  </a:cubicBezTo>
                  <a:cubicBezTo>
                    <a:pt x="249763" y="471566"/>
                    <a:pt x="247044" y="468846"/>
                    <a:pt x="247044" y="466126"/>
                  </a:cubicBezTo>
                  <a:cubicBezTo>
                    <a:pt x="247044" y="463407"/>
                    <a:pt x="247044" y="460687"/>
                    <a:pt x="249763" y="457968"/>
                  </a:cubicBezTo>
                  <a:cubicBezTo>
                    <a:pt x="255202" y="452528"/>
                    <a:pt x="260642" y="449809"/>
                    <a:pt x="268801" y="447089"/>
                  </a:cubicBezTo>
                  <a:cubicBezTo>
                    <a:pt x="282399" y="441650"/>
                    <a:pt x="295997" y="438930"/>
                    <a:pt x="312315" y="436210"/>
                  </a:cubicBezTo>
                  <a:cubicBezTo>
                    <a:pt x="325914" y="433491"/>
                    <a:pt x="339512" y="433491"/>
                    <a:pt x="353110" y="430771"/>
                  </a:cubicBezTo>
                  <a:cubicBezTo>
                    <a:pt x="363989" y="430771"/>
                    <a:pt x="374867" y="430771"/>
                    <a:pt x="385746" y="430771"/>
                  </a:cubicBezTo>
                  <a:cubicBezTo>
                    <a:pt x="402064" y="430771"/>
                    <a:pt x="426541" y="428051"/>
                    <a:pt x="437420" y="428051"/>
                  </a:cubicBezTo>
                  <a:cubicBezTo>
                    <a:pt x="451018" y="422612"/>
                    <a:pt x="464616" y="425332"/>
                    <a:pt x="464616" y="436210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51" name="Freeform: Shape 50">
              <a:extLst>
                <a:ext uri="{FF2B5EF4-FFF2-40B4-BE49-F238E27FC236}">
                  <a16:creationId xmlns:a16="http://schemas.microsoft.com/office/drawing/2014/main" id="{661B4D71-5303-4C03-83AA-70CBCD0F8408}"/>
                </a:ext>
              </a:extLst>
            </p:cNvPr>
            <p:cNvSpPr/>
            <p:nvPr/>
          </p:nvSpPr>
          <p:spPr>
            <a:xfrm>
              <a:off x="9053923" y="4178559"/>
              <a:ext cx="625521" cy="788700"/>
            </a:xfrm>
            <a:custGeom>
              <a:avLst/>
              <a:gdLst>
                <a:gd name="connsiteX0" fmla="*/ 536838 w 625521"/>
                <a:gd name="connsiteY0" fmla="*/ 680979 h 788699"/>
                <a:gd name="connsiteX1" fmla="*/ 574913 w 625521"/>
                <a:gd name="connsiteY1" fmla="*/ 697297 h 788699"/>
                <a:gd name="connsiteX2" fmla="*/ 566755 w 625521"/>
                <a:gd name="connsiteY2" fmla="*/ 713615 h 788699"/>
                <a:gd name="connsiteX3" fmla="*/ 550437 w 625521"/>
                <a:gd name="connsiteY3" fmla="*/ 721774 h 788699"/>
                <a:gd name="connsiteX4" fmla="*/ 528680 w 625521"/>
                <a:gd name="connsiteY4" fmla="*/ 724494 h 788699"/>
                <a:gd name="connsiteX5" fmla="*/ 417174 w 625521"/>
                <a:gd name="connsiteY5" fmla="*/ 724494 h 788699"/>
                <a:gd name="connsiteX6" fmla="*/ 398136 w 625521"/>
                <a:gd name="connsiteY6" fmla="*/ 724494 h 788699"/>
                <a:gd name="connsiteX7" fmla="*/ 373659 w 625521"/>
                <a:gd name="connsiteY7" fmla="*/ 724494 h 788699"/>
                <a:gd name="connsiteX8" fmla="*/ 346462 w 625521"/>
                <a:gd name="connsiteY8" fmla="*/ 719054 h 788699"/>
                <a:gd name="connsiteX9" fmla="*/ 330144 w 625521"/>
                <a:gd name="connsiteY9" fmla="*/ 702737 h 788699"/>
                <a:gd name="connsiteX10" fmla="*/ 335584 w 625521"/>
                <a:gd name="connsiteY10" fmla="*/ 694578 h 788699"/>
                <a:gd name="connsiteX11" fmla="*/ 357341 w 625521"/>
                <a:gd name="connsiteY11" fmla="*/ 686419 h 788699"/>
                <a:gd name="connsiteX12" fmla="*/ 395416 w 625521"/>
                <a:gd name="connsiteY12" fmla="*/ 680979 h 788699"/>
                <a:gd name="connsiteX13" fmla="*/ 381817 w 625521"/>
                <a:gd name="connsiteY13" fmla="*/ 656502 h 788699"/>
                <a:gd name="connsiteX14" fmla="*/ 379098 w 625521"/>
                <a:gd name="connsiteY14" fmla="*/ 585791 h 788699"/>
                <a:gd name="connsiteX15" fmla="*/ 379098 w 625521"/>
                <a:gd name="connsiteY15" fmla="*/ 517800 h 788699"/>
                <a:gd name="connsiteX16" fmla="*/ 379098 w 625521"/>
                <a:gd name="connsiteY16" fmla="*/ 474286 h 788699"/>
                <a:gd name="connsiteX17" fmla="*/ 379098 w 625521"/>
                <a:gd name="connsiteY17" fmla="*/ 430771 h 788699"/>
                <a:gd name="connsiteX18" fmla="*/ 381817 w 625521"/>
                <a:gd name="connsiteY18" fmla="*/ 411733 h 788699"/>
                <a:gd name="connsiteX19" fmla="*/ 379098 w 625521"/>
                <a:gd name="connsiteY19" fmla="*/ 400855 h 788699"/>
                <a:gd name="connsiteX20" fmla="*/ 370939 w 625521"/>
                <a:gd name="connsiteY20" fmla="*/ 398135 h 788699"/>
                <a:gd name="connsiteX21" fmla="*/ 338304 w 625521"/>
                <a:gd name="connsiteY21" fmla="*/ 400855 h 788699"/>
                <a:gd name="connsiteX22" fmla="*/ 289349 w 625521"/>
                <a:gd name="connsiteY22" fmla="*/ 403575 h 788699"/>
                <a:gd name="connsiteX23" fmla="*/ 264872 w 625521"/>
                <a:gd name="connsiteY23" fmla="*/ 400855 h 788699"/>
                <a:gd name="connsiteX24" fmla="*/ 259433 w 625521"/>
                <a:gd name="connsiteY24" fmla="*/ 406294 h 788699"/>
                <a:gd name="connsiteX25" fmla="*/ 259433 w 625521"/>
                <a:gd name="connsiteY25" fmla="*/ 425332 h 788699"/>
                <a:gd name="connsiteX26" fmla="*/ 259433 w 625521"/>
                <a:gd name="connsiteY26" fmla="*/ 449809 h 788699"/>
                <a:gd name="connsiteX27" fmla="*/ 259433 w 625521"/>
                <a:gd name="connsiteY27" fmla="*/ 471566 h 788699"/>
                <a:gd name="connsiteX28" fmla="*/ 259433 w 625521"/>
                <a:gd name="connsiteY28" fmla="*/ 504202 h 788699"/>
                <a:gd name="connsiteX29" fmla="*/ 259433 w 625521"/>
                <a:gd name="connsiteY29" fmla="*/ 509641 h 788699"/>
                <a:gd name="connsiteX30" fmla="*/ 256714 w 625521"/>
                <a:gd name="connsiteY30" fmla="*/ 542277 h 788699"/>
                <a:gd name="connsiteX31" fmla="*/ 256714 w 625521"/>
                <a:gd name="connsiteY31" fmla="*/ 577632 h 788699"/>
                <a:gd name="connsiteX32" fmla="*/ 256714 w 625521"/>
                <a:gd name="connsiteY32" fmla="*/ 612988 h 788699"/>
                <a:gd name="connsiteX33" fmla="*/ 253994 w 625521"/>
                <a:gd name="connsiteY33" fmla="*/ 656502 h 788699"/>
                <a:gd name="connsiteX34" fmla="*/ 256714 w 625521"/>
                <a:gd name="connsiteY34" fmla="*/ 678260 h 788699"/>
                <a:gd name="connsiteX35" fmla="*/ 286629 w 625521"/>
                <a:gd name="connsiteY35" fmla="*/ 694578 h 788699"/>
                <a:gd name="connsiteX36" fmla="*/ 281191 w 625521"/>
                <a:gd name="connsiteY36" fmla="*/ 710895 h 788699"/>
                <a:gd name="connsiteX37" fmla="*/ 264872 w 625521"/>
                <a:gd name="connsiteY37" fmla="*/ 719054 h 788699"/>
                <a:gd name="connsiteX38" fmla="*/ 243116 w 625521"/>
                <a:gd name="connsiteY38" fmla="*/ 721774 h 788699"/>
                <a:gd name="connsiteX39" fmla="*/ 243116 w 625521"/>
                <a:gd name="connsiteY39" fmla="*/ 721774 h 788699"/>
                <a:gd name="connsiteX40" fmla="*/ 232236 w 625521"/>
                <a:gd name="connsiteY40" fmla="*/ 727214 h 788699"/>
                <a:gd name="connsiteX41" fmla="*/ 224078 w 625521"/>
                <a:gd name="connsiteY41" fmla="*/ 735372 h 788699"/>
                <a:gd name="connsiteX42" fmla="*/ 213199 w 625521"/>
                <a:gd name="connsiteY42" fmla="*/ 738092 h 788699"/>
                <a:gd name="connsiteX43" fmla="*/ 183283 w 625521"/>
                <a:gd name="connsiteY43" fmla="*/ 727214 h 788699"/>
                <a:gd name="connsiteX44" fmla="*/ 175124 w 625521"/>
                <a:gd name="connsiteY44" fmla="*/ 719054 h 788699"/>
                <a:gd name="connsiteX45" fmla="*/ 145208 w 625521"/>
                <a:gd name="connsiteY45" fmla="*/ 719054 h 788699"/>
                <a:gd name="connsiteX46" fmla="*/ 126170 w 625521"/>
                <a:gd name="connsiteY46" fmla="*/ 719054 h 788699"/>
                <a:gd name="connsiteX47" fmla="*/ 101693 w 625521"/>
                <a:gd name="connsiteY47" fmla="*/ 719054 h 788699"/>
                <a:gd name="connsiteX48" fmla="*/ 74496 w 625521"/>
                <a:gd name="connsiteY48" fmla="*/ 713615 h 788699"/>
                <a:gd name="connsiteX49" fmla="*/ 58178 w 625521"/>
                <a:gd name="connsiteY49" fmla="*/ 697297 h 788699"/>
                <a:gd name="connsiteX50" fmla="*/ 63618 w 625521"/>
                <a:gd name="connsiteY50" fmla="*/ 689138 h 788699"/>
                <a:gd name="connsiteX51" fmla="*/ 85375 w 625521"/>
                <a:gd name="connsiteY51" fmla="*/ 680979 h 788699"/>
                <a:gd name="connsiteX52" fmla="*/ 131609 w 625521"/>
                <a:gd name="connsiteY52" fmla="*/ 675540 h 788699"/>
                <a:gd name="connsiteX53" fmla="*/ 131609 w 625521"/>
                <a:gd name="connsiteY53" fmla="*/ 667381 h 788699"/>
                <a:gd name="connsiteX54" fmla="*/ 131609 w 625521"/>
                <a:gd name="connsiteY54" fmla="*/ 651063 h 788699"/>
                <a:gd name="connsiteX55" fmla="*/ 131609 w 625521"/>
                <a:gd name="connsiteY55" fmla="*/ 618427 h 788699"/>
                <a:gd name="connsiteX56" fmla="*/ 131609 w 625521"/>
                <a:gd name="connsiteY56" fmla="*/ 580352 h 788699"/>
                <a:gd name="connsiteX57" fmla="*/ 131609 w 625521"/>
                <a:gd name="connsiteY57" fmla="*/ 531398 h 788699"/>
                <a:gd name="connsiteX58" fmla="*/ 131609 w 625521"/>
                <a:gd name="connsiteY58" fmla="*/ 466126 h 788699"/>
                <a:gd name="connsiteX59" fmla="*/ 131609 w 625521"/>
                <a:gd name="connsiteY59" fmla="*/ 422612 h 788699"/>
                <a:gd name="connsiteX60" fmla="*/ 131609 w 625521"/>
                <a:gd name="connsiteY60" fmla="*/ 411733 h 788699"/>
                <a:gd name="connsiteX61" fmla="*/ 131609 w 625521"/>
                <a:gd name="connsiteY61" fmla="*/ 398135 h 788699"/>
                <a:gd name="connsiteX62" fmla="*/ 126170 w 625521"/>
                <a:gd name="connsiteY62" fmla="*/ 389976 h 788699"/>
                <a:gd name="connsiteX63" fmla="*/ 101693 w 625521"/>
                <a:gd name="connsiteY63" fmla="*/ 387257 h 788699"/>
                <a:gd name="connsiteX64" fmla="*/ 77216 w 625521"/>
                <a:gd name="connsiteY64" fmla="*/ 376378 h 788699"/>
                <a:gd name="connsiteX65" fmla="*/ 82655 w 625521"/>
                <a:gd name="connsiteY65" fmla="*/ 368219 h 788699"/>
                <a:gd name="connsiteX66" fmla="*/ 98973 w 625521"/>
                <a:gd name="connsiteY66" fmla="*/ 360060 h 788699"/>
                <a:gd name="connsiteX67" fmla="*/ 118011 w 625521"/>
                <a:gd name="connsiteY67" fmla="*/ 357340 h 788699"/>
                <a:gd name="connsiteX68" fmla="*/ 131609 w 625521"/>
                <a:gd name="connsiteY68" fmla="*/ 351901 h 788699"/>
                <a:gd name="connsiteX69" fmla="*/ 131609 w 625521"/>
                <a:gd name="connsiteY69" fmla="*/ 343742 h 788699"/>
                <a:gd name="connsiteX70" fmla="*/ 131609 w 625521"/>
                <a:gd name="connsiteY70" fmla="*/ 270311 h 788699"/>
                <a:gd name="connsiteX71" fmla="*/ 137048 w 625521"/>
                <a:gd name="connsiteY71" fmla="*/ 145207 h 788699"/>
                <a:gd name="connsiteX72" fmla="*/ 139768 w 625521"/>
                <a:gd name="connsiteY72" fmla="*/ 123450 h 788699"/>
                <a:gd name="connsiteX73" fmla="*/ 123450 w 625521"/>
                <a:gd name="connsiteY73" fmla="*/ 123450 h 788699"/>
                <a:gd name="connsiteX74" fmla="*/ 118011 w 625521"/>
                <a:gd name="connsiteY74" fmla="*/ 123450 h 788699"/>
                <a:gd name="connsiteX75" fmla="*/ 101693 w 625521"/>
                <a:gd name="connsiteY75" fmla="*/ 123450 h 788699"/>
                <a:gd name="connsiteX76" fmla="*/ 74496 w 625521"/>
                <a:gd name="connsiteY76" fmla="*/ 118011 h 788699"/>
                <a:gd name="connsiteX77" fmla="*/ 58178 w 625521"/>
                <a:gd name="connsiteY77" fmla="*/ 101693 h 788699"/>
                <a:gd name="connsiteX78" fmla="*/ 63618 w 625521"/>
                <a:gd name="connsiteY78" fmla="*/ 93534 h 788699"/>
                <a:gd name="connsiteX79" fmla="*/ 85375 w 625521"/>
                <a:gd name="connsiteY79" fmla="*/ 85375 h 788699"/>
                <a:gd name="connsiteX80" fmla="*/ 137048 w 625521"/>
                <a:gd name="connsiteY80" fmla="*/ 82655 h 788699"/>
                <a:gd name="connsiteX81" fmla="*/ 147927 w 625521"/>
                <a:gd name="connsiteY81" fmla="*/ 82655 h 788699"/>
                <a:gd name="connsiteX82" fmla="*/ 186003 w 625521"/>
                <a:gd name="connsiteY82" fmla="*/ 58178 h 788699"/>
                <a:gd name="connsiteX83" fmla="*/ 226797 w 625521"/>
                <a:gd name="connsiteY83" fmla="*/ 79936 h 788699"/>
                <a:gd name="connsiteX84" fmla="*/ 253994 w 625521"/>
                <a:gd name="connsiteY84" fmla="*/ 79936 h 788699"/>
                <a:gd name="connsiteX85" fmla="*/ 294789 w 625521"/>
                <a:gd name="connsiteY85" fmla="*/ 96253 h 788699"/>
                <a:gd name="connsiteX86" fmla="*/ 283910 w 625521"/>
                <a:gd name="connsiteY86" fmla="*/ 112571 h 788699"/>
                <a:gd name="connsiteX87" fmla="*/ 267592 w 625521"/>
                <a:gd name="connsiteY87" fmla="*/ 120730 h 788699"/>
                <a:gd name="connsiteX88" fmla="*/ 245835 w 625521"/>
                <a:gd name="connsiteY88" fmla="*/ 123450 h 788699"/>
                <a:gd name="connsiteX89" fmla="*/ 237676 w 625521"/>
                <a:gd name="connsiteY89" fmla="*/ 123450 h 788699"/>
                <a:gd name="connsiteX90" fmla="*/ 240396 w 625521"/>
                <a:gd name="connsiteY90" fmla="*/ 128889 h 788699"/>
                <a:gd name="connsiteX91" fmla="*/ 251274 w 625521"/>
                <a:gd name="connsiteY91" fmla="*/ 177843 h 788699"/>
                <a:gd name="connsiteX92" fmla="*/ 256714 w 625521"/>
                <a:gd name="connsiteY92" fmla="*/ 226797 h 788699"/>
                <a:gd name="connsiteX93" fmla="*/ 262153 w 625521"/>
                <a:gd name="connsiteY93" fmla="*/ 273031 h 788699"/>
                <a:gd name="connsiteX94" fmla="*/ 262153 w 625521"/>
                <a:gd name="connsiteY94" fmla="*/ 289349 h 788699"/>
                <a:gd name="connsiteX95" fmla="*/ 262153 w 625521"/>
                <a:gd name="connsiteY95" fmla="*/ 297508 h 788699"/>
                <a:gd name="connsiteX96" fmla="*/ 264872 w 625521"/>
                <a:gd name="connsiteY96" fmla="*/ 321985 h 788699"/>
                <a:gd name="connsiteX97" fmla="*/ 270312 w 625521"/>
                <a:gd name="connsiteY97" fmla="*/ 335583 h 788699"/>
                <a:gd name="connsiteX98" fmla="*/ 270312 w 625521"/>
                <a:gd name="connsiteY98" fmla="*/ 338303 h 788699"/>
                <a:gd name="connsiteX99" fmla="*/ 270312 w 625521"/>
                <a:gd name="connsiteY99" fmla="*/ 346462 h 788699"/>
                <a:gd name="connsiteX100" fmla="*/ 278471 w 625521"/>
                <a:gd name="connsiteY100" fmla="*/ 354621 h 788699"/>
                <a:gd name="connsiteX101" fmla="*/ 338304 w 625521"/>
                <a:gd name="connsiteY101" fmla="*/ 349181 h 788699"/>
                <a:gd name="connsiteX102" fmla="*/ 365500 w 625521"/>
                <a:gd name="connsiteY102" fmla="*/ 349181 h 788699"/>
                <a:gd name="connsiteX103" fmla="*/ 381817 w 625521"/>
                <a:gd name="connsiteY103" fmla="*/ 349181 h 788699"/>
                <a:gd name="connsiteX104" fmla="*/ 392697 w 625521"/>
                <a:gd name="connsiteY104" fmla="*/ 338303 h 788699"/>
                <a:gd name="connsiteX105" fmla="*/ 389977 w 625521"/>
                <a:gd name="connsiteY105" fmla="*/ 313826 h 788699"/>
                <a:gd name="connsiteX106" fmla="*/ 392697 w 625521"/>
                <a:gd name="connsiteY106" fmla="*/ 262152 h 788699"/>
                <a:gd name="connsiteX107" fmla="*/ 395416 w 625521"/>
                <a:gd name="connsiteY107" fmla="*/ 224077 h 788699"/>
                <a:gd name="connsiteX108" fmla="*/ 398136 w 625521"/>
                <a:gd name="connsiteY108" fmla="*/ 177843 h 788699"/>
                <a:gd name="connsiteX109" fmla="*/ 395416 w 625521"/>
                <a:gd name="connsiteY109" fmla="*/ 153366 h 788699"/>
                <a:gd name="connsiteX110" fmla="*/ 395416 w 625521"/>
                <a:gd name="connsiteY110" fmla="*/ 137048 h 788699"/>
                <a:gd name="connsiteX111" fmla="*/ 379098 w 625521"/>
                <a:gd name="connsiteY111" fmla="*/ 137048 h 788699"/>
                <a:gd name="connsiteX112" fmla="*/ 351902 w 625521"/>
                <a:gd name="connsiteY112" fmla="*/ 131609 h 788699"/>
                <a:gd name="connsiteX113" fmla="*/ 338304 w 625521"/>
                <a:gd name="connsiteY113" fmla="*/ 115291 h 788699"/>
                <a:gd name="connsiteX114" fmla="*/ 343742 w 625521"/>
                <a:gd name="connsiteY114" fmla="*/ 107132 h 788699"/>
                <a:gd name="connsiteX115" fmla="*/ 362780 w 625521"/>
                <a:gd name="connsiteY115" fmla="*/ 98973 h 788699"/>
                <a:gd name="connsiteX116" fmla="*/ 395416 w 625521"/>
                <a:gd name="connsiteY116" fmla="*/ 96253 h 788699"/>
                <a:gd name="connsiteX117" fmla="*/ 403575 w 625521"/>
                <a:gd name="connsiteY117" fmla="*/ 90814 h 788699"/>
                <a:gd name="connsiteX118" fmla="*/ 422612 w 625521"/>
                <a:gd name="connsiteY118" fmla="*/ 88095 h 788699"/>
                <a:gd name="connsiteX119" fmla="*/ 428052 w 625521"/>
                <a:gd name="connsiteY119" fmla="*/ 88095 h 788699"/>
                <a:gd name="connsiteX120" fmla="*/ 447090 w 625521"/>
                <a:gd name="connsiteY120" fmla="*/ 90814 h 788699"/>
                <a:gd name="connsiteX121" fmla="*/ 455249 w 625521"/>
                <a:gd name="connsiteY121" fmla="*/ 96253 h 788699"/>
                <a:gd name="connsiteX122" fmla="*/ 525960 w 625521"/>
                <a:gd name="connsiteY122" fmla="*/ 93534 h 788699"/>
                <a:gd name="connsiteX123" fmla="*/ 561315 w 625521"/>
                <a:gd name="connsiteY123" fmla="*/ 109852 h 788699"/>
                <a:gd name="connsiteX124" fmla="*/ 555876 w 625521"/>
                <a:gd name="connsiteY124" fmla="*/ 126170 h 788699"/>
                <a:gd name="connsiteX125" fmla="*/ 539558 w 625521"/>
                <a:gd name="connsiteY125" fmla="*/ 134329 h 788699"/>
                <a:gd name="connsiteX126" fmla="*/ 517800 w 625521"/>
                <a:gd name="connsiteY126" fmla="*/ 137048 h 788699"/>
                <a:gd name="connsiteX127" fmla="*/ 477006 w 625521"/>
                <a:gd name="connsiteY127" fmla="*/ 137048 h 788699"/>
                <a:gd name="connsiteX128" fmla="*/ 485165 w 625521"/>
                <a:gd name="connsiteY128" fmla="*/ 161525 h 788699"/>
                <a:gd name="connsiteX129" fmla="*/ 496043 w 625521"/>
                <a:gd name="connsiteY129" fmla="*/ 210479 h 788699"/>
                <a:gd name="connsiteX130" fmla="*/ 501483 w 625521"/>
                <a:gd name="connsiteY130" fmla="*/ 251274 h 788699"/>
                <a:gd name="connsiteX131" fmla="*/ 506922 w 625521"/>
                <a:gd name="connsiteY131" fmla="*/ 292069 h 788699"/>
                <a:gd name="connsiteX132" fmla="*/ 506922 w 625521"/>
                <a:gd name="connsiteY132" fmla="*/ 321985 h 788699"/>
                <a:gd name="connsiteX133" fmla="*/ 509642 w 625521"/>
                <a:gd name="connsiteY133" fmla="*/ 341022 h 788699"/>
                <a:gd name="connsiteX134" fmla="*/ 509642 w 625521"/>
                <a:gd name="connsiteY134" fmla="*/ 343742 h 788699"/>
                <a:gd name="connsiteX135" fmla="*/ 517800 w 625521"/>
                <a:gd name="connsiteY135" fmla="*/ 349181 h 788699"/>
                <a:gd name="connsiteX136" fmla="*/ 528680 w 625521"/>
                <a:gd name="connsiteY136" fmla="*/ 349181 h 788699"/>
                <a:gd name="connsiteX137" fmla="*/ 550437 w 625521"/>
                <a:gd name="connsiteY137" fmla="*/ 357340 h 788699"/>
                <a:gd name="connsiteX138" fmla="*/ 550437 w 625521"/>
                <a:gd name="connsiteY138" fmla="*/ 362780 h 788699"/>
                <a:gd name="connsiteX139" fmla="*/ 534119 w 625521"/>
                <a:gd name="connsiteY139" fmla="*/ 384537 h 788699"/>
                <a:gd name="connsiteX140" fmla="*/ 520520 w 625521"/>
                <a:gd name="connsiteY140" fmla="*/ 389976 h 788699"/>
                <a:gd name="connsiteX141" fmla="*/ 512362 w 625521"/>
                <a:gd name="connsiteY141" fmla="*/ 395415 h 788699"/>
                <a:gd name="connsiteX142" fmla="*/ 512362 w 625521"/>
                <a:gd name="connsiteY142" fmla="*/ 398135 h 788699"/>
                <a:gd name="connsiteX143" fmla="*/ 512362 w 625521"/>
                <a:gd name="connsiteY143" fmla="*/ 409014 h 788699"/>
                <a:gd name="connsiteX144" fmla="*/ 512362 w 625521"/>
                <a:gd name="connsiteY144" fmla="*/ 414453 h 788699"/>
                <a:gd name="connsiteX145" fmla="*/ 512362 w 625521"/>
                <a:gd name="connsiteY145" fmla="*/ 438930 h 788699"/>
                <a:gd name="connsiteX146" fmla="*/ 515081 w 625521"/>
                <a:gd name="connsiteY146" fmla="*/ 504202 h 788699"/>
                <a:gd name="connsiteX147" fmla="*/ 520520 w 625521"/>
                <a:gd name="connsiteY147" fmla="*/ 572193 h 788699"/>
                <a:gd name="connsiteX148" fmla="*/ 517800 w 625521"/>
                <a:gd name="connsiteY148" fmla="*/ 604829 h 788699"/>
                <a:gd name="connsiteX149" fmla="*/ 512362 w 625521"/>
                <a:gd name="connsiteY149" fmla="*/ 661942 h 788699"/>
                <a:gd name="connsiteX150" fmla="*/ 509642 w 625521"/>
                <a:gd name="connsiteY150" fmla="*/ 670101 h 788699"/>
                <a:gd name="connsiteX151" fmla="*/ 512362 w 625521"/>
                <a:gd name="connsiteY151" fmla="*/ 680979 h 788699"/>
                <a:gd name="connsiteX152" fmla="*/ 512362 w 625521"/>
                <a:gd name="connsiteY152" fmla="*/ 686419 h 788699"/>
                <a:gd name="connsiteX153" fmla="*/ 536838 w 625521"/>
                <a:gd name="connsiteY153" fmla="*/ 680979 h 788699"/>
                <a:gd name="connsiteX154" fmla="*/ 536838 w 625521"/>
                <a:gd name="connsiteY154" fmla="*/ 680979 h 7886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</a:cxnLst>
              <a:rect l="l" t="t" r="r" b="b"/>
              <a:pathLst>
                <a:path w="625521" h="788699">
                  <a:moveTo>
                    <a:pt x="536838" y="680979"/>
                  </a:moveTo>
                  <a:cubicBezTo>
                    <a:pt x="550437" y="680979"/>
                    <a:pt x="574913" y="680979"/>
                    <a:pt x="574913" y="697297"/>
                  </a:cubicBezTo>
                  <a:cubicBezTo>
                    <a:pt x="574913" y="705456"/>
                    <a:pt x="572194" y="708176"/>
                    <a:pt x="566755" y="713615"/>
                  </a:cubicBezTo>
                  <a:cubicBezTo>
                    <a:pt x="561315" y="719054"/>
                    <a:pt x="555876" y="721774"/>
                    <a:pt x="550437" y="721774"/>
                  </a:cubicBezTo>
                  <a:cubicBezTo>
                    <a:pt x="539558" y="724494"/>
                    <a:pt x="534119" y="724494"/>
                    <a:pt x="528680" y="724494"/>
                  </a:cubicBezTo>
                  <a:cubicBezTo>
                    <a:pt x="517800" y="724494"/>
                    <a:pt x="428052" y="724494"/>
                    <a:pt x="417174" y="724494"/>
                  </a:cubicBezTo>
                  <a:cubicBezTo>
                    <a:pt x="403575" y="724494"/>
                    <a:pt x="414454" y="724494"/>
                    <a:pt x="398136" y="724494"/>
                  </a:cubicBezTo>
                  <a:cubicBezTo>
                    <a:pt x="389977" y="724494"/>
                    <a:pt x="381817" y="724494"/>
                    <a:pt x="373659" y="724494"/>
                  </a:cubicBezTo>
                  <a:cubicBezTo>
                    <a:pt x="365500" y="724494"/>
                    <a:pt x="354621" y="721774"/>
                    <a:pt x="346462" y="719054"/>
                  </a:cubicBezTo>
                  <a:cubicBezTo>
                    <a:pt x="338304" y="716335"/>
                    <a:pt x="330144" y="708176"/>
                    <a:pt x="330144" y="702737"/>
                  </a:cubicBezTo>
                  <a:cubicBezTo>
                    <a:pt x="330144" y="700017"/>
                    <a:pt x="330144" y="697297"/>
                    <a:pt x="335584" y="694578"/>
                  </a:cubicBezTo>
                  <a:cubicBezTo>
                    <a:pt x="341023" y="691858"/>
                    <a:pt x="351902" y="689138"/>
                    <a:pt x="357341" y="686419"/>
                  </a:cubicBezTo>
                  <a:cubicBezTo>
                    <a:pt x="373659" y="683699"/>
                    <a:pt x="387257" y="680979"/>
                    <a:pt x="395416" y="680979"/>
                  </a:cubicBezTo>
                  <a:cubicBezTo>
                    <a:pt x="387257" y="675540"/>
                    <a:pt x="384537" y="670101"/>
                    <a:pt x="381817" y="656502"/>
                  </a:cubicBezTo>
                  <a:cubicBezTo>
                    <a:pt x="379098" y="632026"/>
                    <a:pt x="379098" y="610268"/>
                    <a:pt x="379098" y="585791"/>
                  </a:cubicBezTo>
                  <a:cubicBezTo>
                    <a:pt x="379098" y="564034"/>
                    <a:pt x="379098" y="542277"/>
                    <a:pt x="379098" y="517800"/>
                  </a:cubicBezTo>
                  <a:cubicBezTo>
                    <a:pt x="379098" y="504202"/>
                    <a:pt x="379098" y="487884"/>
                    <a:pt x="379098" y="474286"/>
                  </a:cubicBezTo>
                  <a:cubicBezTo>
                    <a:pt x="379098" y="457968"/>
                    <a:pt x="376379" y="444369"/>
                    <a:pt x="379098" y="430771"/>
                  </a:cubicBezTo>
                  <a:cubicBezTo>
                    <a:pt x="379098" y="425332"/>
                    <a:pt x="381817" y="417173"/>
                    <a:pt x="381817" y="411733"/>
                  </a:cubicBezTo>
                  <a:cubicBezTo>
                    <a:pt x="381817" y="406294"/>
                    <a:pt x="381817" y="403575"/>
                    <a:pt x="379098" y="400855"/>
                  </a:cubicBezTo>
                  <a:cubicBezTo>
                    <a:pt x="376379" y="400855"/>
                    <a:pt x="373659" y="398135"/>
                    <a:pt x="370939" y="398135"/>
                  </a:cubicBezTo>
                  <a:cubicBezTo>
                    <a:pt x="360061" y="398135"/>
                    <a:pt x="343742" y="400855"/>
                    <a:pt x="338304" y="400855"/>
                  </a:cubicBezTo>
                  <a:cubicBezTo>
                    <a:pt x="330144" y="400855"/>
                    <a:pt x="319266" y="403575"/>
                    <a:pt x="289349" y="403575"/>
                  </a:cubicBezTo>
                  <a:cubicBezTo>
                    <a:pt x="275751" y="403575"/>
                    <a:pt x="267592" y="400855"/>
                    <a:pt x="264872" y="400855"/>
                  </a:cubicBezTo>
                  <a:cubicBezTo>
                    <a:pt x="262153" y="400855"/>
                    <a:pt x="259433" y="400855"/>
                    <a:pt x="259433" y="406294"/>
                  </a:cubicBezTo>
                  <a:cubicBezTo>
                    <a:pt x="259433" y="414453"/>
                    <a:pt x="259433" y="419892"/>
                    <a:pt x="259433" y="425332"/>
                  </a:cubicBezTo>
                  <a:cubicBezTo>
                    <a:pt x="259433" y="433491"/>
                    <a:pt x="259433" y="441650"/>
                    <a:pt x="259433" y="449809"/>
                  </a:cubicBezTo>
                  <a:cubicBezTo>
                    <a:pt x="259433" y="457968"/>
                    <a:pt x="259433" y="463407"/>
                    <a:pt x="259433" y="471566"/>
                  </a:cubicBezTo>
                  <a:cubicBezTo>
                    <a:pt x="259433" y="482445"/>
                    <a:pt x="259433" y="493323"/>
                    <a:pt x="259433" y="504202"/>
                  </a:cubicBezTo>
                  <a:cubicBezTo>
                    <a:pt x="259433" y="506921"/>
                    <a:pt x="259433" y="506921"/>
                    <a:pt x="259433" y="509641"/>
                  </a:cubicBezTo>
                  <a:cubicBezTo>
                    <a:pt x="259433" y="520520"/>
                    <a:pt x="256714" y="531398"/>
                    <a:pt x="256714" y="542277"/>
                  </a:cubicBezTo>
                  <a:cubicBezTo>
                    <a:pt x="256714" y="553156"/>
                    <a:pt x="256714" y="566754"/>
                    <a:pt x="256714" y="577632"/>
                  </a:cubicBezTo>
                  <a:cubicBezTo>
                    <a:pt x="256714" y="588511"/>
                    <a:pt x="256714" y="599390"/>
                    <a:pt x="256714" y="612988"/>
                  </a:cubicBezTo>
                  <a:cubicBezTo>
                    <a:pt x="256714" y="629306"/>
                    <a:pt x="253994" y="642904"/>
                    <a:pt x="253994" y="656502"/>
                  </a:cubicBezTo>
                  <a:cubicBezTo>
                    <a:pt x="253994" y="664661"/>
                    <a:pt x="256714" y="672820"/>
                    <a:pt x="256714" y="678260"/>
                  </a:cubicBezTo>
                  <a:cubicBezTo>
                    <a:pt x="270312" y="678260"/>
                    <a:pt x="286629" y="680979"/>
                    <a:pt x="286629" y="694578"/>
                  </a:cubicBezTo>
                  <a:cubicBezTo>
                    <a:pt x="286629" y="702737"/>
                    <a:pt x="283910" y="705456"/>
                    <a:pt x="281191" y="710895"/>
                  </a:cubicBezTo>
                  <a:cubicBezTo>
                    <a:pt x="275751" y="716335"/>
                    <a:pt x="270312" y="719054"/>
                    <a:pt x="264872" y="719054"/>
                  </a:cubicBezTo>
                  <a:cubicBezTo>
                    <a:pt x="256714" y="721774"/>
                    <a:pt x="248554" y="721774"/>
                    <a:pt x="243116" y="721774"/>
                  </a:cubicBezTo>
                  <a:cubicBezTo>
                    <a:pt x="243116" y="721774"/>
                    <a:pt x="243116" y="721774"/>
                    <a:pt x="243116" y="721774"/>
                  </a:cubicBezTo>
                  <a:cubicBezTo>
                    <a:pt x="237676" y="724494"/>
                    <a:pt x="237676" y="724494"/>
                    <a:pt x="232236" y="727214"/>
                  </a:cubicBezTo>
                  <a:cubicBezTo>
                    <a:pt x="229517" y="729933"/>
                    <a:pt x="229517" y="732653"/>
                    <a:pt x="224078" y="735372"/>
                  </a:cubicBezTo>
                  <a:cubicBezTo>
                    <a:pt x="221358" y="738092"/>
                    <a:pt x="215919" y="738092"/>
                    <a:pt x="213199" y="738092"/>
                  </a:cubicBezTo>
                  <a:cubicBezTo>
                    <a:pt x="199601" y="738092"/>
                    <a:pt x="188722" y="735372"/>
                    <a:pt x="183283" y="727214"/>
                  </a:cubicBezTo>
                  <a:cubicBezTo>
                    <a:pt x="180563" y="724494"/>
                    <a:pt x="177843" y="721774"/>
                    <a:pt x="175124" y="719054"/>
                  </a:cubicBezTo>
                  <a:cubicBezTo>
                    <a:pt x="161526" y="719054"/>
                    <a:pt x="150646" y="719054"/>
                    <a:pt x="145208" y="719054"/>
                  </a:cubicBezTo>
                  <a:cubicBezTo>
                    <a:pt x="131609" y="719054"/>
                    <a:pt x="142488" y="719054"/>
                    <a:pt x="126170" y="719054"/>
                  </a:cubicBezTo>
                  <a:cubicBezTo>
                    <a:pt x="118011" y="719054"/>
                    <a:pt x="109852" y="719054"/>
                    <a:pt x="101693" y="719054"/>
                  </a:cubicBezTo>
                  <a:cubicBezTo>
                    <a:pt x="93534" y="719054"/>
                    <a:pt x="82655" y="719054"/>
                    <a:pt x="74496" y="713615"/>
                  </a:cubicBezTo>
                  <a:cubicBezTo>
                    <a:pt x="66338" y="710895"/>
                    <a:pt x="58178" y="702737"/>
                    <a:pt x="58178" y="697297"/>
                  </a:cubicBezTo>
                  <a:cubicBezTo>
                    <a:pt x="58178" y="694578"/>
                    <a:pt x="58178" y="691858"/>
                    <a:pt x="63618" y="689138"/>
                  </a:cubicBezTo>
                  <a:cubicBezTo>
                    <a:pt x="69057" y="686419"/>
                    <a:pt x="79936" y="683699"/>
                    <a:pt x="85375" y="680979"/>
                  </a:cubicBezTo>
                  <a:cubicBezTo>
                    <a:pt x="98973" y="678260"/>
                    <a:pt x="118011" y="678260"/>
                    <a:pt x="131609" y="675540"/>
                  </a:cubicBezTo>
                  <a:cubicBezTo>
                    <a:pt x="131609" y="672820"/>
                    <a:pt x="131609" y="670101"/>
                    <a:pt x="131609" y="667381"/>
                  </a:cubicBezTo>
                  <a:cubicBezTo>
                    <a:pt x="131609" y="661942"/>
                    <a:pt x="131609" y="656502"/>
                    <a:pt x="131609" y="651063"/>
                  </a:cubicBezTo>
                  <a:cubicBezTo>
                    <a:pt x="131609" y="640184"/>
                    <a:pt x="131609" y="629306"/>
                    <a:pt x="131609" y="618427"/>
                  </a:cubicBezTo>
                  <a:cubicBezTo>
                    <a:pt x="131609" y="604829"/>
                    <a:pt x="131609" y="593950"/>
                    <a:pt x="131609" y="580352"/>
                  </a:cubicBezTo>
                  <a:cubicBezTo>
                    <a:pt x="131609" y="564034"/>
                    <a:pt x="131609" y="547716"/>
                    <a:pt x="131609" y="531398"/>
                  </a:cubicBezTo>
                  <a:cubicBezTo>
                    <a:pt x="131609" y="509641"/>
                    <a:pt x="131609" y="487884"/>
                    <a:pt x="131609" y="466126"/>
                  </a:cubicBezTo>
                  <a:cubicBezTo>
                    <a:pt x="131609" y="452528"/>
                    <a:pt x="131609" y="436210"/>
                    <a:pt x="131609" y="422612"/>
                  </a:cubicBezTo>
                  <a:cubicBezTo>
                    <a:pt x="131609" y="419892"/>
                    <a:pt x="131609" y="414453"/>
                    <a:pt x="131609" y="411733"/>
                  </a:cubicBezTo>
                  <a:cubicBezTo>
                    <a:pt x="131609" y="409014"/>
                    <a:pt x="131609" y="400855"/>
                    <a:pt x="131609" y="398135"/>
                  </a:cubicBezTo>
                  <a:cubicBezTo>
                    <a:pt x="131609" y="392696"/>
                    <a:pt x="131609" y="392696"/>
                    <a:pt x="126170" y="389976"/>
                  </a:cubicBezTo>
                  <a:cubicBezTo>
                    <a:pt x="123450" y="389976"/>
                    <a:pt x="109852" y="387257"/>
                    <a:pt x="101693" y="387257"/>
                  </a:cubicBezTo>
                  <a:cubicBezTo>
                    <a:pt x="90814" y="384537"/>
                    <a:pt x="77216" y="381817"/>
                    <a:pt x="77216" y="376378"/>
                  </a:cubicBezTo>
                  <a:cubicBezTo>
                    <a:pt x="77216" y="373658"/>
                    <a:pt x="79936" y="370939"/>
                    <a:pt x="82655" y="368219"/>
                  </a:cubicBezTo>
                  <a:cubicBezTo>
                    <a:pt x="88095" y="365499"/>
                    <a:pt x="93534" y="362780"/>
                    <a:pt x="98973" y="360060"/>
                  </a:cubicBezTo>
                  <a:cubicBezTo>
                    <a:pt x="104413" y="360060"/>
                    <a:pt x="112571" y="357340"/>
                    <a:pt x="118011" y="357340"/>
                  </a:cubicBezTo>
                  <a:cubicBezTo>
                    <a:pt x="126170" y="354621"/>
                    <a:pt x="128890" y="357340"/>
                    <a:pt x="131609" y="351901"/>
                  </a:cubicBezTo>
                  <a:cubicBezTo>
                    <a:pt x="131609" y="349181"/>
                    <a:pt x="131609" y="346462"/>
                    <a:pt x="131609" y="343742"/>
                  </a:cubicBezTo>
                  <a:cubicBezTo>
                    <a:pt x="131609" y="319265"/>
                    <a:pt x="131609" y="294788"/>
                    <a:pt x="131609" y="270311"/>
                  </a:cubicBezTo>
                  <a:cubicBezTo>
                    <a:pt x="131609" y="226797"/>
                    <a:pt x="131609" y="186002"/>
                    <a:pt x="137048" y="145207"/>
                  </a:cubicBezTo>
                  <a:cubicBezTo>
                    <a:pt x="137048" y="139768"/>
                    <a:pt x="137048" y="131609"/>
                    <a:pt x="139768" y="123450"/>
                  </a:cubicBezTo>
                  <a:cubicBezTo>
                    <a:pt x="134329" y="123450"/>
                    <a:pt x="137048" y="123450"/>
                    <a:pt x="123450" y="123450"/>
                  </a:cubicBezTo>
                  <a:cubicBezTo>
                    <a:pt x="120731" y="123450"/>
                    <a:pt x="120731" y="123450"/>
                    <a:pt x="118011" y="123450"/>
                  </a:cubicBezTo>
                  <a:cubicBezTo>
                    <a:pt x="112571" y="123450"/>
                    <a:pt x="107133" y="123450"/>
                    <a:pt x="101693" y="123450"/>
                  </a:cubicBezTo>
                  <a:cubicBezTo>
                    <a:pt x="93534" y="123450"/>
                    <a:pt x="82655" y="120730"/>
                    <a:pt x="74496" y="118011"/>
                  </a:cubicBezTo>
                  <a:cubicBezTo>
                    <a:pt x="66338" y="115291"/>
                    <a:pt x="58178" y="107132"/>
                    <a:pt x="58178" y="101693"/>
                  </a:cubicBezTo>
                  <a:cubicBezTo>
                    <a:pt x="58178" y="98973"/>
                    <a:pt x="58178" y="96253"/>
                    <a:pt x="63618" y="93534"/>
                  </a:cubicBezTo>
                  <a:cubicBezTo>
                    <a:pt x="66338" y="90814"/>
                    <a:pt x="77216" y="88095"/>
                    <a:pt x="85375" y="85375"/>
                  </a:cubicBezTo>
                  <a:cubicBezTo>
                    <a:pt x="104413" y="82655"/>
                    <a:pt x="128890" y="82655"/>
                    <a:pt x="137048" y="82655"/>
                  </a:cubicBezTo>
                  <a:cubicBezTo>
                    <a:pt x="139768" y="82655"/>
                    <a:pt x="142488" y="82655"/>
                    <a:pt x="147927" y="82655"/>
                  </a:cubicBezTo>
                  <a:cubicBezTo>
                    <a:pt x="153366" y="69057"/>
                    <a:pt x="164245" y="58178"/>
                    <a:pt x="186003" y="58178"/>
                  </a:cubicBezTo>
                  <a:cubicBezTo>
                    <a:pt x="202321" y="58178"/>
                    <a:pt x="215919" y="66337"/>
                    <a:pt x="226797" y="79936"/>
                  </a:cubicBezTo>
                  <a:cubicBezTo>
                    <a:pt x="237676" y="79936"/>
                    <a:pt x="248554" y="79936"/>
                    <a:pt x="253994" y="79936"/>
                  </a:cubicBezTo>
                  <a:cubicBezTo>
                    <a:pt x="267592" y="79936"/>
                    <a:pt x="294789" y="79936"/>
                    <a:pt x="294789" y="96253"/>
                  </a:cubicBezTo>
                  <a:cubicBezTo>
                    <a:pt x="294789" y="104412"/>
                    <a:pt x="289349" y="107132"/>
                    <a:pt x="283910" y="112571"/>
                  </a:cubicBezTo>
                  <a:cubicBezTo>
                    <a:pt x="278471" y="118011"/>
                    <a:pt x="273031" y="120730"/>
                    <a:pt x="267592" y="120730"/>
                  </a:cubicBezTo>
                  <a:cubicBezTo>
                    <a:pt x="259433" y="123450"/>
                    <a:pt x="251274" y="123450"/>
                    <a:pt x="245835" y="123450"/>
                  </a:cubicBezTo>
                  <a:cubicBezTo>
                    <a:pt x="245835" y="123450"/>
                    <a:pt x="243116" y="123450"/>
                    <a:pt x="237676" y="123450"/>
                  </a:cubicBezTo>
                  <a:cubicBezTo>
                    <a:pt x="237676" y="126170"/>
                    <a:pt x="237676" y="126170"/>
                    <a:pt x="240396" y="128889"/>
                  </a:cubicBezTo>
                  <a:cubicBezTo>
                    <a:pt x="245835" y="145207"/>
                    <a:pt x="248554" y="161525"/>
                    <a:pt x="251274" y="177843"/>
                  </a:cubicBezTo>
                  <a:cubicBezTo>
                    <a:pt x="253994" y="194161"/>
                    <a:pt x="253994" y="210479"/>
                    <a:pt x="256714" y="226797"/>
                  </a:cubicBezTo>
                  <a:cubicBezTo>
                    <a:pt x="259433" y="243115"/>
                    <a:pt x="262153" y="256713"/>
                    <a:pt x="262153" y="273031"/>
                  </a:cubicBezTo>
                  <a:cubicBezTo>
                    <a:pt x="262153" y="278470"/>
                    <a:pt x="262153" y="283910"/>
                    <a:pt x="262153" y="289349"/>
                  </a:cubicBezTo>
                  <a:lnTo>
                    <a:pt x="262153" y="297508"/>
                  </a:lnTo>
                  <a:cubicBezTo>
                    <a:pt x="262153" y="305667"/>
                    <a:pt x="262153" y="313826"/>
                    <a:pt x="264872" y="321985"/>
                  </a:cubicBezTo>
                  <a:cubicBezTo>
                    <a:pt x="264872" y="327424"/>
                    <a:pt x="270312" y="330144"/>
                    <a:pt x="270312" y="335583"/>
                  </a:cubicBezTo>
                  <a:cubicBezTo>
                    <a:pt x="270312" y="335583"/>
                    <a:pt x="270312" y="338303"/>
                    <a:pt x="270312" y="338303"/>
                  </a:cubicBezTo>
                  <a:cubicBezTo>
                    <a:pt x="270312" y="341022"/>
                    <a:pt x="270312" y="343742"/>
                    <a:pt x="270312" y="346462"/>
                  </a:cubicBezTo>
                  <a:cubicBezTo>
                    <a:pt x="270312" y="351901"/>
                    <a:pt x="273031" y="354621"/>
                    <a:pt x="278471" y="354621"/>
                  </a:cubicBezTo>
                  <a:cubicBezTo>
                    <a:pt x="289349" y="354621"/>
                    <a:pt x="335584" y="351901"/>
                    <a:pt x="338304" y="349181"/>
                  </a:cubicBezTo>
                  <a:cubicBezTo>
                    <a:pt x="346462" y="349181"/>
                    <a:pt x="357341" y="349181"/>
                    <a:pt x="365500" y="349181"/>
                  </a:cubicBezTo>
                  <a:cubicBezTo>
                    <a:pt x="370939" y="349181"/>
                    <a:pt x="376379" y="349181"/>
                    <a:pt x="381817" y="349181"/>
                  </a:cubicBezTo>
                  <a:cubicBezTo>
                    <a:pt x="387257" y="349181"/>
                    <a:pt x="392697" y="346462"/>
                    <a:pt x="392697" y="338303"/>
                  </a:cubicBezTo>
                  <a:cubicBezTo>
                    <a:pt x="392697" y="330144"/>
                    <a:pt x="389977" y="316545"/>
                    <a:pt x="389977" y="313826"/>
                  </a:cubicBezTo>
                  <a:cubicBezTo>
                    <a:pt x="389977" y="294788"/>
                    <a:pt x="389977" y="278470"/>
                    <a:pt x="392697" y="262152"/>
                  </a:cubicBezTo>
                  <a:cubicBezTo>
                    <a:pt x="392697" y="259433"/>
                    <a:pt x="395416" y="243115"/>
                    <a:pt x="395416" y="224077"/>
                  </a:cubicBezTo>
                  <a:cubicBezTo>
                    <a:pt x="395416" y="207759"/>
                    <a:pt x="398136" y="188722"/>
                    <a:pt x="398136" y="177843"/>
                  </a:cubicBezTo>
                  <a:cubicBezTo>
                    <a:pt x="398136" y="169684"/>
                    <a:pt x="395416" y="158806"/>
                    <a:pt x="395416" y="153366"/>
                  </a:cubicBezTo>
                  <a:cubicBezTo>
                    <a:pt x="395416" y="145207"/>
                    <a:pt x="395416" y="142488"/>
                    <a:pt x="395416" y="137048"/>
                  </a:cubicBezTo>
                  <a:cubicBezTo>
                    <a:pt x="389977" y="137048"/>
                    <a:pt x="384537" y="137048"/>
                    <a:pt x="379098" y="137048"/>
                  </a:cubicBezTo>
                  <a:cubicBezTo>
                    <a:pt x="370939" y="137048"/>
                    <a:pt x="360061" y="134329"/>
                    <a:pt x="351902" y="131609"/>
                  </a:cubicBezTo>
                  <a:cubicBezTo>
                    <a:pt x="343742" y="128889"/>
                    <a:pt x="338304" y="120730"/>
                    <a:pt x="338304" y="115291"/>
                  </a:cubicBezTo>
                  <a:cubicBezTo>
                    <a:pt x="338304" y="112571"/>
                    <a:pt x="338304" y="109852"/>
                    <a:pt x="343742" y="107132"/>
                  </a:cubicBezTo>
                  <a:cubicBezTo>
                    <a:pt x="349182" y="104412"/>
                    <a:pt x="357341" y="101693"/>
                    <a:pt x="362780" y="98973"/>
                  </a:cubicBezTo>
                  <a:cubicBezTo>
                    <a:pt x="373659" y="96253"/>
                    <a:pt x="387257" y="96253"/>
                    <a:pt x="395416" y="96253"/>
                  </a:cubicBezTo>
                  <a:cubicBezTo>
                    <a:pt x="398136" y="93534"/>
                    <a:pt x="400855" y="90814"/>
                    <a:pt x="403575" y="90814"/>
                  </a:cubicBezTo>
                  <a:cubicBezTo>
                    <a:pt x="411734" y="90814"/>
                    <a:pt x="419893" y="88095"/>
                    <a:pt x="422612" y="88095"/>
                  </a:cubicBezTo>
                  <a:cubicBezTo>
                    <a:pt x="425332" y="88095"/>
                    <a:pt x="425332" y="88095"/>
                    <a:pt x="428052" y="88095"/>
                  </a:cubicBezTo>
                  <a:cubicBezTo>
                    <a:pt x="433492" y="88095"/>
                    <a:pt x="441650" y="88095"/>
                    <a:pt x="447090" y="90814"/>
                  </a:cubicBezTo>
                  <a:cubicBezTo>
                    <a:pt x="449809" y="90814"/>
                    <a:pt x="452529" y="93534"/>
                    <a:pt x="455249" y="96253"/>
                  </a:cubicBezTo>
                  <a:cubicBezTo>
                    <a:pt x="482445" y="96253"/>
                    <a:pt x="509642" y="93534"/>
                    <a:pt x="525960" y="93534"/>
                  </a:cubicBezTo>
                  <a:cubicBezTo>
                    <a:pt x="539558" y="93534"/>
                    <a:pt x="561315" y="93534"/>
                    <a:pt x="561315" y="109852"/>
                  </a:cubicBezTo>
                  <a:cubicBezTo>
                    <a:pt x="561315" y="118011"/>
                    <a:pt x="561315" y="120730"/>
                    <a:pt x="555876" y="126170"/>
                  </a:cubicBezTo>
                  <a:cubicBezTo>
                    <a:pt x="550437" y="131609"/>
                    <a:pt x="544997" y="134329"/>
                    <a:pt x="539558" y="134329"/>
                  </a:cubicBezTo>
                  <a:cubicBezTo>
                    <a:pt x="531399" y="137048"/>
                    <a:pt x="523240" y="137048"/>
                    <a:pt x="517800" y="137048"/>
                  </a:cubicBezTo>
                  <a:cubicBezTo>
                    <a:pt x="515081" y="137048"/>
                    <a:pt x="498763" y="137048"/>
                    <a:pt x="477006" y="137048"/>
                  </a:cubicBezTo>
                  <a:cubicBezTo>
                    <a:pt x="479725" y="145207"/>
                    <a:pt x="485165" y="153366"/>
                    <a:pt x="485165" y="161525"/>
                  </a:cubicBezTo>
                  <a:cubicBezTo>
                    <a:pt x="487885" y="177843"/>
                    <a:pt x="493324" y="194161"/>
                    <a:pt x="496043" y="210479"/>
                  </a:cubicBezTo>
                  <a:cubicBezTo>
                    <a:pt x="498763" y="224077"/>
                    <a:pt x="498763" y="237676"/>
                    <a:pt x="501483" y="251274"/>
                  </a:cubicBezTo>
                  <a:cubicBezTo>
                    <a:pt x="504202" y="264872"/>
                    <a:pt x="506922" y="275751"/>
                    <a:pt x="506922" y="292069"/>
                  </a:cubicBezTo>
                  <a:cubicBezTo>
                    <a:pt x="506922" y="302947"/>
                    <a:pt x="506922" y="311106"/>
                    <a:pt x="506922" y="321985"/>
                  </a:cubicBezTo>
                  <a:cubicBezTo>
                    <a:pt x="506922" y="327424"/>
                    <a:pt x="509642" y="335583"/>
                    <a:pt x="509642" y="341022"/>
                  </a:cubicBezTo>
                  <a:cubicBezTo>
                    <a:pt x="509642" y="343742"/>
                    <a:pt x="509642" y="343742"/>
                    <a:pt x="509642" y="343742"/>
                  </a:cubicBezTo>
                  <a:cubicBezTo>
                    <a:pt x="509642" y="349181"/>
                    <a:pt x="515081" y="349181"/>
                    <a:pt x="517800" y="349181"/>
                  </a:cubicBezTo>
                  <a:cubicBezTo>
                    <a:pt x="520520" y="349181"/>
                    <a:pt x="523240" y="349181"/>
                    <a:pt x="528680" y="349181"/>
                  </a:cubicBezTo>
                  <a:cubicBezTo>
                    <a:pt x="536838" y="349181"/>
                    <a:pt x="547717" y="349181"/>
                    <a:pt x="550437" y="357340"/>
                  </a:cubicBezTo>
                  <a:cubicBezTo>
                    <a:pt x="550437" y="360060"/>
                    <a:pt x="550437" y="360060"/>
                    <a:pt x="550437" y="362780"/>
                  </a:cubicBezTo>
                  <a:cubicBezTo>
                    <a:pt x="550437" y="370939"/>
                    <a:pt x="539558" y="381817"/>
                    <a:pt x="534119" y="384537"/>
                  </a:cubicBezTo>
                  <a:cubicBezTo>
                    <a:pt x="531399" y="387257"/>
                    <a:pt x="523240" y="387257"/>
                    <a:pt x="520520" y="389976"/>
                  </a:cubicBezTo>
                  <a:cubicBezTo>
                    <a:pt x="515081" y="389976"/>
                    <a:pt x="512362" y="392696"/>
                    <a:pt x="512362" y="395415"/>
                  </a:cubicBezTo>
                  <a:cubicBezTo>
                    <a:pt x="512362" y="395415"/>
                    <a:pt x="512362" y="398135"/>
                    <a:pt x="512362" y="398135"/>
                  </a:cubicBezTo>
                  <a:cubicBezTo>
                    <a:pt x="512362" y="400855"/>
                    <a:pt x="512362" y="406294"/>
                    <a:pt x="512362" y="409014"/>
                  </a:cubicBezTo>
                  <a:cubicBezTo>
                    <a:pt x="512362" y="411733"/>
                    <a:pt x="512362" y="411733"/>
                    <a:pt x="512362" y="414453"/>
                  </a:cubicBezTo>
                  <a:cubicBezTo>
                    <a:pt x="512362" y="422612"/>
                    <a:pt x="512362" y="430771"/>
                    <a:pt x="512362" y="438930"/>
                  </a:cubicBezTo>
                  <a:cubicBezTo>
                    <a:pt x="512362" y="460687"/>
                    <a:pt x="512362" y="482445"/>
                    <a:pt x="515081" y="504202"/>
                  </a:cubicBezTo>
                  <a:cubicBezTo>
                    <a:pt x="517800" y="525959"/>
                    <a:pt x="520520" y="550436"/>
                    <a:pt x="520520" y="572193"/>
                  </a:cubicBezTo>
                  <a:cubicBezTo>
                    <a:pt x="520520" y="583072"/>
                    <a:pt x="520520" y="593950"/>
                    <a:pt x="517800" y="604829"/>
                  </a:cubicBezTo>
                  <a:cubicBezTo>
                    <a:pt x="515081" y="623867"/>
                    <a:pt x="515081" y="642904"/>
                    <a:pt x="512362" y="661942"/>
                  </a:cubicBezTo>
                  <a:cubicBezTo>
                    <a:pt x="512362" y="664661"/>
                    <a:pt x="509642" y="667381"/>
                    <a:pt x="509642" y="670101"/>
                  </a:cubicBezTo>
                  <a:cubicBezTo>
                    <a:pt x="509642" y="672820"/>
                    <a:pt x="512362" y="678260"/>
                    <a:pt x="512362" y="680979"/>
                  </a:cubicBezTo>
                  <a:cubicBezTo>
                    <a:pt x="512362" y="683699"/>
                    <a:pt x="512362" y="686419"/>
                    <a:pt x="512362" y="686419"/>
                  </a:cubicBezTo>
                  <a:cubicBezTo>
                    <a:pt x="517800" y="680979"/>
                    <a:pt x="528680" y="680979"/>
                    <a:pt x="536838" y="680979"/>
                  </a:cubicBezTo>
                  <a:lnTo>
                    <a:pt x="536838" y="680979"/>
                  </a:ln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52" name="Freeform: Shape 51">
              <a:extLst>
                <a:ext uri="{FF2B5EF4-FFF2-40B4-BE49-F238E27FC236}">
                  <a16:creationId xmlns:a16="http://schemas.microsoft.com/office/drawing/2014/main" id="{F28577AE-EFA5-4972-9144-42D3352495EC}"/>
                </a:ext>
              </a:extLst>
            </p:cNvPr>
            <p:cNvSpPr/>
            <p:nvPr/>
          </p:nvSpPr>
          <p:spPr>
            <a:xfrm>
              <a:off x="9592416" y="4192158"/>
              <a:ext cx="516735" cy="761503"/>
            </a:xfrm>
            <a:custGeom>
              <a:avLst/>
              <a:gdLst>
                <a:gd name="connsiteX0" fmla="*/ 463407 w 516735"/>
                <a:gd name="connsiteY0" fmla="*/ 194161 h 761503"/>
                <a:gd name="connsiteX1" fmla="*/ 447089 w 516735"/>
                <a:gd name="connsiteY1" fmla="*/ 226797 h 761503"/>
                <a:gd name="connsiteX2" fmla="*/ 430771 w 516735"/>
                <a:gd name="connsiteY2" fmla="*/ 221357 h 761503"/>
                <a:gd name="connsiteX3" fmla="*/ 422612 w 516735"/>
                <a:gd name="connsiteY3" fmla="*/ 207759 h 761503"/>
                <a:gd name="connsiteX4" fmla="*/ 419893 w 516735"/>
                <a:gd name="connsiteY4" fmla="*/ 188722 h 761503"/>
                <a:gd name="connsiteX5" fmla="*/ 419893 w 516735"/>
                <a:gd name="connsiteY5" fmla="*/ 139768 h 761503"/>
                <a:gd name="connsiteX6" fmla="*/ 419893 w 516735"/>
                <a:gd name="connsiteY6" fmla="*/ 120730 h 761503"/>
                <a:gd name="connsiteX7" fmla="*/ 395416 w 516735"/>
                <a:gd name="connsiteY7" fmla="*/ 120730 h 761503"/>
                <a:gd name="connsiteX8" fmla="*/ 370939 w 516735"/>
                <a:gd name="connsiteY8" fmla="*/ 120730 h 761503"/>
                <a:gd name="connsiteX9" fmla="*/ 346461 w 516735"/>
                <a:gd name="connsiteY9" fmla="*/ 123450 h 761503"/>
                <a:gd name="connsiteX10" fmla="*/ 335583 w 516735"/>
                <a:gd name="connsiteY10" fmla="*/ 123450 h 761503"/>
                <a:gd name="connsiteX11" fmla="*/ 335583 w 516735"/>
                <a:gd name="connsiteY11" fmla="*/ 123450 h 761503"/>
                <a:gd name="connsiteX12" fmla="*/ 324704 w 516735"/>
                <a:gd name="connsiteY12" fmla="*/ 128889 h 761503"/>
                <a:gd name="connsiteX13" fmla="*/ 327424 w 516735"/>
                <a:gd name="connsiteY13" fmla="*/ 139768 h 761503"/>
                <a:gd name="connsiteX14" fmla="*/ 330144 w 516735"/>
                <a:gd name="connsiteY14" fmla="*/ 175123 h 761503"/>
                <a:gd name="connsiteX15" fmla="*/ 330144 w 516735"/>
                <a:gd name="connsiteY15" fmla="*/ 199600 h 761503"/>
                <a:gd name="connsiteX16" fmla="*/ 327424 w 516735"/>
                <a:gd name="connsiteY16" fmla="*/ 224077 h 761503"/>
                <a:gd name="connsiteX17" fmla="*/ 330144 w 516735"/>
                <a:gd name="connsiteY17" fmla="*/ 251274 h 761503"/>
                <a:gd name="connsiteX18" fmla="*/ 327424 w 516735"/>
                <a:gd name="connsiteY18" fmla="*/ 278470 h 761503"/>
                <a:gd name="connsiteX19" fmla="*/ 327424 w 516735"/>
                <a:gd name="connsiteY19" fmla="*/ 332864 h 761503"/>
                <a:gd name="connsiteX20" fmla="*/ 330144 w 516735"/>
                <a:gd name="connsiteY20" fmla="*/ 357340 h 761503"/>
                <a:gd name="connsiteX21" fmla="*/ 330144 w 516735"/>
                <a:gd name="connsiteY21" fmla="*/ 368219 h 761503"/>
                <a:gd name="connsiteX22" fmla="*/ 332863 w 516735"/>
                <a:gd name="connsiteY22" fmla="*/ 387257 h 761503"/>
                <a:gd name="connsiteX23" fmla="*/ 332863 w 516735"/>
                <a:gd name="connsiteY23" fmla="*/ 433491 h 761503"/>
                <a:gd name="connsiteX24" fmla="*/ 332863 w 516735"/>
                <a:gd name="connsiteY24" fmla="*/ 487884 h 761503"/>
                <a:gd name="connsiteX25" fmla="*/ 330144 w 516735"/>
                <a:gd name="connsiteY25" fmla="*/ 512361 h 761503"/>
                <a:gd name="connsiteX26" fmla="*/ 330144 w 516735"/>
                <a:gd name="connsiteY26" fmla="*/ 539557 h 761503"/>
                <a:gd name="connsiteX27" fmla="*/ 332863 w 516735"/>
                <a:gd name="connsiteY27" fmla="*/ 593950 h 761503"/>
                <a:gd name="connsiteX28" fmla="*/ 332863 w 516735"/>
                <a:gd name="connsiteY28" fmla="*/ 648343 h 761503"/>
                <a:gd name="connsiteX29" fmla="*/ 332863 w 516735"/>
                <a:gd name="connsiteY29" fmla="*/ 656502 h 761503"/>
                <a:gd name="connsiteX30" fmla="*/ 357341 w 516735"/>
                <a:gd name="connsiteY30" fmla="*/ 656502 h 761503"/>
                <a:gd name="connsiteX31" fmla="*/ 395416 w 516735"/>
                <a:gd name="connsiteY31" fmla="*/ 675540 h 761503"/>
                <a:gd name="connsiteX32" fmla="*/ 389976 w 516735"/>
                <a:gd name="connsiteY32" fmla="*/ 691858 h 761503"/>
                <a:gd name="connsiteX33" fmla="*/ 373658 w 516735"/>
                <a:gd name="connsiteY33" fmla="*/ 700017 h 761503"/>
                <a:gd name="connsiteX34" fmla="*/ 351901 w 516735"/>
                <a:gd name="connsiteY34" fmla="*/ 702737 h 761503"/>
                <a:gd name="connsiteX35" fmla="*/ 319265 w 516735"/>
                <a:gd name="connsiteY35" fmla="*/ 702737 h 761503"/>
                <a:gd name="connsiteX36" fmla="*/ 311106 w 516735"/>
                <a:gd name="connsiteY36" fmla="*/ 708176 h 761503"/>
                <a:gd name="connsiteX37" fmla="*/ 289349 w 516735"/>
                <a:gd name="connsiteY37" fmla="*/ 713615 h 761503"/>
                <a:gd name="connsiteX38" fmla="*/ 270311 w 516735"/>
                <a:gd name="connsiteY38" fmla="*/ 713615 h 761503"/>
                <a:gd name="connsiteX39" fmla="*/ 243115 w 516735"/>
                <a:gd name="connsiteY39" fmla="*/ 705456 h 761503"/>
                <a:gd name="connsiteX40" fmla="*/ 237675 w 516735"/>
                <a:gd name="connsiteY40" fmla="*/ 702737 h 761503"/>
                <a:gd name="connsiteX41" fmla="*/ 199600 w 516735"/>
                <a:gd name="connsiteY41" fmla="*/ 702737 h 761503"/>
                <a:gd name="connsiteX42" fmla="*/ 175123 w 516735"/>
                <a:gd name="connsiteY42" fmla="*/ 702737 h 761503"/>
                <a:gd name="connsiteX43" fmla="*/ 147927 w 516735"/>
                <a:gd name="connsiteY43" fmla="*/ 697297 h 761503"/>
                <a:gd name="connsiteX44" fmla="*/ 131609 w 516735"/>
                <a:gd name="connsiteY44" fmla="*/ 678260 h 761503"/>
                <a:gd name="connsiteX45" fmla="*/ 137048 w 516735"/>
                <a:gd name="connsiteY45" fmla="*/ 670101 h 761503"/>
                <a:gd name="connsiteX46" fmla="*/ 158805 w 516735"/>
                <a:gd name="connsiteY46" fmla="*/ 661942 h 761503"/>
                <a:gd name="connsiteX47" fmla="*/ 199600 w 516735"/>
                <a:gd name="connsiteY47" fmla="*/ 659222 h 761503"/>
                <a:gd name="connsiteX48" fmla="*/ 199600 w 516735"/>
                <a:gd name="connsiteY48" fmla="*/ 659222 h 761503"/>
                <a:gd name="connsiteX49" fmla="*/ 196880 w 516735"/>
                <a:gd name="connsiteY49" fmla="*/ 629306 h 761503"/>
                <a:gd name="connsiteX50" fmla="*/ 199600 w 516735"/>
                <a:gd name="connsiteY50" fmla="*/ 574913 h 761503"/>
                <a:gd name="connsiteX51" fmla="*/ 202320 w 516735"/>
                <a:gd name="connsiteY51" fmla="*/ 523239 h 761503"/>
                <a:gd name="connsiteX52" fmla="*/ 205040 w 516735"/>
                <a:gd name="connsiteY52" fmla="*/ 460687 h 761503"/>
                <a:gd name="connsiteX53" fmla="*/ 205040 w 516735"/>
                <a:gd name="connsiteY53" fmla="*/ 417173 h 761503"/>
                <a:gd name="connsiteX54" fmla="*/ 207759 w 516735"/>
                <a:gd name="connsiteY54" fmla="*/ 392696 h 761503"/>
                <a:gd name="connsiteX55" fmla="*/ 210478 w 516735"/>
                <a:gd name="connsiteY55" fmla="*/ 368219 h 761503"/>
                <a:gd name="connsiteX56" fmla="*/ 210478 w 516735"/>
                <a:gd name="connsiteY56" fmla="*/ 313826 h 761503"/>
                <a:gd name="connsiteX57" fmla="*/ 210478 w 516735"/>
                <a:gd name="connsiteY57" fmla="*/ 259433 h 761503"/>
                <a:gd name="connsiteX58" fmla="*/ 210478 w 516735"/>
                <a:gd name="connsiteY58" fmla="*/ 213199 h 761503"/>
                <a:gd name="connsiteX59" fmla="*/ 210478 w 516735"/>
                <a:gd name="connsiteY59" fmla="*/ 145207 h 761503"/>
                <a:gd name="connsiteX60" fmla="*/ 213198 w 516735"/>
                <a:gd name="connsiteY60" fmla="*/ 131609 h 761503"/>
                <a:gd name="connsiteX61" fmla="*/ 205040 w 516735"/>
                <a:gd name="connsiteY61" fmla="*/ 123450 h 761503"/>
                <a:gd name="connsiteX62" fmla="*/ 161525 w 516735"/>
                <a:gd name="connsiteY62" fmla="*/ 123450 h 761503"/>
                <a:gd name="connsiteX63" fmla="*/ 112571 w 516735"/>
                <a:gd name="connsiteY63" fmla="*/ 120730 h 761503"/>
                <a:gd name="connsiteX64" fmla="*/ 104412 w 516735"/>
                <a:gd name="connsiteY64" fmla="*/ 118011 h 761503"/>
                <a:gd name="connsiteX65" fmla="*/ 107132 w 516735"/>
                <a:gd name="connsiteY65" fmla="*/ 191441 h 761503"/>
                <a:gd name="connsiteX66" fmla="*/ 90814 w 516735"/>
                <a:gd name="connsiteY66" fmla="*/ 224077 h 761503"/>
                <a:gd name="connsiteX67" fmla="*/ 74496 w 516735"/>
                <a:gd name="connsiteY67" fmla="*/ 218638 h 761503"/>
                <a:gd name="connsiteX68" fmla="*/ 66337 w 516735"/>
                <a:gd name="connsiteY68" fmla="*/ 205040 h 761503"/>
                <a:gd name="connsiteX69" fmla="*/ 63617 w 516735"/>
                <a:gd name="connsiteY69" fmla="*/ 186002 h 761503"/>
                <a:gd name="connsiteX70" fmla="*/ 63617 w 516735"/>
                <a:gd name="connsiteY70" fmla="*/ 145207 h 761503"/>
                <a:gd name="connsiteX71" fmla="*/ 63617 w 516735"/>
                <a:gd name="connsiteY71" fmla="*/ 109852 h 761503"/>
                <a:gd name="connsiteX72" fmla="*/ 58178 w 516735"/>
                <a:gd name="connsiteY72" fmla="*/ 96253 h 761503"/>
                <a:gd name="connsiteX73" fmla="*/ 66337 w 516735"/>
                <a:gd name="connsiteY73" fmla="*/ 85375 h 761503"/>
                <a:gd name="connsiteX74" fmla="*/ 93533 w 516735"/>
                <a:gd name="connsiteY74" fmla="*/ 77216 h 761503"/>
                <a:gd name="connsiteX75" fmla="*/ 115290 w 516735"/>
                <a:gd name="connsiteY75" fmla="*/ 77216 h 761503"/>
                <a:gd name="connsiteX76" fmla="*/ 169684 w 516735"/>
                <a:gd name="connsiteY76" fmla="*/ 74496 h 761503"/>
                <a:gd name="connsiteX77" fmla="*/ 194161 w 516735"/>
                <a:gd name="connsiteY77" fmla="*/ 71776 h 761503"/>
                <a:gd name="connsiteX78" fmla="*/ 196880 w 516735"/>
                <a:gd name="connsiteY78" fmla="*/ 71776 h 761503"/>
                <a:gd name="connsiteX79" fmla="*/ 210478 w 516735"/>
                <a:gd name="connsiteY79" fmla="*/ 71776 h 761503"/>
                <a:gd name="connsiteX80" fmla="*/ 218638 w 516735"/>
                <a:gd name="connsiteY80" fmla="*/ 71776 h 761503"/>
                <a:gd name="connsiteX81" fmla="*/ 237675 w 516735"/>
                <a:gd name="connsiteY81" fmla="*/ 60898 h 761503"/>
                <a:gd name="connsiteX82" fmla="*/ 253993 w 516735"/>
                <a:gd name="connsiteY82" fmla="*/ 58178 h 761503"/>
                <a:gd name="connsiteX83" fmla="*/ 283910 w 516735"/>
                <a:gd name="connsiteY83" fmla="*/ 60898 h 761503"/>
                <a:gd name="connsiteX84" fmla="*/ 294788 w 516735"/>
                <a:gd name="connsiteY84" fmla="*/ 66337 h 761503"/>
                <a:gd name="connsiteX85" fmla="*/ 305667 w 516735"/>
                <a:gd name="connsiteY85" fmla="*/ 74496 h 761503"/>
                <a:gd name="connsiteX86" fmla="*/ 313826 w 516735"/>
                <a:gd name="connsiteY86" fmla="*/ 74496 h 761503"/>
                <a:gd name="connsiteX87" fmla="*/ 327424 w 516735"/>
                <a:gd name="connsiteY87" fmla="*/ 74496 h 761503"/>
                <a:gd name="connsiteX88" fmla="*/ 354621 w 516735"/>
                <a:gd name="connsiteY88" fmla="*/ 74496 h 761503"/>
                <a:gd name="connsiteX89" fmla="*/ 422612 w 516735"/>
                <a:gd name="connsiteY89" fmla="*/ 74496 h 761503"/>
                <a:gd name="connsiteX90" fmla="*/ 455248 w 516735"/>
                <a:gd name="connsiteY90" fmla="*/ 79936 h 761503"/>
                <a:gd name="connsiteX91" fmla="*/ 466127 w 516735"/>
                <a:gd name="connsiteY91" fmla="*/ 98973 h 761503"/>
                <a:gd name="connsiteX92" fmla="*/ 463407 w 516735"/>
                <a:gd name="connsiteY92" fmla="*/ 109852 h 761503"/>
                <a:gd name="connsiteX93" fmla="*/ 463407 w 516735"/>
                <a:gd name="connsiteY93" fmla="*/ 120730 h 761503"/>
                <a:gd name="connsiteX94" fmla="*/ 463407 w 516735"/>
                <a:gd name="connsiteY94" fmla="*/ 194161 h 761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</a:cxnLst>
              <a:rect l="l" t="t" r="r" b="b"/>
              <a:pathLst>
                <a:path w="516735" h="761503">
                  <a:moveTo>
                    <a:pt x="463407" y="194161"/>
                  </a:moveTo>
                  <a:cubicBezTo>
                    <a:pt x="463407" y="205040"/>
                    <a:pt x="463407" y="226797"/>
                    <a:pt x="447089" y="226797"/>
                  </a:cubicBezTo>
                  <a:cubicBezTo>
                    <a:pt x="438930" y="226797"/>
                    <a:pt x="436211" y="226797"/>
                    <a:pt x="430771" y="221357"/>
                  </a:cubicBezTo>
                  <a:cubicBezTo>
                    <a:pt x="425332" y="218638"/>
                    <a:pt x="422612" y="210479"/>
                    <a:pt x="422612" y="207759"/>
                  </a:cubicBezTo>
                  <a:cubicBezTo>
                    <a:pt x="419893" y="199600"/>
                    <a:pt x="419893" y="194161"/>
                    <a:pt x="419893" y="188722"/>
                  </a:cubicBezTo>
                  <a:cubicBezTo>
                    <a:pt x="419893" y="183282"/>
                    <a:pt x="419893" y="147927"/>
                    <a:pt x="419893" y="139768"/>
                  </a:cubicBezTo>
                  <a:cubicBezTo>
                    <a:pt x="419893" y="134329"/>
                    <a:pt x="419893" y="128889"/>
                    <a:pt x="419893" y="120730"/>
                  </a:cubicBezTo>
                  <a:cubicBezTo>
                    <a:pt x="411734" y="120730"/>
                    <a:pt x="403574" y="120730"/>
                    <a:pt x="395416" y="120730"/>
                  </a:cubicBezTo>
                  <a:cubicBezTo>
                    <a:pt x="387256" y="120730"/>
                    <a:pt x="379098" y="120730"/>
                    <a:pt x="370939" y="120730"/>
                  </a:cubicBezTo>
                  <a:cubicBezTo>
                    <a:pt x="362780" y="120730"/>
                    <a:pt x="354621" y="123450"/>
                    <a:pt x="346461" y="123450"/>
                  </a:cubicBezTo>
                  <a:cubicBezTo>
                    <a:pt x="343742" y="123450"/>
                    <a:pt x="341023" y="123450"/>
                    <a:pt x="335583" y="123450"/>
                  </a:cubicBezTo>
                  <a:cubicBezTo>
                    <a:pt x="335583" y="123450"/>
                    <a:pt x="335583" y="123450"/>
                    <a:pt x="335583" y="123450"/>
                  </a:cubicBezTo>
                  <a:cubicBezTo>
                    <a:pt x="327424" y="123450"/>
                    <a:pt x="324704" y="126170"/>
                    <a:pt x="324704" y="128889"/>
                  </a:cubicBezTo>
                  <a:cubicBezTo>
                    <a:pt x="324704" y="131609"/>
                    <a:pt x="324704" y="137048"/>
                    <a:pt x="327424" y="139768"/>
                  </a:cubicBezTo>
                  <a:cubicBezTo>
                    <a:pt x="330144" y="147927"/>
                    <a:pt x="330144" y="166964"/>
                    <a:pt x="330144" y="175123"/>
                  </a:cubicBezTo>
                  <a:cubicBezTo>
                    <a:pt x="330144" y="183282"/>
                    <a:pt x="330144" y="191441"/>
                    <a:pt x="330144" y="199600"/>
                  </a:cubicBezTo>
                  <a:cubicBezTo>
                    <a:pt x="330144" y="207759"/>
                    <a:pt x="327424" y="215918"/>
                    <a:pt x="327424" y="224077"/>
                  </a:cubicBezTo>
                  <a:cubicBezTo>
                    <a:pt x="327424" y="232236"/>
                    <a:pt x="330144" y="243115"/>
                    <a:pt x="330144" y="251274"/>
                  </a:cubicBezTo>
                  <a:cubicBezTo>
                    <a:pt x="330144" y="259433"/>
                    <a:pt x="330144" y="267592"/>
                    <a:pt x="327424" y="278470"/>
                  </a:cubicBezTo>
                  <a:cubicBezTo>
                    <a:pt x="327424" y="294788"/>
                    <a:pt x="327424" y="313826"/>
                    <a:pt x="327424" y="332864"/>
                  </a:cubicBezTo>
                  <a:cubicBezTo>
                    <a:pt x="327424" y="341022"/>
                    <a:pt x="327424" y="349181"/>
                    <a:pt x="330144" y="357340"/>
                  </a:cubicBezTo>
                  <a:cubicBezTo>
                    <a:pt x="330144" y="360060"/>
                    <a:pt x="330144" y="365499"/>
                    <a:pt x="330144" y="368219"/>
                  </a:cubicBezTo>
                  <a:cubicBezTo>
                    <a:pt x="330144" y="373658"/>
                    <a:pt x="332863" y="384537"/>
                    <a:pt x="332863" y="387257"/>
                  </a:cubicBezTo>
                  <a:cubicBezTo>
                    <a:pt x="332863" y="406294"/>
                    <a:pt x="332863" y="414453"/>
                    <a:pt x="332863" y="433491"/>
                  </a:cubicBezTo>
                  <a:cubicBezTo>
                    <a:pt x="332863" y="452528"/>
                    <a:pt x="335583" y="468846"/>
                    <a:pt x="332863" y="487884"/>
                  </a:cubicBezTo>
                  <a:cubicBezTo>
                    <a:pt x="332863" y="496043"/>
                    <a:pt x="330144" y="504202"/>
                    <a:pt x="330144" y="512361"/>
                  </a:cubicBezTo>
                  <a:cubicBezTo>
                    <a:pt x="330144" y="520520"/>
                    <a:pt x="330144" y="531398"/>
                    <a:pt x="330144" y="539557"/>
                  </a:cubicBezTo>
                  <a:cubicBezTo>
                    <a:pt x="330144" y="558595"/>
                    <a:pt x="330144" y="574913"/>
                    <a:pt x="332863" y="593950"/>
                  </a:cubicBezTo>
                  <a:cubicBezTo>
                    <a:pt x="332863" y="610268"/>
                    <a:pt x="332863" y="632026"/>
                    <a:pt x="332863" y="648343"/>
                  </a:cubicBezTo>
                  <a:cubicBezTo>
                    <a:pt x="332863" y="651063"/>
                    <a:pt x="332863" y="653783"/>
                    <a:pt x="332863" y="656502"/>
                  </a:cubicBezTo>
                  <a:cubicBezTo>
                    <a:pt x="343742" y="656502"/>
                    <a:pt x="351901" y="656502"/>
                    <a:pt x="357341" y="656502"/>
                  </a:cubicBezTo>
                  <a:cubicBezTo>
                    <a:pt x="370939" y="656502"/>
                    <a:pt x="395416" y="659222"/>
                    <a:pt x="395416" y="675540"/>
                  </a:cubicBezTo>
                  <a:cubicBezTo>
                    <a:pt x="395416" y="683699"/>
                    <a:pt x="392696" y="686419"/>
                    <a:pt x="389976" y="691858"/>
                  </a:cubicBezTo>
                  <a:cubicBezTo>
                    <a:pt x="384537" y="697297"/>
                    <a:pt x="379098" y="700017"/>
                    <a:pt x="373658" y="700017"/>
                  </a:cubicBezTo>
                  <a:cubicBezTo>
                    <a:pt x="365499" y="702737"/>
                    <a:pt x="357341" y="702737"/>
                    <a:pt x="351901" y="702737"/>
                  </a:cubicBezTo>
                  <a:cubicBezTo>
                    <a:pt x="349181" y="702737"/>
                    <a:pt x="335583" y="702737"/>
                    <a:pt x="319265" y="702737"/>
                  </a:cubicBezTo>
                  <a:cubicBezTo>
                    <a:pt x="316546" y="705456"/>
                    <a:pt x="313826" y="705456"/>
                    <a:pt x="311106" y="708176"/>
                  </a:cubicBezTo>
                  <a:cubicBezTo>
                    <a:pt x="302948" y="713615"/>
                    <a:pt x="297508" y="713615"/>
                    <a:pt x="289349" y="713615"/>
                  </a:cubicBezTo>
                  <a:cubicBezTo>
                    <a:pt x="283910" y="713615"/>
                    <a:pt x="278470" y="713615"/>
                    <a:pt x="270311" y="713615"/>
                  </a:cubicBezTo>
                  <a:cubicBezTo>
                    <a:pt x="259433" y="713615"/>
                    <a:pt x="251273" y="710895"/>
                    <a:pt x="243115" y="705456"/>
                  </a:cubicBezTo>
                  <a:cubicBezTo>
                    <a:pt x="240395" y="705456"/>
                    <a:pt x="237675" y="702737"/>
                    <a:pt x="237675" y="702737"/>
                  </a:cubicBezTo>
                  <a:cubicBezTo>
                    <a:pt x="224077" y="702737"/>
                    <a:pt x="213198" y="702737"/>
                    <a:pt x="199600" y="702737"/>
                  </a:cubicBezTo>
                  <a:cubicBezTo>
                    <a:pt x="191441" y="702737"/>
                    <a:pt x="183282" y="702737"/>
                    <a:pt x="175123" y="702737"/>
                  </a:cubicBezTo>
                  <a:cubicBezTo>
                    <a:pt x="166965" y="702737"/>
                    <a:pt x="156085" y="702737"/>
                    <a:pt x="147927" y="697297"/>
                  </a:cubicBezTo>
                  <a:cubicBezTo>
                    <a:pt x="139768" y="694578"/>
                    <a:pt x="131609" y="680979"/>
                    <a:pt x="131609" y="678260"/>
                  </a:cubicBezTo>
                  <a:cubicBezTo>
                    <a:pt x="131609" y="675540"/>
                    <a:pt x="131609" y="672820"/>
                    <a:pt x="137048" y="670101"/>
                  </a:cubicBezTo>
                  <a:cubicBezTo>
                    <a:pt x="142487" y="667381"/>
                    <a:pt x="153366" y="664661"/>
                    <a:pt x="158805" y="661942"/>
                  </a:cubicBezTo>
                  <a:cubicBezTo>
                    <a:pt x="175123" y="659222"/>
                    <a:pt x="191441" y="659222"/>
                    <a:pt x="199600" y="659222"/>
                  </a:cubicBezTo>
                  <a:lnTo>
                    <a:pt x="199600" y="659222"/>
                  </a:lnTo>
                  <a:cubicBezTo>
                    <a:pt x="199600" y="648343"/>
                    <a:pt x="196880" y="640184"/>
                    <a:pt x="196880" y="629306"/>
                  </a:cubicBezTo>
                  <a:cubicBezTo>
                    <a:pt x="196880" y="612988"/>
                    <a:pt x="196880" y="591231"/>
                    <a:pt x="199600" y="574913"/>
                  </a:cubicBezTo>
                  <a:cubicBezTo>
                    <a:pt x="199600" y="558595"/>
                    <a:pt x="199600" y="539557"/>
                    <a:pt x="202320" y="523239"/>
                  </a:cubicBezTo>
                  <a:cubicBezTo>
                    <a:pt x="202320" y="501482"/>
                    <a:pt x="205040" y="482445"/>
                    <a:pt x="205040" y="460687"/>
                  </a:cubicBezTo>
                  <a:cubicBezTo>
                    <a:pt x="205040" y="447089"/>
                    <a:pt x="205040" y="430771"/>
                    <a:pt x="205040" y="417173"/>
                  </a:cubicBezTo>
                  <a:cubicBezTo>
                    <a:pt x="205040" y="409014"/>
                    <a:pt x="207759" y="400855"/>
                    <a:pt x="207759" y="392696"/>
                  </a:cubicBezTo>
                  <a:cubicBezTo>
                    <a:pt x="207759" y="384537"/>
                    <a:pt x="210478" y="376378"/>
                    <a:pt x="210478" y="368219"/>
                  </a:cubicBezTo>
                  <a:cubicBezTo>
                    <a:pt x="210478" y="351901"/>
                    <a:pt x="210478" y="332864"/>
                    <a:pt x="210478" y="313826"/>
                  </a:cubicBezTo>
                  <a:cubicBezTo>
                    <a:pt x="210478" y="294788"/>
                    <a:pt x="210478" y="275751"/>
                    <a:pt x="210478" y="259433"/>
                  </a:cubicBezTo>
                  <a:cubicBezTo>
                    <a:pt x="210478" y="243115"/>
                    <a:pt x="210478" y="226797"/>
                    <a:pt x="210478" y="213199"/>
                  </a:cubicBezTo>
                  <a:cubicBezTo>
                    <a:pt x="210478" y="194161"/>
                    <a:pt x="210478" y="164245"/>
                    <a:pt x="210478" y="145207"/>
                  </a:cubicBezTo>
                  <a:cubicBezTo>
                    <a:pt x="210478" y="139768"/>
                    <a:pt x="213198" y="134329"/>
                    <a:pt x="213198" y="131609"/>
                  </a:cubicBezTo>
                  <a:cubicBezTo>
                    <a:pt x="213198" y="126170"/>
                    <a:pt x="207759" y="123450"/>
                    <a:pt x="205040" y="123450"/>
                  </a:cubicBezTo>
                  <a:cubicBezTo>
                    <a:pt x="199600" y="123450"/>
                    <a:pt x="166965" y="123450"/>
                    <a:pt x="161525" y="123450"/>
                  </a:cubicBezTo>
                  <a:cubicBezTo>
                    <a:pt x="145207" y="123450"/>
                    <a:pt x="128889" y="123450"/>
                    <a:pt x="112571" y="120730"/>
                  </a:cubicBezTo>
                  <a:cubicBezTo>
                    <a:pt x="109852" y="120730"/>
                    <a:pt x="107132" y="120730"/>
                    <a:pt x="104412" y="118011"/>
                  </a:cubicBezTo>
                  <a:cubicBezTo>
                    <a:pt x="107132" y="137048"/>
                    <a:pt x="107132" y="172404"/>
                    <a:pt x="107132" y="191441"/>
                  </a:cubicBezTo>
                  <a:cubicBezTo>
                    <a:pt x="107132" y="202320"/>
                    <a:pt x="107132" y="224077"/>
                    <a:pt x="90814" y="224077"/>
                  </a:cubicBezTo>
                  <a:cubicBezTo>
                    <a:pt x="82655" y="224077"/>
                    <a:pt x="79935" y="221357"/>
                    <a:pt x="74496" y="218638"/>
                  </a:cubicBezTo>
                  <a:cubicBezTo>
                    <a:pt x="69057" y="215918"/>
                    <a:pt x="66337" y="210479"/>
                    <a:pt x="66337" y="205040"/>
                  </a:cubicBezTo>
                  <a:cubicBezTo>
                    <a:pt x="63617" y="196881"/>
                    <a:pt x="63617" y="191441"/>
                    <a:pt x="63617" y="186002"/>
                  </a:cubicBezTo>
                  <a:cubicBezTo>
                    <a:pt x="63617" y="180563"/>
                    <a:pt x="63617" y="153366"/>
                    <a:pt x="63617" y="145207"/>
                  </a:cubicBezTo>
                  <a:cubicBezTo>
                    <a:pt x="63617" y="134329"/>
                    <a:pt x="63617" y="120730"/>
                    <a:pt x="63617" y="109852"/>
                  </a:cubicBezTo>
                  <a:cubicBezTo>
                    <a:pt x="60897" y="104412"/>
                    <a:pt x="58178" y="101693"/>
                    <a:pt x="58178" y="96253"/>
                  </a:cubicBezTo>
                  <a:cubicBezTo>
                    <a:pt x="58178" y="93534"/>
                    <a:pt x="60897" y="88095"/>
                    <a:pt x="66337" y="85375"/>
                  </a:cubicBezTo>
                  <a:cubicBezTo>
                    <a:pt x="74496" y="79936"/>
                    <a:pt x="77215" y="77216"/>
                    <a:pt x="93533" y="77216"/>
                  </a:cubicBezTo>
                  <a:cubicBezTo>
                    <a:pt x="101692" y="77216"/>
                    <a:pt x="109852" y="77216"/>
                    <a:pt x="115290" y="77216"/>
                  </a:cubicBezTo>
                  <a:cubicBezTo>
                    <a:pt x="134328" y="77216"/>
                    <a:pt x="150646" y="77216"/>
                    <a:pt x="169684" y="74496"/>
                  </a:cubicBezTo>
                  <a:cubicBezTo>
                    <a:pt x="177843" y="74496"/>
                    <a:pt x="186002" y="71776"/>
                    <a:pt x="194161" y="71776"/>
                  </a:cubicBezTo>
                  <a:cubicBezTo>
                    <a:pt x="194161" y="71776"/>
                    <a:pt x="196880" y="71776"/>
                    <a:pt x="196880" y="71776"/>
                  </a:cubicBezTo>
                  <a:cubicBezTo>
                    <a:pt x="199600" y="71776"/>
                    <a:pt x="205040" y="71776"/>
                    <a:pt x="210478" y="71776"/>
                  </a:cubicBezTo>
                  <a:cubicBezTo>
                    <a:pt x="213198" y="71776"/>
                    <a:pt x="215918" y="71776"/>
                    <a:pt x="218638" y="71776"/>
                  </a:cubicBezTo>
                  <a:cubicBezTo>
                    <a:pt x="224077" y="69057"/>
                    <a:pt x="229516" y="63618"/>
                    <a:pt x="237675" y="60898"/>
                  </a:cubicBezTo>
                  <a:cubicBezTo>
                    <a:pt x="243115" y="58178"/>
                    <a:pt x="248554" y="58178"/>
                    <a:pt x="253993" y="58178"/>
                  </a:cubicBezTo>
                  <a:cubicBezTo>
                    <a:pt x="264872" y="58178"/>
                    <a:pt x="273031" y="58178"/>
                    <a:pt x="283910" y="60898"/>
                  </a:cubicBezTo>
                  <a:cubicBezTo>
                    <a:pt x="286629" y="60898"/>
                    <a:pt x="292068" y="63618"/>
                    <a:pt x="294788" y="66337"/>
                  </a:cubicBezTo>
                  <a:cubicBezTo>
                    <a:pt x="297508" y="69057"/>
                    <a:pt x="302948" y="71776"/>
                    <a:pt x="305667" y="74496"/>
                  </a:cubicBezTo>
                  <a:cubicBezTo>
                    <a:pt x="308386" y="74496"/>
                    <a:pt x="311106" y="74496"/>
                    <a:pt x="313826" y="74496"/>
                  </a:cubicBezTo>
                  <a:cubicBezTo>
                    <a:pt x="319265" y="74496"/>
                    <a:pt x="321985" y="74496"/>
                    <a:pt x="327424" y="74496"/>
                  </a:cubicBezTo>
                  <a:cubicBezTo>
                    <a:pt x="335583" y="74496"/>
                    <a:pt x="346461" y="74496"/>
                    <a:pt x="354621" y="74496"/>
                  </a:cubicBezTo>
                  <a:cubicBezTo>
                    <a:pt x="376378" y="74496"/>
                    <a:pt x="400855" y="74496"/>
                    <a:pt x="422612" y="74496"/>
                  </a:cubicBezTo>
                  <a:cubicBezTo>
                    <a:pt x="433491" y="74496"/>
                    <a:pt x="447089" y="74496"/>
                    <a:pt x="455248" y="79936"/>
                  </a:cubicBezTo>
                  <a:cubicBezTo>
                    <a:pt x="460687" y="82655"/>
                    <a:pt x="466127" y="90814"/>
                    <a:pt x="466127" y="98973"/>
                  </a:cubicBezTo>
                  <a:cubicBezTo>
                    <a:pt x="466127" y="101693"/>
                    <a:pt x="466127" y="107132"/>
                    <a:pt x="463407" y="109852"/>
                  </a:cubicBezTo>
                  <a:cubicBezTo>
                    <a:pt x="463407" y="112571"/>
                    <a:pt x="463407" y="112571"/>
                    <a:pt x="463407" y="120730"/>
                  </a:cubicBezTo>
                  <a:cubicBezTo>
                    <a:pt x="463407" y="142488"/>
                    <a:pt x="463407" y="172404"/>
                    <a:pt x="463407" y="194161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</p:grpSp>
      <p:sp>
        <p:nvSpPr>
          <p:cNvPr id="5" name="TextBox 4">
            <a:extLst>
              <a:ext uri="{FF2B5EF4-FFF2-40B4-BE49-F238E27FC236}">
                <a16:creationId xmlns:a16="http://schemas.microsoft.com/office/drawing/2014/main" id="{F44BE42B-FBF6-8116-06CD-CE5A51718FA6}"/>
              </a:ext>
            </a:extLst>
          </p:cNvPr>
          <p:cNvSpPr txBox="1"/>
          <p:nvPr userDrawn="1"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5272850" y="6642100"/>
            <a:ext cx="1674812" cy="15240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n-US" sz="100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Mondelez International Internal</a:t>
            </a:r>
          </a:p>
        </p:txBody>
      </p:sp>
    </p:spTree>
    <p:extLst>
      <p:ext uri="{BB962C8B-B14F-4D97-AF65-F5344CB8AC3E}">
        <p14:creationId xmlns:p14="http://schemas.microsoft.com/office/powerpoint/2010/main" val="192091511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7" r:id="rId1"/>
    <p:sldLayoutId id="2147483668" r:id="rId2"/>
    <p:sldLayoutId id="2147483669" r:id="rId3"/>
    <p:sldLayoutId id="2147483670" r:id="rId4"/>
    <p:sldLayoutId id="2147483671" r:id="rId5"/>
    <p:sldLayoutId id="2147483672" r:id="rId6"/>
    <p:sldLayoutId id="2147483673" r:id="rId7"/>
    <p:sldLayoutId id="2147483674" r:id="rId8"/>
    <p:sldLayoutId id="2147483675" r:id="rId9"/>
    <p:sldLayoutId id="2147483676" r:id="rId10"/>
    <p:sldLayoutId id="2147483677" r:id="rId11"/>
    <p:sldLayoutId id="2147483678" r:id="rId12"/>
    <p:sldLayoutId id="2147483679" r:id="rId13"/>
    <p:sldLayoutId id="2147483680" r:id="rId14"/>
    <p:sldLayoutId id="2147483681" r:id="rId15"/>
    <p:sldLayoutId id="2147483682" r:id="rId16"/>
    <p:sldLayoutId id="2147483683" r:id="rId17"/>
    <p:sldLayoutId id="2147483684" r:id="rId18"/>
    <p:sldLayoutId id="2147483685" r:id="rId19"/>
    <p:sldLayoutId id="2147483686" r:id="rId20"/>
    <p:sldLayoutId id="2147483687" r:id="rId21"/>
    <p:sldLayoutId id="2147483688" r:id="rId22"/>
    <p:sldLayoutId id="2147483689" r:id="rId23"/>
    <p:sldLayoutId id="2147483690" r:id="rId24"/>
    <p:sldLayoutId id="2147483691" r:id="rId25"/>
    <p:sldLayoutId id="2147483692" r:id="rId26"/>
    <p:sldLayoutId id="2147483693" r:id="rId27"/>
    <p:sldLayoutId id="2147483694" r:id="rId28"/>
    <p:sldLayoutId id="2147483695" r:id="rId29"/>
    <p:sldLayoutId id="2147483696" r:id="rId30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xStyles>
    <p:titleStyle>
      <a:lvl1pPr algn="l" defTabSz="914400" rtl="0" eaLnBrk="1" latinLnBrk="0" hangingPunct="1">
        <a:lnSpc>
          <a:spcPct val="85000"/>
        </a:lnSpc>
        <a:spcBef>
          <a:spcPct val="0"/>
        </a:spcBef>
        <a:buNone/>
        <a:defRPr sz="3600" b="0" kern="1200" cap="all" baseline="0">
          <a:solidFill>
            <a:srgbClr val="E18719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200"/>
        </a:spcBef>
        <a:buClr>
          <a:schemeClr val="tx1"/>
        </a:buClr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548640" indent="-230188" algn="l" defTabSz="914400" rtl="0" eaLnBrk="1" latinLnBrk="0" hangingPunct="1">
        <a:lnSpc>
          <a:spcPct val="90000"/>
        </a:lnSpc>
        <a:spcBef>
          <a:spcPts val="800"/>
        </a:spcBef>
        <a:buClr>
          <a:schemeClr val="tx1"/>
        </a:buClr>
        <a:buFont typeface="Arial" panose="020B0604020202020204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22960" indent="-182880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097280" indent="-182880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Arial" panose="020B060402020202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indent="-146304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1371600" indent="-146304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1371600" indent="-146304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1371600" indent="-146304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1371600" indent="-146304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3" pos="240">
          <p15:clr>
            <a:srgbClr val="F26B43"/>
          </p15:clr>
        </p15:guide>
        <p15:guide id="4" pos="2592">
          <p15:clr>
            <a:srgbClr val="F26B43"/>
          </p15:clr>
        </p15:guide>
        <p15:guide id="5" pos="2664">
          <p15:clr>
            <a:srgbClr val="F26B43"/>
          </p15:clr>
        </p15:guide>
        <p15:guide id="6" pos="5016">
          <p15:clr>
            <a:srgbClr val="F26B43"/>
          </p15:clr>
        </p15:guide>
        <p15:guide id="7" pos="5088">
          <p15:clr>
            <a:srgbClr val="F26B43"/>
          </p15:clr>
        </p15:guide>
        <p15:guide id="8" pos="7440">
          <p15:clr>
            <a:srgbClr val="F26B43"/>
          </p15:clr>
        </p15:guide>
        <p15:guide id="13" orient="horz" pos="2160">
          <p15:clr>
            <a:srgbClr val="5ACBF0"/>
          </p15:clr>
        </p15:guide>
        <p15:guide id="17" orient="horz" pos="576">
          <p15:clr>
            <a:srgbClr val="F26B43"/>
          </p15:clr>
        </p15:guide>
        <p15:guide id="18" orient="horz" pos="3792">
          <p15:clr>
            <a:srgbClr val="F26B43"/>
          </p15:clr>
        </p15:guide>
        <p15:guide id="19" pos="3840">
          <p15:clr>
            <a:srgbClr val="5ACBF0"/>
          </p15:clr>
        </p15:guide>
        <p15:guide id="20" orient="horz" pos="413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9314636-AB6E-4ED7-B39A-C71F11A5135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81001" y="6307159"/>
            <a:ext cx="306083" cy="158953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l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fld id="{565A54F4-DB31-4FC5-B748-3F06867349C3}" type="slidenum">
              <a:rPr lang="en-US" smtClean="0"/>
              <a:pPr/>
              <a:t>‹N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436560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8" r:id="rId1"/>
    <p:sldLayoutId id="2147483699" r:id="rId2"/>
    <p:sldLayoutId id="2147483700" r:id="rId3"/>
    <p:sldLayoutId id="2147483701" r:id="rId4"/>
    <p:sldLayoutId id="2147483702" r:id="rId5"/>
    <p:sldLayoutId id="2147483703" r:id="rId6"/>
    <p:sldLayoutId id="2147483704" r:id="rId7"/>
    <p:sldLayoutId id="2147483705" r:id="rId8"/>
    <p:sldLayoutId id="2147483706" r:id="rId9"/>
    <p:sldLayoutId id="2147483707" r:id="rId10"/>
    <p:sldLayoutId id="2147483708" r:id="rId11"/>
    <p:sldLayoutId id="2147483709" r:id="rId12"/>
    <p:sldLayoutId id="2147483710" r:id="rId13"/>
    <p:sldLayoutId id="2147483711" r:id="rId14"/>
    <p:sldLayoutId id="2147483712" r:id="rId15"/>
    <p:sldLayoutId id="2147483713" r:id="rId16"/>
    <p:sldLayoutId id="2147483714" r:id="rId17"/>
    <p:sldLayoutId id="2147483715" r:id="rId18"/>
    <p:sldLayoutId id="2147483716" r:id="rId19"/>
    <p:sldLayoutId id="2147483717" r:id="rId20"/>
    <p:sldLayoutId id="2147483718" r:id="rId21"/>
  </p:sldLayoutIdLst>
  <p:hf hdr="0" ftr="0" dt="0"/>
  <p:txStyles>
    <p:titleStyle>
      <a:lvl1pPr algn="l" defTabSz="914400" rtl="0" eaLnBrk="1" latinLnBrk="0" hangingPunct="1">
        <a:lnSpc>
          <a:spcPct val="85000"/>
        </a:lnSpc>
        <a:spcBef>
          <a:spcPct val="0"/>
        </a:spcBef>
        <a:buNone/>
        <a:defRPr sz="3200" b="0" kern="1200" cap="all" baseline="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200"/>
        </a:spcBef>
        <a:buClr>
          <a:schemeClr val="tx1"/>
        </a:buClr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548640" indent="-230188" algn="l" defTabSz="914400" rtl="0" eaLnBrk="1" latinLnBrk="0" hangingPunct="1">
        <a:lnSpc>
          <a:spcPct val="90000"/>
        </a:lnSpc>
        <a:spcBef>
          <a:spcPts val="800"/>
        </a:spcBef>
        <a:buClr>
          <a:schemeClr val="tx1"/>
        </a:buClr>
        <a:buFont typeface="Arial" panose="020B0604020202020204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22960" indent="-182880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097280" indent="-182880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Arial" panose="020B060402020202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indent="-146304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1371600" indent="-146304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1371600" indent="-146304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1371600" indent="-146304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1371600" indent="-146304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3" pos="240">
          <p15:clr>
            <a:srgbClr val="F26B43"/>
          </p15:clr>
        </p15:guide>
        <p15:guide id="4" pos="2592">
          <p15:clr>
            <a:srgbClr val="F26B43"/>
          </p15:clr>
        </p15:guide>
        <p15:guide id="5" pos="2664">
          <p15:clr>
            <a:srgbClr val="F26B43"/>
          </p15:clr>
        </p15:guide>
        <p15:guide id="6" pos="5016">
          <p15:clr>
            <a:srgbClr val="F26B43"/>
          </p15:clr>
        </p15:guide>
        <p15:guide id="7" pos="5088">
          <p15:clr>
            <a:srgbClr val="F26B43"/>
          </p15:clr>
        </p15:guide>
        <p15:guide id="8" pos="7440">
          <p15:clr>
            <a:srgbClr val="F26B43"/>
          </p15:clr>
        </p15:guide>
        <p15:guide id="13" orient="horz" pos="2160">
          <p15:clr>
            <a:srgbClr val="5ACBF0"/>
          </p15:clr>
        </p15:guide>
        <p15:guide id="17" orient="horz" pos="576">
          <p15:clr>
            <a:srgbClr val="F26B43"/>
          </p15:clr>
        </p15:guide>
        <p15:guide id="18" orient="horz" pos="3792">
          <p15:clr>
            <a:srgbClr val="F26B43"/>
          </p15:clr>
        </p15:guide>
        <p15:guide id="19" pos="3840">
          <p15:clr>
            <a:srgbClr val="5ACBF0"/>
          </p15:clr>
        </p15:guide>
        <p15:guide id="20" orient="horz" pos="413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13" Type="http://schemas.openxmlformats.org/officeDocument/2006/relationships/image" Target="../media/image14.png"/><Relationship Id="rId3" Type="http://schemas.openxmlformats.org/officeDocument/2006/relationships/image" Target="../media/image5.png"/><Relationship Id="rId7" Type="http://schemas.openxmlformats.org/officeDocument/2006/relationships/image" Target="../media/image9.png"/><Relationship Id="rId12" Type="http://schemas.openxmlformats.org/officeDocument/2006/relationships/image" Target="../media/image1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8.xml"/><Relationship Id="rId6" Type="http://schemas.openxmlformats.org/officeDocument/2006/relationships/image" Target="../media/image8.jpeg"/><Relationship Id="rId11" Type="http://schemas.openxmlformats.org/officeDocument/2006/relationships/image" Target="../media/image12.png"/><Relationship Id="rId5" Type="http://schemas.openxmlformats.org/officeDocument/2006/relationships/image" Target="../media/image7.png"/><Relationship Id="rId15" Type="http://schemas.openxmlformats.org/officeDocument/2006/relationships/image" Target="../media/image15.png"/><Relationship Id="rId10" Type="http://schemas.openxmlformats.org/officeDocument/2006/relationships/image" Target="../media/image11.png"/><Relationship Id="rId4" Type="http://schemas.openxmlformats.org/officeDocument/2006/relationships/image" Target="../media/image6.png"/><Relationship Id="rId9" Type="http://schemas.microsoft.com/office/2007/relationships/hdphoto" Target="../media/hdphoto1.wdp"/><Relationship Id="rId14" Type="http://schemas.microsoft.com/office/2007/relationships/hdphoto" Target="../media/hdphoto2.wdp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13" Type="http://schemas.openxmlformats.org/officeDocument/2006/relationships/image" Target="../media/image23.png"/><Relationship Id="rId3" Type="http://schemas.openxmlformats.org/officeDocument/2006/relationships/slideLayout" Target="../slideLayouts/slideLayout14.xml"/><Relationship Id="rId7" Type="http://schemas.openxmlformats.org/officeDocument/2006/relationships/image" Target="../media/image17.emf"/><Relationship Id="rId12" Type="http://schemas.openxmlformats.org/officeDocument/2006/relationships/image" Target="../media/image22.jpg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oleObject" Target="../embeddings/oleObject1.bin"/><Relationship Id="rId11" Type="http://schemas.openxmlformats.org/officeDocument/2006/relationships/image" Target="../media/image21.png"/><Relationship Id="rId5" Type="http://schemas.openxmlformats.org/officeDocument/2006/relationships/image" Target="../media/image16.jpg"/><Relationship Id="rId10" Type="http://schemas.openxmlformats.org/officeDocument/2006/relationships/image" Target="../media/image20.png"/><Relationship Id="rId4" Type="http://schemas.openxmlformats.org/officeDocument/2006/relationships/notesSlide" Target="../notesSlides/notesSlide2.xml"/><Relationship Id="rId9" Type="http://schemas.openxmlformats.org/officeDocument/2006/relationships/image" Target="../media/image19.png"/><Relationship Id="rId14" Type="http://schemas.openxmlformats.org/officeDocument/2006/relationships/image" Target="../media/image24.pn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35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4.xml"/><Relationship Id="rId7" Type="http://schemas.openxmlformats.org/officeDocument/2006/relationships/image" Target="../media/image25.jpeg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image" Target="../media/image17.emf"/><Relationship Id="rId5" Type="http://schemas.openxmlformats.org/officeDocument/2006/relationships/oleObject" Target="../embeddings/oleObject1.bin"/><Relationship Id="rId4" Type="http://schemas.openxmlformats.org/officeDocument/2006/relationships/notesSlide" Target="../notesSlides/notesSlide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CCDFF03F-A55D-4422-962A-517253EE9B1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4992" y="194741"/>
            <a:ext cx="12022016" cy="776060"/>
          </a:xfrm>
        </p:spPr>
        <p:txBody>
          <a:bodyPr>
            <a:normAutofit fontScale="90000"/>
          </a:bodyPr>
          <a:lstStyle/>
          <a:p>
            <a:pPr algn="ctr"/>
            <a:r>
              <a:rPr lang="en-US" sz="6000" dirty="0">
                <a:solidFill>
                  <a:srgbClr val="4F2170"/>
                </a:solidFill>
                <a:latin typeface="MDLZ BITE TYPE" pitchFamily="2" charset="77"/>
              </a:rPr>
              <a:t>Mondelēz in </a:t>
            </a:r>
            <a:r>
              <a:rPr lang="en-US" sz="6000" dirty="0" err="1">
                <a:solidFill>
                  <a:srgbClr val="4F2170"/>
                </a:solidFill>
                <a:latin typeface="MDLZ BITE TYPE" pitchFamily="2" charset="77"/>
              </a:rPr>
              <a:t>italia</a:t>
            </a:r>
            <a:endParaRPr lang="en-US" sz="6000" dirty="0">
              <a:solidFill>
                <a:srgbClr val="4F2170"/>
              </a:solidFill>
              <a:latin typeface="MDLZ BITE TYPE" pitchFamily="2" charset="77"/>
            </a:endParaRPr>
          </a:p>
        </p:txBody>
      </p:sp>
      <p:sp>
        <p:nvSpPr>
          <p:cNvPr id="69" name="Graphic 76">
            <a:extLst>
              <a:ext uri="{FF2B5EF4-FFF2-40B4-BE49-F238E27FC236}">
                <a16:creationId xmlns:a16="http://schemas.microsoft.com/office/drawing/2014/main" id="{1C460F3F-05E8-4ED8-AF24-A24DB8F72479}"/>
              </a:ext>
            </a:extLst>
          </p:cNvPr>
          <p:cNvSpPr>
            <a:spLocks noChangeAspect="1"/>
          </p:cNvSpPr>
          <p:nvPr/>
        </p:nvSpPr>
        <p:spPr>
          <a:xfrm>
            <a:off x="7646458" y="1774076"/>
            <a:ext cx="3332948" cy="2744781"/>
          </a:xfrm>
          <a:custGeom>
            <a:avLst/>
            <a:gdLst>
              <a:gd name="connsiteX0" fmla="*/ 323303 w 647700"/>
              <a:gd name="connsiteY0" fmla="*/ 89186 h 533400"/>
              <a:gd name="connsiteX1" fmla="*/ 453795 w 647700"/>
              <a:gd name="connsiteY1" fmla="*/ 13938 h 533400"/>
              <a:gd name="connsiteX2" fmla="*/ 612863 w 647700"/>
              <a:gd name="connsiteY2" fmla="*/ 83471 h 533400"/>
              <a:gd name="connsiteX3" fmla="*/ 646200 w 647700"/>
              <a:gd name="connsiteY3" fmla="*/ 195866 h 533400"/>
              <a:gd name="connsiteX4" fmla="*/ 595718 w 647700"/>
              <a:gd name="connsiteY4" fmla="*/ 314928 h 533400"/>
              <a:gd name="connsiteX5" fmla="*/ 456653 w 647700"/>
              <a:gd name="connsiteY5" fmla="*/ 448278 h 533400"/>
              <a:gd name="connsiteX6" fmla="*/ 340448 w 647700"/>
              <a:gd name="connsiteY6" fmla="*/ 529241 h 533400"/>
              <a:gd name="connsiteX7" fmla="*/ 290918 w 647700"/>
              <a:gd name="connsiteY7" fmla="*/ 520668 h 533400"/>
              <a:gd name="connsiteX8" fmla="*/ 220433 w 647700"/>
              <a:gd name="connsiteY8" fmla="*/ 471138 h 533400"/>
              <a:gd name="connsiteX9" fmla="*/ 88035 w 647700"/>
              <a:gd name="connsiteY9" fmla="*/ 370173 h 533400"/>
              <a:gd name="connsiteX10" fmla="*/ 19455 w 647700"/>
              <a:gd name="connsiteY10" fmla="*/ 112046 h 533400"/>
              <a:gd name="connsiteX11" fmla="*/ 99465 w 647700"/>
              <a:gd name="connsiteY11" fmla="*/ 36798 h 533400"/>
              <a:gd name="connsiteX12" fmla="*/ 185190 w 647700"/>
              <a:gd name="connsiteY12" fmla="*/ 7271 h 533400"/>
              <a:gd name="connsiteX13" fmla="*/ 254723 w 647700"/>
              <a:gd name="connsiteY13" fmla="*/ 27273 h 533400"/>
              <a:gd name="connsiteX14" fmla="*/ 323303 w 647700"/>
              <a:gd name="connsiteY14" fmla="*/ 89186 h 533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647700" h="533400">
                <a:moveTo>
                  <a:pt x="323303" y="89186"/>
                </a:moveTo>
                <a:cubicBezTo>
                  <a:pt x="323303" y="89186"/>
                  <a:pt x="372833" y="29178"/>
                  <a:pt x="453795" y="13938"/>
                </a:cubicBezTo>
                <a:cubicBezTo>
                  <a:pt x="534758" y="-349"/>
                  <a:pt x="576668" y="13938"/>
                  <a:pt x="612863" y="83471"/>
                </a:cubicBezTo>
                <a:cubicBezTo>
                  <a:pt x="625245" y="111093"/>
                  <a:pt x="649058" y="156813"/>
                  <a:pt x="646200" y="195866"/>
                </a:cubicBezTo>
                <a:cubicBezTo>
                  <a:pt x="640485" y="260636"/>
                  <a:pt x="595718" y="314928"/>
                  <a:pt x="595718" y="314928"/>
                </a:cubicBezTo>
                <a:cubicBezTo>
                  <a:pt x="595718" y="314928"/>
                  <a:pt x="558570" y="375888"/>
                  <a:pt x="456653" y="448278"/>
                </a:cubicBezTo>
                <a:cubicBezTo>
                  <a:pt x="456653" y="448278"/>
                  <a:pt x="353783" y="521621"/>
                  <a:pt x="340448" y="529241"/>
                </a:cubicBezTo>
                <a:cubicBezTo>
                  <a:pt x="326160" y="534956"/>
                  <a:pt x="311873" y="537813"/>
                  <a:pt x="290918" y="520668"/>
                </a:cubicBezTo>
                <a:cubicBezTo>
                  <a:pt x="282345" y="513048"/>
                  <a:pt x="253770" y="493998"/>
                  <a:pt x="220433" y="471138"/>
                </a:cubicBezTo>
                <a:cubicBezTo>
                  <a:pt x="173760" y="438753"/>
                  <a:pt x="116610" y="398748"/>
                  <a:pt x="88035" y="370173"/>
                </a:cubicBezTo>
                <a:cubicBezTo>
                  <a:pt x="39458" y="320643"/>
                  <a:pt x="-18645" y="233966"/>
                  <a:pt x="19455" y="112046"/>
                </a:cubicBezTo>
                <a:cubicBezTo>
                  <a:pt x="31838" y="70136"/>
                  <a:pt x="59460" y="54896"/>
                  <a:pt x="99465" y="36798"/>
                </a:cubicBezTo>
                <a:cubicBezTo>
                  <a:pt x="126135" y="25368"/>
                  <a:pt x="155663" y="5366"/>
                  <a:pt x="185190" y="7271"/>
                </a:cubicBezTo>
                <a:cubicBezTo>
                  <a:pt x="207098" y="8223"/>
                  <a:pt x="234720" y="17748"/>
                  <a:pt x="254723" y="27273"/>
                </a:cubicBezTo>
                <a:cubicBezTo>
                  <a:pt x="283298" y="40608"/>
                  <a:pt x="306158" y="56801"/>
                  <a:pt x="323303" y="89186"/>
                </a:cubicBezTo>
              </a:path>
            </a:pathLst>
          </a:custGeom>
          <a:solidFill>
            <a:schemeClr val="bg1"/>
          </a:solidFill>
          <a:ln w="57150" cap="flat">
            <a:solidFill>
              <a:srgbClr val="A52323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73" name="Picture 72">
            <a:extLst>
              <a:ext uri="{FF2B5EF4-FFF2-40B4-BE49-F238E27FC236}">
                <a16:creationId xmlns:a16="http://schemas.microsoft.com/office/drawing/2014/main" id="{02596A83-765F-4EA3-8655-50FD13E84E76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949821" y="2281300"/>
            <a:ext cx="823634" cy="408872"/>
          </a:xfrm>
          <a:prstGeom prst="rect">
            <a:avLst/>
          </a:prstGeom>
        </p:spPr>
      </p:pic>
      <p:pic>
        <p:nvPicPr>
          <p:cNvPr id="76" name="Picture 75">
            <a:extLst>
              <a:ext uri="{FF2B5EF4-FFF2-40B4-BE49-F238E27FC236}">
                <a16:creationId xmlns:a16="http://schemas.microsoft.com/office/drawing/2014/main" id="{D97CA638-6965-4C44-B0C4-1FB5AB448BAC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07799" y="1855554"/>
            <a:ext cx="1065149" cy="672594"/>
          </a:xfrm>
          <a:prstGeom prst="rect">
            <a:avLst/>
          </a:prstGeom>
        </p:spPr>
      </p:pic>
      <p:pic>
        <p:nvPicPr>
          <p:cNvPr id="84" name="Picture 83">
            <a:extLst>
              <a:ext uri="{FF2B5EF4-FFF2-40B4-BE49-F238E27FC236}">
                <a16:creationId xmlns:a16="http://schemas.microsoft.com/office/drawing/2014/main" id="{F1912298-1A2C-4C7E-AB02-8DF1EBADD77C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875162" y="2049132"/>
            <a:ext cx="628964" cy="464336"/>
          </a:xfrm>
          <a:prstGeom prst="rect">
            <a:avLst/>
          </a:prstGeom>
        </p:spPr>
      </p:pic>
      <p:pic>
        <p:nvPicPr>
          <p:cNvPr id="85" name="Picture 84">
            <a:extLst>
              <a:ext uri="{FF2B5EF4-FFF2-40B4-BE49-F238E27FC236}">
                <a16:creationId xmlns:a16="http://schemas.microsoft.com/office/drawing/2014/main" id="{E17B79B3-6C1C-46CB-A8E8-66DF0CC24578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9779073">
            <a:off x="8834990" y="3475973"/>
            <a:ext cx="1130458" cy="497692"/>
          </a:xfrm>
          <a:prstGeom prst="rect">
            <a:avLst/>
          </a:prstGeom>
        </p:spPr>
      </p:pic>
      <p:pic>
        <p:nvPicPr>
          <p:cNvPr id="86" name="Picture 85">
            <a:extLst>
              <a:ext uri="{FF2B5EF4-FFF2-40B4-BE49-F238E27FC236}">
                <a16:creationId xmlns:a16="http://schemas.microsoft.com/office/drawing/2014/main" id="{FDA67E5F-ABDB-4D9B-9E33-4ADC0552F2FB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46038" y="2830203"/>
            <a:ext cx="477936" cy="675776"/>
          </a:xfrm>
          <a:prstGeom prst="rect">
            <a:avLst/>
          </a:prstGeom>
        </p:spPr>
      </p:pic>
      <p:pic>
        <p:nvPicPr>
          <p:cNvPr id="87" name="Picture 86">
            <a:extLst>
              <a:ext uri="{FF2B5EF4-FFF2-40B4-BE49-F238E27FC236}">
                <a16:creationId xmlns:a16="http://schemas.microsoft.com/office/drawing/2014/main" id="{341E6C43-C7F8-44B2-A680-E8D0B586C604}"/>
              </a:ext>
            </a:extLst>
          </p:cNvPr>
          <p:cNvPicPr>
            <a:picLocks noChangeAspect="1"/>
          </p:cNvPicPr>
          <p:nvPr/>
        </p:nvPicPr>
        <p:blipFill>
          <a:blip r:embed="rId8" cstate="screen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ackgroundRemoval t="7890" b="94083" l="4728" r="95593">
                        <a14:foregroundMark x1="8013" y1="47929" x2="4728" y2="59369"/>
                        <a14:foregroundMark x1="4728" y1="59369" x2="4728" y2="59369"/>
                        <a14:foregroundMark x1="14423" y1="89349" x2="18429" y2="93097"/>
                        <a14:foregroundMark x1="18429" y1="93097" x2="18510" y2="93097"/>
                        <a14:foregroundMark x1="27244" y1="92702" x2="27244" y2="92702"/>
                        <a14:foregroundMark x1="24279" y1="94280" x2="21635" y2="94280"/>
                        <a14:foregroundMark x1="91106" y1="19724" x2="95673" y2="30572"/>
                        <a14:foregroundMark x1="86298" y1="7890" x2="86298" y2="7890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46190" y="2426659"/>
            <a:ext cx="886970" cy="360332"/>
          </a:xfrm>
          <a:prstGeom prst="rect">
            <a:avLst/>
          </a:prstGeom>
        </p:spPr>
      </p:pic>
      <p:pic>
        <p:nvPicPr>
          <p:cNvPr id="88" name="Picture 87">
            <a:extLst>
              <a:ext uri="{FF2B5EF4-FFF2-40B4-BE49-F238E27FC236}">
                <a16:creationId xmlns:a16="http://schemas.microsoft.com/office/drawing/2014/main" id="{53DCBFEE-3D24-45C8-8C2A-FE253F8E07C3}"/>
              </a:ext>
            </a:extLst>
          </p:cNvPr>
          <p:cNvPicPr>
            <a:picLocks noChangeAspect="1"/>
          </p:cNvPicPr>
          <p:nvPr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875162" y="2458573"/>
            <a:ext cx="1061234" cy="943919"/>
          </a:xfrm>
          <a:prstGeom prst="rect">
            <a:avLst/>
          </a:prstGeom>
        </p:spPr>
      </p:pic>
      <p:pic>
        <p:nvPicPr>
          <p:cNvPr id="89" name="Picture 88">
            <a:extLst>
              <a:ext uri="{FF2B5EF4-FFF2-40B4-BE49-F238E27FC236}">
                <a16:creationId xmlns:a16="http://schemas.microsoft.com/office/drawing/2014/main" id="{DE84700E-73BC-4CEA-A360-61E53EE71435}"/>
              </a:ext>
            </a:extLst>
          </p:cNvPr>
          <p:cNvPicPr>
            <a:picLocks noChangeAspect="1"/>
          </p:cNvPicPr>
          <p:nvPr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810433" y="2751635"/>
            <a:ext cx="625882" cy="625882"/>
          </a:xfrm>
          <a:prstGeom prst="rect">
            <a:avLst/>
          </a:prstGeom>
        </p:spPr>
      </p:pic>
      <p:sp>
        <p:nvSpPr>
          <p:cNvPr id="90" name="TextBox 54">
            <a:extLst>
              <a:ext uri="{FF2B5EF4-FFF2-40B4-BE49-F238E27FC236}">
                <a16:creationId xmlns:a16="http://schemas.microsoft.com/office/drawing/2014/main" id="{D267B2BF-56DD-4EB5-BF8A-473A2F901C2E}"/>
              </a:ext>
            </a:extLst>
          </p:cNvPr>
          <p:cNvSpPr txBox="1"/>
          <p:nvPr/>
        </p:nvSpPr>
        <p:spPr>
          <a:xfrm>
            <a:off x="8377304" y="1310787"/>
            <a:ext cx="1968668" cy="446276"/>
          </a:xfrm>
          <a:prstGeom prst="rect">
            <a:avLst/>
          </a:prstGeom>
          <a:noFill/>
        </p:spPr>
        <p:txBody>
          <a:bodyPr wrap="square" lIns="76200" tIns="38100" rIns="76200" bIns="38100" rtlCol="0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2400" b="0" i="0" u="none" strike="noStrike" kern="1200" cap="none" spc="0" normalizeH="0" baseline="0" noProof="0" dirty="0">
                <a:ln>
                  <a:noFill/>
                </a:ln>
                <a:solidFill>
                  <a:srgbClr val="A52323"/>
                </a:solidFill>
                <a:effectLst/>
                <a:uLnTx/>
                <a:uFillTx/>
                <a:latin typeface="MDLZ BITE TYPE"/>
                <a:ea typeface="+mn-ea"/>
                <a:cs typeface="Arial" panose="020B0604020202020204" pitchFamily="34" charset="0"/>
              </a:rPr>
              <a:t>TOP 10 BRANDS</a:t>
            </a:r>
          </a:p>
        </p:txBody>
      </p:sp>
      <p:pic>
        <p:nvPicPr>
          <p:cNvPr id="100" name="Picture 151">
            <a:extLst>
              <a:ext uri="{FF2B5EF4-FFF2-40B4-BE49-F238E27FC236}">
                <a16:creationId xmlns:a16="http://schemas.microsoft.com/office/drawing/2014/main" id="{866F4059-7084-4776-BC31-23B3179DADFA}"/>
              </a:ext>
            </a:extLst>
          </p:cNvPr>
          <p:cNvPicPr>
            <a:picLocks noChangeAspect="1"/>
          </p:cNvPicPr>
          <p:nvPr/>
        </p:nvPicPr>
        <p:blipFill rotWithShape="1">
          <a:blip r:embed="rId12"/>
          <a:srcRect l="34472" r="36154" b="65921"/>
          <a:stretch/>
        </p:blipFill>
        <p:spPr bwMode="gray">
          <a:xfrm>
            <a:off x="7959920" y="2562542"/>
            <a:ext cx="876465" cy="583925"/>
          </a:xfrm>
          <a:prstGeom prst="rect">
            <a:avLst/>
          </a:prstGeom>
        </p:spPr>
      </p:pic>
      <p:pic>
        <p:nvPicPr>
          <p:cNvPr id="101" name="Picture 100">
            <a:extLst>
              <a:ext uri="{FF2B5EF4-FFF2-40B4-BE49-F238E27FC236}">
                <a16:creationId xmlns:a16="http://schemas.microsoft.com/office/drawing/2014/main" id="{0DC4901A-9A52-4181-90E7-6460A458B952}"/>
              </a:ext>
            </a:extLst>
          </p:cNvPr>
          <p:cNvPicPr>
            <a:picLocks noChangeAspect="1"/>
          </p:cNvPicPr>
          <p:nvPr/>
        </p:nvPicPr>
        <p:blipFill rotWithShape="1">
          <a:blip r:embed="rId13">
            <a:extLst>
              <a:ext uri="{BEBA8EAE-BF5A-486C-A8C5-ECC9F3942E4B}">
                <a14:imgProps xmlns:a14="http://schemas.microsoft.com/office/drawing/2010/main">
                  <a14:imgLayer r:embed="rId14">
                    <a14:imgEffect>
                      <a14:backgroundRemoval t="10000" b="90000" l="10000" r="90000">
                        <a14:foregroundMark x1="47494" y1="67436" x2="48598" y2="70595"/>
                        <a14:backgroundMark x1="43076" y1="35844" x2="42056" y2="48967"/>
                        <a14:backgroundMark x1="42056" y1="48967" x2="42056" y2="48967"/>
                        <a14:backgroundMark x1="24554" y1="70352" x2="44520" y2="44228"/>
                        <a14:backgroundMark x1="44520" y1="44228" x2="44520" y2="44228"/>
                        <a14:backgroundMark x1="38488" y1="34265" x2="38318" y2="40705"/>
                        <a14:backgroundMark x1="18012" y1="56136" x2="28547" y2="58688"/>
                        <a14:backgroundMark x1="19371" y1="58445" x2="19796" y2="66100"/>
                        <a14:backgroundMark x1="46219" y1="32199" x2="48683" y2="25395"/>
                        <a14:backgroundMark x1="32285" y1="76306" x2="32285" y2="76306"/>
                        <a14:backgroundMark x1="48088" y1="63183" x2="49363" y2="63183"/>
                        <a14:backgroundMark x1="49193" y1="60753" x2="49873" y2="62697"/>
                        <a14:backgroundMark x1="48258" y1="64034" x2="49873" y2="64034"/>
                        <a14:backgroundMark x1="48428" y1="64399" x2="49023" y2="65006"/>
                        <a14:backgroundMark x1="74172" y1="58931" x2="74172" y2="58931"/>
                        <a14:backgroundMark x1="45200" y1="46780" x2="44860" y2="59903"/>
                        <a14:backgroundMark x1="44860" y1="59903" x2="44860" y2="59903"/>
                        <a14:backgroundMark x1="46984" y1="47874" x2="46644" y2="49332"/>
                        <a14:backgroundMark x1="44860" y1="48117" x2="46814" y2="48117"/>
                        <a14:backgroundMark x1="46474" y1="46173" x2="46814" y2="46780"/>
                        <a14:backgroundMark x1="46814" y1="56622" x2="46814" y2="56622"/>
                        <a14:backgroundMark x1="33220" y1="75820" x2="33220" y2="75820"/>
                      </a14:backgroundRemoval>
                    </a14:imgEffect>
                  </a14:imgLayer>
                </a14:imgProps>
              </a:ext>
            </a:extLst>
          </a:blip>
          <a:srcRect l="40781" t="42713" r="32841" b="2803"/>
          <a:stretch/>
        </p:blipFill>
        <p:spPr>
          <a:xfrm rot="21214885">
            <a:off x="3910061" y="1495432"/>
            <a:ext cx="4037827" cy="6295142"/>
          </a:xfrm>
          <a:prstGeom prst="rect">
            <a:avLst/>
          </a:prstGeom>
        </p:spPr>
      </p:pic>
      <p:sp>
        <p:nvSpPr>
          <p:cNvPr id="102" name="Freeform: Shape 101">
            <a:extLst>
              <a:ext uri="{FF2B5EF4-FFF2-40B4-BE49-F238E27FC236}">
                <a16:creationId xmlns:a16="http://schemas.microsoft.com/office/drawing/2014/main" id="{964FD310-42D0-4F11-A72C-E702C515A37F}"/>
              </a:ext>
            </a:extLst>
          </p:cNvPr>
          <p:cNvSpPr>
            <a:spLocks noChangeAspect="1"/>
          </p:cNvSpPr>
          <p:nvPr/>
        </p:nvSpPr>
        <p:spPr>
          <a:xfrm>
            <a:off x="2691985" y="2530091"/>
            <a:ext cx="307470" cy="298000"/>
          </a:xfrm>
          <a:custGeom>
            <a:avLst/>
            <a:gdLst>
              <a:gd name="connsiteX0" fmla="*/ 558351 w 1045071"/>
              <a:gd name="connsiteY0" fmla="*/ 586735 h 1012881"/>
              <a:gd name="connsiteX1" fmla="*/ 545849 w 1045071"/>
              <a:gd name="connsiteY1" fmla="*/ 598522 h 1012881"/>
              <a:gd name="connsiteX2" fmla="*/ 556326 w 1045071"/>
              <a:gd name="connsiteY2" fmla="*/ 620429 h 1012881"/>
              <a:gd name="connsiteX3" fmla="*/ 580139 w 1045071"/>
              <a:gd name="connsiteY3" fmla="*/ 609952 h 1012881"/>
              <a:gd name="connsiteX4" fmla="*/ 571566 w 1045071"/>
              <a:gd name="connsiteY4" fmla="*/ 587092 h 1012881"/>
              <a:gd name="connsiteX5" fmla="*/ 558351 w 1045071"/>
              <a:gd name="connsiteY5" fmla="*/ 586735 h 1012881"/>
              <a:gd name="connsiteX6" fmla="*/ 450718 w 1045071"/>
              <a:gd name="connsiteY6" fmla="*/ 499105 h 1012881"/>
              <a:gd name="connsiteX7" fmla="*/ 438216 w 1045071"/>
              <a:gd name="connsiteY7" fmla="*/ 510892 h 1012881"/>
              <a:gd name="connsiteX8" fmla="*/ 448693 w 1045071"/>
              <a:gd name="connsiteY8" fmla="*/ 532799 h 1012881"/>
              <a:gd name="connsiteX9" fmla="*/ 473458 w 1045071"/>
              <a:gd name="connsiteY9" fmla="*/ 522322 h 1012881"/>
              <a:gd name="connsiteX10" fmla="*/ 463933 w 1045071"/>
              <a:gd name="connsiteY10" fmla="*/ 499462 h 1012881"/>
              <a:gd name="connsiteX11" fmla="*/ 450718 w 1045071"/>
              <a:gd name="connsiteY11" fmla="*/ 499105 h 1012881"/>
              <a:gd name="connsiteX12" fmla="*/ 649790 w 1045071"/>
              <a:gd name="connsiteY12" fmla="*/ 479103 h 1012881"/>
              <a:gd name="connsiteX13" fmla="*/ 637289 w 1045071"/>
              <a:gd name="connsiteY13" fmla="*/ 490890 h 1012881"/>
              <a:gd name="connsiteX14" fmla="*/ 647766 w 1045071"/>
              <a:gd name="connsiteY14" fmla="*/ 512797 h 1012881"/>
              <a:gd name="connsiteX15" fmla="*/ 671579 w 1045071"/>
              <a:gd name="connsiteY15" fmla="*/ 502320 h 1012881"/>
              <a:gd name="connsiteX16" fmla="*/ 663006 w 1045071"/>
              <a:gd name="connsiteY16" fmla="*/ 479460 h 1012881"/>
              <a:gd name="connsiteX17" fmla="*/ 649790 w 1045071"/>
              <a:gd name="connsiteY17" fmla="*/ 479103 h 1012881"/>
              <a:gd name="connsiteX18" fmla="*/ 543111 w 1045071"/>
              <a:gd name="connsiteY18" fmla="*/ 391473 h 1012881"/>
              <a:gd name="connsiteX19" fmla="*/ 530609 w 1045071"/>
              <a:gd name="connsiteY19" fmla="*/ 403260 h 1012881"/>
              <a:gd name="connsiteX20" fmla="*/ 542039 w 1045071"/>
              <a:gd name="connsiteY20" fmla="*/ 424215 h 1012881"/>
              <a:gd name="connsiteX21" fmla="*/ 565852 w 1045071"/>
              <a:gd name="connsiteY21" fmla="*/ 413737 h 1012881"/>
              <a:gd name="connsiteX22" fmla="*/ 556327 w 1045071"/>
              <a:gd name="connsiteY22" fmla="*/ 391830 h 1012881"/>
              <a:gd name="connsiteX23" fmla="*/ 543111 w 1045071"/>
              <a:gd name="connsiteY23" fmla="*/ 391473 h 1012881"/>
              <a:gd name="connsiteX24" fmla="*/ 734563 w 1045071"/>
              <a:gd name="connsiteY24" fmla="*/ 375280 h 1012881"/>
              <a:gd name="connsiteX25" fmla="*/ 722062 w 1045071"/>
              <a:gd name="connsiteY25" fmla="*/ 387067 h 1012881"/>
              <a:gd name="connsiteX26" fmla="*/ 732539 w 1045071"/>
              <a:gd name="connsiteY26" fmla="*/ 408974 h 1012881"/>
              <a:gd name="connsiteX27" fmla="*/ 756352 w 1045071"/>
              <a:gd name="connsiteY27" fmla="*/ 398497 h 1012881"/>
              <a:gd name="connsiteX28" fmla="*/ 747779 w 1045071"/>
              <a:gd name="connsiteY28" fmla="*/ 375637 h 1012881"/>
              <a:gd name="connsiteX29" fmla="*/ 734563 w 1045071"/>
              <a:gd name="connsiteY29" fmla="*/ 375280 h 1012881"/>
              <a:gd name="connsiteX30" fmla="*/ 627883 w 1045071"/>
              <a:gd name="connsiteY30" fmla="*/ 288603 h 1012881"/>
              <a:gd name="connsiteX31" fmla="*/ 615380 w 1045071"/>
              <a:gd name="connsiteY31" fmla="*/ 300390 h 1012881"/>
              <a:gd name="connsiteX32" fmla="*/ 625858 w 1045071"/>
              <a:gd name="connsiteY32" fmla="*/ 322297 h 1012881"/>
              <a:gd name="connsiteX33" fmla="*/ 650623 w 1045071"/>
              <a:gd name="connsiteY33" fmla="*/ 310867 h 1012881"/>
              <a:gd name="connsiteX34" fmla="*/ 641098 w 1045071"/>
              <a:gd name="connsiteY34" fmla="*/ 288960 h 1012881"/>
              <a:gd name="connsiteX35" fmla="*/ 627883 w 1045071"/>
              <a:gd name="connsiteY35" fmla="*/ 288603 h 1012881"/>
              <a:gd name="connsiteX36" fmla="*/ 834575 w 1045071"/>
              <a:gd name="connsiteY36" fmla="*/ 253360 h 1012881"/>
              <a:gd name="connsiteX37" fmla="*/ 822074 w 1045071"/>
              <a:gd name="connsiteY37" fmla="*/ 265147 h 1012881"/>
              <a:gd name="connsiteX38" fmla="*/ 832551 w 1045071"/>
              <a:gd name="connsiteY38" fmla="*/ 287054 h 1012881"/>
              <a:gd name="connsiteX39" fmla="*/ 857316 w 1045071"/>
              <a:gd name="connsiteY39" fmla="*/ 276577 h 1012881"/>
              <a:gd name="connsiteX40" fmla="*/ 847791 w 1045071"/>
              <a:gd name="connsiteY40" fmla="*/ 253717 h 1012881"/>
              <a:gd name="connsiteX41" fmla="*/ 834575 w 1045071"/>
              <a:gd name="connsiteY41" fmla="*/ 253360 h 1012881"/>
              <a:gd name="connsiteX42" fmla="*/ 728848 w 1045071"/>
              <a:gd name="connsiteY42" fmla="*/ 166683 h 1012881"/>
              <a:gd name="connsiteX43" fmla="*/ 716345 w 1045071"/>
              <a:gd name="connsiteY43" fmla="*/ 178470 h 1012881"/>
              <a:gd name="connsiteX44" fmla="*/ 726823 w 1045071"/>
              <a:gd name="connsiteY44" fmla="*/ 199425 h 1012881"/>
              <a:gd name="connsiteX45" fmla="*/ 751588 w 1045071"/>
              <a:gd name="connsiteY45" fmla="*/ 188947 h 1012881"/>
              <a:gd name="connsiteX46" fmla="*/ 742063 w 1045071"/>
              <a:gd name="connsiteY46" fmla="*/ 167040 h 1012881"/>
              <a:gd name="connsiteX47" fmla="*/ 728848 w 1045071"/>
              <a:gd name="connsiteY47" fmla="*/ 166683 h 1012881"/>
              <a:gd name="connsiteX48" fmla="*/ 435314 w 1045071"/>
              <a:gd name="connsiteY48" fmla="*/ 66462 h 1012881"/>
              <a:gd name="connsiteX49" fmla="*/ 565851 w 1045071"/>
              <a:gd name="connsiteY49" fmla="*/ 78457 h 1012881"/>
              <a:gd name="connsiteX50" fmla="*/ 511558 w 1045071"/>
              <a:gd name="connsiteY50" fmla="*/ 143227 h 1012881"/>
              <a:gd name="connsiteX51" fmla="*/ 400116 w 1045071"/>
              <a:gd name="connsiteY51" fmla="*/ 249907 h 1012881"/>
              <a:gd name="connsiteX52" fmla="*/ 282958 w 1045071"/>
              <a:gd name="connsiteY52" fmla="*/ 413737 h 1012881"/>
              <a:gd name="connsiteX53" fmla="*/ 188661 w 1045071"/>
              <a:gd name="connsiteY53" fmla="*/ 484222 h 1012881"/>
              <a:gd name="connsiteX54" fmla="*/ 179136 w 1045071"/>
              <a:gd name="connsiteY54" fmla="*/ 567090 h 1012881"/>
              <a:gd name="connsiteX55" fmla="*/ 284863 w 1045071"/>
              <a:gd name="connsiteY55" fmla="*/ 631860 h 1012881"/>
              <a:gd name="connsiteX56" fmla="*/ 377256 w 1045071"/>
              <a:gd name="connsiteY56" fmla="*/ 718537 h 1012881"/>
              <a:gd name="connsiteX57" fmla="*/ 526798 w 1045071"/>
              <a:gd name="connsiteY57" fmla="*/ 847125 h 1012881"/>
              <a:gd name="connsiteX58" fmla="*/ 578233 w 1045071"/>
              <a:gd name="connsiteY58" fmla="*/ 882367 h 1012881"/>
              <a:gd name="connsiteX59" fmla="*/ 615381 w 1045071"/>
              <a:gd name="connsiteY59" fmla="*/ 873795 h 1012881"/>
              <a:gd name="connsiteX60" fmla="*/ 679198 w 1045071"/>
              <a:gd name="connsiteY60" fmla="*/ 779497 h 1012881"/>
              <a:gd name="connsiteX61" fmla="*/ 973521 w 1045071"/>
              <a:gd name="connsiteY61" fmla="*/ 455647 h 1012881"/>
              <a:gd name="connsiteX62" fmla="*/ 872556 w 1045071"/>
              <a:gd name="connsiteY62" fmla="*/ 819502 h 1012881"/>
              <a:gd name="connsiteX63" fmla="*/ 170563 w 1045071"/>
              <a:gd name="connsiteY63" fmla="*/ 912847 h 1012881"/>
              <a:gd name="connsiteX64" fmla="*/ 72456 w 1045071"/>
              <a:gd name="connsiteY64" fmla="*/ 279435 h 1012881"/>
              <a:gd name="connsiteX65" fmla="*/ 435314 w 1045071"/>
              <a:gd name="connsiteY65" fmla="*/ 66462 h 1012881"/>
              <a:gd name="connsiteX66" fmla="*/ 700392 w 1045071"/>
              <a:gd name="connsiteY66" fmla="*/ 352 h 1012881"/>
              <a:gd name="connsiteX67" fmla="*/ 732538 w 1045071"/>
              <a:gd name="connsiteY67" fmla="*/ 9877 h 1012881"/>
              <a:gd name="connsiteX68" fmla="*/ 766828 w 1045071"/>
              <a:gd name="connsiteY68" fmla="*/ 47024 h 1012881"/>
              <a:gd name="connsiteX69" fmla="*/ 780163 w 1045071"/>
              <a:gd name="connsiteY69" fmla="*/ 54644 h 1012881"/>
              <a:gd name="connsiteX70" fmla="*/ 837313 w 1045071"/>
              <a:gd name="connsiteY70" fmla="*/ 96554 h 1012881"/>
              <a:gd name="connsiteX71" fmla="*/ 861126 w 1045071"/>
              <a:gd name="connsiteY71" fmla="*/ 92744 h 1012881"/>
              <a:gd name="connsiteX72" fmla="*/ 883986 w 1045071"/>
              <a:gd name="connsiteY72" fmla="*/ 128939 h 1012881"/>
              <a:gd name="connsiteX73" fmla="*/ 926848 w 1045071"/>
              <a:gd name="connsiteY73" fmla="*/ 129892 h 1012881"/>
              <a:gd name="connsiteX74" fmla="*/ 949708 w 1045071"/>
              <a:gd name="connsiteY74" fmla="*/ 187994 h 1012881"/>
              <a:gd name="connsiteX75" fmla="*/ 945898 w 1045071"/>
              <a:gd name="connsiteY75" fmla="*/ 204187 h 1012881"/>
              <a:gd name="connsiteX76" fmla="*/ 976378 w 1045071"/>
              <a:gd name="connsiteY76" fmla="*/ 196567 h 1012881"/>
              <a:gd name="connsiteX77" fmla="*/ 1043053 w 1045071"/>
              <a:gd name="connsiteY77" fmla="*/ 271814 h 1012881"/>
              <a:gd name="connsiteX78" fmla="*/ 984951 w 1045071"/>
              <a:gd name="connsiteY78" fmla="*/ 328012 h 1012881"/>
              <a:gd name="connsiteX79" fmla="*/ 958281 w 1045071"/>
              <a:gd name="connsiteY79" fmla="*/ 373732 h 1012881"/>
              <a:gd name="connsiteX80" fmla="*/ 950661 w 1045071"/>
              <a:gd name="connsiteY80" fmla="*/ 382304 h 1012881"/>
              <a:gd name="connsiteX81" fmla="*/ 947803 w 1045071"/>
              <a:gd name="connsiteY81" fmla="*/ 388972 h 1012881"/>
              <a:gd name="connsiteX82" fmla="*/ 879223 w 1045071"/>
              <a:gd name="connsiteY82" fmla="*/ 441359 h 1012881"/>
              <a:gd name="connsiteX83" fmla="*/ 866841 w 1045071"/>
              <a:gd name="connsiteY83" fmla="*/ 506129 h 1012881"/>
              <a:gd name="connsiteX84" fmla="*/ 804928 w 1045071"/>
              <a:gd name="connsiteY84" fmla="*/ 519464 h 1012881"/>
              <a:gd name="connsiteX85" fmla="*/ 759208 w 1045071"/>
              <a:gd name="connsiteY85" fmla="*/ 598522 h 1012881"/>
              <a:gd name="connsiteX86" fmla="*/ 700153 w 1045071"/>
              <a:gd name="connsiteY86" fmla="*/ 667102 h 1012881"/>
              <a:gd name="connsiteX87" fmla="*/ 642051 w 1045071"/>
              <a:gd name="connsiteY87" fmla="*/ 727109 h 1012881"/>
              <a:gd name="connsiteX88" fmla="*/ 619191 w 1045071"/>
              <a:gd name="connsiteY88" fmla="*/ 784259 h 1012881"/>
              <a:gd name="connsiteX89" fmla="*/ 522036 w 1045071"/>
              <a:gd name="connsiteY89" fmla="*/ 770924 h 1012881"/>
              <a:gd name="connsiteX90" fmla="*/ 512511 w 1045071"/>
              <a:gd name="connsiteY90" fmla="*/ 744254 h 1012881"/>
              <a:gd name="connsiteX91" fmla="*/ 462028 w 1045071"/>
              <a:gd name="connsiteY91" fmla="*/ 691867 h 1012881"/>
              <a:gd name="connsiteX92" fmla="*/ 407736 w 1045071"/>
              <a:gd name="connsiteY92" fmla="*/ 643289 h 1012881"/>
              <a:gd name="connsiteX93" fmla="*/ 341061 w 1045071"/>
              <a:gd name="connsiteY93" fmla="*/ 579472 h 1012881"/>
              <a:gd name="connsiteX94" fmla="*/ 263908 w 1045071"/>
              <a:gd name="connsiteY94" fmla="*/ 568994 h 1012881"/>
              <a:gd name="connsiteX95" fmla="*/ 249621 w 1045071"/>
              <a:gd name="connsiteY95" fmla="*/ 513749 h 1012881"/>
              <a:gd name="connsiteX96" fmla="*/ 343918 w 1045071"/>
              <a:gd name="connsiteY96" fmla="*/ 454694 h 1012881"/>
              <a:gd name="connsiteX97" fmla="*/ 342966 w 1045071"/>
              <a:gd name="connsiteY97" fmla="*/ 393734 h 1012881"/>
              <a:gd name="connsiteX98" fmla="*/ 397258 w 1045071"/>
              <a:gd name="connsiteY98" fmla="*/ 358492 h 1012881"/>
              <a:gd name="connsiteX99" fmla="*/ 443931 w 1045071"/>
              <a:gd name="connsiteY99" fmla="*/ 291817 h 1012881"/>
              <a:gd name="connsiteX100" fmla="*/ 453456 w 1045071"/>
              <a:gd name="connsiteY100" fmla="*/ 277529 h 1012881"/>
              <a:gd name="connsiteX101" fmla="*/ 502033 w 1045071"/>
              <a:gd name="connsiteY101" fmla="*/ 228952 h 1012881"/>
              <a:gd name="connsiteX102" fmla="*/ 524893 w 1045071"/>
              <a:gd name="connsiteY102" fmla="*/ 210854 h 1012881"/>
              <a:gd name="connsiteX103" fmla="*/ 579186 w 1045071"/>
              <a:gd name="connsiteY103" fmla="*/ 165134 h 1012881"/>
              <a:gd name="connsiteX104" fmla="*/ 592521 w 1045071"/>
              <a:gd name="connsiteY104" fmla="*/ 149894 h 1012881"/>
              <a:gd name="connsiteX105" fmla="*/ 628716 w 1045071"/>
              <a:gd name="connsiteY105" fmla="*/ 95602 h 1012881"/>
              <a:gd name="connsiteX106" fmla="*/ 633478 w 1045071"/>
              <a:gd name="connsiteY106" fmla="*/ 94649 h 1012881"/>
              <a:gd name="connsiteX107" fmla="*/ 657291 w 1045071"/>
              <a:gd name="connsiteY107" fmla="*/ 90839 h 1012881"/>
              <a:gd name="connsiteX108" fmla="*/ 675388 w 1045071"/>
              <a:gd name="connsiteY108" fmla="*/ 16544 h 1012881"/>
              <a:gd name="connsiteX109" fmla="*/ 700392 w 1045071"/>
              <a:gd name="connsiteY109" fmla="*/ 352 h 10128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</a:cxnLst>
            <a:rect l="l" t="t" r="r" b="b"/>
            <a:pathLst>
              <a:path w="1045071" h="1012881">
                <a:moveTo>
                  <a:pt x="558351" y="586735"/>
                </a:moveTo>
                <a:cubicBezTo>
                  <a:pt x="552993" y="588044"/>
                  <a:pt x="547754" y="591378"/>
                  <a:pt x="545849" y="598522"/>
                </a:cubicBezTo>
                <a:cubicBezTo>
                  <a:pt x="543943" y="607094"/>
                  <a:pt x="547754" y="616619"/>
                  <a:pt x="556326" y="620429"/>
                </a:cubicBezTo>
                <a:cubicBezTo>
                  <a:pt x="564899" y="624239"/>
                  <a:pt x="577281" y="619477"/>
                  <a:pt x="580139" y="609952"/>
                </a:cubicBezTo>
                <a:cubicBezTo>
                  <a:pt x="582044" y="604237"/>
                  <a:pt x="583949" y="593759"/>
                  <a:pt x="571566" y="587092"/>
                </a:cubicBezTo>
                <a:cubicBezTo>
                  <a:pt x="569185" y="586140"/>
                  <a:pt x="563709" y="585425"/>
                  <a:pt x="558351" y="586735"/>
                </a:cubicBezTo>
                <a:close/>
                <a:moveTo>
                  <a:pt x="450718" y="499105"/>
                </a:moveTo>
                <a:cubicBezTo>
                  <a:pt x="445360" y="500414"/>
                  <a:pt x="440121" y="503748"/>
                  <a:pt x="438216" y="510892"/>
                </a:cubicBezTo>
                <a:cubicBezTo>
                  <a:pt x="436310" y="519464"/>
                  <a:pt x="440121" y="528989"/>
                  <a:pt x="448693" y="532799"/>
                </a:cubicBezTo>
                <a:cubicBezTo>
                  <a:pt x="458218" y="536609"/>
                  <a:pt x="470601" y="531847"/>
                  <a:pt x="473458" y="522322"/>
                </a:cubicBezTo>
                <a:cubicBezTo>
                  <a:pt x="476316" y="516607"/>
                  <a:pt x="477268" y="506129"/>
                  <a:pt x="463933" y="499462"/>
                </a:cubicBezTo>
                <a:cubicBezTo>
                  <a:pt x="461552" y="498510"/>
                  <a:pt x="456076" y="497795"/>
                  <a:pt x="450718" y="499105"/>
                </a:cubicBezTo>
                <a:close/>
                <a:moveTo>
                  <a:pt x="649790" y="479103"/>
                </a:moveTo>
                <a:cubicBezTo>
                  <a:pt x="644433" y="480412"/>
                  <a:pt x="639194" y="483746"/>
                  <a:pt x="637289" y="490890"/>
                </a:cubicBezTo>
                <a:cubicBezTo>
                  <a:pt x="635383" y="499462"/>
                  <a:pt x="639193" y="508987"/>
                  <a:pt x="647766" y="512797"/>
                </a:cubicBezTo>
                <a:cubicBezTo>
                  <a:pt x="656339" y="516607"/>
                  <a:pt x="668721" y="511845"/>
                  <a:pt x="671579" y="502320"/>
                </a:cubicBezTo>
                <a:cubicBezTo>
                  <a:pt x="673483" y="495652"/>
                  <a:pt x="674436" y="486127"/>
                  <a:pt x="663006" y="479460"/>
                </a:cubicBezTo>
                <a:cubicBezTo>
                  <a:pt x="660625" y="478508"/>
                  <a:pt x="655148" y="477793"/>
                  <a:pt x="649790" y="479103"/>
                </a:cubicBezTo>
                <a:close/>
                <a:moveTo>
                  <a:pt x="543111" y="391473"/>
                </a:moveTo>
                <a:cubicBezTo>
                  <a:pt x="537753" y="392782"/>
                  <a:pt x="532514" y="396116"/>
                  <a:pt x="530609" y="403260"/>
                </a:cubicBezTo>
                <a:cubicBezTo>
                  <a:pt x="528704" y="411832"/>
                  <a:pt x="532514" y="421357"/>
                  <a:pt x="542039" y="424215"/>
                </a:cubicBezTo>
                <a:cubicBezTo>
                  <a:pt x="550611" y="428025"/>
                  <a:pt x="562994" y="423262"/>
                  <a:pt x="565852" y="413737"/>
                </a:cubicBezTo>
                <a:cubicBezTo>
                  <a:pt x="567756" y="408022"/>
                  <a:pt x="569661" y="398497"/>
                  <a:pt x="556327" y="391830"/>
                </a:cubicBezTo>
                <a:cubicBezTo>
                  <a:pt x="553946" y="390878"/>
                  <a:pt x="548469" y="390163"/>
                  <a:pt x="543111" y="391473"/>
                </a:cubicBezTo>
                <a:close/>
                <a:moveTo>
                  <a:pt x="734563" y="375280"/>
                </a:moveTo>
                <a:cubicBezTo>
                  <a:pt x="729205" y="376589"/>
                  <a:pt x="723967" y="379923"/>
                  <a:pt x="722062" y="387067"/>
                </a:cubicBezTo>
                <a:cubicBezTo>
                  <a:pt x="720156" y="395639"/>
                  <a:pt x="723966" y="405164"/>
                  <a:pt x="732539" y="408974"/>
                </a:cubicBezTo>
                <a:cubicBezTo>
                  <a:pt x="741112" y="412784"/>
                  <a:pt x="753494" y="408022"/>
                  <a:pt x="756352" y="398497"/>
                </a:cubicBezTo>
                <a:cubicBezTo>
                  <a:pt x="758256" y="392782"/>
                  <a:pt x="760162" y="383257"/>
                  <a:pt x="747779" y="375637"/>
                </a:cubicBezTo>
                <a:cubicBezTo>
                  <a:pt x="745398" y="374685"/>
                  <a:pt x="739921" y="373970"/>
                  <a:pt x="734563" y="375280"/>
                </a:cubicBezTo>
                <a:close/>
                <a:moveTo>
                  <a:pt x="627883" y="288603"/>
                </a:moveTo>
                <a:cubicBezTo>
                  <a:pt x="622525" y="289912"/>
                  <a:pt x="617286" y="293246"/>
                  <a:pt x="615380" y="300390"/>
                </a:cubicBezTo>
                <a:cubicBezTo>
                  <a:pt x="613476" y="308962"/>
                  <a:pt x="617286" y="318487"/>
                  <a:pt x="625858" y="322297"/>
                </a:cubicBezTo>
                <a:cubicBezTo>
                  <a:pt x="634430" y="326107"/>
                  <a:pt x="646813" y="320392"/>
                  <a:pt x="650623" y="310867"/>
                </a:cubicBezTo>
                <a:cubicBezTo>
                  <a:pt x="652528" y="305152"/>
                  <a:pt x="654433" y="295627"/>
                  <a:pt x="641098" y="288960"/>
                </a:cubicBezTo>
                <a:cubicBezTo>
                  <a:pt x="638717" y="288008"/>
                  <a:pt x="633241" y="287293"/>
                  <a:pt x="627883" y="288603"/>
                </a:cubicBezTo>
                <a:close/>
                <a:moveTo>
                  <a:pt x="834575" y="253360"/>
                </a:moveTo>
                <a:cubicBezTo>
                  <a:pt x="829217" y="254669"/>
                  <a:pt x="823979" y="258003"/>
                  <a:pt x="822074" y="265147"/>
                </a:cubicBezTo>
                <a:cubicBezTo>
                  <a:pt x="820168" y="273719"/>
                  <a:pt x="823978" y="283244"/>
                  <a:pt x="832551" y="287054"/>
                </a:cubicBezTo>
                <a:cubicBezTo>
                  <a:pt x="842076" y="290864"/>
                  <a:pt x="854458" y="286102"/>
                  <a:pt x="857316" y="276577"/>
                </a:cubicBezTo>
                <a:cubicBezTo>
                  <a:pt x="859221" y="270862"/>
                  <a:pt x="861126" y="260384"/>
                  <a:pt x="847791" y="253717"/>
                </a:cubicBezTo>
                <a:cubicBezTo>
                  <a:pt x="845410" y="252765"/>
                  <a:pt x="839933" y="252050"/>
                  <a:pt x="834575" y="253360"/>
                </a:cubicBezTo>
                <a:close/>
                <a:moveTo>
                  <a:pt x="728848" y="166683"/>
                </a:moveTo>
                <a:cubicBezTo>
                  <a:pt x="723490" y="167992"/>
                  <a:pt x="718251" y="171326"/>
                  <a:pt x="716345" y="178470"/>
                </a:cubicBezTo>
                <a:cubicBezTo>
                  <a:pt x="714441" y="187042"/>
                  <a:pt x="718251" y="196567"/>
                  <a:pt x="726823" y="199425"/>
                </a:cubicBezTo>
                <a:cubicBezTo>
                  <a:pt x="736348" y="203235"/>
                  <a:pt x="748731" y="198472"/>
                  <a:pt x="751588" y="188947"/>
                </a:cubicBezTo>
                <a:cubicBezTo>
                  <a:pt x="753493" y="183232"/>
                  <a:pt x="755398" y="173707"/>
                  <a:pt x="742063" y="167040"/>
                </a:cubicBezTo>
                <a:cubicBezTo>
                  <a:pt x="739682" y="166088"/>
                  <a:pt x="734206" y="165373"/>
                  <a:pt x="728848" y="166683"/>
                </a:cubicBezTo>
                <a:close/>
                <a:moveTo>
                  <a:pt x="435314" y="66462"/>
                </a:moveTo>
                <a:cubicBezTo>
                  <a:pt x="480007" y="65480"/>
                  <a:pt x="524179" y="70123"/>
                  <a:pt x="565851" y="78457"/>
                </a:cubicBezTo>
                <a:lnTo>
                  <a:pt x="511558" y="143227"/>
                </a:lnTo>
                <a:lnTo>
                  <a:pt x="400116" y="249907"/>
                </a:lnTo>
                <a:lnTo>
                  <a:pt x="282958" y="413737"/>
                </a:lnTo>
                <a:lnTo>
                  <a:pt x="188661" y="484222"/>
                </a:lnTo>
                <a:lnTo>
                  <a:pt x="179136" y="567090"/>
                </a:lnTo>
                <a:lnTo>
                  <a:pt x="284863" y="631860"/>
                </a:lnTo>
                <a:lnTo>
                  <a:pt x="377256" y="718537"/>
                </a:lnTo>
                <a:lnTo>
                  <a:pt x="526798" y="847125"/>
                </a:lnTo>
                <a:lnTo>
                  <a:pt x="578233" y="882367"/>
                </a:lnTo>
                <a:lnTo>
                  <a:pt x="615381" y="873795"/>
                </a:lnTo>
                <a:lnTo>
                  <a:pt x="679198" y="779497"/>
                </a:lnTo>
                <a:lnTo>
                  <a:pt x="973521" y="455647"/>
                </a:lnTo>
                <a:cubicBezTo>
                  <a:pt x="1004001" y="603285"/>
                  <a:pt x="935421" y="730920"/>
                  <a:pt x="872556" y="819502"/>
                </a:cubicBezTo>
                <a:cubicBezTo>
                  <a:pt x="718251" y="1037625"/>
                  <a:pt x="374398" y="1074772"/>
                  <a:pt x="170563" y="912847"/>
                </a:cubicBezTo>
                <a:cubicBezTo>
                  <a:pt x="-23747" y="758542"/>
                  <a:pt x="-45654" y="486127"/>
                  <a:pt x="72456" y="279435"/>
                </a:cubicBezTo>
                <a:cubicBezTo>
                  <a:pt x="162467" y="122987"/>
                  <a:pt x="301234" y="69409"/>
                  <a:pt x="435314" y="66462"/>
                </a:cubicBezTo>
                <a:close/>
                <a:moveTo>
                  <a:pt x="700392" y="352"/>
                </a:moveTo>
                <a:cubicBezTo>
                  <a:pt x="711346" y="-1077"/>
                  <a:pt x="723490" y="1781"/>
                  <a:pt x="732538" y="9877"/>
                </a:cubicBezTo>
                <a:cubicBezTo>
                  <a:pt x="744921" y="21307"/>
                  <a:pt x="755398" y="34642"/>
                  <a:pt x="766828" y="47024"/>
                </a:cubicBezTo>
                <a:cubicBezTo>
                  <a:pt x="770638" y="50834"/>
                  <a:pt x="775401" y="54644"/>
                  <a:pt x="780163" y="54644"/>
                </a:cubicBezTo>
                <a:cubicBezTo>
                  <a:pt x="808738" y="55597"/>
                  <a:pt x="827788" y="67979"/>
                  <a:pt x="837313" y="96554"/>
                </a:cubicBezTo>
                <a:cubicBezTo>
                  <a:pt x="845886" y="94649"/>
                  <a:pt x="853506" y="91792"/>
                  <a:pt x="861126" y="92744"/>
                </a:cubicBezTo>
                <a:cubicBezTo>
                  <a:pt x="868746" y="93697"/>
                  <a:pt x="882081" y="124177"/>
                  <a:pt x="883986" y="128939"/>
                </a:cubicBezTo>
                <a:cubicBezTo>
                  <a:pt x="891606" y="149894"/>
                  <a:pt x="911608" y="122272"/>
                  <a:pt x="926848" y="129892"/>
                </a:cubicBezTo>
                <a:cubicBezTo>
                  <a:pt x="956376" y="144179"/>
                  <a:pt x="962091" y="157514"/>
                  <a:pt x="949708" y="187994"/>
                </a:cubicBezTo>
                <a:cubicBezTo>
                  <a:pt x="947803" y="192757"/>
                  <a:pt x="947803" y="196567"/>
                  <a:pt x="945898" y="204187"/>
                </a:cubicBezTo>
                <a:cubicBezTo>
                  <a:pt x="958281" y="201329"/>
                  <a:pt x="966853" y="199424"/>
                  <a:pt x="976378" y="196567"/>
                </a:cubicBezTo>
                <a:cubicBezTo>
                  <a:pt x="1033528" y="179422"/>
                  <a:pt x="1051626" y="231809"/>
                  <a:pt x="1043053" y="271814"/>
                </a:cubicBezTo>
                <a:cubicBezTo>
                  <a:pt x="1035433" y="303247"/>
                  <a:pt x="1012573" y="317534"/>
                  <a:pt x="984951" y="328012"/>
                </a:cubicBezTo>
                <a:cubicBezTo>
                  <a:pt x="990666" y="351824"/>
                  <a:pt x="982093" y="367064"/>
                  <a:pt x="958281" y="373732"/>
                </a:cubicBezTo>
                <a:cubicBezTo>
                  <a:pt x="955423" y="374684"/>
                  <a:pt x="952566" y="378494"/>
                  <a:pt x="950661" y="382304"/>
                </a:cubicBezTo>
                <a:cubicBezTo>
                  <a:pt x="948756" y="384209"/>
                  <a:pt x="948756" y="387067"/>
                  <a:pt x="947803" y="388972"/>
                </a:cubicBezTo>
                <a:cubicBezTo>
                  <a:pt x="940183" y="424214"/>
                  <a:pt x="918276" y="442312"/>
                  <a:pt x="879223" y="441359"/>
                </a:cubicBezTo>
                <a:cubicBezTo>
                  <a:pt x="883986" y="465172"/>
                  <a:pt x="882081" y="488984"/>
                  <a:pt x="866841" y="506129"/>
                </a:cubicBezTo>
                <a:cubicBezTo>
                  <a:pt x="850648" y="523274"/>
                  <a:pt x="828741" y="528037"/>
                  <a:pt x="804928" y="519464"/>
                </a:cubicBezTo>
                <a:cubicBezTo>
                  <a:pt x="807786" y="578519"/>
                  <a:pt x="802071" y="588997"/>
                  <a:pt x="759208" y="598522"/>
                </a:cubicBezTo>
                <a:cubicBezTo>
                  <a:pt x="763018" y="636622"/>
                  <a:pt x="755398" y="644242"/>
                  <a:pt x="700153" y="667102"/>
                </a:cubicBezTo>
                <a:cubicBezTo>
                  <a:pt x="702058" y="693772"/>
                  <a:pt x="673483" y="724252"/>
                  <a:pt x="642051" y="727109"/>
                </a:cubicBezTo>
                <a:cubicBezTo>
                  <a:pt x="634431" y="747112"/>
                  <a:pt x="630621" y="768067"/>
                  <a:pt x="619191" y="784259"/>
                </a:cubicBezTo>
                <a:cubicBezTo>
                  <a:pt x="589663" y="825217"/>
                  <a:pt x="545848" y="815692"/>
                  <a:pt x="522036" y="770924"/>
                </a:cubicBezTo>
                <a:cubicBezTo>
                  <a:pt x="517273" y="763304"/>
                  <a:pt x="515368" y="753779"/>
                  <a:pt x="512511" y="744254"/>
                </a:cubicBezTo>
                <a:cubicBezTo>
                  <a:pt x="480126" y="741397"/>
                  <a:pt x="467743" y="720442"/>
                  <a:pt x="462028" y="691867"/>
                </a:cubicBezTo>
                <a:cubicBezTo>
                  <a:pt x="418213" y="687104"/>
                  <a:pt x="413451" y="682342"/>
                  <a:pt x="407736" y="643289"/>
                </a:cubicBezTo>
                <a:cubicBezTo>
                  <a:pt x="358206" y="646147"/>
                  <a:pt x="345823" y="634717"/>
                  <a:pt x="341061" y="579472"/>
                </a:cubicBezTo>
                <a:cubicBezTo>
                  <a:pt x="314391" y="577567"/>
                  <a:pt x="283911" y="595664"/>
                  <a:pt x="263908" y="568994"/>
                </a:cubicBezTo>
                <a:cubicBezTo>
                  <a:pt x="253431" y="554707"/>
                  <a:pt x="249621" y="531847"/>
                  <a:pt x="249621" y="513749"/>
                </a:cubicBezTo>
                <a:cubicBezTo>
                  <a:pt x="250573" y="468982"/>
                  <a:pt x="282006" y="449932"/>
                  <a:pt x="343918" y="454694"/>
                </a:cubicBezTo>
                <a:cubicBezTo>
                  <a:pt x="333441" y="433739"/>
                  <a:pt x="329631" y="409927"/>
                  <a:pt x="342966" y="393734"/>
                </a:cubicBezTo>
                <a:cubicBezTo>
                  <a:pt x="354396" y="378494"/>
                  <a:pt x="376303" y="370874"/>
                  <a:pt x="397258" y="358492"/>
                </a:cubicBezTo>
                <a:cubicBezTo>
                  <a:pt x="393448" y="326107"/>
                  <a:pt x="408688" y="303247"/>
                  <a:pt x="443931" y="291817"/>
                </a:cubicBezTo>
                <a:cubicBezTo>
                  <a:pt x="448693" y="290864"/>
                  <a:pt x="453456" y="282292"/>
                  <a:pt x="453456" y="277529"/>
                </a:cubicBezTo>
                <a:cubicBezTo>
                  <a:pt x="455361" y="245144"/>
                  <a:pt x="468696" y="229904"/>
                  <a:pt x="502033" y="228952"/>
                </a:cubicBezTo>
                <a:cubicBezTo>
                  <a:pt x="515368" y="227999"/>
                  <a:pt x="521083" y="226094"/>
                  <a:pt x="524893" y="210854"/>
                </a:cubicBezTo>
                <a:cubicBezTo>
                  <a:pt x="531561" y="184184"/>
                  <a:pt x="549658" y="166087"/>
                  <a:pt x="579186" y="165134"/>
                </a:cubicBezTo>
                <a:cubicBezTo>
                  <a:pt x="590616" y="165134"/>
                  <a:pt x="594426" y="161324"/>
                  <a:pt x="592521" y="149894"/>
                </a:cubicBezTo>
                <a:cubicBezTo>
                  <a:pt x="586806" y="121319"/>
                  <a:pt x="600141" y="101317"/>
                  <a:pt x="628716" y="95602"/>
                </a:cubicBezTo>
                <a:cubicBezTo>
                  <a:pt x="629668" y="95602"/>
                  <a:pt x="631573" y="95602"/>
                  <a:pt x="633478" y="94649"/>
                </a:cubicBezTo>
                <a:cubicBezTo>
                  <a:pt x="640146" y="93697"/>
                  <a:pt x="648718" y="92744"/>
                  <a:pt x="657291" y="90839"/>
                </a:cubicBezTo>
                <a:cubicBezTo>
                  <a:pt x="648718" y="62264"/>
                  <a:pt x="663958" y="39404"/>
                  <a:pt x="675388" y="16544"/>
                </a:cubicBezTo>
                <a:cubicBezTo>
                  <a:pt x="679675" y="7496"/>
                  <a:pt x="689438" y="1781"/>
                  <a:pt x="700392" y="352"/>
                </a:cubicBezTo>
                <a:close/>
              </a:path>
            </a:pathLst>
          </a:custGeom>
          <a:solidFill>
            <a:schemeClr val="accent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666666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03" name="TextBox 102">
            <a:extLst>
              <a:ext uri="{FF2B5EF4-FFF2-40B4-BE49-F238E27FC236}">
                <a16:creationId xmlns:a16="http://schemas.microsoft.com/office/drawing/2014/main" id="{03F4D62D-A980-495C-849E-7E8CE1565906}"/>
              </a:ext>
            </a:extLst>
          </p:cNvPr>
          <p:cNvSpPr txBox="1"/>
          <p:nvPr/>
        </p:nvSpPr>
        <p:spPr>
          <a:xfrm>
            <a:off x="2968587" y="2490025"/>
            <a:ext cx="175845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400" b="0" i="0" u="none" strike="noStrike" kern="1200" cap="none" spc="0" normalizeH="0" baseline="0" noProof="0" dirty="0">
                <a:ln>
                  <a:noFill/>
                </a:ln>
                <a:solidFill>
                  <a:srgbClr val="E18719"/>
                </a:solidFill>
                <a:effectLst/>
                <a:uLnTx/>
                <a:uFillTx/>
                <a:latin typeface="MDLZ BITE TYPE"/>
                <a:ea typeface="+mn-ea"/>
                <a:cs typeface="+mn-cs"/>
              </a:rPr>
              <a:t>Capriata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400" b="0" i="0" u="none" strike="noStrike" kern="1200" cap="none" spc="0" normalizeH="0" baseline="0" noProof="0" dirty="0">
              <a:ln>
                <a:noFill/>
              </a:ln>
              <a:solidFill>
                <a:srgbClr val="E18719"/>
              </a:solidFill>
              <a:effectLst/>
              <a:uLnTx/>
              <a:uFillTx/>
              <a:latin typeface="MDLZ BITE TYPE"/>
              <a:ea typeface="+mn-ea"/>
              <a:cs typeface="+mn-cs"/>
            </a:endParaRPr>
          </a:p>
        </p:txBody>
      </p:sp>
      <p:sp>
        <p:nvSpPr>
          <p:cNvPr id="104" name="Graphic 212">
            <a:extLst>
              <a:ext uri="{FF2B5EF4-FFF2-40B4-BE49-F238E27FC236}">
                <a16:creationId xmlns:a16="http://schemas.microsoft.com/office/drawing/2014/main" id="{BE298EE2-AC32-4CDE-95E8-2C820A9B028B}"/>
              </a:ext>
            </a:extLst>
          </p:cNvPr>
          <p:cNvSpPr/>
          <p:nvPr/>
        </p:nvSpPr>
        <p:spPr>
          <a:xfrm>
            <a:off x="4906083" y="2646337"/>
            <a:ext cx="187522" cy="210917"/>
          </a:xfrm>
          <a:custGeom>
            <a:avLst/>
            <a:gdLst>
              <a:gd name="connsiteX0" fmla="*/ 366854 w 363759"/>
              <a:gd name="connsiteY0" fmla="*/ 132634 h 521208"/>
              <a:gd name="connsiteX1" fmla="*/ 355290 w 363759"/>
              <a:gd name="connsiteY1" fmla="*/ 94630 h 521208"/>
              <a:gd name="connsiteX2" fmla="*/ 309847 w 363759"/>
              <a:gd name="connsiteY2" fmla="*/ 35451 h 521208"/>
              <a:gd name="connsiteX3" fmla="*/ 303169 w 363759"/>
              <a:gd name="connsiteY3" fmla="*/ 27524 h 521208"/>
              <a:gd name="connsiteX4" fmla="*/ 299912 w 363759"/>
              <a:gd name="connsiteY4" fmla="*/ 24647 h 521208"/>
              <a:gd name="connsiteX5" fmla="*/ 288402 w 363759"/>
              <a:gd name="connsiteY5" fmla="*/ 17806 h 521208"/>
              <a:gd name="connsiteX6" fmla="*/ 273471 w 363759"/>
              <a:gd name="connsiteY6" fmla="*/ 11291 h 521208"/>
              <a:gd name="connsiteX7" fmla="*/ 239864 w 363759"/>
              <a:gd name="connsiteY7" fmla="*/ 4070 h 521208"/>
              <a:gd name="connsiteX8" fmla="*/ 161032 w 363759"/>
              <a:gd name="connsiteY8" fmla="*/ 3744 h 521208"/>
              <a:gd name="connsiteX9" fmla="*/ 139315 w 363759"/>
              <a:gd name="connsiteY9" fmla="*/ 8847 h 521208"/>
              <a:gd name="connsiteX10" fmla="*/ 113417 w 363759"/>
              <a:gd name="connsiteY10" fmla="*/ 15688 h 521208"/>
              <a:gd name="connsiteX11" fmla="*/ 67703 w 363759"/>
              <a:gd name="connsiteY11" fmla="*/ 43432 h 521208"/>
              <a:gd name="connsiteX12" fmla="*/ 32847 w 363759"/>
              <a:gd name="connsiteY12" fmla="*/ 82414 h 521208"/>
              <a:gd name="connsiteX13" fmla="*/ 27146 w 363759"/>
              <a:gd name="connsiteY13" fmla="*/ 90992 h 521208"/>
              <a:gd name="connsiteX14" fmla="*/ 9773 w 363759"/>
              <a:gd name="connsiteY14" fmla="*/ 128997 h 521208"/>
              <a:gd name="connsiteX15" fmla="*/ 4072 w 363759"/>
              <a:gd name="connsiteY15" fmla="*/ 149031 h 521208"/>
              <a:gd name="connsiteX16" fmla="*/ 0 w 363759"/>
              <a:gd name="connsiteY16" fmla="*/ 190727 h 521208"/>
              <a:gd name="connsiteX17" fmla="*/ 0 w 363759"/>
              <a:gd name="connsiteY17" fmla="*/ 190727 h 521208"/>
              <a:gd name="connsiteX18" fmla="*/ 760 w 363759"/>
              <a:gd name="connsiteY18" fmla="*/ 214562 h 521208"/>
              <a:gd name="connsiteX19" fmla="*/ 2335 w 363759"/>
              <a:gd name="connsiteY19" fmla="*/ 223303 h 521208"/>
              <a:gd name="connsiteX20" fmla="*/ 25952 w 363759"/>
              <a:gd name="connsiteY20" fmla="*/ 281396 h 521208"/>
              <a:gd name="connsiteX21" fmla="*/ 31761 w 363759"/>
              <a:gd name="connsiteY21" fmla="*/ 291820 h 521208"/>
              <a:gd name="connsiteX22" fmla="*/ 75195 w 363759"/>
              <a:gd name="connsiteY22" fmla="*/ 359848 h 521208"/>
              <a:gd name="connsiteX23" fmla="*/ 86868 w 363759"/>
              <a:gd name="connsiteY23" fmla="*/ 378959 h 521208"/>
              <a:gd name="connsiteX24" fmla="*/ 107662 w 363759"/>
              <a:gd name="connsiteY24" fmla="*/ 413435 h 521208"/>
              <a:gd name="connsiteX25" fmla="*/ 112277 w 363759"/>
              <a:gd name="connsiteY25" fmla="*/ 421090 h 521208"/>
              <a:gd name="connsiteX26" fmla="*/ 133342 w 363759"/>
              <a:gd name="connsiteY26" fmla="*/ 451983 h 521208"/>
              <a:gd name="connsiteX27" fmla="*/ 161249 w 363759"/>
              <a:gd name="connsiteY27" fmla="*/ 487056 h 521208"/>
              <a:gd name="connsiteX28" fmla="*/ 186332 w 363759"/>
              <a:gd name="connsiteY28" fmla="*/ 516754 h 521208"/>
              <a:gd name="connsiteX29" fmla="*/ 208429 w 363759"/>
              <a:gd name="connsiteY29" fmla="*/ 521260 h 521208"/>
              <a:gd name="connsiteX30" fmla="*/ 232480 w 363759"/>
              <a:gd name="connsiteY30" fmla="*/ 501715 h 521208"/>
              <a:gd name="connsiteX31" fmla="*/ 243773 w 363759"/>
              <a:gd name="connsiteY31" fmla="*/ 484124 h 521208"/>
              <a:gd name="connsiteX32" fmla="*/ 264242 w 363759"/>
              <a:gd name="connsiteY32" fmla="*/ 444273 h 521208"/>
              <a:gd name="connsiteX33" fmla="*/ 300726 w 363759"/>
              <a:gd name="connsiteY33" fmla="*/ 370544 h 521208"/>
              <a:gd name="connsiteX34" fmla="*/ 324669 w 363759"/>
              <a:gd name="connsiteY34" fmla="*/ 317555 h 521208"/>
              <a:gd name="connsiteX35" fmla="*/ 346386 w 363759"/>
              <a:gd name="connsiteY35" fmla="*/ 266900 h 521208"/>
              <a:gd name="connsiteX36" fmla="*/ 358331 w 363759"/>
              <a:gd name="connsiteY36" fmla="*/ 233130 h 521208"/>
              <a:gd name="connsiteX37" fmla="*/ 361262 w 363759"/>
              <a:gd name="connsiteY37" fmla="*/ 221511 h 521208"/>
              <a:gd name="connsiteX38" fmla="*/ 367995 w 363759"/>
              <a:gd name="connsiteY38" fmla="*/ 180412 h 521208"/>
              <a:gd name="connsiteX39" fmla="*/ 366854 w 363759"/>
              <a:gd name="connsiteY39" fmla="*/ 132634 h 521208"/>
              <a:gd name="connsiteX40" fmla="*/ 247411 w 363759"/>
              <a:gd name="connsiteY40" fmla="*/ 184755 h 521208"/>
              <a:gd name="connsiteX41" fmla="*/ 230146 w 363759"/>
              <a:gd name="connsiteY41" fmla="*/ 210816 h 521208"/>
              <a:gd name="connsiteX42" fmla="*/ 181988 w 363759"/>
              <a:gd name="connsiteY42" fmla="*/ 231229 h 521208"/>
              <a:gd name="connsiteX43" fmla="*/ 181988 w 363759"/>
              <a:gd name="connsiteY43" fmla="*/ 231229 h 521208"/>
              <a:gd name="connsiteX44" fmla="*/ 158643 w 363759"/>
              <a:gd name="connsiteY44" fmla="*/ 226615 h 521208"/>
              <a:gd name="connsiteX45" fmla="*/ 141161 w 363759"/>
              <a:gd name="connsiteY45" fmla="*/ 211196 h 521208"/>
              <a:gd name="connsiteX46" fmla="*/ 129053 w 363759"/>
              <a:gd name="connsiteY46" fmla="*/ 177643 h 521208"/>
              <a:gd name="connsiteX47" fmla="*/ 127859 w 363759"/>
              <a:gd name="connsiteY47" fmla="*/ 168793 h 521208"/>
              <a:gd name="connsiteX48" fmla="*/ 133288 w 363759"/>
              <a:gd name="connsiteY48" fmla="*/ 135458 h 521208"/>
              <a:gd name="connsiteX49" fmla="*/ 155494 w 363759"/>
              <a:gd name="connsiteY49" fmla="*/ 114392 h 521208"/>
              <a:gd name="connsiteX50" fmla="*/ 181500 w 363759"/>
              <a:gd name="connsiteY50" fmla="*/ 108040 h 521208"/>
              <a:gd name="connsiteX51" fmla="*/ 185952 w 363759"/>
              <a:gd name="connsiteY51" fmla="*/ 108040 h 521208"/>
              <a:gd name="connsiteX52" fmla="*/ 205063 w 363759"/>
              <a:gd name="connsiteY52" fmla="*/ 110103 h 521208"/>
              <a:gd name="connsiteX53" fmla="*/ 217713 w 363759"/>
              <a:gd name="connsiteY53" fmla="*/ 114229 h 521208"/>
              <a:gd name="connsiteX54" fmla="*/ 235901 w 363759"/>
              <a:gd name="connsiteY54" fmla="*/ 127314 h 521208"/>
              <a:gd name="connsiteX55" fmla="*/ 246759 w 363759"/>
              <a:gd name="connsiteY55" fmla="*/ 142950 h 521208"/>
              <a:gd name="connsiteX56" fmla="*/ 250017 w 363759"/>
              <a:gd name="connsiteY56" fmla="*/ 152831 h 521208"/>
              <a:gd name="connsiteX57" fmla="*/ 247520 w 363759"/>
              <a:gd name="connsiteY57" fmla="*/ 184592 h 5212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</a:cxnLst>
            <a:rect l="l" t="t" r="r" b="b"/>
            <a:pathLst>
              <a:path w="363759" h="521208">
                <a:moveTo>
                  <a:pt x="366854" y="132634"/>
                </a:moveTo>
                <a:cubicBezTo>
                  <a:pt x="365690" y="119298"/>
                  <a:pt x="361751" y="106353"/>
                  <a:pt x="355290" y="94630"/>
                </a:cubicBezTo>
                <a:cubicBezTo>
                  <a:pt x="343586" y="72483"/>
                  <a:pt x="328222" y="52475"/>
                  <a:pt x="309847" y="35451"/>
                </a:cubicBezTo>
                <a:cubicBezTo>
                  <a:pt x="307193" y="33201"/>
                  <a:pt x="304935" y="30522"/>
                  <a:pt x="303169" y="27524"/>
                </a:cubicBezTo>
                <a:cubicBezTo>
                  <a:pt x="302325" y="26322"/>
                  <a:pt x="301209" y="25336"/>
                  <a:pt x="299912" y="24647"/>
                </a:cubicBezTo>
                <a:cubicBezTo>
                  <a:pt x="296057" y="22312"/>
                  <a:pt x="292094" y="20303"/>
                  <a:pt x="288402" y="17806"/>
                </a:cubicBezTo>
                <a:cubicBezTo>
                  <a:pt x="283924" y="14634"/>
                  <a:pt x="278842" y="12417"/>
                  <a:pt x="273471" y="11291"/>
                </a:cubicBezTo>
                <a:cubicBezTo>
                  <a:pt x="262233" y="9227"/>
                  <a:pt x="251049" y="6459"/>
                  <a:pt x="239864" y="4070"/>
                </a:cubicBezTo>
                <a:cubicBezTo>
                  <a:pt x="213866" y="-1245"/>
                  <a:pt x="187073" y="-1355"/>
                  <a:pt x="161032" y="3744"/>
                </a:cubicBezTo>
                <a:cubicBezTo>
                  <a:pt x="153702" y="5047"/>
                  <a:pt x="146644" y="7762"/>
                  <a:pt x="139315" y="8847"/>
                </a:cubicBezTo>
                <a:cubicBezTo>
                  <a:pt x="130462" y="10193"/>
                  <a:pt x="121779" y="12486"/>
                  <a:pt x="113417" y="15688"/>
                </a:cubicBezTo>
                <a:cubicBezTo>
                  <a:pt x="96375" y="21571"/>
                  <a:pt x="80789" y="31031"/>
                  <a:pt x="67703" y="43432"/>
                </a:cubicBezTo>
                <a:cubicBezTo>
                  <a:pt x="55264" y="55669"/>
                  <a:pt x="43622" y="68689"/>
                  <a:pt x="32847" y="82414"/>
                </a:cubicBezTo>
                <a:cubicBezTo>
                  <a:pt x="30660" y="85072"/>
                  <a:pt x="28750" y="87946"/>
                  <a:pt x="27146" y="90992"/>
                </a:cubicBezTo>
                <a:cubicBezTo>
                  <a:pt x="21011" y="103479"/>
                  <a:pt x="13302" y="115261"/>
                  <a:pt x="9773" y="128997"/>
                </a:cubicBezTo>
                <a:cubicBezTo>
                  <a:pt x="7981" y="135729"/>
                  <a:pt x="5429" y="142135"/>
                  <a:pt x="4072" y="149031"/>
                </a:cubicBezTo>
                <a:cubicBezTo>
                  <a:pt x="1521" y="162787"/>
                  <a:pt x="159" y="176737"/>
                  <a:pt x="0" y="190727"/>
                </a:cubicBezTo>
                <a:lnTo>
                  <a:pt x="0" y="190727"/>
                </a:lnTo>
                <a:cubicBezTo>
                  <a:pt x="0" y="198654"/>
                  <a:pt x="326" y="206635"/>
                  <a:pt x="760" y="214562"/>
                </a:cubicBezTo>
                <a:cubicBezTo>
                  <a:pt x="910" y="217530"/>
                  <a:pt x="1439" y="220468"/>
                  <a:pt x="2335" y="223303"/>
                </a:cubicBezTo>
                <a:cubicBezTo>
                  <a:pt x="9004" y="243135"/>
                  <a:pt x="16891" y="262536"/>
                  <a:pt x="25952" y="281396"/>
                </a:cubicBezTo>
                <a:cubicBezTo>
                  <a:pt x="27642" y="285002"/>
                  <a:pt x="29583" y="288486"/>
                  <a:pt x="31761" y="291820"/>
                </a:cubicBezTo>
                <a:cubicBezTo>
                  <a:pt x="46746" y="314188"/>
                  <a:pt x="59667" y="337860"/>
                  <a:pt x="75195" y="359848"/>
                </a:cubicBezTo>
                <a:cubicBezTo>
                  <a:pt x="79435" y="365999"/>
                  <a:pt x="83332" y="372379"/>
                  <a:pt x="86868" y="378959"/>
                </a:cubicBezTo>
                <a:cubicBezTo>
                  <a:pt x="93115" y="390850"/>
                  <a:pt x="100059" y="402362"/>
                  <a:pt x="107662" y="413435"/>
                </a:cubicBezTo>
                <a:cubicBezTo>
                  <a:pt x="109399" y="415878"/>
                  <a:pt x="110594" y="418864"/>
                  <a:pt x="112277" y="421090"/>
                </a:cubicBezTo>
                <a:cubicBezTo>
                  <a:pt x="119172" y="431460"/>
                  <a:pt x="125470" y="442264"/>
                  <a:pt x="133342" y="451983"/>
                </a:cubicBezTo>
                <a:cubicBezTo>
                  <a:pt x="142789" y="463547"/>
                  <a:pt x="152453" y="475003"/>
                  <a:pt x="161249" y="487056"/>
                </a:cubicBezTo>
                <a:cubicBezTo>
                  <a:pt x="168958" y="497534"/>
                  <a:pt x="178459" y="506438"/>
                  <a:pt x="186332" y="516754"/>
                </a:cubicBezTo>
                <a:cubicBezTo>
                  <a:pt x="192351" y="522120"/>
                  <a:pt x="200789" y="523841"/>
                  <a:pt x="208429" y="521260"/>
                </a:cubicBezTo>
                <a:cubicBezTo>
                  <a:pt x="218129" y="517144"/>
                  <a:pt x="226467" y="510368"/>
                  <a:pt x="232480" y="501715"/>
                </a:cubicBezTo>
                <a:cubicBezTo>
                  <a:pt x="236552" y="496285"/>
                  <a:pt x="239973" y="489933"/>
                  <a:pt x="243773" y="484124"/>
                </a:cubicBezTo>
                <a:cubicBezTo>
                  <a:pt x="251612" y="471387"/>
                  <a:pt x="258455" y="458064"/>
                  <a:pt x="264242" y="444273"/>
                </a:cubicBezTo>
                <a:cubicBezTo>
                  <a:pt x="275697" y="419353"/>
                  <a:pt x="288185" y="394921"/>
                  <a:pt x="300726" y="370544"/>
                </a:cubicBezTo>
                <a:cubicBezTo>
                  <a:pt x="309871" y="353430"/>
                  <a:pt x="317870" y="335728"/>
                  <a:pt x="324669" y="317555"/>
                </a:cubicBezTo>
                <a:cubicBezTo>
                  <a:pt x="330549" y="300119"/>
                  <a:pt x="337811" y="283180"/>
                  <a:pt x="346386" y="266900"/>
                </a:cubicBezTo>
                <a:cubicBezTo>
                  <a:pt x="352122" y="256342"/>
                  <a:pt x="356153" y="244945"/>
                  <a:pt x="358331" y="233130"/>
                </a:cubicBezTo>
                <a:cubicBezTo>
                  <a:pt x="359006" y="229187"/>
                  <a:pt x="359986" y="225302"/>
                  <a:pt x="361262" y="221511"/>
                </a:cubicBezTo>
                <a:cubicBezTo>
                  <a:pt x="365481" y="208209"/>
                  <a:pt x="367749" y="194365"/>
                  <a:pt x="367995" y="180412"/>
                </a:cubicBezTo>
                <a:cubicBezTo>
                  <a:pt x="368863" y="164481"/>
                  <a:pt x="368482" y="148506"/>
                  <a:pt x="366854" y="132634"/>
                </a:cubicBezTo>
                <a:close/>
                <a:moveTo>
                  <a:pt x="247411" y="184755"/>
                </a:moveTo>
                <a:cubicBezTo>
                  <a:pt x="243013" y="194269"/>
                  <a:pt x="237191" y="203056"/>
                  <a:pt x="230146" y="210816"/>
                </a:cubicBezTo>
                <a:cubicBezTo>
                  <a:pt x="217649" y="224048"/>
                  <a:pt x="200188" y="231450"/>
                  <a:pt x="181988" y="231229"/>
                </a:cubicBezTo>
                <a:lnTo>
                  <a:pt x="181988" y="231229"/>
                </a:lnTo>
                <a:cubicBezTo>
                  <a:pt x="173970" y="231333"/>
                  <a:pt x="166018" y="229761"/>
                  <a:pt x="158643" y="226615"/>
                </a:cubicBezTo>
                <a:cubicBezTo>
                  <a:pt x="151155" y="223738"/>
                  <a:pt x="144950" y="218266"/>
                  <a:pt x="141161" y="211196"/>
                </a:cubicBezTo>
                <a:cubicBezTo>
                  <a:pt x="135207" y="200799"/>
                  <a:pt x="131110" y="189445"/>
                  <a:pt x="129053" y="177643"/>
                </a:cubicBezTo>
                <a:cubicBezTo>
                  <a:pt x="128619" y="174711"/>
                  <a:pt x="128456" y="171725"/>
                  <a:pt x="127859" y="168793"/>
                </a:cubicBezTo>
                <a:cubicBezTo>
                  <a:pt x="126012" y="157386"/>
                  <a:pt x="127917" y="145688"/>
                  <a:pt x="133288" y="135458"/>
                </a:cubicBezTo>
                <a:cubicBezTo>
                  <a:pt x="137654" y="125805"/>
                  <a:pt x="145624" y="118244"/>
                  <a:pt x="155494" y="114392"/>
                </a:cubicBezTo>
                <a:cubicBezTo>
                  <a:pt x="163766" y="110894"/>
                  <a:pt x="172546" y="108749"/>
                  <a:pt x="181500" y="108040"/>
                </a:cubicBezTo>
                <a:cubicBezTo>
                  <a:pt x="182959" y="107655"/>
                  <a:pt x="184492" y="107655"/>
                  <a:pt x="185952" y="108040"/>
                </a:cubicBezTo>
                <a:cubicBezTo>
                  <a:pt x="192141" y="110809"/>
                  <a:pt x="198656" y="109560"/>
                  <a:pt x="205063" y="110103"/>
                </a:cubicBezTo>
                <a:cubicBezTo>
                  <a:pt x="209579" y="110284"/>
                  <a:pt x="213958" y="111713"/>
                  <a:pt x="217713" y="114229"/>
                </a:cubicBezTo>
                <a:cubicBezTo>
                  <a:pt x="223739" y="118573"/>
                  <a:pt x="230146" y="122536"/>
                  <a:pt x="235901" y="127314"/>
                </a:cubicBezTo>
                <a:cubicBezTo>
                  <a:pt x="240961" y="131362"/>
                  <a:pt x="244734" y="136795"/>
                  <a:pt x="246759" y="142950"/>
                </a:cubicBezTo>
                <a:cubicBezTo>
                  <a:pt x="247737" y="146262"/>
                  <a:pt x="248877" y="149574"/>
                  <a:pt x="250017" y="152831"/>
                </a:cubicBezTo>
                <a:cubicBezTo>
                  <a:pt x="253677" y="163300"/>
                  <a:pt x="252771" y="174824"/>
                  <a:pt x="247520" y="184592"/>
                </a:cubicBezTo>
                <a:close/>
              </a:path>
            </a:pathLst>
          </a:custGeom>
          <a:solidFill>
            <a:srgbClr val="287819"/>
          </a:solidFill>
          <a:ln w="5323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666666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05" name="TextBox 104">
            <a:extLst>
              <a:ext uri="{FF2B5EF4-FFF2-40B4-BE49-F238E27FC236}">
                <a16:creationId xmlns:a16="http://schemas.microsoft.com/office/drawing/2014/main" id="{A0193F94-13A8-4FEF-93C1-7DD52ADED319}"/>
              </a:ext>
            </a:extLst>
          </p:cNvPr>
          <p:cNvSpPr txBox="1"/>
          <p:nvPr/>
        </p:nvSpPr>
        <p:spPr>
          <a:xfrm>
            <a:off x="2987366" y="2959642"/>
            <a:ext cx="1066318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400" b="0" i="0" u="none" strike="noStrike" kern="1200" cap="none" spc="0" normalizeH="0" baseline="0" noProof="0" dirty="0">
                <a:ln>
                  <a:noFill/>
                </a:ln>
                <a:solidFill>
                  <a:srgbClr val="287819"/>
                </a:solidFill>
                <a:effectLst/>
                <a:uLnTx/>
                <a:uFillTx/>
                <a:latin typeface="MDLZ BITE TYPE"/>
                <a:ea typeface="+mn-ea"/>
                <a:cs typeface="+mn-cs"/>
              </a:rPr>
              <a:t>Caramagna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400" b="0" i="0" u="none" strike="noStrike" kern="1200" cap="none" spc="0" normalizeH="0" baseline="0" noProof="0" dirty="0">
              <a:ln>
                <a:noFill/>
              </a:ln>
              <a:solidFill>
                <a:srgbClr val="287819"/>
              </a:solidFill>
              <a:effectLst/>
              <a:uLnTx/>
              <a:uFillTx/>
              <a:latin typeface="MDLZ BITE TYPE"/>
              <a:ea typeface="+mn-ea"/>
              <a:cs typeface="+mn-cs"/>
            </a:endParaRPr>
          </a:p>
        </p:txBody>
      </p:sp>
      <p:sp>
        <p:nvSpPr>
          <p:cNvPr id="106" name="Freeform: Shape 105">
            <a:extLst>
              <a:ext uri="{FF2B5EF4-FFF2-40B4-BE49-F238E27FC236}">
                <a16:creationId xmlns:a16="http://schemas.microsoft.com/office/drawing/2014/main" id="{6C830410-4C95-40BC-9478-9EC17434D290}"/>
              </a:ext>
            </a:extLst>
          </p:cNvPr>
          <p:cNvSpPr>
            <a:spLocks noChangeAspect="1"/>
          </p:cNvSpPr>
          <p:nvPr/>
        </p:nvSpPr>
        <p:spPr>
          <a:xfrm>
            <a:off x="2706947" y="3013905"/>
            <a:ext cx="326141" cy="283586"/>
          </a:xfrm>
          <a:custGeom>
            <a:avLst/>
            <a:gdLst>
              <a:gd name="connsiteX0" fmla="*/ 498222 w 1089221"/>
              <a:gd name="connsiteY0" fmla="*/ 570840 h 947098"/>
              <a:gd name="connsiteX1" fmla="*/ 484887 w 1089221"/>
              <a:gd name="connsiteY1" fmla="*/ 576555 h 947098"/>
              <a:gd name="connsiteX2" fmla="*/ 478220 w 1089221"/>
              <a:gd name="connsiteY2" fmla="*/ 591795 h 947098"/>
              <a:gd name="connsiteX3" fmla="*/ 490602 w 1089221"/>
              <a:gd name="connsiteY3" fmla="*/ 629895 h 947098"/>
              <a:gd name="connsiteX4" fmla="*/ 528702 w 1089221"/>
              <a:gd name="connsiteY4" fmla="*/ 629895 h 947098"/>
              <a:gd name="connsiteX5" fmla="*/ 498222 w 1089221"/>
              <a:gd name="connsiteY5" fmla="*/ 570840 h 947098"/>
              <a:gd name="connsiteX6" fmla="*/ 873032 w 1089221"/>
              <a:gd name="connsiteY6" fmla="*/ 528930 h 947098"/>
              <a:gd name="connsiteX7" fmla="*/ 841123 w 1089221"/>
              <a:gd name="connsiteY7" fmla="*/ 534645 h 947098"/>
              <a:gd name="connsiteX8" fmla="*/ 829693 w 1089221"/>
              <a:gd name="connsiteY8" fmla="*/ 566078 h 947098"/>
              <a:gd name="connsiteX9" fmla="*/ 863030 w 1089221"/>
              <a:gd name="connsiteY9" fmla="*/ 595605 h 947098"/>
              <a:gd name="connsiteX10" fmla="*/ 900178 w 1089221"/>
              <a:gd name="connsiteY10" fmla="*/ 581317 h 947098"/>
              <a:gd name="connsiteX11" fmla="*/ 905893 w 1089221"/>
              <a:gd name="connsiteY11" fmla="*/ 560362 h 947098"/>
              <a:gd name="connsiteX12" fmla="*/ 902083 w 1089221"/>
              <a:gd name="connsiteY12" fmla="*/ 543217 h 947098"/>
              <a:gd name="connsiteX13" fmla="*/ 873032 w 1089221"/>
              <a:gd name="connsiteY13" fmla="*/ 528930 h 947098"/>
              <a:gd name="connsiteX14" fmla="*/ 659315 w 1089221"/>
              <a:gd name="connsiteY14" fmla="*/ 526906 h 947098"/>
              <a:gd name="connsiteX15" fmla="*/ 632525 w 1089221"/>
              <a:gd name="connsiteY15" fmla="*/ 537502 h 947098"/>
              <a:gd name="connsiteX16" fmla="*/ 614428 w 1089221"/>
              <a:gd name="connsiteY16" fmla="*/ 573697 h 947098"/>
              <a:gd name="connsiteX17" fmla="*/ 648718 w 1089221"/>
              <a:gd name="connsiteY17" fmla="*/ 628942 h 947098"/>
              <a:gd name="connsiteX18" fmla="*/ 707773 w 1089221"/>
              <a:gd name="connsiteY18" fmla="*/ 606082 h 947098"/>
              <a:gd name="connsiteX19" fmla="*/ 712535 w 1089221"/>
              <a:gd name="connsiteY19" fmla="*/ 587032 h 947098"/>
              <a:gd name="connsiteX20" fmla="*/ 686818 w 1089221"/>
              <a:gd name="connsiteY20" fmla="*/ 535597 h 947098"/>
              <a:gd name="connsiteX21" fmla="*/ 659315 w 1089221"/>
              <a:gd name="connsiteY21" fmla="*/ 526906 h 947098"/>
              <a:gd name="connsiteX22" fmla="*/ 627763 w 1089221"/>
              <a:gd name="connsiteY22" fmla="*/ 436537 h 947098"/>
              <a:gd name="connsiteX23" fmla="*/ 609665 w 1089221"/>
              <a:gd name="connsiteY23" fmla="*/ 441299 h 947098"/>
              <a:gd name="connsiteX24" fmla="*/ 601093 w 1089221"/>
              <a:gd name="connsiteY24" fmla="*/ 463207 h 947098"/>
              <a:gd name="connsiteX25" fmla="*/ 605855 w 1089221"/>
              <a:gd name="connsiteY25" fmla="*/ 487019 h 947098"/>
              <a:gd name="connsiteX26" fmla="*/ 625858 w 1089221"/>
              <a:gd name="connsiteY26" fmla="*/ 494639 h 947098"/>
              <a:gd name="connsiteX27" fmla="*/ 634430 w 1089221"/>
              <a:gd name="connsiteY27" fmla="*/ 493687 h 947098"/>
              <a:gd name="connsiteX28" fmla="*/ 649670 w 1089221"/>
              <a:gd name="connsiteY28" fmla="*/ 476542 h 947098"/>
              <a:gd name="connsiteX29" fmla="*/ 627763 w 1089221"/>
              <a:gd name="connsiteY29" fmla="*/ 436537 h 947098"/>
              <a:gd name="connsiteX30" fmla="*/ 932444 w 1089221"/>
              <a:gd name="connsiteY30" fmla="*/ 354980 h 947098"/>
              <a:gd name="connsiteX31" fmla="*/ 903036 w 1089221"/>
              <a:gd name="connsiteY31" fmla="*/ 371767 h 947098"/>
              <a:gd name="connsiteX32" fmla="*/ 897320 w 1089221"/>
              <a:gd name="connsiteY32" fmla="*/ 422250 h 947098"/>
              <a:gd name="connsiteX33" fmla="*/ 919228 w 1089221"/>
              <a:gd name="connsiteY33" fmla="*/ 455587 h 947098"/>
              <a:gd name="connsiteX34" fmla="*/ 957328 w 1089221"/>
              <a:gd name="connsiteY34" fmla="*/ 465112 h 947098"/>
              <a:gd name="connsiteX35" fmla="*/ 974473 w 1089221"/>
              <a:gd name="connsiteY35" fmla="*/ 458445 h 947098"/>
              <a:gd name="connsiteX36" fmla="*/ 981140 w 1089221"/>
              <a:gd name="connsiteY36" fmla="*/ 453682 h 947098"/>
              <a:gd name="connsiteX37" fmla="*/ 1003048 w 1089221"/>
              <a:gd name="connsiteY37" fmla="*/ 418440 h 947098"/>
              <a:gd name="connsiteX38" fmla="*/ 989713 w 1089221"/>
              <a:gd name="connsiteY38" fmla="*/ 381292 h 947098"/>
              <a:gd name="connsiteX39" fmla="*/ 966853 w 1089221"/>
              <a:gd name="connsiteY39" fmla="*/ 363195 h 947098"/>
              <a:gd name="connsiteX40" fmla="*/ 932444 w 1089221"/>
              <a:gd name="connsiteY40" fmla="*/ 354980 h 947098"/>
              <a:gd name="connsiteX41" fmla="*/ 1046148 w 1089221"/>
              <a:gd name="connsiteY41" fmla="*/ 280565 h 947098"/>
              <a:gd name="connsiteX42" fmla="*/ 1062102 w 1089221"/>
              <a:gd name="connsiteY42" fmla="*/ 285089 h 947098"/>
              <a:gd name="connsiteX43" fmla="*/ 1073532 w 1089221"/>
              <a:gd name="connsiteY43" fmla="*/ 304139 h 947098"/>
              <a:gd name="connsiteX44" fmla="*/ 1087820 w 1089221"/>
              <a:gd name="connsiteY44" fmla="*/ 374624 h 947098"/>
              <a:gd name="connsiteX45" fmla="*/ 1085915 w 1089221"/>
              <a:gd name="connsiteY45" fmla="*/ 449872 h 947098"/>
              <a:gd name="connsiteX46" fmla="*/ 1088772 w 1089221"/>
              <a:gd name="connsiteY46" fmla="*/ 528929 h 947098"/>
              <a:gd name="connsiteX47" fmla="*/ 1077342 w 1089221"/>
              <a:gd name="connsiteY47" fmla="*/ 575602 h 947098"/>
              <a:gd name="connsiteX48" fmla="*/ 1063055 w 1089221"/>
              <a:gd name="connsiteY48" fmla="*/ 618464 h 947098"/>
              <a:gd name="connsiteX49" fmla="*/ 1053530 w 1089221"/>
              <a:gd name="connsiteY49" fmla="*/ 629894 h 947098"/>
              <a:gd name="connsiteX50" fmla="*/ 1036385 w 1089221"/>
              <a:gd name="connsiteY50" fmla="*/ 635609 h 947098"/>
              <a:gd name="connsiteX51" fmla="*/ 975425 w 1089221"/>
              <a:gd name="connsiteY51" fmla="*/ 639419 h 947098"/>
              <a:gd name="connsiteX52" fmla="*/ 940182 w 1089221"/>
              <a:gd name="connsiteY52" fmla="*/ 645134 h 947098"/>
              <a:gd name="connsiteX53" fmla="*/ 904940 w 1089221"/>
              <a:gd name="connsiteY53" fmla="*/ 650849 h 947098"/>
              <a:gd name="connsiteX54" fmla="*/ 766827 w 1089221"/>
              <a:gd name="connsiteY54" fmla="*/ 666089 h 947098"/>
              <a:gd name="connsiteX55" fmla="*/ 701105 w 1089221"/>
              <a:gd name="connsiteY55" fmla="*/ 667994 h 947098"/>
              <a:gd name="connsiteX56" fmla="*/ 563945 w 1089221"/>
              <a:gd name="connsiteY56" fmla="*/ 684187 h 947098"/>
              <a:gd name="connsiteX57" fmla="*/ 451550 w 1089221"/>
              <a:gd name="connsiteY57" fmla="*/ 693712 h 947098"/>
              <a:gd name="connsiteX58" fmla="*/ 409640 w 1089221"/>
              <a:gd name="connsiteY58" fmla="*/ 701332 h 947098"/>
              <a:gd name="connsiteX59" fmla="*/ 400115 w 1089221"/>
              <a:gd name="connsiteY59" fmla="*/ 699427 h 947098"/>
              <a:gd name="connsiteX60" fmla="*/ 398210 w 1089221"/>
              <a:gd name="connsiteY60" fmla="*/ 692759 h 947098"/>
              <a:gd name="connsiteX61" fmla="*/ 401067 w 1089221"/>
              <a:gd name="connsiteY61" fmla="*/ 669899 h 947098"/>
              <a:gd name="connsiteX62" fmla="*/ 399162 w 1089221"/>
              <a:gd name="connsiteY62" fmla="*/ 642277 h 947098"/>
              <a:gd name="connsiteX63" fmla="*/ 392495 w 1089221"/>
              <a:gd name="connsiteY63" fmla="*/ 574649 h 947098"/>
              <a:gd name="connsiteX64" fmla="*/ 395352 w 1089221"/>
              <a:gd name="connsiteY64" fmla="*/ 550837 h 947098"/>
              <a:gd name="connsiteX65" fmla="*/ 455360 w 1089221"/>
              <a:gd name="connsiteY65" fmla="*/ 537502 h 947098"/>
              <a:gd name="connsiteX66" fmla="*/ 438215 w 1089221"/>
              <a:gd name="connsiteY66" fmla="*/ 480352 h 947098"/>
              <a:gd name="connsiteX67" fmla="*/ 399162 w 1089221"/>
              <a:gd name="connsiteY67" fmla="*/ 481304 h 947098"/>
              <a:gd name="connsiteX68" fmla="*/ 399162 w 1089221"/>
              <a:gd name="connsiteY68" fmla="*/ 467969 h 947098"/>
              <a:gd name="connsiteX69" fmla="*/ 410592 w 1089221"/>
              <a:gd name="connsiteY69" fmla="*/ 443204 h 947098"/>
              <a:gd name="connsiteX70" fmla="*/ 471552 w 1089221"/>
              <a:gd name="connsiteY70" fmla="*/ 426059 h 947098"/>
              <a:gd name="connsiteX71" fmla="*/ 560135 w 1089221"/>
              <a:gd name="connsiteY71" fmla="*/ 408914 h 947098"/>
              <a:gd name="connsiteX72" fmla="*/ 626810 w 1089221"/>
              <a:gd name="connsiteY72" fmla="*/ 388912 h 947098"/>
              <a:gd name="connsiteX73" fmla="*/ 674435 w 1089221"/>
              <a:gd name="connsiteY73" fmla="*/ 372719 h 947098"/>
              <a:gd name="connsiteX74" fmla="*/ 680150 w 1089221"/>
              <a:gd name="connsiteY74" fmla="*/ 370814 h 947098"/>
              <a:gd name="connsiteX75" fmla="*/ 680150 w 1089221"/>
              <a:gd name="connsiteY75" fmla="*/ 373672 h 947098"/>
              <a:gd name="connsiteX76" fmla="*/ 692532 w 1089221"/>
              <a:gd name="connsiteY76" fmla="*/ 401294 h 947098"/>
              <a:gd name="connsiteX77" fmla="*/ 724917 w 1089221"/>
              <a:gd name="connsiteY77" fmla="*/ 414629 h 947098"/>
              <a:gd name="connsiteX78" fmla="*/ 749682 w 1089221"/>
              <a:gd name="connsiteY78" fmla="*/ 415582 h 947098"/>
              <a:gd name="connsiteX79" fmla="*/ 777305 w 1089221"/>
              <a:gd name="connsiteY79" fmla="*/ 390817 h 947098"/>
              <a:gd name="connsiteX80" fmla="*/ 784925 w 1089221"/>
              <a:gd name="connsiteY80" fmla="*/ 352717 h 947098"/>
              <a:gd name="connsiteX81" fmla="*/ 784925 w 1089221"/>
              <a:gd name="connsiteY81" fmla="*/ 344144 h 947098"/>
              <a:gd name="connsiteX82" fmla="*/ 907797 w 1089221"/>
              <a:gd name="connsiteY82" fmla="*/ 315569 h 947098"/>
              <a:gd name="connsiteX83" fmla="*/ 945897 w 1089221"/>
              <a:gd name="connsiteY83" fmla="*/ 303187 h 947098"/>
              <a:gd name="connsiteX84" fmla="*/ 955422 w 1089221"/>
              <a:gd name="connsiteY84" fmla="*/ 300329 h 947098"/>
              <a:gd name="connsiteX85" fmla="*/ 1003047 w 1089221"/>
              <a:gd name="connsiteY85" fmla="*/ 292709 h 947098"/>
              <a:gd name="connsiteX86" fmla="*/ 1028765 w 1089221"/>
              <a:gd name="connsiteY86" fmla="*/ 283184 h 947098"/>
              <a:gd name="connsiteX87" fmla="*/ 1046148 w 1089221"/>
              <a:gd name="connsiteY87" fmla="*/ 280565 h 947098"/>
              <a:gd name="connsiteX88" fmla="*/ 789687 w 1089221"/>
              <a:gd name="connsiteY88" fmla="*/ 79350 h 947098"/>
              <a:gd name="connsiteX89" fmla="*/ 881127 w 1089221"/>
              <a:gd name="connsiteY89" fmla="*/ 100305 h 947098"/>
              <a:gd name="connsiteX90" fmla="*/ 944945 w 1089221"/>
              <a:gd name="connsiteY90" fmla="*/ 128880 h 947098"/>
              <a:gd name="connsiteX91" fmla="*/ 1042100 w 1089221"/>
              <a:gd name="connsiteY91" fmla="*/ 224130 h 947098"/>
              <a:gd name="connsiteX92" fmla="*/ 1044957 w 1089221"/>
              <a:gd name="connsiteY92" fmla="*/ 233655 h 947098"/>
              <a:gd name="connsiteX93" fmla="*/ 1020192 w 1089221"/>
              <a:gd name="connsiteY93" fmla="*/ 246037 h 947098"/>
              <a:gd name="connsiteX94" fmla="*/ 933515 w 1089221"/>
              <a:gd name="connsiteY94" fmla="*/ 268898 h 947098"/>
              <a:gd name="connsiteX95" fmla="*/ 929705 w 1089221"/>
              <a:gd name="connsiteY95" fmla="*/ 269850 h 947098"/>
              <a:gd name="connsiteX96" fmla="*/ 869697 w 1089221"/>
              <a:gd name="connsiteY96" fmla="*/ 277470 h 947098"/>
              <a:gd name="connsiteX97" fmla="*/ 798260 w 1089221"/>
              <a:gd name="connsiteY97" fmla="*/ 303187 h 947098"/>
              <a:gd name="connsiteX98" fmla="*/ 715392 w 1089221"/>
              <a:gd name="connsiteY98" fmla="*/ 322237 h 947098"/>
              <a:gd name="connsiteX99" fmla="*/ 410592 w 1089221"/>
              <a:gd name="connsiteY99" fmla="*/ 414630 h 947098"/>
              <a:gd name="connsiteX100" fmla="*/ 392495 w 1089221"/>
              <a:gd name="connsiteY100" fmla="*/ 408915 h 947098"/>
              <a:gd name="connsiteX101" fmla="*/ 393447 w 1089221"/>
              <a:gd name="connsiteY101" fmla="*/ 394628 h 947098"/>
              <a:gd name="connsiteX102" fmla="*/ 468695 w 1089221"/>
              <a:gd name="connsiteY102" fmla="*/ 328905 h 947098"/>
              <a:gd name="connsiteX103" fmla="*/ 519177 w 1089221"/>
              <a:gd name="connsiteY103" fmla="*/ 290805 h 947098"/>
              <a:gd name="connsiteX104" fmla="*/ 719202 w 1089221"/>
              <a:gd name="connsiteY104" fmla="*/ 119355 h 947098"/>
              <a:gd name="connsiteX105" fmla="*/ 764922 w 1089221"/>
              <a:gd name="connsiteY105" fmla="*/ 85065 h 947098"/>
              <a:gd name="connsiteX106" fmla="*/ 789687 w 1089221"/>
              <a:gd name="connsiteY106" fmla="*/ 79350 h 947098"/>
              <a:gd name="connsiteX107" fmla="*/ 479816 w 1089221"/>
              <a:gd name="connsiteY107" fmla="*/ 880 h 947098"/>
              <a:gd name="connsiteX108" fmla="*/ 715392 w 1089221"/>
              <a:gd name="connsiteY108" fmla="*/ 59347 h 947098"/>
              <a:gd name="connsiteX109" fmla="*/ 711582 w 1089221"/>
              <a:gd name="connsiteY109" fmla="*/ 63157 h 947098"/>
              <a:gd name="connsiteX110" fmla="*/ 476315 w 1089221"/>
              <a:gd name="connsiteY110" fmla="*/ 279374 h 947098"/>
              <a:gd name="connsiteX111" fmla="*/ 395352 w 1089221"/>
              <a:gd name="connsiteY111" fmla="*/ 347954 h 947098"/>
              <a:gd name="connsiteX112" fmla="*/ 355347 w 1089221"/>
              <a:gd name="connsiteY112" fmla="*/ 388912 h 947098"/>
              <a:gd name="connsiteX113" fmla="*/ 341060 w 1089221"/>
              <a:gd name="connsiteY113" fmla="*/ 433679 h 947098"/>
              <a:gd name="connsiteX114" fmla="*/ 362015 w 1089221"/>
              <a:gd name="connsiteY114" fmla="*/ 667042 h 947098"/>
              <a:gd name="connsiteX115" fmla="*/ 364872 w 1089221"/>
              <a:gd name="connsiteY115" fmla="*/ 737527 h 947098"/>
              <a:gd name="connsiteX116" fmla="*/ 390590 w 1089221"/>
              <a:gd name="connsiteY116" fmla="*/ 743242 h 947098"/>
              <a:gd name="connsiteX117" fmla="*/ 916370 w 1089221"/>
              <a:gd name="connsiteY117" fmla="*/ 685139 h 947098"/>
              <a:gd name="connsiteX118" fmla="*/ 872555 w 1089221"/>
              <a:gd name="connsiteY118" fmla="*/ 753719 h 947098"/>
              <a:gd name="connsiteX119" fmla="*/ 170562 w 1089221"/>
              <a:gd name="connsiteY119" fmla="*/ 847064 h 947098"/>
              <a:gd name="connsiteX120" fmla="*/ 72455 w 1089221"/>
              <a:gd name="connsiteY120" fmla="*/ 212699 h 947098"/>
              <a:gd name="connsiteX121" fmla="*/ 479816 w 1089221"/>
              <a:gd name="connsiteY121" fmla="*/ 880 h 9470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</a:cxnLst>
            <a:rect l="l" t="t" r="r" b="b"/>
            <a:pathLst>
              <a:path w="1089221" h="947098">
                <a:moveTo>
                  <a:pt x="498222" y="570840"/>
                </a:moveTo>
                <a:cubicBezTo>
                  <a:pt x="493460" y="571792"/>
                  <a:pt x="488697" y="572745"/>
                  <a:pt x="484887" y="576555"/>
                </a:cubicBezTo>
                <a:cubicBezTo>
                  <a:pt x="481077" y="580365"/>
                  <a:pt x="479172" y="586080"/>
                  <a:pt x="478220" y="591795"/>
                </a:cubicBezTo>
                <a:cubicBezTo>
                  <a:pt x="476315" y="605130"/>
                  <a:pt x="480125" y="620370"/>
                  <a:pt x="490602" y="629895"/>
                </a:cubicBezTo>
                <a:cubicBezTo>
                  <a:pt x="501080" y="638467"/>
                  <a:pt x="519177" y="639420"/>
                  <a:pt x="528702" y="629895"/>
                </a:cubicBezTo>
                <a:cubicBezTo>
                  <a:pt x="553467" y="605130"/>
                  <a:pt x="530607" y="567030"/>
                  <a:pt x="498222" y="570840"/>
                </a:cubicBezTo>
                <a:close/>
                <a:moveTo>
                  <a:pt x="873032" y="528930"/>
                </a:moveTo>
                <a:cubicBezTo>
                  <a:pt x="860650" y="527501"/>
                  <a:pt x="847791" y="529406"/>
                  <a:pt x="841123" y="534645"/>
                </a:cubicBezTo>
                <a:cubicBezTo>
                  <a:pt x="832550" y="541312"/>
                  <a:pt x="827788" y="554648"/>
                  <a:pt x="829693" y="566078"/>
                </a:cubicBezTo>
                <a:cubicBezTo>
                  <a:pt x="832550" y="581317"/>
                  <a:pt x="847790" y="592748"/>
                  <a:pt x="863030" y="595605"/>
                </a:cubicBezTo>
                <a:cubicBezTo>
                  <a:pt x="876365" y="598462"/>
                  <a:pt x="892558" y="593700"/>
                  <a:pt x="900178" y="581317"/>
                </a:cubicBezTo>
                <a:cubicBezTo>
                  <a:pt x="903988" y="574650"/>
                  <a:pt x="904940" y="567030"/>
                  <a:pt x="905893" y="560362"/>
                </a:cubicBezTo>
                <a:cubicBezTo>
                  <a:pt x="906845" y="553695"/>
                  <a:pt x="906845" y="547028"/>
                  <a:pt x="902083" y="543217"/>
                </a:cubicBezTo>
                <a:cubicBezTo>
                  <a:pt x="897321" y="535121"/>
                  <a:pt x="885415" y="530359"/>
                  <a:pt x="873032" y="528930"/>
                </a:cubicBezTo>
                <a:close/>
                <a:moveTo>
                  <a:pt x="659315" y="526906"/>
                </a:moveTo>
                <a:cubicBezTo>
                  <a:pt x="649432" y="527501"/>
                  <a:pt x="639669" y="531311"/>
                  <a:pt x="632525" y="537502"/>
                </a:cubicBezTo>
                <a:cubicBezTo>
                  <a:pt x="622048" y="546075"/>
                  <a:pt x="615380" y="560362"/>
                  <a:pt x="614428" y="573697"/>
                </a:cubicBezTo>
                <a:cubicBezTo>
                  <a:pt x="612523" y="597510"/>
                  <a:pt x="626810" y="621322"/>
                  <a:pt x="648718" y="628942"/>
                </a:cubicBezTo>
                <a:cubicBezTo>
                  <a:pt x="670625" y="637515"/>
                  <a:pt x="697295" y="627037"/>
                  <a:pt x="707773" y="606082"/>
                </a:cubicBezTo>
                <a:cubicBezTo>
                  <a:pt x="710630" y="600367"/>
                  <a:pt x="711583" y="593700"/>
                  <a:pt x="712535" y="587032"/>
                </a:cubicBezTo>
                <a:cubicBezTo>
                  <a:pt x="714440" y="567982"/>
                  <a:pt x="700153" y="548932"/>
                  <a:pt x="686818" y="535597"/>
                </a:cubicBezTo>
                <a:cubicBezTo>
                  <a:pt x="679198" y="528930"/>
                  <a:pt x="669197" y="526310"/>
                  <a:pt x="659315" y="526906"/>
                </a:cubicBezTo>
                <a:close/>
                <a:moveTo>
                  <a:pt x="627763" y="436537"/>
                </a:moveTo>
                <a:cubicBezTo>
                  <a:pt x="621095" y="436537"/>
                  <a:pt x="614428" y="437489"/>
                  <a:pt x="609665" y="441299"/>
                </a:cubicBezTo>
                <a:cubicBezTo>
                  <a:pt x="603950" y="447014"/>
                  <a:pt x="602045" y="455587"/>
                  <a:pt x="601093" y="463207"/>
                </a:cubicBezTo>
                <a:cubicBezTo>
                  <a:pt x="600140" y="471779"/>
                  <a:pt x="600140" y="480352"/>
                  <a:pt x="605855" y="487019"/>
                </a:cubicBezTo>
                <a:cubicBezTo>
                  <a:pt x="610618" y="492734"/>
                  <a:pt x="618238" y="494639"/>
                  <a:pt x="625858" y="494639"/>
                </a:cubicBezTo>
                <a:cubicBezTo>
                  <a:pt x="628715" y="494639"/>
                  <a:pt x="631573" y="494639"/>
                  <a:pt x="634430" y="493687"/>
                </a:cubicBezTo>
                <a:cubicBezTo>
                  <a:pt x="642050" y="490829"/>
                  <a:pt x="647765" y="484162"/>
                  <a:pt x="649670" y="476542"/>
                </a:cubicBezTo>
                <a:cubicBezTo>
                  <a:pt x="655385" y="457492"/>
                  <a:pt x="652528" y="436537"/>
                  <a:pt x="627763" y="436537"/>
                </a:cubicBezTo>
                <a:close/>
                <a:moveTo>
                  <a:pt x="932444" y="354980"/>
                </a:moveTo>
                <a:cubicBezTo>
                  <a:pt x="921133" y="355813"/>
                  <a:pt x="910656" y="360814"/>
                  <a:pt x="903036" y="371767"/>
                </a:cubicBezTo>
                <a:cubicBezTo>
                  <a:pt x="893511" y="386055"/>
                  <a:pt x="892558" y="405105"/>
                  <a:pt x="897320" y="422250"/>
                </a:cubicBezTo>
                <a:cubicBezTo>
                  <a:pt x="901130" y="435585"/>
                  <a:pt x="908750" y="447015"/>
                  <a:pt x="919228" y="455587"/>
                </a:cubicBezTo>
                <a:cubicBezTo>
                  <a:pt x="929705" y="463207"/>
                  <a:pt x="943993" y="467970"/>
                  <a:pt x="957328" y="465112"/>
                </a:cubicBezTo>
                <a:cubicBezTo>
                  <a:pt x="963995" y="464160"/>
                  <a:pt x="969711" y="461302"/>
                  <a:pt x="974473" y="458445"/>
                </a:cubicBezTo>
                <a:cubicBezTo>
                  <a:pt x="976378" y="456540"/>
                  <a:pt x="979236" y="455587"/>
                  <a:pt x="981140" y="453682"/>
                </a:cubicBezTo>
                <a:cubicBezTo>
                  <a:pt x="992570" y="445110"/>
                  <a:pt x="1001143" y="432727"/>
                  <a:pt x="1003048" y="418440"/>
                </a:cubicBezTo>
                <a:cubicBezTo>
                  <a:pt x="1004953" y="405105"/>
                  <a:pt x="1000190" y="390817"/>
                  <a:pt x="989713" y="381292"/>
                </a:cubicBezTo>
                <a:cubicBezTo>
                  <a:pt x="983998" y="374625"/>
                  <a:pt x="975425" y="367957"/>
                  <a:pt x="966853" y="363195"/>
                </a:cubicBezTo>
                <a:cubicBezTo>
                  <a:pt x="955899" y="357480"/>
                  <a:pt x="943755" y="354146"/>
                  <a:pt x="932444" y="354980"/>
                </a:cubicBezTo>
                <a:close/>
                <a:moveTo>
                  <a:pt x="1046148" y="280565"/>
                </a:moveTo>
                <a:cubicBezTo>
                  <a:pt x="1051863" y="280565"/>
                  <a:pt x="1057340" y="281756"/>
                  <a:pt x="1062102" y="285089"/>
                </a:cubicBezTo>
                <a:cubicBezTo>
                  <a:pt x="1067817" y="288899"/>
                  <a:pt x="1071627" y="296519"/>
                  <a:pt x="1073532" y="304139"/>
                </a:cubicBezTo>
                <a:cubicBezTo>
                  <a:pt x="1079247" y="332714"/>
                  <a:pt x="1085915" y="353669"/>
                  <a:pt x="1087820" y="374624"/>
                </a:cubicBezTo>
                <a:cubicBezTo>
                  <a:pt x="1089725" y="394627"/>
                  <a:pt x="1083057" y="420344"/>
                  <a:pt x="1085915" y="449872"/>
                </a:cubicBezTo>
                <a:cubicBezTo>
                  <a:pt x="1085915" y="477494"/>
                  <a:pt x="1090677" y="500354"/>
                  <a:pt x="1088772" y="528929"/>
                </a:cubicBezTo>
                <a:cubicBezTo>
                  <a:pt x="1087820" y="544169"/>
                  <a:pt x="1082105" y="560362"/>
                  <a:pt x="1077342" y="575602"/>
                </a:cubicBezTo>
                <a:cubicBezTo>
                  <a:pt x="1073532" y="590842"/>
                  <a:pt x="1070675" y="606082"/>
                  <a:pt x="1063055" y="618464"/>
                </a:cubicBezTo>
                <a:cubicBezTo>
                  <a:pt x="1061150" y="623227"/>
                  <a:pt x="1058292" y="627037"/>
                  <a:pt x="1053530" y="629894"/>
                </a:cubicBezTo>
                <a:cubicBezTo>
                  <a:pt x="1049720" y="632752"/>
                  <a:pt x="1041147" y="634657"/>
                  <a:pt x="1036385" y="635609"/>
                </a:cubicBezTo>
                <a:cubicBezTo>
                  <a:pt x="1007810" y="639419"/>
                  <a:pt x="1008762" y="635609"/>
                  <a:pt x="975425" y="639419"/>
                </a:cubicBezTo>
                <a:cubicBezTo>
                  <a:pt x="970662" y="640372"/>
                  <a:pt x="955422" y="642277"/>
                  <a:pt x="940182" y="645134"/>
                </a:cubicBezTo>
                <a:cubicBezTo>
                  <a:pt x="924942" y="647992"/>
                  <a:pt x="909702" y="650849"/>
                  <a:pt x="904940" y="650849"/>
                </a:cubicBezTo>
                <a:cubicBezTo>
                  <a:pt x="854457" y="656564"/>
                  <a:pt x="816357" y="659422"/>
                  <a:pt x="766827" y="666089"/>
                </a:cubicBezTo>
                <a:cubicBezTo>
                  <a:pt x="749682" y="667994"/>
                  <a:pt x="722060" y="666089"/>
                  <a:pt x="701105" y="667994"/>
                </a:cubicBezTo>
                <a:cubicBezTo>
                  <a:pt x="633477" y="673709"/>
                  <a:pt x="582995" y="682282"/>
                  <a:pt x="563945" y="684187"/>
                </a:cubicBezTo>
                <a:cubicBezTo>
                  <a:pt x="526797" y="687997"/>
                  <a:pt x="487745" y="688949"/>
                  <a:pt x="451550" y="693712"/>
                </a:cubicBezTo>
                <a:cubicBezTo>
                  <a:pt x="438215" y="694664"/>
                  <a:pt x="422975" y="699427"/>
                  <a:pt x="409640" y="701332"/>
                </a:cubicBezTo>
                <a:cubicBezTo>
                  <a:pt x="405830" y="702284"/>
                  <a:pt x="402020" y="702284"/>
                  <a:pt x="400115" y="699427"/>
                </a:cubicBezTo>
                <a:cubicBezTo>
                  <a:pt x="398210" y="697522"/>
                  <a:pt x="398210" y="694664"/>
                  <a:pt x="398210" y="692759"/>
                </a:cubicBezTo>
                <a:cubicBezTo>
                  <a:pt x="398210" y="687997"/>
                  <a:pt x="401067" y="678472"/>
                  <a:pt x="401067" y="669899"/>
                </a:cubicBezTo>
                <a:cubicBezTo>
                  <a:pt x="401067" y="659422"/>
                  <a:pt x="399162" y="648944"/>
                  <a:pt x="399162" y="642277"/>
                </a:cubicBezTo>
                <a:cubicBezTo>
                  <a:pt x="399162" y="615607"/>
                  <a:pt x="392495" y="601319"/>
                  <a:pt x="392495" y="574649"/>
                </a:cubicBezTo>
                <a:cubicBezTo>
                  <a:pt x="392495" y="567029"/>
                  <a:pt x="395352" y="558457"/>
                  <a:pt x="395352" y="550837"/>
                </a:cubicBezTo>
                <a:cubicBezTo>
                  <a:pt x="419165" y="559409"/>
                  <a:pt x="444882" y="560362"/>
                  <a:pt x="455360" y="537502"/>
                </a:cubicBezTo>
                <a:cubicBezTo>
                  <a:pt x="463932" y="519404"/>
                  <a:pt x="461075" y="488924"/>
                  <a:pt x="438215" y="480352"/>
                </a:cubicBezTo>
                <a:cubicBezTo>
                  <a:pt x="422975" y="474637"/>
                  <a:pt x="413450" y="475589"/>
                  <a:pt x="399162" y="481304"/>
                </a:cubicBezTo>
                <a:cubicBezTo>
                  <a:pt x="400115" y="467017"/>
                  <a:pt x="398210" y="481304"/>
                  <a:pt x="399162" y="467969"/>
                </a:cubicBezTo>
                <a:cubicBezTo>
                  <a:pt x="399162" y="453682"/>
                  <a:pt x="395352" y="446062"/>
                  <a:pt x="410592" y="443204"/>
                </a:cubicBezTo>
                <a:cubicBezTo>
                  <a:pt x="442977" y="436537"/>
                  <a:pt x="440120" y="434632"/>
                  <a:pt x="471552" y="426059"/>
                </a:cubicBezTo>
                <a:cubicBezTo>
                  <a:pt x="492507" y="420344"/>
                  <a:pt x="540132" y="412724"/>
                  <a:pt x="560135" y="408914"/>
                </a:cubicBezTo>
                <a:cubicBezTo>
                  <a:pt x="580137" y="404152"/>
                  <a:pt x="604902" y="394627"/>
                  <a:pt x="626810" y="388912"/>
                </a:cubicBezTo>
                <a:cubicBezTo>
                  <a:pt x="641097" y="385102"/>
                  <a:pt x="661100" y="376529"/>
                  <a:pt x="674435" y="372719"/>
                </a:cubicBezTo>
                <a:cubicBezTo>
                  <a:pt x="676340" y="371767"/>
                  <a:pt x="678245" y="371767"/>
                  <a:pt x="680150" y="370814"/>
                </a:cubicBezTo>
                <a:cubicBezTo>
                  <a:pt x="680150" y="371767"/>
                  <a:pt x="680150" y="372719"/>
                  <a:pt x="680150" y="373672"/>
                </a:cubicBezTo>
                <a:cubicBezTo>
                  <a:pt x="680150" y="384149"/>
                  <a:pt x="684912" y="394627"/>
                  <a:pt x="692532" y="401294"/>
                </a:cubicBezTo>
                <a:cubicBezTo>
                  <a:pt x="701105" y="408914"/>
                  <a:pt x="713487" y="412724"/>
                  <a:pt x="724917" y="414629"/>
                </a:cubicBezTo>
                <a:cubicBezTo>
                  <a:pt x="732537" y="416534"/>
                  <a:pt x="741110" y="417487"/>
                  <a:pt x="749682" y="415582"/>
                </a:cubicBezTo>
                <a:cubicBezTo>
                  <a:pt x="762065" y="412724"/>
                  <a:pt x="771590" y="402247"/>
                  <a:pt x="777305" y="390817"/>
                </a:cubicBezTo>
                <a:cubicBezTo>
                  <a:pt x="782067" y="378434"/>
                  <a:pt x="783972" y="366052"/>
                  <a:pt x="784925" y="352717"/>
                </a:cubicBezTo>
                <a:cubicBezTo>
                  <a:pt x="784925" y="349859"/>
                  <a:pt x="784925" y="347002"/>
                  <a:pt x="784925" y="344144"/>
                </a:cubicBezTo>
                <a:cubicBezTo>
                  <a:pt x="830645" y="329857"/>
                  <a:pt x="864935" y="326999"/>
                  <a:pt x="907797" y="315569"/>
                </a:cubicBezTo>
                <a:cubicBezTo>
                  <a:pt x="919227" y="312712"/>
                  <a:pt x="933515" y="306997"/>
                  <a:pt x="945897" y="303187"/>
                </a:cubicBezTo>
                <a:cubicBezTo>
                  <a:pt x="949707" y="302234"/>
                  <a:pt x="952565" y="301282"/>
                  <a:pt x="955422" y="300329"/>
                </a:cubicBezTo>
                <a:cubicBezTo>
                  <a:pt x="970662" y="296519"/>
                  <a:pt x="987807" y="296519"/>
                  <a:pt x="1003047" y="292709"/>
                </a:cubicBezTo>
                <a:cubicBezTo>
                  <a:pt x="1011620" y="290804"/>
                  <a:pt x="1020192" y="285089"/>
                  <a:pt x="1028765" y="283184"/>
                </a:cubicBezTo>
                <a:cubicBezTo>
                  <a:pt x="1034480" y="281756"/>
                  <a:pt x="1040433" y="280565"/>
                  <a:pt x="1046148" y="280565"/>
                </a:cubicBezTo>
                <a:close/>
                <a:moveTo>
                  <a:pt x="789687" y="79350"/>
                </a:moveTo>
                <a:cubicBezTo>
                  <a:pt x="821120" y="77445"/>
                  <a:pt x="852552" y="88875"/>
                  <a:pt x="881127" y="100305"/>
                </a:cubicBezTo>
                <a:cubicBezTo>
                  <a:pt x="903035" y="108877"/>
                  <a:pt x="924942" y="117450"/>
                  <a:pt x="944945" y="128880"/>
                </a:cubicBezTo>
                <a:cubicBezTo>
                  <a:pt x="984950" y="150788"/>
                  <a:pt x="1019240" y="184125"/>
                  <a:pt x="1042100" y="224130"/>
                </a:cubicBezTo>
                <a:cubicBezTo>
                  <a:pt x="1043052" y="226987"/>
                  <a:pt x="1044957" y="230798"/>
                  <a:pt x="1044957" y="233655"/>
                </a:cubicBezTo>
                <a:cubicBezTo>
                  <a:pt x="1044005" y="244133"/>
                  <a:pt x="1030670" y="246037"/>
                  <a:pt x="1020192" y="246037"/>
                </a:cubicBezTo>
                <a:cubicBezTo>
                  <a:pt x="990665" y="246990"/>
                  <a:pt x="963042" y="263183"/>
                  <a:pt x="933515" y="268898"/>
                </a:cubicBezTo>
                <a:cubicBezTo>
                  <a:pt x="932562" y="269850"/>
                  <a:pt x="930657" y="269850"/>
                  <a:pt x="929705" y="269850"/>
                </a:cubicBezTo>
                <a:cubicBezTo>
                  <a:pt x="909702" y="273660"/>
                  <a:pt x="889700" y="273660"/>
                  <a:pt x="869697" y="277470"/>
                </a:cubicBezTo>
                <a:cubicBezTo>
                  <a:pt x="844932" y="283185"/>
                  <a:pt x="822072" y="294615"/>
                  <a:pt x="798260" y="303187"/>
                </a:cubicBezTo>
                <a:cubicBezTo>
                  <a:pt x="771590" y="311760"/>
                  <a:pt x="743015" y="315570"/>
                  <a:pt x="715392" y="322237"/>
                </a:cubicBezTo>
                <a:cubicBezTo>
                  <a:pt x="611570" y="346050"/>
                  <a:pt x="517272" y="407010"/>
                  <a:pt x="410592" y="414630"/>
                </a:cubicBezTo>
                <a:cubicBezTo>
                  <a:pt x="403925" y="415582"/>
                  <a:pt x="395352" y="414630"/>
                  <a:pt x="392495" y="408915"/>
                </a:cubicBezTo>
                <a:cubicBezTo>
                  <a:pt x="389637" y="404153"/>
                  <a:pt x="391542" y="399390"/>
                  <a:pt x="393447" y="394628"/>
                </a:cubicBezTo>
                <a:cubicBezTo>
                  <a:pt x="407735" y="364148"/>
                  <a:pt x="440120" y="347955"/>
                  <a:pt x="468695" y="328905"/>
                </a:cubicBezTo>
                <a:cubicBezTo>
                  <a:pt x="485840" y="317475"/>
                  <a:pt x="502032" y="304140"/>
                  <a:pt x="519177" y="290805"/>
                </a:cubicBezTo>
                <a:cubicBezTo>
                  <a:pt x="588710" y="236512"/>
                  <a:pt x="657290" y="182220"/>
                  <a:pt x="719202" y="119355"/>
                </a:cubicBezTo>
                <a:cubicBezTo>
                  <a:pt x="733490" y="105067"/>
                  <a:pt x="747777" y="92685"/>
                  <a:pt x="764922" y="85065"/>
                </a:cubicBezTo>
                <a:cubicBezTo>
                  <a:pt x="772542" y="82207"/>
                  <a:pt x="780162" y="80302"/>
                  <a:pt x="789687" y="79350"/>
                </a:cubicBezTo>
                <a:close/>
                <a:moveTo>
                  <a:pt x="479816" y="880"/>
                </a:moveTo>
                <a:cubicBezTo>
                  <a:pt x="568321" y="5769"/>
                  <a:pt x="652170" y="30415"/>
                  <a:pt x="715392" y="59347"/>
                </a:cubicBezTo>
                <a:cubicBezTo>
                  <a:pt x="714440" y="61252"/>
                  <a:pt x="712535" y="62204"/>
                  <a:pt x="711582" y="63157"/>
                </a:cubicBezTo>
                <a:cubicBezTo>
                  <a:pt x="642050" y="139357"/>
                  <a:pt x="558230" y="211747"/>
                  <a:pt x="476315" y="279374"/>
                </a:cubicBezTo>
                <a:cubicBezTo>
                  <a:pt x="448692" y="301282"/>
                  <a:pt x="422022" y="324142"/>
                  <a:pt x="395352" y="347954"/>
                </a:cubicBezTo>
                <a:cubicBezTo>
                  <a:pt x="382017" y="359384"/>
                  <a:pt x="361062" y="373672"/>
                  <a:pt x="355347" y="388912"/>
                </a:cubicBezTo>
                <a:cubicBezTo>
                  <a:pt x="349632" y="401294"/>
                  <a:pt x="341060" y="420344"/>
                  <a:pt x="341060" y="433679"/>
                </a:cubicBezTo>
                <a:cubicBezTo>
                  <a:pt x="338202" y="527024"/>
                  <a:pt x="354395" y="573697"/>
                  <a:pt x="362015" y="667042"/>
                </a:cubicBezTo>
                <a:cubicBezTo>
                  <a:pt x="362015" y="673709"/>
                  <a:pt x="360110" y="732764"/>
                  <a:pt x="364872" y="737527"/>
                </a:cubicBezTo>
                <a:cubicBezTo>
                  <a:pt x="370587" y="745147"/>
                  <a:pt x="381065" y="744194"/>
                  <a:pt x="390590" y="743242"/>
                </a:cubicBezTo>
                <a:cubicBezTo>
                  <a:pt x="572517" y="727049"/>
                  <a:pt x="739205" y="703237"/>
                  <a:pt x="916370" y="685139"/>
                </a:cubicBezTo>
                <a:cubicBezTo>
                  <a:pt x="902082" y="709904"/>
                  <a:pt x="887795" y="732764"/>
                  <a:pt x="872555" y="753719"/>
                </a:cubicBezTo>
                <a:cubicBezTo>
                  <a:pt x="718250" y="971842"/>
                  <a:pt x="374397" y="1008989"/>
                  <a:pt x="170562" y="847064"/>
                </a:cubicBezTo>
                <a:cubicBezTo>
                  <a:pt x="-23748" y="691807"/>
                  <a:pt x="-45655" y="420344"/>
                  <a:pt x="72455" y="212699"/>
                </a:cubicBezTo>
                <a:cubicBezTo>
                  <a:pt x="171872" y="39463"/>
                  <a:pt x="332308" y="-7269"/>
                  <a:pt x="479816" y="880"/>
                </a:cubicBezTo>
                <a:close/>
              </a:path>
            </a:pathLst>
          </a:custGeom>
          <a:solidFill>
            <a:srgbClr val="287819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666666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07" name="Graphic 212">
            <a:extLst>
              <a:ext uri="{FF2B5EF4-FFF2-40B4-BE49-F238E27FC236}">
                <a16:creationId xmlns:a16="http://schemas.microsoft.com/office/drawing/2014/main" id="{C269CC1C-3C19-4F51-B6D9-944015210CD4}"/>
              </a:ext>
            </a:extLst>
          </p:cNvPr>
          <p:cNvSpPr/>
          <p:nvPr/>
        </p:nvSpPr>
        <p:spPr>
          <a:xfrm>
            <a:off x="4821129" y="2646337"/>
            <a:ext cx="187522" cy="210917"/>
          </a:xfrm>
          <a:custGeom>
            <a:avLst/>
            <a:gdLst>
              <a:gd name="connsiteX0" fmla="*/ 366854 w 363759"/>
              <a:gd name="connsiteY0" fmla="*/ 132634 h 521208"/>
              <a:gd name="connsiteX1" fmla="*/ 355290 w 363759"/>
              <a:gd name="connsiteY1" fmla="*/ 94630 h 521208"/>
              <a:gd name="connsiteX2" fmla="*/ 309847 w 363759"/>
              <a:gd name="connsiteY2" fmla="*/ 35451 h 521208"/>
              <a:gd name="connsiteX3" fmla="*/ 303169 w 363759"/>
              <a:gd name="connsiteY3" fmla="*/ 27524 h 521208"/>
              <a:gd name="connsiteX4" fmla="*/ 299912 w 363759"/>
              <a:gd name="connsiteY4" fmla="*/ 24647 h 521208"/>
              <a:gd name="connsiteX5" fmla="*/ 288402 w 363759"/>
              <a:gd name="connsiteY5" fmla="*/ 17806 h 521208"/>
              <a:gd name="connsiteX6" fmla="*/ 273471 w 363759"/>
              <a:gd name="connsiteY6" fmla="*/ 11291 h 521208"/>
              <a:gd name="connsiteX7" fmla="*/ 239864 w 363759"/>
              <a:gd name="connsiteY7" fmla="*/ 4070 h 521208"/>
              <a:gd name="connsiteX8" fmla="*/ 161032 w 363759"/>
              <a:gd name="connsiteY8" fmla="*/ 3744 h 521208"/>
              <a:gd name="connsiteX9" fmla="*/ 139315 w 363759"/>
              <a:gd name="connsiteY9" fmla="*/ 8847 h 521208"/>
              <a:gd name="connsiteX10" fmla="*/ 113417 w 363759"/>
              <a:gd name="connsiteY10" fmla="*/ 15688 h 521208"/>
              <a:gd name="connsiteX11" fmla="*/ 67703 w 363759"/>
              <a:gd name="connsiteY11" fmla="*/ 43432 h 521208"/>
              <a:gd name="connsiteX12" fmla="*/ 32847 w 363759"/>
              <a:gd name="connsiteY12" fmla="*/ 82414 h 521208"/>
              <a:gd name="connsiteX13" fmla="*/ 27146 w 363759"/>
              <a:gd name="connsiteY13" fmla="*/ 90992 h 521208"/>
              <a:gd name="connsiteX14" fmla="*/ 9773 w 363759"/>
              <a:gd name="connsiteY14" fmla="*/ 128997 h 521208"/>
              <a:gd name="connsiteX15" fmla="*/ 4072 w 363759"/>
              <a:gd name="connsiteY15" fmla="*/ 149031 h 521208"/>
              <a:gd name="connsiteX16" fmla="*/ 0 w 363759"/>
              <a:gd name="connsiteY16" fmla="*/ 190727 h 521208"/>
              <a:gd name="connsiteX17" fmla="*/ 0 w 363759"/>
              <a:gd name="connsiteY17" fmla="*/ 190727 h 521208"/>
              <a:gd name="connsiteX18" fmla="*/ 760 w 363759"/>
              <a:gd name="connsiteY18" fmla="*/ 214562 h 521208"/>
              <a:gd name="connsiteX19" fmla="*/ 2335 w 363759"/>
              <a:gd name="connsiteY19" fmla="*/ 223303 h 521208"/>
              <a:gd name="connsiteX20" fmla="*/ 25952 w 363759"/>
              <a:gd name="connsiteY20" fmla="*/ 281396 h 521208"/>
              <a:gd name="connsiteX21" fmla="*/ 31761 w 363759"/>
              <a:gd name="connsiteY21" fmla="*/ 291820 h 521208"/>
              <a:gd name="connsiteX22" fmla="*/ 75195 w 363759"/>
              <a:gd name="connsiteY22" fmla="*/ 359848 h 521208"/>
              <a:gd name="connsiteX23" fmla="*/ 86868 w 363759"/>
              <a:gd name="connsiteY23" fmla="*/ 378959 h 521208"/>
              <a:gd name="connsiteX24" fmla="*/ 107662 w 363759"/>
              <a:gd name="connsiteY24" fmla="*/ 413435 h 521208"/>
              <a:gd name="connsiteX25" fmla="*/ 112277 w 363759"/>
              <a:gd name="connsiteY25" fmla="*/ 421090 h 521208"/>
              <a:gd name="connsiteX26" fmla="*/ 133342 w 363759"/>
              <a:gd name="connsiteY26" fmla="*/ 451983 h 521208"/>
              <a:gd name="connsiteX27" fmla="*/ 161249 w 363759"/>
              <a:gd name="connsiteY27" fmla="*/ 487056 h 521208"/>
              <a:gd name="connsiteX28" fmla="*/ 186332 w 363759"/>
              <a:gd name="connsiteY28" fmla="*/ 516754 h 521208"/>
              <a:gd name="connsiteX29" fmla="*/ 208429 w 363759"/>
              <a:gd name="connsiteY29" fmla="*/ 521260 h 521208"/>
              <a:gd name="connsiteX30" fmla="*/ 232480 w 363759"/>
              <a:gd name="connsiteY30" fmla="*/ 501715 h 521208"/>
              <a:gd name="connsiteX31" fmla="*/ 243773 w 363759"/>
              <a:gd name="connsiteY31" fmla="*/ 484124 h 521208"/>
              <a:gd name="connsiteX32" fmla="*/ 264242 w 363759"/>
              <a:gd name="connsiteY32" fmla="*/ 444273 h 521208"/>
              <a:gd name="connsiteX33" fmla="*/ 300726 w 363759"/>
              <a:gd name="connsiteY33" fmla="*/ 370544 h 521208"/>
              <a:gd name="connsiteX34" fmla="*/ 324669 w 363759"/>
              <a:gd name="connsiteY34" fmla="*/ 317555 h 521208"/>
              <a:gd name="connsiteX35" fmla="*/ 346386 w 363759"/>
              <a:gd name="connsiteY35" fmla="*/ 266900 h 521208"/>
              <a:gd name="connsiteX36" fmla="*/ 358331 w 363759"/>
              <a:gd name="connsiteY36" fmla="*/ 233130 h 521208"/>
              <a:gd name="connsiteX37" fmla="*/ 361262 w 363759"/>
              <a:gd name="connsiteY37" fmla="*/ 221511 h 521208"/>
              <a:gd name="connsiteX38" fmla="*/ 367995 w 363759"/>
              <a:gd name="connsiteY38" fmla="*/ 180412 h 521208"/>
              <a:gd name="connsiteX39" fmla="*/ 366854 w 363759"/>
              <a:gd name="connsiteY39" fmla="*/ 132634 h 521208"/>
              <a:gd name="connsiteX40" fmla="*/ 247411 w 363759"/>
              <a:gd name="connsiteY40" fmla="*/ 184755 h 521208"/>
              <a:gd name="connsiteX41" fmla="*/ 230146 w 363759"/>
              <a:gd name="connsiteY41" fmla="*/ 210816 h 521208"/>
              <a:gd name="connsiteX42" fmla="*/ 181988 w 363759"/>
              <a:gd name="connsiteY42" fmla="*/ 231229 h 521208"/>
              <a:gd name="connsiteX43" fmla="*/ 181988 w 363759"/>
              <a:gd name="connsiteY43" fmla="*/ 231229 h 521208"/>
              <a:gd name="connsiteX44" fmla="*/ 158643 w 363759"/>
              <a:gd name="connsiteY44" fmla="*/ 226615 h 521208"/>
              <a:gd name="connsiteX45" fmla="*/ 141161 w 363759"/>
              <a:gd name="connsiteY45" fmla="*/ 211196 h 521208"/>
              <a:gd name="connsiteX46" fmla="*/ 129053 w 363759"/>
              <a:gd name="connsiteY46" fmla="*/ 177643 h 521208"/>
              <a:gd name="connsiteX47" fmla="*/ 127859 w 363759"/>
              <a:gd name="connsiteY47" fmla="*/ 168793 h 521208"/>
              <a:gd name="connsiteX48" fmla="*/ 133288 w 363759"/>
              <a:gd name="connsiteY48" fmla="*/ 135458 h 521208"/>
              <a:gd name="connsiteX49" fmla="*/ 155494 w 363759"/>
              <a:gd name="connsiteY49" fmla="*/ 114392 h 521208"/>
              <a:gd name="connsiteX50" fmla="*/ 181500 w 363759"/>
              <a:gd name="connsiteY50" fmla="*/ 108040 h 521208"/>
              <a:gd name="connsiteX51" fmla="*/ 185952 w 363759"/>
              <a:gd name="connsiteY51" fmla="*/ 108040 h 521208"/>
              <a:gd name="connsiteX52" fmla="*/ 205063 w 363759"/>
              <a:gd name="connsiteY52" fmla="*/ 110103 h 521208"/>
              <a:gd name="connsiteX53" fmla="*/ 217713 w 363759"/>
              <a:gd name="connsiteY53" fmla="*/ 114229 h 521208"/>
              <a:gd name="connsiteX54" fmla="*/ 235901 w 363759"/>
              <a:gd name="connsiteY54" fmla="*/ 127314 h 521208"/>
              <a:gd name="connsiteX55" fmla="*/ 246759 w 363759"/>
              <a:gd name="connsiteY55" fmla="*/ 142950 h 521208"/>
              <a:gd name="connsiteX56" fmla="*/ 250017 w 363759"/>
              <a:gd name="connsiteY56" fmla="*/ 152831 h 521208"/>
              <a:gd name="connsiteX57" fmla="*/ 247520 w 363759"/>
              <a:gd name="connsiteY57" fmla="*/ 184592 h 5212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</a:cxnLst>
            <a:rect l="l" t="t" r="r" b="b"/>
            <a:pathLst>
              <a:path w="363759" h="521208">
                <a:moveTo>
                  <a:pt x="366854" y="132634"/>
                </a:moveTo>
                <a:cubicBezTo>
                  <a:pt x="365690" y="119298"/>
                  <a:pt x="361751" y="106353"/>
                  <a:pt x="355290" y="94630"/>
                </a:cubicBezTo>
                <a:cubicBezTo>
                  <a:pt x="343586" y="72483"/>
                  <a:pt x="328222" y="52475"/>
                  <a:pt x="309847" y="35451"/>
                </a:cubicBezTo>
                <a:cubicBezTo>
                  <a:pt x="307193" y="33201"/>
                  <a:pt x="304935" y="30522"/>
                  <a:pt x="303169" y="27524"/>
                </a:cubicBezTo>
                <a:cubicBezTo>
                  <a:pt x="302325" y="26322"/>
                  <a:pt x="301209" y="25336"/>
                  <a:pt x="299912" y="24647"/>
                </a:cubicBezTo>
                <a:cubicBezTo>
                  <a:pt x="296057" y="22312"/>
                  <a:pt x="292094" y="20303"/>
                  <a:pt x="288402" y="17806"/>
                </a:cubicBezTo>
                <a:cubicBezTo>
                  <a:pt x="283924" y="14634"/>
                  <a:pt x="278842" y="12417"/>
                  <a:pt x="273471" y="11291"/>
                </a:cubicBezTo>
                <a:cubicBezTo>
                  <a:pt x="262233" y="9227"/>
                  <a:pt x="251049" y="6459"/>
                  <a:pt x="239864" y="4070"/>
                </a:cubicBezTo>
                <a:cubicBezTo>
                  <a:pt x="213866" y="-1245"/>
                  <a:pt x="187073" y="-1355"/>
                  <a:pt x="161032" y="3744"/>
                </a:cubicBezTo>
                <a:cubicBezTo>
                  <a:pt x="153702" y="5047"/>
                  <a:pt x="146644" y="7762"/>
                  <a:pt x="139315" y="8847"/>
                </a:cubicBezTo>
                <a:cubicBezTo>
                  <a:pt x="130462" y="10193"/>
                  <a:pt x="121779" y="12486"/>
                  <a:pt x="113417" y="15688"/>
                </a:cubicBezTo>
                <a:cubicBezTo>
                  <a:pt x="96375" y="21571"/>
                  <a:pt x="80789" y="31031"/>
                  <a:pt x="67703" y="43432"/>
                </a:cubicBezTo>
                <a:cubicBezTo>
                  <a:pt x="55264" y="55669"/>
                  <a:pt x="43622" y="68689"/>
                  <a:pt x="32847" y="82414"/>
                </a:cubicBezTo>
                <a:cubicBezTo>
                  <a:pt x="30660" y="85072"/>
                  <a:pt x="28750" y="87946"/>
                  <a:pt x="27146" y="90992"/>
                </a:cubicBezTo>
                <a:cubicBezTo>
                  <a:pt x="21011" y="103479"/>
                  <a:pt x="13302" y="115261"/>
                  <a:pt x="9773" y="128997"/>
                </a:cubicBezTo>
                <a:cubicBezTo>
                  <a:pt x="7981" y="135729"/>
                  <a:pt x="5429" y="142135"/>
                  <a:pt x="4072" y="149031"/>
                </a:cubicBezTo>
                <a:cubicBezTo>
                  <a:pt x="1521" y="162787"/>
                  <a:pt x="159" y="176737"/>
                  <a:pt x="0" y="190727"/>
                </a:cubicBezTo>
                <a:lnTo>
                  <a:pt x="0" y="190727"/>
                </a:lnTo>
                <a:cubicBezTo>
                  <a:pt x="0" y="198654"/>
                  <a:pt x="326" y="206635"/>
                  <a:pt x="760" y="214562"/>
                </a:cubicBezTo>
                <a:cubicBezTo>
                  <a:pt x="910" y="217530"/>
                  <a:pt x="1439" y="220468"/>
                  <a:pt x="2335" y="223303"/>
                </a:cubicBezTo>
                <a:cubicBezTo>
                  <a:pt x="9004" y="243135"/>
                  <a:pt x="16891" y="262536"/>
                  <a:pt x="25952" y="281396"/>
                </a:cubicBezTo>
                <a:cubicBezTo>
                  <a:pt x="27642" y="285002"/>
                  <a:pt x="29583" y="288486"/>
                  <a:pt x="31761" y="291820"/>
                </a:cubicBezTo>
                <a:cubicBezTo>
                  <a:pt x="46746" y="314188"/>
                  <a:pt x="59667" y="337860"/>
                  <a:pt x="75195" y="359848"/>
                </a:cubicBezTo>
                <a:cubicBezTo>
                  <a:pt x="79435" y="365999"/>
                  <a:pt x="83332" y="372379"/>
                  <a:pt x="86868" y="378959"/>
                </a:cubicBezTo>
                <a:cubicBezTo>
                  <a:pt x="93115" y="390850"/>
                  <a:pt x="100059" y="402362"/>
                  <a:pt x="107662" y="413435"/>
                </a:cubicBezTo>
                <a:cubicBezTo>
                  <a:pt x="109399" y="415878"/>
                  <a:pt x="110594" y="418864"/>
                  <a:pt x="112277" y="421090"/>
                </a:cubicBezTo>
                <a:cubicBezTo>
                  <a:pt x="119172" y="431460"/>
                  <a:pt x="125470" y="442264"/>
                  <a:pt x="133342" y="451983"/>
                </a:cubicBezTo>
                <a:cubicBezTo>
                  <a:pt x="142789" y="463547"/>
                  <a:pt x="152453" y="475003"/>
                  <a:pt x="161249" y="487056"/>
                </a:cubicBezTo>
                <a:cubicBezTo>
                  <a:pt x="168958" y="497534"/>
                  <a:pt x="178459" y="506438"/>
                  <a:pt x="186332" y="516754"/>
                </a:cubicBezTo>
                <a:cubicBezTo>
                  <a:pt x="192351" y="522120"/>
                  <a:pt x="200789" y="523841"/>
                  <a:pt x="208429" y="521260"/>
                </a:cubicBezTo>
                <a:cubicBezTo>
                  <a:pt x="218129" y="517144"/>
                  <a:pt x="226467" y="510368"/>
                  <a:pt x="232480" y="501715"/>
                </a:cubicBezTo>
                <a:cubicBezTo>
                  <a:pt x="236552" y="496285"/>
                  <a:pt x="239973" y="489933"/>
                  <a:pt x="243773" y="484124"/>
                </a:cubicBezTo>
                <a:cubicBezTo>
                  <a:pt x="251612" y="471387"/>
                  <a:pt x="258455" y="458064"/>
                  <a:pt x="264242" y="444273"/>
                </a:cubicBezTo>
                <a:cubicBezTo>
                  <a:pt x="275697" y="419353"/>
                  <a:pt x="288185" y="394921"/>
                  <a:pt x="300726" y="370544"/>
                </a:cubicBezTo>
                <a:cubicBezTo>
                  <a:pt x="309871" y="353430"/>
                  <a:pt x="317870" y="335728"/>
                  <a:pt x="324669" y="317555"/>
                </a:cubicBezTo>
                <a:cubicBezTo>
                  <a:pt x="330549" y="300119"/>
                  <a:pt x="337811" y="283180"/>
                  <a:pt x="346386" y="266900"/>
                </a:cubicBezTo>
                <a:cubicBezTo>
                  <a:pt x="352122" y="256342"/>
                  <a:pt x="356153" y="244945"/>
                  <a:pt x="358331" y="233130"/>
                </a:cubicBezTo>
                <a:cubicBezTo>
                  <a:pt x="359006" y="229187"/>
                  <a:pt x="359986" y="225302"/>
                  <a:pt x="361262" y="221511"/>
                </a:cubicBezTo>
                <a:cubicBezTo>
                  <a:pt x="365481" y="208209"/>
                  <a:pt x="367749" y="194365"/>
                  <a:pt x="367995" y="180412"/>
                </a:cubicBezTo>
                <a:cubicBezTo>
                  <a:pt x="368863" y="164481"/>
                  <a:pt x="368482" y="148506"/>
                  <a:pt x="366854" y="132634"/>
                </a:cubicBezTo>
                <a:close/>
                <a:moveTo>
                  <a:pt x="247411" y="184755"/>
                </a:moveTo>
                <a:cubicBezTo>
                  <a:pt x="243013" y="194269"/>
                  <a:pt x="237191" y="203056"/>
                  <a:pt x="230146" y="210816"/>
                </a:cubicBezTo>
                <a:cubicBezTo>
                  <a:pt x="217649" y="224048"/>
                  <a:pt x="200188" y="231450"/>
                  <a:pt x="181988" y="231229"/>
                </a:cubicBezTo>
                <a:lnTo>
                  <a:pt x="181988" y="231229"/>
                </a:lnTo>
                <a:cubicBezTo>
                  <a:pt x="173970" y="231333"/>
                  <a:pt x="166018" y="229761"/>
                  <a:pt x="158643" y="226615"/>
                </a:cubicBezTo>
                <a:cubicBezTo>
                  <a:pt x="151155" y="223738"/>
                  <a:pt x="144950" y="218266"/>
                  <a:pt x="141161" y="211196"/>
                </a:cubicBezTo>
                <a:cubicBezTo>
                  <a:pt x="135207" y="200799"/>
                  <a:pt x="131110" y="189445"/>
                  <a:pt x="129053" y="177643"/>
                </a:cubicBezTo>
                <a:cubicBezTo>
                  <a:pt x="128619" y="174711"/>
                  <a:pt x="128456" y="171725"/>
                  <a:pt x="127859" y="168793"/>
                </a:cubicBezTo>
                <a:cubicBezTo>
                  <a:pt x="126012" y="157386"/>
                  <a:pt x="127917" y="145688"/>
                  <a:pt x="133288" y="135458"/>
                </a:cubicBezTo>
                <a:cubicBezTo>
                  <a:pt x="137654" y="125805"/>
                  <a:pt x="145624" y="118244"/>
                  <a:pt x="155494" y="114392"/>
                </a:cubicBezTo>
                <a:cubicBezTo>
                  <a:pt x="163766" y="110894"/>
                  <a:pt x="172546" y="108749"/>
                  <a:pt x="181500" y="108040"/>
                </a:cubicBezTo>
                <a:cubicBezTo>
                  <a:pt x="182959" y="107655"/>
                  <a:pt x="184492" y="107655"/>
                  <a:pt x="185952" y="108040"/>
                </a:cubicBezTo>
                <a:cubicBezTo>
                  <a:pt x="192141" y="110809"/>
                  <a:pt x="198656" y="109560"/>
                  <a:pt x="205063" y="110103"/>
                </a:cubicBezTo>
                <a:cubicBezTo>
                  <a:pt x="209579" y="110284"/>
                  <a:pt x="213958" y="111713"/>
                  <a:pt x="217713" y="114229"/>
                </a:cubicBezTo>
                <a:cubicBezTo>
                  <a:pt x="223739" y="118573"/>
                  <a:pt x="230146" y="122536"/>
                  <a:pt x="235901" y="127314"/>
                </a:cubicBezTo>
                <a:cubicBezTo>
                  <a:pt x="240961" y="131362"/>
                  <a:pt x="244734" y="136795"/>
                  <a:pt x="246759" y="142950"/>
                </a:cubicBezTo>
                <a:cubicBezTo>
                  <a:pt x="247737" y="146262"/>
                  <a:pt x="248877" y="149574"/>
                  <a:pt x="250017" y="152831"/>
                </a:cubicBezTo>
                <a:cubicBezTo>
                  <a:pt x="253677" y="163300"/>
                  <a:pt x="252771" y="174824"/>
                  <a:pt x="247520" y="184592"/>
                </a:cubicBezTo>
                <a:close/>
              </a:path>
            </a:pathLst>
          </a:custGeom>
          <a:solidFill>
            <a:srgbClr val="E18719"/>
          </a:solidFill>
          <a:ln w="5323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666666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08" name="Title 1">
            <a:extLst>
              <a:ext uri="{FF2B5EF4-FFF2-40B4-BE49-F238E27FC236}">
                <a16:creationId xmlns:a16="http://schemas.microsoft.com/office/drawing/2014/main" id="{24DF490E-CCAD-4DEE-A07B-8D8DC84C8569}"/>
              </a:ext>
            </a:extLst>
          </p:cNvPr>
          <p:cNvSpPr txBox="1">
            <a:spLocks/>
          </p:cNvSpPr>
          <p:nvPr/>
        </p:nvSpPr>
        <p:spPr>
          <a:xfrm>
            <a:off x="2277366" y="1454721"/>
            <a:ext cx="1606683" cy="48533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3600" b="0" kern="1200" cap="all" baseline="0">
                <a:solidFill>
                  <a:srgbClr val="E18719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3600" b="0" i="0" u="none" strike="noStrike" kern="1200" cap="all" spc="0" normalizeH="0" baseline="0" noProof="0" dirty="0">
                <a:ln>
                  <a:noFill/>
                </a:ln>
                <a:solidFill>
                  <a:srgbClr val="E18719"/>
                </a:solidFill>
                <a:effectLst/>
                <a:uLnTx/>
                <a:uFillTx/>
                <a:latin typeface="MDLZ BITE TYPE"/>
                <a:ea typeface="+mj-ea"/>
                <a:cs typeface="+mj-cs"/>
              </a:rPr>
              <a:t>PLANTS - </a:t>
            </a:r>
          </a:p>
        </p:txBody>
      </p:sp>
      <p:sp>
        <p:nvSpPr>
          <p:cNvPr id="109" name="Rectangle 108">
            <a:extLst>
              <a:ext uri="{FF2B5EF4-FFF2-40B4-BE49-F238E27FC236}">
                <a16:creationId xmlns:a16="http://schemas.microsoft.com/office/drawing/2014/main" id="{1E795BE3-800C-444D-A17E-0762143F566A}"/>
              </a:ext>
            </a:extLst>
          </p:cNvPr>
          <p:cNvSpPr/>
          <p:nvPr/>
        </p:nvSpPr>
        <p:spPr>
          <a:xfrm>
            <a:off x="1671559" y="1094417"/>
            <a:ext cx="554960" cy="101566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6000" b="0" i="0" u="none" strike="noStrike" kern="1200" cap="all" spc="0" normalizeH="0" baseline="0" noProof="0" dirty="0">
                <a:ln>
                  <a:noFill/>
                </a:ln>
                <a:solidFill>
                  <a:srgbClr val="C97B7B"/>
                </a:solidFill>
                <a:effectLst/>
                <a:uLnTx/>
                <a:uFillTx/>
                <a:latin typeface="MDLZ BITE TYPE"/>
                <a:ea typeface="+mn-ea"/>
                <a:cs typeface="+mn-cs"/>
              </a:rPr>
              <a:t>2</a:t>
            </a:r>
          </a:p>
        </p:txBody>
      </p:sp>
      <p:grpSp>
        <p:nvGrpSpPr>
          <p:cNvPr id="110" name="Group 109">
            <a:extLst>
              <a:ext uri="{FF2B5EF4-FFF2-40B4-BE49-F238E27FC236}">
                <a16:creationId xmlns:a16="http://schemas.microsoft.com/office/drawing/2014/main" id="{80642F83-252F-495D-BDF7-94E6BB668F6D}"/>
              </a:ext>
            </a:extLst>
          </p:cNvPr>
          <p:cNvGrpSpPr/>
          <p:nvPr/>
        </p:nvGrpSpPr>
        <p:grpSpPr>
          <a:xfrm>
            <a:off x="856367" y="4512738"/>
            <a:ext cx="516535" cy="331109"/>
            <a:chOff x="4318731" y="1996026"/>
            <a:chExt cx="956189" cy="528853"/>
          </a:xfrm>
        </p:grpSpPr>
        <p:sp>
          <p:nvSpPr>
            <p:cNvPr id="111" name="Free Form 111">
              <a:extLst>
                <a:ext uri="{FF2B5EF4-FFF2-40B4-BE49-F238E27FC236}">
                  <a16:creationId xmlns:a16="http://schemas.microsoft.com/office/drawing/2014/main" id="{E1C37FC0-CE84-4048-92B9-6705E23B49B9}"/>
                </a:ext>
              </a:extLst>
            </p:cNvPr>
            <p:cNvSpPr/>
            <p:nvPr/>
          </p:nvSpPr>
          <p:spPr>
            <a:xfrm>
              <a:off x="4318731" y="2305521"/>
              <a:ext cx="299822" cy="160655"/>
            </a:xfrm>
            <a:custGeom>
              <a:avLst/>
              <a:gdLst/>
              <a:ahLst/>
              <a:cxnLst/>
              <a:rect l="0" t="0" r="0" b="0"/>
              <a:pathLst>
                <a:path w="363420" h="194733">
                  <a:moveTo>
                    <a:pt x="363420" y="33681"/>
                  </a:moveTo>
                  <a:cubicBezTo>
                    <a:pt x="345116" y="10313"/>
                    <a:pt x="326936" y="8528"/>
                    <a:pt x="321379" y="6973"/>
                  </a:cubicBezTo>
                  <a:cubicBezTo>
                    <a:pt x="303845" y="2093"/>
                    <a:pt x="282663" y="4171"/>
                    <a:pt x="271333" y="0"/>
                  </a:cubicBezTo>
                  <a:cubicBezTo>
                    <a:pt x="269378" y="19673"/>
                    <a:pt x="237436" y="35282"/>
                    <a:pt x="198443" y="35282"/>
                  </a:cubicBezTo>
                  <a:cubicBezTo>
                    <a:pt x="159404" y="35282"/>
                    <a:pt x="127538" y="19673"/>
                    <a:pt x="125583" y="0"/>
                  </a:cubicBezTo>
                  <a:cubicBezTo>
                    <a:pt x="114269" y="4233"/>
                    <a:pt x="93087" y="2155"/>
                    <a:pt x="75538" y="6973"/>
                  </a:cubicBezTo>
                  <a:cubicBezTo>
                    <a:pt x="66655" y="9421"/>
                    <a:pt x="25338" y="12576"/>
                    <a:pt x="3017" y="103955"/>
                  </a:cubicBezTo>
                  <a:cubicBezTo>
                    <a:pt x="0" y="116347"/>
                    <a:pt x="1046" y="129817"/>
                    <a:pt x="5972" y="140900"/>
                  </a:cubicBezTo>
                  <a:cubicBezTo>
                    <a:pt x="24291" y="182033"/>
                    <a:pt x="120611" y="194733"/>
                    <a:pt x="198443" y="194671"/>
                  </a:cubicBezTo>
                  <a:cubicBezTo>
                    <a:pt x="234034" y="194671"/>
                    <a:pt x="273519" y="191993"/>
                    <a:pt x="307601" y="185189"/>
                  </a:cubicBezTo>
                  <a:cubicBezTo>
                    <a:pt x="305708" y="171719"/>
                    <a:pt x="306247" y="157726"/>
                    <a:pt x="309510" y="144364"/>
                  </a:cubicBezTo>
                  <a:cubicBezTo>
                    <a:pt x="321717" y="94595"/>
                    <a:pt x="339775" y="57634"/>
                    <a:pt x="363420" y="33681"/>
                  </a:cubicBezTo>
                  <a:close/>
                </a:path>
              </a:pathLst>
            </a:custGeom>
            <a:solidFill>
              <a:srgbClr val="957AA9"/>
            </a:solidFill>
            <a:ln w="1270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85" b="0" i="0" u="none" strike="noStrike" kern="1200" cap="none" spc="0" normalizeH="0" baseline="0" noProof="0">
                <a:ln>
                  <a:noFill/>
                </a:ln>
                <a:solidFill>
                  <a:srgbClr val="666666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12" name="Free Form 112">
              <a:extLst>
                <a:ext uri="{FF2B5EF4-FFF2-40B4-BE49-F238E27FC236}">
                  <a16:creationId xmlns:a16="http://schemas.microsoft.com/office/drawing/2014/main" id="{D8B5DB91-583A-4B02-A8D1-A6413CF471F4}"/>
                </a:ext>
              </a:extLst>
            </p:cNvPr>
            <p:cNvSpPr/>
            <p:nvPr/>
          </p:nvSpPr>
          <p:spPr>
            <a:xfrm>
              <a:off x="4392184" y="2052081"/>
              <a:ext cx="180404" cy="255804"/>
            </a:xfrm>
            <a:custGeom>
              <a:avLst/>
              <a:gdLst/>
              <a:ahLst/>
              <a:cxnLst/>
              <a:rect l="0" t="0" r="0" b="0"/>
              <a:pathLst>
                <a:path w="218670" h="310064">
                  <a:moveTo>
                    <a:pt x="19319" y="209988"/>
                  </a:moveTo>
                  <a:cubicBezTo>
                    <a:pt x="27555" y="236327"/>
                    <a:pt x="40609" y="261850"/>
                    <a:pt x="56711" y="280554"/>
                  </a:cubicBezTo>
                  <a:cubicBezTo>
                    <a:pt x="65839" y="291160"/>
                    <a:pt x="75938" y="299519"/>
                    <a:pt x="86729" y="304646"/>
                  </a:cubicBezTo>
                  <a:cubicBezTo>
                    <a:pt x="94149" y="308094"/>
                    <a:pt x="101877" y="310064"/>
                    <a:pt x="109820" y="310064"/>
                  </a:cubicBezTo>
                  <a:cubicBezTo>
                    <a:pt x="117748" y="310064"/>
                    <a:pt x="125522" y="308094"/>
                    <a:pt x="132895" y="304646"/>
                  </a:cubicBezTo>
                  <a:cubicBezTo>
                    <a:pt x="144056" y="299396"/>
                    <a:pt x="154524" y="290576"/>
                    <a:pt x="163868" y="279492"/>
                  </a:cubicBezTo>
                  <a:cubicBezTo>
                    <a:pt x="179570" y="260834"/>
                    <a:pt x="192316" y="235681"/>
                    <a:pt x="200413" y="209804"/>
                  </a:cubicBezTo>
                  <a:cubicBezTo>
                    <a:pt x="206632" y="207664"/>
                    <a:pt x="213113" y="193840"/>
                    <a:pt x="215761" y="176199"/>
                  </a:cubicBezTo>
                  <a:cubicBezTo>
                    <a:pt x="218670" y="157064"/>
                    <a:pt x="215915" y="140315"/>
                    <a:pt x="209696" y="137575"/>
                  </a:cubicBezTo>
                  <a:cubicBezTo>
                    <a:pt x="209896" y="132865"/>
                    <a:pt x="210050" y="128154"/>
                    <a:pt x="210050" y="123320"/>
                  </a:cubicBezTo>
                  <a:cubicBezTo>
                    <a:pt x="209896" y="53878"/>
                    <a:pt x="175614" y="8051"/>
                    <a:pt x="121565" y="3756"/>
                  </a:cubicBezTo>
                  <a:cubicBezTo>
                    <a:pt x="74429" y="0"/>
                    <a:pt x="38931" y="22244"/>
                    <a:pt x="22783" y="59189"/>
                  </a:cubicBezTo>
                  <a:cubicBezTo>
                    <a:pt x="17318" y="71643"/>
                    <a:pt x="14254" y="92686"/>
                    <a:pt x="13054" y="109558"/>
                  </a:cubicBezTo>
                  <a:cubicBezTo>
                    <a:pt x="11252" y="118317"/>
                    <a:pt x="10175" y="127508"/>
                    <a:pt x="10175" y="136975"/>
                  </a:cubicBezTo>
                  <a:lnTo>
                    <a:pt x="10390" y="136975"/>
                  </a:lnTo>
                  <a:lnTo>
                    <a:pt x="10390" y="137206"/>
                  </a:lnTo>
                  <a:cubicBezTo>
                    <a:pt x="10283" y="137206"/>
                    <a:pt x="10129" y="137206"/>
                    <a:pt x="10021" y="137267"/>
                  </a:cubicBezTo>
                  <a:cubicBezTo>
                    <a:pt x="3155" y="138699"/>
                    <a:pt x="0" y="156171"/>
                    <a:pt x="3001" y="176260"/>
                  </a:cubicBezTo>
                  <a:cubicBezTo>
                    <a:pt x="5818" y="194610"/>
                    <a:pt x="12792" y="208926"/>
                    <a:pt x="19319" y="209988"/>
                  </a:cubicBezTo>
                  <a:close/>
                  <a:moveTo>
                    <a:pt x="20874" y="158249"/>
                  </a:moveTo>
                  <a:cubicBezTo>
                    <a:pt x="21536" y="155863"/>
                    <a:pt x="22428" y="154077"/>
                    <a:pt x="23583" y="153061"/>
                  </a:cubicBezTo>
                  <a:cubicBezTo>
                    <a:pt x="24091" y="152646"/>
                    <a:pt x="24599" y="152415"/>
                    <a:pt x="25138" y="152292"/>
                  </a:cubicBezTo>
                  <a:cubicBezTo>
                    <a:pt x="26400" y="151999"/>
                    <a:pt x="27755" y="152584"/>
                    <a:pt x="29063" y="153847"/>
                  </a:cubicBezTo>
                  <a:cubicBezTo>
                    <a:pt x="29063" y="153723"/>
                    <a:pt x="29063" y="153600"/>
                    <a:pt x="29109" y="153492"/>
                  </a:cubicBezTo>
                  <a:cubicBezTo>
                    <a:pt x="29556" y="148243"/>
                    <a:pt x="35436" y="102708"/>
                    <a:pt x="72366" y="106756"/>
                  </a:cubicBezTo>
                  <a:cubicBezTo>
                    <a:pt x="72366" y="106756"/>
                    <a:pt x="104740" y="120873"/>
                    <a:pt x="134204" y="108357"/>
                  </a:cubicBezTo>
                  <a:cubicBezTo>
                    <a:pt x="137360" y="108311"/>
                    <a:pt x="140469" y="108250"/>
                    <a:pt x="143348" y="108357"/>
                  </a:cubicBezTo>
                  <a:cubicBezTo>
                    <a:pt x="155540" y="108896"/>
                    <a:pt x="163930" y="116408"/>
                    <a:pt x="172643" y="121242"/>
                  </a:cubicBezTo>
                  <a:cubicBezTo>
                    <a:pt x="172304" y="116470"/>
                    <a:pt x="169225" y="111575"/>
                    <a:pt x="169379" y="108357"/>
                  </a:cubicBezTo>
                  <a:cubicBezTo>
                    <a:pt x="170795" y="108835"/>
                    <a:pt x="172042" y="109558"/>
                    <a:pt x="173258" y="110328"/>
                  </a:cubicBezTo>
                  <a:cubicBezTo>
                    <a:pt x="179570" y="118317"/>
                    <a:pt x="185650" y="131664"/>
                    <a:pt x="190515" y="153539"/>
                  </a:cubicBezTo>
                  <a:lnTo>
                    <a:pt x="190515" y="153847"/>
                  </a:lnTo>
                  <a:cubicBezTo>
                    <a:pt x="190515" y="153847"/>
                    <a:pt x="190561" y="153847"/>
                    <a:pt x="190561" y="153785"/>
                  </a:cubicBezTo>
                  <a:lnTo>
                    <a:pt x="190561" y="153847"/>
                  </a:lnTo>
                  <a:lnTo>
                    <a:pt x="190669" y="153723"/>
                  </a:lnTo>
                  <a:cubicBezTo>
                    <a:pt x="191931" y="152538"/>
                    <a:pt x="193224" y="151984"/>
                    <a:pt x="194487" y="152230"/>
                  </a:cubicBezTo>
                  <a:cubicBezTo>
                    <a:pt x="194779" y="152292"/>
                    <a:pt x="195133" y="152415"/>
                    <a:pt x="195395" y="152584"/>
                  </a:cubicBezTo>
                  <a:cubicBezTo>
                    <a:pt x="199397" y="154847"/>
                    <a:pt x="201168" y="166008"/>
                    <a:pt x="199243" y="178754"/>
                  </a:cubicBezTo>
                  <a:cubicBezTo>
                    <a:pt x="197796" y="188529"/>
                    <a:pt x="194579" y="196580"/>
                    <a:pt x="191115" y="200044"/>
                  </a:cubicBezTo>
                  <a:cubicBezTo>
                    <a:pt x="189761" y="201398"/>
                    <a:pt x="188344" y="202060"/>
                    <a:pt x="187005" y="201768"/>
                  </a:cubicBezTo>
                  <a:cubicBezTo>
                    <a:pt x="186251" y="201583"/>
                    <a:pt x="185558" y="201168"/>
                    <a:pt x="184942" y="200444"/>
                  </a:cubicBezTo>
                  <a:cubicBezTo>
                    <a:pt x="177461" y="228045"/>
                    <a:pt x="163221" y="255585"/>
                    <a:pt x="145257" y="272272"/>
                  </a:cubicBezTo>
                  <a:cubicBezTo>
                    <a:pt x="134496" y="282232"/>
                    <a:pt x="122458" y="288374"/>
                    <a:pt x="109758" y="288374"/>
                  </a:cubicBezTo>
                  <a:cubicBezTo>
                    <a:pt x="97305" y="288374"/>
                    <a:pt x="85528" y="282463"/>
                    <a:pt x="74922" y="272934"/>
                  </a:cubicBezTo>
                  <a:cubicBezTo>
                    <a:pt x="56618" y="256293"/>
                    <a:pt x="42102" y="228461"/>
                    <a:pt x="34574" y="200506"/>
                  </a:cubicBezTo>
                  <a:cubicBezTo>
                    <a:pt x="33974" y="201229"/>
                    <a:pt x="33266" y="201645"/>
                    <a:pt x="32512" y="201768"/>
                  </a:cubicBezTo>
                  <a:cubicBezTo>
                    <a:pt x="30972" y="202060"/>
                    <a:pt x="29356" y="201168"/>
                    <a:pt x="27755" y="199320"/>
                  </a:cubicBezTo>
                  <a:cubicBezTo>
                    <a:pt x="24599" y="195564"/>
                    <a:pt x="21674" y="187929"/>
                    <a:pt x="20320" y="178754"/>
                  </a:cubicBezTo>
                  <a:cubicBezTo>
                    <a:pt x="20227" y="178154"/>
                    <a:pt x="20181" y="177569"/>
                    <a:pt x="20135" y="176968"/>
                  </a:cubicBezTo>
                  <a:cubicBezTo>
                    <a:pt x="20273" y="170580"/>
                    <a:pt x="20473" y="164391"/>
                    <a:pt x="20889" y="158249"/>
                  </a:cubicBezTo>
                  <a:close/>
                </a:path>
              </a:pathLst>
            </a:custGeom>
            <a:solidFill>
              <a:srgbClr val="957AA9"/>
            </a:solidFill>
            <a:ln w="1270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85" b="0" i="0" u="none" strike="noStrike" kern="1200" cap="none" spc="0" normalizeH="0" baseline="0" noProof="0">
                <a:ln>
                  <a:noFill/>
                </a:ln>
                <a:solidFill>
                  <a:srgbClr val="666666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13" name="Free Form 113">
              <a:extLst>
                <a:ext uri="{FF2B5EF4-FFF2-40B4-BE49-F238E27FC236}">
                  <a16:creationId xmlns:a16="http://schemas.microsoft.com/office/drawing/2014/main" id="{881E52DE-8874-48CC-8AC4-EEE9E354E183}"/>
                </a:ext>
              </a:extLst>
            </p:cNvPr>
            <p:cNvSpPr/>
            <p:nvPr/>
          </p:nvSpPr>
          <p:spPr>
            <a:xfrm>
              <a:off x="4589985" y="1996026"/>
              <a:ext cx="410058" cy="528853"/>
            </a:xfrm>
            <a:custGeom>
              <a:avLst/>
              <a:gdLst/>
              <a:ahLst/>
              <a:cxnLst/>
              <a:rect l="0" t="0" r="0" b="0"/>
              <a:pathLst>
                <a:path w="497039" h="641034">
                  <a:moveTo>
                    <a:pt x="402428" y="406076"/>
                  </a:moveTo>
                  <a:cubicBezTo>
                    <a:pt x="401119" y="405722"/>
                    <a:pt x="399811" y="405368"/>
                    <a:pt x="398502" y="405122"/>
                  </a:cubicBezTo>
                  <a:cubicBezTo>
                    <a:pt x="364728" y="368053"/>
                    <a:pt x="387773" y="213329"/>
                    <a:pt x="387773" y="213329"/>
                  </a:cubicBezTo>
                  <a:cubicBezTo>
                    <a:pt x="387773" y="16209"/>
                    <a:pt x="293962" y="0"/>
                    <a:pt x="263097" y="0"/>
                  </a:cubicBezTo>
                  <a:cubicBezTo>
                    <a:pt x="257032" y="0"/>
                    <a:pt x="253399" y="600"/>
                    <a:pt x="253399" y="600"/>
                  </a:cubicBezTo>
                  <a:cubicBezTo>
                    <a:pt x="251752" y="477"/>
                    <a:pt x="250136" y="415"/>
                    <a:pt x="248550" y="369"/>
                  </a:cubicBezTo>
                  <a:cubicBezTo>
                    <a:pt x="246934" y="415"/>
                    <a:pt x="245333" y="538"/>
                    <a:pt x="243670" y="600"/>
                  </a:cubicBezTo>
                  <a:cubicBezTo>
                    <a:pt x="243670" y="600"/>
                    <a:pt x="240053" y="0"/>
                    <a:pt x="233987" y="0"/>
                  </a:cubicBezTo>
                  <a:cubicBezTo>
                    <a:pt x="203169" y="0"/>
                    <a:pt x="109312" y="16209"/>
                    <a:pt x="109312" y="213329"/>
                  </a:cubicBezTo>
                  <a:cubicBezTo>
                    <a:pt x="109312" y="213329"/>
                    <a:pt x="132357" y="368130"/>
                    <a:pt x="98582" y="405122"/>
                  </a:cubicBezTo>
                  <a:cubicBezTo>
                    <a:pt x="97274" y="405430"/>
                    <a:pt x="95965" y="405722"/>
                    <a:pt x="94657" y="406076"/>
                  </a:cubicBezTo>
                  <a:cubicBezTo>
                    <a:pt x="83512" y="409186"/>
                    <a:pt x="31773" y="413111"/>
                    <a:pt x="3802" y="527488"/>
                  </a:cubicBezTo>
                  <a:cubicBezTo>
                    <a:pt x="0" y="543052"/>
                    <a:pt x="1354" y="559923"/>
                    <a:pt x="7527" y="573747"/>
                  </a:cubicBezTo>
                  <a:cubicBezTo>
                    <a:pt x="30418" y="625178"/>
                    <a:pt x="150814" y="641034"/>
                    <a:pt x="248288" y="641034"/>
                  </a:cubicBezTo>
                  <a:lnTo>
                    <a:pt x="248535" y="641034"/>
                  </a:lnTo>
                  <a:lnTo>
                    <a:pt x="248796" y="641034"/>
                  </a:lnTo>
                  <a:cubicBezTo>
                    <a:pt x="346271" y="641034"/>
                    <a:pt x="466621" y="625178"/>
                    <a:pt x="489542" y="573747"/>
                  </a:cubicBezTo>
                  <a:cubicBezTo>
                    <a:pt x="495731" y="559923"/>
                    <a:pt x="497039" y="542990"/>
                    <a:pt x="493252" y="527488"/>
                  </a:cubicBezTo>
                  <a:cubicBezTo>
                    <a:pt x="465251" y="413111"/>
                    <a:pt x="413558" y="409186"/>
                    <a:pt x="402412" y="406076"/>
                  </a:cubicBezTo>
                  <a:close/>
                  <a:moveTo>
                    <a:pt x="339790" y="397317"/>
                  </a:moveTo>
                  <a:cubicBezTo>
                    <a:pt x="339328" y="401597"/>
                    <a:pt x="337727" y="405784"/>
                    <a:pt x="335126" y="409709"/>
                  </a:cubicBezTo>
                  <a:cubicBezTo>
                    <a:pt x="322980" y="428197"/>
                    <a:pt x="288790" y="454829"/>
                    <a:pt x="248535" y="454829"/>
                  </a:cubicBezTo>
                  <a:cubicBezTo>
                    <a:pt x="208249" y="454829"/>
                    <a:pt x="174059" y="428197"/>
                    <a:pt x="161913" y="409709"/>
                  </a:cubicBezTo>
                  <a:cubicBezTo>
                    <a:pt x="159296" y="405784"/>
                    <a:pt x="157710" y="401597"/>
                    <a:pt x="157295" y="397317"/>
                  </a:cubicBezTo>
                  <a:cubicBezTo>
                    <a:pt x="157895" y="397086"/>
                    <a:pt x="159296" y="396486"/>
                    <a:pt x="161159" y="395531"/>
                  </a:cubicBezTo>
                  <a:cubicBezTo>
                    <a:pt x="161913" y="395116"/>
                    <a:pt x="162775" y="394639"/>
                    <a:pt x="163622" y="394100"/>
                  </a:cubicBezTo>
                  <a:cubicBezTo>
                    <a:pt x="170995" y="389512"/>
                    <a:pt x="181787" y="379907"/>
                    <a:pt x="181787" y="363096"/>
                  </a:cubicBezTo>
                  <a:cubicBezTo>
                    <a:pt x="193378" y="376751"/>
                    <a:pt x="206340" y="387604"/>
                    <a:pt x="220133" y="394100"/>
                  </a:cubicBezTo>
                  <a:cubicBezTo>
                    <a:pt x="229431" y="398441"/>
                    <a:pt x="239114" y="400888"/>
                    <a:pt x="249043" y="400888"/>
                  </a:cubicBezTo>
                  <a:cubicBezTo>
                    <a:pt x="258987" y="400888"/>
                    <a:pt x="268670" y="398441"/>
                    <a:pt x="277952" y="394100"/>
                  </a:cubicBezTo>
                  <a:cubicBezTo>
                    <a:pt x="291607" y="387665"/>
                    <a:pt x="304461" y="376982"/>
                    <a:pt x="316006" y="363450"/>
                  </a:cubicBezTo>
                  <a:cubicBezTo>
                    <a:pt x="316099" y="363512"/>
                    <a:pt x="316160" y="363574"/>
                    <a:pt x="316237" y="363574"/>
                  </a:cubicBezTo>
                  <a:cubicBezTo>
                    <a:pt x="316545" y="385279"/>
                    <a:pt x="334864" y="394823"/>
                    <a:pt x="339836" y="396963"/>
                  </a:cubicBezTo>
                  <a:cubicBezTo>
                    <a:pt x="339836" y="397086"/>
                    <a:pt x="339836" y="397194"/>
                    <a:pt x="339790" y="397317"/>
                  </a:cubicBezTo>
                  <a:close/>
                  <a:moveTo>
                    <a:pt x="361018" y="236497"/>
                  </a:moveTo>
                  <a:cubicBezTo>
                    <a:pt x="359202" y="248719"/>
                    <a:pt x="355153" y="258802"/>
                    <a:pt x="350874" y="263144"/>
                  </a:cubicBezTo>
                  <a:cubicBezTo>
                    <a:pt x="349427" y="264637"/>
                    <a:pt x="347918" y="265406"/>
                    <a:pt x="346502" y="265406"/>
                  </a:cubicBezTo>
                  <a:cubicBezTo>
                    <a:pt x="346271" y="265406"/>
                    <a:pt x="346009" y="265406"/>
                    <a:pt x="345747" y="265345"/>
                  </a:cubicBezTo>
                  <a:cubicBezTo>
                    <a:pt x="344808" y="265176"/>
                    <a:pt x="343946" y="264575"/>
                    <a:pt x="343192" y="263744"/>
                  </a:cubicBezTo>
                  <a:cubicBezTo>
                    <a:pt x="333756" y="298550"/>
                    <a:pt x="315698" y="333294"/>
                    <a:pt x="292962" y="354168"/>
                  </a:cubicBezTo>
                  <a:cubicBezTo>
                    <a:pt x="279707" y="366314"/>
                    <a:pt x="264806" y="373780"/>
                    <a:pt x="249043" y="373780"/>
                  </a:cubicBezTo>
                  <a:cubicBezTo>
                    <a:pt x="233233" y="373780"/>
                    <a:pt x="218224" y="366206"/>
                    <a:pt x="204877" y="353922"/>
                  </a:cubicBezTo>
                  <a:cubicBezTo>
                    <a:pt x="182233" y="333063"/>
                    <a:pt x="164268" y="298426"/>
                    <a:pt x="154893" y="263744"/>
                  </a:cubicBezTo>
                  <a:cubicBezTo>
                    <a:pt x="154124" y="264575"/>
                    <a:pt x="153231" y="265176"/>
                    <a:pt x="152323" y="265345"/>
                  </a:cubicBezTo>
                  <a:cubicBezTo>
                    <a:pt x="152076" y="265406"/>
                    <a:pt x="151830" y="265406"/>
                    <a:pt x="151522" y="265406"/>
                  </a:cubicBezTo>
                  <a:cubicBezTo>
                    <a:pt x="149813" y="265406"/>
                    <a:pt x="148058" y="264283"/>
                    <a:pt x="146350" y="262251"/>
                  </a:cubicBezTo>
                  <a:cubicBezTo>
                    <a:pt x="142378" y="257540"/>
                    <a:pt x="138730" y="248011"/>
                    <a:pt x="137021" y="236558"/>
                  </a:cubicBezTo>
                  <a:cubicBezTo>
                    <a:pt x="134758" y="221488"/>
                    <a:pt x="136559" y="208187"/>
                    <a:pt x="141039" y="204369"/>
                  </a:cubicBezTo>
                  <a:cubicBezTo>
                    <a:pt x="141639" y="203846"/>
                    <a:pt x="142301" y="203477"/>
                    <a:pt x="142978" y="203369"/>
                  </a:cubicBezTo>
                  <a:cubicBezTo>
                    <a:pt x="143240" y="203307"/>
                    <a:pt x="143502" y="203307"/>
                    <a:pt x="143733" y="203307"/>
                  </a:cubicBezTo>
                  <a:cubicBezTo>
                    <a:pt x="145103" y="203307"/>
                    <a:pt x="146504" y="204015"/>
                    <a:pt x="147904" y="205324"/>
                  </a:cubicBezTo>
                  <a:cubicBezTo>
                    <a:pt x="147904" y="205324"/>
                    <a:pt x="147904" y="205155"/>
                    <a:pt x="147966" y="204847"/>
                  </a:cubicBezTo>
                  <a:cubicBezTo>
                    <a:pt x="148012" y="204431"/>
                    <a:pt x="148058" y="203846"/>
                    <a:pt x="148151" y="202953"/>
                  </a:cubicBezTo>
                  <a:cubicBezTo>
                    <a:pt x="149505" y="190192"/>
                    <a:pt x="158049" y="129755"/>
                    <a:pt x="197596" y="129755"/>
                  </a:cubicBezTo>
                  <a:cubicBezTo>
                    <a:pt x="199059" y="129755"/>
                    <a:pt x="200567" y="129817"/>
                    <a:pt x="202107" y="129986"/>
                  </a:cubicBezTo>
                  <a:lnTo>
                    <a:pt x="343561" y="216484"/>
                  </a:lnTo>
                  <a:lnTo>
                    <a:pt x="355045" y="203307"/>
                  </a:lnTo>
                  <a:cubicBezTo>
                    <a:pt x="355446" y="203369"/>
                    <a:pt x="355861" y="203538"/>
                    <a:pt x="356200" y="203723"/>
                  </a:cubicBezTo>
                  <a:cubicBezTo>
                    <a:pt x="361264" y="206586"/>
                    <a:pt x="363435" y="220533"/>
                    <a:pt x="361018" y="236497"/>
                  </a:cubicBezTo>
                  <a:close/>
                </a:path>
              </a:pathLst>
            </a:custGeom>
            <a:solidFill>
              <a:srgbClr val="4F206F">
                <a:alpha val="100000"/>
              </a:srgbClr>
            </a:solidFill>
            <a:ln w="1270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85" b="0" i="0" u="none" strike="noStrike" kern="1200" cap="none" spc="0" normalizeH="0" baseline="0" noProof="0">
                <a:ln>
                  <a:noFill/>
                </a:ln>
                <a:solidFill>
                  <a:srgbClr val="666666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14" name="Free Form 114">
              <a:extLst>
                <a:ext uri="{FF2B5EF4-FFF2-40B4-BE49-F238E27FC236}">
                  <a16:creationId xmlns:a16="http://schemas.microsoft.com/office/drawing/2014/main" id="{1E110B52-954C-485A-83A3-504E375D22F6}"/>
                </a:ext>
              </a:extLst>
            </p:cNvPr>
            <p:cNvSpPr/>
            <p:nvPr/>
          </p:nvSpPr>
          <p:spPr>
            <a:xfrm>
              <a:off x="4970971" y="2303756"/>
              <a:ext cx="303949" cy="162420"/>
            </a:xfrm>
            <a:custGeom>
              <a:avLst/>
              <a:gdLst/>
              <a:ahLst/>
              <a:cxnLst/>
              <a:rect l="0" t="0" r="0" b="0"/>
              <a:pathLst>
                <a:path w="368423" h="196873">
                  <a:moveTo>
                    <a:pt x="365375" y="105079"/>
                  </a:moveTo>
                  <a:cubicBezTo>
                    <a:pt x="342730" y="12700"/>
                    <a:pt x="300982" y="9528"/>
                    <a:pt x="291992" y="7019"/>
                  </a:cubicBezTo>
                  <a:cubicBezTo>
                    <a:pt x="274273" y="2139"/>
                    <a:pt x="252845" y="4233"/>
                    <a:pt x="241407" y="0"/>
                  </a:cubicBezTo>
                  <a:cubicBezTo>
                    <a:pt x="240053" y="13284"/>
                    <a:pt x="207417" y="57096"/>
                    <a:pt x="186051" y="84635"/>
                  </a:cubicBezTo>
                  <a:lnTo>
                    <a:pt x="176753" y="42194"/>
                  </a:lnTo>
                  <a:cubicBezTo>
                    <a:pt x="183742" y="37314"/>
                    <a:pt x="185250" y="26523"/>
                    <a:pt x="185250" y="17579"/>
                  </a:cubicBezTo>
                  <a:lnTo>
                    <a:pt x="150121" y="17579"/>
                  </a:lnTo>
                  <a:cubicBezTo>
                    <a:pt x="150121" y="26462"/>
                    <a:pt x="151614" y="37130"/>
                    <a:pt x="158449" y="42071"/>
                  </a:cubicBezTo>
                  <a:lnTo>
                    <a:pt x="149367" y="84635"/>
                  </a:lnTo>
                  <a:cubicBezTo>
                    <a:pt x="127969" y="57157"/>
                    <a:pt x="95350" y="13346"/>
                    <a:pt x="93995" y="0"/>
                  </a:cubicBezTo>
                  <a:cubicBezTo>
                    <a:pt x="82557" y="4233"/>
                    <a:pt x="61113" y="2139"/>
                    <a:pt x="43410" y="7096"/>
                  </a:cubicBezTo>
                  <a:cubicBezTo>
                    <a:pt x="37730" y="8697"/>
                    <a:pt x="18857" y="10544"/>
                    <a:pt x="0" y="35221"/>
                  </a:cubicBezTo>
                  <a:cubicBezTo>
                    <a:pt x="23876" y="59189"/>
                    <a:pt x="42148" y="96381"/>
                    <a:pt x="54402" y="146565"/>
                  </a:cubicBezTo>
                  <a:cubicBezTo>
                    <a:pt x="57665" y="159804"/>
                    <a:pt x="58219" y="173736"/>
                    <a:pt x="56357" y="187097"/>
                  </a:cubicBezTo>
                  <a:cubicBezTo>
                    <a:pt x="91039" y="194132"/>
                    <a:pt x="131341" y="196873"/>
                    <a:pt x="167624" y="196873"/>
                  </a:cubicBezTo>
                  <a:cubicBezTo>
                    <a:pt x="246380" y="196873"/>
                    <a:pt x="343746" y="184049"/>
                    <a:pt x="362265" y="142517"/>
                  </a:cubicBezTo>
                  <a:cubicBezTo>
                    <a:pt x="367330" y="131248"/>
                    <a:pt x="368423" y="117594"/>
                    <a:pt x="365375" y="105079"/>
                  </a:cubicBezTo>
                  <a:close/>
                </a:path>
              </a:pathLst>
            </a:custGeom>
            <a:solidFill>
              <a:srgbClr val="957AA9"/>
            </a:solidFill>
            <a:ln w="1270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85" b="0" i="0" u="none" strike="noStrike" kern="1200" cap="none" spc="0" normalizeH="0" baseline="0" noProof="0">
                <a:ln>
                  <a:noFill/>
                </a:ln>
                <a:solidFill>
                  <a:srgbClr val="666666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15" name="Free Form 115">
              <a:extLst>
                <a:ext uri="{FF2B5EF4-FFF2-40B4-BE49-F238E27FC236}">
                  <a16:creationId xmlns:a16="http://schemas.microsoft.com/office/drawing/2014/main" id="{AB1DEDB9-C80A-4776-958B-A69339027DD9}"/>
                </a:ext>
              </a:extLst>
            </p:cNvPr>
            <p:cNvSpPr/>
            <p:nvPr/>
          </p:nvSpPr>
          <p:spPr>
            <a:xfrm>
              <a:off x="5018051" y="2051879"/>
              <a:ext cx="182398" cy="254191"/>
            </a:xfrm>
            <a:custGeom>
              <a:avLst/>
              <a:gdLst/>
              <a:ahLst/>
              <a:cxnLst/>
              <a:rect l="0" t="0" r="0" b="0"/>
              <a:pathLst>
                <a:path w="221087" h="308109">
                  <a:moveTo>
                    <a:pt x="19565" y="206956"/>
                  </a:moveTo>
                  <a:cubicBezTo>
                    <a:pt x="27909" y="233541"/>
                    <a:pt x="41101" y="259403"/>
                    <a:pt x="57357" y="278307"/>
                  </a:cubicBezTo>
                  <a:cubicBezTo>
                    <a:pt x="66609" y="289036"/>
                    <a:pt x="76846" y="297487"/>
                    <a:pt x="87730" y="302614"/>
                  </a:cubicBezTo>
                  <a:cubicBezTo>
                    <a:pt x="95211" y="306139"/>
                    <a:pt x="103047" y="308109"/>
                    <a:pt x="111067" y="308109"/>
                  </a:cubicBezTo>
                  <a:cubicBezTo>
                    <a:pt x="119102" y="308109"/>
                    <a:pt x="126938" y="306139"/>
                    <a:pt x="134404" y="302614"/>
                  </a:cubicBezTo>
                  <a:cubicBezTo>
                    <a:pt x="145688" y="297318"/>
                    <a:pt x="156248" y="288436"/>
                    <a:pt x="165731" y="277167"/>
                  </a:cubicBezTo>
                  <a:cubicBezTo>
                    <a:pt x="181633" y="258325"/>
                    <a:pt x="194487" y="232879"/>
                    <a:pt x="202615" y="206709"/>
                  </a:cubicBezTo>
                  <a:cubicBezTo>
                    <a:pt x="208895" y="204508"/>
                    <a:pt x="215515" y="190561"/>
                    <a:pt x="218162" y="172673"/>
                  </a:cubicBezTo>
                  <a:cubicBezTo>
                    <a:pt x="221087" y="153308"/>
                    <a:pt x="218316" y="136436"/>
                    <a:pt x="212051" y="133573"/>
                  </a:cubicBezTo>
                  <a:cubicBezTo>
                    <a:pt x="212313" y="128878"/>
                    <a:pt x="212390" y="124105"/>
                    <a:pt x="212390" y="119149"/>
                  </a:cubicBezTo>
                  <a:cubicBezTo>
                    <a:pt x="212251" y="48937"/>
                    <a:pt x="177569" y="8174"/>
                    <a:pt x="122966" y="3817"/>
                  </a:cubicBezTo>
                  <a:cubicBezTo>
                    <a:pt x="75337" y="0"/>
                    <a:pt x="39393" y="22475"/>
                    <a:pt x="23090" y="59851"/>
                  </a:cubicBezTo>
                  <a:cubicBezTo>
                    <a:pt x="17564" y="72428"/>
                    <a:pt x="14454" y="88161"/>
                    <a:pt x="13254" y="105279"/>
                  </a:cubicBezTo>
                  <a:cubicBezTo>
                    <a:pt x="11391" y="114146"/>
                    <a:pt x="10329" y="123382"/>
                    <a:pt x="10329" y="132988"/>
                  </a:cubicBezTo>
                  <a:lnTo>
                    <a:pt x="10483" y="132988"/>
                  </a:lnTo>
                  <a:lnTo>
                    <a:pt x="10483" y="133219"/>
                  </a:lnTo>
                  <a:cubicBezTo>
                    <a:pt x="10390" y="133219"/>
                    <a:pt x="10252" y="133219"/>
                    <a:pt x="10144" y="133280"/>
                  </a:cubicBezTo>
                  <a:cubicBezTo>
                    <a:pt x="3171" y="134712"/>
                    <a:pt x="0" y="152353"/>
                    <a:pt x="3063" y="172735"/>
                  </a:cubicBezTo>
                  <a:cubicBezTo>
                    <a:pt x="5911" y="191454"/>
                    <a:pt x="12992" y="205878"/>
                    <a:pt x="19581" y="206956"/>
                  </a:cubicBezTo>
                  <a:close/>
                  <a:moveTo>
                    <a:pt x="21135" y="154678"/>
                  </a:moveTo>
                  <a:cubicBezTo>
                    <a:pt x="21782" y="152292"/>
                    <a:pt x="22675" y="150444"/>
                    <a:pt x="23891" y="149428"/>
                  </a:cubicBezTo>
                  <a:cubicBezTo>
                    <a:pt x="24353" y="149013"/>
                    <a:pt x="24892" y="148720"/>
                    <a:pt x="25446" y="148597"/>
                  </a:cubicBezTo>
                  <a:cubicBezTo>
                    <a:pt x="26754" y="148305"/>
                    <a:pt x="28109" y="148905"/>
                    <a:pt x="29464" y="150198"/>
                  </a:cubicBezTo>
                  <a:cubicBezTo>
                    <a:pt x="29464" y="150090"/>
                    <a:pt x="29464" y="149967"/>
                    <a:pt x="29510" y="149860"/>
                  </a:cubicBezTo>
                  <a:cubicBezTo>
                    <a:pt x="29972" y="144610"/>
                    <a:pt x="35898" y="98536"/>
                    <a:pt x="73213" y="102646"/>
                  </a:cubicBezTo>
                  <a:cubicBezTo>
                    <a:pt x="73213" y="102646"/>
                    <a:pt x="106002" y="116947"/>
                    <a:pt x="135759" y="104309"/>
                  </a:cubicBezTo>
                  <a:cubicBezTo>
                    <a:pt x="138976" y="104263"/>
                    <a:pt x="142086" y="104201"/>
                    <a:pt x="144995" y="104309"/>
                  </a:cubicBezTo>
                  <a:cubicBezTo>
                    <a:pt x="157341" y="104848"/>
                    <a:pt x="165777" y="112483"/>
                    <a:pt x="174659" y="117363"/>
                  </a:cubicBezTo>
                  <a:cubicBezTo>
                    <a:pt x="174305" y="112545"/>
                    <a:pt x="171196" y="107588"/>
                    <a:pt x="171334" y="104309"/>
                  </a:cubicBezTo>
                  <a:cubicBezTo>
                    <a:pt x="172750" y="104786"/>
                    <a:pt x="174059" y="105510"/>
                    <a:pt x="175306" y="106279"/>
                  </a:cubicBezTo>
                  <a:cubicBezTo>
                    <a:pt x="181679" y="114330"/>
                    <a:pt x="187867" y="127862"/>
                    <a:pt x="192732" y="149967"/>
                  </a:cubicBezTo>
                  <a:cubicBezTo>
                    <a:pt x="192732" y="150090"/>
                    <a:pt x="192732" y="150152"/>
                    <a:pt x="192778" y="150260"/>
                  </a:cubicBezTo>
                  <a:cubicBezTo>
                    <a:pt x="192778" y="150260"/>
                    <a:pt x="192824" y="150260"/>
                    <a:pt x="192824" y="150198"/>
                  </a:cubicBezTo>
                  <a:lnTo>
                    <a:pt x="192824" y="150260"/>
                  </a:lnTo>
                  <a:lnTo>
                    <a:pt x="192886" y="150152"/>
                  </a:lnTo>
                  <a:cubicBezTo>
                    <a:pt x="194194" y="148951"/>
                    <a:pt x="195487" y="148366"/>
                    <a:pt x="196749" y="148659"/>
                  </a:cubicBezTo>
                  <a:cubicBezTo>
                    <a:pt x="197042" y="148720"/>
                    <a:pt x="197396" y="148844"/>
                    <a:pt x="197642" y="149013"/>
                  </a:cubicBezTo>
                  <a:cubicBezTo>
                    <a:pt x="201706" y="151276"/>
                    <a:pt x="203461" y="162606"/>
                    <a:pt x="201552" y="175490"/>
                  </a:cubicBezTo>
                  <a:cubicBezTo>
                    <a:pt x="200105" y="185373"/>
                    <a:pt x="196842" y="193486"/>
                    <a:pt x="193378" y="196934"/>
                  </a:cubicBezTo>
                  <a:cubicBezTo>
                    <a:pt x="191977" y="198304"/>
                    <a:pt x="190561" y="198966"/>
                    <a:pt x="189222" y="198658"/>
                  </a:cubicBezTo>
                  <a:cubicBezTo>
                    <a:pt x="188468" y="198489"/>
                    <a:pt x="187759" y="198073"/>
                    <a:pt x="187159" y="197350"/>
                  </a:cubicBezTo>
                  <a:cubicBezTo>
                    <a:pt x="179616" y="225244"/>
                    <a:pt x="165223" y="253091"/>
                    <a:pt x="147058" y="269948"/>
                  </a:cubicBezTo>
                  <a:cubicBezTo>
                    <a:pt x="136205" y="280031"/>
                    <a:pt x="124013" y="286219"/>
                    <a:pt x="111159" y="286219"/>
                  </a:cubicBezTo>
                  <a:cubicBezTo>
                    <a:pt x="98567" y="286219"/>
                    <a:pt x="86667" y="280262"/>
                    <a:pt x="75984" y="270610"/>
                  </a:cubicBezTo>
                  <a:cubicBezTo>
                    <a:pt x="57465" y="253799"/>
                    <a:pt x="42810" y="225613"/>
                    <a:pt x="35190" y="197350"/>
                  </a:cubicBezTo>
                  <a:cubicBezTo>
                    <a:pt x="34528" y="198073"/>
                    <a:pt x="33882" y="198489"/>
                    <a:pt x="33127" y="198658"/>
                  </a:cubicBezTo>
                  <a:cubicBezTo>
                    <a:pt x="31557" y="199028"/>
                    <a:pt x="29910" y="198073"/>
                    <a:pt x="28294" y="196164"/>
                  </a:cubicBezTo>
                  <a:cubicBezTo>
                    <a:pt x="25092" y="192347"/>
                    <a:pt x="22182" y="184665"/>
                    <a:pt x="20781" y="175429"/>
                  </a:cubicBezTo>
                  <a:cubicBezTo>
                    <a:pt x="20674" y="174828"/>
                    <a:pt x="20612" y="174228"/>
                    <a:pt x="20520" y="173628"/>
                  </a:cubicBezTo>
                  <a:cubicBezTo>
                    <a:pt x="20520" y="167132"/>
                    <a:pt x="20781" y="160882"/>
                    <a:pt x="21135" y="154678"/>
                  </a:cubicBezTo>
                  <a:close/>
                </a:path>
              </a:pathLst>
            </a:custGeom>
            <a:solidFill>
              <a:srgbClr val="957AA9"/>
            </a:solidFill>
            <a:ln w="1270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85" b="0" i="0" u="none" strike="noStrike" kern="1200" cap="none" spc="0" normalizeH="0" baseline="0" noProof="0">
                <a:ln>
                  <a:noFill/>
                </a:ln>
                <a:solidFill>
                  <a:srgbClr val="666666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116" name="Rectangle 115">
            <a:extLst>
              <a:ext uri="{FF2B5EF4-FFF2-40B4-BE49-F238E27FC236}">
                <a16:creationId xmlns:a16="http://schemas.microsoft.com/office/drawing/2014/main" id="{E560596D-E134-43CC-8508-5DE7CF30115D}"/>
              </a:ext>
            </a:extLst>
          </p:cNvPr>
          <p:cNvSpPr/>
          <p:nvPr/>
        </p:nvSpPr>
        <p:spPr>
          <a:xfrm>
            <a:off x="1372902" y="4489905"/>
            <a:ext cx="3065263" cy="35394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000" b="0" i="0" u="none" strike="noStrike" kern="1200" cap="all" spc="0" normalizeH="0" baseline="0" noProof="0" dirty="0">
                <a:ln>
                  <a:noFill/>
                </a:ln>
                <a:solidFill>
                  <a:srgbClr val="4F2170"/>
                </a:solidFill>
                <a:effectLst/>
                <a:uLnTx/>
                <a:uFillTx/>
                <a:latin typeface="MDLZ BITE TYPE"/>
                <a:ea typeface="+mn-ea"/>
                <a:cs typeface="+mn-cs"/>
              </a:rPr>
              <a:t>850 EMPLOYEES: </a:t>
            </a:r>
            <a:r>
              <a:rPr kumimoji="0" lang="fr-FR" sz="2000" b="0" i="0" u="none" strike="noStrike" kern="1200" cap="all" spc="0" normalizeH="0" baseline="0" noProof="0" dirty="0">
                <a:ln>
                  <a:noFill/>
                </a:ln>
                <a:solidFill>
                  <a:srgbClr val="FA86E4"/>
                </a:solidFill>
                <a:effectLst/>
                <a:uLnTx/>
                <a:uFillTx/>
                <a:latin typeface="MDLZ BITE TYPE"/>
                <a:ea typeface="+mn-ea"/>
                <a:cs typeface="+mn-cs"/>
              </a:rPr>
              <a:t>43</a:t>
            </a:r>
            <a:r>
              <a:rPr kumimoji="0" lang="fr-FR" sz="2000" b="0" i="0" u="none" strike="noStrike" kern="1200" cap="all" spc="0" normalizeH="0" baseline="0" noProof="0" dirty="0">
                <a:ln>
                  <a:noFill/>
                </a:ln>
                <a:solidFill>
                  <a:srgbClr val="4F2170"/>
                </a:solidFill>
                <a:effectLst/>
                <a:uLnTx/>
                <a:uFillTx/>
                <a:latin typeface="MDLZ BITE TYPE"/>
                <a:ea typeface="+mn-ea"/>
                <a:cs typeface="+mn-cs"/>
              </a:rPr>
              <a:t>/</a:t>
            </a:r>
            <a:r>
              <a:rPr kumimoji="0" lang="fr-FR" sz="2000" b="0" i="0" u="none" strike="noStrike" kern="1200" cap="all" spc="0" normalizeH="0" baseline="0" noProof="0" dirty="0">
                <a:ln>
                  <a:noFill/>
                </a:ln>
                <a:solidFill>
                  <a:schemeClr val="accent6">
                    <a:lumMod val="60000"/>
                    <a:lumOff val="40000"/>
                  </a:schemeClr>
                </a:solidFill>
                <a:effectLst/>
                <a:uLnTx/>
                <a:uFillTx/>
                <a:latin typeface="MDLZ BITE TYPE"/>
                <a:ea typeface="+mn-ea"/>
                <a:cs typeface="+mn-cs"/>
              </a:rPr>
              <a:t>57</a:t>
            </a:r>
            <a:r>
              <a:rPr kumimoji="0" lang="fr-FR" sz="2000" b="0" i="0" u="none" strike="noStrike" kern="1200" cap="all" spc="0" normalizeH="0" baseline="0" noProof="0" dirty="0">
                <a:ln>
                  <a:noFill/>
                </a:ln>
                <a:solidFill>
                  <a:srgbClr val="4F2170"/>
                </a:solidFill>
                <a:effectLst/>
                <a:uLnTx/>
                <a:uFillTx/>
                <a:latin typeface="MDLZ BITE TYPE"/>
                <a:ea typeface="+mn-ea"/>
                <a:cs typeface="+mn-cs"/>
              </a:rPr>
              <a:t>% </a:t>
            </a:r>
            <a:r>
              <a:rPr kumimoji="0" lang="fr-FR" sz="2000" b="0" i="0" u="none" strike="noStrike" kern="1200" cap="all" spc="0" normalizeH="0" baseline="0" noProof="0" dirty="0">
                <a:ln>
                  <a:noFill/>
                </a:ln>
                <a:solidFill>
                  <a:srgbClr val="FA86E4"/>
                </a:solidFill>
                <a:effectLst/>
                <a:uLnTx/>
                <a:uFillTx/>
                <a:latin typeface="MDLZ BITE TYPE"/>
                <a:ea typeface="+mn-ea"/>
                <a:cs typeface="+mn-cs"/>
              </a:rPr>
              <a:t>f</a:t>
            </a:r>
            <a:r>
              <a:rPr kumimoji="0" lang="fr-FR" sz="2000" b="0" i="0" u="none" strike="noStrike" kern="1200" cap="all" spc="0" normalizeH="0" baseline="0" noProof="0" dirty="0">
                <a:ln>
                  <a:noFill/>
                </a:ln>
                <a:solidFill>
                  <a:srgbClr val="4F2170"/>
                </a:solidFill>
                <a:effectLst/>
                <a:uLnTx/>
                <a:uFillTx/>
                <a:latin typeface="MDLZ BITE TYPE"/>
                <a:ea typeface="+mn-ea"/>
                <a:cs typeface="+mn-cs"/>
              </a:rPr>
              <a:t>/</a:t>
            </a:r>
            <a:r>
              <a:rPr kumimoji="0" lang="fr-FR" sz="2000" b="0" i="0" u="none" strike="noStrike" kern="1200" cap="all" spc="0" normalizeH="0" baseline="0" noProof="0" dirty="0">
                <a:ln>
                  <a:noFill/>
                </a:ln>
                <a:solidFill>
                  <a:schemeClr val="accent6">
                    <a:lumMod val="60000"/>
                    <a:lumOff val="40000"/>
                  </a:schemeClr>
                </a:solidFill>
                <a:effectLst/>
                <a:uLnTx/>
                <a:uFillTx/>
                <a:latin typeface="MDLZ BITE TYPE"/>
                <a:ea typeface="+mn-ea"/>
                <a:cs typeface="+mn-cs"/>
              </a:rPr>
              <a:t>m</a:t>
            </a:r>
            <a:endParaRPr kumimoji="0" lang="nl-BE" sz="2000" b="0" i="0" u="none" strike="noStrike" kern="1200" cap="all" spc="0" normalizeH="0" baseline="0" noProof="0" dirty="0">
              <a:ln>
                <a:noFill/>
              </a:ln>
              <a:solidFill>
                <a:schemeClr val="accent6">
                  <a:lumMod val="60000"/>
                  <a:lumOff val="40000"/>
                </a:schemeClr>
              </a:solidFill>
              <a:effectLst/>
              <a:uLnTx/>
              <a:uFillTx/>
              <a:latin typeface="MDLZ BITE TYPE"/>
              <a:ea typeface="+mn-ea"/>
              <a:cs typeface="+mn-cs"/>
            </a:endParaRPr>
          </a:p>
        </p:txBody>
      </p:sp>
      <p:sp>
        <p:nvSpPr>
          <p:cNvPr id="51" name="Graphic 212">
            <a:extLst>
              <a:ext uri="{FF2B5EF4-FFF2-40B4-BE49-F238E27FC236}">
                <a16:creationId xmlns:a16="http://schemas.microsoft.com/office/drawing/2014/main" id="{2948A2DF-7E9B-4A8B-AEF0-C8CFC12AB0AA}"/>
              </a:ext>
            </a:extLst>
          </p:cNvPr>
          <p:cNvSpPr/>
          <p:nvPr/>
        </p:nvSpPr>
        <p:spPr>
          <a:xfrm>
            <a:off x="5176809" y="2526109"/>
            <a:ext cx="187522" cy="210917"/>
          </a:xfrm>
          <a:custGeom>
            <a:avLst/>
            <a:gdLst>
              <a:gd name="connsiteX0" fmla="*/ 366854 w 363759"/>
              <a:gd name="connsiteY0" fmla="*/ 132634 h 521208"/>
              <a:gd name="connsiteX1" fmla="*/ 355290 w 363759"/>
              <a:gd name="connsiteY1" fmla="*/ 94630 h 521208"/>
              <a:gd name="connsiteX2" fmla="*/ 309847 w 363759"/>
              <a:gd name="connsiteY2" fmla="*/ 35451 h 521208"/>
              <a:gd name="connsiteX3" fmla="*/ 303169 w 363759"/>
              <a:gd name="connsiteY3" fmla="*/ 27524 h 521208"/>
              <a:gd name="connsiteX4" fmla="*/ 299912 w 363759"/>
              <a:gd name="connsiteY4" fmla="*/ 24647 h 521208"/>
              <a:gd name="connsiteX5" fmla="*/ 288402 w 363759"/>
              <a:gd name="connsiteY5" fmla="*/ 17806 h 521208"/>
              <a:gd name="connsiteX6" fmla="*/ 273471 w 363759"/>
              <a:gd name="connsiteY6" fmla="*/ 11291 h 521208"/>
              <a:gd name="connsiteX7" fmla="*/ 239864 w 363759"/>
              <a:gd name="connsiteY7" fmla="*/ 4070 h 521208"/>
              <a:gd name="connsiteX8" fmla="*/ 161032 w 363759"/>
              <a:gd name="connsiteY8" fmla="*/ 3744 h 521208"/>
              <a:gd name="connsiteX9" fmla="*/ 139315 w 363759"/>
              <a:gd name="connsiteY9" fmla="*/ 8847 h 521208"/>
              <a:gd name="connsiteX10" fmla="*/ 113417 w 363759"/>
              <a:gd name="connsiteY10" fmla="*/ 15688 h 521208"/>
              <a:gd name="connsiteX11" fmla="*/ 67703 w 363759"/>
              <a:gd name="connsiteY11" fmla="*/ 43432 h 521208"/>
              <a:gd name="connsiteX12" fmla="*/ 32847 w 363759"/>
              <a:gd name="connsiteY12" fmla="*/ 82414 h 521208"/>
              <a:gd name="connsiteX13" fmla="*/ 27146 w 363759"/>
              <a:gd name="connsiteY13" fmla="*/ 90992 h 521208"/>
              <a:gd name="connsiteX14" fmla="*/ 9773 w 363759"/>
              <a:gd name="connsiteY14" fmla="*/ 128997 h 521208"/>
              <a:gd name="connsiteX15" fmla="*/ 4072 w 363759"/>
              <a:gd name="connsiteY15" fmla="*/ 149031 h 521208"/>
              <a:gd name="connsiteX16" fmla="*/ 0 w 363759"/>
              <a:gd name="connsiteY16" fmla="*/ 190727 h 521208"/>
              <a:gd name="connsiteX17" fmla="*/ 0 w 363759"/>
              <a:gd name="connsiteY17" fmla="*/ 190727 h 521208"/>
              <a:gd name="connsiteX18" fmla="*/ 760 w 363759"/>
              <a:gd name="connsiteY18" fmla="*/ 214562 h 521208"/>
              <a:gd name="connsiteX19" fmla="*/ 2335 w 363759"/>
              <a:gd name="connsiteY19" fmla="*/ 223303 h 521208"/>
              <a:gd name="connsiteX20" fmla="*/ 25952 w 363759"/>
              <a:gd name="connsiteY20" fmla="*/ 281396 h 521208"/>
              <a:gd name="connsiteX21" fmla="*/ 31761 w 363759"/>
              <a:gd name="connsiteY21" fmla="*/ 291820 h 521208"/>
              <a:gd name="connsiteX22" fmla="*/ 75195 w 363759"/>
              <a:gd name="connsiteY22" fmla="*/ 359848 h 521208"/>
              <a:gd name="connsiteX23" fmla="*/ 86868 w 363759"/>
              <a:gd name="connsiteY23" fmla="*/ 378959 h 521208"/>
              <a:gd name="connsiteX24" fmla="*/ 107662 w 363759"/>
              <a:gd name="connsiteY24" fmla="*/ 413435 h 521208"/>
              <a:gd name="connsiteX25" fmla="*/ 112277 w 363759"/>
              <a:gd name="connsiteY25" fmla="*/ 421090 h 521208"/>
              <a:gd name="connsiteX26" fmla="*/ 133342 w 363759"/>
              <a:gd name="connsiteY26" fmla="*/ 451983 h 521208"/>
              <a:gd name="connsiteX27" fmla="*/ 161249 w 363759"/>
              <a:gd name="connsiteY27" fmla="*/ 487056 h 521208"/>
              <a:gd name="connsiteX28" fmla="*/ 186332 w 363759"/>
              <a:gd name="connsiteY28" fmla="*/ 516754 h 521208"/>
              <a:gd name="connsiteX29" fmla="*/ 208429 w 363759"/>
              <a:gd name="connsiteY29" fmla="*/ 521260 h 521208"/>
              <a:gd name="connsiteX30" fmla="*/ 232480 w 363759"/>
              <a:gd name="connsiteY30" fmla="*/ 501715 h 521208"/>
              <a:gd name="connsiteX31" fmla="*/ 243773 w 363759"/>
              <a:gd name="connsiteY31" fmla="*/ 484124 h 521208"/>
              <a:gd name="connsiteX32" fmla="*/ 264242 w 363759"/>
              <a:gd name="connsiteY32" fmla="*/ 444273 h 521208"/>
              <a:gd name="connsiteX33" fmla="*/ 300726 w 363759"/>
              <a:gd name="connsiteY33" fmla="*/ 370544 h 521208"/>
              <a:gd name="connsiteX34" fmla="*/ 324669 w 363759"/>
              <a:gd name="connsiteY34" fmla="*/ 317555 h 521208"/>
              <a:gd name="connsiteX35" fmla="*/ 346386 w 363759"/>
              <a:gd name="connsiteY35" fmla="*/ 266900 h 521208"/>
              <a:gd name="connsiteX36" fmla="*/ 358331 w 363759"/>
              <a:gd name="connsiteY36" fmla="*/ 233130 h 521208"/>
              <a:gd name="connsiteX37" fmla="*/ 361262 w 363759"/>
              <a:gd name="connsiteY37" fmla="*/ 221511 h 521208"/>
              <a:gd name="connsiteX38" fmla="*/ 367995 w 363759"/>
              <a:gd name="connsiteY38" fmla="*/ 180412 h 521208"/>
              <a:gd name="connsiteX39" fmla="*/ 366854 w 363759"/>
              <a:gd name="connsiteY39" fmla="*/ 132634 h 521208"/>
              <a:gd name="connsiteX40" fmla="*/ 247411 w 363759"/>
              <a:gd name="connsiteY40" fmla="*/ 184755 h 521208"/>
              <a:gd name="connsiteX41" fmla="*/ 230146 w 363759"/>
              <a:gd name="connsiteY41" fmla="*/ 210816 h 521208"/>
              <a:gd name="connsiteX42" fmla="*/ 181988 w 363759"/>
              <a:gd name="connsiteY42" fmla="*/ 231229 h 521208"/>
              <a:gd name="connsiteX43" fmla="*/ 181988 w 363759"/>
              <a:gd name="connsiteY43" fmla="*/ 231229 h 521208"/>
              <a:gd name="connsiteX44" fmla="*/ 158643 w 363759"/>
              <a:gd name="connsiteY44" fmla="*/ 226615 h 521208"/>
              <a:gd name="connsiteX45" fmla="*/ 141161 w 363759"/>
              <a:gd name="connsiteY45" fmla="*/ 211196 h 521208"/>
              <a:gd name="connsiteX46" fmla="*/ 129053 w 363759"/>
              <a:gd name="connsiteY46" fmla="*/ 177643 h 521208"/>
              <a:gd name="connsiteX47" fmla="*/ 127859 w 363759"/>
              <a:gd name="connsiteY47" fmla="*/ 168793 h 521208"/>
              <a:gd name="connsiteX48" fmla="*/ 133288 w 363759"/>
              <a:gd name="connsiteY48" fmla="*/ 135458 h 521208"/>
              <a:gd name="connsiteX49" fmla="*/ 155494 w 363759"/>
              <a:gd name="connsiteY49" fmla="*/ 114392 h 521208"/>
              <a:gd name="connsiteX50" fmla="*/ 181500 w 363759"/>
              <a:gd name="connsiteY50" fmla="*/ 108040 h 521208"/>
              <a:gd name="connsiteX51" fmla="*/ 185952 w 363759"/>
              <a:gd name="connsiteY51" fmla="*/ 108040 h 521208"/>
              <a:gd name="connsiteX52" fmla="*/ 205063 w 363759"/>
              <a:gd name="connsiteY52" fmla="*/ 110103 h 521208"/>
              <a:gd name="connsiteX53" fmla="*/ 217713 w 363759"/>
              <a:gd name="connsiteY53" fmla="*/ 114229 h 521208"/>
              <a:gd name="connsiteX54" fmla="*/ 235901 w 363759"/>
              <a:gd name="connsiteY54" fmla="*/ 127314 h 521208"/>
              <a:gd name="connsiteX55" fmla="*/ 246759 w 363759"/>
              <a:gd name="connsiteY55" fmla="*/ 142950 h 521208"/>
              <a:gd name="connsiteX56" fmla="*/ 250017 w 363759"/>
              <a:gd name="connsiteY56" fmla="*/ 152831 h 521208"/>
              <a:gd name="connsiteX57" fmla="*/ 247520 w 363759"/>
              <a:gd name="connsiteY57" fmla="*/ 184592 h 5212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</a:cxnLst>
            <a:rect l="l" t="t" r="r" b="b"/>
            <a:pathLst>
              <a:path w="363759" h="521208">
                <a:moveTo>
                  <a:pt x="366854" y="132634"/>
                </a:moveTo>
                <a:cubicBezTo>
                  <a:pt x="365690" y="119298"/>
                  <a:pt x="361751" y="106353"/>
                  <a:pt x="355290" y="94630"/>
                </a:cubicBezTo>
                <a:cubicBezTo>
                  <a:pt x="343586" y="72483"/>
                  <a:pt x="328222" y="52475"/>
                  <a:pt x="309847" y="35451"/>
                </a:cubicBezTo>
                <a:cubicBezTo>
                  <a:pt x="307193" y="33201"/>
                  <a:pt x="304935" y="30522"/>
                  <a:pt x="303169" y="27524"/>
                </a:cubicBezTo>
                <a:cubicBezTo>
                  <a:pt x="302325" y="26322"/>
                  <a:pt x="301209" y="25336"/>
                  <a:pt x="299912" y="24647"/>
                </a:cubicBezTo>
                <a:cubicBezTo>
                  <a:pt x="296057" y="22312"/>
                  <a:pt x="292094" y="20303"/>
                  <a:pt x="288402" y="17806"/>
                </a:cubicBezTo>
                <a:cubicBezTo>
                  <a:pt x="283924" y="14634"/>
                  <a:pt x="278842" y="12417"/>
                  <a:pt x="273471" y="11291"/>
                </a:cubicBezTo>
                <a:cubicBezTo>
                  <a:pt x="262233" y="9227"/>
                  <a:pt x="251049" y="6459"/>
                  <a:pt x="239864" y="4070"/>
                </a:cubicBezTo>
                <a:cubicBezTo>
                  <a:pt x="213866" y="-1245"/>
                  <a:pt x="187073" y="-1355"/>
                  <a:pt x="161032" y="3744"/>
                </a:cubicBezTo>
                <a:cubicBezTo>
                  <a:pt x="153702" y="5047"/>
                  <a:pt x="146644" y="7762"/>
                  <a:pt x="139315" y="8847"/>
                </a:cubicBezTo>
                <a:cubicBezTo>
                  <a:pt x="130462" y="10193"/>
                  <a:pt x="121779" y="12486"/>
                  <a:pt x="113417" y="15688"/>
                </a:cubicBezTo>
                <a:cubicBezTo>
                  <a:pt x="96375" y="21571"/>
                  <a:pt x="80789" y="31031"/>
                  <a:pt x="67703" y="43432"/>
                </a:cubicBezTo>
                <a:cubicBezTo>
                  <a:pt x="55264" y="55669"/>
                  <a:pt x="43622" y="68689"/>
                  <a:pt x="32847" y="82414"/>
                </a:cubicBezTo>
                <a:cubicBezTo>
                  <a:pt x="30660" y="85072"/>
                  <a:pt x="28750" y="87946"/>
                  <a:pt x="27146" y="90992"/>
                </a:cubicBezTo>
                <a:cubicBezTo>
                  <a:pt x="21011" y="103479"/>
                  <a:pt x="13302" y="115261"/>
                  <a:pt x="9773" y="128997"/>
                </a:cubicBezTo>
                <a:cubicBezTo>
                  <a:pt x="7981" y="135729"/>
                  <a:pt x="5429" y="142135"/>
                  <a:pt x="4072" y="149031"/>
                </a:cubicBezTo>
                <a:cubicBezTo>
                  <a:pt x="1521" y="162787"/>
                  <a:pt x="159" y="176737"/>
                  <a:pt x="0" y="190727"/>
                </a:cubicBezTo>
                <a:lnTo>
                  <a:pt x="0" y="190727"/>
                </a:lnTo>
                <a:cubicBezTo>
                  <a:pt x="0" y="198654"/>
                  <a:pt x="326" y="206635"/>
                  <a:pt x="760" y="214562"/>
                </a:cubicBezTo>
                <a:cubicBezTo>
                  <a:pt x="910" y="217530"/>
                  <a:pt x="1439" y="220468"/>
                  <a:pt x="2335" y="223303"/>
                </a:cubicBezTo>
                <a:cubicBezTo>
                  <a:pt x="9004" y="243135"/>
                  <a:pt x="16891" y="262536"/>
                  <a:pt x="25952" y="281396"/>
                </a:cubicBezTo>
                <a:cubicBezTo>
                  <a:pt x="27642" y="285002"/>
                  <a:pt x="29583" y="288486"/>
                  <a:pt x="31761" y="291820"/>
                </a:cubicBezTo>
                <a:cubicBezTo>
                  <a:pt x="46746" y="314188"/>
                  <a:pt x="59667" y="337860"/>
                  <a:pt x="75195" y="359848"/>
                </a:cubicBezTo>
                <a:cubicBezTo>
                  <a:pt x="79435" y="365999"/>
                  <a:pt x="83332" y="372379"/>
                  <a:pt x="86868" y="378959"/>
                </a:cubicBezTo>
                <a:cubicBezTo>
                  <a:pt x="93115" y="390850"/>
                  <a:pt x="100059" y="402362"/>
                  <a:pt x="107662" y="413435"/>
                </a:cubicBezTo>
                <a:cubicBezTo>
                  <a:pt x="109399" y="415878"/>
                  <a:pt x="110594" y="418864"/>
                  <a:pt x="112277" y="421090"/>
                </a:cubicBezTo>
                <a:cubicBezTo>
                  <a:pt x="119172" y="431460"/>
                  <a:pt x="125470" y="442264"/>
                  <a:pt x="133342" y="451983"/>
                </a:cubicBezTo>
                <a:cubicBezTo>
                  <a:pt x="142789" y="463547"/>
                  <a:pt x="152453" y="475003"/>
                  <a:pt x="161249" y="487056"/>
                </a:cubicBezTo>
                <a:cubicBezTo>
                  <a:pt x="168958" y="497534"/>
                  <a:pt x="178459" y="506438"/>
                  <a:pt x="186332" y="516754"/>
                </a:cubicBezTo>
                <a:cubicBezTo>
                  <a:pt x="192351" y="522120"/>
                  <a:pt x="200789" y="523841"/>
                  <a:pt x="208429" y="521260"/>
                </a:cubicBezTo>
                <a:cubicBezTo>
                  <a:pt x="218129" y="517144"/>
                  <a:pt x="226467" y="510368"/>
                  <a:pt x="232480" y="501715"/>
                </a:cubicBezTo>
                <a:cubicBezTo>
                  <a:pt x="236552" y="496285"/>
                  <a:pt x="239973" y="489933"/>
                  <a:pt x="243773" y="484124"/>
                </a:cubicBezTo>
                <a:cubicBezTo>
                  <a:pt x="251612" y="471387"/>
                  <a:pt x="258455" y="458064"/>
                  <a:pt x="264242" y="444273"/>
                </a:cubicBezTo>
                <a:cubicBezTo>
                  <a:pt x="275697" y="419353"/>
                  <a:pt x="288185" y="394921"/>
                  <a:pt x="300726" y="370544"/>
                </a:cubicBezTo>
                <a:cubicBezTo>
                  <a:pt x="309871" y="353430"/>
                  <a:pt x="317870" y="335728"/>
                  <a:pt x="324669" y="317555"/>
                </a:cubicBezTo>
                <a:cubicBezTo>
                  <a:pt x="330549" y="300119"/>
                  <a:pt x="337811" y="283180"/>
                  <a:pt x="346386" y="266900"/>
                </a:cubicBezTo>
                <a:cubicBezTo>
                  <a:pt x="352122" y="256342"/>
                  <a:pt x="356153" y="244945"/>
                  <a:pt x="358331" y="233130"/>
                </a:cubicBezTo>
                <a:cubicBezTo>
                  <a:pt x="359006" y="229187"/>
                  <a:pt x="359986" y="225302"/>
                  <a:pt x="361262" y="221511"/>
                </a:cubicBezTo>
                <a:cubicBezTo>
                  <a:pt x="365481" y="208209"/>
                  <a:pt x="367749" y="194365"/>
                  <a:pt x="367995" y="180412"/>
                </a:cubicBezTo>
                <a:cubicBezTo>
                  <a:pt x="368863" y="164481"/>
                  <a:pt x="368482" y="148506"/>
                  <a:pt x="366854" y="132634"/>
                </a:cubicBezTo>
                <a:close/>
                <a:moveTo>
                  <a:pt x="247411" y="184755"/>
                </a:moveTo>
                <a:cubicBezTo>
                  <a:pt x="243013" y="194269"/>
                  <a:pt x="237191" y="203056"/>
                  <a:pt x="230146" y="210816"/>
                </a:cubicBezTo>
                <a:cubicBezTo>
                  <a:pt x="217649" y="224048"/>
                  <a:pt x="200188" y="231450"/>
                  <a:pt x="181988" y="231229"/>
                </a:cubicBezTo>
                <a:lnTo>
                  <a:pt x="181988" y="231229"/>
                </a:lnTo>
                <a:cubicBezTo>
                  <a:pt x="173970" y="231333"/>
                  <a:pt x="166018" y="229761"/>
                  <a:pt x="158643" y="226615"/>
                </a:cubicBezTo>
                <a:cubicBezTo>
                  <a:pt x="151155" y="223738"/>
                  <a:pt x="144950" y="218266"/>
                  <a:pt x="141161" y="211196"/>
                </a:cubicBezTo>
                <a:cubicBezTo>
                  <a:pt x="135207" y="200799"/>
                  <a:pt x="131110" y="189445"/>
                  <a:pt x="129053" y="177643"/>
                </a:cubicBezTo>
                <a:cubicBezTo>
                  <a:pt x="128619" y="174711"/>
                  <a:pt x="128456" y="171725"/>
                  <a:pt x="127859" y="168793"/>
                </a:cubicBezTo>
                <a:cubicBezTo>
                  <a:pt x="126012" y="157386"/>
                  <a:pt x="127917" y="145688"/>
                  <a:pt x="133288" y="135458"/>
                </a:cubicBezTo>
                <a:cubicBezTo>
                  <a:pt x="137654" y="125805"/>
                  <a:pt x="145624" y="118244"/>
                  <a:pt x="155494" y="114392"/>
                </a:cubicBezTo>
                <a:cubicBezTo>
                  <a:pt x="163766" y="110894"/>
                  <a:pt x="172546" y="108749"/>
                  <a:pt x="181500" y="108040"/>
                </a:cubicBezTo>
                <a:cubicBezTo>
                  <a:pt x="182959" y="107655"/>
                  <a:pt x="184492" y="107655"/>
                  <a:pt x="185952" y="108040"/>
                </a:cubicBezTo>
                <a:cubicBezTo>
                  <a:pt x="192141" y="110809"/>
                  <a:pt x="198656" y="109560"/>
                  <a:pt x="205063" y="110103"/>
                </a:cubicBezTo>
                <a:cubicBezTo>
                  <a:pt x="209579" y="110284"/>
                  <a:pt x="213958" y="111713"/>
                  <a:pt x="217713" y="114229"/>
                </a:cubicBezTo>
                <a:cubicBezTo>
                  <a:pt x="223739" y="118573"/>
                  <a:pt x="230146" y="122536"/>
                  <a:pt x="235901" y="127314"/>
                </a:cubicBezTo>
                <a:cubicBezTo>
                  <a:pt x="240961" y="131362"/>
                  <a:pt x="244734" y="136795"/>
                  <a:pt x="246759" y="142950"/>
                </a:cubicBezTo>
                <a:cubicBezTo>
                  <a:pt x="247737" y="146262"/>
                  <a:pt x="248877" y="149574"/>
                  <a:pt x="250017" y="152831"/>
                </a:cubicBezTo>
                <a:cubicBezTo>
                  <a:pt x="253677" y="163300"/>
                  <a:pt x="252771" y="174824"/>
                  <a:pt x="247520" y="184592"/>
                </a:cubicBezTo>
                <a:close/>
              </a:path>
            </a:pathLst>
          </a:custGeom>
          <a:solidFill>
            <a:srgbClr val="4F2170"/>
          </a:solidFill>
          <a:ln w="5323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666666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3F4CDA25-C8CD-40F6-821E-FE3F4CC08B27}"/>
              </a:ext>
            </a:extLst>
          </p:cNvPr>
          <p:cNvSpPr txBox="1"/>
          <p:nvPr/>
        </p:nvSpPr>
        <p:spPr>
          <a:xfrm>
            <a:off x="2964924" y="3458171"/>
            <a:ext cx="1088760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400" b="0" i="0" u="none" strike="noStrike" kern="1200" cap="none" spc="0" normalizeH="0" baseline="0" noProof="0" dirty="0">
                <a:ln>
                  <a:noFill/>
                </a:ln>
                <a:solidFill>
                  <a:srgbClr val="4F2170"/>
                </a:solidFill>
                <a:effectLst/>
                <a:uLnTx/>
                <a:uFillTx/>
                <a:latin typeface="MDLZ BITE TYPE"/>
                <a:ea typeface="+mn-ea"/>
                <a:cs typeface="+mn-cs"/>
              </a:rPr>
              <a:t>Hq - milano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400" b="0" i="0" u="none" strike="noStrike" kern="1200" cap="none" spc="0" normalizeH="0" baseline="0" noProof="0" dirty="0">
              <a:ln>
                <a:noFill/>
              </a:ln>
              <a:solidFill>
                <a:srgbClr val="287819"/>
              </a:solidFill>
              <a:effectLst/>
              <a:uLnTx/>
              <a:uFillTx/>
              <a:latin typeface="MDLZ BITE TYPE"/>
              <a:ea typeface="+mn-ea"/>
              <a:cs typeface="+mn-cs"/>
            </a:endParaRPr>
          </a:p>
        </p:txBody>
      </p:sp>
      <p:sp>
        <p:nvSpPr>
          <p:cNvPr id="54" name="Freeform: Shape 285">
            <a:extLst>
              <a:ext uri="{FF2B5EF4-FFF2-40B4-BE49-F238E27FC236}">
                <a16:creationId xmlns:a16="http://schemas.microsoft.com/office/drawing/2014/main" id="{7359F6F4-8649-4F02-9C6D-7799BBE18380}"/>
              </a:ext>
            </a:extLst>
          </p:cNvPr>
          <p:cNvSpPr/>
          <p:nvPr/>
        </p:nvSpPr>
        <p:spPr>
          <a:xfrm>
            <a:off x="2711100" y="3504598"/>
            <a:ext cx="300894" cy="186252"/>
          </a:xfrm>
          <a:custGeom>
            <a:avLst/>
            <a:gdLst>
              <a:gd name="connsiteX0" fmla="*/ 7485 w 850159"/>
              <a:gd name="connsiteY0" fmla="*/ 491811 h 528241"/>
              <a:gd name="connsiteX1" fmla="*/ 52656 w 850159"/>
              <a:gd name="connsiteY1" fmla="*/ 493440 h 528241"/>
              <a:gd name="connsiteX2" fmla="*/ 54882 w 850159"/>
              <a:gd name="connsiteY2" fmla="*/ 493929 h 528241"/>
              <a:gd name="connsiteX3" fmla="*/ 77359 w 850159"/>
              <a:gd name="connsiteY3" fmla="*/ 493386 h 528241"/>
              <a:gd name="connsiteX4" fmla="*/ 100651 w 850159"/>
              <a:gd name="connsiteY4" fmla="*/ 492951 h 528241"/>
              <a:gd name="connsiteX5" fmla="*/ 155541 w 850159"/>
              <a:gd name="connsiteY5" fmla="*/ 493711 h 528241"/>
              <a:gd name="connsiteX6" fmla="*/ 185347 w 850159"/>
              <a:gd name="connsiteY6" fmla="*/ 492626 h 528241"/>
              <a:gd name="connsiteX7" fmla="*/ 239640 w 850159"/>
              <a:gd name="connsiteY7" fmla="*/ 494906 h 528241"/>
              <a:gd name="connsiteX8" fmla="*/ 309026 w 850159"/>
              <a:gd name="connsiteY8" fmla="*/ 496806 h 528241"/>
              <a:gd name="connsiteX9" fmla="*/ 521473 w 850159"/>
              <a:gd name="connsiteY9" fmla="*/ 495775 h 528241"/>
              <a:gd name="connsiteX10" fmla="*/ 550520 w 850159"/>
              <a:gd name="connsiteY10" fmla="*/ 495775 h 528241"/>
              <a:gd name="connsiteX11" fmla="*/ 577666 w 850159"/>
              <a:gd name="connsiteY11" fmla="*/ 495775 h 528241"/>
              <a:gd name="connsiteX12" fmla="*/ 719315 w 850159"/>
              <a:gd name="connsiteY12" fmla="*/ 494852 h 528241"/>
              <a:gd name="connsiteX13" fmla="*/ 783760 w 850159"/>
              <a:gd name="connsiteY13" fmla="*/ 493386 h 528241"/>
              <a:gd name="connsiteX14" fmla="*/ 823231 w 850159"/>
              <a:gd name="connsiteY14" fmla="*/ 492734 h 528241"/>
              <a:gd name="connsiteX15" fmla="*/ 844948 w 850159"/>
              <a:gd name="connsiteY15" fmla="*/ 493549 h 528241"/>
              <a:gd name="connsiteX16" fmla="*/ 849237 w 850159"/>
              <a:gd name="connsiteY16" fmla="*/ 497403 h 528241"/>
              <a:gd name="connsiteX17" fmla="*/ 849345 w 850159"/>
              <a:gd name="connsiteY17" fmla="*/ 504896 h 528241"/>
              <a:gd name="connsiteX18" fmla="*/ 846414 w 850159"/>
              <a:gd name="connsiteY18" fmla="*/ 508262 h 528241"/>
              <a:gd name="connsiteX19" fmla="*/ 804391 w 850159"/>
              <a:gd name="connsiteY19" fmla="*/ 521509 h 528241"/>
              <a:gd name="connsiteX20" fmla="*/ 778982 w 850159"/>
              <a:gd name="connsiteY20" fmla="*/ 522812 h 528241"/>
              <a:gd name="connsiteX21" fmla="*/ 679736 w 850159"/>
              <a:gd name="connsiteY21" fmla="*/ 527210 h 528241"/>
              <a:gd name="connsiteX22" fmla="*/ 675229 w 850159"/>
              <a:gd name="connsiteY22" fmla="*/ 527210 h 528241"/>
              <a:gd name="connsiteX23" fmla="*/ 617191 w 850159"/>
              <a:gd name="connsiteY23" fmla="*/ 525744 h 528241"/>
              <a:gd name="connsiteX24" fmla="*/ 556112 w 850159"/>
              <a:gd name="connsiteY24" fmla="*/ 526938 h 528241"/>
              <a:gd name="connsiteX25" fmla="*/ 494598 w 850159"/>
              <a:gd name="connsiteY25" fmla="*/ 528133 h 528241"/>
              <a:gd name="connsiteX26" fmla="*/ 421901 w 850159"/>
              <a:gd name="connsiteY26" fmla="*/ 527264 h 528241"/>
              <a:gd name="connsiteX27" fmla="*/ 296158 w 850159"/>
              <a:gd name="connsiteY27" fmla="*/ 527264 h 528241"/>
              <a:gd name="connsiteX28" fmla="*/ 245286 w 850159"/>
              <a:gd name="connsiteY28" fmla="*/ 528241 h 528241"/>
              <a:gd name="connsiteX29" fmla="*/ 205001 w 850159"/>
              <a:gd name="connsiteY29" fmla="*/ 527481 h 528241"/>
              <a:gd name="connsiteX30" fmla="*/ 178778 w 850159"/>
              <a:gd name="connsiteY30" fmla="*/ 526884 h 528241"/>
              <a:gd name="connsiteX31" fmla="*/ 60529 w 850159"/>
              <a:gd name="connsiteY31" fmla="*/ 522595 h 528241"/>
              <a:gd name="connsiteX32" fmla="*/ 52385 w 850159"/>
              <a:gd name="connsiteY32" fmla="*/ 521835 h 528241"/>
              <a:gd name="connsiteX33" fmla="*/ 644 w 850159"/>
              <a:gd name="connsiteY33" fmla="*/ 502073 h 528241"/>
              <a:gd name="connsiteX34" fmla="*/ 1187 w 850159"/>
              <a:gd name="connsiteY34" fmla="*/ 495069 h 528241"/>
              <a:gd name="connsiteX35" fmla="*/ 7485 w 850159"/>
              <a:gd name="connsiteY35" fmla="*/ 491811 h 528241"/>
              <a:gd name="connsiteX36" fmla="*/ 643794 w 850159"/>
              <a:gd name="connsiteY36" fmla="*/ 47699 h 528241"/>
              <a:gd name="connsiteX37" fmla="*/ 514632 w 850159"/>
              <a:gd name="connsiteY37" fmla="*/ 51771 h 528241"/>
              <a:gd name="connsiteX38" fmla="*/ 439437 w 850159"/>
              <a:gd name="connsiteY38" fmla="*/ 50957 h 528241"/>
              <a:gd name="connsiteX39" fmla="*/ 364785 w 850159"/>
              <a:gd name="connsiteY39" fmla="*/ 50143 h 528241"/>
              <a:gd name="connsiteX40" fmla="*/ 326129 w 850159"/>
              <a:gd name="connsiteY40" fmla="*/ 51337 h 528241"/>
              <a:gd name="connsiteX41" fmla="*/ 285735 w 850159"/>
              <a:gd name="connsiteY41" fmla="*/ 52586 h 528241"/>
              <a:gd name="connsiteX42" fmla="*/ 115799 w 850159"/>
              <a:gd name="connsiteY42" fmla="*/ 49545 h 528241"/>
              <a:gd name="connsiteX43" fmla="*/ 115799 w 850159"/>
              <a:gd name="connsiteY43" fmla="*/ 62195 h 528241"/>
              <a:gd name="connsiteX44" fmla="*/ 115799 w 850159"/>
              <a:gd name="connsiteY44" fmla="*/ 102372 h 528241"/>
              <a:gd name="connsiteX45" fmla="*/ 115528 w 850159"/>
              <a:gd name="connsiteY45" fmla="*/ 124577 h 528241"/>
              <a:gd name="connsiteX46" fmla="*/ 115528 w 850159"/>
              <a:gd name="connsiteY46" fmla="*/ 166708 h 528241"/>
              <a:gd name="connsiteX47" fmla="*/ 114008 w 850159"/>
              <a:gd name="connsiteY47" fmla="*/ 240112 h 528241"/>
              <a:gd name="connsiteX48" fmla="*/ 114008 w 850159"/>
              <a:gd name="connsiteY48" fmla="*/ 317370 h 528241"/>
              <a:gd name="connsiteX49" fmla="*/ 116668 w 850159"/>
              <a:gd name="connsiteY49" fmla="*/ 387951 h 528241"/>
              <a:gd name="connsiteX50" fmla="*/ 116668 w 850159"/>
              <a:gd name="connsiteY50" fmla="*/ 400547 h 528241"/>
              <a:gd name="connsiteX51" fmla="*/ 116668 w 850159"/>
              <a:gd name="connsiteY51" fmla="*/ 427693 h 528241"/>
              <a:gd name="connsiteX52" fmla="*/ 121554 w 850159"/>
              <a:gd name="connsiteY52" fmla="*/ 427693 h 528241"/>
              <a:gd name="connsiteX53" fmla="*/ 123509 w 850159"/>
              <a:gd name="connsiteY53" fmla="*/ 427693 h 528241"/>
              <a:gd name="connsiteX54" fmla="*/ 148321 w 850159"/>
              <a:gd name="connsiteY54" fmla="*/ 429974 h 528241"/>
              <a:gd name="connsiteX55" fmla="*/ 163251 w 850159"/>
              <a:gd name="connsiteY55" fmla="*/ 430517 h 528241"/>
              <a:gd name="connsiteX56" fmla="*/ 209780 w 850159"/>
              <a:gd name="connsiteY56" fmla="*/ 431060 h 528241"/>
              <a:gd name="connsiteX57" fmla="*/ 229325 w 850159"/>
              <a:gd name="connsiteY57" fmla="*/ 430679 h 528241"/>
              <a:gd name="connsiteX58" fmla="*/ 493729 w 850159"/>
              <a:gd name="connsiteY58" fmla="*/ 429919 h 528241"/>
              <a:gd name="connsiteX59" fmla="*/ 529617 w 850159"/>
              <a:gd name="connsiteY59" fmla="*/ 431222 h 528241"/>
              <a:gd name="connsiteX60" fmla="*/ 574951 w 850159"/>
              <a:gd name="connsiteY60" fmla="*/ 432363 h 528241"/>
              <a:gd name="connsiteX61" fmla="*/ 716111 w 850159"/>
              <a:gd name="connsiteY61" fmla="*/ 430734 h 528241"/>
              <a:gd name="connsiteX62" fmla="*/ 726427 w 850159"/>
              <a:gd name="connsiteY62" fmla="*/ 429919 h 528241"/>
              <a:gd name="connsiteX63" fmla="*/ 734245 w 850159"/>
              <a:gd name="connsiteY63" fmla="*/ 429105 h 528241"/>
              <a:gd name="connsiteX64" fmla="*/ 735060 w 850159"/>
              <a:gd name="connsiteY64" fmla="*/ 377853 h 528241"/>
              <a:gd name="connsiteX65" fmla="*/ 734354 w 850159"/>
              <a:gd name="connsiteY65" fmla="*/ 345982 h 528241"/>
              <a:gd name="connsiteX66" fmla="*/ 734354 w 850159"/>
              <a:gd name="connsiteY66" fmla="*/ 323559 h 528241"/>
              <a:gd name="connsiteX67" fmla="*/ 733594 w 850159"/>
              <a:gd name="connsiteY67" fmla="*/ 274208 h 528241"/>
              <a:gd name="connsiteX68" fmla="*/ 732725 w 850159"/>
              <a:gd name="connsiteY68" fmla="*/ 223661 h 528241"/>
              <a:gd name="connsiteX69" fmla="*/ 732725 w 850159"/>
              <a:gd name="connsiteY69" fmla="*/ 180716 h 528241"/>
              <a:gd name="connsiteX70" fmla="*/ 732725 w 850159"/>
              <a:gd name="connsiteY70" fmla="*/ 135110 h 528241"/>
              <a:gd name="connsiteX71" fmla="*/ 732725 w 850159"/>
              <a:gd name="connsiteY71" fmla="*/ 120071 h 528241"/>
              <a:gd name="connsiteX72" fmla="*/ 731476 w 850159"/>
              <a:gd name="connsiteY72" fmla="*/ 96400 h 528241"/>
              <a:gd name="connsiteX73" fmla="*/ 733159 w 850159"/>
              <a:gd name="connsiteY73" fmla="*/ 48459 h 528241"/>
              <a:gd name="connsiteX74" fmla="*/ 706393 w 850159"/>
              <a:gd name="connsiteY74" fmla="*/ 47699 h 528241"/>
              <a:gd name="connsiteX75" fmla="*/ 643794 w 850159"/>
              <a:gd name="connsiteY75" fmla="*/ 47699 h 528241"/>
              <a:gd name="connsiteX76" fmla="*/ 117754 w 850159"/>
              <a:gd name="connsiteY76" fmla="*/ 193 h 528241"/>
              <a:gd name="connsiteX77" fmla="*/ 230519 w 850159"/>
              <a:gd name="connsiteY77" fmla="*/ 2637 h 528241"/>
              <a:gd name="connsiteX78" fmla="*/ 310112 w 850159"/>
              <a:gd name="connsiteY78" fmla="*/ 193 h 528241"/>
              <a:gd name="connsiteX79" fmla="*/ 498670 w 850159"/>
              <a:gd name="connsiteY79" fmla="*/ 193 h 528241"/>
              <a:gd name="connsiteX80" fmla="*/ 539335 w 850159"/>
              <a:gd name="connsiteY80" fmla="*/ 1116 h 528241"/>
              <a:gd name="connsiteX81" fmla="*/ 592922 w 850159"/>
              <a:gd name="connsiteY81" fmla="*/ 1822 h 528241"/>
              <a:gd name="connsiteX82" fmla="*/ 735114 w 850159"/>
              <a:gd name="connsiteY82" fmla="*/ 2039 h 528241"/>
              <a:gd name="connsiteX83" fmla="*/ 737448 w 850159"/>
              <a:gd name="connsiteY83" fmla="*/ 2039 h 528241"/>
              <a:gd name="connsiteX84" fmla="*/ 771978 w 850159"/>
              <a:gd name="connsiteY84" fmla="*/ 25059 h 528241"/>
              <a:gd name="connsiteX85" fmla="*/ 774042 w 850159"/>
              <a:gd name="connsiteY85" fmla="*/ 183376 h 528241"/>
              <a:gd name="connsiteX86" fmla="*/ 771598 w 850159"/>
              <a:gd name="connsiteY86" fmla="*/ 371881 h 528241"/>
              <a:gd name="connsiteX87" fmla="*/ 770730 w 850159"/>
              <a:gd name="connsiteY87" fmla="*/ 465698 h 528241"/>
              <a:gd name="connsiteX88" fmla="*/ 763563 w 850159"/>
              <a:gd name="connsiteY88" fmla="*/ 472539 h 528241"/>
              <a:gd name="connsiteX89" fmla="*/ 86264 w 850159"/>
              <a:gd name="connsiteY89" fmla="*/ 476557 h 528241"/>
              <a:gd name="connsiteX90" fmla="*/ 79261 w 850159"/>
              <a:gd name="connsiteY90" fmla="*/ 471127 h 528241"/>
              <a:gd name="connsiteX91" fmla="*/ 74646 w 850159"/>
              <a:gd name="connsiteY91" fmla="*/ 401036 h 528241"/>
              <a:gd name="connsiteX92" fmla="*/ 74971 w 850159"/>
              <a:gd name="connsiteY92" fmla="*/ 382196 h 528241"/>
              <a:gd name="connsiteX93" fmla="*/ 74374 w 850159"/>
              <a:gd name="connsiteY93" fmla="*/ 359122 h 528241"/>
              <a:gd name="connsiteX94" fmla="*/ 73994 w 850159"/>
              <a:gd name="connsiteY94" fmla="*/ 324808 h 528241"/>
              <a:gd name="connsiteX95" fmla="*/ 74537 w 850159"/>
              <a:gd name="connsiteY95" fmla="*/ 311941 h 528241"/>
              <a:gd name="connsiteX96" fmla="*/ 75786 w 850159"/>
              <a:gd name="connsiteY96" fmla="*/ 270841 h 528241"/>
              <a:gd name="connsiteX97" fmla="*/ 75786 w 850159"/>
              <a:gd name="connsiteY97" fmla="*/ 246030 h 528241"/>
              <a:gd name="connsiteX98" fmla="*/ 75786 w 850159"/>
              <a:gd name="connsiteY98" fmla="*/ 170020 h 528241"/>
              <a:gd name="connsiteX99" fmla="*/ 74971 w 850159"/>
              <a:gd name="connsiteY99" fmla="*/ 115131 h 528241"/>
              <a:gd name="connsiteX100" fmla="*/ 75786 w 850159"/>
              <a:gd name="connsiteY100" fmla="*/ 100906 h 528241"/>
              <a:gd name="connsiteX101" fmla="*/ 76275 w 850159"/>
              <a:gd name="connsiteY101" fmla="*/ 65344 h 528241"/>
              <a:gd name="connsiteX102" fmla="*/ 87133 w 850159"/>
              <a:gd name="connsiteY102" fmla="*/ 11052 h 528241"/>
              <a:gd name="connsiteX103" fmla="*/ 117754 w 850159"/>
              <a:gd name="connsiteY103" fmla="*/ 193 h 5282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</a:cxnLst>
            <a:rect l="l" t="t" r="r" b="b"/>
            <a:pathLst>
              <a:path w="850159" h="528241">
                <a:moveTo>
                  <a:pt x="7485" y="491811"/>
                </a:moveTo>
                <a:lnTo>
                  <a:pt x="52656" y="493440"/>
                </a:lnTo>
                <a:cubicBezTo>
                  <a:pt x="53418" y="493493"/>
                  <a:pt x="54168" y="493657"/>
                  <a:pt x="54882" y="493929"/>
                </a:cubicBezTo>
                <a:cubicBezTo>
                  <a:pt x="62377" y="494358"/>
                  <a:pt x="69894" y="494177"/>
                  <a:pt x="77359" y="493386"/>
                </a:cubicBezTo>
                <a:cubicBezTo>
                  <a:pt x="85096" y="492564"/>
                  <a:pt x="92889" y="492419"/>
                  <a:pt x="100651" y="492951"/>
                </a:cubicBezTo>
                <a:cubicBezTo>
                  <a:pt x="118868" y="495164"/>
                  <a:pt x="137270" y="495419"/>
                  <a:pt x="155541" y="493711"/>
                </a:cubicBezTo>
                <a:cubicBezTo>
                  <a:pt x="165259" y="493169"/>
                  <a:pt x="175249" y="492626"/>
                  <a:pt x="185347" y="492626"/>
                </a:cubicBezTo>
                <a:cubicBezTo>
                  <a:pt x="203481" y="492626"/>
                  <a:pt x="221832" y="493766"/>
                  <a:pt x="239640" y="494906"/>
                </a:cubicBezTo>
                <a:cubicBezTo>
                  <a:pt x="262334" y="496263"/>
                  <a:pt x="285843" y="497729"/>
                  <a:pt x="309026" y="496806"/>
                </a:cubicBezTo>
                <a:cubicBezTo>
                  <a:pt x="343773" y="495449"/>
                  <a:pt x="459362" y="495775"/>
                  <a:pt x="521473" y="495775"/>
                </a:cubicBezTo>
                <a:lnTo>
                  <a:pt x="550520" y="495775"/>
                </a:lnTo>
                <a:lnTo>
                  <a:pt x="577666" y="495775"/>
                </a:lnTo>
                <a:cubicBezTo>
                  <a:pt x="622294" y="496046"/>
                  <a:pt x="696946" y="496426"/>
                  <a:pt x="719315" y="494852"/>
                </a:cubicBezTo>
                <a:cubicBezTo>
                  <a:pt x="723333" y="494580"/>
                  <a:pt x="745050" y="494037"/>
                  <a:pt x="783760" y="493386"/>
                </a:cubicBezTo>
                <a:lnTo>
                  <a:pt x="823231" y="492734"/>
                </a:lnTo>
                <a:cubicBezTo>
                  <a:pt x="840333" y="492463"/>
                  <a:pt x="843210" y="492408"/>
                  <a:pt x="844948" y="493549"/>
                </a:cubicBezTo>
                <a:cubicBezTo>
                  <a:pt x="846815" y="494240"/>
                  <a:pt x="848352" y="495619"/>
                  <a:pt x="849237" y="497403"/>
                </a:cubicBezTo>
                <a:cubicBezTo>
                  <a:pt x="850426" y="499750"/>
                  <a:pt x="850469" y="502516"/>
                  <a:pt x="849345" y="504896"/>
                </a:cubicBezTo>
                <a:cubicBezTo>
                  <a:pt x="848754" y="506304"/>
                  <a:pt x="847727" y="507483"/>
                  <a:pt x="846414" y="508262"/>
                </a:cubicBezTo>
                <a:cubicBezTo>
                  <a:pt x="833845" y="516363"/>
                  <a:pt x="819332" y="520938"/>
                  <a:pt x="804391" y="521509"/>
                </a:cubicBezTo>
                <a:lnTo>
                  <a:pt x="778982" y="522812"/>
                </a:lnTo>
                <a:cubicBezTo>
                  <a:pt x="733105" y="525201"/>
                  <a:pt x="687662" y="527210"/>
                  <a:pt x="679736" y="527210"/>
                </a:cubicBezTo>
                <a:lnTo>
                  <a:pt x="675229" y="527210"/>
                </a:lnTo>
                <a:cubicBezTo>
                  <a:pt x="656173" y="526504"/>
                  <a:pt x="636464" y="525744"/>
                  <a:pt x="617191" y="525744"/>
                </a:cubicBezTo>
                <a:cubicBezTo>
                  <a:pt x="596885" y="525744"/>
                  <a:pt x="576254" y="526341"/>
                  <a:pt x="556112" y="526938"/>
                </a:cubicBezTo>
                <a:cubicBezTo>
                  <a:pt x="535969" y="527536"/>
                  <a:pt x="515175" y="528133"/>
                  <a:pt x="494598" y="528133"/>
                </a:cubicBezTo>
                <a:cubicBezTo>
                  <a:pt x="470275" y="528133"/>
                  <a:pt x="445681" y="527699"/>
                  <a:pt x="421901" y="527264"/>
                </a:cubicBezTo>
                <a:cubicBezTo>
                  <a:pt x="380747" y="526504"/>
                  <a:pt x="338235" y="525744"/>
                  <a:pt x="296158" y="527264"/>
                </a:cubicBezTo>
                <a:cubicBezTo>
                  <a:pt x="277862" y="527916"/>
                  <a:pt x="261194" y="528241"/>
                  <a:pt x="245286" y="528241"/>
                </a:cubicBezTo>
                <a:cubicBezTo>
                  <a:pt x="231333" y="528241"/>
                  <a:pt x="218086" y="527970"/>
                  <a:pt x="205001" y="527481"/>
                </a:cubicBezTo>
                <a:cubicBezTo>
                  <a:pt x="201038" y="527318"/>
                  <a:pt x="191374" y="526884"/>
                  <a:pt x="178778" y="526884"/>
                </a:cubicBezTo>
                <a:cubicBezTo>
                  <a:pt x="141479" y="526124"/>
                  <a:pt x="78988" y="524875"/>
                  <a:pt x="60529" y="522595"/>
                </a:cubicBezTo>
                <a:cubicBezTo>
                  <a:pt x="58303" y="522324"/>
                  <a:pt x="55480" y="521835"/>
                  <a:pt x="52385" y="521835"/>
                </a:cubicBezTo>
                <a:cubicBezTo>
                  <a:pt x="34740" y="520369"/>
                  <a:pt x="8028" y="518360"/>
                  <a:pt x="644" y="502073"/>
                </a:cubicBezTo>
                <a:cubicBezTo>
                  <a:pt x="-378" y="499798"/>
                  <a:pt x="-174" y="497159"/>
                  <a:pt x="1187" y="495069"/>
                </a:cubicBezTo>
                <a:cubicBezTo>
                  <a:pt x="2620" y="493011"/>
                  <a:pt x="4977" y="491792"/>
                  <a:pt x="7485" y="491811"/>
                </a:cubicBezTo>
                <a:close/>
                <a:moveTo>
                  <a:pt x="643794" y="47699"/>
                </a:moveTo>
                <a:cubicBezTo>
                  <a:pt x="622348" y="49165"/>
                  <a:pt x="536349" y="51771"/>
                  <a:pt x="514632" y="51771"/>
                </a:cubicBezTo>
                <a:cubicBezTo>
                  <a:pt x="489495" y="51771"/>
                  <a:pt x="463923" y="51337"/>
                  <a:pt x="439437" y="50957"/>
                </a:cubicBezTo>
                <a:cubicBezTo>
                  <a:pt x="414951" y="50577"/>
                  <a:pt x="389651" y="50143"/>
                  <a:pt x="364785" y="50143"/>
                </a:cubicBezTo>
                <a:cubicBezTo>
                  <a:pt x="351917" y="50143"/>
                  <a:pt x="339376" y="50685"/>
                  <a:pt x="326129" y="51337"/>
                </a:cubicBezTo>
                <a:cubicBezTo>
                  <a:pt x="312881" y="51988"/>
                  <a:pt x="299308" y="52586"/>
                  <a:pt x="285735" y="52586"/>
                </a:cubicBezTo>
                <a:cubicBezTo>
                  <a:pt x="266678" y="52531"/>
                  <a:pt x="146963" y="50143"/>
                  <a:pt x="115799" y="49545"/>
                </a:cubicBezTo>
                <a:lnTo>
                  <a:pt x="115799" y="62195"/>
                </a:lnTo>
                <a:cubicBezTo>
                  <a:pt x="115799" y="75606"/>
                  <a:pt x="115799" y="88962"/>
                  <a:pt x="115799" y="102372"/>
                </a:cubicBezTo>
                <a:cubicBezTo>
                  <a:pt x="115799" y="109756"/>
                  <a:pt x="115528" y="117139"/>
                  <a:pt x="115528" y="124577"/>
                </a:cubicBezTo>
                <a:cubicBezTo>
                  <a:pt x="115202" y="138531"/>
                  <a:pt x="114931" y="152918"/>
                  <a:pt x="115528" y="166708"/>
                </a:cubicBezTo>
                <a:cubicBezTo>
                  <a:pt x="116017" y="178870"/>
                  <a:pt x="115039" y="226919"/>
                  <a:pt x="114008" y="240112"/>
                </a:cubicBezTo>
                <a:cubicBezTo>
                  <a:pt x="112160" y="265831"/>
                  <a:pt x="112160" y="291651"/>
                  <a:pt x="114008" y="317370"/>
                </a:cubicBezTo>
                <a:cubicBezTo>
                  <a:pt x="115799" y="343539"/>
                  <a:pt x="116668" y="367212"/>
                  <a:pt x="116668" y="387951"/>
                </a:cubicBezTo>
                <a:cubicBezTo>
                  <a:pt x="116668" y="391697"/>
                  <a:pt x="116668" y="396041"/>
                  <a:pt x="116668" y="400547"/>
                </a:cubicBezTo>
                <a:cubicBezTo>
                  <a:pt x="116397" y="409614"/>
                  <a:pt x="116125" y="420201"/>
                  <a:pt x="116668" y="427693"/>
                </a:cubicBezTo>
                <a:lnTo>
                  <a:pt x="121554" y="427693"/>
                </a:lnTo>
                <a:cubicBezTo>
                  <a:pt x="122260" y="427693"/>
                  <a:pt x="122857" y="427693"/>
                  <a:pt x="123509" y="427693"/>
                </a:cubicBezTo>
                <a:cubicBezTo>
                  <a:pt x="131651" y="429493"/>
                  <a:pt x="139987" y="430259"/>
                  <a:pt x="148321" y="429974"/>
                </a:cubicBezTo>
                <a:cubicBezTo>
                  <a:pt x="153261" y="430082"/>
                  <a:pt x="158310" y="430137"/>
                  <a:pt x="163251" y="430517"/>
                </a:cubicBezTo>
                <a:cubicBezTo>
                  <a:pt x="178739" y="431543"/>
                  <a:pt x="194272" y="431725"/>
                  <a:pt x="209780" y="431060"/>
                </a:cubicBezTo>
                <a:cubicBezTo>
                  <a:pt x="216295" y="430679"/>
                  <a:pt x="222756" y="430679"/>
                  <a:pt x="229325" y="430679"/>
                </a:cubicBezTo>
                <a:cubicBezTo>
                  <a:pt x="284812" y="430245"/>
                  <a:pt x="460177" y="429919"/>
                  <a:pt x="493729" y="429919"/>
                </a:cubicBezTo>
                <a:cubicBezTo>
                  <a:pt x="505782" y="429919"/>
                  <a:pt x="517890" y="430571"/>
                  <a:pt x="529617" y="431222"/>
                </a:cubicBezTo>
                <a:cubicBezTo>
                  <a:pt x="544547" y="432037"/>
                  <a:pt x="559966" y="432905"/>
                  <a:pt x="574951" y="432363"/>
                </a:cubicBezTo>
                <a:cubicBezTo>
                  <a:pt x="622674" y="430734"/>
                  <a:pt x="672297" y="430734"/>
                  <a:pt x="716111" y="430734"/>
                </a:cubicBezTo>
                <a:cubicBezTo>
                  <a:pt x="719564" y="430674"/>
                  <a:pt x="723007" y="430402"/>
                  <a:pt x="726427" y="429919"/>
                </a:cubicBezTo>
                <a:cubicBezTo>
                  <a:pt x="728963" y="429594"/>
                  <a:pt x="731569" y="429322"/>
                  <a:pt x="734245" y="429105"/>
                </a:cubicBezTo>
                <a:cubicBezTo>
                  <a:pt x="734897" y="415749"/>
                  <a:pt x="736254" y="387354"/>
                  <a:pt x="735060" y="377853"/>
                </a:cubicBezTo>
                <a:cubicBezTo>
                  <a:pt x="734354" y="366940"/>
                  <a:pt x="734354" y="356299"/>
                  <a:pt x="734354" y="345982"/>
                </a:cubicBezTo>
                <a:cubicBezTo>
                  <a:pt x="734354" y="338707"/>
                  <a:pt x="734354" y="331160"/>
                  <a:pt x="734354" y="323559"/>
                </a:cubicBezTo>
                <a:cubicBezTo>
                  <a:pt x="733594" y="307163"/>
                  <a:pt x="733702" y="290875"/>
                  <a:pt x="733594" y="274208"/>
                </a:cubicBezTo>
                <a:cubicBezTo>
                  <a:pt x="733485" y="257540"/>
                  <a:pt x="733376" y="240329"/>
                  <a:pt x="732725" y="223661"/>
                </a:cubicBezTo>
                <a:cubicBezTo>
                  <a:pt x="732073" y="209165"/>
                  <a:pt x="732399" y="194723"/>
                  <a:pt x="732725" y="180716"/>
                </a:cubicBezTo>
                <a:cubicBezTo>
                  <a:pt x="733159" y="165785"/>
                  <a:pt x="733485" y="150312"/>
                  <a:pt x="732725" y="135110"/>
                </a:cubicBezTo>
                <a:cubicBezTo>
                  <a:pt x="732725" y="129790"/>
                  <a:pt x="732725" y="124849"/>
                  <a:pt x="732725" y="120071"/>
                </a:cubicBezTo>
                <a:cubicBezTo>
                  <a:pt x="733002" y="112159"/>
                  <a:pt x="732584" y="104238"/>
                  <a:pt x="731476" y="96400"/>
                </a:cubicBezTo>
                <a:cubicBezTo>
                  <a:pt x="730944" y="80400"/>
                  <a:pt x="731509" y="64382"/>
                  <a:pt x="733159" y="48459"/>
                </a:cubicBezTo>
                <a:cubicBezTo>
                  <a:pt x="724201" y="48297"/>
                  <a:pt x="715189" y="47971"/>
                  <a:pt x="706393" y="47699"/>
                </a:cubicBezTo>
                <a:cubicBezTo>
                  <a:pt x="685539" y="46613"/>
                  <a:pt x="664648" y="46613"/>
                  <a:pt x="643794" y="47699"/>
                </a:cubicBezTo>
                <a:close/>
                <a:moveTo>
                  <a:pt x="117754" y="193"/>
                </a:moveTo>
                <a:cubicBezTo>
                  <a:pt x="118623" y="193"/>
                  <a:pt x="211517" y="3777"/>
                  <a:pt x="230519" y="2637"/>
                </a:cubicBezTo>
                <a:cubicBezTo>
                  <a:pt x="260000" y="954"/>
                  <a:pt x="285301" y="193"/>
                  <a:pt x="310112" y="193"/>
                </a:cubicBezTo>
                <a:lnTo>
                  <a:pt x="498670" y="193"/>
                </a:lnTo>
                <a:cubicBezTo>
                  <a:pt x="512243" y="193"/>
                  <a:pt x="525979" y="628"/>
                  <a:pt x="539335" y="1116"/>
                </a:cubicBezTo>
                <a:cubicBezTo>
                  <a:pt x="556926" y="1822"/>
                  <a:pt x="575168" y="2257"/>
                  <a:pt x="592922" y="1822"/>
                </a:cubicBezTo>
                <a:cubicBezTo>
                  <a:pt x="617951" y="1171"/>
                  <a:pt x="714808" y="193"/>
                  <a:pt x="735114" y="2039"/>
                </a:cubicBezTo>
                <a:lnTo>
                  <a:pt x="737448" y="2039"/>
                </a:lnTo>
                <a:cubicBezTo>
                  <a:pt x="751673" y="3342"/>
                  <a:pt x="766549" y="4265"/>
                  <a:pt x="771978" y="25059"/>
                </a:cubicBezTo>
                <a:cubicBezTo>
                  <a:pt x="776159" y="40858"/>
                  <a:pt x="774422" y="173495"/>
                  <a:pt x="774042" y="183376"/>
                </a:cubicBezTo>
                <a:cubicBezTo>
                  <a:pt x="772793" y="213400"/>
                  <a:pt x="770295" y="356027"/>
                  <a:pt x="771598" y="371881"/>
                </a:cubicBezTo>
                <a:cubicBezTo>
                  <a:pt x="773922" y="403123"/>
                  <a:pt x="773629" y="434504"/>
                  <a:pt x="770730" y="465698"/>
                </a:cubicBezTo>
                <a:cubicBezTo>
                  <a:pt x="770556" y="469528"/>
                  <a:pt x="767396" y="472543"/>
                  <a:pt x="763563" y="472539"/>
                </a:cubicBezTo>
                <a:lnTo>
                  <a:pt x="86264" y="476557"/>
                </a:lnTo>
                <a:cubicBezTo>
                  <a:pt x="82976" y="476523"/>
                  <a:pt x="80113" y="474303"/>
                  <a:pt x="79261" y="471127"/>
                </a:cubicBezTo>
                <a:cubicBezTo>
                  <a:pt x="73506" y="450225"/>
                  <a:pt x="74103" y="424110"/>
                  <a:pt x="74646" y="401036"/>
                </a:cubicBezTo>
                <a:cubicBezTo>
                  <a:pt x="74971" y="394521"/>
                  <a:pt x="74971" y="388168"/>
                  <a:pt x="74971" y="382196"/>
                </a:cubicBezTo>
                <a:cubicBezTo>
                  <a:pt x="74971" y="374487"/>
                  <a:pt x="74700" y="366669"/>
                  <a:pt x="74374" y="359122"/>
                </a:cubicBezTo>
                <a:cubicBezTo>
                  <a:pt x="73994" y="347938"/>
                  <a:pt x="73506" y="336427"/>
                  <a:pt x="73994" y="324808"/>
                </a:cubicBezTo>
                <a:cubicBezTo>
                  <a:pt x="74157" y="320573"/>
                  <a:pt x="74537" y="316284"/>
                  <a:pt x="74537" y="311941"/>
                </a:cubicBezTo>
                <a:cubicBezTo>
                  <a:pt x="75134" y="298313"/>
                  <a:pt x="75786" y="284252"/>
                  <a:pt x="75786" y="270841"/>
                </a:cubicBezTo>
                <a:cubicBezTo>
                  <a:pt x="75786" y="265955"/>
                  <a:pt x="75786" y="256888"/>
                  <a:pt x="75786" y="246030"/>
                </a:cubicBezTo>
                <a:cubicBezTo>
                  <a:pt x="76057" y="219644"/>
                  <a:pt x="76275" y="175450"/>
                  <a:pt x="75786" y="170020"/>
                </a:cubicBezTo>
                <a:cubicBezTo>
                  <a:pt x="74296" y="151762"/>
                  <a:pt x="74024" y="133425"/>
                  <a:pt x="74971" y="115131"/>
                </a:cubicBezTo>
                <a:cubicBezTo>
                  <a:pt x="75189" y="110516"/>
                  <a:pt x="75460" y="105738"/>
                  <a:pt x="75786" y="100906"/>
                </a:cubicBezTo>
                <a:cubicBezTo>
                  <a:pt x="76807" y="89079"/>
                  <a:pt x="76970" y="77194"/>
                  <a:pt x="76275" y="65344"/>
                </a:cubicBezTo>
                <a:cubicBezTo>
                  <a:pt x="74429" y="45962"/>
                  <a:pt x="74429" y="24191"/>
                  <a:pt x="87133" y="11052"/>
                </a:cubicBezTo>
                <a:cubicBezTo>
                  <a:pt x="95200" y="3032"/>
                  <a:pt x="106436" y="-952"/>
                  <a:pt x="117754" y="193"/>
                </a:cubicBezTo>
                <a:close/>
              </a:path>
            </a:pathLst>
          </a:custGeom>
          <a:solidFill>
            <a:srgbClr val="4F2170"/>
          </a:solidFill>
          <a:ln w="540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666666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8F150FB7-82EF-80BB-9551-FF52E73AAA61}"/>
              </a:ext>
            </a:extLst>
          </p:cNvPr>
          <p:cNvSpPr/>
          <p:nvPr/>
        </p:nvSpPr>
        <p:spPr>
          <a:xfrm>
            <a:off x="3884049" y="1094417"/>
            <a:ext cx="425116" cy="101566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6000" b="0" i="0" u="none" strike="noStrike" kern="1200" cap="all" spc="0" normalizeH="0" baseline="0" noProof="0" dirty="0">
                <a:ln>
                  <a:noFill/>
                </a:ln>
                <a:solidFill>
                  <a:srgbClr val="957AA9"/>
                </a:solidFill>
                <a:effectLst/>
                <a:uLnTx/>
                <a:uFillTx/>
                <a:latin typeface="MDLZ BITE TYPE"/>
                <a:ea typeface="+mn-ea"/>
                <a:cs typeface="+mn-cs"/>
              </a:rPr>
              <a:t>1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F77CC9B5-C73C-5BDA-69BF-4E9F3A2C0CD8}"/>
              </a:ext>
            </a:extLst>
          </p:cNvPr>
          <p:cNvSpPr txBox="1">
            <a:spLocks/>
          </p:cNvSpPr>
          <p:nvPr/>
        </p:nvSpPr>
        <p:spPr>
          <a:xfrm>
            <a:off x="4443113" y="1450739"/>
            <a:ext cx="2590002" cy="48533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3600" b="0" kern="1200" cap="all" baseline="0">
                <a:solidFill>
                  <a:srgbClr val="E18719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3600" b="0" i="0" u="none" strike="noStrike" kern="1200" cap="all" spc="0" normalizeH="0" baseline="0" noProof="0" dirty="0">
                <a:ln>
                  <a:noFill/>
                </a:ln>
                <a:solidFill>
                  <a:srgbClr val="E18719"/>
                </a:solidFill>
                <a:effectLst/>
                <a:uLnTx/>
                <a:uFillTx/>
                <a:latin typeface="MDLZ BITE TYPE"/>
                <a:ea typeface="+mj-ea"/>
                <a:cs typeface="+mj-cs"/>
              </a:rPr>
              <a:t>Headquarter </a:t>
            </a:r>
          </a:p>
        </p:txBody>
      </p:sp>
      <p:pic>
        <p:nvPicPr>
          <p:cNvPr id="81" name="Picture 80">
            <a:extLst>
              <a:ext uri="{FF2B5EF4-FFF2-40B4-BE49-F238E27FC236}">
                <a16:creationId xmlns:a16="http://schemas.microsoft.com/office/drawing/2014/main" id="{3D3A07F2-6B88-492C-8CED-66F9A5B848DB}"/>
              </a:ext>
            </a:extLst>
          </p:cNvPr>
          <p:cNvPicPr>
            <a:picLocks noChangeAspect="1"/>
          </p:cNvPicPr>
          <p:nvPr/>
        </p:nvPicPr>
        <p:blipFill>
          <a:blip r:embed="rId1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39973" y="3042539"/>
            <a:ext cx="913866" cy="913866"/>
          </a:xfrm>
          <a:prstGeom prst="rect">
            <a:avLst/>
          </a:prstGeom>
        </p:spPr>
      </p:pic>
      <p:grpSp>
        <p:nvGrpSpPr>
          <p:cNvPr id="2" name="Graphic 2">
            <a:extLst>
              <a:ext uri="{FF2B5EF4-FFF2-40B4-BE49-F238E27FC236}">
                <a16:creationId xmlns:a16="http://schemas.microsoft.com/office/drawing/2014/main" id="{D89493FB-587D-6621-DA28-2A78976CC1FD}"/>
              </a:ext>
            </a:extLst>
          </p:cNvPr>
          <p:cNvGrpSpPr>
            <a:grpSpLocks noChangeAspect="1"/>
          </p:cNvGrpSpPr>
          <p:nvPr/>
        </p:nvGrpSpPr>
        <p:grpSpPr>
          <a:xfrm>
            <a:off x="366004" y="626694"/>
            <a:ext cx="801001" cy="1648089"/>
            <a:chOff x="7168359" y="1888861"/>
            <a:chExt cx="170520" cy="350851"/>
          </a:xfrm>
        </p:grpSpPr>
        <p:grpSp>
          <p:nvGrpSpPr>
            <p:cNvPr id="5" name="Graphic 2">
              <a:extLst>
                <a:ext uri="{FF2B5EF4-FFF2-40B4-BE49-F238E27FC236}">
                  <a16:creationId xmlns:a16="http://schemas.microsoft.com/office/drawing/2014/main" id="{85CDBD1D-B436-AF93-CBFD-3A9D2A759BA6}"/>
                </a:ext>
              </a:extLst>
            </p:cNvPr>
            <p:cNvGrpSpPr/>
            <p:nvPr/>
          </p:nvGrpSpPr>
          <p:grpSpPr>
            <a:xfrm>
              <a:off x="7168359" y="1888861"/>
              <a:ext cx="149809" cy="350851"/>
              <a:chOff x="7168359" y="1888861"/>
              <a:chExt cx="149809" cy="350851"/>
            </a:xfrm>
          </p:grpSpPr>
          <p:grpSp>
            <p:nvGrpSpPr>
              <p:cNvPr id="31" name="Graphic 2">
                <a:extLst>
                  <a:ext uri="{FF2B5EF4-FFF2-40B4-BE49-F238E27FC236}">
                    <a16:creationId xmlns:a16="http://schemas.microsoft.com/office/drawing/2014/main" id="{7A1C6E4B-D1D3-A6DD-7482-7F33433F4738}"/>
                  </a:ext>
                </a:extLst>
              </p:cNvPr>
              <p:cNvGrpSpPr/>
              <p:nvPr/>
            </p:nvGrpSpPr>
            <p:grpSpPr>
              <a:xfrm>
                <a:off x="7249300" y="1901064"/>
                <a:ext cx="68868" cy="92728"/>
                <a:chOff x="7249300" y="1901064"/>
                <a:chExt cx="68868" cy="92728"/>
              </a:xfrm>
            </p:grpSpPr>
            <p:sp>
              <p:nvSpPr>
                <p:cNvPr id="57" name="Freeform 1027">
                  <a:extLst>
                    <a:ext uri="{FF2B5EF4-FFF2-40B4-BE49-F238E27FC236}">
                      <a16:creationId xmlns:a16="http://schemas.microsoft.com/office/drawing/2014/main" id="{CF8EA327-6CDF-1688-EF2F-3FF6AF30CD25}"/>
                    </a:ext>
                  </a:extLst>
                </p:cNvPr>
                <p:cNvSpPr/>
                <p:nvPr/>
              </p:nvSpPr>
              <p:spPr>
                <a:xfrm>
                  <a:off x="7280078" y="1901064"/>
                  <a:ext cx="38090" cy="77618"/>
                </a:xfrm>
                <a:custGeom>
                  <a:avLst/>
                  <a:gdLst>
                    <a:gd name="connsiteX0" fmla="*/ 17215 w 38090"/>
                    <a:gd name="connsiteY0" fmla="*/ 3024 h 77618"/>
                    <a:gd name="connsiteX1" fmla="*/ 16922 w 38090"/>
                    <a:gd name="connsiteY1" fmla="*/ 3551 h 77618"/>
                    <a:gd name="connsiteX2" fmla="*/ 16922 w 38090"/>
                    <a:gd name="connsiteY2" fmla="*/ 8588 h 77618"/>
                    <a:gd name="connsiteX3" fmla="*/ 16395 w 38090"/>
                    <a:gd name="connsiteY3" fmla="*/ 11575 h 77618"/>
                    <a:gd name="connsiteX4" fmla="*/ 19499 w 38090"/>
                    <a:gd name="connsiteY4" fmla="*/ 13566 h 77618"/>
                    <a:gd name="connsiteX5" fmla="*/ 23248 w 38090"/>
                    <a:gd name="connsiteY5" fmla="*/ 19481 h 77618"/>
                    <a:gd name="connsiteX6" fmla="*/ 26646 w 38090"/>
                    <a:gd name="connsiteY6" fmla="*/ 46422 h 77618"/>
                    <a:gd name="connsiteX7" fmla="*/ 26411 w 38090"/>
                    <a:gd name="connsiteY7" fmla="*/ 47945 h 77618"/>
                    <a:gd name="connsiteX8" fmla="*/ 24068 w 38090"/>
                    <a:gd name="connsiteY8" fmla="*/ 49351 h 77618"/>
                    <a:gd name="connsiteX9" fmla="*/ 12002 w 38090"/>
                    <a:gd name="connsiteY9" fmla="*/ 54036 h 77618"/>
                    <a:gd name="connsiteX10" fmla="*/ 2805 w 38090"/>
                    <a:gd name="connsiteY10" fmla="*/ 60888 h 77618"/>
                    <a:gd name="connsiteX11" fmla="*/ 521 w 38090"/>
                    <a:gd name="connsiteY11" fmla="*/ 71723 h 77618"/>
                    <a:gd name="connsiteX12" fmla="*/ 6613 w 38090"/>
                    <a:gd name="connsiteY12" fmla="*/ 77345 h 77618"/>
                    <a:gd name="connsiteX13" fmla="*/ 24537 w 38090"/>
                    <a:gd name="connsiteY13" fmla="*/ 66921 h 77618"/>
                    <a:gd name="connsiteX14" fmla="*/ 36779 w 38090"/>
                    <a:gd name="connsiteY14" fmla="*/ 54563 h 77618"/>
                    <a:gd name="connsiteX15" fmla="*/ 37951 w 38090"/>
                    <a:gd name="connsiteY15" fmla="*/ 52747 h 77618"/>
                    <a:gd name="connsiteX16" fmla="*/ 38009 w 38090"/>
                    <a:gd name="connsiteY16" fmla="*/ 50463 h 77618"/>
                    <a:gd name="connsiteX17" fmla="*/ 32679 w 38090"/>
                    <a:gd name="connsiteY17" fmla="*/ 21531 h 77618"/>
                    <a:gd name="connsiteX18" fmla="*/ 29633 w 38090"/>
                    <a:gd name="connsiteY18" fmla="*/ 14445 h 77618"/>
                    <a:gd name="connsiteX19" fmla="*/ 30160 w 38090"/>
                    <a:gd name="connsiteY19" fmla="*/ 9876 h 77618"/>
                    <a:gd name="connsiteX20" fmla="*/ 29223 w 38090"/>
                    <a:gd name="connsiteY20" fmla="*/ 4898 h 77618"/>
                    <a:gd name="connsiteX21" fmla="*/ 22545 w 38090"/>
                    <a:gd name="connsiteY21" fmla="*/ 330 h 77618"/>
                    <a:gd name="connsiteX22" fmla="*/ 20846 w 38090"/>
                    <a:gd name="connsiteY22" fmla="*/ 37 h 77618"/>
                    <a:gd name="connsiteX23" fmla="*/ 18387 w 38090"/>
                    <a:gd name="connsiteY23" fmla="*/ 1560 h 77618"/>
                    <a:gd name="connsiteX24" fmla="*/ 17215 w 38090"/>
                    <a:gd name="connsiteY24" fmla="*/ 3024 h 7761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</a:cxnLst>
                  <a:rect l="l" t="t" r="r" b="b"/>
                  <a:pathLst>
                    <a:path w="38090" h="77618">
                      <a:moveTo>
                        <a:pt x="17215" y="3024"/>
                      </a:moveTo>
                      <a:cubicBezTo>
                        <a:pt x="17098" y="3200"/>
                        <a:pt x="16981" y="3376"/>
                        <a:pt x="16922" y="3551"/>
                      </a:cubicBezTo>
                      <a:cubicBezTo>
                        <a:pt x="16278" y="5367"/>
                        <a:pt x="17039" y="6714"/>
                        <a:pt x="16922" y="8588"/>
                      </a:cubicBezTo>
                      <a:cubicBezTo>
                        <a:pt x="16863" y="9467"/>
                        <a:pt x="14930" y="10521"/>
                        <a:pt x="16395" y="11575"/>
                      </a:cubicBezTo>
                      <a:cubicBezTo>
                        <a:pt x="16922" y="11985"/>
                        <a:pt x="18387" y="12746"/>
                        <a:pt x="19499" y="13566"/>
                      </a:cubicBezTo>
                      <a:cubicBezTo>
                        <a:pt x="21139" y="14738"/>
                        <a:pt x="22545" y="17314"/>
                        <a:pt x="23248" y="19481"/>
                      </a:cubicBezTo>
                      <a:cubicBezTo>
                        <a:pt x="26118" y="28149"/>
                        <a:pt x="26528" y="37344"/>
                        <a:pt x="26646" y="46422"/>
                      </a:cubicBezTo>
                      <a:cubicBezTo>
                        <a:pt x="26646" y="46949"/>
                        <a:pt x="26646" y="47476"/>
                        <a:pt x="26411" y="47945"/>
                      </a:cubicBezTo>
                      <a:cubicBezTo>
                        <a:pt x="26001" y="48765"/>
                        <a:pt x="25006" y="49116"/>
                        <a:pt x="24068" y="49351"/>
                      </a:cubicBezTo>
                      <a:cubicBezTo>
                        <a:pt x="19909" y="50522"/>
                        <a:pt x="15867" y="52103"/>
                        <a:pt x="12002" y="54036"/>
                      </a:cubicBezTo>
                      <a:cubicBezTo>
                        <a:pt x="8545" y="55734"/>
                        <a:pt x="5207" y="57843"/>
                        <a:pt x="2805" y="60888"/>
                      </a:cubicBezTo>
                      <a:cubicBezTo>
                        <a:pt x="462" y="63934"/>
                        <a:pt x="-768" y="68092"/>
                        <a:pt x="521" y="71723"/>
                      </a:cubicBezTo>
                      <a:cubicBezTo>
                        <a:pt x="1516" y="74417"/>
                        <a:pt x="3859" y="76584"/>
                        <a:pt x="6613" y="77345"/>
                      </a:cubicBezTo>
                      <a:cubicBezTo>
                        <a:pt x="13524" y="79220"/>
                        <a:pt x="19909" y="70962"/>
                        <a:pt x="24537" y="66921"/>
                      </a:cubicBezTo>
                      <a:cubicBezTo>
                        <a:pt x="28871" y="63114"/>
                        <a:pt x="32972" y="58955"/>
                        <a:pt x="36779" y="54563"/>
                      </a:cubicBezTo>
                      <a:cubicBezTo>
                        <a:pt x="37248" y="54036"/>
                        <a:pt x="37717" y="53450"/>
                        <a:pt x="37951" y="52747"/>
                      </a:cubicBezTo>
                      <a:cubicBezTo>
                        <a:pt x="38185" y="52045"/>
                        <a:pt x="38068" y="51225"/>
                        <a:pt x="38009" y="50463"/>
                      </a:cubicBezTo>
                      <a:cubicBezTo>
                        <a:pt x="36838" y="40683"/>
                        <a:pt x="34846" y="31136"/>
                        <a:pt x="32679" y="21531"/>
                      </a:cubicBezTo>
                      <a:cubicBezTo>
                        <a:pt x="32093" y="18896"/>
                        <a:pt x="30160" y="16905"/>
                        <a:pt x="29633" y="14445"/>
                      </a:cubicBezTo>
                      <a:cubicBezTo>
                        <a:pt x="29281" y="12863"/>
                        <a:pt x="30160" y="11399"/>
                        <a:pt x="30160" y="9876"/>
                      </a:cubicBezTo>
                      <a:cubicBezTo>
                        <a:pt x="30160" y="8354"/>
                        <a:pt x="29750" y="6362"/>
                        <a:pt x="29223" y="4898"/>
                      </a:cubicBezTo>
                      <a:cubicBezTo>
                        <a:pt x="28110" y="2087"/>
                        <a:pt x="25123" y="1326"/>
                        <a:pt x="22545" y="330"/>
                      </a:cubicBezTo>
                      <a:cubicBezTo>
                        <a:pt x="21901" y="96"/>
                        <a:pt x="21491" y="-80"/>
                        <a:pt x="20846" y="37"/>
                      </a:cubicBezTo>
                      <a:cubicBezTo>
                        <a:pt x="19792" y="154"/>
                        <a:pt x="19089" y="857"/>
                        <a:pt x="18387" y="1560"/>
                      </a:cubicBezTo>
                      <a:cubicBezTo>
                        <a:pt x="17977" y="2087"/>
                        <a:pt x="17566" y="2556"/>
                        <a:pt x="17215" y="3024"/>
                      </a:cubicBezTo>
                      <a:close/>
                    </a:path>
                  </a:pathLst>
                </a:custGeom>
                <a:solidFill>
                  <a:srgbClr val="F3CFA3"/>
                </a:solidFill>
                <a:ln w="58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58" name="Freeform 1028">
                  <a:extLst>
                    <a:ext uri="{FF2B5EF4-FFF2-40B4-BE49-F238E27FC236}">
                      <a16:creationId xmlns:a16="http://schemas.microsoft.com/office/drawing/2014/main" id="{DB084DE5-2E52-8148-8E0F-E65C5DA65D7F}"/>
                    </a:ext>
                  </a:extLst>
                </p:cNvPr>
                <p:cNvSpPr/>
                <p:nvPr/>
              </p:nvSpPr>
              <p:spPr>
                <a:xfrm>
                  <a:off x="7249300" y="1952289"/>
                  <a:ext cx="55059" cy="41503"/>
                </a:xfrm>
                <a:custGeom>
                  <a:avLst/>
                  <a:gdLst>
                    <a:gd name="connsiteX0" fmla="*/ 52679 w 55059"/>
                    <a:gd name="connsiteY0" fmla="*/ 15930 h 41503"/>
                    <a:gd name="connsiteX1" fmla="*/ 45767 w 55059"/>
                    <a:gd name="connsiteY1" fmla="*/ 0 h 41503"/>
                    <a:gd name="connsiteX2" fmla="*/ 19584 w 55059"/>
                    <a:gd name="connsiteY2" fmla="*/ 9546 h 41503"/>
                    <a:gd name="connsiteX3" fmla="*/ 4061 w 55059"/>
                    <a:gd name="connsiteY3" fmla="*/ 18273 h 41503"/>
                    <a:gd name="connsiteX4" fmla="*/ 14956 w 55059"/>
                    <a:gd name="connsiteY4" fmla="*/ 41407 h 41503"/>
                    <a:gd name="connsiteX5" fmla="*/ 54495 w 55059"/>
                    <a:gd name="connsiteY5" fmla="*/ 22900 h 41503"/>
                    <a:gd name="connsiteX6" fmla="*/ 55022 w 55059"/>
                    <a:gd name="connsiteY6" fmla="*/ 22138 h 41503"/>
                    <a:gd name="connsiteX7" fmla="*/ 54788 w 55059"/>
                    <a:gd name="connsiteY7" fmla="*/ 20908 h 41503"/>
                    <a:gd name="connsiteX8" fmla="*/ 52679 w 55059"/>
                    <a:gd name="connsiteY8" fmla="*/ 15930 h 4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55059" h="41503">
                      <a:moveTo>
                        <a:pt x="52679" y="15930"/>
                      </a:moveTo>
                      <a:cubicBezTo>
                        <a:pt x="50395" y="10601"/>
                        <a:pt x="48052" y="5330"/>
                        <a:pt x="45767" y="0"/>
                      </a:cubicBezTo>
                      <a:cubicBezTo>
                        <a:pt x="45943" y="351"/>
                        <a:pt x="21048" y="8961"/>
                        <a:pt x="19584" y="9546"/>
                      </a:cubicBezTo>
                      <a:cubicBezTo>
                        <a:pt x="14019" y="11713"/>
                        <a:pt x="8220" y="13997"/>
                        <a:pt x="4061" y="18273"/>
                      </a:cubicBezTo>
                      <a:cubicBezTo>
                        <a:pt x="-4842" y="27409"/>
                        <a:pt x="1835" y="42871"/>
                        <a:pt x="14956" y="41407"/>
                      </a:cubicBezTo>
                      <a:cubicBezTo>
                        <a:pt x="29190" y="39884"/>
                        <a:pt x="44068" y="32739"/>
                        <a:pt x="54495" y="22900"/>
                      </a:cubicBezTo>
                      <a:cubicBezTo>
                        <a:pt x="54729" y="22665"/>
                        <a:pt x="54963" y="22431"/>
                        <a:pt x="55022" y="22138"/>
                      </a:cubicBezTo>
                      <a:cubicBezTo>
                        <a:pt x="55139" y="21728"/>
                        <a:pt x="54963" y="21318"/>
                        <a:pt x="54788" y="20908"/>
                      </a:cubicBezTo>
                      <a:cubicBezTo>
                        <a:pt x="54085" y="19268"/>
                        <a:pt x="53382" y="17629"/>
                        <a:pt x="52679" y="15930"/>
                      </a:cubicBezTo>
                      <a:close/>
                    </a:path>
                  </a:pathLst>
                </a:custGeom>
                <a:solidFill>
                  <a:srgbClr val="287819"/>
                </a:solidFill>
                <a:ln w="58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</p:grpSp>
          <p:grpSp>
            <p:nvGrpSpPr>
              <p:cNvPr id="32" name="Graphic 2">
                <a:extLst>
                  <a:ext uri="{FF2B5EF4-FFF2-40B4-BE49-F238E27FC236}">
                    <a16:creationId xmlns:a16="http://schemas.microsoft.com/office/drawing/2014/main" id="{9C29F074-F322-C417-E417-3E72FF50B067}"/>
                  </a:ext>
                </a:extLst>
              </p:cNvPr>
              <p:cNvGrpSpPr/>
              <p:nvPr/>
            </p:nvGrpSpPr>
            <p:grpSpPr>
              <a:xfrm>
                <a:off x="7168359" y="2047222"/>
                <a:ext cx="114339" cy="192489"/>
                <a:chOff x="7168359" y="2047222"/>
                <a:chExt cx="114339" cy="192489"/>
              </a:xfrm>
            </p:grpSpPr>
            <p:grpSp>
              <p:nvGrpSpPr>
                <p:cNvPr id="44" name="Graphic 2">
                  <a:extLst>
                    <a:ext uri="{FF2B5EF4-FFF2-40B4-BE49-F238E27FC236}">
                      <a16:creationId xmlns:a16="http://schemas.microsoft.com/office/drawing/2014/main" id="{A8D4CEE5-D303-2859-D7AD-12A858AAD013}"/>
                    </a:ext>
                  </a:extLst>
                </p:cNvPr>
                <p:cNvGrpSpPr/>
                <p:nvPr/>
              </p:nvGrpSpPr>
              <p:grpSpPr>
                <a:xfrm>
                  <a:off x="7168359" y="2047222"/>
                  <a:ext cx="93184" cy="117458"/>
                  <a:chOff x="7168359" y="2047222"/>
                  <a:chExt cx="93184" cy="117458"/>
                </a:xfrm>
              </p:grpSpPr>
              <p:grpSp>
                <p:nvGrpSpPr>
                  <p:cNvPr id="50" name="Graphic 2">
                    <a:extLst>
                      <a:ext uri="{FF2B5EF4-FFF2-40B4-BE49-F238E27FC236}">
                        <a16:creationId xmlns:a16="http://schemas.microsoft.com/office/drawing/2014/main" id="{75D2D647-6A55-8733-9A54-5A3F6F4A62AA}"/>
                      </a:ext>
                    </a:extLst>
                  </p:cNvPr>
                  <p:cNvGrpSpPr/>
                  <p:nvPr/>
                </p:nvGrpSpPr>
                <p:grpSpPr>
                  <a:xfrm>
                    <a:off x="7168359" y="2103566"/>
                    <a:ext cx="15808" cy="35235"/>
                    <a:chOff x="7168359" y="2103566"/>
                    <a:chExt cx="15808" cy="35235"/>
                  </a:xfrm>
                </p:grpSpPr>
                <p:sp>
                  <p:nvSpPr>
                    <p:cNvPr id="55" name="Freeform 1032">
                      <a:extLst>
                        <a:ext uri="{FF2B5EF4-FFF2-40B4-BE49-F238E27FC236}">
                          <a16:creationId xmlns:a16="http://schemas.microsoft.com/office/drawing/2014/main" id="{260099A6-DCD8-D04A-E730-D821582FA479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7168359" y="2103566"/>
                      <a:ext cx="13447" cy="35235"/>
                    </a:xfrm>
                    <a:custGeom>
                      <a:avLst/>
                      <a:gdLst>
                        <a:gd name="connsiteX0" fmla="*/ 2879 w 13447"/>
                        <a:gd name="connsiteY0" fmla="*/ 9664 h 35235"/>
                        <a:gd name="connsiteX1" fmla="*/ 2001 w 13447"/>
                        <a:gd name="connsiteY1" fmla="*/ 15520 h 35235"/>
                        <a:gd name="connsiteX2" fmla="*/ 1180 w 13447"/>
                        <a:gd name="connsiteY2" fmla="*/ 25418 h 35235"/>
                        <a:gd name="connsiteX3" fmla="*/ 126 w 13447"/>
                        <a:gd name="connsiteY3" fmla="*/ 29049 h 35235"/>
                        <a:gd name="connsiteX4" fmla="*/ 594 w 13447"/>
                        <a:gd name="connsiteY4" fmla="*/ 32739 h 35235"/>
                        <a:gd name="connsiteX5" fmla="*/ 4051 w 13447"/>
                        <a:gd name="connsiteY5" fmla="*/ 34847 h 35235"/>
                        <a:gd name="connsiteX6" fmla="*/ 7682 w 13447"/>
                        <a:gd name="connsiteY6" fmla="*/ 35140 h 35235"/>
                        <a:gd name="connsiteX7" fmla="*/ 12778 w 13447"/>
                        <a:gd name="connsiteY7" fmla="*/ 29225 h 35235"/>
                        <a:gd name="connsiteX8" fmla="*/ 13364 w 13447"/>
                        <a:gd name="connsiteY8" fmla="*/ 19151 h 35235"/>
                        <a:gd name="connsiteX9" fmla="*/ 12544 w 13447"/>
                        <a:gd name="connsiteY9" fmla="*/ 3807 h 35235"/>
                        <a:gd name="connsiteX10" fmla="*/ 12134 w 13447"/>
                        <a:gd name="connsiteY10" fmla="*/ 1171 h 35235"/>
                        <a:gd name="connsiteX11" fmla="*/ 9615 w 13447"/>
                        <a:gd name="connsiteY11" fmla="*/ 0 h 35235"/>
                        <a:gd name="connsiteX12" fmla="*/ 4988 w 13447"/>
                        <a:gd name="connsiteY12" fmla="*/ 2284 h 35235"/>
                        <a:gd name="connsiteX13" fmla="*/ 2879 w 13447"/>
                        <a:gd name="connsiteY13" fmla="*/ 9664 h 35235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</a:cxnLst>
                      <a:rect l="l" t="t" r="r" b="b"/>
                      <a:pathLst>
                        <a:path w="13447" h="35235">
                          <a:moveTo>
                            <a:pt x="2879" y="9664"/>
                          </a:moveTo>
                          <a:cubicBezTo>
                            <a:pt x="2469" y="11655"/>
                            <a:pt x="2234" y="13705"/>
                            <a:pt x="2001" y="15520"/>
                          </a:cubicBezTo>
                          <a:cubicBezTo>
                            <a:pt x="1649" y="18683"/>
                            <a:pt x="2059" y="22373"/>
                            <a:pt x="1180" y="25418"/>
                          </a:cubicBezTo>
                          <a:cubicBezTo>
                            <a:pt x="829" y="26648"/>
                            <a:pt x="361" y="27819"/>
                            <a:pt x="126" y="29049"/>
                          </a:cubicBezTo>
                          <a:cubicBezTo>
                            <a:pt x="-109" y="30338"/>
                            <a:pt x="-50" y="31685"/>
                            <a:pt x="594" y="32739"/>
                          </a:cubicBezTo>
                          <a:cubicBezTo>
                            <a:pt x="1356" y="34027"/>
                            <a:pt x="2762" y="34496"/>
                            <a:pt x="4051" y="34847"/>
                          </a:cubicBezTo>
                          <a:cubicBezTo>
                            <a:pt x="5222" y="35140"/>
                            <a:pt x="6511" y="35374"/>
                            <a:pt x="7682" y="35140"/>
                          </a:cubicBezTo>
                          <a:cubicBezTo>
                            <a:pt x="10142" y="34613"/>
                            <a:pt x="11958" y="32036"/>
                            <a:pt x="12778" y="29225"/>
                          </a:cubicBezTo>
                          <a:cubicBezTo>
                            <a:pt x="13774" y="25887"/>
                            <a:pt x="13364" y="22548"/>
                            <a:pt x="13364" y="19151"/>
                          </a:cubicBezTo>
                          <a:cubicBezTo>
                            <a:pt x="13481" y="13763"/>
                            <a:pt x="12192" y="9195"/>
                            <a:pt x="12544" y="3807"/>
                          </a:cubicBezTo>
                          <a:cubicBezTo>
                            <a:pt x="12602" y="2870"/>
                            <a:pt x="12661" y="1933"/>
                            <a:pt x="12134" y="1171"/>
                          </a:cubicBezTo>
                          <a:cubicBezTo>
                            <a:pt x="11607" y="351"/>
                            <a:pt x="10611" y="0"/>
                            <a:pt x="9615" y="0"/>
                          </a:cubicBezTo>
                          <a:cubicBezTo>
                            <a:pt x="7682" y="0"/>
                            <a:pt x="5808" y="469"/>
                            <a:pt x="4988" y="2284"/>
                          </a:cubicBezTo>
                          <a:cubicBezTo>
                            <a:pt x="4051" y="4510"/>
                            <a:pt x="3348" y="7087"/>
                            <a:pt x="2879" y="9664"/>
                          </a:cubicBezTo>
                          <a:close/>
                        </a:path>
                      </a:pathLst>
                    </a:custGeom>
                    <a:solidFill>
                      <a:srgbClr val="666666"/>
                    </a:solidFill>
                    <a:ln w="586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56" name="Freeform 1033">
                      <a:extLst>
                        <a:ext uri="{FF2B5EF4-FFF2-40B4-BE49-F238E27FC236}">
                          <a16:creationId xmlns:a16="http://schemas.microsoft.com/office/drawing/2014/main" id="{8AA6DA6B-479E-AB98-B6E7-34E0451635B9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7173037" y="2107898"/>
                      <a:ext cx="11130" cy="9899"/>
                    </a:xfrm>
                    <a:custGeom>
                      <a:avLst/>
                      <a:gdLst>
                        <a:gd name="connsiteX0" fmla="*/ 3298 w 11130"/>
                        <a:gd name="connsiteY0" fmla="*/ 1232 h 9899"/>
                        <a:gd name="connsiteX1" fmla="*/ 720 w 11130"/>
                        <a:gd name="connsiteY1" fmla="*/ 4219 h 9899"/>
                        <a:gd name="connsiteX2" fmla="*/ 193 w 11130"/>
                        <a:gd name="connsiteY2" fmla="*/ 6679 h 9899"/>
                        <a:gd name="connsiteX3" fmla="*/ 955 w 11130"/>
                        <a:gd name="connsiteY3" fmla="*/ 7323 h 9899"/>
                        <a:gd name="connsiteX4" fmla="*/ 4527 w 11130"/>
                        <a:gd name="connsiteY4" fmla="*/ 9607 h 9899"/>
                        <a:gd name="connsiteX5" fmla="*/ 5348 w 11130"/>
                        <a:gd name="connsiteY5" fmla="*/ 9900 h 9899"/>
                        <a:gd name="connsiteX6" fmla="*/ 5992 w 11130"/>
                        <a:gd name="connsiteY6" fmla="*/ 9549 h 9899"/>
                        <a:gd name="connsiteX7" fmla="*/ 9389 w 11130"/>
                        <a:gd name="connsiteY7" fmla="*/ 6444 h 9899"/>
                        <a:gd name="connsiteX8" fmla="*/ 3298 w 11130"/>
                        <a:gd name="connsiteY8" fmla="*/ 1232 h 9899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11130" h="9899">
                          <a:moveTo>
                            <a:pt x="3298" y="1232"/>
                          </a:moveTo>
                          <a:cubicBezTo>
                            <a:pt x="2243" y="1993"/>
                            <a:pt x="1481" y="3106"/>
                            <a:pt x="720" y="4219"/>
                          </a:cubicBezTo>
                          <a:cubicBezTo>
                            <a:pt x="193" y="4980"/>
                            <a:pt x="-276" y="5917"/>
                            <a:pt x="193" y="6679"/>
                          </a:cubicBezTo>
                          <a:cubicBezTo>
                            <a:pt x="369" y="6972"/>
                            <a:pt x="662" y="7147"/>
                            <a:pt x="955" y="7323"/>
                          </a:cubicBezTo>
                          <a:cubicBezTo>
                            <a:pt x="2126" y="8084"/>
                            <a:pt x="3356" y="8846"/>
                            <a:pt x="4527" y="9607"/>
                          </a:cubicBezTo>
                          <a:cubicBezTo>
                            <a:pt x="4762" y="9783"/>
                            <a:pt x="5055" y="9900"/>
                            <a:pt x="5348" y="9900"/>
                          </a:cubicBezTo>
                          <a:cubicBezTo>
                            <a:pt x="5582" y="9900"/>
                            <a:pt x="5816" y="9724"/>
                            <a:pt x="5992" y="9549"/>
                          </a:cubicBezTo>
                          <a:cubicBezTo>
                            <a:pt x="7163" y="8611"/>
                            <a:pt x="8335" y="7557"/>
                            <a:pt x="9389" y="6444"/>
                          </a:cubicBezTo>
                          <a:cubicBezTo>
                            <a:pt x="14310" y="1583"/>
                            <a:pt x="7691" y="-1989"/>
                            <a:pt x="3298" y="1232"/>
                          </a:cubicBezTo>
                          <a:close/>
                        </a:path>
                      </a:pathLst>
                    </a:custGeom>
                    <a:solidFill>
                      <a:srgbClr val="F3CFA3"/>
                    </a:solidFill>
                    <a:ln w="586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</p:grpSp>
              <p:sp>
                <p:nvSpPr>
                  <p:cNvPr id="53" name="Freeform 1034">
                    <a:extLst>
                      <a:ext uri="{FF2B5EF4-FFF2-40B4-BE49-F238E27FC236}">
                        <a16:creationId xmlns:a16="http://schemas.microsoft.com/office/drawing/2014/main" id="{91CE2DE3-FF10-3463-21BE-BE7862D9D540}"/>
                      </a:ext>
                    </a:extLst>
                  </p:cNvPr>
                  <p:cNvSpPr/>
                  <p:nvPr/>
                </p:nvSpPr>
                <p:spPr>
                  <a:xfrm>
                    <a:off x="7175483" y="2047222"/>
                    <a:ext cx="86059" cy="117458"/>
                  </a:xfrm>
                  <a:custGeom>
                    <a:avLst/>
                    <a:gdLst>
                      <a:gd name="connsiteX0" fmla="*/ 85961 w 86059"/>
                      <a:gd name="connsiteY0" fmla="*/ 18920 h 117458"/>
                      <a:gd name="connsiteX1" fmla="*/ 83677 w 86059"/>
                      <a:gd name="connsiteY1" fmla="*/ 16109 h 117458"/>
                      <a:gd name="connsiteX2" fmla="*/ 48590 w 86059"/>
                      <a:gd name="connsiteY2" fmla="*/ 3 h 117458"/>
                      <a:gd name="connsiteX3" fmla="*/ 39394 w 86059"/>
                      <a:gd name="connsiteY3" fmla="*/ 22961 h 117458"/>
                      <a:gd name="connsiteX4" fmla="*/ 32130 w 86059"/>
                      <a:gd name="connsiteY4" fmla="*/ 47208 h 117458"/>
                      <a:gd name="connsiteX5" fmla="*/ 25101 w 86059"/>
                      <a:gd name="connsiteY5" fmla="*/ 74031 h 117458"/>
                      <a:gd name="connsiteX6" fmla="*/ 11980 w 86059"/>
                      <a:gd name="connsiteY6" fmla="*/ 62377 h 117458"/>
                      <a:gd name="connsiteX7" fmla="*/ 9286 w 86059"/>
                      <a:gd name="connsiteY7" fmla="*/ 61030 h 117458"/>
                      <a:gd name="connsiteX8" fmla="*/ 5947 w 86059"/>
                      <a:gd name="connsiteY8" fmla="*/ 62318 h 117458"/>
                      <a:gd name="connsiteX9" fmla="*/ 1144 w 86059"/>
                      <a:gd name="connsiteY9" fmla="*/ 66476 h 117458"/>
                      <a:gd name="connsiteX10" fmla="*/ 31 w 86059"/>
                      <a:gd name="connsiteY10" fmla="*/ 68233 h 117458"/>
                      <a:gd name="connsiteX11" fmla="*/ 441 w 86059"/>
                      <a:gd name="connsiteY11" fmla="*/ 70283 h 117458"/>
                      <a:gd name="connsiteX12" fmla="*/ 17545 w 86059"/>
                      <a:gd name="connsiteY12" fmla="*/ 110636 h 117458"/>
                      <a:gd name="connsiteX13" fmla="*/ 31427 w 86059"/>
                      <a:gd name="connsiteY13" fmla="*/ 117429 h 117458"/>
                      <a:gd name="connsiteX14" fmla="*/ 35118 w 86059"/>
                      <a:gd name="connsiteY14" fmla="*/ 116551 h 117458"/>
                      <a:gd name="connsiteX15" fmla="*/ 39745 w 86059"/>
                      <a:gd name="connsiteY15" fmla="*/ 115614 h 117458"/>
                      <a:gd name="connsiteX16" fmla="*/ 42264 w 86059"/>
                      <a:gd name="connsiteY16" fmla="*/ 113798 h 117458"/>
                      <a:gd name="connsiteX17" fmla="*/ 56674 w 86059"/>
                      <a:gd name="connsiteY17" fmla="*/ 89844 h 117458"/>
                      <a:gd name="connsiteX18" fmla="*/ 67451 w 86059"/>
                      <a:gd name="connsiteY18" fmla="*/ 62787 h 117458"/>
                      <a:gd name="connsiteX19" fmla="*/ 68154 w 86059"/>
                      <a:gd name="connsiteY19" fmla="*/ 60795 h 117458"/>
                      <a:gd name="connsiteX20" fmla="*/ 85376 w 86059"/>
                      <a:gd name="connsiteY20" fmla="*/ 21848 h 117458"/>
                      <a:gd name="connsiteX21" fmla="*/ 85961 w 86059"/>
                      <a:gd name="connsiteY21" fmla="*/ 18920 h 11745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</a:cxnLst>
                    <a:rect l="l" t="t" r="r" b="b"/>
                    <a:pathLst>
                      <a:path w="86059" h="117458">
                        <a:moveTo>
                          <a:pt x="85961" y="18920"/>
                        </a:moveTo>
                        <a:cubicBezTo>
                          <a:pt x="85669" y="17749"/>
                          <a:pt x="84673" y="16870"/>
                          <a:pt x="83677" y="16109"/>
                        </a:cubicBezTo>
                        <a:cubicBezTo>
                          <a:pt x="73016" y="8495"/>
                          <a:pt x="61301" y="3166"/>
                          <a:pt x="48590" y="3"/>
                        </a:cubicBezTo>
                        <a:cubicBezTo>
                          <a:pt x="47535" y="-290"/>
                          <a:pt x="40097" y="20911"/>
                          <a:pt x="39394" y="22961"/>
                        </a:cubicBezTo>
                        <a:cubicBezTo>
                          <a:pt x="36641" y="30926"/>
                          <a:pt x="34239" y="39008"/>
                          <a:pt x="32130" y="47208"/>
                        </a:cubicBezTo>
                        <a:cubicBezTo>
                          <a:pt x="29846" y="56169"/>
                          <a:pt x="27503" y="65129"/>
                          <a:pt x="25101" y="74031"/>
                        </a:cubicBezTo>
                        <a:cubicBezTo>
                          <a:pt x="21001" y="69815"/>
                          <a:pt x="16667" y="65949"/>
                          <a:pt x="11980" y="62377"/>
                        </a:cubicBezTo>
                        <a:cubicBezTo>
                          <a:pt x="11160" y="61791"/>
                          <a:pt x="10340" y="61147"/>
                          <a:pt x="9286" y="61030"/>
                        </a:cubicBezTo>
                        <a:cubicBezTo>
                          <a:pt x="8056" y="60912"/>
                          <a:pt x="6943" y="61615"/>
                          <a:pt x="5947" y="62318"/>
                        </a:cubicBezTo>
                        <a:cubicBezTo>
                          <a:pt x="4248" y="63548"/>
                          <a:pt x="2608" y="64954"/>
                          <a:pt x="1144" y="66476"/>
                        </a:cubicBezTo>
                        <a:cubicBezTo>
                          <a:pt x="617" y="67003"/>
                          <a:pt x="148" y="67531"/>
                          <a:pt x="31" y="68233"/>
                        </a:cubicBezTo>
                        <a:cubicBezTo>
                          <a:pt x="-86" y="68936"/>
                          <a:pt x="148" y="69639"/>
                          <a:pt x="441" y="70283"/>
                        </a:cubicBezTo>
                        <a:cubicBezTo>
                          <a:pt x="4834" y="81645"/>
                          <a:pt x="11863" y="99859"/>
                          <a:pt x="17545" y="110636"/>
                        </a:cubicBezTo>
                        <a:cubicBezTo>
                          <a:pt x="20298" y="115848"/>
                          <a:pt x="25804" y="117722"/>
                          <a:pt x="31427" y="117429"/>
                        </a:cubicBezTo>
                        <a:cubicBezTo>
                          <a:pt x="32892" y="117371"/>
                          <a:pt x="33887" y="116961"/>
                          <a:pt x="35118" y="116551"/>
                        </a:cubicBezTo>
                        <a:cubicBezTo>
                          <a:pt x="36641" y="116082"/>
                          <a:pt x="38222" y="116141"/>
                          <a:pt x="39745" y="115614"/>
                        </a:cubicBezTo>
                        <a:cubicBezTo>
                          <a:pt x="40741" y="115321"/>
                          <a:pt x="41502" y="114560"/>
                          <a:pt x="42264" y="113798"/>
                        </a:cubicBezTo>
                        <a:cubicBezTo>
                          <a:pt x="48473" y="107239"/>
                          <a:pt x="52807" y="97927"/>
                          <a:pt x="56674" y="89844"/>
                        </a:cubicBezTo>
                        <a:cubicBezTo>
                          <a:pt x="60832" y="81059"/>
                          <a:pt x="64288" y="71982"/>
                          <a:pt x="67451" y="62787"/>
                        </a:cubicBezTo>
                        <a:cubicBezTo>
                          <a:pt x="67686" y="62084"/>
                          <a:pt x="67920" y="61440"/>
                          <a:pt x="68154" y="60795"/>
                        </a:cubicBezTo>
                        <a:cubicBezTo>
                          <a:pt x="73075" y="47091"/>
                          <a:pt x="79518" y="35319"/>
                          <a:pt x="85376" y="21848"/>
                        </a:cubicBezTo>
                        <a:cubicBezTo>
                          <a:pt x="85844" y="21087"/>
                          <a:pt x="86254" y="20150"/>
                          <a:pt x="85961" y="18920"/>
                        </a:cubicBezTo>
                        <a:close/>
                      </a:path>
                    </a:pathLst>
                  </a:custGeom>
                  <a:solidFill>
                    <a:srgbClr val="4F2170"/>
                  </a:solidFill>
                  <a:ln w="586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</p:grpSp>
            <p:grpSp>
              <p:nvGrpSpPr>
                <p:cNvPr id="45" name="Graphic 2">
                  <a:extLst>
                    <a:ext uri="{FF2B5EF4-FFF2-40B4-BE49-F238E27FC236}">
                      <a16:creationId xmlns:a16="http://schemas.microsoft.com/office/drawing/2014/main" id="{B1196285-D410-D6A0-0218-E220ECA21431}"/>
                    </a:ext>
                  </a:extLst>
                </p:cNvPr>
                <p:cNvGrpSpPr/>
                <p:nvPr/>
              </p:nvGrpSpPr>
              <p:grpSpPr>
                <a:xfrm>
                  <a:off x="7237253" y="2049262"/>
                  <a:ext cx="45445" cy="190449"/>
                  <a:chOff x="7237253" y="2049262"/>
                  <a:chExt cx="45445" cy="190449"/>
                </a:xfrm>
              </p:grpSpPr>
              <p:grpSp>
                <p:nvGrpSpPr>
                  <p:cNvPr id="46" name="Graphic 2">
                    <a:extLst>
                      <a:ext uri="{FF2B5EF4-FFF2-40B4-BE49-F238E27FC236}">
                        <a16:creationId xmlns:a16="http://schemas.microsoft.com/office/drawing/2014/main" id="{41DB2295-9BCF-29D1-C39A-4466ADA72550}"/>
                      </a:ext>
                    </a:extLst>
                  </p:cNvPr>
                  <p:cNvGrpSpPr/>
                  <p:nvPr/>
                </p:nvGrpSpPr>
                <p:grpSpPr>
                  <a:xfrm>
                    <a:off x="7239479" y="2204008"/>
                    <a:ext cx="13832" cy="35703"/>
                    <a:chOff x="7239479" y="2204008"/>
                    <a:chExt cx="13832" cy="35703"/>
                  </a:xfrm>
                </p:grpSpPr>
                <p:sp>
                  <p:nvSpPr>
                    <p:cNvPr id="48" name="Freeform 1037">
                      <a:extLst>
                        <a:ext uri="{FF2B5EF4-FFF2-40B4-BE49-F238E27FC236}">
                          <a16:creationId xmlns:a16="http://schemas.microsoft.com/office/drawing/2014/main" id="{34F8CF44-7113-BAD1-75C0-9BA084013768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7240357" y="2204008"/>
                      <a:ext cx="10543" cy="20849"/>
                    </a:xfrm>
                    <a:custGeom>
                      <a:avLst/>
                      <a:gdLst>
                        <a:gd name="connsiteX0" fmla="*/ 0 w 10543"/>
                        <a:gd name="connsiteY0" fmla="*/ 19678 h 20849"/>
                        <a:gd name="connsiteX1" fmla="*/ 6033 w 10543"/>
                        <a:gd name="connsiteY1" fmla="*/ 20850 h 20849"/>
                        <a:gd name="connsiteX2" fmla="*/ 10544 w 10543"/>
                        <a:gd name="connsiteY2" fmla="*/ 0 h 20849"/>
                        <a:gd name="connsiteX3" fmla="*/ 2519 w 10543"/>
                        <a:gd name="connsiteY3" fmla="*/ 5798 h 20849"/>
                        <a:gd name="connsiteX4" fmla="*/ 0 w 10543"/>
                        <a:gd name="connsiteY4" fmla="*/ 19678 h 20849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10543" h="20849">
                          <a:moveTo>
                            <a:pt x="0" y="19678"/>
                          </a:moveTo>
                          <a:cubicBezTo>
                            <a:pt x="1933" y="20498"/>
                            <a:pt x="3983" y="20381"/>
                            <a:pt x="6033" y="20850"/>
                          </a:cubicBezTo>
                          <a:cubicBezTo>
                            <a:pt x="8259" y="13997"/>
                            <a:pt x="9723" y="7204"/>
                            <a:pt x="10544" y="0"/>
                          </a:cubicBezTo>
                          <a:cubicBezTo>
                            <a:pt x="6384" y="2284"/>
                            <a:pt x="4569" y="-468"/>
                            <a:pt x="2519" y="5798"/>
                          </a:cubicBezTo>
                          <a:cubicBezTo>
                            <a:pt x="1875" y="7848"/>
                            <a:pt x="1405" y="16750"/>
                            <a:pt x="0" y="19678"/>
                          </a:cubicBezTo>
                          <a:close/>
                        </a:path>
                      </a:pathLst>
                    </a:custGeom>
                    <a:solidFill>
                      <a:srgbClr val="F3CFA3"/>
                    </a:solidFill>
                    <a:ln w="586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49" name="Freeform 1038">
                      <a:extLst>
                        <a:ext uri="{FF2B5EF4-FFF2-40B4-BE49-F238E27FC236}">
                          <a16:creationId xmlns:a16="http://schemas.microsoft.com/office/drawing/2014/main" id="{942E9592-50CC-6BBD-DF81-70C9B09C2688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7239479" y="2219605"/>
                      <a:ext cx="13832" cy="20107"/>
                    </a:xfrm>
                    <a:custGeom>
                      <a:avLst/>
                      <a:gdLst>
                        <a:gd name="connsiteX0" fmla="*/ 9020 w 13832"/>
                        <a:gd name="connsiteY0" fmla="*/ 3262 h 20107"/>
                        <a:gd name="connsiteX1" fmla="*/ 13472 w 13832"/>
                        <a:gd name="connsiteY1" fmla="*/ 14976 h 20107"/>
                        <a:gd name="connsiteX2" fmla="*/ 13823 w 13832"/>
                        <a:gd name="connsiteY2" fmla="*/ 16264 h 20107"/>
                        <a:gd name="connsiteX3" fmla="*/ 12945 w 13832"/>
                        <a:gd name="connsiteY3" fmla="*/ 18080 h 20107"/>
                        <a:gd name="connsiteX4" fmla="*/ 10836 w 13832"/>
                        <a:gd name="connsiteY4" fmla="*/ 19954 h 20107"/>
                        <a:gd name="connsiteX5" fmla="*/ 8083 w 13832"/>
                        <a:gd name="connsiteY5" fmla="*/ 19837 h 20107"/>
                        <a:gd name="connsiteX6" fmla="*/ 3631 w 13832"/>
                        <a:gd name="connsiteY6" fmla="*/ 18490 h 20107"/>
                        <a:gd name="connsiteX7" fmla="*/ 2577 w 13832"/>
                        <a:gd name="connsiteY7" fmla="*/ 17963 h 20107"/>
                        <a:gd name="connsiteX8" fmla="*/ 1815 w 13832"/>
                        <a:gd name="connsiteY8" fmla="*/ 16791 h 20107"/>
                        <a:gd name="connsiteX9" fmla="*/ 58 w 13832"/>
                        <a:gd name="connsiteY9" fmla="*/ 10759 h 20107"/>
                        <a:gd name="connsiteX10" fmla="*/ 175 w 13832"/>
                        <a:gd name="connsiteY10" fmla="*/ 3438 h 20107"/>
                        <a:gd name="connsiteX11" fmla="*/ 761 w 13832"/>
                        <a:gd name="connsiteY11" fmla="*/ 158 h 20107"/>
                        <a:gd name="connsiteX12" fmla="*/ 3807 w 13832"/>
                        <a:gd name="connsiteY12" fmla="*/ 568 h 20107"/>
                        <a:gd name="connsiteX13" fmla="*/ 8025 w 13832"/>
                        <a:gd name="connsiteY13" fmla="*/ 1623 h 20107"/>
                        <a:gd name="connsiteX14" fmla="*/ 8727 w 13832"/>
                        <a:gd name="connsiteY14" fmla="*/ 2267 h 20107"/>
                        <a:gd name="connsiteX15" fmla="*/ 9020 w 13832"/>
                        <a:gd name="connsiteY15" fmla="*/ 3262 h 2010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</a:cxnLst>
                      <a:rect l="l" t="t" r="r" b="b"/>
                      <a:pathLst>
                        <a:path w="13832" h="20107">
                          <a:moveTo>
                            <a:pt x="9020" y="3262"/>
                          </a:moveTo>
                          <a:cubicBezTo>
                            <a:pt x="8903" y="7186"/>
                            <a:pt x="11890" y="11462"/>
                            <a:pt x="13472" y="14976"/>
                          </a:cubicBezTo>
                          <a:cubicBezTo>
                            <a:pt x="13648" y="15386"/>
                            <a:pt x="13882" y="15854"/>
                            <a:pt x="13823" y="16264"/>
                          </a:cubicBezTo>
                          <a:cubicBezTo>
                            <a:pt x="13823" y="16967"/>
                            <a:pt x="13413" y="17553"/>
                            <a:pt x="12945" y="18080"/>
                          </a:cubicBezTo>
                          <a:cubicBezTo>
                            <a:pt x="12359" y="18841"/>
                            <a:pt x="11773" y="19603"/>
                            <a:pt x="10836" y="19954"/>
                          </a:cubicBezTo>
                          <a:cubicBezTo>
                            <a:pt x="9957" y="20247"/>
                            <a:pt x="9020" y="20071"/>
                            <a:pt x="8083" y="19837"/>
                          </a:cubicBezTo>
                          <a:cubicBezTo>
                            <a:pt x="6560" y="19485"/>
                            <a:pt x="5096" y="19017"/>
                            <a:pt x="3631" y="18490"/>
                          </a:cubicBezTo>
                          <a:cubicBezTo>
                            <a:pt x="3280" y="18373"/>
                            <a:pt x="2869" y="18256"/>
                            <a:pt x="2577" y="17963"/>
                          </a:cubicBezTo>
                          <a:cubicBezTo>
                            <a:pt x="2225" y="17670"/>
                            <a:pt x="2050" y="17260"/>
                            <a:pt x="1815" y="16791"/>
                          </a:cubicBezTo>
                          <a:cubicBezTo>
                            <a:pt x="819" y="14683"/>
                            <a:pt x="-59" y="13160"/>
                            <a:pt x="58" y="10759"/>
                          </a:cubicBezTo>
                          <a:cubicBezTo>
                            <a:pt x="175" y="8358"/>
                            <a:pt x="526" y="5839"/>
                            <a:pt x="175" y="3438"/>
                          </a:cubicBezTo>
                          <a:cubicBezTo>
                            <a:pt x="0" y="2267"/>
                            <a:pt x="-293" y="744"/>
                            <a:pt x="761" y="158"/>
                          </a:cubicBezTo>
                          <a:cubicBezTo>
                            <a:pt x="1522" y="-310"/>
                            <a:pt x="2928" y="393"/>
                            <a:pt x="3807" y="568"/>
                          </a:cubicBezTo>
                          <a:cubicBezTo>
                            <a:pt x="5271" y="861"/>
                            <a:pt x="6677" y="803"/>
                            <a:pt x="8025" y="1623"/>
                          </a:cubicBezTo>
                          <a:cubicBezTo>
                            <a:pt x="8317" y="1798"/>
                            <a:pt x="8551" y="1974"/>
                            <a:pt x="8727" y="2267"/>
                          </a:cubicBezTo>
                          <a:cubicBezTo>
                            <a:pt x="8962" y="2618"/>
                            <a:pt x="9020" y="2911"/>
                            <a:pt x="9020" y="3262"/>
                          </a:cubicBezTo>
                          <a:close/>
                        </a:path>
                      </a:pathLst>
                    </a:custGeom>
                    <a:solidFill>
                      <a:srgbClr val="666666"/>
                    </a:solidFill>
                    <a:ln w="586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</p:grpSp>
              <p:sp>
                <p:nvSpPr>
                  <p:cNvPr id="47" name="Freeform 1039">
                    <a:extLst>
                      <a:ext uri="{FF2B5EF4-FFF2-40B4-BE49-F238E27FC236}">
                        <a16:creationId xmlns:a16="http://schemas.microsoft.com/office/drawing/2014/main" id="{94951880-EE08-8677-52B4-477EC6E584CA}"/>
                      </a:ext>
                    </a:extLst>
                  </p:cNvPr>
                  <p:cNvSpPr/>
                  <p:nvPr/>
                </p:nvSpPr>
                <p:spPr>
                  <a:xfrm>
                    <a:off x="7237253" y="2049262"/>
                    <a:ext cx="45445" cy="169236"/>
                  </a:xfrm>
                  <a:custGeom>
                    <a:avLst/>
                    <a:gdLst>
                      <a:gd name="connsiteX0" fmla="*/ 4276 w 45445"/>
                      <a:gd name="connsiteY0" fmla="*/ 49619 h 169236"/>
                      <a:gd name="connsiteX1" fmla="*/ 4334 w 45445"/>
                      <a:gd name="connsiteY1" fmla="*/ 101685 h 169236"/>
                      <a:gd name="connsiteX2" fmla="*/ 0 w 45445"/>
                      <a:gd name="connsiteY2" fmla="*/ 166460 h 169236"/>
                      <a:gd name="connsiteX3" fmla="*/ 7498 w 45445"/>
                      <a:gd name="connsiteY3" fmla="*/ 168627 h 169236"/>
                      <a:gd name="connsiteX4" fmla="*/ 17163 w 45445"/>
                      <a:gd name="connsiteY4" fmla="*/ 167279 h 169236"/>
                      <a:gd name="connsiteX5" fmla="*/ 18978 w 45445"/>
                      <a:gd name="connsiteY5" fmla="*/ 161481 h 169236"/>
                      <a:gd name="connsiteX6" fmla="*/ 23254 w 45445"/>
                      <a:gd name="connsiteY6" fmla="*/ 145551 h 169236"/>
                      <a:gd name="connsiteX7" fmla="*/ 33681 w 45445"/>
                      <a:gd name="connsiteY7" fmla="*/ 99928 h 169236"/>
                      <a:gd name="connsiteX8" fmla="*/ 41179 w 45445"/>
                      <a:gd name="connsiteY8" fmla="*/ 51376 h 169236"/>
                      <a:gd name="connsiteX9" fmla="*/ 44283 w 45445"/>
                      <a:gd name="connsiteY9" fmla="*/ 26251 h 169236"/>
                      <a:gd name="connsiteX10" fmla="*/ 45103 w 45445"/>
                      <a:gd name="connsiteY10" fmla="*/ 1536 h 169236"/>
                      <a:gd name="connsiteX11" fmla="*/ 6502 w 45445"/>
                      <a:gd name="connsiteY11" fmla="*/ 2180 h 169236"/>
                      <a:gd name="connsiteX12" fmla="*/ 3280 w 45445"/>
                      <a:gd name="connsiteY12" fmla="*/ 3820 h 169236"/>
                      <a:gd name="connsiteX13" fmla="*/ 2577 w 45445"/>
                      <a:gd name="connsiteY13" fmla="*/ 6982 h 169236"/>
                      <a:gd name="connsiteX14" fmla="*/ 3983 w 45445"/>
                      <a:gd name="connsiteY14" fmla="*/ 38491 h 169236"/>
                      <a:gd name="connsiteX15" fmla="*/ 4276 w 45445"/>
                      <a:gd name="connsiteY15" fmla="*/ 49619 h 16923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</a:cxnLst>
                    <a:rect l="l" t="t" r="r" b="b"/>
                    <a:pathLst>
                      <a:path w="45445" h="169236">
                        <a:moveTo>
                          <a:pt x="4276" y="49619"/>
                        </a:moveTo>
                        <a:cubicBezTo>
                          <a:pt x="4686" y="66955"/>
                          <a:pt x="6092" y="84290"/>
                          <a:pt x="4334" y="101685"/>
                        </a:cubicBezTo>
                        <a:cubicBezTo>
                          <a:pt x="2167" y="123179"/>
                          <a:pt x="2987" y="145141"/>
                          <a:pt x="0" y="166460"/>
                        </a:cubicBezTo>
                        <a:cubicBezTo>
                          <a:pt x="2460" y="167397"/>
                          <a:pt x="4920" y="168099"/>
                          <a:pt x="7498" y="168627"/>
                        </a:cubicBezTo>
                        <a:cubicBezTo>
                          <a:pt x="10426" y="169271"/>
                          <a:pt x="15112" y="170032"/>
                          <a:pt x="17163" y="167279"/>
                        </a:cubicBezTo>
                        <a:cubicBezTo>
                          <a:pt x="18217" y="165874"/>
                          <a:pt x="18510" y="163180"/>
                          <a:pt x="18978" y="161481"/>
                        </a:cubicBezTo>
                        <a:cubicBezTo>
                          <a:pt x="20501" y="156210"/>
                          <a:pt x="21907" y="150881"/>
                          <a:pt x="23254" y="145551"/>
                        </a:cubicBezTo>
                        <a:cubicBezTo>
                          <a:pt x="27179" y="130500"/>
                          <a:pt x="31514" y="115331"/>
                          <a:pt x="33681" y="99928"/>
                        </a:cubicBezTo>
                        <a:cubicBezTo>
                          <a:pt x="36024" y="83705"/>
                          <a:pt x="38484" y="67482"/>
                          <a:pt x="41179" y="51376"/>
                        </a:cubicBezTo>
                        <a:cubicBezTo>
                          <a:pt x="42584" y="43059"/>
                          <a:pt x="43639" y="34684"/>
                          <a:pt x="44283" y="26251"/>
                        </a:cubicBezTo>
                        <a:cubicBezTo>
                          <a:pt x="44459" y="24084"/>
                          <a:pt x="46157" y="1711"/>
                          <a:pt x="45103" y="1536"/>
                        </a:cubicBezTo>
                        <a:cubicBezTo>
                          <a:pt x="32158" y="-690"/>
                          <a:pt x="19330" y="-514"/>
                          <a:pt x="6502" y="2180"/>
                        </a:cubicBezTo>
                        <a:cubicBezTo>
                          <a:pt x="5272" y="2414"/>
                          <a:pt x="3983" y="2824"/>
                          <a:pt x="3280" y="3820"/>
                        </a:cubicBezTo>
                        <a:cubicBezTo>
                          <a:pt x="2519" y="4815"/>
                          <a:pt x="2577" y="5869"/>
                          <a:pt x="2577" y="6982"/>
                        </a:cubicBezTo>
                        <a:cubicBezTo>
                          <a:pt x="2519" y="17524"/>
                          <a:pt x="3807" y="27891"/>
                          <a:pt x="3983" y="38491"/>
                        </a:cubicBezTo>
                        <a:cubicBezTo>
                          <a:pt x="4100" y="42122"/>
                          <a:pt x="4159" y="45812"/>
                          <a:pt x="4276" y="49619"/>
                        </a:cubicBezTo>
                        <a:close/>
                      </a:path>
                    </a:pathLst>
                  </a:custGeom>
                  <a:solidFill>
                    <a:srgbClr val="4F2170"/>
                  </a:solidFill>
                  <a:ln w="586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</p:grpSp>
          </p:grpSp>
          <p:sp>
            <p:nvSpPr>
              <p:cNvPr id="33" name="Freeform 1040">
                <a:extLst>
                  <a:ext uri="{FF2B5EF4-FFF2-40B4-BE49-F238E27FC236}">
                    <a16:creationId xmlns:a16="http://schemas.microsoft.com/office/drawing/2014/main" id="{8F9562AC-C7CB-3EAD-964B-A06855572F6D}"/>
                  </a:ext>
                </a:extLst>
              </p:cNvPr>
              <p:cNvSpPr/>
              <p:nvPr/>
            </p:nvSpPr>
            <p:spPr>
              <a:xfrm>
                <a:off x="7203058" y="1958417"/>
                <a:ext cx="86443" cy="129395"/>
              </a:xfrm>
              <a:custGeom>
                <a:avLst/>
                <a:gdLst>
                  <a:gd name="connsiteX0" fmla="*/ 34721 w 86443"/>
                  <a:gd name="connsiteY0" fmla="*/ 1251 h 129395"/>
                  <a:gd name="connsiteX1" fmla="*/ 34077 w 86443"/>
                  <a:gd name="connsiteY1" fmla="*/ 1486 h 129395"/>
                  <a:gd name="connsiteX2" fmla="*/ 24588 w 86443"/>
                  <a:gd name="connsiteY2" fmla="*/ 7284 h 129395"/>
                  <a:gd name="connsiteX3" fmla="*/ 16153 w 86443"/>
                  <a:gd name="connsiteY3" fmla="*/ 17357 h 129395"/>
                  <a:gd name="connsiteX4" fmla="*/ 12287 w 86443"/>
                  <a:gd name="connsiteY4" fmla="*/ 32233 h 129395"/>
                  <a:gd name="connsiteX5" fmla="*/ 923 w 86443"/>
                  <a:gd name="connsiteY5" fmla="*/ 109131 h 129395"/>
                  <a:gd name="connsiteX6" fmla="*/ 3911 w 86443"/>
                  <a:gd name="connsiteY6" fmla="*/ 129395 h 129395"/>
                  <a:gd name="connsiteX7" fmla="*/ 36186 w 86443"/>
                  <a:gd name="connsiteY7" fmla="*/ 122602 h 129395"/>
                  <a:gd name="connsiteX8" fmla="*/ 59675 w 86443"/>
                  <a:gd name="connsiteY8" fmla="*/ 121547 h 129395"/>
                  <a:gd name="connsiteX9" fmla="*/ 81465 w 86443"/>
                  <a:gd name="connsiteY9" fmla="*/ 121547 h 129395"/>
                  <a:gd name="connsiteX10" fmla="*/ 86443 w 86443"/>
                  <a:gd name="connsiteY10" fmla="*/ 120083 h 129395"/>
                  <a:gd name="connsiteX11" fmla="*/ 83866 w 86443"/>
                  <a:gd name="connsiteY11" fmla="*/ 95192 h 129395"/>
                  <a:gd name="connsiteX12" fmla="*/ 73909 w 86443"/>
                  <a:gd name="connsiteY12" fmla="*/ 31120 h 129395"/>
                  <a:gd name="connsiteX13" fmla="*/ 67406 w 86443"/>
                  <a:gd name="connsiteY13" fmla="*/ 6054 h 129395"/>
                  <a:gd name="connsiteX14" fmla="*/ 39525 w 86443"/>
                  <a:gd name="connsiteY14" fmla="*/ 373 h 129395"/>
                  <a:gd name="connsiteX15" fmla="*/ 34721 w 86443"/>
                  <a:gd name="connsiteY15" fmla="*/ 1251 h 1293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86443" h="129395">
                    <a:moveTo>
                      <a:pt x="34721" y="1251"/>
                    </a:moveTo>
                    <a:cubicBezTo>
                      <a:pt x="34487" y="1310"/>
                      <a:pt x="34311" y="1368"/>
                      <a:pt x="34077" y="1486"/>
                    </a:cubicBezTo>
                    <a:cubicBezTo>
                      <a:pt x="30563" y="2715"/>
                      <a:pt x="27517" y="5000"/>
                      <a:pt x="24588" y="7284"/>
                    </a:cubicBezTo>
                    <a:cubicBezTo>
                      <a:pt x="20136" y="10681"/>
                      <a:pt x="17969" y="12145"/>
                      <a:pt x="16153" y="17357"/>
                    </a:cubicBezTo>
                    <a:cubicBezTo>
                      <a:pt x="14454" y="22160"/>
                      <a:pt x="13341" y="27255"/>
                      <a:pt x="12287" y="32233"/>
                    </a:cubicBezTo>
                    <a:cubicBezTo>
                      <a:pt x="6722" y="57768"/>
                      <a:pt x="5082" y="83362"/>
                      <a:pt x="923" y="109131"/>
                    </a:cubicBezTo>
                    <a:cubicBezTo>
                      <a:pt x="-248" y="116159"/>
                      <a:pt x="-1185" y="124417"/>
                      <a:pt x="3911" y="129395"/>
                    </a:cubicBezTo>
                    <a:cubicBezTo>
                      <a:pt x="13341" y="122426"/>
                      <a:pt x="24998" y="122309"/>
                      <a:pt x="36186" y="122602"/>
                    </a:cubicBezTo>
                    <a:cubicBezTo>
                      <a:pt x="44035" y="122777"/>
                      <a:pt x="51825" y="120435"/>
                      <a:pt x="59675" y="121547"/>
                    </a:cubicBezTo>
                    <a:cubicBezTo>
                      <a:pt x="67172" y="122602"/>
                      <a:pt x="73850" y="120845"/>
                      <a:pt x="81465" y="121547"/>
                    </a:cubicBezTo>
                    <a:cubicBezTo>
                      <a:pt x="83281" y="121723"/>
                      <a:pt x="85682" y="121782"/>
                      <a:pt x="86443" y="120083"/>
                    </a:cubicBezTo>
                    <a:cubicBezTo>
                      <a:pt x="83984" y="112060"/>
                      <a:pt x="84277" y="103567"/>
                      <a:pt x="83866" y="95192"/>
                    </a:cubicBezTo>
                    <a:cubicBezTo>
                      <a:pt x="82871" y="73581"/>
                      <a:pt x="76252" y="52673"/>
                      <a:pt x="73909" y="31120"/>
                    </a:cubicBezTo>
                    <a:cubicBezTo>
                      <a:pt x="73088" y="23799"/>
                      <a:pt x="72913" y="11676"/>
                      <a:pt x="67406" y="6054"/>
                    </a:cubicBezTo>
                    <a:cubicBezTo>
                      <a:pt x="61432" y="-96"/>
                      <a:pt x="47432" y="-564"/>
                      <a:pt x="39525" y="373"/>
                    </a:cubicBezTo>
                    <a:cubicBezTo>
                      <a:pt x="37885" y="490"/>
                      <a:pt x="36245" y="783"/>
                      <a:pt x="34721" y="1251"/>
                    </a:cubicBezTo>
                    <a:close/>
                  </a:path>
                </a:pathLst>
              </a:custGeom>
              <a:solidFill>
                <a:srgbClr val="287819"/>
              </a:solidFill>
              <a:ln w="5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grpSp>
            <p:nvGrpSpPr>
              <p:cNvPr id="34" name="Graphic 2">
                <a:extLst>
                  <a:ext uri="{FF2B5EF4-FFF2-40B4-BE49-F238E27FC236}">
                    <a16:creationId xmlns:a16="http://schemas.microsoft.com/office/drawing/2014/main" id="{4175628A-866A-05BE-72A9-E90FB4DC0A1E}"/>
                  </a:ext>
                </a:extLst>
              </p:cNvPr>
              <p:cNvGrpSpPr/>
              <p:nvPr/>
            </p:nvGrpSpPr>
            <p:grpSpPr>
              <a:xfrm>
                <a:off x="7205487" y="1888861"/>
                <a:ext cx="66551" cy="73226"/>
                <a:chOff x="7205487" y="1888861"/>
                <a:chExt cx="66551" cy="73226"/>
              </a:xfrm>
            </p:grpSpPr>
            <p:grpSp>
              <p:nvGrpSpPr>
                <p:cNvPr id="38" name="Graphic 2">
                  <a:extLst>
                    <a:ext uri="{FF2B5EF4-FFF2-40B4-BE49-F238E27FC236}">
                      <a16:creationId xmlns:a16="http://schemas.microsoft.com/office/drawing/2014/main" id="{E3D55CD1-025B-ADDD-4EC2-A8E98F5FAF5D}"/>
                    </a:ext>
                  </a:extLst>
                </p:cNvPr>
                <p:cNvGrpSpPr/>
                <p:nvPr/>
              </p:nvGrpSpPr>
              <p:grpSpPr>
                <a:xfrm>
                  <a:off x="7235238" y="1908142"/>
                  <a:ext cx="36800" cy="53944"/>
                  <a:chOff x="7235238" y="1908142"/>
                  <a:chExt cx="36800" cy="53944"/>
                </a:xfrm>
              </p:grpSpPr>
              <p:sp>
                <p:nvSpPr>
                  <p:cNvPr id="42" name="Freeform 1043">
                    <a:extLst>
                      <a:ext uri="{FF2B5EF4-FFF2-40B4-BE49-F238E27FC236}">
                        <a16:creationId xmlns:a16="http://schemas.microsoft.com/office/drawing/2014/main" id="{B4EB9D06-8FE5-979B-CD4E-F363F3FE7D9F}"/>
                      </a:ext>
                    </a:extLst>
                  </p:cNvPr>
                  <p:cNvSpPr/>
                  <p:nvPr/>
                </p:nvSpPr>
                <p:spPr>
                  <a:xfrm>
                    <a:off x="7235238" y="1916677"/>
                    <a:ext cx="30091" cy="45409"/>
                  </a:xfrm>
                  <a:custGeom>
                    <a:avLst/>
                    <a:gdLst>
                      <a:gd name="connsiteX0" fmla="*/ 8399 w 30091"/>
                      <a:gd name="connsiteY0" fmla="*/ 42815 h 45409"/>
                      <a:gd name="connsiteX1" fmla="*/ 8927 w 30091"/>
                      <a:gd name="connsiteY1" fmla="*/ 43577 h 45409"/>
                      <a:gd name="connsiteX2" fmla="*/ 12324 w 30091"/>
                      <a:gd name="connsiteY2" fmla="*/ 45275 h 45409"/>
                      <a:gd name="connsiteX3" fmla="*/ 17303 w 30091"/>
                      <a:gd name="connsiteY3" fmla="*/ 45041 h 45409"/>
                      <a:gd name="connsiteX4" fmla="*/ 19880 w 30091"/>
                      <a:gd name="connsiteY4" fmla="*/ 41351 h 45409"/>
                      <a:gd name="connsiteX5" fmla="*/ 20349 w 30091"/>
                      <a:gd name="connsiteY5" fmla="*/ 38013 h 45409"/>
                      <a:gd name="connsiteX6" fmla="*/ 20642 w 30091"/>
                      <a:gd name="connsiteY6" fmla="*/ 34792 h 45409"/>
                      <a:gd name="connsiteX7" fmla="*/ 22457 w 30091"/>
                      <a:gd name="connsiteY7" fmla="*/ 34382 h 45409"/>
                      <a:gd name="connsiteX8" fmla="*/ 24332 w 30091"/>
                      <a:gd name="connsiteY8" fmla="*/ 32625 h 45409"/>
                      <a:gd name="connsiteX9" fmla="*/ 25913 w 30091"/>
                      <a:gd name="connsiteY9" fmla="*/ 28935 h 45409"/>
                      <a:gd name="connsiteX10" fmla="*/ 28139 w 30091"/>
                      <a:gd name="connsiteY10" fmla="*/ 22317 h 45409"/>
                      <a:gd name="connsiteX11" fmla="*/ 29955 w 30091"/>
                      <a:gd name="connsiteY11" fmla="*/ 15406 h 45409"/>
                      <a:gd name="connsiteX12" fmla="*/ 27319 w 30091"/>
                      <a:gd name="connsiteY12" fmla="*/ 4103 h 45409"/>
                      <a:gd name="connsiteX13" fmla="*/ 18064 w 30091"/>
                      <a:gd name="connsiteY13" fmla="*/ 237 h 45409"/>
                      <a:gd name="connsiteX14" fmla="*/ 5353 w 30091"/>
                      <a:gd name="connsiteY14" fmla="*/ 2463 h 45409"/>
                      <a:gd name="connsiteX15" fmla="*/ 1370 w 30091"/>
                      <a:gd name="connsiteY15" fmla="*/ 6152 h 45409"/>
                      <a:gd name="connsiteX16" fmla="*/ 23 w 30091"/>
                      <a:gd name="connsiteY16" fmla="*/ 14879 h 45409"/>
                      <a:gd name="connsiteX17" fmla="*/ 199 w 30091"/>
                      <a:gd name="connsiteY17" fmla="*/ 23195 h 45409"/>
                      <a:gd name="connsiteX18" fmla="*/ 2893 w 30091"/>
                      <a:gd name="connsiteY18" fmla="*/ 31863 h 45409"/>
                      <a:gd name="connsiteX19" fmla="*/ 6817 w 30091"/>
                      <a:gd name="connsiteY19" fmla="*/ 34264 h 45409"/>
                      <a:gd name="connsiteX20" fmla="*/ 7989 w 30091"/>
                      <a:gd name="connsiteY20" fmla="*/ 39828 h 45409"/>
                      <a:gd name="connsiteX21" fmla="*/ 8399 w 30091"/>
                      <a:gd name="connsiteY21" fmla="*/ 42815 h 4540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</a:cxnLst>
                    <a:rect l="l" t="t" r="r" b="b"/>
                    <a:pathLst>
                      <a:path w="30091" h="45409">
                        <a:moveTo>
                          <a:pt x="8399" y="42815"/>
                        </a:moveTo>
                        <a:cubicBezTo>
                          <a:pt x="8516" y="43049"/>
                          <a:pt x="8692" y="43342"/>
                          <a:pt x="8927" y="43577"/>
                        </a:cubicBezTo>
                        <a:cubicBezTo>
                          <a:pt x="9805" y="44514"/>
                          <a:pt x="11094" y="45041"/>
                          <a:pt x="12324" y="45275"/>
                        </a:cubicBezTo>
                        <a:cubicBezTo>
                          <a:pt x="13964" y="45568"/>
                          <a:pt x="15663" y="45334"/>
                          <a:pt x="17303" y="45041"/>
                        </a:cubicBezTo>
                        <a:cubicBezTo>
                          <a:pt x="19528" y="44689"/>
                          <a:pt x="19470" y="43342"/>
                          <a:pt x="19880" y="41351"/>
                        </a:cubicBezTo>
                        <a:cubicBezTo>
                          <a:pt x="20056" y="40238"/>
                          <a:pt x="20231" y="39126"/>
                          <a:pt x="20349" y="38013"/>
                        </a:cubicBezTo>
                        <a:cubicBezTo>
                          <a:pt x="20407" y="37427"/>
                          <a:pt x="20231" y="35202"/>
                          <a:pt x="20642" y="34792"/>
                        </a:cubicBezTo>
                        <a:cubicBezTo>
                          <a:pt x="20935" y="34499"/>
                          <a:pt x="21989" y="34616"/>
                          <a:pt x="22457" y="34382"/>
                        </a:cubicBezTo>
                        <a:cubicBezTo>
                          <a:pt x="23219" y="34030"/>
                          <a:pt x="23863" y="33327"/>
                          <a:pt x="24332" y="32625"/>
                        </a:cubicBezTo>
                        <a:cubicBezTo>
                          <a:pt x="25093" y="31512"/>
                          <a:pt x="25503" y="30223"/>
                          <a:pt x="25913" y="28935"/>
                        </a:cubicBezTo>
                        <a:cubicBezTo>
                          <a:pt x="26675" y="26709"/>
                          <a:pt x="27378" y="24542"/>
                          <a:pt x="28139" y="22317"/>
                        </a:cubicBezTo>
                        <a:cubicBezTo>
                          <a:pt x="28901" y="20033"/>
                          <a:pt x="29662" y="17807"/>
                          <a:pt x="29955" y="15406"/>
                        </a:cubicBezTo>
                        <a:cubicBezTo>
                          <a:pt x="30365" y="11833"/>
                          <a:pt x="29955" y="6797"/>
                          <a:pt x="27319" y="4103"/>
                        </a:cubicBezTo>
                        <a:cubicBezTo>
                          <a:pt x="24918" y="1643"/>
                          <a:pt x="21345" y="706"/>
                          <a:pt x="18064" y="237"/>
                        </a:cubicBezTo>
                        <a:cubicBezTo>
                          <a:pt x="13730" y="-407"/>
                          <a:pt x="9160" y="237"/>
                          <a:pt x="5353" y="2463"/>
                        </a:cubicBezTo>
                        <a:cubicBezTo>
                          <a:pt x="3830" y="3341"/>
                          <a:pt x="2366" y="4513"/>
                          <a:pt x="1370" y="6152"/>
                        </a:cubicBezTo>
                        <a:cubicBezTo>
                          <a:pt x="-94" y="8671"/>
                          <a:pt x="-35" y="11892"/>
                          <a:pt x="23" y="14879"/>
                        </a:cubicBezTo>
                        <a:cubicBezTo>
                          <a:pt x="81" y="17632"/>
                          <a:pt x="140" y="20443"/>
                          <a:pt x="199" y="23195"/>
                        </a:cubicBezTo>
                        <a:cubicBezTo>
                          <a:pt x="257" y="26358"/>
                          <a:pt x="550" y="30048"/>
                          <a:pt x="2893" y="31863"/>
                        </a:cubicBezTo>
                        <a:cubicBezTo>
                          <a:pt x="4123" y="32800"/>
                          <a:pt x="5763" y="33035"/>
                          <a:pt x="6817" y="34264"/>
                        </a:cubicBezTo>
                        <a:cubicBezTo>
                          <a:pt x="8165" y="35787"/>
                          <a:pt x="7989" y="37954"/>
                          <a:pt x="7989" y="39828"/>
                        </a:cubicBezTo>
                        <a:cubicBezTo>
                          <a:pt x="8106" y="40883"/>
                          <a:pt x="7989" y="41878"/>
                          <a:pt x="8399" y="42815"/>
                        </a:cubicBezTo>
                        <a:close/>
                      </a:path>
                    </a:pathLst>
                  </a:custGeom>
                  <a:solidFill>
                    <a:srgbClr val="F3CFA3"/>
                  </a:solidFill>
                  <a:ln w="586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43" name="Freeform 1044">
                    <a:extLst>
                      <a:ext uri="{FF2B5EF4-FFF2-40B4-BE49-F238E27FC236}">
                        <a16:creationId xmlns:a16="http://schemas.microsoft.com/office/drawing/2014/main" id="{31439E8E-7041-0D4C-D454-D92337873AF8}"/>
                      </a:ext>
                    </a:extLst>
                  </p:cNvPr>
                  <p:cNvSpPr/>
                  <p:nvPr/>
                </p:nvSpPr>
                <p:spPr>
                  <a:xfrm>
                    <a:off x="7248242" y="1908142"/>
                    <a:ext cx="23796" cy="45903"/>
                  </a:xfrm>
                  <a:custGeom>
                    <a:avLst/>
                    <a:gdLst>
                      <a:gd name="connsiteX0" fmla="*/ 10098 w 23796"/>
                      <a:gd name="connsiteY0" fmla="*/ 15918 h 45903"/>
                      <a:gd name="connsiteX1" fmla="*/ 10449 w 23796"/>
                      <a:gd name="connsiteY1" fmla="*/ 16738 h 45903"/>
                      <a:gd name="connsiteX2" fmla="*/ 10976 w 23796"/>
                      <a:gd name="connsiteY2" fmla="*/ 21364 h 45903"/>
                      <a:gd name="connsiteX3" fmla="*/ 14725 w 23796"/>
                      <a:gd name="connsiteY3" fmla="*/ 27631 h 45903"/>
                      <a:gd name="connsiteX4" fmla="*/ 13436 w 23796"/>
                      <a:gd name="connsiteY4" fmla="*/ 33488 h 45903"/>
                      <a:gd name="connsiteX5" fmla="*/ 14315 w 23796"/>
                      <a:gd name="connsiteY5" fmla="*/ 39930 h 45903"/>
                      <a:gd name="connsiteX6" fmla="*/ 11679 w 23796"/>
                      <a:gd name="connsiteY6" fmla="*/ 45904 h 45903"/>
                      <a:gd name="connsiteX7" fmla="*/ 16014 w 23796"/>
                      <a:gd name="connsiteY7" fmla="*/ 45201 h 45903"/>
                      <a:gd name="connsiteX8" fmla="*/ 17829 w 23796"/>
                      <a:gd name="connsiteY8" fmla="*/ 42683 h 45903"/>
                      <a:gd name="connsiteX9" fmla="*/ 18591 w 23796"/>
                      <a:gd name="connsiteY9" fmla="*/ 38817 h 45903"/>
                      <a:gd name="connsiteX10" fmla="*/ 21403 w 23796"/>
                      <a:gd name="connsiteY10" fmla="*/ 34308 h 45903"/>
                      <a:gd name="connsiteX11" fmla="*/ 21110 w 23796"/>
                      <a:gd name="connsiteY11" fmla="*/ 26987 h 45903"/>
                      <a:gd name="connsiteX12" fmla="*/ 23570 w 23796"/>
                      <a:gd name="connsiteY12" fmla="*/ 16269 h 45903"/>
                      <a:gd name="connsiteX13" fmla="*/ 19879 w 23796"/>
                      <a:gd name="connsiteY13" fmla="*/ 10881 h 45903"/>
                      <a:gd name="connsiteX14" fmla="*/ 18239 w 23796"/>
                      <a:gd name="connsiteY14" fmla="*/ 6196 h 45903"/>
                      <a:gd name="connsiteX15" fmla="*/ 15135 w 23796"/>
                      <a:gd name="connsiteY15" fmla="*/ 2564 h 45903"/>
                      <a:gd name="connsiteX16" fmla="*/ 12382 w 23796"/>
                      <a:gd name="connsiteY16" fmla="*/ 2154 h 45903"/>
                      <a:gd name="connsiteX17" fmla="*/ 8048 w 23796"/>
                      <a:gd name="connsiteY17" fmla="*/ 163 h 45903"/>
                      <a:gd name="connsiteX18" fmla="*/ 726 w 23796"/>
                      <a:gd name="connsiteY18" fmla="*/ 3267 h 45903"/>
                      <a:gd name="connsiteX19" fmla="*/ 1252 w 23796"/>
                      <a:gd name="connsiteY19" fmla="*/ 8245 h 45903"/>
                      <a:gd name="connsiteX20" fmla="*/ 10098 w 23796"/>
                      <a:gd name="connsiteY20" fmla="*/ 15918 h 4590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</a:cxnLst>
                    <a:rect l="l" t="t" r="r" b="b"/>
                    <a:pathLst>
                      <a:path w="23796" h="45903">
                        <a:moveTo>
                          <a:pt x="10098" y="15918"/>
                        </a:moveTo>
                        <a:cubicBezTo>
                          <a:pt x="10214" y="16152"/>
                          <a:pt x="10332" y="16445"/>
                          <a:pt x="10449" y="16738"/>
                        </a:cubicBezTo>
                        <a:cubicBezTo>
                          <a:pt x="10917" y="18202"/>
                          <a:pt x="10507" y="19842"/>
                          <a:pt x="10976" y="21364"/>
                        </a:cubicBezTo>
                        <a:cubicBezTo>
                          <a:pt x="11679" y="23707"/>
                          <a:pt x="14374" y="25171"/>
                          <a:pt x="14725" y="27631"/>
                        </a:cubicBezTo>
                        <a:cubicBezTo>
                          <a:pt x="15018" y="29622"/>
                          <a:pt x="13612" y="31496"/>
                          <a:pt x="13436" y="33488"/>
                        </a:cubicBezTo>
                        <a:cubicBezTo>
                          <a:pt x="13260" y="35655"/>
                          <a:pt x="14608" y="37763"/>
                          <a:pt x="14315" y="39930"/>
                        </a:cubicBezTo>
                        <a:cubicBezTo>
                          <a:pt x="14081" y="41804"/>
                          <a:pt x="12792" y="44440"/>
                          <a:pt x="11679" y="45904"/>
                        </a:cubicBezTo>
                        <a:cubicBezTo>
                          <a:pt x="12031" y="45435"/>
                          <a:pt x="15193" y="45670"/>
                          <a:pt x="16014" y="45201"/>
                        </a:cubicBezTo>
                        <a:cubicBezTo>
                          <a:pt x="17302" y="44440"/>
                          <a:pt x="17420" y="43971"/>
                          <a:pt x="17829" y="42683"/>
                        </a:cubicBezTo>
                        <a:cubicBezTo>
                          <a:pt x="18239" y="41394"/>
                          <a:pt x="18005" y="40106"/>
                          <a:pt x="18591" y="38817"/>
                        </a:cubicBezTo>
                        <a:cubicBezTo>
                          <a:pt x="19353" y="37236"/>
                          <a:pt x="20817" y="36065"/>
                          <a:pt x="21403" y="34308"/>
                        </a:cubicBezTo>
                        <a:cubicBezTo>
                          <a:pt x="22164" y="31965"/>
                          <a:pt x="20934" y="29447"/>
                          <a:pt x="21110" y="26987"/>
                        </a:cubicBezTo>
                        <a:cubicBezTo>
                          <a:pt x="21344" y="23239"/>
                          <a:pt x="24683" y="19842"/>
                          <a:pt x="23570" y="16269"/>
                        </a:cubicBezTo>
                        <a:cubicBezTo>
                          <a:pt x="22925" y="14161"/>
                          <a:pt x="20934" y="12814"/>
                          <a:pt x="19879" y="10881"/>
                        </a:cubicBezTo>
                        <a:cubicBezTo>
                          <a:pt x="19060" y="9417"/>
                          <a:pt x="18767" y="7777"/>
                          <a:pt x="18239" y="6196"/>
                        </a:cubicBezTo>
                        <a:cubicBezTo>
                          <a:pt x="17654" y="4614"/>
                          <a:pt x="16717" y="3033"/>
                          <a:pt x="15135" y="2564"/>
                        </a:cubicBezTo>
                        <a:cubicBezTo>
                          <a:pt x="14256" y="2272"/>
                          <a:pt x="13319" y="2389"/>
                          <a:pt x="12382" y="2154"/>
                        </a:cubicBezTo>
                        <a:cubicBezTo>
                          <a:pt x="10800" y="1803"/>
                          <a:pt x="9512" y="690"/>
                          <a:pt x="8048" y="163"/>
                        </a:cubicBezTo>
                        <a:cubicBezTo>
                          <a:pt x="5880" y="-598"/>
                          <a:pt x="2014" y="1452"/>
                          <a:pt x="726" y="3267"/>
                        </a:cubicBezTo>
                        <a:cubicBezTo>
                          <a:pt x="-563" y="5083"/>
                          <a:pt x="23" y="6606"/>
                          <a:pt x="1252" y="8245"/>
                        </a:cubicBezTo>
                        <a:cubicBezTo>
                          <a:pt x="3303" y="10939"/>
                          <a:pt x="8457" y="12814"/>
                          <a:pt x="10098" y="15918"/>
                        </a:cubicBezTo>
                        <a:close/>
                      </a:path>
                    </a:pathLst>
                  </a:custGeom>
                  <a:solidFill>
                    <a:srgbClr val="E18719"/>
                  </a:solidFill>
                  <a:ln w="586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</p:grpSp>
            <p:sp>
              <p:nvSpPr>
                <p:cNvPr id="39" name="Freeform 1045">
                  <a:extLst>
                    <a:ext uri="{FF2B5EF4-FFF2-40B4-BE49-F238E27FC236}">
                      <a16:creationId xmlns:a16="http://schemas.microsoft.com/office/drawing/2014/main" id="{CDB713A9-32FB-2C43-8757-538E59DD1ABA}"/>
                    </a:ext>
                  </a:extLst>
                </p:cNvPr>
                <p:cNvSpPr/>
                <p:nvPr/>
              </p:nvSpPr>
              <p:spPr>
                <a:xfrm>
                  <a:off x="7221000" y="1904669"/>
                  <a:ext cx="36852" cy="53710"/>
                </a:xfrm>
                <a:custGeom>
                  <a:avLst/>
                  <a:gdLst>
                    <a:gd name="connsiteX0" fmla="*/ 8462 w 36852"/>
                    <a:gd name="connsiteY0" fmla="*/ 7619 h 53710"/>
                    <a:gd name="connsiteX1" fmla="*/ 4303 w 36852"/>
                    <a:gd name="connsiteY1" fmla="*/ 10254 h 53710"/>
                    <a:gd name="connsiteX2" fmla="*/ 1257 w 36852"/>
                    <a:gd name="connsiteY2" fmla="*/ 18981 h 53710"/>
                    <a:gd name="connsiteX3" fmla="*/ 27 w 36852"/>
                    <a:gd name="connsiteY3" fmla="*/ 27239 h 53710"/>
                    <a:gd name="connsiteX4" fmla="*/ 2546 w 36852"/>
                    <a:gd name="connsiteY4" fmla="*/ 32451 h 53710"/>
                    <a:gd name="connsiteX5" fmla="*/ 8462 w 36852"/>
                    <a:gd name="connsiteY5" fmla="*/ 36609 h 53710"/>
                    <a:gd name="connsiteX6" fmla="*/ 8228 w 36852"/>
                    <a:gd name="connsiteY6" fmla="*/ 44457 h 53710"/>
                    <a:gd name="connsiteX7" fmla="*/ 11976 w 36852"/>
                    <a:gd name="connsiteY7" fmla="*/ 46741 h 53710"/>
                    <a:gd name="connsiteX8" fmla="*/ 14847 w 36852"/>
                    <a:gd name="connsiteY8" fmla="*/ 50724 h 53710"/>
                    <a:gd name="connsiteX9" fmla="*/ 18537 w 36852"/>
                    <a:gd name="connsiteY9" fmla="*/ 53711 h 53710"/>
                    <a:gd name="connsiteX10" fmla="*/ 17776 w 36852"/>
                    <a:gd name="connsiteY10" fmla="*/ 46858 h 53710"/>
                    <a:gd name="connsiteX11" fmla="*/ 16839 w 36852"/>
                    <a:gd name="connsiteY11" fmla="*/ 41587 h 53710"/>
                    <a:gd name="connsiteX12" fmla="*/ 19943 w 36852"/>
                    <a:gd name="connsiteY12" fmla="*/ 38542 h 53710"/>
                    <a:gd name="connsiteX13" fmla="*/ 19123 w 36852"/>
                    <a:gd name="connsiteY13" fmla="*/ 36609 h 53710"/>
                    <a:gd name="connsiteX14" fmla="*/ 18713 w 36852"/>
                    <a:gd name="connsiteY14" fmla="*/ 28761 h 53710"/>
                    <a:gd name="connsiteX15" fmla="*/ 24454 w 36852"/>
                    <a:gd name="connsiteY15" fmla="*/ 23139 h 53710"/>
                    <a:gd name="connsiteX16" fmla="*/ 27851 w 36852"/>
                    <a:gd name="connsiteY16" fmla="*/ 18395 h 53710"/>
                    <a:gd name="connsiteX17" fmla="*/ 32420 w 36852"/>
                    <a:gd name="connsiteY17" fmla="*/ 14471 h 53710"/>
                    <a:gd name="connsiteX18" fmla="*/ 35992 w 36852"/>
                    <a:gd name="connsiteY18" fmla="*/ 11308 h 53710"/>
                    <a:gd name="connsiteX19" fmla="*/ 36520 w 36852"/>
                    <a:gd name="connsiteY19" fmla="*/ 6682 h 53710"/>
                    <a:gd name="connsiteX20" fmla="*/ 33708 w 36852"/>
                    <a:gd name="connsiteY20" fmla="*/ 3636 h 53710"/>
                    <a:gd name="connsiteX21" fmla="*/ 25976 w 36852"/>
                    <a:gd name="connsiteY21" fmla="*/ 5 h 53710"/>
                    <a:gd name="connsiteX22" fmla="*/ 21173 w 36852"/>
                    <a:gd name="connsiteY22" fmla="*/ 825 h 53710"/>
                    <a:gd name="connsiteX23" fmla="*/ 17951 w 36852"/>
                    <a:gd name="connsiteY23" fmla="*/ 532 h 53710"/>
                    <a:gd name="connsiteX24" fmla="*/ 12621 w 36852"/>
                    <a:gd name="connsiteY24" fmla="*/ 1996 h 53710"/>
                    <a:gd name="connsiteX25" fmla="*/ 10219 w 36852"/>
                    <a:gd name="connsiteY25" fmla="*/ 5745 h 53710"/>
                    <a:gd name="connsiteX26" fmla="*/ 8462 w 36852"/>
                    <a:gd name="connsiteY26" fmla="*/ 7619 h 5371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</a:cxnLst>
                  <a:rect l="l" t="t" r="r" b="b"/>
                  <a:pathLst>
                    <a:path w="36852" h="53710">
                      <a:moveTo>
                        <a:pt x="8462" y="7619"/>
                      </a:moveTo>
                      <a:cubicBezTo>
                        <a:pt x="7115" y="8556"/>
                        <a:pt x="5533" y="9200"/>
                        <a:pt x="4303" y="10254"/>
                      </a:cubicBezTo>
                      <a:cubicBezTo>
                        <a:pt x="1960" y="12363"/>
                        <a:pt x="1433" y="15818"/>
                        <a:pt x="1257" y="18981"/>
                      </a:cubicBezTo>
                      <a:cubicBezTo>
                        <a:pt x="1140" y="21792"/>
                        <a:pt x="-207" y="24252"/>
                        <a:pt x="27" y="27239"/>
                      </a:cubicBezTo>
                      <a:cubicBezTo>
                        <a:pt x="203" y="29230"/>
                        <a:pt x="964" y="31221"/>
                        <a:pt x="2546" y="32451"/>
                      </a:cubicBezTo>
                      <a:cubicBezTo>
                        <a:pt x="4538" y="33974"/>
                        <a:pt x="7642" y="34267"/>
                        <a:pt x="8462" y="36609"/>
                      </a:cubicBezTo>
                      <a:cubicBezTo>
                        <a:pt x="9341" y="39128"/>
                        <a:pt x="6705" y="42232"/>
                        <a:pt x="8228" y="44457"/>
                      </a:cubicBezTo>
                      <a:cubicBezTo>
                        <a:pt x="9048" y="45687"/>
                        <a:pt x="10747" y="45921"/>
                        <a:pt x="11976" y="46741"/>
                      </a:cubicBezTo>
                      <a:cubicBezTo>
                        <a:pt x="13324" y="47678"/>
                        <a:pt x="14027" y="49318"/>
                        <a:pt x="14847" y="50724"/>
                      </a:cubicBezTo>
                      <a:cubicBezTo>
                        <a:pt x="15667" y="52188"/>
                        <a:pt x="16897" y="53594"/>
                        <a:pt x="18537" y="53711"/>
                      </a:cubicBezTo>
                      <a:cubicBezTo>
                        <a:pt x="18654" y="51192"/>
                        <a:pt x="18772" y="49201"/>
                        <a:pt x="17776" y="46858"/>
                      </a:cubicBezTo>
                      <a:cubicBezTo>
                        <a:pt x="17190" y="45511"/>
                        <a:pt x="15433" y="42993"/>
                        <a:pt x="16839" y="41587"/>
                      </a:cubicBezTo>
                      <a:cubicBezTo>
                        <a:pt x="17776" y="40416"/>
                        <a:pt x="19884" y="40065"/>
                        <a:pt x="19943" y="38542"/>
                      </a:cubicBezTo>
                      <a:cubicBezTo>
                        <a:pt x="20001" y="37839"/>
                        <a:pt x="19533" y="37254"/>
                        <a:pt x="19123" y="36609"/>
                      </a:cubicBezTo>
                      <a:cubicBezTo>
                        <a:pt x="17658" y="34267"/>
                        <a:pt x="17600" y="31280"/>
                        <a:pt x="18713" y="28761"/>
                      </a:cubicBezTo>
                      <a:cubicBezTo>
                        <a:pt x="19826" y="26243"/>
                        <a:pt x="21934" y="24310"/>
                        <a:pt x="24454" y="23139"/>
                      </a:cubicBezTo>
                      <a:cubicBezTo>
                        <a:pt x="27382" y="21792"/>
                        <a:pt x="26913" y="21089"/>
                        <a:pt x="27851" y="18395"/>
                      </a:cubicBezTo>
                      <a:cubicBezTo>
                        <a:pt x="28670" y="15877"/>
                        <a:pt x="30135" y="15350"/>
                        <a:pt x="32420" y="14471"/>
                      </a:cubicBezTo>
                      <a:cubicBezTo>
                        <a:pt x="34470" y="13710"/>
                        <a:pt x="35173" y="13183"/>
                        <a:pt x="35992" y="11308"/>
                      </a:cubicBezTo>
                      <a:cubicBezTo>
                        <a:pt x="36578" y="9903"/>
                        <a:pt x="37281" y="8263"/>
                        <a:pt x="36520" y="6682"/>
                      </a:cubicBezTo>
                      <a:cubicBezTo>
                        <a:pt x="35934" y="5393"/>
                        <a:pt x="34763" y="4515"/>
                        <a:pt x="33708" y="3636"/>
                      </a:cubicBezTo>
                      <a:cubicBezTo>
                        <a:pt x="31424" y="1821"/>
                        <a:pt x="28847" y="-112"/>
                        <a:pt x="25976" y="5"/>
                      </a:cubicBezTo>
                      <a:cubicBezTo>
                        <a:pt x="24336" y="64"/>
                        <a:pt x="22813" y="825"/>
                        <a:pt x="21173" y="825"/>
                      </a:cubicBezTo>
                      <a:cubicBezTo>
                        <a:pt x="20119" y="884"/>
                        <a:pt x="19006" y="591"/>
                        <a:pt x="17951" y="532"/>
                      </a:cubicBezTo>
                      <a:cubicBezTo>
                        <a:pt x="16136" y="415"/>
                        <a:pt x="14144" y="942"/>
                        <a:pt x="12621" y="1996"/>
                      </a:cubicBezTo>
                      <a:cubicBezTo>
                        <a:pt x="11098" y="3051"/>
                        <a:pt x="11098" y="4222"/>
                        <a:pt x="10219" y="5745"/>
                      </a:cubicBezTo>
                      <a:cubicBezTo>
                        <a:pt x="9810" y="6565"/>
                        <a:pt x="9165" y="7150"/>
                        <a:pt x="8462" y="7619"/>
                      </a:cubicBezTo>
                      <a:close/>
                    </a:path>
                  </a:pathLst>
                </a:custGeom>
                <a:solidFill>
                  <a:srgbClr val="E18719"/>
                </a:solidFill>
                <a:ln w="58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40" name="Freeform 1046">
                  <a:extLst>
                    <a:ext uri="{FF2B5EF4-FFF2-40B4-BE49-F238E27FC236}">
                      <a16:creationId xmlns:a16="http://schemas.microsoft.com/office/drawing/2014/main" id="{0AD2BA74-FBB9-00FC-EB50-6E70D3A0F073}"/>
                    </a:ext>
                  </a:extLst>
                </p:cNvPr>
                <p:cNvSpPr/>
                <p:nvPr/>
              </p:nvSpPr>
              <p:spPr>
                <a:xfrm>
                  <a:off x="7205487" y="1888861"/>
                  <a:ext cx="32760" cy="30747"/>
                </a:xfrm>
                <a:custGeom>
                  <a:avLst/>
                  <a:gdLst>
                    <a:gd name="connsiteX0" fmla="*/ 30769 w 32760"/>
                    <a:gd name="connsiteY0" fmla="*/ 13295 h 30747"/>
                    <a:gd name="connsiteX1" fmla="*/ 29305 w 32760"/>
                    <a:gd name="connsiteY1" fmla="*/ 8609 h 30747"/>
                    <a:gd name="connsiteX2" fmla="*/ 26435 w 32760"/>
                    <a:gd name="connsiteY2" fmla="*/ 8375 h 30747"/>
                    <a:gd name="connsiteX3" fmla="*/ 22744 w 32760"/>
                    <a:gd name="connsiteY3" fmla="*/ 3631 h 30747"/>
                    <a:gd name="connsiteX4" fmla="*/ 22100 w 32760"/>
                    <a:gd name="connsiteY4" fmla="*/ 2928 h 30747"/>
                    <a:gd name="connsiteX5" fmla="*/ 20812 w 32760"/>
                    <a:gd name="connsiteY5" fmla="*/ 2928 h 30747"/>
                    <a:gd name="connsiteX6" fmla="*/ 15423 w 32760"/>
                    <a:gd name="connsiteY6" fmla="*/ 293 h 30747"/>
                    <a:gd name="connsiteX7" fmla="*/ 9330 w 32760"/>
                    <a:gd name="connsiteY7" fmla="*/ 3163 h 30747"/>
                    <a:gd name="connsiteX8" fmla="*/ 8745 w 32760"/>
                    <a:gd name="connsiteY8" fmla="*/ 6208 h 30747"/>
                    <a:gd name="connsiteX9" fmla="*/ 1306 w 32760"/>
                    <a:gd name="connsiteY9" fmla="*/ 15989 h 30747"/>
                    <a:gd name="connsiteX10" fmla="*/ 2711 w 32760"/>
                    <a:gd name="connsiteY10" fmla="*/ 24188 h 30747"/>
                    <a:gd name="connsiteX11" fmla="*/ 17 w 32760"/>
                    <a:gd name="connsiteY11" fmla="*/ 28756 h 30747"/>
                    <a:gd name="connsiteX12" fmla="*/ 2536 w 32760"/>
                    <a:gd name="connsiteY12" fmla="*/ 30748 h 30747"/>
                    <a:gd name="connsiteX13" fmla="*/ 5699 w 32760"/>
                    <a:gd name="connsiteY13" fmla="*/ 29401 h 30747"/>
                    <a:gd name="connsiteX14" fmla="*/ 9565 w 32760"/>
                    <a:gd name="connsiteY14" fmla="*/ 25418 h 30747"/>
                    <a:gd name="connsiteX15" fmla="*/ 14544 w 32760"/>
                    <a:gd name="connsiteY15" fmla="*/ 23427 h 30747"/>
                    <a:gd name="connsiteX16" fmla="*/ 19640 w 32760"/>
                    <a:gd name="connsiteY16" fmla="*/ 24891 h 30747"/>
                    <a:gd name="connsiteX17" fmla="*/ 23565 w 32760"/>
                    <a:gd name="connsiteY17" fmla="*/ 23134 h 30747"/>
                    <a:gd name="connsiteX18" fmla="*/ 27548 w 32760"/>
                    <a:gd name="connsiteY18" fmla="*/ 23485 h 30747"/>
                    <a:gd name="connsiteX19" fmla="*/ 30594 w 32760"/>
                    <a:gd name="connsiteY19" fmla="*/ 21611 h 30747"/>
                    <a:gd name="connsiteX20" fmla="*/ 30652 w 32760"/>
                    <a:gd name="connsiteY20" fmla="*/ 20616 h 30747"/>
                    <a:gd name="connsiteX21" fmla="*/ 32761 w 32760"/>
                    <a:gd name="connsiteY21" fmla="*/ 18976 h 30747"/>
                    <a:gd name="connsiteX22" fmla="*/ 30652 w 32760"/>
                    <a:gd name="connsiteY22" fmla="*/ 16809 h 30747"/>
                    <a:gd name="connsiteX23" fmla="*/ 30769 w 32760"/>
                    <a:gd name="connsiteY23" fmla="*/ 13295 h 3074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</a:cxnLst>
                  <a:rect l="l" t="t" r="r" b="b"/>
                  <a:pathLst>
                    <a:path w="32760" h="30747">
                      <a:moveTo>
                        <a:pt x="30769" y="13295"/>
                      </a:moveTo>
                      <a:cubicBezTo>
                        <a:pt x="31121" y="11538"/>
                        <a:pt x="30945" y="9254"/>
                        <a:pt x="29305" y="8609"/>
                      </a:cubicBezTo>
                      <a:cubicBezTo>
                        <a:pt x="28367" y="8258"/>
                        <a:pt x="27372" y="8609"/>
                        <a:pt x="26435" y="8375"/>
                      </a:cubicBezTo>
                      <a:cubicBezTo>
                        <a:pt x="24443" y="7907"/>
                        <a:pt x="23799" y="5447"/>
                        <a:pt x="22744" y="3631"/>
                      </a:cubicBezTo>
                      <a:cubicBezTo>
                        <a:pt x="22569" y="3338"/>
                        <a:pt x="22393" y="3104"/>
                        <a:pt x="22100" y="2928"/>
                      </a:cubicBezTo>
                      <a:cubicBezTo>
                        <a:pt x="21690" y="2753"/>
                        <a:pt x="21222" y="2870"/>
                        <a:pt x="20812" y="2928"/>
                      </a:cubicBezTo>
                      <a:cubicBezTo>
                        <a:pt x="18761" y="3104"/>
                        <a:pt x="17297" y="1113"/>
                        <a:pt x="15423" y="293"/>
                      </a:cubicBezTo>
                      <a:cubicBezTo>
                        <a:pt x="13079" y="-644"/>
                        <a:pt x="10092" y="762"/>
                        <a:pt x="9330" y="3163"/>
                      </a:cubicBezTo>
                      <a:cubicBezTo>
                        <a:pt x="9038" y="4158"/>
                        <a:pt x="9038" y="5213"/>
                        <a:pt x="8745" y="6208"/>
                      </a:cubicBezTo>
                      <a:cubicBezTo>
                        <a:pt x="7515" y="10249"/>
                        <a:pt x="1540" y="11772"/>
                        <a:pt x="1306" y="15989"/>
                      </a:cubicBezTo>
                      <a:cubicBezTo>
                        <a:pt x="1130" y="18800"/>
                        <a:pt x="3825" y="21611"/>
                        <a:pt x="2711" y="24188"/>
                      </a:cubicBezTo>
                      <a:cubicBezTo>
                        <a:pt x="2008" y="25828"/>
                        <a:pt x="-217" y="26941"/>
                        <a:pt x="17" y="28756"/>
                      </a:cubicBezTo>
                      <a:cubicBezTo>
                        <a:pt x="134" y="29928"/>
                        <a:pt x="1364" y="30748"/>
                        <a:pt x="2536" y="30748"/>
                      </a:cubicBezTo>
                      <a:cubicBezTo>
                        <a:pt x="3707" y="30748"/>
                        <a:pt x="4762" y="30162"/>
                        <a:pt x="5699" y="29401"/>
                      </a:cubicBezTo>
                      <a:cubicBezTo>
                        <a:pt x="7105" y="28229"/>
                        <a:pt x="8218" y="26707"/>
                        <a:pt x="9565" y="25418"/>
                      </a:cubicBezTo>
                      <a:cubicBezTo>
                        <a:pt x="10912" y="24188"/>
                        <a:pt x="12728" y="23134"/>
                        <a:pt x="14544" y="23427"/>
                      </a:cubicBezTo>
                      <a:cubicBezTo>
                        <a:pt x="16301" y="23720"/>
                        <a:pt x="17883" y="25125"/>
                        <a:pt x="19640" y="24891"/>
                      </a:cubicBezTo>
                      <a:cubicBezTo>
                        <a:pt x="21046" y="24715"/>
                        <a:pt x="22159" y="23427"/>
                        <a:pt x="23565" y="23134"/>
                      </a:cubicBezTo>
                      <a:cubicBezTo>
                        <a:pt x="24853" y="22841"/>
                        <a:pt x="26201" y="23368"/>
                        <a:pt x="27548" y="23485"/>
                      </a:cubicBezTo>
                      <a:cubicBezTo>
                        <a:pt x="28895" y="23603"/>
                        <a:pt x="30535" y="22958"/>
                        <a:pt x="30594" y="21611"/>
                      </a:cubicBezTo>
                      <a:cubicBezTo>
                        <a:pt x="30594" y="21260"/>
                        <a:pt x="30535" y="20967"/>
                        <a:pt x="30652" y="20616"/>
                      </a:cubicBezTo>
                      <a:cubicBezTo>
                        <a:pt x="30945" y="19737"/>
                        <a:pt x="32409" y="19854"/>
                        <a:pt x="32761" y="18976"/>
                      </a:cubicBezTo>
                      <a:cubicBezTo>
                        <a:pt x="32117" y="17863"/>
                        <a:pt x="31121" y="18214"/>
                        <a:pt x="30652" y="16809"/>
                      </a:cubicBezTo>
                      <a:cubicBezTo>
                        <a:pt x="30184" y="15755"/>
                        <a:pt x="30535" y="14349"/>
                        <a:pt x="30769" y="13295"/>
                      </a:cubicBezTo>
                      <a:close/>
                    </a:path>
                  </a:pathLst>
                </a:custGeom>
                <a:solidFill>
                  <a:srgbClr val="E18719"/>
                </a:solidFill>
                <a:ln w="58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</p:grpSp>
          <p:grpSp>
            <p:nvGrpSpPr>
              <p:cNvPr id="35" name="Graphic 2">
                <a:extLst>
                  <a:ext uri="{FF2B5EF4-FFF2-40B4-BE49-F238E27FC236}">
                    <a16:creationId xmlns:a16="http://schemas.microsoft.com/office/drawing/2014/main" id="{A33EB13E-C8F5-5D29-CC66-9BC495657A49}"/>
                  </a:ext>
                </a:extLst>
              </p:cNvPr>
              <p:cNvGrpSpPr/>
              <p:nvPr/>
            </p:nvGrpSpPr>
            <p:grpSpPr>
              <a:xfrm>
                <a:off x="7214678" y="1986864"/>
                <a:ext cx="75340" cy="66879"/>
                <a:chOff x="7214678" y="1986864"/>
                <a:chExt cx="75340" cy="66879"/>
              </a:xfrm>
            </p:grpSpPr>
            <p:sp>
              <p:nvSpPr>
                <p:cNvPr id="36" name="Freeform 1048">
                  <a:extLst>
                    <a:ext uri="{FF2B5EF4-FFF2-40B4-BE49-F238E27FC236}">
                      <a16:creationId xmlns:a16="http://schemas.microsoft.com/office/drawing/2014/main" id="{9473973E-7B5C-0122-4A6B-47A141508B25}"/>
                    </a:ext>
                  </a:extLst>
                </p:cNvPr>
                <p:cNvSpPr/>
                <p:nvPr/>
              </p:nvSpPr>
              <p:spPr>
                <a:xfrm>
                  <a:off x="7220653" y="2016645"/>
                  <a:ext cx="69365" cy="37099"/>
                </a:xfrm>
                <a:custGeom>
                  <a:avLst/>
                  <a:gdLst>
                    <a:gd name="connsiteX0" fmla="*/ 65276 w 69365"/>
                    <a:gd name="connsiteY0" fmla="*/ 184 h 37099"/>
                    <a:gd name="connsiteX1" fmla="*/ 64632 w 69365"/>
                    <a:gd name="connsiteY1" fmla="*/ 9 h 37099"/>
                    <a:gd name="connsiteX2" fmla="*/ 59711 w 69365"/>
                    <a:gd name="connsiteY2" fmla="*/ 1414 h 37099"/>
                    <a:gd name="connsiteX3" fmla="*/ 56665 w 69365"/>
                    <a:gd name="connsiteY3" fmla="*/ 1707 h 37099"/>
                    <a:gd name="connsiteX4" fmla="*/ 55611 w 69365"/>
                    <a:gd name="connsiteY4" fmla="*/ 5280 h 37099"/>
                    <a:gd name="connsiteX5" fmla="*/ 50867 w 69365"/>
                    <a:gd name="connsiteY5" fmla="*/ 10609 h 37099"/>
                    <a:gd name="connsiteX6" fmla="*/ 23512 w 69365"/>
                    <a:gd name="connsiteY6" fmla="*/ 20566 h 37099"/>
                    <a:gd name="connsiteX7" fmla="*/ 18064 w 69365"/>
                    <a:gd name="connsiteY7" fmla="*/ 5338 h 37099"/>
                    <a:gd name="connsiteX8" fmla="*/ 17479 w 69365"/>
                    <a:gd name="connsiteY8" fmla="*/ 4342 h 37099"/>
                    <a:gd name="connsiteX9" fmla="*/ 16541 w 69365"/>
                    <a:gd name="connsiteY9" fmla="*/ 4167 h 37099"/>
                    <a:gd name="connsiteX10" fmla="*/ 257 w 69365"/>
                    <a:gd name="connsiteY10" fmla="*/ 8735 h 37099"/>
                    <a:gd name="connsiteX11" fmla="*/ 10098 w 69365"/>
                    <a:gd name="connsiteY11" fmla="*/ 31869 h 37099"/>
                    <a:gd name="connsiteX12" fmla="*/ 12968 w 69365"/>
                    <a:gd name="connsiteY12" fmla="*/ 35969 h 37099"/>
                    <a:gd name="connsiteX13" fmla="*/ 23629 w 69365"/>
                    <a:gd name="connsiteY13" fmla="*/ 34153 h 37099"/>
                    <a:gd name="connsiteX14" fmla="*/ 32825 w 69365"/>
                    <a:gd name="connsiteY14" fmla="*/ 30112 h 37099"/>
                    <a:gd name="connsiteX15" fmla="*/ 51453 w 69365"/>
                    <a:gd name="connsiteY15" fmla="*/ 20448 h 37099"/>
                    <a:gd name="connsiteX16" fmla="*/ 57544 w 69365"/>
                    <a:gd name="connsiteY16" fmla="*/ 15470 h 37099"/>
                    <a:gd name="connsiteX17" fmla="*/ 62172 w 69365"/>
                    <a:gd name="connsiteY17" fmla="*/ 14709 h 37099"/>
                    <a:gd name="connsiteX18" fmla="*/ 66741 w 69365"/>
                    <a:gd name="connsiteY18" fmla="*/ 12425 h 37099"/>
                    <a:gd name="connsiteX19" fmla="*/ 69318 w 69365"/>
                    <a:gd name="connsiteY19" fmla="*/ 4635 h 37099"/>
                    <a:gd name="connsiteX20" fmla="*/ 69142 w 69365"/>
                    <a:gd name="connsiteY20" fmla="*/ 2878 h 37099"/>
                    <a:gd name="connsiteX21" fmla="*/ 66975 w 69365"/>
                    <a:gd name="connsiteY21" fmla="*/ 887 h 37099"/>
                    <a:gd name="connsiteX22" fmla="*/ 65276 w 69365"/>
                    <a:gd name="connsiteY22" fmla="*/ 184 h 3709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</a:cxnLst>
                  <a:rect l="l" t="t" r="r" b="b"/>
                  <a:pathLst>
                    <a:path w="69365" h="37099">
                      <a:moveTo>
                        <a:pt x="65276" y="184"/>
                      </a:moveTo>
                      <a:cubicBezTo>
                        <a:pt x="65101" y="126"/>
                        <a:pt x="64866" y="9"/>
                        <a:pt x="64632" y="9"/>
                      </a:cubicBezTo>
                      <a:cubicBezTo>
                        <a:pt x="62699" y="-109"/>
                        <a:pt x="61586" y="1004"/>
                        <a:pt x="59711" y="1414"/>
                      </a:cubicBezTo>
                      <a:cubicBezTo>
                        <a:pt x="58891" y="1590"/>
                        <a:pt x="57251" y="9"/>
                        <a:pt x="56665" y="1707"/>
                      </a:cubicBezTo>
                      <a:cubicBezTo>
                        <a:pt x="56431" y="2351"/>
                        <a:pt x="56080" y="3933"/>
                        <a:pt x="55611" y="5280"/>
                      </a:cubicBezTo>
                      <a:cubicBezTo>
                        <a:pt x="54908" y="7212"/>
                        <a:pt x="52800" y="9321"/>
                        <a:pt x="50867" y="10609"/>
                      </a:cubicBezTo>
                      <a:cubicBezTo>
                        <a:pt x="47586" y="12835"/>
                        <a:pt x="25210" y="24724"/>
                        <a:pt x="23512" y="20566"/>
                      </a:cubicBezTo>
                      <a:cubicBezTo>
                        <a:pt x="21403" y="15587"/>
                        <a:pt x="19587" y="10492"/>
                        <a:pt x="18064" y="5338"/>
                      </a:cubicBezTo>
                      <a:cubicBezTo>
                        <a:pt x="17947" y="4987"/>
                        <a:pt x="17830" y="4518"/>
                        <a:pt x="17479" y="4342"/>
                      </a:cubicBezTo>
                      <a:cubicBezTo>
                        <a:pt x="17186" y="4167"/>
                        <a:pt x="16834" y="4167"/>
                        <a:pt x="16541" y="4167"/>
                      </a:cubicBezTo>
                      <a:cubicBezTo>
                        <a:pt x="12968" y="4225"/>
                        <a:pt x="-2144" y="1941"/>
                        <a:pt x="257" y="8735"/>
                      </a:cubicBezTo>
                      <a:cubicBezTo>
                        <a:pt x="3069" y="16641"/>
                        <a:pt x="6349" y="24372"/>
                        <a:pt x="10098" y="31869"/>
                      </a:cubicBezTo>
                      <a:cubicBezTo>
                        <a:pt x="10859" y="33392"/>
                        <a:pt x="11679" y="34914"/>
                        <a:pt x="12968" y="35969"/>
                      </a:cubicBezTo>
                      <a:cubicBezTo>
                        <a:pt x="16424" y="38838"/>
                        <a:pt x="20349" y="35500"/>
                        <a:pt x="23629" y="34153"/>
                      </a:cubicBezTo>
                      <a:cubicBezTo>
                        <a:pt x="26734" y="32865"/>
                        <a:pt x="29780" y="31576"/>
                        <a:pt x="32825" y="30112"/>
                      </a:cubicBezTo>
                      <a:cubicBezTo>
                        <a:pt x="39152" y="27125"/>
                        <a:pt x="45360" y="23845"/>
                        <a:pt x="51453" y="20448"/>
                      </a:cubicBezTo>
                      <a:cubicBezTo>
                        <a:pt x="53854" y="19101"/>
                        <a:pt x="55260" y="16700"/>
                        <a:pt x="57544" y="15470"/>
                      </a:cubicBezTo>
                      <a:cubicBezTo>
                        <a:pt x="58950" y="14709"/>
                        <a:pt x="60648" y="15119"/>
                        <a:pt x="62172" y="14709"/>
                      </a:cubicBezTo>
                      <a:cubicBezTo>
                        <a:pt x="63695" y="14299"/>
                        <a:pt x="65511" y="13362"/>
                        <a:pt x="66741" y="12425"/>
                      </a:cubicBezTo>
                      <a:cubicBezTo>
                        <a:pt x="69142" y="10551"/>
                        <a:pt x="69084" y="7388"/>
                        <a:pt x="69318" y="4635"/>
                      </a:cubicBezTo>
                      <a:cubicBezTo>
                        <a:pt x="69376" y="3933"/>
                        <a:pt x="69435" y="3464"/>
                        <a:pt x="69142" y="2878"/>
                      </a:cubicBezTo>
                      <a:cubicBezTo>
                        <a:pt x="68732" y="1883"/>
                        <a:pt x="67854" y="1414"/>
                        <a:pt x="66975" y="887"/>
                      </a:cubicBezTo>
                      <a:cubicBezTo>
                        <a:pt x="66389" y="653"/>
                        <a:pt x="65862" y="360"/>
                        <a:pt x="65276" y="184"/>
                      </a:cubicBezTo>
                      <a:close/>
                    </a:path>
                  </a:pathLst>
                </a:custGeom>
                <a:solidFill>
                  <a:srgbClr val="F3CFA3"/>
                </a:solidFill>
                <a:ln w="58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37" name="Freeform 1049">
                  <a:extLst>
                    <a:ext uri="{FF2B5EF4-FFF2-40B4-BE49-F238E27FC236}">
                      <a16:creationId xmlns:a16="http://schemas.microsoft.com/office/drawing/2014/main" id="{711E4FCC-6A00-025F-C688-26870F747A9A}"/>
                    </a:ext>
                  </a:extLst>
                </p:cNvPr>
                <p:cNvSpPr/>
                <p:nvPr/>
              </p:nvSpPr>
              <p:spPr>
                <a:xfrm>
                  <a:off x="7214678" y="1986864"/>
                  <a:ext cx="26940" cy="40899"/>
                </a:xfrm>
                <a:custGeom>
                  <a:avLst/>
                  <a:gdLst>
                    <a:gd name="connsiteX0" fmla="*/ 23 w 26940"/>
                    <a:gd name="connsiteY0" fmla="*/ 33479 h 40899"/>
                    <a:gd name="connsiteX1" fmla="*/ 2893 w 26940"/>
                    <a:gd name="connsiteY1" fmla="*/ 40565 h 40899"/>
                    <a:gd name="connsiteX2" fmla="*/ 6056 w 26940"/>
                    <a:gd name="connsiteY2" fmla="*/ 40858 h 40899"/>
                    <a:gd name="connsiteX3" fmla="*/ 24566 w 26940"/>
                    <a:gd name="connsiteY3" fmla="*/ 37871 h 40899"/>
                    <a:gd name="connsiteX4" fmla="*/ 26909 w 26940"/>
                    <a:gd name="connsiteY4" fmla="*/ 35821 h 40899"/>
                    <a:gd name="connsiteX5" fmla="*/ 26558 w 26940"/>
                    <a:gd name="connsiteY5" fmla="*/ 34006 h 40899"/>
                    <a:gd name="connsiteX6" fmla="*/ 16893 w 26940"/>
                    <a:gd name="connsiteY6" fmla="*/ 10052 h 40899"/>
                    <a:gd name="connsiteX7" fmla="*/ 2600 w 26940"/>
                    <a:gd name="connsiteY7" fmla="*/ 4781 h 40899"/>
                    <a:gd name="connsiteX8" fmla="*/ 23 w 26940"/>
                    <a:gd name="connsiteY8" fmla="*/ 33479 h 4089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26940" h="40899">
                      <a:moveTo>
                        <a:pt x="23" y="33479"/>
                      </a:moveTo>
                      <a:cubicBezTo>
                        <a:pt x="-36" y="36173"/>
                        <a:pt x="374" y="39511"/>
                        <a:pt x="2893" y="40565"/>
                      </a:cubicBezTo>
                      <a:cubicBezTo>
                        <a:pt x="3889" y="40975"/>
                        <a:pt x="5002" y="40917"/>
                        <a:pt x="6056" y="40858"/>
                      </a:cubicBezTo>
                      <a:cubicBezTo>
                        <a:pt x="12324" y="40448"/>
                        <a:pt x="18650" y="40097"/>
                        <a:pt x="24566" y="37871"/>
                      </a:cubicBezTo>
                      <a:cubicBezTo>
                        <a:pt x="25562" y="37461"/>
                        <a:pt x="26733" y="36876"/>
                        <a:pt x="26909" y="35821"/>
                      </a:cubicBezTo>
                      <a:cubicBezTo>
                        <a:pt x="27026" y="35236"/>
                        <a:pt x="26792" y="34591"/>
                        <a:pt x="26558" y="34006"/>
                      </a:cubicBezTo>
                      <a:cubicBezTo>
                        <a:pt x="23336" y="26041"/>
                        <a:pt x="20114" y="18017"/>
                        <a:pt x="16893" y="10052"/>
                      </a:cubicBezTo>
                      <a:cubicBezTo>
                        <a:pt x="14374" y="3844"/>
                        <a:pt x="6993" y="-5937"/>
                        <a:pt x="2600" y="4781"/>
                      </a:cubicBezTo>
                      <a:cubicBezTo>
                        <a:pt x="-739" y="12980"/>
                        <a:pt x="140" y="24694"/>
                        <a:pt x="23" y="33479"/>
                      </a:cubicBezTo>
                      <a:close/>
                    </a:path>
                  </a:pathLst>
                </a:custGeom>
                <a:solidFill>
                  <a:srgbClr val="287819"/>
                </a:solidFill>
                <a:ln w="58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</p:grpSp>
        </p:grpSp>
        <p:grpSp>
          <p:nvGrpSpPr>
            <p:cNvPr id="6" name="Graphic 2">
              <a:extLst>
                <a:ext uri="{FF2B5EF4-FFF2-40B4-BE49-F238E27FC236}">
                  <a16:creationId xmlns:a16="http://schemas.microsoft.com/office/drawing/2014/main" id="{07D83F79-1B63-8C05-6D5C-FC330C494D11}"/>
                </a:ext>
              </a:extLst>
            </p:cNvPr>
            <p:cNvGrpSpPr/>
            <p:nvPr/>
          </p:nvGrpSpPr>
          <p:grpSpPr>
            <a:xfrm>
              <a:off x="7243811" y="1933354"/>
              <a:ext cx="95068" cy="97089"/>
              <a:chOff x="7243811" y="1933354"/>
              <a:chExt cx="95068" cy="97089"/>
            </a:xfrm>
          </p:grpSpPr>
          <p:sp>
            <p:nvSpPr>
              <p:cNvPr id="9" name="Freeform 1051">
                <a:extLst>
                  <a:ext uri="{FF2B5EF4-FFF2-40B4-BE49-F238E27FC236}">
                    <a16:creationId xmlns:a16="http://schemas.microsoft.com/office/drawing/2014/main" id="{FA411EC2-4578-DABE-B02C-52DE570181CD}"/>
                  </a:ext>
                </a:extLst>
              </p:cNvPr>
              <p:cNvSpPr/>
              <p:nvPr/>
            </p:nvSpPr>
            <p:spPr>
              <a:xfrm>
                <a:off x="7243811" y="1933354"/>
                <a:ext cx="95068" cy="97089"/>
              </a:xfrm>
              <a:custGeom>
                <a:avLst/>
                <a:gdLst>
                  <a:gd name="connsiteX0" fmla="*/ 50670 w 95068"/>
                  <a:gd name="connsiteY0" fmla="*/ 17 h 97089"/>
                  <a:gd name="connsiteX1" fmla="*/ 47097 w 95068"/>
                  <a:gd name="connsiteY1" fmla="*/ 4234 h 97089"/>
                  <a:gd name="connsiteX2" fmla="*/ 47448 w 95068"/>
                  <a:gd name="connsiteY2" fmla="*/ 5874 h 97089"/>
                  <a:gd name="connsiteX3" fmla="*/ 12537 w 95068"/>
                  <a:gd name="connsiteY3" fmla="*/ 59170 h 97089"/>
                  <a:gd name="connsiteX4" fmla="*/ 3048 w 95068"/>
                  <a:gd name="connsiteY4" fmla="*/ 60107 h 97089"/>
                  <a:gd name="connsiteX5" fmla="*/ 178 w 95068"/>
                  <a:gd name="connsiteY5" fmla="*/ 64089 h 97089"/>
                  <a:gd name="connsiteX6" fmla="*/ 53072 w 95068"/>
                  <a:gd name="connsiteY6" fmla="*/ 96594 h 97089"/>
                  <a:gd name="connsiteX7" fmla="*/ 93021 w 95068"/>
                  <a:gd name="connsiteY7" fmla="*/ 35040 h 97089"/>
                  <a:gd name="connsiteX8" fmla="*/ 50670 w 95068"/>
                  <a:gd name="connsiteY8" fmla="*/ 17 h 970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95068" h="97089">
                    <a:moveTo>
                      <a:pt x="50670" y="17"/>
                    </a:moveTo>
                    <a:cubicBezTo>
                      <a:pt x="48327" y="-217"/>
                      <a:pt x="46511" y="1950"/>
                      <a:pt x="47097" y="4234"/>
                    </a:cubicBezTo>
                    <a:cubicBezTo>
                      <a:pt x="47214" y="4761"/>
                      <a:pt x="47332" y="5347"/>
                      <a:pt x="47448" y="5874"/>
                    </a:cubicBezTo>
                    <a:cubicBezTo>
                      <a:pt x="52544" y="30238"/>
                      <a:pt x="36905" y="54075"/>
                      <a:pt x="12537" y="59170"/>
                    </a:cubicBezTo>
                    <a:cubicBezTo>
                      <a:pt x="9316" y="59814"/>
                      <a:pt x="6152" y="60165"/>
                      <a:pt x="3048" y="60107"/>
                    </a:cubicBezTo>
                    <a:cubicBezTo>
                      <a:pt x="940" y="60107"/>
                      <a:pt x="-525" y="62098"/>
                      <a:pt x="178" y="64089"/>
                    </a:cubicBezTo>
                    <a:cubicBezTo>
                      <a:pt x="7617" y="86111"/>
                      <a:pt x="29817" y="99932"/>
                      <a:pt x="53072" y="96594"/>
                    </a:cubicBezTo>
                    <a:cubicBezTo>
                      <a:pt x="83297" y="92260"/>
                      <a:pt x="101397" y="64441"/>
                      <a:pt x="93021" y="35040"/>
                    </a:cubicBezTo>
                    <a:cubicBezTo>
                      <a:pt x="87397" y="15479"/>
                      <a:pt x="70293" y="1774"/>
                      <a:pt x="50670" y="17"/>
                    </a:cubicBezTo>
                    <a:close/>
                  </a:path>
                </a:pathLst>
              </a:custGeom>
              <a:solidFill>
                <a:srgbClr val="EAAB5E"/>
              </a:solidFill>
              <a:ln w="5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1052">
                <a:extLst>
                  <a:ext uri="{FF2B5EF4-FFF2-40B4-BE49-F238E27FC236}">
                    <a16:creationId xmlns:a16="http://schemas.microsoft.com/office/drawing/2014/main" id="{6E255A76-F6B9-F1E3-7574-9B8688676AAF}"/>
                  </a:ext>
                </a:extLst>
              </p:cNvPr>
              <p:cNvSpPr/>
              <p:nvPr/>
            </p:nvSpPr>
            <p:spPr>
              <a:xfrm>
                <a:off x="7306530" y="1943563"/>
                <a:ext cx="9533" cy="10007"/>
              </a:xfrm>
              <a:custGeom>
                <a:avLst/>
                <a:gdLst>
                  <a:gd name="connsiteX0" fmla="*/ 2068 w 9533"/>
                  <a:gd name="connsiteY0" fmla="*/ 2283 h 10007"/>
                  <a:gd name="connsiteX1" fmla="*/ 9331 w 9533"/>
                  <a:gd name="connsiteY1" fmla="*/ 3630 h 10007"/>
                  <a:gd name="connsiteX2" fmla="*/ 4997 w 9533"/>
                  <a:gd name="connsiteY2" fmla="*/ 9545 h 10007"/>
                  <a:gd name="connsiteX3" fmla="*/ 76 w 9533"/>
                  <a:gd name="connsiteY3" fmla="*/ 8784 h 10007"/>
                  <a:gd name="connsiteX4" fmla="*/ 2068 w 9533"/>
                  <a:gd name="connsiteY4" fmla="*/ 2283 h 100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9533" h="10007">
                    <a:moveTo>
                      <a:pt x="2068" y="2283"/>
                    </a:moveTo>
                    <a:cubicBezTo>
                      <a:pt x="4704" y="-821"/>
                      <a:pt x="8336" y="-1114"/>
                      <a:pt x="9331" y="3630"/>
                    </a:cubicBezTo>
                    <a:cubicBezTo>
                      <a:pt x="10327" y="8315"/>
                      <a:pt x="7457" y="9428"/>
                      <a:pt x="4997" y="9545"/>
                    </a:cubicBezTo>
                    <a:cubicBezTo>
                      <a:pt x="2537" y="9662"/>
                      <a:pt x="252" y="10892"/>
                      <a:pt x="76" y="8784"/>
                    </a:cubicBezTo>
                    <a:cubicBezTo>
                      <a:pt x="-99" y="6617"/>
                      <a:pt x="-158" y="4918"/>
                      <a:pt x="2068" y="2283"/>
                    </a:cubicBezTo>
                    <a:close/>
                  </a:path>
                </a:pathLst>
              </a:custGeom>
              <a:solidFill>
                <a:srgbClr val="623E23"/>
              </a:solidFill>
              <a:ln w="5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1" name="Freeform 1053">
                <a:extLst>
                  <a:ext uri="{FF2B5EF4-FFF2-40B4-BE49-F238E27FC236}">
                    <a16:creationId xmlns:a16="http://schemas.microsoft.com/office/drawing/2014/main" id="{37B6B594-6EA9-8A40-390E-1DEE0B6A16ED}"/>
                  </a:ext>
                </a:extLst>
              </p:cNvPr>
              <p:cNvSpPr/>
              <p:nvPr/>
            </p:nvSpPr>
            <p:spPr>
              <a:xfrm>
                <a:off x="7306907" y="1967756"/>
                <a:ext cx="8855" cy="9134"/>
              </a:xfrm>
              <a:custGeom>
                <a:avLst/>
                <a:gdLst>
                  <a:gd name="connsiteX0" fmla="*/ 4854 w 8855"/>
                  <a:gd name="connsiteY0" fmla="*/ 404 h 9134"/>
                  <a:gd name="connsiteX1" fmla="*/ 8779 w 8855"/>
                  <a:gd name="connsiteY1" fmla="*/ 4972 h 9134"/>
                  <a:gd name="connsiteX2" fmla="*/ 3156 w 8855"/>
                  <a:gd name="connsiteY2" fmla="*/ 7666 h 9134"/>
                  <a:gd name="connsiteX3" fmla="*/ 1574 w 8855"/>
                  <a:gd name="connsiteY3" fmla="*/ 111 h 9134"/>
                  <a:gd name="connsiteX4" fmla="*/ 4854 w 8855"/>
                  <a:gd name="connsiteY4" fmla="*/ 404 h 91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855" h="9134">
                    <a:moveTo>
                      <a:pt x="4854" y="404"/>
                    </a:moveTo>
                    <a:cubicBezTo>
                      <a:pt x="7959" y="931"/>
                      <a:pt x="9189" y="1927"/>
                      <a:pt x="8779" y="4972"/>
                    </a:cubicBezTo>
                    <a:cubicBezTo>
                      <a:pt x="8368" y="8018"/>
                      <a:pt x="8368" y="11005"/>
                      <a:pt x="3156" y="7666"/>
                    </a:cubicBezTo>
                    <a:cubicBezTo>
                      <a:pt x="-2058" y="4387"/>
                      <a:pt x="520" y="463"/>
                      <a:pt x="1574" y="111"/>
                    </a:cubicBezTo>
                    <a:cubicBezTo>
                      <a:pt x="2628" y="-182"/>
                      <a:pt x="3507" y="170"/>
                      <a:pt x="4854" y="404"/>
                    </a:cubicBezTo>
                    <a:close/>
                  </a:path>
                </a:pathLst>
              </a:custGeom>
              <a:solidFill>
                <a:srgbClr val="623E23"/>
              </a:solidFill>
              <a:ln w="5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2" name="Freeform 1054">
                <a:extLst>
                  <a:ext uri="{FF2B5EF4-FFF2-40B4-BE49-F238E27FC236}">
                    <a16:creationId xmlns:a16="http://schemas.microsoft.com/office/drawing/2014/main" id="{3C25536F-A0BD-B5E0-CB03-9278868E18CD}"/>
                  </a:ext>
                </a:extLst>
              </p:cNvPr>
              <p:cNvSpPr/>
              <p:nvPr/>
            </p:nvSpPr>
            <p:spPr>
              <a:xfrm>
                <a:off x="7325620" y="1972782"/>
                <a:ext cx="8563" cy="7817"/>
              </a:xfrm>
              <a:custGeom>
                <a:avLst/>
                <a:gdLst>
                  <a:gd name="connsiteX0" fmla="*/ 491 w 8563"/>
                  <a:gd name="connsiteY0" fmla="*/ 942 h 7817"/>
                  <a:gd name="connsiteX1" fmla="*/ 7579 w 8563"/>
                  <a:gd name="connsiteY1" fmla="*/ 1411 h 7817"/>
                  <a:gd name="connsiteX2" fmla="*/ 6290 w 8563"/>
                  <a:gd name="connsiteY2" fmla="*/ 7619 h 7817"/>
                  <a:gd name="connsiteX3" fmla="*/ 1136 w 8563"/>
                  <a:gd name="connsiteY3" fmla="*/ 5745 h 7817"/>
                  <a:gd name="connsiteX4" fmla="*/ 491 w 8563"/>
                  <a:gd name="connsiteY4" fmla="*/ 942 h 78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563" h="7817">
                    <a:moveTo>
                      <a:pt x="491" y="942"/>
                    </a:moveTo>
                    <a:cubicBezTo>
                      <a:pt x="1956" y="-463"/>
                      <a:pt x="5646" y="-288"/>
                      <a:pt x="7579" y="1411"/>
                    </a:cubicBezTo>
                    <a:cubicBezTo>
                      <a:pt x="9512" y="3109"/>
                      <a:pt x="8341" y="6916"/>
                      <a:pt x="6290" y="7619"/>
                    </a:cubicBezTo>
                    <a:cubicBezTo>
                      <a:pt x="4240" y="8322"/>
                      <a:pt x="2307" y="7033"/>
                      <a:pt x="1136" y="5745"/>
                    </a:cubicBezTo>
                    <a:cubicBezTo>
                      <a:pt x="-36" y="4456"/>
                      <a:pt x="-387" y="1762"/>
                      <a:pt x="491" y="942"/>
                    </a:cubicBezTo>
                    <a:close/>
                  </a:path>
                </a:pathLst>
              </a:custGeom>
              <a:solidFill>
                <a:srgbClr val="623E23"/>
              </a:solidFill>
              <a:ln w="5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3" name="Freeform 1055">
                <a:extLst>
                  <a:ext uri="{FF2B5EF4-FFF2-40B4-BE49-F238E27FC236}">
                    <a16:creationId xmlns:a16="http://schemas.microsoft.com/office/drawing/2014/main" id="{9D32A6E2-85F6-59C5-FB92-DBE4885E4CD1}"/>
                  </a:ext>
                </a:extLst>
              </p:cNvPr>
              <p:cNvSpPr/>
              <p:nvPr/>
            </p:nvSpPr>
            <p:spPr>
              <a:xfrm>
                <a:off x="7328890" y="1993995"/>
                <a:ext cx="8000" cy="8893"/>
              </a:xfrm>
              <a:custGeom>
                <a:avLst/>
                <a:gdLst>
                  <a:gd name="connsiteX0" fmla="*/ 3138 w 8000"/>
                  <a:gd name="connsiteY0" fmla="*/ 1926 h 8893"/>
                  <a:gd name="connsiteX1" fmla="*/ 7999 w 8000"/>
                  <a:gd name="connsiteY1" fmla="*/ 2863 h 8893"/>
                  <a:gd name="connsiteX2" fmla="*/ 4192 w 8000"/>
                  <a:gd name="connsiteY2" fmla="*/ 8837 h 8893"/>
                  <a:gd name="connsiteX3" fmla="*/ 33 w 8000"/>
                  <a:gd name="connsiteY3" fmla="*/ 6084 h 8893"/>
                  <a:gd name="connsiteX4" fmla="*/ 3138 w 8000"/>
                  <a:gd name="connsiteY4" fmla="*/ 1926 h 88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000" h="8893">
                    <a:moveTo>
                      <a:pt x="3138" y="1926"/>
                    </a:moveTo>
                    <a:cubicBezTo>
                      <a:pt x="5071" y="-417"/>
                      <a:pt x="8058" y="-1178"/>
                      <a:pt x="7999" y="2863"/>
                    </a:cubicBezTo>
                    <a:cubicBezTo>
                      <a:pt x="7941" y="6845"/>
                      <a:pt x="6125" y="9305"/>
                      <a:pt x="4192" y="8837"/>
                    </a:cubicBezTo>
                    <a:cubicBezTo>
                      <a:pt x="2259" y="8310"/>
                      <a:pt x="385" y="8485"/>
                      <a:pt x="33" y="6084"/>
                    </a:cubicBezTo>
                    <a:cubicBezTo>
                      <a:pt x="-377" y="3683"/>
                      <a:pt x="3138" y="1926"/>
                      <a:pt x="3138" y="1926"/>
                    </a:cubicBezTo>
                    <a:close/>
                  </a:path>
                </a:pathLst>
              </a:custGeom>
              <a:solidFill>
                <a:srgbClr val="623E23"/>
              </a:solidFill>
              <a:ln w="5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4" name="Freeform 1056">
                <a:extLst>
                  <a:ext uri="{FF2B5EF4-FFF2-40B4-BE49-F238E27FC236}">
                    <a16:creationId xmlns:a16="http://schemas.microsoft.com/office/drawing/2014/main" id="{9A296527-2345-1987-8BD3-BA6AEE5FEEFA}"/>
                  </a:ext>
                </a:extLst>
              </p:cNvPr>
              <p:cNvSpPr/>
              <p:nvPr/>
            </p:nvSpPr>
            <p:spPr>
              <a:xfrm>
                <a:off x="7310475" y="1999967"/>
                <a:ext cx="8949" cy="8479"/>
              </a:xfrm>
              <a:custGeom>
                <a:avLst/>
                <a:gdLst>
                  <a:gd name="connsiteX0" fmla="*/ 7260 w 8949"/>
                  <a:gd name="connsiteY0" fmla="*/ 1167 h 8479"/>
                  <a:gd name="connsiteX1" fmla="*/ 5562 w 8949"/>
                  <a:gd name="connsiteY1" fmla="*/ 8370 h 8479"/>
                  <a:gd name="connsiteX2" fmla="*/ 466 w 8949"/>
                  <a:gd name="connsiteY2" fmla="*/ 2455 h 8479"/>
                  <a:gd name="connsiteX3" fmla="*/ 7260 w 8949"/>
                  <a:gd name="connsiteY3" fmla="*/ 1167 h 84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49" h="8479">
                    <a:moveTo>
                      <a:pt x="7260" y="1167"/>
                    </a:moveTo>
                    <a:cubicBezTo>
                      <a:pt x="10013" y="3275"/>
                      <a:pt x="9369" y="9366"/>
                      <a:pt x="5562" y="8370"/>
                    </a:cubicBezTo>
                    <a:cubicBezTo>
                      <a:pt x="1754" y="7375"/>
                      <a:pt x="-1174" y="5793"/>
                      <a:pt x="466" y="2455"/>
                    </a:cubicBezTo>
                    <a:cubicBezTo>
                      <a:pt x="2047" y="-883"/>
                      <a:pt x="5386" y="-298"/>
                      <a:pt x="7260" y="1167"/>
                    </a:cubicBezTo>
                    <a:close/>
                  </a:path>
                </a:pathLst>
              </a:custGeom>
              <a:solidFill>
                <a:srgbClr val="623E23"/>
              </a:solidFill>
              <a:ln w="5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5" name="Freeform 1057">
                <a:extLst>
                  <a:ext uri="{FF2B5EF4-FFF2-40B4-BE49-F238E27FC236}">
                    <a16:creationId xmlns:a16="http://schemas.microsoft.com/office/drawing/2014/main" id="{8CC3BE97-00E3-8EC9-F4FC-D0619B7EF3F7}"/>
                  </a:ext>
                </a:extLst>
              </p:cNvPr>
              <p:cNvSpPr/>
              <p:nvPr/>
            </p:nvSpPr>
            <p:spPr>
              <a:xfrm>
                <a:off x="7289144" y="1974696"/>
                <a:ext cx="9403" cy="9123"/>
              </a:xfrm>
              <a:custGeom>
                <a:avLst/>
                <a:gdLst>
                  <a:gd name="connsiteX0" fmla="*/ 1588 w 9403"/>
                  <a:gd name="connsiteY0" fmla="*/ 1370 h 9123"/>
                  <a:gd name="connsiteX1" fmla="*/ 7797 w 9403"/>
                  <a:gd name="connsiteY1" fmla="*/ 843 h 9123"/>
                  <a:gd name="connsiteX2" fmla="*/ 7563 w 9403"/>
                  <a:gd name="connsiteY2" fmla="*/ 8398 h 9123"/>
                  <a:gd name="connsiteX3" fmla="*/ 1412 w 9403"/>
                  <a:gd name="connsiteY3" fmla="*/ 7227 h 9123"/>
                  <a:gd name="connsiteX4" fmla="*/ 1588 w 9403"/>
                  <a:gd name="connsiteY4" fmla="*/ 1370 h 91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9403" h="9123">
                    <a:moveTo>
                      <a:pt x="1588" y="1370"/>
                    </a:moveTo>
                    <a:cubicBezTo>
                      <a:pt x="3872" y="375"/>
                      <a:pt x="5395" y="-855"/>
                      <a:pt x="7797" y="843"/>
                    </a:cubicBezTo>
                    <a:cubicBezTo>
                      <a:pt x="10199" y="2542"/>
                      <a:pt x="9730" y="6876"/>
                      <a:pt x="7563" y="8398"/>
                    </a:cubicBezTo>
                    <a:cubicBezTo>
                      <a:pt x="5395" y="9863"/>
                      <a:pt x="2642" y="8926"/>
                      <a:pt x="1412" y="7227"/>
                    </a:cubicBezTo>
                    <a:cubicBezTo>
                      <a:pt x="182" y="5529"/>
                      <a:pt x="-1107" y="2542"/>
                      <a:pt x="1588" y="1370"/>
                    </a:cubicBezTo>
                    <a:close/>
                  </a:path>
                </a:pathLst>
              </a:custGeom>
              <a:solidFill>
                <a:srgbClr val="623E23"/>
              </a:solidFill>
              <a:ln w="5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6" name="Freeform 1058">
                <a:extLst>
                  <a:ext uri="{FF2B5EF4-FFF2-40B4-BE49-F238E27FC236}">
                    <a16:creationId xmlns:a16="http://schemas.microsoft.com/office/drawing/2014/main" id="{3B8BFF0E-6DE4-D1C7-FE6C-EE56B5AB9B31}"/>
                  </a:ext>
                </a:extLst>
              </p:cNvPr>
              <p:cNvSpPr/>
              <p:nvPr/>
            </p:nvSpPr>
            <p:spPr>
              <a:xfrm>
                <a:off x="7268652" y="1977070"/>
                <a:ext cx="4029" cy="3828"/>
              </a:xfrm>
              <a:custGeom>
                <a:avLst/>
                <a:gdLst>
                  <a:gd name="connsiteX0" fmla="*/ 700 w 4029"/>
                  <a:gd name="connsiteY0" fmla="*/ 578 h 3828"/>
                  <a:gd name="connsiteX1" fmla="*/ 3336 w 4029"/>
                  <a:gd name="connsiteY1" fmla="*/ 344 h 3828"/>
                  <a:gd name="connsiteX2" fmla="*/ 3218 w 4029"/>
                  <a:gd name="connsiteY2" fmla="*/ 3506 h 3828"/>
                  <a:gd name="connsiteX3" fmla="*/ 641 w 4029"/>
                  <a:gd name="connsiteY3" fmla="*/ 3038 h 3828"/>
                  <a:gd name="connsiteX4" fmla="*/ 700 w 4029"/>
                  <a:gd name="connsiteY4" fmla="*/ 578 h 38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029" h="3828">
                    <a:moveTo>
                      <a:pt x="700" y="578"/>
                    </a:moveTo>
                    <a:cubicBezTo>
                      <a:pt x="1637" y="168"/>
                      <a:pt x="2281" y="-359"/>
                      <a:pt x="3336" y="344"/>
                    </a:cubicBezTo>
                    <a:cubicBezTo>
                      <a:pt x="4390" y="1047"/>
                      <a:pt x="4155" y="2862"/>
                      <a:pt x="3218" y="3506"/>
                    </a:cubicBezTo>
                    <a:cubicBezTo>
                      <a:pt x="2340" y="4151"/>
                      <a:pt x="1168" y="3741"/>
                      <a:pt x="641" y="3038"/>
                    </a:cubicBezTo>
                    <a:cubicBezTo>
                      <a:pt x="55" y="2335"/>
                      <a:pt x="-472" y="1105"/>
                      <a:pt x="700" y="578"/>
                    </a:cubicBezTo>
                    <a:close/>
                  </a:path>
                </a:pathLst>
              </a:custGeom>
              <a:solidFill>
                <a:srgbClr val="EAAB5E"/>
              </a:solidFill>
              <a:ln w="5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7" name="Freeform 1059">
                <a:extLst>
                  <a:ext uri="{FF2B5EF4-FFF2-40B4-BE49-F238E27FC236}">
                    <a16:creationId xmlns:a16="http://schemas.microsoft.com/office/drawing/2014/main" id="{C5EE50B0-3238-2D0E-5B05-171B7938C87A}"/>
                  </a:ext>
                </a:extLst>
              </p:cNvPr>
              <p:cNvSpPr/>
              <p:nvPr/>
            </p:nvSpPr>
            <p:spPr>
              <a:xfrm>
                <a:off x="7249650" y="1981900"/>
                <a:ext cx="5028" cy="4880"/>
              </a:xfrm>
              <a:custGeom>
                <a:avLst/>
                <a:gdLst>
                  <a:gd name="connsiteX0" fmla="*/ 841 w 5028"/>
                  <a:gd name="connsiteY0" fmla="*/ 726 h 4880"/>
                  <a:gd name="connsiteX1" fmla="*/ 4180 w 5028"/>
                  <a:gd name="connsiteY1" fmla="*/ 433 h 4880"/>
                  <a:gd name="connsiteX2" fmla="*/ 4063 w 5028"/>
                  <a:gd name="connsiteY2" fmla="*/ 4474 h 4880"/>
                  <a:gd name="connsiteX3" fmla="*/ 782 w 5028"/>
                  <a:gd name="connsiteY3" fmla="*/ 3830 h 4880"/>
                  <a:gd name="connsiteX4" fmla="*/ 841 w 5028"/>
                  <a:gd name="connsiteY4" fmla="*/ 726 h 48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028" h="4880">
                    <a:moveTo>
                      <a:pt x="841" y="726"/>
                    </a:moveTo>
                    <a:cubicBezTo>
                      <a:pt x="2071" y="199"/>
                      <a:pt x="2891" y="-445"/>
                      <a:pt x="4180" y="433"/>
                    </a:cubicBezTo>
                    <a:cubicBezTo>
                      <a:pt x="5469" y="1312"/>
                      <a:pt x="5176" y="3654"/>
                      <a:pt x="4063" y="4474"/>
                    </a:cubicBezTo>
                    <a:cubicBezTo>
                      <a:pt x="2949" y="5294"/>
                      <a:pt x="1427" y="4767"/>
                      <a:pt x="782" y="3830"/>
                    </a:cubicBezTo>
                    <a:cubicBezTo>
                      <a:pt x="138" y="2893"/>
                      <a:pt x="-624" y="1370"/>
                      <a:pt x="841" y="726"/>
                    </a:cubicBezTo>
                    <a:close/>
                  </a:path>
                </a:pathLst>
              </a:custGeom>
              <a:solidFill>
                <a:srgbClr val="EAAB5E"/>
              </a:solidFill>
              <a:ln w="5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8" name="Freeform 1060">
                <a:extLst>
                  <a:ext uri="{FF2B5EF4-FFF2-40B4-BE49-F238E27FC236}">
                    <a16:creationId xmlns:a16="http://schemas.microsoft.com/office/drawing/2014/main" id="{76172FC8-53C2-EB16-26CD-05EAA64C0CCE}"/>
                  </a:ext>
                </a:extLst>
              </p:cNvPr>
              <p:cNvSpPr/>
              <p:nvPr/>
            </p:nvSpPr>
            <p:spPr>
              <a:xfrm>
                <a:off x="7259238" y="1984430"/>
                <a:ext cx="2605" cy="2493"/>
              </a:xfrm>
              <a:custGeom>
                <a:avLst/>
                <a:gdLst>
                  <a:gd name="connsiteX0" fmla="*/ 449 w 2605"/>
                  <a:gd name="connsiteY0" fmla="*/ 363 h 2493"/>
                  <a:gd name="connsiteX1" fmla="*/ 2147 w 2605"/>
                  <a:gd name="connsiteY1" fmla="*/ 246 h 2493"/>
                  <a:gd name="connsiteX2" fmla="*/ 2089 w 2605"/>
                  <a:gd name="connsiteY2" fmla="*/ 2296 h 2493"/>
                  <a:gd name="connsiteX3" fmla="*/ 449 w 2605"/>
                  <a:gd name="connsiteY3" fmla="*/ 2003 h 2493"/>
                  <a:gd name="connsiteX4" fmla="*/ 449 w 2605"/>
                  <a:gd name="connsiteY4" fmla="*/ 363 h 24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605" h="2493">
                    <a:moveTo>
                      <a:pt x="449" y="363"/>
                    </a:moveTo>
                    <a:cubicBezTo>
                      <a:pt x="1035" y="70"/>
                      <a:pt x="1445" y="-222"/>
                      <a:pt x="2147" y="246"/>
                    </a:cubicBezTo>
                    <a:cubicBezTo>
                      <a:pt x="2850" y="715"/>
                      <a:pt x="2675" y="1886"/>
                      <a:pt x="2089" y="2296"/>
                    </a:cubicBezTo>
                    <a:cubicBezTo>
                      <a:pt x="1503" y="2706"/>
                      <a:pt x="742" y="2413"/>
                      <a:pt x="449" y="2003"/>
                    </a:cubicBezTo>
                    <a:cubicBezTo>
                      <a:pt x="39" y="1476"/>
                      <a:pt x="-313" y="656"/>
                      <a:pt x="449" y="363"/>
                    </a:cubicBezTo>
                    <a:close/>
                  </a:path>
                </a:pathLst>
              </a:custGeom>
              <a:solidFill>
                <a:srgbClr val="EAAB5E"/>
              </a:solidFill>
              <a:ln w="5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9" name="Freeform 1061">
                <a:extLst>
                  <a:ext uri="{FF2B5EF4-FFF2-40B4-BE49-F238E27FC236}">
                    <a16:creationId xmlns:a16="http://schemas.microsoft.com/office/drawing/2014/main" id="{83C5DFE7-BE1D-D9BF-3D80-45EE46732176}"/>
                  </a:ext>
                </a:extLst>
              </p:cNvPr>
              <p:cNvSpPr/>
              <p:nvPr/>
            </p:nvSpPr>
            <p:spPr>
              <a:xfrm>
                <a:off x="7282606" y="1956436"/>
                <a:ext cx="3110" cy="2509"/>
              </a:xfrm>
              <a:custGeom>
                <a:avLst/>
                <a:gdLst>
                  <a:gd name="connsiteX0" fmla="*/ 569 w 3110"/>
                  <a:gd name="connsiteY0" fmla="*/ 421 h 2509"/>
                  <a:gd name="connsiteX1" fmla="*/ 2620 w 3110"/>
                  <a:gd name="connsiteY1" fmla="*/ 187 h 2509"/>
                  <a:gd name="connsiteX2" fmla="*/ 2444 w 3110"/>
                  <a:gd name="connsiteY2" fmla="*/ 2295 h 2509"/>
                  <a:gd name="connsiteX3" fmla="*/ 452 w 3110"/>
                  <a:gd name="connsiteY3" fmla="*/ 2061 h 2509"/>
                  <a:gd name="connsiteX4" fmla="*/ 569 w 3110"/>
                  <a:gd name="connsiteY4" fmla="*/ 421 h 25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110" h="2509">
                    <a:moveTo>
                      <a:pt x="569" y="421"/>
                    </a:moveTo>
                    <a:cubicBezTo>
                      <a:pt x="1331" y="128"/>
                      <a:pt x="1858" y="-223"/>
                      <a:pt x="2620" y="187"/>
                    </a:cubicBezTo>
                    <a:cubicBezTo>
                      <a:pt x="3381" y="655"/>
                      <a:pt x="3205" y="1885"/>
                      <a:pt x="2444" y="2295"/>
                    </a:cubicBezTo>
                    <a:cubicBezTo>
                      <a:pt x="1741" y="2705"/>
                      <a:pt x="804" y="2471"/>
                      <a:pt x="452" y="2061"/>
                    </a:cubicBezTo>
                    <a:cubicBezTo>
                      <a:pt x="43" y="1651"/>
                      <a:pt x="-368" y="831"/>
                      <a:pt x="569" y="421"/>
                    </a:cubicBezTo>
                    <a:close/>
                  </a:path>
                </a:pathLst>
              </a:custGeom>
              <a:solidFill>
                <a:srgbClr val="EAAB5E"/>
              </a:solidFill>
              <a:ln w="5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0" name="Freeform 1062">
                <a:extLst>
                  <a:ext uri="{FF2B5EF4-FFF2-40B4-BE49-F238E27FC236}">
                    <a16:creationId xmlns:a16="http://schemas.microsoft.com/office/drawing/2014/main" id="{FB3599FE-E077-5A6D-C7F5-B901D983A0E7}"/>
                  </a:ext>
                </a:extLst>
              </p:cNvPr>
              <p:cNvSpPr/>
              <p:nvPr/>
            </p:nvSpPr>
            <p:spPr>
              <a:xfrm>
                <a:off x="7268140" y="1981374"/>
                <a:ext cx="1750" cy="1692"/>
              </a:xfrm>
              <a:custGeom>
                <a:avLst/>
                <a:gdLst>
                  <a:gd name="connsiteX0" fmla="*/ 275 w 1750"/>
                  <a:gd name="connsiteY0" fmla="*/ 256 h 1692"/>
                  <a:gd name="connsiteX1" fmla="*/ 1447 w 1750"/>
                  <a:gd name="connsiteY1" fmla="*/ 139 h 1692"/>
                  <a:gd name="connsiteX2" fmla="*/ 1388 w 1750"/>
                  <a:gd name="connsiteY2" fmla="*/ 1545 h 1692"/>
                  <a:gd name="connsiteX3" fmla="*/ 217 w 1750"/>
                  <a:gd name="connsiteY3" fmla="*/ 1310 h 1692"/>
                  <a:gd name="connsiteX4" fmla="*/ 275 w 1750"/>
                  <a:gd name="connsiteY4" fmla="*/ 256 h 16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50" h="1692">
                    <a:moveTo>
                      <a:pt x="275" y="256"/>
                    </a:moveTo>
                    <a:cubicBezTo>
                      <a:pt x="685" y="80"/>
                      <a:pt x="978" y="-154"/>
                      <a:pt x="1447" y="139"/>
                    </a:cubicBezTo>
                    <a:cubicBezTo>
                      <a:pt x="1916" y="432"/>
                      <a:pt x="1798" y="1252"/>
                      <a:pt x="1388" y="1545"/>
                    </a:cubicBezTo>
                    <a:cubicBezTo>
                      <a:pt x="978" y="1837"/>
                      <a:pt x="451" y="1662"/>
                      <a:pt x="217" y="1310"/>
                    </a:cubicBezTo>
                    <a:cubicBezTo>
                      <a:pt x="41" y="1017"/>
                      <a:pt x="-193" y="490"/>
                      <a:pt x="275" y="256"/>
                    </a:cubicBezTo>
                    <a:close/>
                  </a:path>
                </a:pathLst>
              </a:custGeom>
              <a:solidFill>
                <a:srgbClr val="EAAB5E"/>
              </a:solidFill>
              <a:ln w="5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1" name="Freeform 1063">
                <a:extLst>
                  <a:ext uri="{FF2B5EF4-FFF2-40B4-BE49-F238E27FC236}">
                    <a16:creationId xmlns:a16="http://schemas.microsoft.com/office/drawing/2014/main" id="{E1B64421-F0CD-6CA7-AE9E-032BC367A21F}"/>
                  </a:ext>
                </a:extLst>
              </p:cNvPr>
              <p:cNvSpPr/>
              <p:nvPr/>
            </p:nvSpPr>
            <p:spPr>
              <a:xfrm>
                <a:off x="7283443" y="1952150"/>
                <a:ext cx="1793" cy="1692"/>
              </a:xfrm>
              <a:custGeom>
                <a:avLst/>
                <a:gdLst>
                  <a:gd name="connsiteX0" fmla="*/ 318 w 1793"/>
                  <a:gd name="connsiteY0" fmla="*/ 256 h 1692"/>
                  <a:gd name="connsiteX1" fmla="*/ 1490 w 1793"/>
                  <a:gd name="connsiteY1" fmla="*/ 139 h 1692"/>
                  <a:gd name="connsiteX2" fmla="*/ 1432 w 1793"/>
                  <a:gd name="connsiteY2" fmla="*/ 1545 h 1692"/>
                  <a:gd name="connsiteX3" fmla="*/ 260 w 1793"/>
                  <a:gd name="connsiteY3" fmla="*/ 1310 h 1692"/>
                  <a:gd name="connsiteX4" fmla="*/ 318 w 1793"/>
                  <a:gd name="connsiteY4" fmla="*/ 256 h 16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93" h="1692">
                    <a:moveTo>
                      <a:pt x="318" y="256"/>
                    </a:moveTo>
                    <a:cubicBezTo>
                      <a:pt x="728" y="80"/>
                      <a:pt x="1021" y="-154"/>
                      <a:pt x="1490" y="139"/>
                    </a:cubicBezTo>
                    <a:cubicBezTo>
                      <a:pt x="1958" y="432"/>
                      <a:pt x="1842" y="1252"/>
                      <a:pt x="1432" y="1545"/>
                    </a:cubicBezTo>
                    <a:cubicBezTo>
                      <a:pt x="1021" y="1837"/>
                      <a:pt x="494" y="1662"/>
                      <a:pt x="260" y="1310"/>
                    </a:cubicBezTo>
                    <a:cubicBezTo>
                      <a:pt x="25" y="1017"/>
                      <a:pt x="-208" y="432"/>
                      <a:pt x="318" y="256"/>
                    </a:cubicBezTo>
                    <a:close/>
                  </a:path>
                </a:pathLst>
              </a:custGeom>
              <a:solidFill>
                <a:srgbClr val="EAAB5E"/>
              </a:solidFill>
              <a:ln w="5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2" name="Freeform 1064">
                <a:extLst>
                  <a:ext uri="{FF2B5EF4-FFF2-40B4-BE49-F238E27FC236}">
                    <a16:creationId xmlns:a16="http://schemas.microsoft.com/office/drawing/2014/main" id="{7A91CF9D-A6E9-65E0-19E7-04902B707D75}"/>
                  </a:ext>
                </a:extLst>
              </p:cNvPr>
              <p:cNvSpPr/>
              <p:nvPr/>
            </p:nvSpPr>
            <p:spPr>
              <a:xfrm>
                <a:off x="7262667" y="1982703"/>
                <a:ext cx="2200" cy="1443"/>
              </a:xfrm>
              <a:custGeom>
                <a:avLst/>
                <a:gdLst>
                  <a:gd name="connsiteX0" fmla="*/ 418 w 2200"/>
                  <a:gd name="connsiteY0" fmla="*/ 274 h 1443"/>
                  <a:gd name="connsiteX1" fmla="*/ 1882 w 2200"/>
                  <a:gd name="connsiteY1" fmla="*/ 99 h 1443"/>
                  <a:gd name="connsiteX2" fmla="*/ 1706 w 2200"/>
                  <a:gd name="connsiteY2" fmla="*/ 1270 h 1443"/>
                  <a:gd name="connsiteX3" fmla="*/ 242 w 2200"/>
                  <a:gd name="connsiteY3" fmla="*/ 1211 h 1443"/>
                  <a:gd name="connsiteX4" fmla="*/ 418 w 2200"/>
                  <a:gd name="connsiteY4" fmla="*/ 274 h 14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200" h="1443">
                    <a:moveTo>
                      <a:pt x="418" y="274"/>
                    </a:moveTo>
                    <a:cubicBezTo>
                      <a:pt x="1003" y="99"/>
                      <a:pt x="1355" y="-136"/>
                      <a:pt x="1882" y="99"/>
                    </a:cubicBezTo>
                    <a:cubicBezTo>
                      <a:pt x="2409" y="333"/>
                      <a:pt x="2233" y="977"/>
                      <a:pt x="1706" y="1270"/>
                    </a:cubicBezTo>
                    <a:cubicBezTo>
                      <a:pt x="1179" y="1563"/>
                      <a:pt x="535" y="1446"/>
                      <a:pt x="242" y="1211"/>
                    </a:cubicBezTo>
                    <a:cubicBezTo>
                      <a:pt x="8" y="919"/>
                      <a:pt x="-226" y="509"/>
                      <a:pt x="418" y="274"/>
                    </a:cubicBezTo>
                    <a:close/>
                  </a:path>
                </a:pathLst>
              </a:custGeom>
              <a:solidFill>
                <a:srgbClr val="EAAB5E"/>
              </a:solidFill>
              <a:ln w="5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3" name="Freeform 1065">
                <a:extLst>
                  <a:ext uri="{FF2B5EF4-FFF2-40B4-BE49-F238E27FC236}">
                    <a16:creationId xmlns:a16="http://schemas.microsoft.com/office/drawing/2014/main" id="{467B9D65-DB9C-9279-5F30-FE39DD735986}"/>
                  </a:ext>
                </a:extLst>
              </p:cNvPr>
              <p:cNvSpPr/>
              <p:nvPr/>
            </p:nvSpPr>
            <p:spPr>
              <a:xfrm>
                <a:off x="7277141" y="1995369"/>
                <a:ext cx="11410" cy="12042"/>
              </a:xfrm>
              <a:custGeom>
                <a:avLst/>
                <a:gdLst>
                  <a:gd name="connsiteX0" fmla="*/ 1701 w 11410"/>
                  <a:gd name="connsiteY0" fmla="*/ 1723 h 12042"/>
                  <a:gd name="connsiteX1" fmla="*/ 9609 w 11410"/>
                  <a:gd name="connsiteY1" fmla="*/ 1898 h 12042"/>
                  <a:gd name="connsiteX2" fmla="*/ 9257 w 11410"/>
                  <a:gd name="connsiteY2" fmla="*/ 10215 h 12042"/>
                  <a:gd name="connsiteX3" fmla="*/ 2052 w 11410"/>
                  <a:gd name="connsiteY3" fmla="*/ 10273 h 12042"/>
                  <a:gd name="connsiteX4" fmla="*/ 1701 w 11410"/>
                  <a:gd name="connsiteY4" fmla="*/ 1723 h 120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1410" h="12042">
                    <a:moveTo>
                      <a:pt x="1701" y="1723"/>
                    </a:moveTo>
                    <a:cubicBezTo>
                      <a:pt x="4337" y="-854"/>
                      <a:pt x="7207" y="-327"/>
                      <a:pt x="9609" y="1898"/>
                    </a:cubicBezTo>
                    <a:cubicBezTo>
                      <a:pt x="12010" y="4124"/>
                      <a:pt x="12127" y="7287"/>
                      <a:pt x="9257" y="10215"/>
                    </a:cubicBezTo>
                    <a:cubicBezTo>
                      <a:pt x="6387" y="13143"/>
                      <a:pt x="3985" y="12089"/>
                      <a:pt x="2052" y="10273"/>
                    </a:cubicBezTo>
                    <a:cubicBezTo>
                      <a:pt x="119" y="8458"/>
                      <a:pt x="-1228" y="4534"/>
                      <a:pt x="1701" y="1723"/>
                    </a:cubicBezTo>
                    <a:close/>
                  </a:path>
                </a:pathLst>
              </a:custGeom>
              <a:solidFill>
                <a:srgbClr val="623E23"/>
              </a:solidFill>
              <a:ln w="5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4" name="Freeform 1066">
                <a:extLst>
                  <a:ext uri="{FF2B5EF4-FFF2-40B4-BE49-F238E27FC236}">
                    <a16:creationId xmlns:a16="http://schemas.microsoft.com/office/drawing/2014/main" id="{109D5892-F372-2C46-DC05-869BA2DCF06E}"/>
                  </a:ext>
                </a:extLst>
              </p:cNvPr>
              <p:cNvSpPr/>
              <p:nvPr/>
            </p:nvSpPr>
            <p:spPr>
              <a:xfrm>
                <a:off x="7293084" y="2006161"/>
                <a:ext cx="9206" cy="9830"/>
              </a:xfrm>
              <a:custGeom>
                <a:avLst/>
                <a:gdLst>
                  <a:gd name="connsiteX0" fmla="*/ 2803 w 9206"/>
                  <a:gd name="connsiteY0" fmla="*/ 419 h 9830"/>
                  <a:gd name="connsiteX1" fmla="*/ 8602 w 9206"/>
                  <a:gd name="connsiteY1" fmla="*/ 2820 h 9830"/>
                  <a:gd name="connsiteX2" fmla="*/ 6845 w 9206"/>
                  <a:gd name="connsiteY2" fmla="*/ 9380 h 9830"/>
                  <a:gd name="connsiteX3" fmla="*/ 460 w 9206"/>
                  <a:gd name="connsiteY3" fmla="*/ 6569 h 9830"/>
                  <a:gd name="connsiteX4" fmla="*/ 2803 w 9206"/>
                  <a:gd name="connsiteY4" fmla="*/ 419 h 98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9206" h="9830">
                    <a:moveTo>
                      <a:pt x="2803" y="419"/>
                    </a:moveTo>
                    <a:cubicBezTo>
                      <a:pt x="5674" y="-869"/>
                      <a:pt x="7724" y="1063"/>
                      <a:pt x="8602" y="2820"/>
                    </a:cubicBezTo>
                    <a:cubicBezTo>
                      <a:pt x="9481" y="4577"/>
                      <a:pt x="9774" y="7857"/>
                      <a:pt x="6845" y="9380"/>
                    </a:cubicBezTo>
                    <a:cubicBezTo>
                      <a:pt x="3916" y="10903"/>
                      <a:pt x="1339" y="8209"/>
                      <a:pt x="460" y="6569"/>
                    </a:cubicBezTo>
                    <a:cubicBezTo>
                      <a:pt x="-360" y="4929"/>
                      <a:pt x="-360" y="1825"/>
                      <a:pt x="2803" y="419"/>
                    </a:cubicBezTo>
                    <a:close/>
                  </a:path>
                </a:pathLst>
              </a:custGeom>
              <a:solidFill>
                <a:srgbClr val="623E23"/>
              </a:solidFill>
              <a:ln w="5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5" name="Freeform 1067">
                <a:extLst>
                  <a:ext uri="{FF2B5EF4-FFF2-40B4-BE49-F238E27FC236}">
                    <a16:creationId xmlns:a16="http://schemas.microsoft.com/office/drawing/2014/main" id="{22D858B9-C791-CDAC-1A9C-B781846CA175}"/>
                  </a:ext>
                </a:extLst>
              </p:cNvPr>
              <p:cNvSpPr/>
              <p:nvPr/>
            </p:nvSpPr>
            <p:spPr>
              <a:xfrm>
                <a:off x="7267703" y="2003706"/>
                <a:ext cx="8970" cy="8653"/>
              </a:xfrm>
              <a:custGeom>
                <a:avLst/>
                <a:gdLst>
                  <a:gd name="connsiteX0" fmla="*/ 126 w 8970"/>
                  <a:gd name="connsiteY0" fmla="*/ 4455 h 8653"/>
                  <a:gd name="connsiteX1" fmla="*/ 2938 w 8970"/>
                  <a:gd name="connsiteY1" fmla="*/ 121 h 8653"/>
                  <a:gd name="connsiteX2" fmla="*/ 8795 w 8970"/>
                  <a:gd name="connsiteY2" fmla="*/ 3518 h 8653"/>
                  <a:gd name="connsiteX3" fmla="*/ 8971 w 8970"/>
                  <a:gd name="connsiteY3" fmla="*/ 4397 h 8653"/>
                  <a:gd name="connsiteX4" fmla="*/ 5983 w 8970"/>
                  <a:gd name="connsiteY4" fmla="*/ 5392 h 8653"/>
                  <a:gd name="connsiteX5" fmla="*/ 3054 w 8970"/>
                  <a:gd name="connsiteY5" fmla="*/ 8613 h 8653"/>
                  <a:gd name="connsiteX6" fmla="*/ 126 w 8970"/>
                  <a:gd name="connsiteY6" fmla="*/ 4455 h 86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8970" h="8653">
                    <a:moveTo>
                      <a:pt x="126" y="4455"/>
                    </a:moveTo>
                    <a:cubicBezTo>
                      <a:pt x="-343" y="1468"/>
                      <a:pt x="477" y="-523"/>
                      <a:pt x="2938" y="121"/>
                    </a:cubicBezTo>
                    <a:cubicBezTo>
                      <a:pt x="5398" y="766"/>
                      <a:pt x="8619" y="2698"/>
                      <a:pt x="8795" y="3518"/>
                    </a:cubicBezTo>
                    <a:cubicBezTo>
                      <a:pt x="8971" y="4397"/>
                      <a:pt x="8971" y="4397"/>
                      <a:pt x="8971" y="4397"/>
                    </a:cubicBezTo>
                    <a:cubicBezTo>
                      <a:pt x="8971" y="4397"/>
                      <a:pt x="7096" y="4045"/>
                      <a:pt x="5983" y="5392"/>
                    </a:cubicBezTo>
                    <a:cubicBezTo>
                      <a:pt x="4871" y="6739"/>
                      <a:pt x="4519" y="8262"/>
                      <a:pt x="3054" y="8613"/>
                    </a:cubicBezTo>
                    <a:cubicBezTo>
                      <a:pt x="1590" y="8965"/>
                      <a:pt x="477" y="6974"/>
                      <a:pt x="126" y="4455"/>
                    </a:cubicBezTo>
                    <a:close/>
                  </a:path>
                </a:pathLst>
              </a:custGeom>
              <a:solidFill>
                <a:srgbClr val="623E23"/>
              </a:solidFill>
              <a:ln w="5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1068">
                <a:extLst>
                  <a:ext uri="{FF2B5EF4-FFF2-40B4-BE49-F238E27FC236}">
                    <a16:creationId xmlns:a16="http://schemas.microsoft.com/office/drawing/2014/main" id="{C2999662-262B-E3C8-967C-DB46D456867E}"/>
                  </a:ext>
                </a:extLst>
              </p:cNvPr>
              <p:cNvSpPr/>
              <p:nvPr/>
            </p:nvSpPr>
            <p:spPr>
              <a:xfrm>
                <a:off x="7248216" y="2002570"/>
                <a:ext cx="9984" cy="7503"/>
              </a:xfrm>
              <a:custGeom>
                <a:avLst/>
                <a:gdLst>
                  <a:gd name="connsiteX0" fmla="*/ 6082 w 9984"/>
                  <a:gd name="connsiteY0" fmla="*/ 554 h 7503"/>
                  <a:gd name="connsiteX1" fmla="*/ 2509 w 9984"/>
                  <a:gd name="connsiteY1" fmla="*/ 5708 h 7503"/>
                  <a:gd name="connsiteX2" fmla="*/ 6082 w 9984"/>
                  <a:gd name="connsiteY2" fmla="*/ 554 h 75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9984" h="7503">
                    <a:moveTo>
                      <a:pt x="6082" y="554"/>
                    </a:moveTo>
                    <a:cubicBezTo>
                      <a:pt x="3505" y="-1144"/>
                      <a:pt x="-3817" y="1198"/>
                      <a:pt x="2509" y="5708"/>
                    </a:cubicBezTo>
                    <a:cubicBezTo>
                      <a:pt x="8894" y="10159"/>
                      <a:pt x="13697" y="5532"/>
                      <a:pt x="6082" y="554"/>
                    </a:cubicBezTo>
                    <a:close/>
                  </a:path>
                </a:pathLst>
              </a:custGeom>
              <a:solidFill>
                <a:srgbClr val="623E23"/>
              </a:solidFill>
              <a:ln w="5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7" name="Freeform 1069">
                <a:extLst>
                  <a:ext uri="{FF2B5EF4-FFF2-40B4-BE49-F238E27FC236}">
                    <a16:creationId xmlns:a16="http://schemas.microsoft.com/office/drawing/2014/main" id="{E2B265B2-6960-3C22-40F4-0230D86F35F0}"/>
                  </a:ext>
                </a:extLst>
              </p:cNvPr>
              <p:cNvSpPr/>
              <p:nvPr/>
            </p:nvSpPr>
            <p:spPr>
              <a:xfrm>
                <a:off x="7248054" y="1990756"/>
                <a:ext cx="9525" cy="3664"/>
              </a:xfrm>
              <a:custGeom>
                <a:avLst/>
                <a:gdLst>
                  <a:gd name="connsiteX0" fmla="*/ 3959 w 9525"/>
                  <a:gd name="connsiteY0" fmla="*/ 69 h 3664"/>
                  <a:gd name="connsiteX1" fmla="*/ 9524 w 9525"/>
                  <a:gd name="connsiteY1" fmla="*/ 1709 h 3664"/>
                  <a:gd name="connsiteX2" fmla="*/ 3959 w 9525"/>
                  <a:gd name="connsiteY2" fmla="*/ 3642 h 3664"/>
                  <a:gd name="connsiteX3" fmla="*/ 35 w 9525"/>
                  <a:gd name="connsiteY3" fmla="*/ 2588 h 3664"/>
                  <a:gd name="connsiteX4" fmla="*/ 3959 w 9525"/>
                  <a:gd name="connsiteY4" fmla="*/ 69 h 36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9525" h="3664">
                    <a:moveTo>
                      <a:pt x="3959" y="69"/>
                    </a:moveTo>
                    <a:cubicBezTo>
                      <a:pt x="7357" y="-341"/>
                      <a:pt x="9583" y="1182"/>
                      <a:pt x="9524" y="1709"/>
                    </a:cubicBezTo>
                    <a:cubicBezTo>
                      <a:pt x="9466" y="2236"/>
                      <a:pt x="5893" y="3876"/>
                      <a:pt x="3959" y="3642"/>
                    </a:cubicBezTo>
                    <a:cubicBezTo>
                      <a:pt x="2027" y="3408"/>
                      <a:pt x="-316" y="3408"/>
                      <a:pt x="35" y="2588"/>
                    </a:cubicBezTo>
                    <a:cubicBezTo>
                      <a:pt x="328" y="1826"/>
                      <a:pt x="1558" y="362"/>
                      <a:pt x="3959" y="69"/>
                    </a:cubicBezTo>
                    <a:close/>
                  </a:path>
                </a:pathLst>
              </a:custGeom>
              <a:solidFill>
                <a:srgbClr val="623E23"/>
              </a:solidFill>
              <a:ln w="5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8" name="Freeform 1070">
                <a:extLst>
                  <a:ext uri="{FF2B5EF4-FFF2-40B4-BE49-F238E27FC236}">
                    <a16:creationId xmlns:a16="http://schemas.microsoft.com/office/drawing/2014/main" id="{A7834CC3-DEE8-036B-2788-7808EDC1B0AA}"/>
                  </a:ext>
                </a:extLst>
              </p:cNvPr>
              <p:cNvSpPr/>
              <p:nvPr/>
            </p:nvSpPr>
            <p:spPr>
              <a:xfrm>
                <a:off x="7279819" y="1974598"/>
                <a:ext cx="5493" cy="6988"/>
              </a:xfrm>
              <a:custGeom>
                <a:avLst/>
                <a:gdLst>
                  <a:gd name="connsiteX0" fmla="*/ 2127 w 5493"/>
                  <a:gd name="connsiteY0" fmla="*/ 2816 h 6988"/>
                  <a:gd name="connsiteX1" fmla="*/ 5290 w 5493"/>
                  <a:gd name="connsiteY1" fmla="*/ 1352 h 6988"/>
                  <a:gd name="connsiteX2" fmla="*/ 663 w 5493"/>
                  <a:gd name="connsiteY2" fmla="*/ 6974 h 6988"/>
                  <a:gd name="connsiteX3" fmla="*/ 2127 w 5493"/>
                  <a:gd name="connsiteY3" fmla="*/ 2816 h 69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493" h="6988">
                    <a:moveTo>
                      <a:pt x="2127" y="2816"/>
                    </a:moveTo>
                    <a:cubicBezTo>
                      <a:pt x="3709" y="1000"/>
                      <a:pt x="6227" y="-1635"/>
                      <a:pt x="5290" y="1352"/>
                    </a:cubicBezTo>
                    <a:cubicBezTo>
                      <a:pt x="4353" y="4397"/>
                      <a:pt x="2303" y="6740"/>
                      <a:pt x="663" y="6974"/>
                    </a:cubicBezTo>
                    <a:cubicBezTo>
                      <a:pt x="-977" y="7208"/>
                      <a:pt x="780" y="4397"/>
                      <a:pt x="2127" y="2816"/>
                    </a:cubicBezTo>
                    <a:close/>
                  </a:path>
                </a:pathLst>
              </a:custGeom>
              <a:solidFill>
                <a:srgbClr val="623E23"/>
              </a:solidFill>
              <a:ln w="5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1071">
                <a:extLst>
                  <a:ext uri="{FF2B5EF4-FFF2-40B4-BE49-F238E27FC236}">
                    <a16:creationId xmlns:a16="http://schemas.microsoft.com/office/drawing/2014/main" id="{22365D8F-9DBC-0061-4F2B-C88638782BBE}"/>
                  </a:ext>
                </a:extLst>
              </p:cNvPr>
              <p:cNvSpPr/>
              <p:nvPr/>
            </p:nvSpPr>
            <p:spPr>
              <a:xfrm>
                <a:off x="7291827" y="1953555"/>
                <a:ext cx="3097" cy="4092"/>
              </a:xfrm>
              <a:custGeom>
                <a:avLst/>
                <a:gdLst>
                  <a:gd name="connsiteX0" fmla="*/ 2361 w 3097"/>
                  <a:gd name="connsiteY0" fmla="*/ 198 h 4092"/>
                  <a:gd name="connsiteX1" fmla="*/ 1131 w 3097"/>
                  <a:gd name="connsiteY1" fmla="*/ 4063 h 4092"/>
                  <a:gd name="connsiteX2" fmla="*/ 311 w 3097"/>
                  <a:gd name="connsiteY2" fmla="*/ 901 h 4092"/>
                  <a:gd name="connsiteX3" fmla="*/ 2361 w 3097"/>
                  <a:gd name="connsiteY3" fmla="*/ 198 h 40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097" h="4092">
                    <a:moveTo>
                      <a:pt x="2361" y="198"/>
                    </a:moveTo>
                    <a:cubicBezTo>
                      <a:pt x="4001" y="608"/>
                      <a:pt x="2595" y="3770"/>
                      <a:pt x="1131" y="4063"/>
                    </a:cubicBezTo>
                    <a:cubicBezTo>
                      <a:pt x="-334" y="4356"/>
                      <a:pt x="-99" y="2365"/>
                      <a:pt x="311" y="901"/>
                    </a:cubicBezTo>
                    <a:cubicBezTo>
                      <a:pt x="721" y="-564"/>
                      <a:pt x="2361" y="198"/>
                      <a:pt x="2361" y="198"/>
                    </a:cubicBezTo>
                    <a:close/>
                  </a:path>
                </a:pathLst>
              </a:custGeom>
              <a:solidFill>
                <a:srgbClr val="623E23"/>
              </a:solidFill>
              <a:ln w="5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0" name="Freeform 1072">
                <a:extLst>
                  <a:ext uri="{FF2B5EF4-FFF2-40B4-BE49-F238E27FC236}">
                    <a16:creationId xmlns:a16="http://schemas.microsoft.com/office/drawing/2014/main" id="{D3F15A30-6393-C701-5454-270B16FAE021}"/>
                  </a:ext>
                </a:extLst>
              </p:cNvPr>
              <p:cNvSpPr/>
              <p:nvPr/>
            </p:nvSpPr>
            <p:spPr>
              <a:xfrm>
                <a:off x="7288209" y="2023646"/>
                <a:ext cx="5218" cy="2975"/>
              </a:xfrm>
              <a:custGeom>
                <a:avLst/>
                <a:gdLst>
                  <a:gd name="connsiteX0" fmla="*/ 2523 w 5218"/>
                  <a:gd name="connsiteY0" fmla="*/ 211 h 2975"/>
                  <a:gd name="connsiteX1" fmla="*/ 3167 w 5218"/>
                  <a:gd name="connsiteY1" fmla="*/ 2788 h 2975"/>
                  <a:gd name="connsiteX2" fmla="*/ 2523 w 5218"/>
                  <a:gd name="connsiteY2" fmla="*/ 211 h 29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5218" h="2975">
                    <a:moveTo>
                      <a:pt x="2523" y="211"/>
                    </a:moveTo>
                    <a:cubicBezTo>
                      <a:pt x="4983" y="-785"/>
                      <a:pt x="6799" y="2026"/>
                      <a:pt x="3167" y="2788"/>
                    </a:cubicBezTo>
                    <a:cubicBezTo>
                      <a:pt x="-406" y="3549"/>
                      <a:pt x="-1402" y="1851"/>
                      <a:pt x="2523" y="211"/>
                    </a:cubicBezTo>
                    <a:close/>
                  </a:path>
                </a:pathLst>
              </a:custGeom>
              <a:solidFill>
                <a:srgbClr val="623E23"/>
              </a:solidFill>
              <a:ln w="5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sp>
          <p:nvSpPr>
            <p:cNvPr id="7" name="Freeform 1073">
              <a:extLst>
                <a:ext uri="{FF2B5EF4-FFF2-40B4-BE49-F238E27FC236}">
                  <a16:creationId xmlns:a16="http://schemas.microsoft.com/office/drawing/2014/main" id="{2524014A-037C-9672-747C-38D2685DA6F6}"/>
                </a:ext>
              </a:extLst>
            </p:cNvPr>
            <p:cNvSpPr/>
            <p:nvPr/>
          </p:nvSpPr>
          <p:spPr>
            <a:xfrm>
              <a:off x="7271520" y="2016703"/>
              <a:ext cx="18440" cy="14767"/>
            </a:xfrm>
            <a:custGeom>
              <a:avLst/>
              <a:gdLst>
                <a:gd name="connsiteX0" fmla="*/ 11246 w 18440"/>
                <a:gd name="connsiteY0" fmla="*/ 14767 h 14767"/>
                <a:gd name="connsiteX1" fmla="*/ 15815 w 18440"/>
                <a:gd name="connsiteY1" fmla="*/ 12483 h 14767"/>
                <a:gd name="connsiteX2" fmla="*/ 18392 w 18440"/>
                <a:gd name="connsiteY2" fmla="*/ 4694 h 14767"/>
                <a:gd name="connsiteX3" fmla="*/ 18217 w 18440"/>
                <a:gd name="connsiteY3" fmla="*/ 2937 h 14767"/>
                <a:gd name="connsiteX4" fmla="*/ 16049 w 18440"/>
                <a:gd name="connsiteY4" fmla="*/ 946 h 14767"/>
                <a:gd name="connsiteX5" fmla="*/ 14409 w 18440"/>
                <a:gd name="connsiteY5" fmla="*/ 184 h 14767"/>
                <a:gd name="connsiteX6" fmla="*/ 13765 w 18440"/>
                <a:gd name="connsiteY6" fmla="*/ 9 h 14767"/>
                <a:gd name="connsiteX7" fmla="*/ 8845 w 18440"/>
                <a:gd name="connsiteY7" fmla="*/ 1414 h 14767"/>
                <a:gd name="connsiteX8" fmla="*/ 5799 w 18440"/>
                <a:gd name="connsiteY8" fmla="*/ 1707 h 14767"/>
                <a:gd name="connsiteX9" fmla="*/ 4744 w 18440"/>
                <a:gd name="connsiteY9" fmla="*/ 5280 h 14767"/>
                <a:gd name="connsiteX10" fmla="*/ 0 w 18440"/>
                <a:gd name="connsiteY10" fmla="*/ 10609 h 147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8440" h="14767">
                  <a:moveTo>
                    <a:pt x="11246" y="14767"/>
                  </a:moveTo>
                  <a:cubicBezTo>
                    <a:pt x="12769" y="14357"/>
                    <a:pt x="14585" y="13420"/>
                    <a:pt x="15815" y="12483"/>
                  </a:cubicBezTo>
                  <a:cubicBezTo>
                    <a:pt x="18217" y="10609"/>
                    <a:pt x="18158" y="7447"/>
                    <a:pt x="18392" y="4694"/>
                  </a:cubicBezTo>
                  <a:cubicBezTo>
                    <a:pt x="18451" y="3991"/>
                    <a:pt x="18510" y="3523"/>
                    <a:pt x="18217" y="2937"/>
                  </a:cubicBezTo>
                  <a:cubicBezTo>
                    <a:pt x="17807" y="1941"/>
                    <a:pt x="16928" y="1473"/>
                    <a:pt x="16049" y="946"/>
                  </a:cubicBezTo>
                  <a:cubicBezTo>
                    <a:pt x="15523" y="653"/>
                    <a:pt x="14995" y="360"/>
                    <a:pt x="14409" y="184"/>
                  </a:cubicBezTo>
                  <a:cubicBezTo>
                    <a:pt x="14234" y="126"/>
                    <a:pt x="13999" y="9"/>
                    <a:pt x="13765" y="9"/>
                  </a:cubicBezTo>
                  <a:cubicBezTo>
                    <a:pt x="11832" y="-109"/>
                    <a:pt x="10719" y="1004"/>
                    <a:pt x="8845" y="1414"/>
                  </a:cubicBezTo>
                  <a:cubicBezTo>
                    <a:pt x="8024" y="1590"/>
                    <a:pt x="6384" y="9"/>
                    <a:pt x="5799" y="1707"/>
                  </a:cubicBezTo>
                  <a:cubicBezTo>
                    <a:pt x="5565" y="2351"/>
                    <a:pt x="5213" y="3933"/>
                    <a:pt x="4744" y="5280"/>
                  </a:cubicBezTo>
                  <a:cubicBezTo>
                    <a:pt x="4041" y="7212"/>
                    <a:pt x="1933" y="9321"/>
                    <a:pt x="0" y="10609"/>
                  </a:cubicBezTo>
                </a:path>
              </a:pathLst>
            </a:custGeom>
            <a:solidFill>
              <a:srgbClr val="F3CFA3"/>
            </a:solidFill>
            <a:ln w="58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59" name="Graphic 2">
            <a:extLst>
              <a:ext uri="{FF2B5EF4-FFF2-40B4-BE49-F238E27FC236}">
                <a16:creationId xmlns:a16="http://schemas.microsoft.com/office/drawing/2014/main" id="{CAA873A7-1412-61CE-2504-7B8019A54FEE}"/>
              </a:ext>
            </a:extLst>
          </p:cNvPr>
          <p:cNvGrpSpPr>
            <a:grpSpLocks noChangeAspect="1"/>
          </p:cNvGrpSpPr>
          <p:nvPr/>
        </p:nvGrpSpPr>
        <p:grpSpPr>
          <a:xfrm>
            <a:off x="2461141" y="4883264"/>
            <a:ext cx="817751" cy="1748057"/>
            <a:chOff x="6639371" y="1878260"/>
            <a:chExt cx="174086" cy="372133"/>
          </a:xfrm>
        </p:grpSpPr>
        <p:grpSp>
          <p:nvGrpSpPr>
            <p:cNvPr id="60" name="Graphic 2">
              <a:extLst>
                <a:ext uri="{FF2B5EF4-FFF2-40B4-BE49-F238E27FC236}">
                  <a16:creationId xmlns:a16="http://schemas.microsoft.com/office/drawing/2014/main" id="{DD19E70A-2C64-11AB-95E2-45C103E50D79}"/>
                </a:ext>
              </a:extLst>
            </p:cNvPr>
            <p:cNvGrpSpPr/>
            <p:nvPr/>
          </p:nvGrpSpPr>
          <p:grpSpPr>
            <a:xfrm>
              <a:off x="6639371" y="1878260"/>
              <a:ext cx="174086" cy="29166"/>
              <a:chOff x="6639371" y="1878260"/>
              <a:chExt cx="174086" cy="29166"/>
            </a:xfrm>
          </p:grpSpPr>
          <p:sp>
            <p:nvSpPr>
              <p:cNvPr id="95" name="Freeform 999">
                <a:extLst>
                  <a:ext uri="{FF2B5EF4-FFF2-40B4-BE49-F238E27FC236}">
                    <a16:creationId xmlns:a16="http://schemas.microsoft.com/office/drawing/2014/main" id="{AFC74F5D-3B37-165E-ED0E-EE966E6F4666}"/>
                  </a:ext>
                </a:extLst>
              </p:cNvPr>
              <p:cNvSpPr/>
              <p:nvPr/>
            </p:nvSpPr>
            <p:spPr>
              <a:xfrm>
                <a:off x="6639371" y="1878260"/>
                <a:ext cx="174086" cy="29166"/>
              </a:xfrm>
              <a:custGeom>
                <a:avLst/>
                <a:gdLst>
                  <a:gd name="connsiteX0" fmla="*/ 20853 w 174086"/>
                  <a:gd name="connsiteY0" fmla="*/ 29166 h 29166"/>
                  <a:gd name="connsiteX1" fmla="*/ 20853 w 174086"/>
                  <a:gd name="connsiteY1" fmla="*/ 29166 h 29166"/>
                  <a:gd name="connsiteX2" fmla="*/ 41882 w 174086"/>
                  <a:gd name="connsiteY2" fmla="*/ 29166 h 29166"/>
                  <a:gd name="connsiteX3" fmla="*/ 41882 w 174086"/>
                  <a:gd name="connsiteY3" fmla="*/ 29166 h 29166"/>
                  <a:gd name="connsiteX4" fmla="*/ 63847 w 174086"/>
                  <a:gd name="connsiteY4" fmla="*/ 29166 h 29166"/>
                  <a:gd name="connsiteX5" fmla="*/ 63847 w 174086"/>
                  <a:gd name="connsiteY5" fmla="*/ 29166 h 29166"/>
                  <a:gd name="connsiteX6" fmla="*/ 85110 w 174086"/>
                  <a:gd name="connsiteY6" fmla="*/ 29166 h 29166"/>
                  <a:gd name="connsiteX7" fmla="*/ 85110 w 174086"/>
                  <a:gd name="connsiteY7" fmla="*/ 29166 h 29166"/>
                  <a:gd name="connsiteX8" fmla="*/ 105905 w 174086"/>
                  <a:gd name="connsiteY8" fmla="*/ 29166 h 29166"/>
                  <a:gd name="connsiteX9" fmla="*/ 105905 w 174086"/>
                  <a:gd name="connsiteY9" fmla="*/ 29166 h 29166"/>
                  <a:gd name="connsiteX10" fmla="*/ 127109 w 174086"/>
                  <a:gd name="connsiteY10" fmla="*/ 29166 h 29166"/>
                  <a:gd name="connsiteX11" fmla="*/ 127109 w 174086"/>
                  <a:gd name="connsiteY11" fmla="*/ 29166 h 29166"/>
                  <a:gd name="connsiteX12" fmla="*/ 147376 w 174086"/>
                  <a:gd name="connsiteY12" fmla="*/ 29166 h 29166"/>
                  <a:gd name="connsiteX13" fmla="*/ 147376 w 174086"/>
                  <a:gd name="connsiteY13" fmla="*/ 29166 h 29166"/>
                  <a:gd name="connsiteX14" fmla="*/ 174087 w 174086"/>
                  <a:gd name="connsiteY14" fmla="*/ 29166 h 29166"/>
                  <a:gd name="connsiteX15" fmla="*/ 162313 w 174086"/>
                  <a:gd name="connsiteY15" fmla="*/ 0 h 29166"/>
                  <a:gd name="connsiteX16" fmla="*/ 157451 w 174086"/>
                  <a:gd name="connsiteY16" fmla="*/ 0 h 29166"/>
                  <a:gd name="connsiteX17" fmla="*/ 146790 w 174086"/>
                  <a:gd name="connsiteY17" fmla="*/ 15052 h 29166"/>
                  <a:gd name="connsiteX18" fmla="*/ 142104 w 174086"/>
                  <a:gd name="connsiteY18" fmla="*/ 0 h 29166"/>
                  <a:gd name="connsiteX19" fmla="*/ 137243 w 174086"/>
                  <a:gd name="connsiteY19" fmla="*/ 0 h 29166"/>
                  <a:gd name="connsiteX20" fmla="*/ 125527 w 174086"/>
                  <a:gd name="connsiteY20" fmla="*/ 15052 h 29166"/>
                  <a:gd name="connsiteX21" fmla="*/ 120841 w 174086"/>
                  <a:gd name="connsiteY21" fmla="*/ 0 h 29166"/>
                  <a:gd name="connsiteX22" fmla="*/ 116038 w 174086"/>
                  <a:gd name="connsiteY22" fmla="*/ 0 h 29166"/>
                  <a:gd name="connsiteX23" fmla="*/ 104733 w 174086"/>
                  <a:gd name="connsiteY23" fmla="*/ 15052 h 29166"/>
                  <a:gd name="connsiteX24" fmla="*/ 100047 w 174086"/>
                  <a:gd name="connsiteY24" fmla="*/ 0 h 29166"/>
                  <a:gd name="connsiteX25" fmla="*/ 95185 w 174086"/>
                  <a:gd name="connsiteY25" fmla="*/ 0 h 29166"/>
                  <a:gd name="connsiteX26" fmla="*/ 83529 w 174086"/>
                  <a:gd name="connsiteY26" fmla="*/ 15052 h 29166"/>
                  <a:gd name="connsiteX27" fmla="*/ 78843 w 174086"/>
                  <a:gd name="connsiteY27" fmla="*/ 0 h 29166"/>
                  <a:gd name="connsiteX28" fmla="*/ 73981 w 174086"/>
                  <a:gd name="connsiteY28" fmla="*/ 0 h 29166"/>
                  <a:gd name="connsiteX29" fmla="*/ 61504 w 174086"/>
                  <a:gd name="connsiteY29" fmla="*/ 15052 h 29166"/>
                  <a:gd name="connsiteX30" fmla="*/ 56818 w 174086"/>
                  <a:gd name="connsiteY30" fmla="*/ 0 h 29166"/>
                  <a:gd name="connsiteX31" fmla="*/ 51957 w 174086"/>
                  <a:gd name="connsiteY31" fmla="*/ 0 h 29166"/>
                  <a:gd name="connsiteX32" fmla="*/ 40476 w 174086"/>
                  <a:gd name="connsiteY32" fmla="*/ 15052 h 29166"/>
                  <a:gd name="connsiteX33" fmla="*/ 35789 w 174086"/>
                  <a:gd name="connsiteY33" fmla="*/ 0 h 29166"/>
                  <a:gd name="connsiteX34" fmla="*/ 30928 w 174086"/>
                  <a:gd name="connsiteY34" fmla="*/ 0 h 29166"/>
                  <a:gd name="connsiteX35" fmla="*/ 19623 w 174086"/>
                  <a:gd name="connsiteY35" fmla="*/ 15052 h 29166"/>
                  <a:gd name="connsiteX36" fmla="*/ 14937 w 174086"/>
                  <a:gd name="connsiteY36" fmla="*/ 0 h 29166"/>
                  <a:gd name="connsiteX37" fmla="*/ 10133 w 174086"/>
                  <a:gd name="connsiteY37" fmla="*/ 0 h 29166"/>
                  <a:gd name="connsiteX38" fmla="*/ 0 w 174086"/>
                  <a:gd name="connsiteY38" fmla="*/ 29166 h 291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</a:cxnLst>
                <a:rect l="l" t="t" r="r" b="b"/>
                <a:pathLst>
                  <a:path w="174086" h="29166">
                    <a:moveTo>
                      <a:pt x="20853" y="29166"/>
                    </a:moveTo>
                    <a:lnTo>
                      <a:pt x="20853" y="29166"/>
                    </a:lnTo>
                    <a:lnTo>
                      <a:pt x="41882" y="29166"/>
                    </a:lnTo>
                    <a:lnTo>
                      <a:pt x="41882" y="29166"/>
                    </a:lnTo>
                    <a:lnTo>
                      <a:pt x="63847" y="29166"/>
                    </a:lnTo>
                    <a:lnTo>
                      <a:pt x="63847" y="29166"/>
                    </a:lnTo>
                    <a:lnTo>
                      <a:pt x="85110" y="29166"/>
                    </a:lnTo>
                    <a:lnTo>
                      <a:pt x="85110" y="29166"/>
                    </a:lnTo>
                    <a:lnTo>
                      <a:pt x="105905" y="29166"/>
                    </a:lnTo>
                    <a:lnTo>
                      <a:pt x="105905" y="29166"/>
                    </a:lnTo>
                    <a:lnTo>
                      <a:pt x="127109" y="29166"/>
                    </a:lnTo>
                    <a:lnTo>
                      <a:pt x="127109" y="29166"/>
                    </a:lnTo>
                    <a:lnTo>
                      <a:pt x="147376" y="29166"/>
                    </a:lnTo>
                    <a:lnTo>
                      <a:pt x="147376" y="29166"/>
                    </a:lnTo>
                    <a:lnTo>
                      <a:pt x="174087" y="29166"/>
                    </a:lnTo>
                    <a:lnTo>
                      <a:pt x="162313" y="0"/>
                    </a:lnTo>
                    <a:lnTo>
                      <a:pt x="157451" y="0"/>
                    </a:lnTo>
                    <a:lnTo>
                      <a:pt x="146790" y="15052"/>
                    </a:lnTo>
                    <a:lnTo>
                      <a:pt x="142104" y="0"/>
                    </a:lnTo>
                    <a:lnTo>
                      <a:pt x="137243" y="0"/>
                    </a:lnTo>
                    <a:lnTo>
                      <a:pt x="125527" y="15052"/>
                    </a:lnTo>
                    <a:lnTo>
                      <a:pt x="120841" y="0"/>
                    </a:lnTo>
                    <a:lnTo>
                      <a:pt x="116038" y="0"/>
                    </a:lnTo>
                    <a:lnTo>
                      <a:pt x="104733" y="15052"/>
                    </a:lnTo>
                    <a:lnTo>
                      <a:pt x="100047" y="0"/>
                    </a:lnTo>
                    <a:lnTo>
                      <a:pt x="95185" y="0"/>
                    </a:lnTo>
                    <a:lnTo>
                      <a:pt x="83529" y="15052"/>
                    </a:lnTo>
                    <a:lnTo>
                      <a:pt x="78843" y="0"/>
                    </a:lnTo>
                    <a:lnTo>
                      <a:pt x="73981" y="0"/>
                    </a:lnTo>
                    <a:lnTo>
                      <a:pt x="61504" y="15052"/>
                    </a:lnTo>
                    <a:lnTo>
                      <a:pt x="56818" y="0"/>
                    </a:lnTo>
                    <a:lnTo>
                      <a:pt x="51957" y="0"/>
                    </a:lnTo>
                    <a:lnTo>
                      <a:pt x="40476" y="15052"/>
                    </a:lnTo>
                    <a:lnTo>
                      <a:pt x="35789" y="0"/>
                    </a:lnTo>
                    <a:lnTo>
                      <a:pt x="30928" y="0"/>
                    </a:lnTo>
                    <a:lnTo>
                      <a:pt x="19623" y="15052"/>
                    </a:lnTo>
                    <a:lnTo>
                      <a:pt x="14937" y="0"/>
                    </a:lnTo>
                    <a:lnTo>
                      <a:pt x="10133" y="0"/>
                    </a:lnTo>
                    <a:lnTo>
                      <a:pt x="0" y="29166"/>
                    </a:lnTo>
                    <a:close/>
                  </a:path>
                </a:pathLst>
              </a:custGeom>
              <a:solidFill>
                <a:srgbClr val="311F12"/>
              </a:solidFill>
              <a:ln w="5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96" name="Freeform 1000">
                <a:extLst>
                  <a:ext uri="{FF2B5EF4-FFF2-40B4-BE49-F238E27FC236}">
                    <a16:creationId xmlns:a16="http://schemas.microsoft.com/office/drawing/2014/main" id="{7D0C3361-E5DA-54C5-23CF-BC01CE2BBE97}"/>
                  </a:ext>
                </a:extLst>
              </p:cNvPr>
              <p:cNvSpPr/>
              <p:nvPr/>
            </p:nvSpPr>
            <p:spPr>
              <a:xfrm>
                <a:off x="6639371" y="1878260"/>
                <a:ext cx="174086" cy="29166"/>
              </a:xfrm>
              <a:custGeom>
                <a:avLst/>
                <a:gdLst>
                  <a:gd name="connsiteX0" fmla="*/ 20853 w 174086"/>
                  <a:gd name="connsiteY0" fmla="*/ 29166 h 29166"/>
                  <a:gd name="connsiteX1" fmla="*/ 20853 w 174086"/>
                  <a:gd name="connsiteY1" fmla="*/ 29166 h 29166"/>
                  <a:gd name="connsiteX2" fmla="*/ 41882 w 174086"/>
                  <a:gd name="connsiteY2" fmla="*/ 29166 h 29166"/>
                  <a:gd name="connsiteX3" fmla="*/ 41882 w 174086"/>
                  <a:gd name="connsiteY3" fmla="*/ 29166 h 29166"/>
                  <a:gd name="connsiteX4" fmla="*/ 63847 w 174086"/>
                  <a:gd name="connsiteY4" fmla="*/ 29166 h 29166"/>
                  <a:gd name="connsiteX5" fmla="*/ 63847 w 174086"/>
                  <a:gd name="connsiteY5" fmla="*/ 29166 h 29166"/>
                  <a:gd name="connsiteX6" fmla="*/ 85110 w 174086"/>
                  <a:gd name="connsiteY6" fmla="*/ 29166 h 29166"/>
                  <a:gd name="connsiteX7" fmla="*/ 85110 w 174086"/>
                  <a:gd name="connsiteY7" fmla="*/ 29166 h 29166"/>
                  <a:gd name="connsiteX8" fmla="*/ 105905 w 174086"/>
                  <a:gd name="connsiteY8" fmla="*/ 29166 h 29166"/>
                  <a:gd name="connsiteX9" fmla="*/ 105905 w 174086"/>
                  <a:gd name="connsiteY9" fmla="*/ 29166 h 29166"/>
                  <a:gd name="connsiteX10" fmla="*/ 127109 w 174086"/>
                  <a:gd name="connsiteY10" fmla="*/ 29166 h 29166"/>
                  <a:gd name="connsiteX11" fmla="*/ 127109 w 174086"/>
                  <a:gd name="connsiteY11" fmla="*/ 29166 h 29166"/>
                  <a:gd name="connsiteX12" fmla="*/ 147376 w 174086"/>
                  <a:gd name="connsiteY12" fmla="*/ 29166 h 29166"/>
                  <a:gd name="connsiteX13" fmla="*/ 147376 w 174086"/>
                  <a:gd name="connsiteY13" fmla="*/ 29166 h 29166"/>
                  <a:gd name="connsiteX14" fmla="*/ 174087 w 174086"/>
                  <a:gd name="connsiteY14" fmla="*/ 29166 h 29166"/>
                  <a:gd name="connsiteX15" fmla="*/ 162313 w 174086"/>
                  <a:gd name="connsiteY15" fmla="*/ 0 h 29166"/>
                  <a:gd name="connsiteX16" fmla="*/ 157451 w 174086"/>
                  <a:gd name="connsiteY16" fmla="*/ 0 h 29166"/>
                  <a:gd name="connsiteX17" fmla="*/ 151535 w 174086"/>
                  <a:gd name="connsiteY17" fmla="*/ 17043 h 29166"/>
                  <a:gd name="connsiteX18" fmla="*/ 148958 w 174086"/>
                  <a:gd name="connsiteY18" fmla="*/ 17043 h 29166"/>
                  <a:gd name="connsiteX19" fmla="*/ 142104 w 174086"/>
                  <a:gd name="connsiteY19" fmla="*/ 0 h 29166"/>
                  <a:gd name="connsiteX20" fmla="*/ 137243 w 174086"/>
                  <a:gd name="connsiteY20" fmla="*/ 0 h 29166"/>
                  <a:gd name="connsiteX21" fmla="*/ 131327 w 174086"/>
                  <a:gd name="connsiteY21" fmla="*/ 17043 h 29166"/>
                  <a:gd name="connsiteX22" fmla="*/ 127753 w 174086"/>
                  <a:gd name="connsiteY22" fmla="*/ 17043 h 29166"/>
                  <a:gd name="connsiteX23" fmla="*/ 120841 w 174086"/>
                  <a:gd name="connsiteY23" fmla="*/ 0 h 29166"/>
                  <a:gd name="connsiteX24" fmla="*/ 116038 w 174086"/>
                  <a:gd name="connsiteY24" fmla="*/ 0 h 29166"/>
                  <a:gd name="connsiteX25" fmla="*/ 110122 w 174086"/>
                  <a:gd name="connsiteY25" fmla="*/ 17043 h 29166"/>
                  <a:gd name="connsiteX26" fmla="*/ 106959 w 174086"/>
                  <a:gd name="connsiteY26" fmla="*/ 17043 h 29166"/>
                  <a:gd name="connsiteX27" fmla="*/ 100047 w 174086"/>
                  <a:gd name="connsiteY27" fmla="*/ 0 h 29166"/>
                  <a:gd name="connsiteX28" fmla="*/ 95185 w 174086"/>
                  <a:gd name="connsiteY28" fmla="*/ 0 h 29166"/>
                  <a:gd name="connsiteX29" fmla="*/ 89269 w 174086"/>
                  <a:gd name="connsiteY29" fmla="*/ 17043 h 29166"/>
                  <a:gd name="connsiteX30" fmla="*/ 85696 w 174086"/>
                  <a:gd name="connsiteY30" fmla="*/ 17043 h 29166"/>
                  <a:gd name="connsiteX31" fmla="*/ 78843 w 174086"/>
                  <a:gd name="connsiteY31" fmla="*/ 0 h 29166"/>
                  <a:gd name="connsiteX32" fmla="*/ 73981 w 174086"/>
                  <a:gd name="connsiteY32" fmla="*/ 0 h 29166"/>
                  <a:gd name="connsiteX33" fmla="*/ 68065 w 174086"/>
                  <a:gd name="connsiteY33" fmla="*/ 17043 h 29166"/>
                  <a:gd name="connsiteX34" fmla="*/ 63730 w 174086"/>
                  <a:gd name="connsiteY34" fmla="*/ 17043 h 29166"/>
                  <a:gd name="connsiteX35" fmla="*/ 56818 w 174086"/>
                  <a:gd name="connsiteY35" fmla="*/ 0 h 29166"/>
                  <a:gd name="connsiteX36" fmla="*/ 51957 w 174086"/>
                  <a:gd name="connsiteY36" fmla="*/ 0 h 29166"/>
                  <a:gd name="connsiteX37" fmla="*/ 46040 w 174086"/>
                  <a:gd name="connsiteY37" fmla="*/ 17043 h 29166"/>
                  <a:gd name="connsiteX38" fmla="*/ 42701 w 174086"/>
                  <a:gd name="connsiteY38" fmla="*/ 17043 h 29166"/>
                  <a:gd name="connsiteX39" fmla="*/ 35789 w 174086"/>
                  <a:gd name="connsiteY39" fmla="*/ 0 h 29166"/>
                  <a:gd name="connsiteX40" fmla="*/ 30928 w 174086"/>
                  <a:gd name="connsiteY40" fmla="*/ 0 h 29166"/>
                  <a:gd name="connsiteX41" fmla="*/ 25070 w 174086"/>
                  <a:gd name="connsiteY41" fmla="*/ 17043 h 29166"/>
                  <a:gd name="connsiteX42" fmla="*/ 21849 w 174086"/>
                  <a:gd name="connsiteY42" fmla="*/ 17043 h 29166"/>
                  <a:gd name="connsiteX43" fmla="*/ 14937 w 174086"/>
                  <a:gd name="connsiteY43" fmla="*/ 0 h 29166"/>
                  <a:gd name="connsiteX44" fmla="*/ 10133 w 174086"/>
                  <a:gd name="connsiteY44" fmla="*/ 0 h 29166"/>
                  <a:gd name="connsiteX45" fmla="*/ 0 w 174086"/>
                  <a:gd name="connsiteY45" fmla="*/ 29166 h 291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</a:cxnLst>
                <a:rect l="l" t="t" r="r" b="b"/>
                <a:pathLst>
                  <a:path w="174086" h="29166">
                    <a:moveTo>
                      <a:pt x="20853" y="29166"/>
                    </a:moveTo>
                    <a:lnTo>
                      <a:pt x="20853" y="29166"/>
                    </a:lnTo>
                    <a:lnTo>
                      <a:pt x="41882" y="29166"/>
                    </a:lnTo>
                    <a:lnTo>
                      <a:pt x="41882" y="29166"/>
                    </a:lnTo>
                    <a:lnTo>
                      <a:pt x="63847" y="29166"/>
                    </a:lnTo>
                    <a:lnTo>
                      <a:pt x="63847" y="29166"/>
                    </a:lnTo>
                    <a:lnTo>
                      <a:pt x="85110" y="29166"/>
                    </a:lnTo>
                    <a:lnTo>
                      <a:pt x="85110" y="29166"/>
                    </a:lnTo>
                    <a:lnTo>
                      <a:pt x="105905" y="29166"/>
                    </a:lnTo>
                    <a:lnTo>
                      <a:pt x="105905" y="29166"/>
                    </a:lnTo>
                    <a:lnTo>
                      <a:pt x="127109" y="29166"/>
                    </a:lnTo>
                    <a:lnTo>
                      <a:pt x="127109" y="29166"/>
                    </a:lnTo>
                    <a:lnTo>
                      <a:pt x="147376" y="29166"/>
                    </a:lnTo>
                    <a:lnTo>
                      <a:pt x="147376" y="29166"/>
                    </a:lnTo>
                    <a:lnTo>
                      <a:pt x="174087" y="29166"/>
                    </a:lnTo>
                    <a:lnTo>
                      <a:pt x="162313" y="0"/>
                    </a:lnTo>
                    <a:lnTo>
                      <a:pt x="157451" y="0"/>
                    </a:lnTo>
                    <a:lnTo>
                      <a:pt x="151535" y="17043"/>
                    </a:lnTo>
                    <a:lnTo>
                      <a:pt x="148958" y="17043"/>
                    </a:lnTo>
                    <a:lnTo>
                      <a:pt x="142104" y="0"/>
                    </a:lnTo>
                    <a:lnTo>
                      <a:pt x="137243" y="0"/>
                    </a:lnTo>
                    <a:lnTo>
                      <a:pt x="131327" y="17043"/>
                    </a:lnTo>
                    <a:lnTo>
                      <a:pt x="127753" y="17043"/>
                    </a:lnTo>
                    <a:lnTo>
                      <a:pt x="120841" y="0"/>
                    </a:lnTo>
                    <a:lnTo>
                      <a:pt x="116038" y="0"/>
                    </a:lnTo>
                    <a:lnTo>
                      <a:pt x="110122" y="17043"/>
                    </a:lnTo>
                    <a:lnTo>
                      <a:pt x="106959" y="17043"/>
                    </a:lnTo>
                    <a:lnTo>
                      <a:pt x="100047" y="0"/>
                    </a:lnTo>
                    <a:lnTo>
                      <a:pt x="95185" y="0"/>
                    </a:lnTo>
                    <a:lnTo>
                      <a:pt x="89269" y="17043"/>
                    </a:lnTo>
                    <a:lnTo>
                      <a:pt x="85696" y="17043"/>
                    </a:lnTo>
                    <a:lnTo>
                      <a:pt x="78843" y="0"/>
                    </a:lnTo>
                    <a:lnTo>
                      <a:pt x="73981" y="0"/>
                    </a:lnTo>
                    <a:lnTo>
                      <a:pt x="68065" y="17043"/>
                    </a:lnTo>
                    <a:lnTo>
                      <a:pt x="63730" y="17043"/>
                    </a:lnTo>
                    <a:lnTo>
                      <a:pt x="56818" y="0"/>
                    </a:lnTo>
                    <a:lnTo>
                      <a:pt x="51957" y="0"/>
                    </a:lnTo>
                    <a:lnTo>
                      <a:pt x="46040" y="17043"/>
                    </a:lnTo>
                    <a:lnTo>
                      <a:pt x="42701" y="17043"/>
                    </a:lnTo>
                    <a:lnTo>
                      <a:pt x="35789" y="0"/>
                    </a:lnTo>
                    <a:lnTo>
                      <a:pt x="30928" y="0"/>
                    </a:lnTo>
                    <a:lnTo>
                      <a:pt x="25070" y="17043"/>
                    </a:lnTo>
                    <a:lnTo>
                      <a:pt x="21849" y="17043"/>
                    </a:lnTo>
                    <a:lnTo>
                      <a:pt x="14937" y="0"/>
                    </a:lnTo>
                    <a:lnTo>
                      <a:pt x="10133" y="0"/>
                    </a:lnTo>
                    <a:lnTo>
                      <a:pt x="0" y="29166"/>
                    </a:lnTo>
                    <a:close/>
                  </a:path>
                </a:pathLst>
              </a:custGeom>
              <a:solidFill>
                <a:srgbClr val="623E23"/>
              </a:solidFill>
              <a:ln w="142" cap="flat">
                <a:solidFill>
                  <a:srgbClr val="593923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grpSp>
          <p:nvGrpSpPr>
            <p:cNvPr id="61" name="Graphic 2">
              <a:extLst>
                <a:ext uri="{FF2B5EF4-FFF2-40B4-BE49-F238E27FC236}">
                  <a16:creationId xmlns:a16="http://schemas.microsoft.com/office/drawing/2014/main" id="{5E1CEA7E-67FE-39DC-7E9C-82BBA2071274}"/>
                </a:ext>
              </a:extLst>
            </p:cNvPr>
            <p:cNvGrpSpPr/>
            <p:nvPr/>
          </p:nvGrpSpPr>
          <p:grpSpPr>
            <a:xfrm>
              <a:off x="6653730" y="1898947"/>
              <a:ext cx="154345" cy="351446"/>
              <a:chOff x="6653730" y="1898947"/>
              <a:chExt cx="154345" cy="351446"/>
            </a:xfrm>
          </p:grpSpPr>
          <p:grpSp>
            <p:nvGrpSpPr>
              <p:cNvPr id="62" name="Graphic 2">
                <a:extLst>
                  <a:ext uri="{FF2B5EF4-FFF2-40B4-BE49-F238E27FC236}">
                    <a16:creationId xmlns:a16="http://schemas.microsoft.com/office/drawing/2014/main" id="{93E47C72-9B40-E2A9-9B9F-C25FE7AB7C9A}"/>
                  </a:ext>
                </a:extLst>
              </p:cNvPr>
              <p:cNvGrpSpPr/>
              <p:nvPr/>
            </p:nvGrpSpPr>
            <p:grpSpPr>
              <a:xfrm>
                <a:off x="6741012" y="1900703"/>
                <a:ext cx="67063" cy="126030"/>
                <a:chOff x="6741012" y="1900703"/>
                <a:chExt cx="67063" cy="126030"/>
              </a:xfrm>
            </p:grpSpPr>
            <p:sp>
              <p:nvSpPr>
                <p:cNvPr id="93" name="Freeform 1003">
                  <a:extLst>
                    <a:ext uri="{FF2B5EF4-FFF2-40B4-BE49-F238E27FC236}">
                      <a16:creationId xmlns:a16="http://schemas.microsoft.com/office/drawing/2014/main" id="{D15ABD1E-D71D-4414-6CCD-A39E359B76C0}"/>
                    </a:ext>
                  </a:extLst>
                </p:cNvPr>
                <p:cNvSpPr/>
                <p:nvPr/>
              </p:nvSpPr>
              <p:spPr>
                <a:xfrm>
                  <a:off x="6778706" y="1900703"/>
                  <a:ext cx="29370" cy="78972"/>
                </a:xfrm>
                <a:custGeom>
                  <a:avLst/>
                  <a:gdLst>
                    <a:gd name="connsiteX0" fmla="*/ 5816 w 29370"/>
                    <a:gd name="connsiteY0" fmla="*/ 3034 h 78972"/>
                    <a:gd name="connsiteX1" fmla="*/ 5523 w 29370"/>
                    <a:gd name="connsiteY1" fmla="*/ 3561 h 78972"/>
                    <a:gd name="connsiteX2" fmla="*/ 5933 w 29370"/>
                    <a:gd name="connsiteY2" fmla="*/ 8364 h 78972"/>
                    <a:gd name="connsiteX3" fmla="*/ 5640 w 29370"/>
                    <a:gd name="connsiteY3" fmla="*/ 11233 h 78972"/>
                    <a:gd name="connsiteX4" fmla="*/ 8745 w 29370"/>
                    <a:gd name="connsiteY4" fmla="*/ 12873 h 78972"/>
                    <a:gd name="connsiteX5" fmla="*/ 12787 w 29370"/>
                    <a:gd name="connsiteY5" fmla="*/ 18261 h 78972"/>
                    <a:gd name="connsiteX6" fmla="*/ 16184 w 29370"/>
                    <a:gd name="connsiteY6" fmla="*/ 29740 h 78972"/>
                    <a:gd name="connsiteX7" fmla="*/ 17941 w 29370"/>
                    <a:gd name="connsiteY7" fmla="*/ 42098 h 78972"/>
                    <a:gd name="connsiteX8" fmla="*/ 11205 w 29370"/>
                    <a:gd name="connsiteY8" fmla="*/ 51996 h 78972"/>
                    <a:gd name="connsiteX9" fmla="*/ 4176 w 29370"/>
                    <a:gd name="connsiteY9" fmla="*/ 62362 h 78972"/>
                    <a:gd name="connsiteX10" fmla="*/ 251 w 29370"/>
                    <a:gd name="connsiteY10" fmla="*/ 70210 h 78972"/>
                    <a:gd name="connsiteX11" fmla="*/ 954 w 29370"/>
                    <a:gd name="connsiteY11" fmla="*/ 75305 h 78972"/>
                    <a:gd name="connsiteX12" fmla="*/ 3708 w 29370"/>
                    <a:gd name="connsiteY12" fmla="*/ 77297 h 78972"/>
                    <a:gd name="connsiteX13" fmla="*/ 9448 w 29370"/>
                    <a:gd name="connsiteY13" fmla="*/ 78937 h 78972"/>
                    <a:gd name="connsiteX14" fmla="*/ 15364 w 29370"/>
                    <a:gd name="connsiteY14" fmla="*/ 74661 h 78972"/>
                    <a:gd name="connsiteX15" fmla="*/ 24795 w 29370"/>
                    <a:gd name="connsiteY15" fmla="*/ 60664 h 78972"/>
                    <a:gd name="connsiteX16" fmla="*/ 29246 w 29370"/>
                    <a:gd name="connsiteY16" fmla="*/ 46783 h 78972"/>
                    <a:gd name="connsiteX17" fmla="*/ 21924 w 29370"/>
                    <a:gd name="connsiteY17" fmla="*/ 19550 h 78972"/>
                    <a:gd name="connsiteX18" fmla="*/ 18468 w 29370"/>
                    <a:gd name="connsiteY18" fmla="*/ 13049 h 78972"/>
                    <a:gd name="connsiteX19" fmla="*/ 18585 w 29370"/>
                    <a:gd name="connsiteY19" fmla="*/ 8656 h 78972"/>
                    <a:gd name="connsiteX20" fmla="*/ 17297 w 29370"/>
                    <a:gd name="connsiteY20" fmla="*/ 4030 h 78972"/>
                    <a:gd name="connsiteX21" fmla="*/ 10560 w 29370"/>
                    <a:gd name="connsiteY21" fmla="*/ 223 h 78972"/>
                    <a:gd name="connsiteX22" fmla="*/ 8920 w 29370"/>
                    <a:gd name="connsiteY22" fmla="*/ 47 h 78972"/>
                    <a:gd name="connsiteX23" fmla="*/ 6695 w 29370"/>
                    <a:gd name="connsiteY23" fmla="*/ 1687 h 78972"/>
                    <a:gd name="connsiteX24" fmla="*/ 5816 w 29370"/>
                    <a:gd name="connsiteY24" fmla="*/ 3034 h 789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</a:cxnLst>
                  <a:rect l="l" t="t" r="r" b="b"/>
                  <a:pathLst>
                    <a:path w="29370" h="78972">
                      <a:moveTo>
                        <a:pt x="5816" y="3034"/>
                      </a:moveTo>
                      <a:cubicBezTo>
                        <a:pt x="5699" y="3210"/>
                        <a:pt x="5581" y="3385"/>
                        <a:pt x="5523" y="3561"/>
                      </a:cubicBezTo>
                      <a:cubicBezTo>
                        <a:pt x="5055" y="5318"/>
                        <a:pt x="5874" y="6548"/>
                        <a:pt x="5933" y="8364"/>
                      </a:cubicBezTo>
                      <a:cubicBezTo>
                        <a:pt x="5933" y="9184"/>
                        <a:pt x="4234" y="10355"/>
                        <a:pt x="5640" y="11233"/>
                      </a:cubicBezTo>
                      <a:cubicBezTo>
                        <a:pt x="6167" y="11585"/>
                        <a:pt x="7632" y="12170"/>
                        <a:pt x="8745" y="12873"/>
                      </a:cubicBezTo>
                      <a:cubicBezTo>
                        <a:pt x="10444" y="13869"/>
                        <a:pt x="11908" y="16212"/>
                        <a:pt x="12787" y="18261"/>
                      </a:cubicBezTo>
                      <a:cubicBezTo>
                        <a:pt x="14309" y="21951"/>
                        <a:pt x="15423" y="25817"/>
                        <a:pt x="16184" y="29740"/>
                      </a:cubicBezTo>
                      <a:cubicBezTo>
                        <a:pt x="16887" y="33196"/>
                        <a:pt x="18527" y="38584"/>
                        <a:pt x="17941" y="42098"/>
                      </a:cubicBezTo>
                      <a:cubicBezTo>
                        <a:pt x="17356" y="45261"/>
                        <a:pt x="13138" y="49302"/>
                        <a:pt x="11205" y="51996"/>
                      </a:cubicBezTo>
                      <a:cubicBezTo>
                        <a:pt x="8803" y="55393"/>
                        <a:pt x="6460" y="58848"/>
                        <a:pt x="4176" y="62362"/>
                      </a:cubicBezTo>
                      <a:cubicBezTo>
                        <a:pt x="2536" y="64822"/>
                        <a:pt x="954" y="67340"/>
                        <a:pt x="251" y="70210"/>
                      </a:cubicBezTo>
                      <a:cubicBezTo>
                        <a:pt x="-159" y="71967"/>
                        <a:pt x="-159" y="73900"/>
                        <a:pt x="954" y="75305"/>
                      </a:cubicBezTo>
                      <a:cubicBezTo>
                        <a:pt x="1657" y="76243"/>
                        <a:pt x="2712" y="76770"/>
                        <a:pt x="3708" y="77297"/>
                      </a:cubicBezTo>
                      <a:cubicBezTo>
                        <a:pt x="5523" y="78234"/>
                        <a:pt x="7456" y="79171"/>
                        <a:pt x="9448" y="78937"/>
                      </a:cubicBezTo>
                      <a:cubicBezTo>
                        <a:pt x="11908" y="78644"/>
                        <a:pt x="13782" y="76594"/>
                        <a:pt x="15364" y="74661"/>
                      </a:cubicBezTo>
                      <a:cubicBezTo>
                        <a:pt x="18937" y="70269"/>
                        <a:pt x="22217" y="65642"/>
                        <a:pt x="24795" y="60664"/>
                      </a:cubicBezTo>
                      <a:cubicBezTo>
                        <a:pt x="26610" y="57091"/>
                        <a:pt x="30067" y="50825"/>
                        <a:pt x="29246" y="46783"/>
                      </a:cubicBezTo>
                      <a:cubicBezTo>
                        <a:pt x="27372" y="37588"/>
                        <a:pt x="24736" y="28569"/>
                        <a:pt x="21924" y="19550"/>
                      </a:cubicBezTo>
                      <a:cubicBezTo>
                        <a:pt x="21163" y="17090"/>
                        <a:pt x="19171" y="15333"/>
                        <a:pt x="18468" y="13049"/>
                      </a:cubicBezTo>
                      <a:cubicBezTo>
                        <a:pt x="18000" y="11585"/>
                        <a:pt x="18703" y="10121"/>
                        <a:pt x="18585" y="8656"/>
                      </a:cubicBezTo>
                      <a:cubicBezTo>
                        <a:pt x="18468" y="7192"/>
                        <a:pt x="17941" y="5318"/>
                        <a:pt x="17297" y="4030"/>
                      </a:cubicBezTo>
                      <a:cubicBezTo>
                        <a:pt x="16008" y="1453"/>
                        <a:pt x="13080" y="926"/>
                        <a:pt x="10560" y="223"/>
                      </a:cubicBezTo>
                      <a:cubicBezTo>
                        <a:pt x="9916" y="47"/>
                        <a:pt x="9506" y="-70"/>
                        <a:pt x="8920" y="47"/>
                      </a:cubicBezTo>
                      <a:cubicBezTo>
                        <a:pt x="7925" y="281"/>
                        <a:pt x="7339" y="984"/>
                        <a:pt x="6695" y="1687"/>
                      </a:cubicBezTo>
                      <a:cubicBezTo>
                        <a:pt x="6460" y="2156"/>
                        <a:pt x="6109" y="2566"/>
                        <a:pt x="5816" y="3034"/>
                      </a:cubicBezTo>
                      <a:close/>
                    </a:path>
                  </a:pathLst>
                </a:custGeom>
                <a:solidFill>
                  <a:srgbClr val="F3CFA3"/>
                </a:solidFill>
                <a:ln w="58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94" name="Freeform 1004">
                  <a:extLst>
                    <a:ext uri="{FF2B5EF4-FFF2-40B4-BE49-F238E27FC236}">
                      <a16:creationId xmlns:a16="http://schemas.microsoft.com/office/drawing/2014/main" id="{7B7CB050-3D5F-3E14-0A52-254C6CE42B13}"/>
                    </a:ext>
                  </a:extLst>
                </p:cNvPr>
                <p:cNvSpPr/>
                <p:nvPr/>
              </p:nvSpPr>
              <p:spPr>
                <a:xfrm>
                  <a:off x="6741012" y="1957720"/>
                  <a:ext cx="56938" cy="69012"/>
                </a:xfrm>
                <a:custGeom>
                  <a:avLst/>
                  <a:gdLst>
                    <a:gd name="connsiteX0" fmla="*/ 52354 w 56938"/>
                    <a:gd name="connsiteY0" fmla="*/ 10850 h 69012"/>
                    <a:gd name="connsiteX1" fmla="*/ 38179 w 56938"/>
                    <a:gd name="connsiteY1" fmla="*/ 542 h 69012"/>
                    <a:gd name="connsiteX2" fmla="*/ 32380 w 56938"/>
                    <a:gd name="connsiteY2" fmla="*/ 6750 h 69012"/>
                    <a:gd name="connsiteX3" fmla="*/ 24355 w 56938"/>
                    <a:gd name="connsiteY3" fmla="*/ 10323 h 69012"/>
                    <a:gd name="connsiteX4" fmla="*/ 105 w 56938"/>
                    <a:gd name="connsiteY4" fmla="*/ 15945 h 69012"/>
                    <a:gd name="connsiteX5" fmla="*/ 6431 w 56938"/>
                    <a:gd name="connsiteY5" fmla="*/ 32461 h 69012"/>
                    <a:gd name="connsiteX6" fmla="*/ 18497 w 56938"/>
                    <a:gd name="connsiteY6" fmla="*/ 66078 h 69012"/>
                    <a:gd name="connsiteX7" fmla="*/ 21544 w 56938"/>
                    <a:gd name="connsiteY7" fmla="*/ 69007 h 69012"/>
                    <a:gd name="connsiteX8" fmla="*/ 35309 w 56938"/>
                    <a:gd name="connsiteY8" fmla="*/ 44877 h 69012"/>
                    <a:gd name="connsiteX9" fmla="*/ 56747 w 56938"/>
                    <a:gd name="connsiteY9" fmla="*/ 16179 h 69012"/>
                    <a:gd name="connsiteX10" fmla="*/ 56923 w 56938"/>
                    <a:gd name="connsiteY10" fmla="*/ 15301 h 69012"/>
                    <a:gd name="connsiteX11" fmla="*/ 56220 w 56938"/>
                    <a:gd name="connsiteY11" fmla="*/ 14305 h 69012"/>
                    <a:gd name="connsiteX12" fmla="*/ 52354 w 56938"/>
                    <a:gd name="connsiteY12" fmla="*/ 10850 h 6901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</a:cxnLst>
                  <a:rect l="l" t="t" r="r" b="b"/>
                  <a:pathLst>
                    <a:path w="56938" h="69012">
                      <a:moveTo>
                        <a:pt x="52354" y="10850"/>
                      </a:moveTo>
                      <a:cubicBezTo>
                        <a:pt x="49367" y="8156"/>
                        <a:pt x="42045" y="-2503"/>
                        <a:pt x="38179" y="542"/>
                      </a:cubicBezTo>
                      <a:cubicBezTo>
                        <a:pt x="36012" y="2241"/>
                        <a:pt x="35133" y="5110"/>
                        <a:pt x="32380" y="6750"/>
                      </a:cubicBezTo>
                      <a:cubicBezTo>
                        <a:pt x="29861" y="8273"/>
                        <a:pt x="27050" y="9210"/>
                        <a:pt x="24355" y="10323"/>
                      </a:cubicBezTo>
                      <a:cubicBezTo>
                        <a:pt x="16682" y="13544"/>
                        <a:pt x="8422" y="15477"/>
                        <a:pt x="105" y="15945"/>
                      </a:cubicBezTo>
                      <a:cubicBezTo>
                        <a:pt x="-715" y="21919"/>
                        <a:pt x="3443" y="27249"/>
                        <a:pt x="6431" y="32461"/>
                      </a:cubicBezTo>
                      <a:cubicBezTo>
                        <a:pt x="12347" y="42827"/>
                        <a:pt x="14104" y="54951"/>
                        <a:pt x="18497" y="66078"/>
                      </a:cubicBezTo>
                      <a:cubicBezTo>
                        <a:pt x="19025" y="67484"/>
                        <a:pt x="20021" y="69124"/>
                        <a:pt x="21544" y="69007"/>
                      </a:cubicBezTo>
                      <a:cubicBezTo>
                        <a:pt x="24297" y="59929"/>
                        <a:pt x="27518" y="50207"/>
                        <a:pt x="35309" y="44877"/>
                      </a:cubicBezTo>
                      <a:cubicBezTo>
                        <a:pt x="44798" y="38376"/>
                        <a:pt x="52354" y="26956"/>
                        <a:pt x="56747" y="16179"/>
                      </a:cubicBezTo>
                      <a:cubicBezTo>
                        <a:pt x="56865" y="15887"/>
                        <a:pt x="56982" y="15594"/>
                        <a:pt x="56923" y="15301"/>
                      </a:cubicBezTo>
                      <a:cubicBezTo>
                        <a:pt x="56865" y="14891"/>
                        <a:pt x="56572" y="14598"/>
                        <a:pt x="56220" y="14305"/>
                      </a:cubicBezTo>
                      <a:cubicBezTo>
                        <a:pt x="54932" y="13193"/>
                        <a:pt x="53643" y="12021"/>
                        <a:pt x="52354" y="10850"/>
                      </a:cubicBezTo>
                      <a:close/>
                    </a:path>
                  </a:pathLst>
                </a:custGeom>
                <a:solidFill>
                  <a:srgbClr val="A52323"/>
                </a:solidFill>
                <a:ln w="58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</p:grpSp>
          <p:grpSp>
            <p:nvGrpSpPr>
              <p:cNvPr id="63" name="Graphic 2">
                <a:extLst>
                  <a:ext uri="{FF2B5EF4-FFF2-40B4-BE49-F238E27FC236}">
                    <a16:creationId xmlns:a16="http://schemas.microsoft.com/office/drawing/2014/main" id="{69999CEF-F4ED-62BB-8473-FFFDDC9C1D5D}"/>
                  </a:ext>
                </a:extLst>
              </p:cNvPr>
              <p:cNvGrpSpPr/>
              <p:nvPr/>
            </p:nvGrpSpPr>
            <p:grpSpPr>
              <a:xfrm>
                <a:off x="6660107" y="2074639"/>
                <a:ext cx="76158" cy="174758"/>
                <a:chOff x="6660107" y="2074639"/>
                <a:chExt cx="76158" cy="174758"/>
              </a:xfrm>
            </p:grpSpPr>
            <p:grpSp>
              <p:nvGrpSpPr>
                <p:cNvPr id="82" name="Graphic 2">
                  <a:extLst>
                    <a:ext uri="{FF2B5EF4-FFF2-40B4-BE49-F238E27FC236}">
                      <a16:creationId xmlns:a16="http://schemas.microsoft.com/office/drawing/2014/main" id="{9DCF8BFB-2189-8FDA-C645-7194AD8CF892}"/>
                    </a:ext>
                  </a:extLst>
                </p:cNvPr>
                <p:cNvGrpSpPr/>
                <p:nvPr/>
              </p:nvGrpSpPr>
              <p:grpSpPr>
                <a:xfrm>
                  <a:off x="6660107" y="2160295"/>
                  <a:ext cx="47798" cy="89103"/>
                  <a:chOff x="6660107" y="2160295"/>
                  <a:chExt cx="47798" cy="89103"/>
                </a:xfrm>
              </p:grpSpPr>
              <p:sp>
                <p:nvSpPr>
                  <p:cNvPr id="91" name="Freeform 1007">
                    <a:extLst>
                      <a:ext uri="{FF2B5EF4-FFF2-40B4-BE49-F238E27FC236}">
                        <a16:creationId xmlns:a16="http://schemas.microsoft.com/office/drawing/2014/main" id="{25C60B5E-6FB9-9920-AB0E-E15360AA5836}"/>
                      </a:ext>
                    </a:extLst>
                  </p:cNvPr>
                  <p:cNvSpPr/>
                  <p:nvPr/>
                </p:nvSpPr>
                <p:spPr>
                  <a:xfrm>
                    <a:off x="6663352" y="2160295"/>
                    <a:ext cx="44552" cy="77187"/>
                  </a:xfrm>
                  <a:custGeom>
                    <a:avLst/>
                    <a:gdLst>
                      <a:gd name="connsiteX0" fmla="*/ 44553 w 44552"/>
                      <a:gd name="connsiteY0" fmla="*/ 9042 h 77187"/>
                      <a:gd name="connsiteX1" fmla="*/ 30260 w 44552"/>
                      <a:gd name="connsiteY1" fmla="*/ 34402 h 77187"/>
                      <a:gd name="connsiteX2" fmla="*/ 10520 w 44552"/>
                      <a:gd name="connsiteY2" fmla="*/ 67902 h 77187"/>
                      <a:gd name="connsiteX3" fmla="*/ 6244 w 44552"/>
                      <a:gd name="connsiteY3" fmla="*/ 75867 h 77187"/>
                      <a:gd name="connsiteX4" fmla="*/ 621 w 44552"/>
                      <a:gd name="connsiteY4" fmla="*/ 74988 h 77187"/>
                      <a:gd name="connsiteX5" fmla="*/ 2554 w 44552"/>
                      <a:gd name="connsiteY5" fmla="*/ 64798 h 77187"/>
                      <a:gd name="connsiteX6" fmla="*/ 22528 w 44552"/>
                      <a:gd name="connsiteY6" fmla="*/ 726 h 77187"/>
                      <a:gd name="connsiteX7" fmla="*/ 22997 w 44552"/>
                      <a:gd name="connsiteY7" fmla="*/ 23 h 77187"/>
                      <a:gd name="connsiteX8" fmla="*/ 23700 w 44552"/>
                      <a:gd name="connsiteY8" fmla="*/ 140 h 77187"/>
                      <a:gd name="connsiteX9" fmla="*/ 44553 w 44552"/>
                      <a:gd name="connsiteY9" fmla="*/ 9042 h 771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</a:cxnLst>
                    <a:rect l="l" t="t" r="r" b="b"/>
                    <a:pathLst>
                      <a:path w="44552" h="77187">
                        <a:moveTo>
                          <a:pt x="44553" y="9042"/>
                        </a:moveTo>
                        <a:cubicBezTo>
                          <a:pt x="44553" y="9042"/>
                          <a:pt x="30260" y="34402"/>
                          <a:pt x="30260" y="34402"/>
                        </a:cubicBezTo>
                        <a:cubicBezTo>
                          <a:pt x="24403" y="45939"/>
                          <a:pt x="16378" y="56364"/>
                          <a:pt x="10520" y="67902"/>
                        </a:cubicBezTo>
                        <a:cubicBezTo>
                          <a:pt x="9173" y="70537"/>
                          <a:pt x="8353" y="73641"/>
                          <a:pt x="6244" y="75867"/>
                        </a:cubicBezTo>
                        <a:cubicBezTo>
                          <a:pt x="4253" y="78034"/>
                          <a:pt x="1968" y="77390"/>
                          <a:pt x="621" y="74988"/>
                        </a:cubicBezTo>
                        <a:cubicBezTo>
                          <a:pt x="-1195" y="71767"/>
                          <a:pt x="1441" y="68019"/>
                          <a:pt x="2554" y="64798"/>
                        </a:cubicBezTo>
                        <a:cubicBezTo>
                          <a:pt x="10169" y="43655"/>
                          <a:pt x="15616" y="22161"/>
                          <a:pt x="22528" y="726"/>
                        </a:cubicBezTo>
                        <a:cubicBezTo>
                          <a:pt x="22645" y="433"/>
                          <a:pt x="22763" y="140"/>
                          <a:pt x="22997" y="23"/>
                        </a:cubicBezTo>
                        <a:cubicBezTo>
                          <a:pt x="23231" y="-36"/>
                          <a:pt x="23466" y="23"/>
                          <a:pt x="23700" y="140"/>
                        </a:cubicBezTo>
                        <a:cubicBezTo>
                          <a:pt x="25691" y="960"/>
                          <a:pt x="44201" y="9569"/>
                          <a:pt x="44553" y="9042"/>
                        </a:cubicBezTo>
                        <a:close/>
                      </a:path>
                    </a:pathLst>
                  </a:custGeom>
                  <a:solidFill>
                    <a:srgbClr val="F3CFA3"/>
                  </a:solidFill>
                  <a:ln w="586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92" name="Freeform 1008">
                    <a:extLst>
                      <a:ext uri="{FF2B5EF4-FFF2-40B4-BE49-F238E27FC236}">
                        <a16:creationId xmlns:a16="http://schemas.microsoft.com/office/drawing/2014/main" id="{2EEFDB18-3449-DC51-7C8A-A545E6847BBA}"/>
                      </a:ext>
                    </a:extLst>
                  </p:cNvPr>
                  <p:cNvSpPr/>
                  <p:nvPr/>
                </p:nvSpPr>
                <p:spPr>
                  <a:xfrm>
                    <a:off x="6660107" y="2229778"/>
                    <a:ext cx="15171" cy="19619"/>
                  </a:xfrm>
                  <a:custGeom>
                    <a:avLst/>
                    <a:gdLst>
                      <a:gd name="connsiteX0" fmla="*/ 4100 w 15171"/>
                      <a:gd name="connsiteY0" fmla="*/ 0 h 19619"/>
                      <a:gd name="connsiteX1" fmla="*/ 0 w 15171"/>
                      <a:gd name="connsiteY1" fmla="*/ 3104 h 19619"/>
                      <a:gd name="connsiteX2" fmla="*/ 3515 w 15171"/>
                      <a:gd name="connsiteY2" fmla="*/ 14876 h 19619"/>
                      <a:gd name="connsiteX3" fmla="*/ 10485 w 15171"/>
                      <a:gd name="connsiteY3" fmla="*/ 19620 h 19619"/>
                      <a:gd name="connsiteX4" fmla="*/ 15171 w 15171"/>
                      <a:gd name="connsiteY4" fmla="*/ 17277 h 19619"/>
                      <a:gd name="connsiteX5" fmla="*/ 10720 w 15171"/>
                      <a:gd name="connsiteY5" fmla="*/ 2928 h 1961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15171" h="19619">
                        <a:moveTo>
                          <a:pt x="4100" y="0"/>
                        </a:moveTo>
                        <a:lnTo>
                          <a:pt x="0" y="3104"/>
                        </a:lnTo>
                        <a:lnTo>
                          <a:pt x="3515" y="14876"/>
                        </a:lnTo>
                        <a:lnTo>
                          <a:pt x="10485" y="19620"/>
                        </a:lnTo>
                        <a:lnTo>
                          <a:pt x="15171" y="17277"/>
                        </a:lnTo>
                        <a:lnTo>
                          <a:pt x="10720" y="2928"/>
                        </a:lnTo>
                        <a:close/>
                      </a:path>
                    </a:pathLst>
                  </a:custGeom>
                  <a:solidFill>
                    <a:srgbClr val="666666"/>
                  </a:solidFill>
                  <a:ln w="586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</p:grpSp>
            <p:sp>
              <p:nvSpPr>
                <p:cNvPr id="83" name="Freeform 1009">
                  <a:extLst>
                    <a:ext uri="{FF2B5EF4-FFF2-40B4-BE49-F238E27FC236}">
                      <a16:creationId xmlns:a16="http://schemas.microsoft.com/office/drawing/2014/main" id="{1C27DAA7-D580-396A-0C60-F9FC57BBA6F2}"/>
                    </a:ext>
                  </a:extLst>
                </p:cNvPr>
                <p:cNvSpPr/>
                <p:nvPr/>
              </p:nvSpPr>
              <p:spPr>
                <a:xfrm>
                  <a:off x="6663856" y="2074639"/>
                  <a:ext cx="72409" cy="157715"/>
                </a:xfrm>
                <a:custGeom>
                  <a:avLst/>
                  <a:gdLst>
                    <a:gd name="connsiteX0" fmla="*/ 51429 w 72409"/>
                    <a:gd name="connsiteY0" fmla="*/ 86967 h 157715"/>
                    <a:gd name="connsiteX1" fmla="*/ 66893 w 72409"/>
                    <a:gd name="connsiteY1" fmla="*/ 50655 h 157715"/>
                    <a:gd name="connsiteX2" fmla="*/ 71990 w 72409"/>
                    <a:gd name="connsiteY2" fmla="*/ 30625 h 157715"/>
                    <a:gd name="connsiteX3" fmla="*/ 70349 w 72409"/>
                    <a:gd name="connsiteY3" fmla="*/ 12235 h 157715"/>
                    <a:gd name="connsiteX4" fmla="*/ 69354 w 72409"/>
                    <a:gd name="connsiteY4" fmla="*/ 9600 h 157715"/>
                    <a:gd name="connsiteX5" fmla="*/ 67127 w 72409"/>
                    <a:gd name="connsiteY5" fmla="*/ 8311 h 157715"/>
                    <a:gd name="connsiteX6" fmla="*/ 30459 w 72409"/>
                    <a:gd name="connsiteY6" fmla="*/ 54 h 157715"/>
                    <a:gd name="connsiteX7" fmla="*/ 27648 w 72409"/>
                    <a:gd name="connsiteY7" fmla="*/ 405 h 157715"/>
                    <a:gd name="connsiteX8" fmla="*/ 25891 w 72409"/>
                    <a:gd name="connsiteY8" fmla="*/ 3450 h 157715"/>
                    <a:gd name="connsiteX9" fmla="*/ 18569 w 72409"/>
                    <a:gd name="connsiteY9" fmla="*/ 34257 h 157715"/>
                    <a:gd name="connsiteX10" fmla="*/ 18920 w 72409"/>
                    <a:gd name="connsiteY10" fmla="*/ 50421 h 157715"/>
                    <a:gd name="connsiteX11" fmla="*/ 19037 w 72409"/>
                    <a:gd name="connsiteY11" fmla="*/ 78884 h 157715"/>
                    <a:gd name="connsiteX12" fmla="*/ 0 w 72409"/>
                    <a:gd name="connsiteY12" fmla="*/ 147759 h 157715"/>
                    <a:gd name="connsiteX13" fmla="*/ 12184 w 72409"/>
                    <a:gd name="connsiteY13" fmla="*/ 157715 h 157715"/>
                    <a:gd name="connsiteX14" fmla="*/ 38718 w 72409"/>
                    <a:gd name="connsiteY14" fmla="*/ 110335 h 157715"/>
                    <a:gd name="connsiteX15" fmla="*/ 51429 w 72409"/>
                    <a:gd name="connsiteY15" fmla="*/ 86967 h 15771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</a:cxnLst>
                  <a:rect l="l" t="t" r="r" b="b"/>
                  <a:pathLst>
                    <a:path w="72409" h="157715">
                      <a:moveTo>
                        <a:pt x="51429" y="86967"/>
                      </a:moveTo>
                      <a:cubicBezTo>
                        <a:pt x="57287" y="75136"/>
                        <a:pt x="62852" y="63306"/>
                        <a:pt x="66893" y="50655"/>
                      </a:cubicBezTo>
                      <a:cubicBezTo>
                        <a:pt x="69002" y="44096"/>
                        <a:pt x="70642" y="37419"/>
                        <a:pt x="71990" y="30625"/>
                      </a:cubicBezTo>
                      <a:cubicBezTo>
                        <a:pt x="73220" y="24359"/>
                        <a:pt x="71462" y="18502"/>
                        <a:pt x="70349" y="12235"/>
                      </a:cubicBezTo>
                      <a:cubicBezTo>
                        <a:pt x="70173" y="11298"/>
                        <a:pt x="69998" y="10303"/>
                        <a:pt x="69354" y="9600"/>
                      </a:cubicBezTo>
                      <a:cubicBezTo>
                        <a:pt x="68768" y="8956"/>
                        <a:pt x="67948" y="8604"/>
                        <a:pt x="67127" y="8311"/>
                      </a:cubicBezTo>
                      <a:cubicBezTo>
                        <a:pt x="55354" y="3978"/>
                        <a:pt x="42936" y="1225"/>
                        <a:pt x="30459" y="54"/>
                      </a:cubicBezTo>
                      <a:cubicBezTo>
                        <a:pt x="29522" y="-5"/>
                        <a:pt x="28468" y="-122"/>
                        <a:pt x="27648" y="405"/>
                      </a:cubicBezTo>
                      <a:cubicBezTo>
                        <a:pt x="26594" y="1049"/>
                        <a:pt x="26242" y="2279"/>
                        <a:pt x="25891" y="3450"/>
                      </a:cubicBezTo>
                      <a:cubicBezTo>
                        <a:pt x="23313" y="13231"/>
                        <a:pt x="18861" y="24242"/>
                        <a:pt x="18569" y="34257"/>
                      </a:cubicBezTo>
                      <a:cubicBezTo>
                        <a:pt x="18393" y="39528"/>
                        <a:pt x="18861" y="45091"/>
                        <a:pt x="18920" y="50421"/>
                      </a:cubicBezTo>
                      <a:cubicBezTo>
                        <a:pt x="18979" y="59909"/>
                        <a:pt x="18979" y="69397"/>
                        <a:pt x="19037" y="78884"/>
                      </a:cubicBezTo>
                      <a:lnTo>
                        <a:pt x="0" y="147759"/>
                      </a:lnTo>
                      <a:cubicBezTo>
                        <a:pt x="0" y="147759"/>
                        <a:pt x="12184" y="157715"/>
                        <a:pt x="12184" y="157715"/>
                      </a:cubicBezTo>
                      <a:cubicBezTo>
                        <a:pt x="21029" y="141902"/>
                        <a:pt x="29874" y="126089"/>
                        <a:pt x="38718" y="110335"/>
                      </a:cubicBezTo>
                      <a:cubicBezTo>
                        <a:pt x="43111" y="102487"/>
                        <a:pt x="47388" y="94756"/>
                        <a:pt x="51429" y="86967"/>
                      </a:cubicBezTo>
                      <a:close/>
                    </a:path>
                  </a:pathLst>
                </a:custGeom>
                <a:solidFill>
                  <a:srgbClr val="2D6EAA"/>
                </a:solidFill>
                <a:ln w="58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</p:grpSp>
          <p:grpSp>
            <p:nvGrpSpPr>
              <p:cNvPr id="64" name="Graphic 2">
                <a:extLst>
                  <a:ext uri="{FF2B5EF4-FFF2-40B4-BE49-F238E27FC236}">
                    <a16:creationId xmlns:a16="http://schemas.microsoft.com/office/drawing/2014/main" id="{9DE221D6-0E9E-C157-2633-ADDF55F47680}"/>
                  </a:ext>
                </a:extLst>
              </p:cNvPr>
              <p:cNvGrpSpPr/>
              <p:nvPr/>
            </p:nvGrpSpPr>
            <p:grpSpPr>
              <a:xfrm>
                <a:off x="6712552" y="2081292"/>
                <a:ext cx="53296" cy="169101"/>
                <a:chOff x="6712552" y="2081292"/>
                <a:chExt cx="53296" cy="169101"/>
              </a:xfrm>
            </p:grpSpPr>
            <p:grpSp>
              <p:nvGrpSpPr>
                <p:cNvPr id="77" name="Graphic 2">
                  <a:extLst>
                    <a:ext uri="{FF2B5EF4-FFF2-40B4-BE49-F238E27FC236}">
                      <a16:creationId xmlns:a16="http://schemas.microsoft.com/office/drawing/2014/main" id="{8D74D0BE-80BC-EB13-DB00-DEBD4424AA55}"/>
                    </a:ext>
                  </a:extLst>
                </p:cNvPr>
                <p:cNvGrpSpPr/>
                <p:nvPr/>
              </p:nvGrpSpPr>
              <p:grpSpPr>
                <a:xfrm>
                  <a:off x="6738156" y="2162075"/>
                  <a:ext cx="25220" cy="88318"/>
                  <a:chOff x="6738156" y="2162075"/>
                  <a:chExt cx="25220" cy="88318"/>
                </a:xfrm>
              </p:grpSpPr>
              <p:sp>
                <p:nvSpPr>
                  <p:cNvPr id="79" name="Freeform 1012">
                    <a:extLst>
                      <a:ext uri="{FF2B5EF4-FFF2-40B4-BE49-F238E27FC236}">
                        <a16:creationId xmlns:a16="http://schemas.microsoft.com/office/drawing/2014/main" id="{6A27AF57-349C-36D9-F24D-0737B91A6581}"/>
                      </a:ext>
                    </a:extLst>
                  </p:cNvPr>
                  <p:cNvSpPr/>
                  <p:nvPr/>
                </p:nvSpPr>
                <p:spPr>
                  <a:xfrm>
                    <a:off x="6738156" y="2162075"/>
                    <a:ext cx="23521" cy="79072"/>
                  </a:xfrm>
                  <a:custGeom>
                    <a:avLst/>
                    <a:gdLst>
                      <a:gd name="connsiteX0" fmla="*/ 23521 w 23521"/>
                      <a:gd name="connsiteY0" fmla="*/ 0 h 79072"/>
                      <a:gd name="connsiteX1" fmla="*/ 20768 w 23521"/>
                      <a:gd name="connsiteY1" fmla="*/ 28991 h 79072"/>
                      <a:gd name="connsiteX2" fmla="*/ 16317 w 23521"/>
                      <a:gd name="connsiteY2" fmla="*/ 67586 h 79072"/>
                      <a:gd name="connsiteX3" fmla="*/ 15672 w 23521"/>
                      <a:gd name="connsiteY3" fmla="*/ 76605 h 79072"/>
                      <a:gd name="connsiteX4" fmla="*/ 10166 w 23521"/>
                      <a:gd name="connsiteY4" fmla="*/ 78070 h 79072"/>
                      <a:gd name="connsiteX5" fmla="*/ 7823 w 23521"/>
                      <a:gd name="connsiteY5" fmla="*/ 67996 h 79072"/>
                      <a:gd name="connsiteX6" fmla="*/ 33 w 23521"/>
                      <a:gd name="connsiteY6" fmla="*/ 1347 h 79072"/>
                      <a:gd name="connsiteX7" fmla="*/ 208 w 23521"/>
                      <a:gd name="connsiteY7" fmla="*/ 527 h 79072"/>
                      <a:gd name="connsiteX8" fmla="*/ 911 w 23521"/>
                      <a:gd name="connsiteY8" fmla="*/ 351 h 79072"/>
                      <a:gd name="connsiteX9" fmla="*/ 23521 w 23521"/>
                      <a:gd name="connsiteY9" fmla="*/ 0 h 7907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</a:cxnLst>
                    <a:rect l="l" t="t" r="r" b="b"/>
                    <a:pathLst>
                      <a:path w="23521" h="79072">
                        <a:moveTo>
                          <a:pt x="23521" y="0"/>
                        </a:moveTo>
                        <a:cubicBezTo>
                          <a:pt x="23521" y="0"/>
                          <a:pt x="20768" y="28991"/>
                          <a:pt x="20768" y="28991"/>
                        </a:cubicBezTo>
                        <a:cubicBezTo>
                          <a:pt x="20065" y="41875"/>
                          <a:pt x="17020" y="54701"/>
                          <a:pt x="16317" y="67586"/>
                        </a:cubicBezTo>
                        <a:cubicBezTo>
                          <a:pt x="16141" y="70573"/>
                          <a:pt x="16668" y="73736"/>
                          <a:pt x="15672" y="76605"/>
                        </a:cubicBezTo>
                        <a:cubicBezTo>
                          <a:pt x="14735" y="79417"/>
                          <a:pt x="12392" y="79709"/>
                          <a:pt x="10166" y="78070"/>
                        </a:cubicBezTo>
                        <a:cubicBezTo>
                          <a:pt x="7179" y="75844"/>
                          <a:pt x="8057" y="71334"/>
                          <a:pt x="7823" y="67996"/>
                        </a:cubicBezTo>
                        <a:cubicBezTo>
                          <a:pt x="6183" y="45565"/>
                          <a:pt x="2492" y="23720"/>
                          <a:pt x="33" y="1347"/>
                        </a:cubicBezTo>
                        <a:cubicBezTo>
                          <a:pt x="-26" y="1054"/>
                          <a:pt x="-26" y="703"/>
                          <a:pt x="208" y="527"/>
                        </a:cubicBezTo>
                        <a:cubicBezTo>
                          <a:pt x="384" y="351"/>
                          <a:pt x="619" y="351"/>
                          <a:pt x="911" y="351"/>
                        </a:cubicBezTo>
                        <a:cubicBezTo>
                          <a:pt x="3020" y="234"/>
                          <a:pt x="23463" y="644"/>
                          <a:pt x="23521" y="0"/>
                        </a:cubicBezTo>
                        <a:close/>
                      </a:path>
                    </a:pathLst>
                  </a:custGeom>
                  <a:solidFill>
                    <a:srgbClr val="F3CFA3"/>
                  </a:solidFill>
                  <a:ln w="586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80" name="Freeform 1013">
                    <a:extLst>
                      <a:ext uri="{FF2B5EF4-FFF2-40B4-BE49-F238E27FC236}">
                        <a16:creationId xmlns:a16="http://schemas.microsoft.com/office/drawing/2014/main" id="{A452E824-19D3-6AF3-498B-C5711C520D19}"/>
                      </a:ext>
                    </a:extLst>
                  </p:cNvPr>
                  <p:cNvSpPr/>
                  <p:nvPr/>
                </p:nvSpPr>
                <p:spPr>
                  <a:xfrm>
                    <a:off x="6743753" y="2234990"/>
                    <a:ext cx="19622" cy="15403"/>
                  </a:xfrm>
                  <a:custGeom>
                    <a:avLst/>
                    <a:gdLst>
                      <a:gd name="connsiteX0" fmla="*/ 2577 w 19622"/>
                      <a:gd name="connsiteY0" fmla="*/ 0 h 15403"/>
                      <a:gd name="connsiteX1" fmla="*/ 0 w 19622"/>
                      <a:gd name="connsiteY1" fmla="*/ 4568 h 15403"/>
                      <a:gd name="connsiteX2" fmla="*/ 8024 w 19622"/>
                      <a:gd name="connsiteY2" fmla="*/ 13880 h 15403"/>
                      <a:gd name="connsiteX3" fmla="*/ 16342 w 19622"/>
                      <a:gd name="connsiteY3" fmla="*/ 15403 h 15403"/>
                      <a:gd name="connsiteX4" fmla="*/ 19623 w 19622"/>
                      <a:gd name="connsiteY4" fmla="*/ 11362 h 15403"/>
                      <a:gd name="connsiteX5" fmla="*/ 9782 w 19622"/>
                      <a:gd name="connsiteY5" fmla="*/ 0 h 1540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19622" h="15403">
                        <a:moveTo>
                          <a:pt x="2577" y="0"/>
                        </a:moveTo>
                        <a:lnTo>
                          <a:pt x="0" y="4568"/>
                        </a:lnTo>
                        <a:lnTo>
                          <a:pt x="8024" y="13880"/>
                        </a:lnTo>
                        <a:lnTo>
                          <a:pt x="16342" y="15403"/>
                        </a:lnTo>
                        <a:lnTo>
                          <a:pt x="19623" y="11362"/>
                        </a:lnTo>
                        <a:lnTo>
                          <a:pt x="9782" y="0"/>
                        </a:lnTo>
                        <a:close/>
                      </a:path>
                    </a:pathLst>
                  </a:custGeom>
                  <a:solidFill>
                    <a:srgbClr val="666666"/>
                  </a:solidFill>
                  <a:ln w="586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</p:grpSp>
            <p:sp>
              <p:nvSpPr>
                <p:cNvPr id="78" name="Freeform 1014">
                  <a:extLst>
                    <a:ext uri="{FF2B5EF4-FFF2-40B4-BE49-F238E27FC236}">
                      <a16:creationId xmlns:a16="http://schemas.microsoft.com/office/drawing/2014/main" id="{BDD12B80-63F2-D3B5-D1A7-CEB6E42321C4}"/>
                    </a:ext>
                  </a:extLst>
                </p:cNvPr>
                <p:cNvSpPr/>
                <p:nvPr/>
              </p:nvSpPr>
              <p:spPr>
                <a:xfrm>
                  <a:off x="6712552" y="2081292"/>
                  <a:ext cx="53296" cy="151355"/>
                </a:xfrm>
                <a:custGeom>
                  <a:avLst/>
                  <a:gdLst>
                    <a:gd name="connsiteX0" fmla="*/ 52757 w 53296"/>
                    <a:gd name="connsiteY0" fmla="*/ 70709 h 151355"/>
                    <a:gd name="connsiteX1" fmla="*/ 49242 w 53296"/>
                    <a:gd name="connsiteY1" fmla="*/ 13255 h 151355"/>
                    <a:gd name="connsiteX2" fmla="*/ 46489 w 53296"/>
                    <a:gd name="connsiteY2" fmla="*/ 5817 h 151355"/>
                    <a:gd name="connsiteX3" fmla="*/ 26515 w 53296"/>
                    <a:gd name="connsiteY3" fmla="*/ 488 h 151355"/>
                    <a:gd name="connsiteX4" fmla="*/ 7243 w 53296"/>
                    <a:gd name="connsiteY4" fmla="*/ 5759 h 151355"/>
                    <a:gd name="connsiteX5" fmla="*/ 1151 w 53296"/>
                    <a:gd name="connsiteY5" fmla="*/ 34866 h 151355"/>
                    <a:gd name="connsiteX6" fmla="*/ 19895 w 53296"/>
                    <a:gd name="connsiteY6" fmla="*/ 76566 h 151355"/>
                    <a:gd name="connsiteX7" fmla="*/ 31084 w 53296"/>
                    <a:gd name="connsiteY7" fmla="*/ 151297 h 151355"/>
                    <a:gd name="connsiteX8" fmla="*/ 45610 w 53296"/>
                    <a:gd name="connsiteY8" fmla="*/ 151356 h 151355"/>
                    <a:gd name="connsiteX9" fmla="*/ 50648 w 53296"/>
                    <a:gd name="connsiteY9" fmla="*/ 97299 h 151355"/>
                    <a:gd name="connsiteX10" fmla="*/ 52757 w 53296"/>
                    <a:gd name="connsiteY10" fmla="*/ 70709 h 15135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53296" h="151355">
                      <a:moveTo>
                        <a:pt x="52757" y="70709"/>
                      </a:moveTo>
                      <a:cubicBezTo>
                        <a:pt x="53869" y="51616"/>
                        <a:pt x="53518" y="32816"/>
                        <a:pt x="49242" y="13255"/>
                      </a:cubicBezTo>
                      <a:cubicBezTo>
                        <a:pt x="48656" y="10678"/>
                        <a:pt x="48012" y="7984"/>
                        <a:pt x="46489" y="5817"/>
                      </a:cubicBezTo>
                      <a:cubicBezTo>
                        <a:pt x="42389" y="-215"/>
                        <a:pt x="33720" y="-625"/>
                        <a:pt x="26515" y="488"/>
                      </a:cubicBezTo>
                      <a:cubicBezTo>
                        <a:pt x="19895" y="1483"/>
                        <a:pt x="13452" y="3240"/>
                        <a:pt x="7243" y="5759"/>
                      </a:cubicBezTo>
                      <a:cubicBezTo>
                        <a:pt x="-3593" y="10093"/>
                        <a:pt x="858" y="25261"/>
                        <a:pt x="1151" y="34866"/>
                      </a:cubicBezTo>
                      <a:lnTo>
                        <a:pt x="19895" y="76566"/>
                      </a:lnTo>
                      <a:lnTo>
                        <a:pt x="31084" y="151297"/>
                      </a:lnTo>
                      <a:cubicBezTo>
                        <a:pt x="31084" y="151297"/>
                        <a:pt x="45610" y="151356"/>
                        <a:pt x="45610" y="151356"/>
                      </a:cubicBezTo>
                      <a:cubicBezTo>
                        <a:pt x="47309" y="133317"/>
                        <a:pt x="48949" y="115279"/>
                        <a:pt x="50648" y="97299"/>
                      </a:cubicBezTo>
                      <a:cubicBezTo>
                        <a:pt x="51468" y="88279"/>
                        <a:pt x="52229" y="79436"/>
                        <a:pt x="52757" y="70709"/>
                      </a:cubicBezTo>
                      <a:close/>
                    </a:path>
                  </a:pathLst>
                </a:custGeom>
                <a:solidFill>
                  <a:srgbClr val="2D6EAA"/>
                </a:solidFill>
                <a:ln w="58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</p:grpSp>
          <p:sp>
            <p:nvSpPr>
              <p:cNvPr id="65" name="Freeform 1015">
                <a:extLst>
                  <a:ext uri="{FF2B5EF4-FFF2-40B4-BE49-F238E27FC236}">
                    <a16:creationId xmlns:a16="http://schemas.microsoft.com/office/drawing/2014/main" id="{1C34E024-75E3-2ACB-3C7C-81EB04768A09}"/>
                  </a:ext>
                </a:extLst>
              </p:cNvPr>
              <p:cNvSpPr/>
              <p:nvPr/>
            </p:nvSpPr>
            <p:spPr>
              <a:xfrm>
                <a:off x="6681194" y="1973077"/>
                <a:ext cx="84683" cy="123346"/>
              </a:xfrm>
              <a:custGeom>
                <a:avLst/>
                <a:gdLst>
                  <a:gd name="connsiteX0" fmla="*/ 84408 w 84683"/>
                  <a:gd name="connsiteY0" fmla="*/ 57516 h 123346"/>
                  <a:gd name="connsiteX1" fmla="*/ 84349 w 84683"/>
                  <a:gd name="connsiteY1" fmla="*/ 56989 h 123346"/>
                  <a:gd name="connsiteX2" fmla="*/ 82709 w 84683"/>
                  <a:gd name="connsiteY2" fmla="*/ 25304 h 123346"/>
                  <a:gd name="connsiteX3" fmla="*/ 76734 w 84683"/>
                  <a:gd name="connsiteY3" fmla="*/ 10194 h 123346"/>
                  <a:gd name="connsiteX4" fmla="*/ 68533 w 84683"/>
                  <a:gd name="connsiteY4" fmla="*/ 706 h 123346"/>
                  <a:gd name="connsiteX5" fmla="*/ 56818 w 84683"/>
                  <a:gd name="connsiteY5" fmla="*/ 1760 h 123346"/>
                  <a:gd name="connsiteX6" fmla="*/ 49321 w 84683"/>
                  <a:gd name="connsiteY6" fmla="*/ 4161 h 123346"/>
                  <a:gd name="connsiteX7" fmla="*/ 33974 w 84683"/>
                  <a:gd name="connsiteY7" fmla="*/ 1350 h 123346"/>
                  <a:gd name="connsiteX8" fmla="*/ 29932 w 84683"/>
                  <a:gd name="connsiteY8" fmla="*/ 3 h 123346"/>
                  <a:gd name="connsiteX9" fmla="*/ 20678 w 84683"/>
                  <a:gd name="connsiteY9" fmla="*/ 7265 h 123346"/>
                  <a:gd name="connsiteX10" fmla="*/ 14058 w 84683"/>
                  <a:gd name="connsiteY10" fmla="*/ 17690 h 123346"/>
                  <a:gd name="connsiteX11" fmla="*/ 8728 w 84683"/>
                  <a:gd name="connsiteY11" fmla="*/ 63607 h 123346"/>
                  <a:gd name="connsiteX12" fmla="*/ 0 w 84683"/>
                  <a:gd name="connsiteY12" fmla="*/ 111339 h 123346"/>
                  <a:gd name="connsiteX13" fmla="*/ 77086 w 84683"/>
                  <a:gd name="connsiteY13" fmla="*/ 121002 h 123346"/>
                  <a:gd name="connsiteX14" fmla="*/ 80952 w 84683"/>
                  <a:gd name="connsiteY14" fmla="*/ 118952 h 123346"/>
                  <a:gd name="connsiteX15" fmla="*/ 81655 w 84683"/>
                  <a:gd name="connsiteY15" fmla="*/ 115848 h 123346"/>
                  <a:gd name="connsiteX16" fmla="*/ 83354 w 84683"/>
                  <a:gd name="connsiteY16" fmla="*/ 91016 h 123346"/>
                  <a:gd name="connsiteX17" fmla="*/ 84408 w 84683"/>
                  <a:gd name="connsiteY17" fmla="*/ 57516 h 123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84683" h="123346">
                    <a:moveTo>
                      <a:pt x="84408" y="57516"/>
                    </a:moveTo>
                    <a:cubicBezTo>
                      <a:pt x="84408" y="57340"/>
                      <a:pt x="84349" y="57164"/>
                      <a:pt x="84349" y="56989"/>
                    </a:cubicBezTo>
                    <a:cubicBezTo>
                      <a:pt x="82533" y="46505"/>
                      <a:pt x="84408" y="35787"/>
                      <a:pt x="82709" y="25304"/>
                    </a:cubicBezTo>
                    <a:cubicBezTo>
                      <a:pt x="81772" y="19623"/>
                      <a:pt x="79429" y="15172"/>
                      <a:pt x="76734" y="10194"/>
                    </a:cubicBezTo>
                    <a:cubicBezTo>
                      <a:pt x="74567" y="6211"/>
                      <a:pt x="73512" y="2170"/>
                      <a:pt x="68533" y="706"/>
                    </a:cubicBezTo>
                    <a:cubicBezTo>
                      <a:pt x="64668" y="-407"/>
                      <a:pt x="60567" y="413"/>
                      <a:pt x="56818" y="1760"/>
                    </a:cubicBezTo>
                    <a:cubicBezTo>
                      <a:pt x="54359" y="2639"/>
                      <a:pt x="51957" y="3810"/>
                      <a:pt x="49321" y="4161"/>
                    </a:cubicBezTo>
                    <a:cubicBezTo>
                      <a:pt x="44928" y="4806"/>
                      <a:pt x="38016" y="3341"/>
                      <a:pt x="33974" y="1350"/>
                    </a:cubicBezTo>
                    <a:cubicBezTo>
                      <a:pt x="32686" y="706"/>
                      <a:pt x="31338" y="-55"/>
                      <a:pt x="29932" y="3"/>
                    </a:cubicBezTo>
                    <a:cubicBezTo>
                      <a:pt x="26886" y="120"/>
                      <a:pt x="22552" y="5098"/>
                      <a:pt x="20678" y="7265"/>
                    </a:cubicBezTo>
                    <a:cubicBezTo>
                      <a:pt x="18042" y="10428"/>
                      <a:pt x="15992" y="14059"/>
                      <a:pt x="14058" y="17690"/>
                    </a:cubicBezTo>
                    <a:cubicBezTo>
                      <a:pt x="6795" y="31688"/>
                      <a:pt x="8201" y="48204"/>
                      <a:pt x="8728" y="63607"/>
                    </a:cubicBezTo>
                    <a:cubicBezTo>
                      <a:pt x="9255" y="79244"/>
                      <a:pt x="4159" y="96404"/>
                      <a:pt x="0" y="111339"/>
                    </a:cubicBezTo>
                    <a:cubicBezTo>
                      <a:pt x="24016" y="122759"/>
                      <a:pt x="51254" y="126156"/>
                      <a:pt x="77086" y="121002"/>
                    </a:cubicBezTo>
                    <a:cubicBezTo>
                      <a:pt x="78550" y="120709"/>
                      <a:pt x="80132" y="120299"/>
                      <a:pt x="80952" y="118952"/>
                    </a:cubicBezTo>
                    <a:cubicBezTo>
                      <a:pt x="81537" y="118074"/>
                      <a:pt x="81596" y="116961"/>
                      <a:pt x="81655" y="115848"/>
                    </a:cubicBezTo>
                    <a:cubicBezTo>
                      <a:pt x="82240" y="107590"/>
                      <a:pt x="82943" y="99274"/>
                      <a:pt x="83354" y="91016"/>
                    </a:cubicBezTo>
                    <a:cubicBezTo>
                      <a:pt x="83822" y="80122"/>
                      <a:pt x="85286" y="68526"/>
                      <a:pt x="84408" y="57516"/>
                    </a:cubicBezTo>
                    <a:close/>
                  </a:path>
                </a:pathLst>
              </a:custGeom>
              <a:solidFill>
                <a:srgbClr val="A52323"/>
              </a:solidFill>
              <a:ln w="5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grpSp>
            <p:nvGrpSpPr>
              <p:cNvPr id="66" name="Graphic 2">
                <a:extLst>
                  <a:ext uri="{FF2B5EF4-FFF2-40B4-BE49-F238E27FC236}">
                    <a16:creationId xmlns:a16="http://schemas.microsoft.com/office/drawing/2014/main" id="{E5924FAA-DC4A-46B1-4289-CC433263FC6D}"/>
                  </a:ext>
                </a:extLst>
              </p:cNvPr>
              <p:cNvGrpSpPr/>
              <p:nvPr/>
            </p:nvGrpSpPr>
            <p:grpSpPr>
              <a:xfrm>
                <a:off x="6707688" y="1926654"/>
                <a:ext cx="38941" cy="58000"/>
                <a:chOff x="6707688" y="1926654"/>
                <a:chExt cx="38941" cy="58000"/>
              </a:xfrm>
            </p:grpSpPr>
            <p:sp>
              <p:nvSpPr>
                <p:cNvPr id="71" name="Freeform 1017">
                  <a:extLst>
                    <a:ext uri="{FF2B5EF4-FFF2-40B4-BE49-F238E27FC236}">
                      <a16:creationId xmlns:a16="http://schemas.microsoft.com/office/drawing/2014/main" id="{97130C97-11E2-0279-9E1F-10E7B58B7090}"/>
                    </a:ext>
                  </a:extLst>
                </p:cNvPr>
                <p:cNvSpPr/>
                <p:nvPr/>
              </p:nvSpPr>
              <p:spPr>
                <a:xfrm>
                  <a:off x="6711026" y="1935138"/>
                  <a:ext cx="31907" cy="49516"/>
                </a:xfrm>
                <a:custGeom>
                  <a:avLst/>
                  <a:gdLst>
                    <a:gd name="connsiteX0" fmla="*/ 10117 w 31907"/>
                    <a:gd name="connsiteY0" fmla="*/ 44677 h 49516"/>
                    <a:gd name="connsiteX1" fmla="*/ 11055 w 31907"/>
                    <a:gd name="connsiteY1" fmla="*/ 48542 h 49516"/>
                    <a:gd name="connsiteX2" fmla="*/ 13163 w 31907"/>
                    <a:gd name="connsiteY2" fmla="*/ 49362 h 49516"/>
                    <a:gd name="connsiteX3" fmla="*/ 19079 w 31907"/>
                    <a:gd name="connsiteY3" fmla="*/ 48952 h 49516"/>
                    <a:gd name="connsiteX4" fmla="*/ 21246 w 31907"/>
                    <a:gd name="connsiteY4" fmla="*/ 47839 h 49516"/>
                    <a:gd name="connsiteX5" fmla="*/ 22008 w 31907"/>
                    <a:gd name="connsiteY5" fmla="*/ 45672 h 49516"/>
                    <a:gd name="connsiteX6" fmla="*/ 22418 w 31907"/>
                    <a:gd name="connsiteY6" fmla="*/ 42568 h 49516"/>
                    <a:gd name="connsiteX7" fmla="*/ 22886 w 31907"/>
                    <a:gd name="connsiteY7" fmla="*/ 35716 h 49516"/>
                    <a:gd name="connsiteX8" fmla="*/ 31380 w 31907"/>
                    <a:gd name="connsiteY8" fmla="*/ 30503 h 49516"/>
                    <a:gd name="connsiteX9" fmla="*/ 31790 w 31907"/>
                    <a:gd name="connsiteY9" fmla="*/ 26989 h 49516"/>
                    <a:gd name="connsiteX10" fmla="*/ 31907 w 31907"/>
                    <a:gd name="connsiteY10" fmla="*/ 12289 h 49516"/>
                    <a:gd name="connsiteX11" fmla="*/ 31321 w 31907"/>
                    <a:gd name="connsiteY11" fmla="*/ 7252 h 49516"/>
                    <a:gd name="connsiteX12" fmla="*/ 25171 w 31907"/>
                    <a:gd name="connsiteY12" fmla="*/ 1806 h 49516"/>
                    <a:gd name="connsiteX13" fmla="*/ 5138 w 31907"/>
                    <a:gd name="connsiteY13" fmla="*/ 3036 h 49516"/>
                    <a:gd name="connsiteX14" fmla="*/ 1155 w 31907"/>
                    <a:gd name="connsiteY14" fmla="*/ 7077 h 49516"/>
                    <a:gd name="connsiteX15" fmla="*/ 159 w 31907"/>
                    <a:gd name="connsiteY15" fmla="*/ 16213 h 49516"/>
                    <a:gd name="connsiteX16" fmla="*/ 745 w 31907"/>
                    <a:gd name="connsiteY16" fmla="*/ 24822 h 49516"/>
                    <a:gd name="connsiteX17" fmla="*/ 4025 w 31907"/>
                    <a:gd name="connsiteY17" fmla="*/ 33666 h 49516"/>
                    <a:gd name="connsiteX18" fmla="*/ 8301 w 31907"/>
                    <a:gd name="connsiteY18" fmla="*/ 35950 h 49516"/>
                    <a:gd name="connsiteX19" fmla="*/ 10000 w 31907"/>
                    <a:gd name="connsiteY19" fmla="*/ 43681 h 49516"/>
                    <a:gd name="connsiteX20" fmla="*/ 10117 w 31907"/>
                    <a:gd name="connsiteY20" fmla="*/ 44677 h 4951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</a:cxnLst>
                  <a:rect l="l" t="t" r="r" b="b"/>
                  <a:pathLst>
                    <a:path w="31907" h="49516">
                      <a:moveTo>
                        <a:pt x="10117" y="44677"/>
                      </a:moveTo>
                      <a:cubicBezTo>
                        <a:pt x="10117" y="46024"/>
                        <a:pt x="9883" y="47429"/>
                        <a:pt x="11055" y="48542"/>
                      </a:cubicBezTo>
                      <a:cubicBezTo>
                        <a:pt x="11640" y="49069"/>
                        <a:pt x="12402" y="49245"/>
                        <a:pt x="13163" y="49362"/>
                      </a:cubicBezTo>
                      <a:cubicBezTo>
                        <a:pt x="15155" y="49655"/>
                        <a:pt x="17146" y="49538"/>
                        <a:pt x="19079" y="48952"/>
                      </a:cubicBezTo>
                      <a:cubicBezTo>
                        <a:pt x="19841" y="48718"/>
                        <a:pt x="20661" y="48366"/>
                        <a:pt x="21246" y="47839"/>
                      </a:cubicBezTo>
                      <a:cubicBezTo>
                        <a:pt x="21949" y="47195"/>
                        <a:pt x="22008" y="46551"/>
                        <a:pt x="22008" y="45672"/>
                      </a:cubicBezTo>
                      <a:cubicBezTo>
                        <a:pt x="22067" y="44618"/>
                        <a:pt x="22242" y="43622"/>
                        <a:pt x="22418" y="42568"/>
                      </a:cubicBezTo>
                      <a:cubicBezTo>
                        <a:pt x="22711" y="40284"/>
                        <a:pt x="22828" y="38000"/>
                        <a:pt x="22886" y="35716"/>
                      </a:cubicBezTo>
                      <a:cubicBezTo>
                        <a:pt x="26284" y="35130"/>
                        <a:pt x="30267" y="34017"/>
                        <a:pt x="31380" y="30503"/>
                      </a:cubicBezTo>
                      <a:cubicBezTo>
                        <a:pt x="31732" y="29391"/>
                        <a:pt x="31732" y="28161"/>
                        <a:pt x="31790" y="26989"/>
                      </a:cubicBezTo>
                      <a:cubicBezTo>
                        <a:pt x="31849" y="22070"/>
                        <a:pt x="31849" y="17209"/>
                        <a:pt x="31907" y="12289"/>
                      </a:cubicBezTo>
                      <a:cubicBezTo>
                        <a:pt x="31907" y="10591"/>
                        <a:pt x="31907" y="8834"/>
                        <a:pt x="31321" y="7252"/>
                      </a:cubicBezTo>
                      <a:cubicBezTo>
                        <a:pt x="30326" y="4500"/>
                        <a:pt x="27690" y="2860"/>
                        <a:pt x="25171" y="1806"/>
                      </a:cubicBezTo>
                      <a:cubicBezTo>
                        <a:pt x="18669" y="-830"/>
                        <a:pt x="11113" y="-713"/>
                        <a:pt x="5138" y="3036"/>
                      </a:cubicBezTo>
                      <a:cubicBezTo>
                        <a:pt x="3556" y="4031"/>
                        <a:pt x="2034" y="5320"/>
                        <a:pt x="1155" y="7077"/>
                      </a:cubicBezTo>
                      <a:cubicBezTo>
                        <a:pt x="-251" y="9771"/>
                        <a:pt x="-75" y="13109"/>
                        <a:pt x="159" y="16213"/>
                      </a:cubicBezTo>
                      <a:cubicBezTo>
                        <a:pt x="335" y="19083"/>
                        <a:pt x="569" y="21953"/>
                        <a:pt x="745" y="24822"/>
                      </a:cubicBezTo>
                      <a:cubicBezTo>
                        <a:pt x="979" y="28102"/>
                        <a:pt x="1448" y="31909"/>
                        <a:pt x="4025" y="33666"/>
                      </a:cubicBezTo>
                      <a:cubicBezTo>
                        <a:pt x="5373" y="34603"/>
                        <a:pt x="7130" y="34779"/>
                        <a:pt x="8301" y="35950"/>
                      </a:cubicBezTo>
                      <a:cubicBezTo>
                        <a:pt x="10352" y="38059"/>
                        <a:pt x="9356" y="41163"/>
                        <a:pt x="10000" y="43681"/>
                      </a:cubicBezTo>
                      <a:cubicBezTo>
                        <a:pt x="10117" y="43915"/>
                        <a:pt x="10117" y="44267"/>
                        <a:pt x="10117" y="44677"/>
                      </a:cubicBezTo>
                      <a:close/>
                    </a:path>
                  </a:pathLst>
                </a:custGeom>
                <a:solidFill>
                  <a:srgbClr val="F3CFA3"/>
                </a:solidFill>
                <a:ln w="58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72" name="Freeform 1018">
                  <a:extLst>
                    <a:ext uri="{FF2B5EF4-FFF2-40B4-BE49-F238E27FC236}">
                      <a16:creationId xmlns:a16="http://schemas.microsoft.com/office/drawing/2014/main" id="{BE4D4037-F280-E647-4A8B-7418A1AA2AE1}"/>
                    </a:ext>
                  </a:extLst>
                </p:cNvPr>
                <p:cNvSpPr/>
                <p:nvPr/>
              </p:nvSpPr>
              <p:spPr>
                <a:xfrm>
                  <a:off x="6733168" y="1934462"/>
                  <a:ext cx="12518" cy="20821"/>
                </a:xfrm>
                <a:custGeom>
                  <a:avLst/>
                  <a:gdLst>
                    <a:gd name="connsiteX0" fmla="*/ 5606 w 12518"/>
                    <a:gd name="connsiteY0" fmla="*/ 7519 h 20821"/>
                    <a:gd name="connsiteX1" fmla="*/ 8183 w 12518"/>
                    <a:gd name="connsiteY1" fmla="*/ 17065 h 20821"/>
                    <a:gd name="connsiteX2" fmla="*/ 9004 w 12518"/>
                    <a:gd name="connsiteY2" fmla="*/ 19525 h 20821"/>
                    <a:gd name="connsiteX3" fmla="*/ 9707 w 12518"/>
                    <a:gd name="connsiteY3" fmla="*/ 20579 h 20821"/>
                    <a:gd name="connsiteX4" fmla="*/ 12343 w 12518"/>
                    <a:gd name="connsiteY4" fmla="*/ 16304 h 20821"/>
                    <a:gd name="connsiteX5" fmla="*/ 12343 w 12518"/>
                    <a:gd name="connsiteY5" fmla="*/ 9628 h 20821"/>
                    <a:gd name="connsiteX6" fmla="*/ 10526 w 12518"/>
                    <a:gd name="connsiteY6" fmla="*/ 4239 h 20821"/>
                    <a:gd name="connsiteX7" fmla="*/ 7773 w 12518"/>
                    <a:gd name="connsiteY7" fmla="*/ 2190 h 20821"/>
                    <a:gd name="connsiteX8" fmla="*/ 3263 w 12518"/>
                    <a:gd name="connsiteY8" fmla="*/ 140 h 20821"/>
                    <a:gd name="connsiteX9" fmla="*/ 1213 w 12518"/>
                    <a:gd name="connsiteY9" fmla="*/ 2600 h 20821"/>
                    <a:gd name="connsiteX10" fmla="*/ 5606 w 12518"/>
                    <a:gd name="connsiteY10" fmla="*/ 7519 h 2082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12518" h="20821">
                      <a:moveTo>
                        <a:pt x="5606" y="7519"/>
                      </a:moveTo>
                      <a:cubicBezTo>
                        <a:pt x="7246" y="10389"/>
                        <a:pt x="8066" y="13727"/>
                        <a:pt x="8183" y="17065"/>
                      </a:cubicBezTo>
                      <a:cubicBezTo>
                        <a:pt x="8242" y="17944"/>
                        <a:pt x="8301" y="18998"/>
                        <a:pt x="9004" y="19525"/>
                      </a:cubicBezTo>
                      <a:cubicBezTo>
                        <a:pt x="9765" y="20111"/>
                        <a:pt x="9121" y="21341"/>
                        <a:pt x="9707" y="20579"/>
                      </a:cubicBezTo>
                      <a:cubicBezTo>
                        <a:pt x="10292" y="19818"/>
                        <a:pt x="12284" y="17241"/>
                        <a:pt x="12343" y="16304"/>
                      </a:cubicBezTo>
                      <a:cubicBezTo>
                        <a:pt x="12577" y="14079"/>
                        <a:pt x="12577" y="11853"/>
                        <a:pt x="12343" y="9628"/>
                      </a:cubicBezTo>
                      <a:cubicBezTo>
                        <a:pt x="12166" y="7695"/>
                        <a:pt x="11757" y="5704"/>
                        <a:pt x="10526" y="4239"/>
                      </a:cubicBezTo>
                      <a:cubicBezTo>
                        <a:pt x="9765" y="3361"/>
                        <a:pt x="8769" y="2775"/>
                        <a:pt x="7773" y="2190"/>
                      </a:cubicBezTo>
                      <a:cubicBezTo>
                        <a:pt x="6368" y="1311"/>
                        <a:pt x="4903" y="433"/>
                        <a:pt x="3263" y="140"/>
                      </a:cubicBezTo>
                      <a:cubicBezTo>
                        <a:pt x="451" y="-387"/>
                        <a:pt x="-1306" y="608"/>
                        <a:pt x="1213" y="2600"/>
                      </a:cubicBezTo>
                      <a:cubicBezTo>
                        <a:pt x="2970" y="3947"/>
                        <a:pt x="4493" y="5528"/>
                        <a:pt x="5606" y="7519"/>
                      </a:cubicBezTo>
                      <a:close/>
                    </a:path>
                  </a:pathLst>
                </a:custGeom>
                <a:solidFill>
                  <a:srgbClr val="A3A3A3"/>
                </a:solidFill>
                <a:ln w="58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74" name="Freeform 1019">
                  <a:extLst>
                    <a:ext uri="{FF2B5EF4-FFF2-40B4-BE49-F238E27FC236}">
                      <a16:creationId xmlns:a16="http://schemas.microsoft.com/office/drawing/2014/main" id="{FBCE9DC4-96BC-C891-A154-FE0A4F49AA0A}"/>
                    </a:ext>
                  </a:extLst>
                </p:cNvPr>
                <p:cNvSpPr/>
                <p:nvPr/>
              </p:nvSpPr>
              <p:spPr>
                <a:xfrm>
                  <a:off x="6711084" y="1957646"/>
                  <a:ext cx="32949" cy="17252"/>
                </a:xfrm>
                <a:custGeom>
                  <a:avLst/>
                  <a:gdLst>
                    <a:gd name="connsiteX0" fmla="*/ 32904 w 32949"/>
                    <a:gd name="connsiteY0" fmla="*/ 2432 h 17252"/>
                    <a:gd name="connsiteX1" fmla="*/ 31088 w 32949"/>
                    <a:gd name="connsiteY1" fmla="*/ 558 h 17252"/>
                    <a:gd name="connsiteX2" fmla="*/ 30619 w 32949"/>
                    <a:gd name="connsiteY2" fmla="*/ 2198 h 17252"/>
                    <a:gd name="connsiteX3" fmla="*/ 30443 w 32949"/>
                    <a:gd name="connsiteY3" fmla="*/ 3955 h 17252"/>
                    <a:gd name="connsiteX4" fmla="*/ 27398 w 32949"/>
                    <a:gd name="connsiteY4" fmla="*/ 5770 h 17252"/>
                    <a:gd name="connsiteX5" fmla="*/ 25992 w 32949"/>
                    <a:gd name="connsiteY5" fmla="*/ 5419 h 17252"/>
                    <a:gd name="connsiteX6" fmla="*/ 24879 w 32949"/>
                    <a:gd name="connsiteY6" fmla="*/ 4423 h 17252"/>
                    <a:gd name="connsiteX7" fmla="*/ 22477 w 32949"/>
                    <a:gd name="connsiteY7" fmla="*/ 1670 h 17252"/>
                    <a:gd name="connsiteX8" fmla="*/ 16561 w 32949"/>
                    <a:gd name="connsiteY8" fmla="*/ 1026 h 17252"/>
                    <a:gd name="connsiteX9" fmla="*/ 10586 w 32949"/>
                    <a:gd name="connsiteY9" fmla="*/ 3369 h 17252"/>
                    <a:gd name="connsiteX10" fmla="*/ 10059 w 32949"/>
                    <a:gd name="connsiteY10" fmla="*/ 3779 h 17252"/>
                    <a:gd name="connsiteX11" fmla="*/ 8712 w 32949"/>
                    <a:gd name="connsiteY11" fmla="*/ 4716 h 17252"/>
                    <a:gd name="connsiteX12" fmla="*/ 3909 w 32949"/>
                    <a:gd name="connsiteY12" fmla="*/ 3193 h 17252"/>
                    <a:gd name="connsiteX13" fmla="*/ 2093 w 32949"/>
                    <a:gd name="connsiteY13" fmla="*/ 1495 h 17252"/>
                    <a:gd name="connsiteX14" fmla="*/ 511 w 32949"/>
                    <a:gd name="connsiteY14" fmla="*/ 2490 h 17252"/>
                    <a:gd name="connsiteX15" fmla="*/ 43 w 32949"/>
                    <a:gd name="connsiteY15" fmla="*/ 4482 h 17252"/>
                    <a:gd name="connsiteX16" fmla="*/ 1332 w 32949"/>
                    <a:gd name="connsiteY16" fmla="*/ 11861 h 17252"/>
                    <a:gd name="connsiteX17" fmla="*/ 12930 w 32949"/>
                    <a:gd name="connsiteY17" fmla="*/ 17249 h 17252"/>
                    <a:gd name="connsiteX18" fmla="*/ 18435 w 32949"/>
                    <a:gd name="connsiteY18" fmla="*/ 17132 h 17252"/>
                    <a:gd name="connsiteX19" fmla="*/ 28100 w 32949"/>
                    <a:gd name="connsiteY19" fmla="*/ 14965 h 17252"/>
                    <a:gd name="connsiteX20" fmla="*/ 32670 w 32949"/>
                    <a:gd name="connsiteY20" fmla="*/ 7293 h 17252"/>
                    <a:gd name="connsiteX21" fmla="*/ 32904 w 32949"/>
                    <a:gd name="connsiteY21" fmla="*/ 2432 h 17252"/>
                    <a:gd name="connsiteX22" fmla="*/ 20662 w 32949"/>
                    <a:gd name="connsiteY22" fmla="*/ 9343 h 17252"/>
                    <a:gd name="connsiteX23" fmla="*/ 14980 w 32949"/>
                    <a:gd name="connsiteY23" fmla="*/ 9987 h 17252"/>
                    <a:gd name="connsiteX24" fmla="*/ 15331 w 32949"/>
                    <a:gd name="connsiteY24" fmla="*/ 8581 h 17252"/>
                    <a:gd name="connsiteX25" fmla="*/ 19959 w 32949"/>
                    <a:gd name="connsiteY25" fmla="*/ 8054 h 17252"/>
                    <a:gd name="connsiteX26" fmla="*/ 20662 w 32949"/>
                    <a:gd name="connsiteY26" fmla="*/ 9343 h 1725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</a:cxnLst>
                  <a:rect l="l" t="t" r="r" b="b"/>
                  <a:pathLst>
                    <a:path w="32949" h="17252">
                      <a:moveTo>
                        <a:pt x="32904" y="2432"/>
                      </a:moveTo>
                      <a:cubicBezTo>
                        <a:pt x="32845" y="1495"/>
                        <a:pt x="32435" y="-1141"/>
                        <a:pt x="31088" y="558"/>
                      </a:cubicBezTo>
                      <a:cubicBezTo>
                        <a:pt x="30736" y="968"/>
                        <a:pt x="30619" y="1612"/>
                        <a:pt x="30619" y="2198"/>
                      </a:cubicBezTo>
                      <a:cubicBezTo>
                        <a:pt x="30619" y="2783"/>
                        <a:pt x="30619" y="3369"/>
                        <a:pt x="30443" y="3955"/>
                      </a:cubicBezTo>
                      <a:cubicBezTo>
                        <a:pt x="30034" y="5243"/>
                        <a:pt x="28628" y="5770"/>
                        <a:pt x="27398" y="5770"/>
                      </a:cubicBezTo>
                      <a:cubicBezTo>
                        <a:pt x="26929" y="5770"/>
                        <a:pt x="26402" y="5653"/>
                        <a:pt x="25992" y="5419"/>
                      </a:cubicBezTo>
                      <a:cubicBezTo>
                        <a:pt x="25582" y="5184"/>
                        <a:pt x="25230" y="4774"/>
                        <a:pt x="24879" y="4423"/>
                      </a:cubicBezTo>
                      <a:cubicBezTo>
                        <a:pt x="24059" y="3486"/>
                        <a:pt x="23298" y="2608"/>
                        <a:pt x="22477" y="1670"/>
                      </a:cubicBezTo>
                      <a:cubicBezTo>
                        <a:pt x="21130" y="89"/>
                        <a:pt x="18377" y="792"/>
                        <a:pt x="16561" y="1026"/>
                      </a:cubicBezTo>
                      <a:cubicBezTo>
                        <a:pt x="14452" y="1319"/>
                        <a:pt x="12285" y="1963"/>
                        <a:pt x="10586" y="3369"/>
                      </a:cubicBezTo>
                      <a:cubicBezTo>
                        <a:pt x="10411" y="3486"/>
                        <a:pt x="10235" y="3662"/>
                        <a:pt x="10059" y="3779"/>
                      </a:cubicBezTo>
                      <a:cubicBezTo>
                        <a:pt x="9649" y="4130"/>
                        <a:pt x="9239" y="4482"/>
                        <a:pt x="8712" y="4716"/>
                      </a:cubicBezTo>
                      <a:cubicBezTo>
                        <a:pt x="7072" y="5536"/>
                        <a:pt x="5022" y="4657"/>
                        <a:pt x="3909" y="3193"/>
                      </a:cubicBezTo>
                      <a:cubicBezTo>
                        <a:pt x="3382" y="2490"/>
                        <a:pt x="2913" y="1612"/>
                        <a:pt x="2093" y="1495"/>
                      </a:cubicBezTo>
                      <a:cubicBezTo>
                        <a:pt x="1448" y="1378"/>
                        <a:pt x="804" y="1846"/>
                        <a:pt x="511" y="2490"/>
                      </a:cubicBezTo>
                      <a:cubicBezTo>
                        <a:pt x="160" y="3076"/>
                        <a:pt x="101" y="3779"/>
                        <a:pt x="43" y="4482"/>
                      </a:cubicBezTo>
                      <a:cubicBezTo>
                        <a:pt x="-133" y="7000"/>
                        <a:pt x="218" y="9636"/>
                        <a:pt x="1332" y="11861"/>
                      </a:cubicBezTo>
                      <a:cubicBezTo>
                        <a:pt x="3733" y="16722"/>
                        <a:pt x="8302" y="17308"/>
                        <a:pt x="12930" y="17249"/>
                      </a:cubicBezTo>
                      <a:cubicBezTo>
                        <a:pt x="14745" y="17191"/>
                        <a:pt x="16561" y="17191"/>
                        <a:pt x="18435" y="17132"/>
                      </a:cubicBezTo>
                      <a:cubicBezTo>
                        <a:pt x="21774" y="17074"/>
                        <a:pt x="25289" y="16898"/>
                        <a:pt x="28100" y="14965"/>
                      </a:cubicBezTo>
                      <a:cubicBezTo>
                        <a:pt x="30561" y="13267"/>
                        <a:pt x="32084" y="10338"/>
                        <a:pt x="32670" y="7293"/>
                      </a:cubicBezTo>
                      <a:cubicBezTo>
                        <a:pt x="32904" y="5653"/>
                        <a:pt x="33021" y="4013"/>
                        <a:pt x="32904" y="2432"/>
                      </a:cubicBezTo>
                      <a:close/>
                      <a:moveTo>
                        <a:pt x="20662" y="9343"/>
                      </a:moveTo>
                      <a:cubicBezTo>
                        <a:pt x="18904" y="10514"/>
                        <a:pt x="16971" y="10573"/>
                        <a:pt x="14980" y="9987"/>
                      </a:cubicBezTo>
                      <a:cubicBezTo>
                        <a:pt x="14159" y="9753"/>
                        <a:pt x="14511" y="8347"/>
                        <a:pt x="15331" y="8581"/>
                      </a:cubicBezTo>
                      <a:cubicBezTo>
                        <a:pt x="16971" y="9050"/>
                        <a:pt x="18494" y="9050"/>
                        <a:pt x="19959" y="8054"/>
                      </a:cubicBezTo>
                      <a:cubicBezTo>
                        <a:pt x="20720" y="7586"/>
                        <a:pt x="21423" y="8816"/>
                        <a:pt x="20662" y="9343"/>
                      </a:cubicBezTo>
                      <a:close/>
                    </a:path>
                  </a:pathLst>
                </a:custGeom>
                <a:solidFill>
                  <a:srgbClr val="A3A3A3"/>
                </a:solidFill>
                <a:ln w="58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75" name="Freeform 1020">
                  <a:extLst>
                    <a:ext uri="{FF2B5EF4-FFF2-40B4-BE49-F238E27FC236}">
                      <a16:creationId xmlns:a16="http://schemas.microsoft.com/office/drawing/2014/main" id="{4F565D3E-D382-6048-D00D-28C406E0F65C}"/>
                    </a:ext>
                  </a:extLst>
                </p:cNvPr>
                <p:cNvSpPr/>
                <p:nvPr/>
              </p:nvSpPr>
              <p:spPr>
                <a:xfrm>
                  <a:off x="6707688" y="1926654"/>
                  <a:ext cx="38941" cy="31022"/>
                </a:xfrm>
                <a:custGeom>
                  <a:avLst/>
                  <a:gdLst>
                    <a:gd name="connsiteX0" fmla="*/ 37002 w 38941"/>
                    <a:gd name="connsiteY0" fmla="*/ 6835 h 31022"/>
                    <a:gd name="connsiteX1" fmla="*/ 37705 w 38941"/>
                    <a:gd name="connsiteY1" fmla="*/ 3204 h 31022"/>
                    <a:gd name="connsiteX2" fmla="*/ 34132 w 38941"/>
                    <a:gd name="connsiteY2" fmla="*/ 3497 h 31022"/>
                    <a:gd name="connsiteX3" fmla="*/ 34132 w 38941"/>
                    <a:gd name="connsiteY3" fmla="*/ 1388 h 31022"/>
                    <a:gd name="connsiteX4" fmla="*/ 25522 w 38941"/>
                    <a:gd name="connsiteY4" fmla="*/ 334 h 31022"/>
                    <a:gd name="connsiteX5" fmla="*/ 8535 w 38941"/>
                    <a:gd name="connsiteY5" fmla="*/ 2618 h 31022"/>
                    <a:gd name="connsiteX6" fmla="*/ 158 w 38941"/>
                    <a:gd name="connsiteY6" fmla="*/ 14917 h 31022"/>
                    <a:gd name="connsiteX7" fmla="*/ 4141 w 38941"/>
                    <a:gd name="connsiteY7" fmla="*/ 31023 h 31022"/>
                    <a:gd name="connsiteX8" fmla="*/ 3672 w 38941"/>
                    <a:gd name="connsiteY8" fmla="*/ 25108 h 31022"/>
                    <a:gd name="connsiteX9" fmla="*/ 4961 w 38941"/>
                    <a:gd name="connsiteY9" fmla="*/ 21418 h 31022"/>
                    <a:gd name="connsiteX10" fmla="*/ 10350 w 38941"/>
                    <a:gd name="connsiteY10" fmla="*/ 15737 h 31022"/>
                    <a:gd name="connsiteX11" fmla="*/ 22124 w 38941"/>
                    <a:gd name="connsiteY11" fmla="*/ 11754 h 31022"/>
                    <a:gd name="connsiteX12" fmla="*/ 34191 w 38941"/>
                    <a:gd name="connsiteY12" fmla="*/ 11754 h 31022"/>
                    <a:gd name="connsiteX13" fmla="*/ 37353 w 38941"/>
                    <a:gd name="connsiteY13" fmla="*/ 10876 h 31022"/>
                    <a:gd name="connsiteX14" fmla="*/ 38935 w 38941"/>
                    <a:gd name="connsiteY14" fmla="*/ 6835 h 31022"/>
                    <a:gd name="connsiteX15" fmla="*/ 37002 w 38941"/>
                    <a:gd name="connsiteY15" fmla="*/ 6835 h 310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</a:cxnLst>
                  <a:rect l="l" t="t" r="r" b="b"/>
                  <a:pathLst>
                    <a:path w="38941" h="31022">
                      <a:moveTo>
                        <a:pt x="37002" y="6835"/>
                      </a:moveTo>
                      <a:cubicBezTo>
                        <a:pt x="37353" y="5663"/>
                        <a:pt x="37588" y="4434"/>
                        <a:pt x="37705" y="3204"/>
                      </a:cubicBezTo>
                      <a:cubicBezTo>
                        <a:pt x="36592" y="3614"/>
                        <a:pt x="35362" y="3731"/>
                        <a:pt x="34132" y="3497"/>
                      </a:cubicBezTo>
                      <a:cubicBezTo>
                        <a:pt x="34132" y="2794"/>
                        <a:pt x="34132" y="2091"/>
                        <a:pt x="34132" y="1388"/>
                      </a:cubicBezTo>
                      <a:cubicBezTo>
                        <a:pt x="34132" y="802"/>
                        <a:pt x="26166" y="392"/>
                        <a:pt x="25522" y="334"/>
                      </a:cubicBezTo>
                      <a:cubicBezTo>
                        <a:pt x="19488" y="-135"/>
                        <a:pt x="13982" y="-603"/>
                        <a:pt x="8535" y="2618"/>
                      </a:cubicBezTo>
                      <a:cubicBezTo>
                        <a:pt x="3849" y="5371"/>
                        <a:pt x="861" y="9529"/>
                        <a:pt x="158" y="14917"/>
                      </a:cubicBezTo>
                      <a:cubicBezTo>
                        <a:pt x="-545" y="20071"/>
                        <a:pt x="1154" y="26748"/>
                        <a:pt x="4141" y="31023"/>
                      </a:cubicBezTo>
                      <a:cubicBezTo>
                        <a:pt x="4141" y="29676"/>
                        <a:pt x="3321" y="26455"/>
                        <a:pt x="3672" y="25108"/>
                      </a:cubicBezTo>
                      <a:cubicBezTo>
                        <a:pt x="3849" y="23819"/>
                        <a:pt x="4317" y="22531"/>
                        <a:pt x="4961" y="21418"/>
                      </a:cubicBezTo>
                      <a:cubicBezTo>
                        <a:pt x="6192" y="19075"/>
                        <a:pt x="8124" y="17143"/>
                        <a:pt x="10350" y="15737"/>
                      </a:cubicBezTo>
                      <a:cubicBezTo>
                        <a:pt x="13865" y="13511"/>
                        <a:pt x="18023" y="12340"/>
                        <a:pt x="22124" y="11754"/>
                      </a:cubicBezTo>
                      <a:cubicBezTo>
                        <a:pt x="25873" y="11227"/>
                        <a:pt x="30500" y="10759"/>
                        <a:pt x="34191" y="11754"/>
                      </a:cubicBezTo>
                      <a:cubicBezTo>
                        <a:pt x="35948" y="12223"/>
                        <a:pt x="36299" y="12691"/>
                        <a:pt x="37353" y="10876"/>
                      </a:cubicBezTo>
                      <a:cubicBezTo>
                        <a:pt x="37530" y="10583"/>
                        <a:pt x="39052" y="6835"/>
                        <a:pt x="38935" y="6835"/>
                      </a:cubicBezTo>
                      <a:cubicBezTo>
                        <a:pt x="38232" y="6835"/>
                        <a:pt x="37646" y="6835"/>
                        <a:pt x="37002" y="6835"/>
                      </a:cubicBezTo>
                      <a:close/>
                    </a:path>
                  </a:pathLst>
                </a:custGeom>
                <a:solidFill>
                  <a:srgbClr val="A3A3A3"/>
                </a:solidFill>
                <a:ln w="58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</p:grpSp>
          <p:grpSp>
            <p:nvGrpSpPr>
              <p:cNvPr id="67" name="Graphic 2">
                <a:extLst>
                  <a:ext uri="{FF2B5EF4-FFF2-40B4-BE49-F238E27FC236}">
                    <a16:creationId xmlns:a16="http://schemas.microsoft.com/office/drawing/2014/main" id="{B9772F2D-F183-7364-001A-C11445096C73}"/>
                  </a:ext>
                </a:extLst>
              </p:cNvPr>
              <p:cNvGrpSpPr/>
              <p:nvPr/>
            </p:nvGrpSpPr>
            <p:grpSpPr>
              <a:xfrm>
                <a:off x="6653730" y="1898947"/>
                <a:ext cx="66182" cy="129761"/>
                <a:chOff x="6653730" y="1898947"/>
                <a:chExt cx="66182" cy="129761"/>
              </a:xfrm>
            </p:grpSpPr>
            <p:sp>
              <p:nvSpPr>
                <p:cNvPr id="68" name="Freeform 1022">
                  <a:extLst>
                    <a:ext uri="{FF2B5EF4-FFF2-40B4-BE49-F238E27FC236}">
                      <a16:creationId xmlns:a16="http://schemas.microsoft.com/office/drawing/2014/main" id="{DED58A15-6129-E467-90B8-06AD308B67EB}"/>
                    </a:ext>
                  </a:extLst>
                </p:cNvPr>
                <p:cNvSpPr/>
                <p:nvPr/>
              </p:nvSpPr>
              <p:spPr>
                <a:xfrm>
                  <a:off x="6653730" y="1898947"/>
                  <a:ext cx="30766" cy="78885"/>
                </a:xfrm>
                <a:custGeom>
                  <a:avLst/>
                  <a:gdLst>
                    <a:gd name="connsiteX0" fmla="*/ 21137 w 30766"/>
                    <a:gd name="connsiteY0" fmla="*/ 2799 h 78885"/>
                    <a:gd name="connsiteX1" fmla="*/ 21430 w 30766"/>
                    <a:gd name="connsiteY1" fmla="*/ 3326 h 78885"/>
                    <a:gd name="connsiteX2" fmla="*/ 21313 w 30766"/>
                    <a:gd name="connsiteY2" fmla="*/ 8187 h 78885"/>
                    <a:gd name="connsiteX3" fmla="*/ 21723 w 30766"/>
                    <a:gd name="connsiteY3" fmla="*/ 11057 h 78885"/>
                    <a:gd name="connsiteX4" fmla="*/ 18736 w 30766"/>
                    <a:gd name="connsiteY4" fmla="*/ 12872 h 78885"/>
                    <a:gd name="connsiteX5" fmla="*/ 14987 w 30766"/>
                    <a:gd name="connsiteY5" fmla="*/ 18436 h 78885"/>
                    <a:gd name="connsiteX6" fmla="*/ 12234 w 30766"/>
                    <a:gd name="connsiteY6" fmla="*/ 30091 h 78885"/>
                    <a:gd name="connsiteX7" fmla="*/ 11180 w 30766"/>
                    <a:gd name="connsiteY7" fmla="*/ 42507 h 78885"/>
                    <a:gd name="connsiteX8" fmla="*/ 18443 w 30766"/>
                    <a:gd name="connsiteY8" fmla="*/ 51995 h 78885"/>
                    <a:gd name="connsiteX9" fmla="*/ 26058 w 30766"/>
                    <a:gd name="connsiteY9" fmla="*/ 61951 h 78885"/>
                    <a:gd name="connsiteX10" fmla="*/ 30392 w 30766"/>
                    <a:gd name="connsiteY10" fmla="*/ 69565 h 78885"/>
                    <a:gd name="connsiteX11" fmla="*/ 29983 w 30766"/>
                    <a:gd name="connsiteY11" fmla="*/ 74719 h 78885"/>
                    <a:gd name="connsiteX12" fmla="*/ 27347 w 30766"/>
                    <a:gd name="connsiteY12" fmla="*/ 76886 h 78885"/>
                    <a:gd name="connsiteX13" fmla="*/ 21665 w 30766"/>
                    <a:gd name="connsiteY13" fmla="*/ 78877 h 78885"/>
                    <a:gd name="connsiteX14" fmla="*/ 15514 w 30766"/>
                    <a:gd name="connsiteY14" fmla="*/ 74953 h 78885"/>
                    <a:gd name="connsiteX15" fmla="*/ 5322 w 30766"/>
                    <a:gd name="connsiteY15" fmla="*/ 61482 h 78885"/>
                    <a:gd name="connsiteX16" fmla="*/ 50 w 30766"/>
                    <a:gd name="connsiteY16" fmla="*/ 47895 h 78885"/>
                    <a:gd name="connsiteX17" fmla="*/ 5849 w 30766"/>
                    <a:gd name="connsiteY17" fmla="*/ 20310 h 78885"/>
                    <a:gd name="connsiteX18" fmla="*/ 8954 w 30766"/>
                    <a:gd name="connsiteY18" fmla="*/ 13633 h 78885"/>
                    <a:gd name="connsiteX19" fmla="*/ 8544 w 30766"/>
                    <a:gd name="connsiteY19" fmla="*/ 9241 h 78885"/>
                    <a:gd name="connsiteX20" fmla="*/ 9540 w 30766"/>
                    <a:gd name="connsiteY20" fmla="*/ 4497 h 78885"/>
                    <a:gd name="connsiteX21" fmla="*/ 16041 w 30766"/>
                    <a:gd name="connsiteY21" fmla="*/ 280 h 78885"/>
                    <a:gd name="connsiteX22" fmla="*/ 17682 w 30766"/>
                    <a:gd name="connsiteY22" fmla="*/ 46 h 78885"/>
                    <a:gd name="connsiteX23" fmla="*/ 20025 w 30766"/>
                    <a:gd name="connsiteY23" fmla="*/ 1569 h 78885"/>
                    <a:gd name="connsiteX24" fmla="*/ 21137 w 30766"/>
                    <a:gd name="connsiteY24" fmla="*/ 2799 h 7888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</a:cxnLst>
                  <a:rect l="l" t="t" r="r" b="b"/>
                  <a:pathLst>
                    <a:path w="30766" h="78885">
                      <a:moveTo>
                        <a:pt x="21137" y="2799"/>
                      </a:moveTo>
                      <a:cubicBezTo>
                        <a:pt x="21255" y="2974"/>
                        <a:pt x="21372" y="3150"/>
                        <a:pt x="21430" y="3326"/>
                      </a:cubicBezTo>
                      <a:cubicBezTo>
                        <a:pt x="22016" y="5083"/>
                        <a:pt x="21255" y="6313"/>
                        <a:pt x="21313" y="8187"/>
                      </a:cubicBezTo>
                      <a:cubicBezTo>
                        <a:pt x="21372" y="9007"/>
                        <a:pt x="23129" y="10061"/>
                        <a:pt x="21723" y="11057"/>
                      </a:cubicBezTo>
                      <a:cubicBezTo>
                        <a:pt x="21196" y="11408"/>
                        <a:pt x="19790" y="12111"/>
                        <a:pt x="18736" y="12872"/>
                      </a:cubicBezTo>
                      <a:cubicBezTo>
                        <a:pt x="17096" y="13985"/>
                        <a:pt x="15748" y="16386"/>
                        <a:pt x="14987" y="18436"/>
                      </a:cubicBezTo>
                      <a:cubicBezTo>
                        <a:pt x="13640" y="22184"/>
                        <a:pt x="12761" y="26108"/>
                        <a:pt x="12234" y="30091"/>
                      </a:cubicBezTo>
                      <a:cubicBezTo>
                        <a:pt x="11707" y="33605"/>
                        <a:pt x="10360" y="39051"/>
                        <a:pt x="11180" y="42507"/>
                      </a:cubicBezTo>
                      <a:cubicBezTo>
                        <a:pt x="11941" y="45669"/>
                        <a:pt x="16393" y="49418"/>
                        <a:pt x="18443" y="51995"/>
                      </a:cubicBezTo>
                      <a:cubicBezTo>
                        <a:pt x="21020" y="55274"/>
                        <a:pt x="23598" y="58554"/>
                        <a:pt x="26058" y="61951"/>
                      </a:cubicBezTo>
                      <a:cubicBezTo>
                        <a:pt x="27815" y="64294"/>
                        <a:pt x="29573" y="66753"/>
                        <a:pt x="30392" y="69565"/>
                      </a:cubicBezTo>
                      <a:cubicBezTo>
                        <a:pt x="30920" y="71263"/>
                        <a:pt x="30978" y="73254"/>
                        <a:pt x="29983" y="74719"/>
                      </a:cubicBezTo>
                      <a:cubicBezTo>
                        <a:pt x="29338" y="75656"/>
                        <a:pt x="28342" y="76300"/>
                        <a:pt x="27347" y="76886"/>
                      </a:cubicBezTo>
                      <a:cubicBezTo>
                        <a:pt x="25590" y="77940"/>
                        <a:pt x="23715" y="78994"/>
                        <a:pt x="21665" y="78877"/>
                      </a:cubicBezTo>
                      <a:cubicBezTo>
                        <a:pt x="19146" y="78701"/>
                        <a:pt x="17213" y="76768"/>
                        <a:pt x="15514" y="74953"/>
                      </a:cubicBezTo>
                      <a:cubicBezTo>
                        <a:pt x="11707" y="70795"/>
                        <a:pt x="8192" y="66344"/>
                        <a:pt x="5322" y="61482"/>
                      </a:cubicBezTo>
                      <a:cubicBezTo>
                        <a:pt x="3272" y="58027"/>
                        <a:pt x="-477" y="51995"/>
                        <a:pt x="50" y="47895"/>
                      </a:cubicBezTo>
                      <a:cubicBezTo>
                        <a:pt x="1339" y="38583"/>
                        <a:pt x="3506" y="29446"/>
                        <a:pt x="5849" y="20310"/>
                      </a:cubicBezTo>
                      <a:cubicBezTo>
                        <a:pt x="6494" y="17792"/>
                        <a:pt x="8368" y="15918"/>
                        <a:pt x="8954" y="13633"/>
                      </a:cubicBezTo>
                      <a:cubicBezTo>
                        <a:pt x="9305" y="12169"/>
                        <a:pt x="8544" y="10705"/>
                        <a:pt x="8544" y="9241"/>
                      </a:cubicBezTo>
                      <a:cubicBezTo>
                        <a:pt x="8603" y="7777"/>
                        <a:pt x="9012" y="5844"/>
                        <a:pt x="9540" y="4497"/>
                      </a:cubicBezTo>
                      <a:cubicBezTo>
                        <a:pt x="10653" y="1862"/>
                        <a:pt x="13582" y="1159"/>
                        <a:pt x="16041" y="280"/>
                      </a:cubicBezTo>
                      <a:cubicBezTo>
                        <a:pt x="16686" y="46"/>
                        <a:pt x="17096" y="-71"/>
                        <a:pt x="17682" y="46"/>
                      </a:cubicBezTo>
                      <a:cubicBezTo>
                        <a:pt x="18677" y="222"/>
                        <a:pt x="19322" y="866"/>
                        <a:pt x="20025" y="1569"/>
                      </a:cubicBezTo>
                      <a:cubicBezTo>
                        <a:pt x="20434" y="1862"/>
                        <a:pt x="20845" y="2330"/>
                        <a:pt x="21137" y="2799"/>
                      </a:cubicBezTo>
                      <a:close/>
                    </a:path>
                  </a:pathLst>
                </a:custGeom>
                <a:solidFill>
                  <a:srgbClr val="F3CFA3"/>
                </a:solidFill>
                <a:ln w="58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70" name="Freeform 1023">
                  <a:extLst>
                    <a:ext uri="{FF2B5EF4-FFF2-40B4-BE49-F238E27FC236}">
                      <a16:creationId xmlns:a16="http://schemas.microsoft.com/office/drawing/2014/main" id="{B4D043B9-DEFC-04E0-7A29-EF31B3CE620A}"/>
                    </a:ext>
                  </a:extLst>
                </p:cNvPr>
                <p:cNvSpPr/>
                <p:nvPr/>
              </p:nvSpPr>
              <p:spPr>
                <a:xfrm>
                  <a:off x="6665496" y="1954803"/>
                  <a:ext cx="54416" cy="73904"/>
                </a:xfrm>
                <a:custGeom>
                  <a:avLst/>
                  <a:gdLst>
                    <a:gd name="connsiteX0" fmla="*/ 4276 w 54416"/>
                    <a:gd name="connsiteY0" fmla="*/ 12127 h 73904"/>
                    <a:gd name="connsiteX1" fmla="*/ 10017 w 54416"/>
                    <a:gd name="connsiteY1" fmla="*/ 5392 h 73904"/>
                    <a:gd name="connsiteX2" fmla="*/ 15991 w 54416"/>
                    <a:gd name="connsiteY2" fmla="*/ 4 h 73904"/>
                    <a:gd name="connsiteX3" fmla="*/ 19623 w 54416"/>
                    <a:gd name="connsiteY3" fmla="*/ 1234 h 73904"/>
                    <a:gd name="connsiteX4" fmla="*/ 43053 w 54416"/>
                    <a:gd name="connsiteY4" fmla="*/ 15992 h 73904"/>
                    <a:gd name="connsiteX5" fmla="*/ 54417 w 54416"/>
                    <a:gd name="connsiteY5" fmla="*/ 22259 h 73904"/>
                    <a:gd name="connsiteX6" fmla="*/ 49496 w 54416"/>
                    <a:gd name="connsiteY6" fmla="*/ 33152 h 73904"/>
                    <a:gd name="connsiteX7" fmla="*/ 43698 w 54416"/>
                    <a:gd name="connsiteY7" fmla="*/ 47560 h 73904"/>
                    <a:gd name="connsiteX8" fmla="*/ 40593 w 54416"/>
                    <a:gd name="connsiteY8" fmla="*/ 56052 h 73904"/>
                    <a:gd name="connsiteX9" fmla="*/ 40769 w 54416"/>
                    <a:gd name="connsiteY9" fmla="*/ 59976 h 73904"/>
                    <a:gd name="connsiteX10" fmla="*/ 38484 w 54416"/>
                    <a:gd name="connsiteY10" fmla="*/ 64720 h 73904"/>
                    <a:gd name="connsiteX11" fmla="*/ 31748 w 54416"/>
                    <a:gd name="connsiteY11" fmla="*/ 71982 h 73904"/>
                    <a:gd name="connsiteX12" fmla="*/ 26418 w 54416"/>
                    <a:gd name="connsiteY12" fmla="*/ 73446 h 73904"/>
                    <a:gd name="connsiteX13" fmla="*/ 25246 w 54416"/>
                    <a:gd name="connsiteY13" fmla="*/ 68878 h 73904"/>
                    <a:gd name="connsiteX14" fmla="*/ 16987 w 54416"/>
                    <a:gd name="connsiteY14" fmla="*/ 40590 h 73904"/>
                    <a:gd name="connsiteX15" fmla="*/ 8260 w 54416"/>
                    <a:gd name="connsiteY15" fmla="*/ 30517 h 73904"/>
                    <a:gd name="connsiteX16" fmla="*/ 235 w 54416"/>
                    <a:gd name="connsiteY16" fmla="*/ 17691 h 73904"/>
                    <a:gd name="connsiteX17" fmla="*/ 0 w 54416"/>
                    <a:gd name="connsiteY17" fmla="*/ 16812 h 73904"/>
                    <a:gd name="connsiteX18" fmla="*/ 645 w 54416"/>
                    <a:gd name="connsiteY18" fmla="*/ 15758 h 73904"/>
                    <a:gd name="connsiteX19" fmla="*/ 4276 w 54416"/>
                    <a:gd name="connsiteY19" fmla="*/ 12127 h 7390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</a:cxnLst>
                  <a:rect l="l" t="t" r="r" b="b"/>
                  <a:pathLst>
                    <a:path w="54416" h="73904">
                      <a:moveTo>
                        <a:pt x="4276" y="12127"/>
                      </a:moveTo>
                      <a:cubicBezTo>
                        <a:pt x="6326" y="10019"/>
                        <a:pt x="7967" y="7559"/>
                        <a:pt x="10017" y="5392"/>
                      </a:cubicBezTo>
                      <a:cubicBezTo>
                        <a:pt x="11305" y="4045"/>
                        <a:pt x="14117" y="62"/>
                        <a:pt x="15991" y="4"/>
                      </a:cubicBezTo>
                      <a:cubicBezTo>
                        <a:pt x="17280" y="-55"/>
                        <a:pt x="18510" y="589"/>
                        <a:pt x="19623" y="1234"/>
                      </a:cubicBezTo>
                      <a:cubicBezTo>
                        <a:pt x="27648" y="5802"/>
                        <a:pt x="35438" y="10721"/>
                        <a:pt x="43053" y="15992"/>
                      </a:cubicBezTo>
                      <a:cubicBezTo>
                        <a:pt x="46627" y="18452"/>
                        <a:pt x="50258" y="21029"/>
                        <a:pt x="54417" y="22259"/>
                      </a:cubicBezTo>
                      <a:cubicBezTo>
                        <a:pt x="53363" y="26183"/>
                        <a:pt x="51020" y="29463"/>
                        <a:pt x="49496" y="33152"/>
                      </a:cubicBezTo>
                      <a:cubicBezTo>
                        <a:pt x="47564" y="37896"/>
                        <a:pt x="45279" y="42640"/>
                        <a:pt x="43698" y="47560"/>
                      </a:cubicBezTo>
                      <a:cubicBezTo>
                        <a:pt x="42819" y="50195"/>
                        <a:pt x="40769" y="53417"/>
                        <a:pt x="40593" y="56052"/>
                      </a:cubicBezTo>
                      <a:cubicBezTo>
                        <a:pt x="40476" y="57341"/>
                        <a:pt x="40886" y="58688"/>
                        <a:pt x="40769" y="59976"/>
                      </a:cubicBezTo>
                      <a:cubicBezTo>
                        <a:pt x="40593" y="61733"/>
                        <a:pt x="39539" y="63314"/>
                        <a:pt x="38484" y="64720"/>
                      </a:cubicBezTo>
                      <a:cubicBezTo>
                        <a:pt x="36493" y="67355"/>
                        <a:pt x="34208" y="69757"/>
                        <a:pt x="31748" y="71982"/>
                      </a:cubicBezTo>
                      <a:cubicBezTo>
                        <a:pt x="30284" y="73329"/>
                        <a:pt x="28058" y="74618"/>
                        <a:pt x="26418" y="73446"/>
                      </a:cubicBezTo>
                      <a:cubicBezTo>
                        <a:pt x="25070" y="72509"/>
                        <a:pt x="25129" y="70518"/>
                        <a:pt x="25246" y="68878"/>
                      </a:cubicBezTo>
                      <a:cubicBezTo>
                        <a:pt x="25891" y="58512"/>
                        <a:pt x="22318" y="49317"/>
                        <a:pt x="16987" y="40590"/>
                      </a:cubicBezTo>
                      <a:cubicBezTo>
                        <a:pt x="14644" y="36784"/>
                        <a:pt x="11071" y="34031"/>
                        <a:pt x="8260" y="30517"/>
                      </a:cubicBezTo>
                      <a:cubicBezTo>
                        <a:pt x="5096" y="26534"/>
                        <a:pt x="2460" y="22200"/>
                        <a:pt x="235" y="17691"/>
                      </a:cubicBezTo>
                      <a:cubicBezTo>
                        <a:pt x="117" y="17398"/>
                        <a:pt x="0" y="17164"/>
                        <a:pt x="0" y="16812"/>
                      </a:cubicBezTo>
                      <a:cubicBezTo>
                        <a:pt x="59" y="16402"/>
                        <a:pt x="352" y="16051"/>
                        <a:pt x="645" y="15758"/>
                      </a:cubicBezTo>
                      <a:cubicBezTo>
                        <a:pt x="1816" y="14645"/>
                        <a:pt x="3046" y="13415"/>
                        <a:pt x="4276" y="12127"/>
                      </a:cubicBezTo>
                      <a:close/>
                    </a:path>
                  </a:pathLst>
                </a:custGeom>
                <a:solidFill>
                  <a:srgbClr val="A52323"/>
                </a:solidFill>
                <a:ln w="58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</p:grpSp>
        </p:grpSp>
      </p:grpSp>
      <p:grpSp>
        <p:nvGrpSpPr>
          <p:cNvPr id="97" name="Graphic 2">
            <a:extLst>
              <a:ext uri="{FF2B5EF4-FFF2-40B4-BE49-F238E27FC236}">
                <a16:creationId xmlns:a16="http://schemas.microsoft.com/office/drawing/2014/main" id="{6296287D-D7FC-B9FF-9CBE-7C2F96C5F5B7}"/>
              </a:ext>
            </a:extLst>
          </p:cNvPr>
          <p:cNvGrpSpPr>
            <a:grpSpLocks noChangeAspect="1"/>
          </p:cNvGrpSpPr>
          <p:nvPr/>
        </p:nvGrpSpPr>
        <p:grpSpPr>
          <a:xfrm flipH="1">
            <a:off x="9954430" y="3655949"/>
            <a:ext cx="1061233" cy="2042552"/>
            <a:chOff x="804301" y="2374129"/>
            <a:chExt cx="246735" cy="434826"/>
          </a:xfrm>
        </p:grpSpPr>
        <p:grpSp>
          <p:nvGrpSpPr>
            <p:cNvPr id="98" name="Graphic 2">
              <a:extLst>
                <a:ext uri="{FF2B5EF4-FFF2-40B4-BE49-F238E27FC236}">
                  <a16:creationId xmlns:a16="http://schemas.microsoft.com/office/drawing/2014/main" id="{56D660AF-57F5-52E2-D596-FD39270223BD}"/>
                </a:ext>
              </a:extLst>
            </p:cNvPr>
            <p:cNvGrpSpPr/>
            <p:nvPr/>
          </p:nvGrpSpPr>
          <p:grpSpPr>
            <a:xfrm>
              <a:off x="804301" y="2374129"/>
              <a:ext cx="80482" cy="81130"/>
              <a:chOff x="804301" y="2374129"/>
              <a:chExt cx="80482" cy="81130"/>
            </a:xfrm>
          </p:grpSpPr>
          <p:sp>
            <p:nvSpPr>
              <p:cNvPr id="139" name="Freeform 1138">
                <a:extLst>
                  <a:ext uri="{FF2B5EF4-FFF2-40B4-BE49-F238E27FC236}">
                    <a16:creationId xmlns:a16="http://schemas.microsoft.com/office/drawing/2014/main" id="{75A1806A-B950-EDBE-4497-9BAE740ED929}"/>
                  </a:ext>
                </a:extLst>
              </p:cNvPr>
              <p:cNvSpPr/>
              <p:nvPr/>
            </p:nvSpPr>
            <p:spPr>
              <a:xfrm>
                <a:off x="804301" y="2374129"/>
                <a:ext cx="80482" cy="81130"/>
              </a:xfrm>
              <a:custGeom>
                <a:avLst/>
                <a:gdLst>
                  <a:gd name="connsiteX0" fmla="*/ 76676 w 80482"/>
                  <a:gd name="connsiteY0" fmla="*/ 57352 h 81130"/>
                  <a:gd name="connsiteX1" fmla="*/ 76910 w 80482"/>
                  <a:gd name="connsiteY1" fmla="*/ 56123 h 81130"/>
                  <a:gd name="connsiteX2" fmla="*/ 76968 w 80482"/>
                  <a:gd name="connsiteY2" fmla="*/ 55947 h 81130"/>
                  <a:gd name="connsiteX3" fmla="*/ 77027 w 80482"/>
                  <a:gd name="connsiteY3" fmla="*/ 55771 h 81130"/>
                  <a:gd name="connsiteX4" fmla="*/ 77788 w 80482"/>
                  <a:gd name="connsiteY4" fmla="*/ 54775 h 81130"/>
                  <a:gd name="connsiteX5" fmla="*/ 77906 w 80482"/>
                  <a:gd name="connsiteY5" fmla="*/ 53546 h 81130"/>
                  <a:gd name="connsiteX6" fmla="*/ 78023 w 80482"/>
                  <a:gd name="connsiteY6" fmla="*/ 53194 h 81130"/>
                  <a:gd name="connsiteX7" fmla="*/ 78667 w 80482"/>
                  <a:gd name="connsiteY7" fmla="*/ 52140 h 81130"/>
                  <a:gd name="connsiteX8" fmla="*/ 78726 w 80482"/>
                  <a:gd name="connsiteY8" fmla="*/ 50910 h 81130"/>
                  <a:gd name="connsiteX9" fmla="*/ 78843 w 80482"/>
                  <a:gd name="connsiteY9" fmla="*/ 50500 h 81130"/>
                  <a:gd name="connsiteX10" fmla="*/ 79429 w 80482"/>
                  <a:gd name="connsiteY10" fmla="*/ 49387 h 81130"/>
                  <a:gd name="connsiteX11" fmla="*/ 79429 w 80482"/>
                  <a:gd name="connsiteY11" fmla="*/ 48157 h 81130"/>
                  <a:gd name="connsiteX12" fmla="*/ 79487 w 80482"/>
                  <a:gd name="connsiteY12" fmla="*/ 47747 h 81130"/>
                  <a:gd name="connsiteX13" fmla="*/ 79956 w 80482"/>
                  <a:gd name="connsiteY13" fmla="*/ 46635 h 81130"/>
                  <a:gd name="connsiteX14" fmla="*/ 79839 w 80482"/>
                  <a:gd name="connsiteY14" fmla="*/ 45405 h 81130"/>
                  <a:gd name="connsiteX15" fmla="*/ 79897 w 80482"/>
                  <a:gd name="connsiteY15" fmla="*/ 44995 h 81130"/>
                  <a:gd name="connsiteX16" fmla="*/ 80307 w 80482"/>
                  <a:gd name="connsiteY16" fmla="*/ 43824 h 81130"/>
                  <a:gd name="connsiteX17" fmla="*/ 80131 w 80482"/>
                  <a:gd name="connsiteY17" fmla="*/ 42652 h 81130"/>
                  <a:gd name="connsiteX18" fmla="*/ 80131 w 80482"/>
                  <a:gd name="connsiteY18" fmla="*/ 42184 h 81130"/>
                  <a:gd name="connsiteX19" fmla="*/ 80483 w 80482"/>
                  <a:gd name="connsiteY19" fmla="*/ 41012 h 81130"/>
                  <a:gd name="connsiteX20" fmla="*/ 80190 w 80482"/>
                  <a:gd name="connsiteY20" fmla="*/ 39841 h 81130"/>
                  <a:gd name="connsiteX21" fmla="*/ 80190 w 80482"/>
                  <a:gd name="connsiteY21" fmla="*/ 39372 h 81130"/>
                  <a:gd name="connsiteX22" fmla="*/ 80424 w 80482"/>
                  <a:gd name="connsiteY22" fmla="*/ 38201 h 81130"/>
                  <a:gd name="connsiteX23" fmla="*/ 80073 w 80482"/>
                  <a:gd name="connsiteY23" fmla="*/ 37030 h 81130"/>
                  <a:gd name="connsiteX24" fmla="*/ 80014 w 80482"/>
                  <a:gd name="connsiteY24" fmla="*/ 36620 h 81130"/>
                  <a:gd name="connsiteX25" fmla="*/ 80190 w 80482"/>
                  <a:gd name="connsiteY25" fmla="*/ 35390 h 81130"/>
                  <a:gd name="connsiteX26" fmla="*/ 79780 w 80482"/>
                  <a:gd name="connsiteY26" fmla="*/ 34219 h 81130"/>
                  <a:gd name="connsiteX27" fmla="*/ 79721 w 80482"/>
                  <a:gd name="connsiteY27" fmla="*/ 33809 h 81130"/>
                  <a:gd name="connsiteX28" fmla="*/ 79780 w 80482"/>
                  <a:gd name="connsiteY28" fmla="*/ 32579 h 81130"/>
                  <a:gd name="connsiteX29" fmla="*/ 79253 w 80482"/>
                  <a:gd name="connsiteY29" fmla="*/ 31466 h 81130"/>
                  <a:gd name="connsiteX30" fmla="*/ 79136 w 80482"/>
                  <a:gd name="connsiteY30" fmla="*/ 31056 h 81130"/>
                  <a:gd name="connsiteX31" fmla="*/ 79136 w 80482"/>
                  <a:gd name="connsiteY31" fmla="*/ 29826 h 81130"/>
                  <a:gd name="connsiteX32" fmla="*/ 78550 w 80482"/>
                  <a:gd name="connsiteY32" fmla="*/ 28772 h 81130"/>
                  <a:gd name="connsiteX33" fmla="*/ 78433 w 80482"/>
                  <a:gd name="connsiteY33" fmla="*/ 28362 h 81130"/>
                  <a:gd name="connsiteX34" fmla="*/ 78316 w 80482"/>
                  <a:gd name="connsiteY34" fmla="*/ 27132 h 81130"/>
                  <a:gd name="connsiteX35" fmla="*/ 77671 w 80482"/>
                  <a:gd name="connsiteY35" fmla="*/ 26136 h 81130"/>
                  <a:gd name="connsiteX36" fmla="*/ 77496 w 80482"/>
                  <a:gd name="connsiteY36" fmla="*/ 25726 h 81130"/>
                  <a:gd name="connsiteX37" fmla="*/ 77320 w 80482"/>
                  <a:gd name="connsiteY37" fmla="*/ 24497 h 81130"/>
                  <a:gd name="connsiteX38" fmla="*/ 76558 w 80482"/>
                  <a:gd name="connsiteY38" fmla="*/ 23501 h 81130"/>
                  <a:gd name="connsiteX39" fmla="*/ 76383 w 80482"/>
                  <a:gd name="connsiteY39" fmla="*/ 23091 h 81130"/>
                  <a:gd name="connsiteX40" fmla="*/ 76090 w 80482"/>
                  <a:gd name="connsiteY40" fmla="*/ 21920 h 81130"/>
                  <a:gd name="connsiteX41" fmla="*/ 75328 w 80482"/>
                  <a:gd name="connsiteY41" fmla="*/ 20982 h 81130"/>
                  <a:gd name="connsiteX42" fmla="*/ 75094 w 80482"/>
                  <a:gd name="connsiteY42" fmla="*/ 20573 h 81130"/>
                  <a:gd name="connsiteX43" fmla="*/ 74742 w 80482"/>
                  <a:gd name="connsiteY43" fmla="*/ 19401 h 81130"/>
                  <a:gd name="connsiteX44" fmla="*/ 73922 w 80482"/>
                  <a:gd name="connsiteY44" fmla="*/ 18581 h 81130"/>
                  <a:gd name="connsiteX45" fmla="*/ 73688 w 80482"/>
                  <a:gd name="connsiteY45" fmla="*/ 18171 h 81130"/>
                  <a:gd name="connsiteX46" fmla="*/ 73278 w 80482"/>
                  <a:gd name="connsiteY46" fmla="*/ 17059 h 81130"/>
                  <a:gd name="connsiteX47" fmla="*/ 72399 w 80482"/>
                  <a:gd name="connsiteY47" fmla="*/ 16239 h 81130"/>
                  <a:gd name="connsiteX48" fmla="*/ 72107 w 80482"/>
                  <a:gd name="connsiteY48" fmla="*/ 15887 h 81130"/>
                  <a:gd name="connsiteX49" fmla="*/ 71579 w 80482"/>
                  <a:gd name="connsiteY49" fmla="*/ 14774 h 81130"/>
                  <a:gd name="connsiteX50" fmla="*/ 70642 w 80482"/>
                  <a:gd name="connsiteY50" fmla="*/ 14072 h 81130"/>
                  <a:gd name="connsiteX51" fmla="*/ 70349 w 80482"/>
                  <a:gd name="connsiteY51" fmla="*/ 13720 h 81130"/>
                  <a:gd name="connsiteX52" fmla="*/ 69764 w 80482"/>
                  <a:gd name="connsiteY52" fmla="*/ 12666 h 81130"/>
                  <a:gd name="connsiteX53" fmla="*/ 68885 w 80482"/>
                  <a:gd name="connsiteY53" fmla="*/ 12080 h 81130"/>
                  <a:gd name="connsiteX54" fmla="*/ 68768 w 80482"/>
                  <a:gd name="connsiteY54" fmla="*/ 12022 h 81130"/>
                  <a:gd name="connsiteX55" fmla="*/ 68416 w 80482"/>
                  <a:gd name="connsiteY55" fmla="*/ 11670 h 81130"/>
                  <a:gd name="connsiteX56" fmla="*/ 67772 w 80482"/>
                  <a:gd name="connsiteY56" fmla="*/ 10675 h 81130"/>
                  <a:gd name="connsiteX57" fmla="*/ 67011 w 80482"/>
                  <a:gd name="connsiteY57" fmla="*/ 10206 h 81130"/>
                  <a:gd name="connsiteX58" fmla="*/ 66718 w 80482"/>
                  <a:gd name="connsiteY58" fmla="*/ 10089 h 81130"/>
                  <a:gd name="connsiteX59" fmla="*/ 66366 w 80482"/>
                  <a:gd name="connsiteY59" fmla="*/ 9738 h 81130"/>
                  <a:gd name="connsiteX60" fmla="*/ 65663 w 80482"/>
                  <a:gd name="connsiteY60" fmla="*/ 8801 h 81130"/>
                  <a:gd name="connsiteX61" fmla="*/ 65078 w 80482"/>
                  <a:gd name="connsiteY61" fmla="*/ 8449 h 81130"/>
                  <a:gd name="connsiteX62" fmla="*/ 64609 w 80482"/>
                  <a:gd name="connsiteY62" fmla="*/ 8332 h 81130"/>
                  <a:gd name="connsiteX63" fmla="*/ 64199 w 80482"/>
                  <a:gd name="connsiteY63" fmla="*/ 8039 h 81130"/>
                  <a:gd name="connsiteX64" fmla="*/ 63437 w 80482"/>
                  <a:gd name="connsiteY64" fmla="*/ 7161 h 81130"/>
                  <a:gd name="connsiteX65" fmla="*/ 62969 w 80482"/>
                  <a:gd name="connsiteY65" fmla="*/ 6926 h 81130"/>
                  <a:gd name="connsiteX66" fmla="*/ 62324 w 80482"/>
                  <a:gd name="connsiteY66" fmla="*/ 6751 h 81130"/>
                  <a:gd name="connsiteX67" fmla="*/ 61914 w 80482"/>
                  <a:gd name="connsiteY67" fmla="*/ 6517 h 81130"/>
                  <a:gd name="connsiteX68" fmla="*/ 61094 w 80482"/>
                  <a:gd name="connsiteY68" fmla="*/ 5697 h 81130"/>
                  <a:gd name="connsiteX69" fmla="*/ 59981 w 80482"/>
                  <a:gd name="connsiteY69" fmla="*/ 5345 h 81130"/>
                  <a:gd name="connsiteX70" fmla="*/ 59571 w 80482"/>
                  <a:gd name="connsiteY70" fmla="*/ 5111 h 81130"/>
                  <a:gd name="connsiteX71" fmla="*/ 58693 w 80482"/>
                  <a:gd name="connsiteY71" fmla="*/ 4350 h 81130"/>
                  <a:gd name="connsiteX72" fmla="*/ 57521 w 80482"/>
                  <a:gd name="connsiteY72" fmla="*/ 4057 h 81130"/>
                  <a:gd name="connsiteX73" fmla="*/ 57111 w 80482"/>
                  <a:gd name="connsiteY73" fmla="*/ 3822 h 81130"/>
                  <a:gd name="connsiteX74" fmla="*/ 56174 w 80482"/>
                  <a:gd name="connsiteY74" fmla="*/ 3120 h 81130"/>
                  <a:gd name="connsiteX75" fmla="*/ 55003 w 80482"/>
                  <a:gd name="connsiteY75" fmla="*/ 2944 h 81130"/>
                  <a:gd name="connsiteX76" fmla="*/ 54534 w 80482"/>
                  <a:gd name="connsiteY76" fmla="*/ 2768 h 81130"/>
                  <a:gd name="connsiteX77" fmla="*/ 53714 w 80482"/>
                  <a:gd name="connsiteY77" fmla="*/ 2183 h 81130"/>
                  <a:gd name="connsiteX78" fmla="*/ 53538 w 80482"/>
                  <a:gd name="connsiteY78" fmla="*/ 2124 h 81130"/>
                  <a:gd name="connsiteX79" fmla="*/ 52367 w 80482"/>
                  <a:gd name="connsiteY79" fmla="*/ 2007 h 81130"/>
                  <a:gd name="connsiteX80" fmla="*/ 51898 w 80482"/>
                  <a:gd name="connsiteY80" fmla="*/ 1890 h 81130"/>
                  <a:gd name="connsiteX81" fmla="*/ 51195 w 80482"/>
                  <a:gd name="connsiteY81" fmla="*/ 1421 h 81130"/>
                  <a:gd name="connsiteX82" fmla="*/ 50844 w 80482"/>
                  <a:gd name="connsiteY82" fmla="*/ 1304 h 81130"/>
                  <a:gd name="connsiteX83" fmla="*/ 49672 w 80482"/>
                  <a:gd name="connsiteY83" fmla="*/ 1304 h 81130"/>
                  <a:gd name="connsiteX84" fmla="*/ 49204 w 80482"/>
                  <a:gd name="connsiteY84" fmla="*/ 1187 h 81130"/>
                  <a:gd name="connsiteX85" fmla="*/ 48618 w 80482"/>
                  <a:gd name="connsiteY85" fmla="*/ 836 h 81130"/>
                  <a:gd name="connsiteX86" fmla="*/ 48091 w 80482"/>
                  <a:gd name="connsiteY86" fmla="*/ 660 h 81130"/>
                  <a:gd name="connsiteX87" fmla="*/ 46919 w 80482"/>
                  <a:gd name="connsiteY87" fmla="*/ 718 h 81130"/>
                  <a:gd name="connsiteX88" fmla="*/ 46451 w 80482"/>
                  <a:gd name="connsiteY88" fmla="*/ 660 h 81130"/>
                  <a:gd name="connsiteX89" fmla="*/ 46040 w 80482"/>
                  <a:gd name="connsiteY89" fmla="*/ 426 h 81130"/>
                  <a:gd name="connsiteX90" fmla="*/ 45338 w 80482"/>
                  <a:gd name="connsiteY90" fmla="*/ 250 h 81130"/>
                  <a:gd name="connsiteX91" fmla="*/ 44166 w 80482"/>
                  <a:gd name="connsiteY91" fmla="*/ 367 h 81130"/>
                  <a:gd name="connsiteX92" fmla="*/ 43697 w 80482"/>
                  <a:gd name="connsiteY92" fmla="*/ 308 h 81130"/>
                  <a:gd name="connsiteX93" fmla="*/ 43405 w 80482"/>
                  <a:gd name="connsiteY93" fmla="*/ 191 h 81130"/>
                  <a:gd name="connsiteX94" fmla="*/ 42526 w 80482"/>
                  <a:gd name="connsiteY94" fmla="*/ 16 h 81130"/>
                  <a:gd name="connsiteX95" fmla="*/ 41354 w 80482"/>
                  <a:gd name="connsiteY95" fmla="*/ 250 h 81130"/>
                  <a:gd name="connsiteX96" fmla="*/ 40886 w 80482"/>
                  <a:gd name="connsiteY96" fmla="*/ 250 h 81130"/>
                  <a:gd name="connsiteX97" fmla="*/ 40769 w 80482"/>
                  <a:gd name="connsiteY97" fmla="*/ 191 h 81130"/>
                  <a:gd name="connsiteX98" fmla="*/ 39714 w 80482"/>
                  <a:gd name="connsiteY98" fmla="*/ 16 h 81130"/>
                  <a:gd name="connsiteX99" fmla="*/ 38601 w 80482"/>
                  <a:gd name="connsiteY99" fmla="*/ 308 h 81130"/>
                  <a:gd name="connsiteX100" fmla="*/ 38074 w 80482"/>
                  <a:gd name="connsiteY100" fmla="*/ 308 h 81130"/>
                  <a:gd name="connsiteX101" fmla="*/ 36903 w 80482"/>
                  <a:gd name="connsiteY101" fmla="*/ 133 h 81130"/>
                  <a:gd name="connsiteX102" fmla="*/ 35790 w 80482"/>
                  <a:gd name="connsiteY102" fmla="*/ 543 h 81130"/>
                  <a:gd name="connsiteX103" fmla="*/ 35321 w 80482"/>
                  <a:gd name="connsiteY103" fmla="*/ 601 h 81130"/>
                  <a:gd name="connsiteX104" fmla="*/ 34091 w 80482"/>
                  <a:gd name="connsiteY104" fmla="*/ 484 h 81130"/>
                  <a:gd name="connsiteX105" fmla="*/ 32978 w 80482"/>
                  <a:gd name="connsiteY105" fmla="*/ 953 h 81130"/>
                  <a:gd name="connsiteX106" fmla="*/ 32509 w 80482"/>
                  <a:gd name="connsiteY106" fmla="*/ 1070 h 81130"/>
                  <a:gd name="connsiteX107" fmla="*/ 31338 w 80482"/>
                  <a:gd name="connsiteY107" fmla="*/ 1070 h 81130"/>
                  <a:gd name="connsiteX108" fmla="*/ 30284 w 80482"/>
                  <a:gd name="connsiteY108" fmla="*/ 1597 h 81130"/>
                  <a:gd name="connsiteX109" fmla="*/ 29815 w 80482"/>
                  <a:gd name="connsiteY109" fmla="*/ 1714 h 81130"/>
                  <a:gd name="connsiteX110" fmla="*/ 28643 w 80482"/>
                  <a:gd name="connsiteY110" fmla="*/ 1773 h 81130"/>
                  <a:gd name="connsiteX111" fmla="*/ 27589 w 80482"/>
                  <a:gd name="connsiteY111" fmla="*/ 2417 h 81130"/>
                  <a:gd name="connsiteX112" fmla="*/ 27179 w 80482"/>
                  <a:gd name="connsiteY112" fmla="*/ 2534 h 81130"/>
                  <a:gd name="connsiteX113" fmla="*/ 25949 w 80482"/>
                  <a:gd name="connsiteY113" fmla="*/ 2710 h 81130"/>
                  <a:gd name="connsiteX114" fmla="*/ 24953 w 80482"/>
                  <a:gd name="connsiteY114" fmla="*/ 3412 h 81130"/>
                  <a:gd name="connsiteX115" fmla="*/ 24543 w 80482"/>
                  <a:gd name="connsiteY115" fmla="*/ 3588 h 81130"/>
                  <a:gd name="connsiteX116" fmla="*/ 23372 w 80482"/>
                  <a:gd name="connsiteY116" fmla="*/ 3822 h 81130"/>
                  <a:gd name="connsiteX117" fmla="*/ 22434 w 80482"/>
                  <a:gd name="connsiteY117" fmla="*/ 4584 h 81130"/>
                  <a:gd name="connsiteX118" fmla="*/ 22083 w 80482"/>
                  <a:gd name="connsiteY118" fmla="*/ 4760 h 81130"/>
                  <a:gd name="connsiteX119" fmla="*/ 20912 w 80482"/>
                  <a:gd name="connsiteY119" fmla="*/ 5052 h 81130"/>
                  <a:gd name="connsiteX120" fmla="*/ 20033 w 80482"/>
                  <a:gd name="connsiteY120" fmla="*/ 5872 h 81130"/>
                  <a:gd name="connsiteX121" fmla="*/ 19681 w 80482"/>
                  <a:gd name="connsiteY121" fmla="*/ 6107 h 81130"/>
                  <a:gd name="connsiteX122" fmla="*/ 18510 w 80482"/>
                  <a:gd name="connsiteY122" fmla="*/ 6517 h 81130"/>
                  <a:gd name="connsiteX123" fmla="*/ 17690 w 80482"/>
                  <a:gd name="connsiteY123" fmla="*/ 7395 h 81130"/>
                  <a:gd name="connsiteX124" fmla="*/ 17338 w 80482"/>
                  <a:gd name="connsiteY124" fmla="*/ 7629 h 81130"/>
                  <a:gd name="connsiteX125" fmla="*/ 16225 w 80482"/>
                  <a:gd name="connsiteY125" fmla="*/ 8098 h 81130"/>
                  <a:gd name="connsiteX126" fmla="*/ 15464 w 80482"/>
                  <a:gd name="connsiteY126" fmla="*/ 9035 h 81130"/>
                  <a:gd name="connsiteX127" fmla="*/ 15113 w 80482"/>
                  <a:gd name="connsiteY127" fmla="*/ 9328 h 81130"/>
                  <a:gd name="connsiteX128" fmla="*/ 14000 w 80482"/>
                  <a:gd name="connsiteY128" fmla="*/ 9913 h 81130"/>
                  <a:gd name="connsiteX129" fmla="*/ 13297 w 80482"/>
                  <a:gd name="connsiteY129" fmla="*/ 10909 h 81130"/>
                  <a:gd name="connsiteX130" fmla="*/ 12945 w 80482"/>
                  <a:gd name="connsiteY130" fmla="*/ 11202 h 81130"/>
                  <a:gd name="connsiteX131" fmla="*/ 11891 w 80482"/>
                  <a:gd name="connsiteY131" fmla="*/ 11846 h 81130"/>
                  <a:gd name="connsiteX132" fmla="*/ 11247 w 80482"/>
                  <a:gd name="connsiteY132" fmla="*/ 12900 h 81130"/>
                  <a:gd name="connsiteX133" fmla="*/ 10954 w 80482"/>
                  <a:gd name="connsiteY133" fmla="*/ 13252 h 81130"/>
                  <a:gd name="connsiteX134" fmla="*/ 9958 w 80482"/>
                  <a:gd name="connsiteY134" fmla="*/ 13954 h 81130"/>
                  <a:gd name="connsiteX135" fmla="*/ 9372 w 80482"/>
                  <a:gd name="connsiteY135" fmla="*/ 15067 h 81130"/>
                  <a:gd name="connsiteX136" fmla="*/ 9079 w 80482"/>
                  <a:gd name="connsiteY136" fmla="*/ 15419 h 81130"/>
                  <a:gd name="connsiteX137" fmla="*/ 8142 w 80482"/>
                  <a:gd name="connsiteY137" fmla="*/ 16180 h 81130"/>
                  <a:gd name="connsiteX138" fmla="*/ 7673 w 80482"/>
                  <a:gd name="connsiteY138" fmla="*/ 17293 h 81130"/>
                  <a:gd name="connsiteX139" fmla="*/ 7439 w 80482"/>
                  <a:gd name="connsiteY139" fmla="*/ 17644 h 81130"/>
                  <a:gd name="connsiteX140" fmla="*/ 6561 w 80482"/>
                  <a:gd name="connsiteY140" fmla="*/ 18464 h 81130"/>
                  <a:gd name="connsiteX141" fmla="*/ 6150 w 80482"/>
                  <a:gd name="connsiteY141" fmla="*/ 19635 h 81130"/>
                  <a:gd name="connsiteX142" fmla="*/ 5916 w 80482"/>
                  <a:gd name="connsiteY142" fmla="*/ 19987 h 81130"/>
                  <a:gd name="connsiteX143" fmla="*/ 5037 w 80482"/>
                  <a:gd name="connsiteY143" fmla="*/ 20924 h 81130"/>
                  <a:gd name="connsiteX144" fmla="*/ 4745 w 80482"/>
                  <a:gd name="connsiteY144" fmla="*/ 22154 h 81130"/>
                  <a:gd name="connsiteX145" fmla="*/ 4569 w 80482"/>
                  <a:gd name="connsiteY145" fmla="*/ 22505 h 81130"/>
                  <a:gd name="connsiteX146" fmla="*/ 3749 w 80482"/>
                  <a:gd name="connsiteY146" fmla="*/ 23501 h 81130"/>
                  <a:gd name="connsiteX147" fmla="*/ 3515 w 80482"/>
                  <a:gd name="connsiteY147" fmla="*/ 24731 h 81130"/>
                  <a:gd name="connsiteX148" fmla="*/ 3456 w 80482"/>
                  <a:gd name="connsiteY148" fmla="*/ 24906 h 81130"/>
                  <a:gd name="connsiteX149" fmla="*/ 3397 w 80482"/>
                  <a:gd name="connsiteY149" fmla="*/ 25082 h 81130"/>
                  <a:gd name="connsiteX150" fmla="*/ 2694 w 80482"/>
                  <a:gd name="connsiteY150" fmla="*/ 26078 h 81130"/>
                  <a:gd name="connsiteX151" fmla="*/ 2577 w 80482"/>
                  <a:gd name="connsiteY151" fmla="*/ 27308 h 81130"/>
                  <a:gd name="connsiteX152" fmla="*/ 2460 w 80482"/>
                  <a:gd name="connsiteY152" fmla="*/ 27659 h 81130"/>
                  <a:gd name="connsiteX153" fmla="*/ 1816 w 80482"/>
                  <a:gd name="connsiteY153" fmla="*/ 28713 h 81130"/>
                  <a:gd name="connsiteX154" fmla="*/ 1757 w 80482"/>
                  <a:gd name="connsiteY154" fmla="*/ 29943 h 81130"/>
                  <a:gd name="connsiteX155" fmla="*/ 1640 w 80482"/>
                  <a:gd name="connsiteY155" fmla="*/ 30295 h 81130"/>
                  <a:gd name="connsiteX156" fmla="*/ 1054 w 80482"/>
                  <a:gd name="connsiteY156" fmla="*/ 31407 h 81130"/>
                  <a:gd name="connsiteX157" fmla="*/ 1054 w 80482"/>
                  <a:gd name="connsiteY157" fmla="*/ 32637 h 81130"/>
                  <a:gd name="connsiteX158" fmla="*/ 996 w 80482"/>
                  <a:gd name="connsiteY158" fmla="*/ 33047 h 81130"/>
                  <a:gd name="connsiteX159" fmla="*/ 527 w 80482"/>
                  <a:gd name="connsiteY159" fmla="*/ 34160 h 81130"/>
                  <a:gd name="connsiteX160" fmla="*/ 644 w 80482"/>
                  <a:gd name="connsiteY160" fmla="*/ 35390 h 81130"/>
                  <a:gd name="connsiteX161" fmla="*/ 586 w 80482"/>
                  <a:gd name="connsiteY161" fmla="*/ 35800 h 81130"/>
                  <a:gd name="connsiteX162" fmla="*/ 176 w 80482"/>
                  <a:gd name="connsiteY162" fmla="*/ 36971 h 81130"/>
                  <a:gd name="connsiteX163" fmla="*/ 351 w 80482"/>
                  <a:gd name="connsiteY163" fmla="*/ 38201 h 81130"/>
                  <a:gd name="connsiteX164" fmla="*/ 351 w 80482"/>
                  <a:gd name="connsiteY164" fmla="*/ 38670 h 81130"/>
                  <a:gd name="connsiteX165" fmla="*/ 0 w 80482"/>
                  <a:gd name="connsiteY165" fmla="*/ 39841 h 81130"/>
                  <a:gd name="connsiteX166" fmla="*/ 293 w 80482"/>
                  <a:gd name="connsiteY166" fmla="*/ 41012 h 81130"/>
                  <a:gd name="connsiteX167" fmla="*/ 293 w 80482"/>
                  <a:gd name="connsiteY167" fmla="*/ 41481 h 81130"/>
                  <a:gd name="connsiteX168" fmla="*/ 59 w 80482"/>
                  <a:gd name="connsiteY168" fmla="*/ 42652 h 81130"/>
                  <a:gd name="connsiteX169" fmla="*/ 410 w 80482"/>
                  <a:gd name="connsiteY169" fmla="*/ 43824 h 81130"/>
                  <a:gd name="connsiteX170" fmla="*/ 469 w 80482"/>
                  <a:gd name="connsiteY170" fmla="*/ 44233 h 81130"/>
                  <a:gd name="connsiteX171" fmla="*/ 293 w 80482"/>
                  <a:gd name="connsiteY171" fmla="*/ 45463 h 81130"/>
                  <a:gd name="connsiteX172" fmla="*/ 703 w 80482"/>
                  <a:gd name="connsiteY172" fmla="*/ 46635 h 81130"/>
                  <a:gd name="connsiteX173" fmla="*/ 762 w 80482"/>
                  <a:gd name="connsiteY173" fmla="*/ 47045 h 81130"/>
                  <a:gd name="connsiteX174" fmla="*/ 703 w 80482"/>
                  <a:gd name="connsiteY174" fmla="*/ 48275 h 81130"/>
                  <a:gd name="connsiteX175" fmla="*/ 1230 w 80482"/>
                  <a:gd name="connsiteY175" fmla="*/ 49387 h 81130"/>
                  <a:gd name="connsiteX176" fmla="*/ 1347 w 80482"/>
                  <a:gd name="connsiteY176" fmla="*/ 49797 h 81130"/>
                  <a:gd name="connsiteX177" fmla="*/ 1347 w 80482"/>
                  <a:gd name="connsiteY177" fmla="*/ 51027 h 81130"/>
                  <a:gd name="connsiteX178" fmla="*/ 1933 w 80482"/>
                  <a:gd name="connsiteY178" fmla="*/ 52140 h 81130"/>
                  <a:gd name="connsiteX179" fmla="*/ 2050 w 80482"/>
                  <a:gd name="connsiteY179" fmla="*/ 52550 h 81130"/>
                  <a:gd name="connsiteX180" fmla="*/ 2167 w 80482"/>
                  <a:gd name="connsiteY180" fmla="*/ 53780 h 81130"/>
                  <a:gd name="connsiteX181" fmla="*/ 2812 w 80482"/>
                  <a:gd name="connsiteY181" fmla="*/ 54834 h 81130"/>
                  <a:gd name="connsiteX182" fmla="*/ 2987 w 80482"/>
                  <a:gd name="connsiteY182" fmla="*/ 55244 h 81130"/>
                  <a:gd name="connsiteX183" fmla="*/ 3163 w 80482"/>
                  <a:gd name="connsiteY183" fmla="*/ 56474 h 81130"/>
                  <a:gd name="connsiteX184" fmla="*/ 3866 w 80482"/>
                  <a:gd name="connsiteY184" fmla="*/ 57470 h 81130"/>
                  <a:gd name="connsiteX185" fmla="*/ 4042 w 80482"/>
                  <a:gd name="connsiteY185" fmla="*/ 57880 h 81130"/>
                  <a:gd name="connsiteX186" fmla="*/ 4276 w 80482"/>
                  <a:gd name="connsiteY186" fmla="*/ 59109 h 81130"/>
                  <a:gd name="connsiteX187" fmla="*/ 5037 w 80482"/>
                  <a:gd name="connsiteY187" fmla="*/ 60047 h 81130"/>
                  <a:gd name="connsiteX188" fmla="*/ 5272 w 80482"/>
                  <a:gd name="connsiteY188" fmla="*/ 60457 h 81130"/>
                  <a:gd name="connsiteX189" fmla="*/ 5623 w 80482"/>
                  <a:gd name="connsiteY189" fmla="*/ 61628 h 81130"/>
                  <a:gd name="connsiteX190" fmla="*/ 6443 w 80482"/>
                  <a:gd name="connsiteY190" fmla="*/ 62506 h 81130"/>
                  <a:gd name="connsiteX191" fmla="*/ 6678 w 80482"/>
                  <a:gd name="connsiteY191" fmla="*/ 62916 h 81130"/>
                  <a:gd name="connsiteX192" fmla="*/ 7088 w 80482"/>
                  <a:gd name="connsiteY192" fmla="*/ 64029 h 81130"/>
                  <a:gd name="connsiteX193" fmla="*/ 8025 w 80482"/>
                  <a:gd name="connsiteY193" fmla="*/ 64849 h 81130"/>
                  <a:gd name="connsiteX194" fmla="*/ 8318 w 80482"/>
                  <a:gd name="connsiteY194" fmla="*/ 65200 h 81130"/>
                  <a:gd name="connsiteX195" fmla="*/ 8845 w 80482"/>
                  <a:gd name="connsiteY195" fmla="*/ 66313 h 81130"/>
                  <a:gd name="connsiteX196" fmla="*/ 9782 w 80482"/>
                  <a:gd name="connsiteY196" fmla="*/ 67075 h 81130"/>
                  <a:gd name="connsiteX197" fmla="*/ 10075 w 80482"/>
                  <a:gd name="connsiteY197" fmla="*/ 67426 h 81130"/>
                  <a:gd name="connsiteX198" fmla="*/ 10661 w 80482"/>
                  <a:gd name="connsiteY198" fmla="*/ 68480 h 81130"/>
                  <a:gd name="connsiteX199" fmla="*/ 11539 w 80482"/>
                  <a:gd name="connsiteY199" fmla="*/ 69066 h 81130"/>
                  <a:gd name="connsiteX200" fmla="*/ 11657 w 80482"/>
                  <a:gd name="connsiteY200" fmla="*/ 69124 h 81130"/>
                  <a:gd name="connsiteX201" fmla="*/ 12008 w 80482"/>
                  <a:gd name="connsiteY201" fmla="*/ 69476 h 81130"/>
                  <a:gd name="connsiteX202" fmla="*/ 12652 w 80482"/>
                  <a:gd name="connsiteY202" fmla="*/ 70471 h 81130"/>
                  <a:gd name="connsiteX203" fmla="*/ 13414 w 80482"/>
                  <a:gd name="connsiteY203" fmla="*/ 70940 h 81130"/>
                  <a:gd name="connsiteX204" fmla="*/ 13707 w 80482"/>
                  <a:gd name="connsiteY204" fmla="*/ 71057 h 81130"/>
                  <a:gd name="connsiteX205" fmla="*/ 14058 w 80482"/>
                  <a:gd name="connsiteY205" fmla="*/ 71350 h 81130"/>
                  <a:gd name="connsiteX206" fmla="*/ 14761 w 80482"/>
                  <a:gd name="connsiteY206" fmla="*/ 72287 h 81130"/>
                  <a:gd name="connsiteX207" fmla="*/ 15347 w 80482"/>
                  <a:gd name="connsiteY207" fmla="*/ 72638 h 81130"/>
                  <a:gd name="connsiteX208" fmla="*/ 15815 w 80482"/>
                  <a:gd name="connsiteY208" fmla="*/ 72756 h 81130"/>
                  <a:gd name="connsiteX209" fmla="*/ 16225 w 80482"/>
                  <a:gd name="connsiteY209" fmla="*/ 73048 h 81130"/>
                  <a:gd name="connsiteX210" fmla="*/ 16987 w 80482"/>
                  <a:gd name="connsiteY210" fmla="*/ 73927 h 81130"/>
                  <a:gd name="connsiteX211" fmla="*/ 17456 w 80482"/>
                  <a:gd name="connsiteY211" fmla="*/ 74161 h 81130"/>
                  <a:gd name="connsiteX212" fmla="*/ 18100 w 80482"/>
                  <a:gd name="connsiteY212" fmla="*/ 74337 h 81130"/>
                  <a:gd name="connsiteX213" fmla="*/ 18510 w 80482"/>
                  <a:gd name="connsiteY213" fmla="*/ 74571 h 81130"/>
                  <a:gd name="connsiteX214" fmla="*/ 19330 w 80482"/>
                  <a:gd name="connsiteY214" fmla="*/ 75391 h 81130"/>
                  <a:gd name="connsiteX215" fmla="*/ 19623 w 80482"/>
                  <a:gd name="connsiteY215" fmla="*/ 75567 h 81130"/>
                  <a:gd name="connsiteX216" fmla="*/ 20443 w 80482"/>
                  <a:gd name="connsiteY216" fmla="*/ 75742 h 81130"/>
                  <a:gd name="connsiteX217" fmla="*/ 20853 w 80482"/>
                  <a:gd name="connsiteY217" fmla="*/ 75977 h 81130"/>
                  <a:gd name="connsiteX218" fmla="*/ 21732 w 80482"/>
                  <a:gd name="connsiteY218" fmla="*/ 76797 h 81130"/>
                  <a:gd name="connsiteX219" fmla="*/ 21907 w 80482"/>
                  <a:gd name="connsiteY219" fmla="*/ 76855 h 81130"/>
                  <a:gd name="connsiteX220" fmla="*/ 22903 w 80482"/>
                  <a:gd name="connsiteY220" fmla="*/ 77031 h 81130"/>
                  <a:gd name="connsiteX221" fmla="*/ 23313 w 80482"/>
                  <a:gd name="connsiteY221" fmla="*/ 77265 h 81130"/>
                  <a:gd name="connsiteX222" fmla="*/ 24250 w 80482"/>
                  <a:gd name="connsiteY222" fmla="*/ 77968 h 81130"/>
                  <a:gd name="connsiteX223" fmla="*/ 24250 w 80482"/>
                  <a:gd name="connsiteY223" fmla="*/ 77968 h 81130"/>
                  <a:gd name="connsiteX224" fmla="*/ 25422 w 80482"/>
                  <a:gd name="connsiteY224" fmla="*/ 78144 h 81130"/>
                  <a:gd name="connsiteX225" fmla="*/ 25890 w 80482"/>
                  <a:gd name="connsiteY225" fmla="*/ 78319 h 81130"/>
                  <a:gd name="connsiteX226" fmla="*/ 26710 w 80482"/>
                  <a:gd name="connsiteY226" fmla="*/ 78905 h 81130"/>
                  <a:gd name="connsiteX227" fmla="*/ 26886 w 80482"/>
                  <a:gd name="connsiteY227" fmla="*/ 78964 h 81130"/>
                  <a:gd name="connsiteX228" fmla="*/ 28058 w 80482"/>
                  <a:gd name="connsiteY228" fmla="*/ 79081 h 81130"/>
                  <a:gd name="connsiteX229" fmla="*/ 28526 w 80482"/>
                  <a:gd name="connsiteY229" fmla="*/ 79198 h 81130"/>
                  <a:gd name="connsiteX230" fmla="*/ 29229 w 80482"/>
                  <a:gd name="connsiteY230" fmla="*/ 79666 h 81130"/>
                  <a:gd name="connsiteX231" fmla="*/ 29581 w 80482"/>
                  <a:gd name="connsiteY231" fmla="*/ 79784 h 81130"/>
                  <a:gd name="connsiteX232" fmla="*/ 30752 w 80482"/>
                  <a:gd name="connsiteY232" fmla="*/ 79784 h 81130"/>
                  <a:gd name="connsiteX233" fmla="*/ 31221 w 80482"/>
                  <a:gd name="connsiteY233" fmla="*/ 79901 h 81130"/>
                  <a:gd name="connsiteX234" fmla="*/ 31807 w 80482"/>
                  <a:gd name="connsiteY234" fmla="*/ 80252 h 81130"/>
                  <a:gd name="connsiteX235" fmla="*/ 32334 w 80482"/>
                  <a:gd name="connsiteY235" fmla="*/ 80428 h 81130"/>
                  <a:gd name="connsiteX236" fmla="*/ 33505 w 80482"/>
                  <a:gd name="connsiteY236" fmla="*/ 80369 h 81130"/>
                  <a:gd name="connsiteX237" fmla="*/ 33974 w 80482"/>
                  <a:gd name="connsiteY237" fmla="*/ 80428 h 81130"/>
                  <a:gd name="connsiteX238" fmla="*/ 34384 w 80482"/>
                  <a:gd name="connsiteY238" fmla="*/ 80662 h 81130"/>
                  <a:gd name="connsiteX239" fmla="*/ 35087 w 80482"/>
                  <a:gd name="connsiteY239" fmla="*/ 80838 h 81130"/>
                  <a:gd name="connsiteX240" fmla="*/ 36258 w 80482"/>
                  <a:gd name="connsiteY240" fmla="*/ 80721 h 81130"/>
                  <a:gd name="connsiteX241" fmla="*/ 36727 w 80482"/>
                  <a:gd name="connsiteY241" fmla="*/ 80779 h 81130"/>
                  <a:gd name="connsiteX242" fmla="*/ 37020 w 80482"/>
                  <a:gd name="connsiteY242" fmla="*/ 80896 h 81130"/>
                  <a:gd name="connsiteX243" fmla="*/ 37898 w 80482"/>
                  <a:gd name="connsiteY243" fmla="*/ 81072 h 81130"/>
                  <a:gd name="connsiteX244" fmla="*/ 39070 w 80482"/>
                  <a:gd name="connsiteY244" fmla="*/ 80838 h 81130"/>
                  <a:gd name="connsiteX245" fmla="*/ 39539 w 80482"/>
                  <a:gd name="connsiteY245" fmla="*/ 80838 h 81130"/>
                  <a:gd name="connsiteX246" fmla="*/ 39656 w 80482"/>
                  <a:gd name="connsiteY246" fmla="*/ 80896 h 81130"/>
                  <a:gd name="connsiteX247" fmla="*/ 40710 w 80482"/>
                  <a:gd name="connsiteY247" fmla="*/ 81131 h 81130"/>
                  <a:gd name="connsiteX248" fmla="*/ 41882 w 80482"/>
                  <a:gd name="connsiteY248" fmla="*/ 80838 h 81130"/>
                  <a:gd name="connsiteX249" fmla="*/ 42350 w 80482"/>
                  <a:gd name="connsiteY249" fmla="*/ 80838 h 81130"/>
                  <a:gd name="connsiteX250" fmla="*/ 43522 w 80482"/>
                  <a:gd name="connsiteY250" fmla="*/ 81013 h 81130"/>
                  <a:gd name="connsiteX251" fmla="*/ 44635 w 80482"/>
                  <a:gd name="connsiteY251" fmla="*/ 80603 h 81130"/>
                  <a:gd name="connsiteX252" fmla="*/ 45103 w 80482"/>
                  <a:gd name="connsiteY252" fmla="*/ 80545 h 81130"/>
                  <a:gd name="connsiteX253" fmla="*/ 46275 w 80482"/>
                  <a:gd name="connsiteY253" fmla="*/ 80662 h 81130"/>
                  <a:gd name="connsiteX254" fmla="*/ 47388 w 80482"/>
                  <a:gd name="connsiteY254" fmla="*/ 80193 h 81130"/>
                  <a:gd name="connsiteX255" fmla="*/ 47856 w 80482"/>
                  <a:gd name="connsiteY255" fmla="*/ 80076 h 81130"/>
                  <a:gd name="connsiteX256" fmla="*/ 49028 w 80482"/>
                  <a:gd name="connsiteY256" fmla="*/ 80076 h 81130"/>
                  <a:gd name="connsiteX257" fmla="*/ 50141 w 80482"/>
                  <a:gd name="connsiteY257" fmla="*/ 79549 h 81130"/>
                  <a:gd name="connsiteX258" fmla="*/ 50551 w 80482"/>
                  <a:gd name="connsiteY258" fmla="*/ 79432 h 81130"/>
                  <a:gd name="connsiteX259" fmla="*/ 51781 w 80482"/>
                  <a:gd name="connsiteY259" fmla="*/ 79374 h 81130"/>
                  <a:gd name="connsiteX260" fmla="*/ 52835 w 80482"/>
                  <a:gd name="connsiteY260" fmla="*/ 78729 h 81130"/>
                  <a:gd name="connsiteX261" fmla="*/ 53245 w 80482"/>
                  <a:gd name="connsiteY261" fmla="*/ 78612 h 81130"/>
                  <a:gd name="connsiteX262" fmla="*/ 54475 w 80482"/>
                  <a:gd name="connsiteY262" fmla="*/ 78495 h 81130"/>
                  <a:gd name="connsiteX263" fmla="*/ 55471 w 80482"/>
                  <a:gd name="connsiteY263" fmla="*/ 77792 h 81130"/>
                  <a:gd name="connsiteX264" fmla="*/ 55881 w 80482"/>
                  <a:gd name="connsiteY264" fmla="*/ 77617 h 81130"/>
                  <a:gd name="connsiteX265" fmla="*/ 57111 w 80482"/>
                  <a:gd name="connsiteY265" fmla="*/ 77382 h 81130"/>
                  <a:gd name="connsiteX266" fmla="*/ 58048 w 80482"/>
                  <a:gd name="connsiteY266" fmla="*/ 76621 h 81130"/>
                  <a:gd name="connsiteX267" fmla="*/ 58400 w 80482"/>
                  <a:gd name="connsiteY267" fmla="*/ 76445 h 81130"/>
                  <a:gd name="connsiteX268" fmla="*/ 59571 w 80482"/>
                  <a:gd name="connsiteY268" fmla="*/ 76152 h 81130"/>
                  <a:gd name="connsiteX269" fmla="*/ 60450 w 80482"/>
                  <a:gd name="connsiteY269" fmla="*/ 75332 h 81130"/>
                  <a:gd name="connsiteX270" fmla="*/ 60802 w 80482"/>
                  <a:gd name="connsiteY270" fmla="*/ 75098 h 81130"/>
                  <a:gd name="connsiteX271" fmla="*/ 61973 w 80482"/>
                  <a:gd name="connsiteY271" fmla="*/ 74688 h 81130"/>
                  <a:gd name="connsiteX272" fmla="*/ 62793 w 80482"/>
                  <a:gd name="connsiteY272" fmla="*/ 73810 h 81130"/>
                  <a:gd name="connsiteX273" fmla="*/ 63145 w 80482"/>
                  <a:gd name="connsiteY273" fmla="*/ 73575 h 81130"/>
                  <a:gd name="connsiteX274" fmla="*/ 64258 w 80482"/>
                  <a:gd name="connsiteY274" fmla="*/ 73107 h 81130"/>
                  <a:gd name="connsiteX275" fmla="*/ 65019 w 80482"/>
                  <a:gd name="connsiteY275" fmla="*/ 72170 h 81130"/>
                  <a:gd name="connsiteX276" fmla="*/ 65370 w 80482"/>
                  <a:gd name="connsiteY276" fmla="*/ 71877 h 81130"/>
                  <a:gd name="connsiteX277" fmla="*/ 66483 w 80482"/>
                  <a:gd name="connsiteY277" fmla="*/ 71291 h 81130"/>
                  <a:gd name="connsiteX278" fmla="*/ 67186 w 80482"/>
                  <a:gd name="connsiteY278" fmla="*/ 70296 h 81130"/>
                  <a:gd name="connsiteX279" fmla="*/ 67479 w 80482"/>
                  <a:gd name="connsiteY279" fmla="*/ 70003 h 81130"/>
                  <a:gd name="connsiteX280" fmla="*/ 68533 w 80482"/>
                  <a:gd name="connsiteY280" fmla="*/ 69359 h 81130"/>
                  <a:gd name="connsiteX281" fmla="*/ 69178 w 80482"/>
                  <a:gd name="connsiteY281" fmla="*/ 68304 h 81130"/>
                  <a:gd name="connsiteX282" fmla="*/ 69471 w 80482"/>
                  <a:gd name="connsiteY282" fmla="*/ 67953 h 81130"/>
                  <a:gd name="connsiteX283" fmla="*/ 70467 w 80482"/>
                  <a:gd name="connsiteY283" fmla="*/ 67250 h 81130"/>
                  <a:gd name="connsiteX284" fmla="*/ 70994 w 80482"/>
                  <a:gd name="connsiteY284" fmla="*/ 66137 h 81130"/>
                  <a:gd name="connsiteX285" fmla="*/ 71287 w 80482"/>
                  <a:gd name="connsiteY285" fmla="*/ 65786 h 81130"/>
                  <a:gd name="connsiteX286" fmla="*/ 72224 w 80482"/>
                  <a:gd name="connsiteY286" fmla="*/ 65025 h 81130"/>
                  <a:gd name="connsiteX287" fmla="*/ 72692 w 80482"/>
                  <a:gd name="connsiteY287" fmla="*/ 63912 h 81130"/>
                  <a:gd name="connsiteX288" fmla="*/ 72927 w 80482"/>
                  <a:gd name="connsiteY288" fmla="*/ 63561 h 81130"/>
                  <a:gd name="connsiteX289" fmla="*/ 73805 w 80482"/>
                  <a:gd name="connsiteY289" fmla="*/ 62741 h 81130"/>
                  <a:gd name="connsiteX290" fmla="*/ 74215 w 80482"/>
                  <a:gd name="connsiteY290" fmla="*/ 61569 h 81130"/>
                  <a:gd name="connsiteX291" fmla="*/ 74391 w 80482"/>
                  <a:gd name="connsiteY291" fmla="*/ 61218 h 81130"/>
                  <a:gd name="connsiteX292" fmla="*/ 75270 w 80482"/>
                  <a:gd name="connsiteY292" fmla="*/ 60281 h 81130"/>
                  <a:gd name="connsiteX293" fmla="*/ 75563 w 80482"/>
                  <a:gd name="connsiteY293" fmla="*/ 59051 h 81130"/>
                  <a:gd name="connsiteX294" fmla="*/ 75738 w 80482"/>
                  <a:gd name="connsiteY294" fmla="*/ 58700 h 81130"/>
                  <a:gd name="connsiteX295" fmla="*/ 76676 w 80482"/>
                  <a:gd name="connsiteY295" fmla="*/ 57352 h 811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</a:cxnLst>
                <a:rect l="l" t="t" r="r" b="b"/>
                <a:pathLst>
                  <a:path w="80482" h="81130">
                    <a:moveTo>
                      <a:pt x="76676" y="57352"/>
                    </a:moveTo>
                    <a:cubicBezTo>
                      <a:pt x="76851" y="56943"/>
                      <a:pt x="76910" y="56532"/>
                      <a:pt x="76910" y="56123"/>
                    </a:cubicBezTo>
                    <a:cubicBezTo>
                      <a:pt x="76910" y="56064"/>
                      <a:pt x="76968" y="56005"/>
                      <a:pt x="76968" y="55947"/>
                    </a:cubicBezTo>
                    <a:cubicBezTo>
                      <a:pt x="76968" y="55888"/>
                      <a:pt x="77027" y="55830"/>
                      <a:pt x="77027" y="55771"/>
                    </a:cubicBezTo>
                    <a:cubicBezTo>
                      <a:pt x="77378" y="55478"/>
                      <a:pt x="77613" y="55127"/>
                      <a:pt x="77788" y="54775"/>
                    </a:cubicBezTo>
                    <a:cubicBezTo>
                      <a:pt x="77964" y="54366"/>
                      <a:pt x="77964" y="53956"/>
                      <a:pt x="77906" y="53546"/>
                    </a:cubicBezTo>
                    <a:cubicBezTo>
                      <a:pt x="77964" y="53429"/>
                      <a:pt x="77964" y="53311"/>
                      <a:pt x="78023" y="53194"/>
                    </a:cubicBezTo>
                    <a:cubicBezTo>
                      <a:pt x="78316" y="52901"/>
                      <a:pt x="78550" y="52550"/>
                      <a:pt x="78667" y="52140"/>
                    </a:cubicBezTo>
                    <a:cubicBezTo>
                      <a:pt x="78784" y="51730"/>
                      <a:pt x="78784" y="51320"/>
                      <a:pt x="78726" y="50910"/>
                    </a:cubicBezTo>
                    <a:cubicBezTo>
                      <a:pt x="78784" y="50793"/>
                      <a:pt x="78784" y="50676"/>
                      <a:pt x="78843" y="50500"/>
                    </a:cubicBezTo>
                    <a:cubicBezTo>
                      <a:pt x="79136" y="50207"/>
                      <a:pt x="79311" y="49797"/>
                      <a:pt x="79429" y="49387"/>
                    </a:cubicBezTo>
                    <a:cubicBezTo>
                      <a:pt x="79546" y="48977"/>
                      <a:pt x="79487" y="48567"/>
                      <a:pt x="79429" y="48157"/>
                    </a:cubicBezTo>
                    <a:cubicBezTo>
                      <a:pt x="79429" y="48040"/>
                      <a:pt x="79487" y="47865"/>
                      <a:pt x="79487" y="47747"/>
                    </a:cubicBezTo>
                    <a:cubicBezTo>
                      <a:pt x="79721" y="47396"/>
                      <a:pt x="79897" y="47045"/>
                      <a:pt x="79956" y="46635"/>
                    </a:cubicBezTo>
                    <a:cubicBezTo>
                      <a:pt x="80014" y="46225"/>
                      <a:pt x="79956" y="45815"/>
                      <a:pt x="79839" y="45405"/>
                    </a:cubicBezTo>
                    <a:cubicBezTo>
                      <a:pt x="79839" y="45288"/>
                      <a:pt x="79897" y="45112"/>
                      <a:pt x="79897" y="44995"/>
                    </a:cubicBezTo>
                    <a:cubicBezTo>
                      <a:pt x="80131" y="44643"/>
                      <a:pt x="80249" y="44233"/>
                      <a:pt x="80307" y="43824"/>
                    </a:cubicBezTo>
                    <a:cubicBezTo>
                      <a:pt x="80366" y="43414"/>
                      <a:pt x="80249" y="43004"/>
                      <a:pt x="80131" y="42652"/>
                    </a:cubicBezTo>
                    <a:cubicBezTo>
                      <a:pt x="80131" y="42476"/>
                      <a:pt x="80131" y="42359"/>
                      <a:pt x="80131" y="42184"/>
                    </a:cubicBezTo>
                    <a:cubicBezTo>
                      <a:pt x="80307" y="41832"/>
                      <a:pt x="80424" y="41422"/>
                      <a:pt x="80483" y="41012"/>
                    </a:cubicBezTo>
                    <a:cubicBezTo>
                      <a:pt x="80483" y="40602"/>
                      <a:pt x="80366" y="40192"/>
                      <a:pt x="80190" y="39841"/>
                    </a:cubicBezTo>
                    <a:cubicBezTo>
                      <a:pt x="80190" y="39665"/>
                      <a:pt x="80190" y="39548"/>
                      <a:pt x="80190" y="39372"/>
                    </a:cubicBezTo>
                    <a:cubicBezTo>
                      <a:pt x="80366" y="39021"/>
                      <a:pt x="80424" y="38611"/>
                      <a:pt x="80424" y="38201"/>
                    </a:cubicBezTo>
                    <a:cubicBezTo>
                      <a:pt x="80424" y="37791"/>
                      <a:pt x="80249" y="37381"/>
                      <a:pt x="80073" y="37030"/>
                    </a:cubicBezTo>
                    <a:cubicBezTo>
                      <a:pt x="80073" y="36913"/>
                      <a:pt x="80073" y="36737"/>
                      <a:pt x="80014" y="36620"/>
                    </a:cubicBezTo>
                    <a:cubicBezTo>
                      <a:pt x="80190" y="36210"/>
                      <a:pt x="80249" y="35800"/>
                      <a:pt x="80190" y="35390"/>
                    </a:cubicBezTo>
                    <a:cubicBezTo>
                      <a:pt x="80131" y="34980"/>
                      <a:pt x="79956" y="34570"/>
                      <a:pt x="79780" y="34219"/>
                    </a:cubicBezTo>
                    <a:cubicBezTo>
                      <a:pt x="79780" y="34101"/>
                      <a:pt x="79721" y="33926"/>
                      <a:pt x="79721" y="33809"/>
                    </a:cubicBezTo>
                    <a:cubicBezTo>
                      <a:pt x="79839" y="33399"/>
                      <a:pt x="79897" y="32989"/>
                      <a:pt x="79780" y="32579"/>
                    </a:cubicBezTo>
                    <a:cubicBezTo>
                      <a:pt x="79721" y="32169"/>
                      <a:pt x="79546" y="31817"/>
                      <a:pt x="79253" y="31466"/>
                    </a:cubicBezTo>
                    <a:cubicBezTo>
                      <a:pt x="79194" y="31349"/>
                      <a:pt x="79194" y="31173"/>
                      <a:pt x="79136" y="31056"/>
                    </a:cubicBezTo>
                    <a:cubicBezTo>
                      <a:pt x="79253" y="30646"/>
                      <a:pt x="79253" y="30236"/>
                      <a:pt x="79136" y="29826"/>
                    </a:cubicBezTo>
                    <a:cubicBezTo>
                      <a:pt x="79019" y="29416"/>
                      <a:pt x="78843" y="29065"/>
                      <a:pt x="78550" y="28772"/>
                    </a:cubicBezTo>
                    <a:cubicBezTo>
                      <a:pt x="78491" y="28655"/>
                      <a:pt x="78491" y="28479"/>
                      <a:pt x="78433" y="28362"/>
                    </a:cubicBezTo>
                    <a:cubicBezTo>
                      <a:pt x="78491" y="27952"/>
                      <a:pt x="78491" y="27542"/>
                      <a:pt x="78316" y="27132"/>
                    </a:cubicBezTo>
                    <a:cubicBezTo>
                      <a:pt x="78198" y="26722"/>
                      <a:pt x="77964" y="26371"/>
                      <a:pt x="77671" y="26136"/>
                    </a:cubicBezTo>
                    <a:cubicBezTo>
                      <a:pt x="77613" y="26019"/>
                      <a:pt x="77554" y="25844"/>
                      <a:pt x="77496" y="25726"/>
                    </a:cubicBezTo>
                    <a:cubicBezTo>
                      <a:pt x="77554" y="25316"/>
                      <a:pt x="77496" y="24906"/>
                      <a:pt x="77320" y="24497"/>
                    </a:cubicBezTo>
                    <a:cubicBezTo>
                      <a:pt x="77144" y="24087"/>
                      <a:pt x="76910" y="23794"/>
                      <a:pt x="76558" y="23501"/>
                    </a:cubicBezTo>
                    <a:cubicBezTo>
                      <a:pt x="76500" y="23384"/>
                      <a:pt x="76441" y="23267"/>
                      <a:pt x="76383" y="23091"/>
                    </a:cubicBezTo>
                    <a:cubicBezTo>
                      <a:pt x="76383" y="22681"/>
                      <a:pt x="76324" y="22271"/>
                      <a:pt x="76090" y="21920"/>
                    </a:cubicBezTo>
                    <a:cubicBezTo>
                      <a:pt x="75914" y="21568"/>
                      <a:pt x="75621" y="21275"/>
                      <a:pt x="75328" y="20982"/>
                    </a:cubicBezTo>
                    <a:cubicBezTo>
                      <a:pt x="75270" y="20865"/>
                      <a:pt x="75211" y="20690"/>
                      <a:pt x="75094" y="20573"/>
                    </a:cubicBezTo>
                    <a:cubicBezTo>
                      <a:pt x="75094" y="20163"/>
                      <a:pt x="74977" y="19753"/>
                      <a:pt x="74742" y="19401"/>
                    </a:cubicBezTo>
                    <a:cubicBezTo>
                      <a:pt x="74508" y="19050"/>
                      <a:pt x="74215" y="18757"/>
                      <a:pt x="73922" y="18581"/>
                    </a:cubicBezTo>
                    <a:cubicBezTo>
                      <a:pt x="73864" y="18464"/>
                      <a:pt x="73747" y="18288"/>
                      <a:pt x="73688" y="18171"/>
                    </a:cubicBezTo>
                    <a:cubicBezTo>
                      <a:pt x="73630" y="17761"/>
                      <a:pt x="73512" y="17410"/>
                      <a:pt x="73278" y="17059"/>
                    </a:cubicBezTo>
                    <a:cubicBezTo>
                      <a:pt x="73044" y="16707"/>
                      <a:pt x="72751" y="16473"/>
                      <a:pt x="72399" y="16239"/>
                    </a:cubicBezTo>
                    <a:cubicBezTo>
                      <a:pt x="72282" y="16121"/>
                      <a:pt x="72224" y="16004"/>
                      <a:pt x="72107" y="15887"/>
                    </a:cubicBezTo>
                    <a:cubicBezTo>
                      <a:pt x="72048" y="15477"/>
                      <a:pt x="71872" y="15126"/>
                      <a:pt x="71579" y="14774"/>
                    </a:cubicBezTo>
                    <a:cubicBezTo>
                      <a:pt x="71345" y="14482"/>
                      <a:pt x="70994" y="14189"/>
                      <a:pt x="70642" y="14072"/>
                    </a:cubicBezTo>
                    <a:cubicBezTo>
                      <a:pt x="70525" y="13954"/>
                      <a:pt x="70408" y="13837"/>
                      <a:pt x="70349" y="13720"/>
                    </a:cubicBezTo>
                    <a:cubicBezTo>
                      <a:pt x="70232" y="13310"/>
                      <a:pt x="70056" y="12959"/>
                      <a:pt x="69764" y="12666"/>
                    </a:cubicBezTo>
                    <a:cubicBezTo>
                      <a:pt x="69529" y="12432"/>
                      <a:pt x="69236" y="12197"/>
                      <a:pt x="68885" y="12080"/>
                    </a:cubicBezTo>
                    <a:cubicBezTo>
                      <a:pt x="68826" y="12080"/>
                      <a:pt x="68826" y="12022"/>
                      <a:pt x="68768" y="12022"/>
                    </a:cubicBezTo>
                    <a:cubicBezTo>
                      <a:pt x="68651" y="11905"/>
                      <a:pt x="68533" y="11788"/>
                      <a:pt x="68416" y="11670"/>
                    </a:cubicBezTo>
                    <a:cubicBezTo>
                      <a:pt x="68299" y="11319"/>
                      <a:pt x="68065" y="10968"/>
                      <a:pt x="67772" y="10675"/>
                    </a:cubicBezTo>
                    <a:cubicBezTo>
                      <a:pt x="67538" y="10499"/>
                      <a:pt x="67303" y="10323"/>
                      <a:pt x="67011" y="10206"/>
                    </a:cubicBezTo>
                    <a:cubicBezTo>
                      <a:pt x="66893" y="10148"/>
                      <a:pt x="66835" y="10148"/>
                      <a:pt x="66718" y="10089"/>
                    </a:cubicBezTo>
                    <a:cubicBezTo>
                      <a:pt x="66601" y="9972"/>
                      <a:pt x="66483" y="9855"/>
                      <a:pt x="66366" y="9738"/>
                    </a:cubicBezTo>
                    <a:cubicBezTo>
                      <a:pt x="66190" y="9386"/>
                      <a:pt x="65956" y="9035"/>
                      <a:pt x="65663" y="8801"/>
                    </a:cubicBezTo>
                    <a:cubicBezTo>
                      <a:pt x="65488" y="8625"/>
                      <a:pt x="65253" y="8508"/>
                      <a:pt x="65078" y="8449"/>
                    </a:cubicBezTo>
                    <a:cubicBezTo>
                      <a:pt x="64902" y="8391"/>
                      <a:pt x="64785" y="8332"/>
                      <a:pt x="64609" y="8332"/>
                    </a:cubicBezTo>
                    <a:cubicBezTo>
                      <a:pt x="64492" y="8215"/>
                      <a:pt x="64316" y="8156"/>
                      <a:pt x="64199" y="8039"/>
                    </a:cubicBezTo>
                    <a:cubicBezTo>
                      <a:pt x="64023" y="7688"/>
                      <a:pt x="63730" y="7395"/>
                      <a:pt x="63437" y="7161"/>
                    </a:cubicBezTo>
                    <a:cubicBezTo>
                      <a:pt x="63320" y="7044"/>
                      <a:pt x="63145" y="6985"/>
                      <a:pt x="62969" y="6926"/>
                    </a:cubicBezTo>
                    <a:cubicBezTo>
                      <a:pt x="62734" y="6809"/>
                      <a:pt x="62559" y="6751"/>
                      <a:pt x="62324" y="6751"/>
                    </a:cubicBezTo>
                    <a:cubicBezTo>
                      <a:pt x="62207" y="6634"/>
                      <a:pt x="62032" y="6575"/>
                      <a:pt x="61914" y="6517"/>
                    </a:cubicBezTo>
                    <a:cubicBezTo>
                      <a:pt x="61680" y="6165"/>
                      <a:pt x="61446" y="5872"/>
                      <a:pt x="61094" y="5697"/>
                    </a:cubicBezTo>
                    <a:cubicBezTo>
                      <a:pt x="60743" y="5462"/>
                      <a:pt x="60333" y="5345"/>
                      <a:pt x="59981" y="5345"/>
                    </a:cubicBezTo>
                    <a:cubicBezTo>
                      <a:pt x="59864" y="5287"/>
                      <a:pt x="59689" y="5169"/>
                      <a:pt x="59571" y="5111"/>
                    </a:cubicBezTo>
                    <a:cubicBezTo>
                      <a:pt x="59337" y="4818"/>
                      <a:pt x="59044" y="4525"/>
                      <a:pt x="58693" y="4350"/>
                    </a:cubicBezTo>
                    <a:cubicBezTo>
                      <a:pt x="58341" y="4174"/>
                      <a:pt x="57931" y="4057"/>
                      <a:pt x="57521" y="4057"/>
                    </a:cubicBezTo>
                    <a:cubicBezTo>
                      <a:pt x="57346" y="3998"/>
                      <a:pt x="57228" y="3940"/>
                      <a:pt x="57111" y="3822"/>
                    </a:cubicBezTo>
                    <a:cubicBezTo>
                      <a:pt x="56877" y="3530"/>
                      <a:pt x="56525" y="3237"/>
                      <a:pt x="56174" y="3120"/>
                    </a:cubicBezTo>
                    <a:cubicBezTo>
                      <a:pt x="55764" y="2944"/>
                      <a:pt x="55413" y="2885"/>
                      <a:pt x="55003" y="2944"/>
                    </a:cubicBezTo>
                    <a:cubicBezTo>
                      <a:pt x="54827" y="2885"/>
                      <a:pt x="54710" y="2827"/>
                      <a:pt x="54534" y="2768"/>
                    </a:cubicBezTo>
                    <a:cubicBezTo>
                      <a:pt x="54300" y="2534"/>
                      <a:pt x="54007" y="2300"/>
                      <a:pt x="53714" y="2183"/>
                    </a:cubicBezTo>
                    <a:cubicBezTo>
                      <a:pt x="53655" y="2183"/>
                      <a:pt x="53597" y="2124"/>
                      <a:pt x="53538" y="2124"/>
                    </a:cubicBezTo>
                    <a:cubicBezTo>
                      <a:pt x="53128" y="2007"/>
                      <a:pt x="52777" y="1948"/>
                      <a:pt x="52367" y="2007"/>
                    </a:cubicBezTo>
                    <a:cubicBezTo>
                      <a:pt x="52191" y="1948"/>
                      <a:pt x="52074" y="1890"/>
                      <a:pt x="51898" y="1890"/>
                    </a:cubicBezTo>
                    <a:cubicBezTo>
                      <a:pt x="51664" y="1714"/>
                      <a:pt x="51429" y="1538"/>
                      <a:pt x="51195" y="1421"/>
                    </a:cubicBezTo>
                    <a:cubicBezTo>
                      <a:pt x="51078" y="1363"/>
                      <a:pt x="50961" y="1304"/>
                      <a:pt x="50844" y="1304"/>
                    </a:cubicBezTo>
                    <a:cubicBezTo>
                      <a:pt x="50434" y="1187"/>
                      <a:pt x="50024" y="1187"/>
                      <a:pt x="49672" y="1304"/>
                    </a:cubicBezTo>
                    <a:cubicBezTo>
                      <a:pt x="49496" y="1246"/>
                      <a:pt x="49379" y="1246"/>
                      <a:pt x="49204" y="1187"/>
                    </a:cubicBezTo>
                    <a:cubicBezTo>
                      <a:pt x="49028" y="1070"/>
                      <a:pt x="48852" y="953"/>
                      <a:pt x="48618" y="836"/>
                    </a:cubicBezTo>
                    <a:cubicBezTo>
                      <a:pt x="48442" y="777"/>
                      <a:pt x="48266" y="718"/>
                      <a:pt x="48091" y="660"/>
                    </a:cubicBezTo>
                    <a:cubicBezTo>
                      <a:pt x="47681" y="601"/>
                      <a:pt x="47271" y="601"/>
                      <a:pt x="46919" y="718"/>
                    </a:cubicBezTo>
                    <a:cubicBezTo>
                      <a:pt x="46743" y="718"/>
                      <a:pt x="46568" y="660"/>
                      <a:pt x="46451" y="660"/>
                    </a:cubicBezTo>
                    <a:cubicBezTo>
                      <a:pt x="46333" y="543"/>
                      <a:pt x="46158" y="484"/>
                      <a:pt x="46040" y="426"/>
                    </a:cubicBezTo>
                    <a:cubicBezTo>
                      <a:pt x="45806" y="308"/>
                      <a:pt x="45572" y="250"/>
                      <a:pt x="45338" y="250"/>
                    </a:cubicBezTo>
                    <a:cubicBezTo>
                      <a:pt x="44928" y="191"/>
                      <a:pt x="44517" y="250"/>
                      <a:pt x="44166" y="367"/>
                    </a:cubicBezTo>
                    <a:cubicBezTo>
                      <a:pt x="43990" y="367"/>
                      <a:pt x="43815" y="308"/>
                      <a:pt x="43697" y="308"/>
                    </a:cubicBezTo>
                    <a:cubicBezTo>
                      <a:pt x="43639" y="250"/>
                      <a:pt x="43522" y="191"/>
                      <a:pt x="43405" y="191"/>
                    </a:cubicBezTo>
                    <a:cubicBezTo>
                      <a:pt x="43112" y="74"/>
                      <a:pt x="42819" y="16"/>
                      <a:pt x="42526" y="16"/>
                    </a:cubicBezTo>
                    <a:cubicBezTo>
                      <a:pt x="42116" y="16"/>
                      <a:pt x="41706" y="74"/>
                      <a:pt x="41354" y="250"/>
                    </a:cubicBezTo>
                    <a:cubicBezTo>
                      <a:pt x="41179" y="250"/>
                      <a:pt x="41003" y="250"/>
                      <a:pt x="40886" y="250"/>
                    </a:cubicBezTo>
                    <a:cubicBezTo>
                      <a:pt x="40827" y="250"/>
                      <a:pt x="40827" y="191"/>
                      <a:pt x="40769" y="191"/>
                    </a:cubicBezTo>
                    <a:cubicBezTo>
                      <a:pt x="40417" y="74"/>
                      <a:pt x="40066" y="-43"/>
                      <a:pt x="39714" y="16"/>
                    </a:cubicBezTo>
                    <a:cubicBezTo>
                      <a:pt x="39304" y="16"/>
                      <a:pt x="38953" y="133"/>
                      <a:pt x="38601" y="308"/>
                    </a:cubicBezTo>
                    <a:cubicBezTo>
                      <a:pt x="38426" y="308"/>
                      <a:pt x="38250" y="308"/>
                      <a:pt x="38074" y="308"/>
                    </a:cubicBezTo>
                    <a:cubicBezTo>
                      <a:pt x="37664" y="133"/>
                      <a:pt x="37254" y="74"/>
                      <a:pt x="36903" y="133"/>
                    </a:cubicBezTo>
                    <a:cubicBezTo>
                      <a:pt x="36493" y="191"/>
                      <a:pt x="36141" y="308"/>
                      <a:pt x="35790" y="543"/>
                    </a:cubicBezTo>
                    <a:cubicBezTo>
                      <a:pt x="35614" y="543"/>
                      <a:pt x="35497" y="601"/>
                      <a:pt x="35321" y="601"/>
                    </a:cubicBezTo>
                    <a:cubicBezTo>
                      <a:pt x="34911" y="484"/>
                      <a:pt x="34501" y="426"/>
                      <a:pt x="34091" y="484"/>
                    </a:cubicBezTo>
                    <a:cubicBezTo>
                      <a:pt x="33681" y="543"/>
                      <a:pt x="33330" y="718"/>
                      <a:pt x="32978" y="953"/>
                    </a:cubicBezTo>
                    <a:cubicBezTo>
                      <a:pt x="32802" y="1011"/>
                      <a:pt x="32685" y="1011"/>
                      <a:pt x="32509" y="1070"/>
                    </a:cubicBezTo>
                    <a:cubicBezTo>
                      <a:pt x="32099" y="953"/>
                      <a:pt x="31689" y="953"/>
                      <a:pt x="31338" y="1070"/>
                    </a:cubicBezTo>
                    <a:cubicBezTo>
                      <a:pt x="30928" y="1187"/>
                      <a:pt x="30577" y="1363"/>
                      <a:pt x="30284" y="1597"/>
                    </a:cubicBezTo>
                    <a:cubicBezTo>
                      <a:pt x="30108" y="1655"/>
                      <a:pt x="29991" y="1655"/>
                      <a:pt x="29815" y="1714"/>
                    </a:cubicBezTo>
                    <a:cubicBezTo>
                      <a:pt x="29405" y="1655"/>
                      <a:pt x="28995" y="1655"/>
                      <a:pt x="28643" y="1773"/>
                    </a:cubicBezTo>
                    <a:cubicBezTo>
                      <a:pt x="28233" y="1890"/>
                      <a:pt x="27882" y="2124"/>
                      <a:pt x="27589" y="2417"/>
                    </a:cubicBezTo>
                    <a:cubicBezTo>
                      <a:pt x="27472" y="2475"/>
                      <a:pt x="27296" y="2534"/>
                      <a:pt x="27179" y="2534"/>
                    </a:cubicBezTo>
                    <a:cubicBezTo>
                      <a:pt x="26769" y="2475"/>
                      <a:pt x="26359" y="2534"/>
                      <a:pt x="25949" y="2710"/>
                    </a:cubicBezTo>
                    <a:cubicBezTo>
                      <a:pt x="25539" y="2885"/>
                      <a:pt x="25246" y="3120"/>
                      <a:pt x="24953" y="3412"/>
                    </a:cubicBezTo>
                    <a:cubicBezTo>
                      <a:pt x="24836" y="3471"/>
                      <a:pt x="24660" y="3530"/>
                      <a:pt x="24543" y="3588"/>
                    </a:cubicBezTo>
                    <a:cubicBezTo>
                      <a:pt x="24133" y="3588"/>
                      <a:pt x="23723" y="3647"/>
                      <a:pt x="23372" y="3822"/>
                    </a:cubicBezTo>
                    <a:cubicBezTo>
                      <a:pt x="22962" y="3998"/>
                      <a:pt x="22669" y="4291"/>
                      <a:pt x="22434" y="4584"/>
                    </a:cubicBezTo>
                    <a:cubicBezTo>
                      <a:pt x="22317" y="4642"/>
                      <a:pt x="22200" y="4701"/>
                      <a:pt x="22083" y="4760"/>
                    </a:cubicBezTo>
                    <a:cubicBezTo>
                      <a:pt x="21673" y="4760"/>
                      <a:pt x="21263" y="4877"/>
                      <a:pt x="20912" y="5052"/>
                    </a:cubicBezTo>
                    <a:cubicBezTo>
                      <a:pt x="20560" y="5287"/>
                      <a:pt x="20267" y="5579"/>
                      <a:pt x="20033" y="5872"/>
                    </a:cubicBezTo>
                    <a:cubicBezTo>
                      <a:pt x="19916" y="5931"/>
                      <a:pt x="19799" y="6048"/>
                      <a:pt x="19681" y="6107"/>
                    </a:cubicBezTo>
                    <a:cubicBezTo>
                      <a:pt x="19271" y="6165"/>
                      <a:pt x="18861" y="6282"/>
                      <a:pt x="18510" y="6517"/>
                    </a:cubicBezTo>
                    <a:cubicBezTo>
                      <a:pt x="18158" y="6751"/>
                      <a:pt x="17866" y="7044"/>
                      <a:pt x="17690" y="7395"/>
                    </a:cubicBezTo>
                    <a:cubicBezTo>
                      <a:pt x="17573" y="7454"/>
                      <a:pt x="17456" y="7571"/>
                      <a:pt x="17338" y="7629"/>
                    </a:cubicBezTo>
                    <a:cubicBezTo>
                      <a:pt x="16928" y="7688"/>
                      <a:pt x="16518" y="7864"/>
                      <a:pt x="16225" y="8098"/>
                    </a:cubicBezTo>
                    <a:cubicBezTo>
                      <a:pt x="15874" y="8332"/>
                      <a:pt x="15640" y="8683"/>
                      <a:pt x="15464" y="9035"/>
                    </a:cubicBezTo>
                    <a:cubicBezTo>
                      <a:pt x="15347" y="9093"/>
                      <a:pt x="15230" y="9211"/>
                      <a:pt x="15113" y="9328"/>
                    </a:cubicBezTo>
                    <a:cubicBezTo>
                      <a:pt x="14702" y="9445"/>
                      <a:pt x="14351" y="9621"/>
                      <a:pt x="14000" y="9913"/>
                    </a:cubicBezTo>
                    <a:cubicBezTo>
                      <a:pt x="13707" y="10206"/>
                      <a:pt x="13472" y="10558"/>
                      <a:pt x="13297" y="10909"/>
                    </a:cubicBezTo>
                    <a:cubicBezTo>
                      <a:pt x="13180" y="11026"/>
                      <a:pt x="13062" y="11085"/>
                      <a:pt x="12945" y="11202"/>
                    </a:cubicBezTo>
                    <a:cubicBezTo>
                      <a:pt x="12535" y="11319"/>
                      <a:pt x="12184" y="11553"/>
                      <a:pt x="11891" y="11846"/>
                    </a:cubicBezTo>
                    <a:cubicBezTo>
                      <a:pt x="11598" y="12139"/>
                      <a:pt x="11364" y="12490"/>
                      <a:pt x="11247" y="12900"/>
                    </a:cubicBezTo>
                    <a:cubicBezTo>
                      <a:pt x="11129" y="13017"/>
                      <a:pt x="11071" y="13135"/>
                      <a:pt x="10954" y="13252"/>
                    </a:cubicBezTo>
                    <a:cubicBezTo>
                      <a:pt x="10602" y="13369"/>
                      <a:pt x="10251" y="13603"/>
                      <a:pt x="9958" y="13954"/>
                    </a:cubicBezTo>
                    <a:cubicBezTo>
                      <a:pt x="9665" y="14247"/>
                      <a:pt x="9489" y="14657"/>
                      <a:pt x="9372" y="15067"/>
                    </a:cubicBezTo>
                    <a:cubicBezTo>
                      <a:pt x="9255" y="15184"/>
                      <a:pt x="9196" y="15302"/>
                      <a:pt x="9079" y="15419"/>
                    </a:cubicBezTo>
                    <a:cubicBezTo>
                      <a:pt x="8728" y="15594"/>
                      <a:pt x="8376" y="15829"/>
                      <a:pt x="8142" y="16180"/>
                    </a:cubicBezTo>
                    <a:cubicBezTo>
                      <a:pt x="7908" y="16531"/>
                      <a:pt x="7732" y="16883"/>
                      <a:pt x="7673" y="17293"/>
                    </a:cubicBezTo>
                    <a:cubicBezTo>
                      <a:pt x="7615" y="17410"/>
                      <a:pt x="7498" y="17527"/>
                      <a:pt x="7439" y="17644"/>
                    </a:cubicBezTo>
                    <a:cubicBezTo>
                      <a:pt x="7088" y="17820"/>
                      <a:pt x="6795" y="18113"/>
                      <a:pt x="6561" y="18464"/>
                    </a:cubicBezTo>
                    <a:cubicBezTo>
                      <a:pt x="6326" y="18816"/>
                      <a:pt x="6209" y="19225"/>
                      <a:pt x="6150" y="19635"/>
                    </a:cubicBezTo>
                    <a:cubicBezTo>
                      <a:pt x="6092" y="19753"/>
                      <a:pt x="6033" y="19870"/>
                      <a:pt x="5916" y="19987"/>
                    </a:cubicBezTo>
                    <a:cubicBezTo>
                      <a:pt x="5565" y="20221"/>
                      <a:pt x="5272" y="20514"/>
                      <a:pt x="5037" y="20924"/>
                    </a:cubicBezTo>
                    <a:cubicBezTo>
                      <a:pt x="4862" y="21275"/>
                      <a:pt x="4745" y="21685"/>
                      <a:pt x="4745" y="22154"/>
                    </a:cubicBezTo>
                    <a:cubicBezTo>
                      <a:pt x="4686" y="22271"/>
                      <a:pt x="4627" y="22388"/>
                      <a:pt x="4569" y="22505"/>
                    </a:cubicBezTo>
                    <a:cubicBezTo>
                      <a:pt x="4217" y="22740"/>
                      <a:pt x="3925" y="23091"/>
                      <a:pt x="3749" y="23501"/>
                    </a:cubicBezTo>
                    <a:cubicBezTo>
                      <a:pt x="3573" y="23911"/>
                      <a:pt x="3515" y="24321"/>
                      <a:pt x="3515" y="24731"/>
                    </a:cubicBezTo>
                    <a:cubicBezTo>
                      <a:pt x="3515" y="24789"/>
                      <a:pt x="3456" y="24848"/>
                      <a:pt x="3456" y="24906"/>
                    </a:cubicBezTo>
                    <a:cubicBezTo>
                      <a:pt x="3456" y="24965"/>
                      <a:pt x="3397" y="25024"/>
                      <a:pt x="3397" y="25082"/>
                    </a:cubicBezTo>
                    <a:cubicBezTo>
                      <a:pt x="3046" y="25375"/>
                      <a:pt x="2812" y="25726"/>
                      <a:pt x="2694" y="26078"/>
                    </a:cubicBezTo>
                    <a:cubicBezTo>
                      <a:pt x="2519" y="26488"/>
                      <a:pt x="2519" y="26898"/>
                      <a:pt x="2577" y="27308"/>
                    </a:cubicBezTo>
                    <a:cubicBezTo>
                      <a:pt x="2519" y="27425"/>
                      <a:pt x="2460" y="27542"/>
                      <a:pt x="2460" y="27659"/>
                    </a:cubicBezTo>
                    <a:cubicBezTo>
                      <a:pt x="2167" y="27952"/>
                      <a:pt x="1933" y="28303"/>
                      <a:pt x="1816" y="28713"/>
                    </a:cubicBezTo>
                    <a:cubicBezTo>
                      <a:pt x="1699" y="29123"/>
                      <a:pt x="1699" y="29533"/>
                      <a:pt x="1757" y="29943"/>
                    </a:cubicBezTo>
                    <a:cubicBezTo>
                      <a:pt x="1699" y="30060"/>
                      <a:pt x="1699" y="30177"/>
                      <a:pt x="1640" y="30295"/>
                    </a:cubicBezTo>
                    <a:cubicBezTo>
                      <a:pt x="1347" y="30587"/>
                      <a:pt x="1172" y="30997"/>
                      <a:pt x="1054" y="31407"/>
                    </a:cubicBezTo>
                    <a:cubicBezTo>
                      <a:pt x="937" y="31817"/>
                      <a:pt x="996" y="32227"/>
                      <a:pt x="1054" y="32637"/>
                    </a:cubicBezTo>
                    <a:cubicBezTo>
                      <a:pt x="1054" y="32754"/>
                      <a:pt x="996" y="32930"/>
                      <a:pt x="996" y="33047"/>
                    </a:cubicBezTo>
                    <a:cubicBezTo>
                      <a:pt x="762" y="33399"/>
                      <a:pt x="586" y="33750"/>
                      <a:pt x="527" y="34160"/>
                    </a:cubicBezTo>
                    <a:cubicBezTo>
                      <a:pt x="469" y="34570"/>
                      <a:pt x="527" y="34980"/>
                      <a:pt x="644" y="35390"/>
                    </a:cubicBezTo>
                    <a:cubicBezTo>
                      <a:pt x="644" y="35566"/>
                      <a:pt x="586" y="35683"/>
                      <a:pt x="586" y="35800"/>
                    </a:cubicBezTo>
                    <a:cubicBezTo>
                      <a:pt x="351" y="36151"/>
                      <a:pt x="234" y="36561"/>
                      <a:pt x="176" y="36971"/>
                    </a:cubicBezTo>
                    <a:cubicBezTo>
                      <a:pt x="117" y="37381"/>
                      <a:pt x="234" y="37791"/>
                      <a:pt x="351" y="38201"/>
                    </a:cubicBezTo>
                    <a:cubicBezTo>
                      <a:pt x="351" y="38377"/>
                      <a:pt x="351" y="38494"/>
                      <a:pt x="351" y="38670"/>
                    </a:cubicBezTo>
                    <a:cubicBezTo>
                      <a:pt x="176" y="39021"/>
                      <a:pt x="59" y="39431"/>
                      <a:pt x="0" y="39841"/>
                    </a:cubicBezTo>
                    <a:cubicBezTo>
                      <a:pt x="0" y="40251"/>
                      <a:pt x="117" y="40661"/>
                      <a:pt x="293" y="41012"/>
                    </a:cubicBezTo>
                    <a:cubicBezTo>
                      <a:pt x="293" y="41129"/>
                      <a:pt x="293" y="41305"/>
                      <a:pt x="293" y="41481"/>
                    </a:cubicBezTo>
                    <a:cubicBezTo>
                      <a:pt x="117" y="41832"/>
                      <a:pt x="59" y="42242"/>
                      <a:pt x="59" y="42652"/>
                    </a:cubicBezTo>
                    <a:cubicBezTo>
                      <a:pt x="59" y="43062"/>
                      <a:pt x="234" y="43472"/>
                      <a:pt x="410" y="43824"/>
                    </a:cubicBezTo>
                    <a:cubicBezTo>
                      <a:pt x="410" y="43941"/>
                      <a:pt x="410" y="44116"/>
                      <a:pt x="469" y="44233"/>
                    </a:cubicBezTo>
                    <a:cubicBezTo>
                      <a:pt x="293" y="44643"/>
                      <a:pt x="234" y="45053"/>
                      <a:pt x="293" y="45463"/>
                    </a:cubicBezTo>
                    <a:cubicBezTo>
                      <a:pt x="351" y="45873"/>
                      <a:pt x="527" y="46283"/>
                      <a:pt x="703" y="46635"/>
                    </a:cubicBezTo>
                    <a:cubicBezTo>
                      <a:pt x="703" y="46752"/>
                      <a:pt x="762" y="46928"/>
                      <a:pt x="762" y="47045"/>
                    </a:cubicBezTo>
                    <a:cubicBezTo>
                      <a:pt x="644" y="47455"/>
                      <a:pt x="586" y="47865"/>
                      <a:pt x="703" y="48275"/>
                    </a:cubicBezTo>
                    <a:cubicBezTo>
                      <a:pt x="762" y="48685"/>
                      <a:pt x="937" y="49036"/>
                      <a:pt x="1230" y="49387"/>
                    </a:cubicBezTo>
                    <a:cubicBezTo>
                      <a:pt x="1289" y="49504"/>
                      <a:pt x="1289" y="49680"/>
                      <a:pt x="1347" y="49797"/>
                    </a:cubicBezTo>
                    <a:cubicBezTo>
                      <a:pt x="1230" y="50207"/>
                      <a:pt x="1230" y="50617"/>
                      <a:pt x="1347" y="51027"/>
                    </a:cubicBezTo>
                    <a:cubicBezTo>
                      <a:pt x="1464" y="51437"/>
                      <a:pt x="1640" y="51789"/>
                      <a:pt x="1933" y="52140"/>
                    </a:cubicBezTo>
                    <a:cubicBezTo>
                      <a:pt x="1992" y="52257"/>
                      <a:pt x="1992" y="52374"/>
                      <a:pt x="2050" y="52550"/>
                    </a:cubicBezTo>
                    <a:cubicBezTo>
                      <a:pt x="1992" y="52960"/>
                      <a:pt x="1992" y="53370"/>
                      <a:pt x="2167" y="53780"/>
                    </a:cubicBezTo>
                    <a:cubicBezTo>
                      <a:pt x="2284" y="54190"/>
                      <a:pt x="2519" y="54541"/>
                      <a:pt x="2812" y="54834"/>
                    </a:cubicBezTo>
                    <a:cubicBezTo>
                      <a:pt x="2870" y="54951"/>
                      <a:pt x="2929" y="55127"/>
                      <a:pt x="2987" y="55244"/>
                    </a:cubicBezTo>
                    <a:cubicBezTo>
                      <a:pt x="2929" y="55654"/>
                      <a:pt x="2987" y="56064"/>
                      <a:pt x="3163" y="56474"/>
                    </a:cubicBezTo>
                    <a:cubicBezTo>
                      <a:pt x="3339" y="56884"/>
                      <a:pt x="3573" y="57177"/>
                      <a:pt x="3866" y="57470"/>
                    </a:cubicBezTo>
                    <a:cubicBezTo>
                      <a:pt x="3925" y="57587"/>
                      <a:pt x="3983" y="57704"/>
                      <a:pt x="4042" y="57880"/>
                    </a:cubicBezTo>
                    <a:cubicBezTo>
                      <a:pt x="4042" y="58290"/>
                      <a:pt x="4100" y="58700"/>
                      <a:pt x="4276" y="59109"/>
                    </a:cubicBezTo>
                    <a:cubicBezTo>
                      <a:pt x="4452" y="59461"/>
                      <a:pt x="4745" y="59754"/>
                      <a:pt x="5037" y="60047"/>
                    </a:cubicBezTo>
                    <a:cubicBezTo>
                      <a:pt x="5096" y="60164"/>
                      <a:pt x="5155" y="60339"/>
                      <a:pt x="5272" y="60457"/>
                    </a:cubicBezTo>
                    <a:cubicBezTo>
                      <a:pt x="5272" y="60866"/>
                      <a:pt x="5389" y="61276"/>
                      <a:pt x="5623" y="61628"/>
                    </a:cubicBezTo>
                    <a:cubicBezTo>
                      <a:pt x="5858" y="61979"/>
                      <a:pt x="6150" y="62272"/>
                      <a:pt x="6443" y="62506"/>
                    </a:cubicBezTo>
                    <a:cubicBezTo>
                      <a:pt x="6502" y="62623"/>
                      <a:pt x="6619" y="62741"/>
                      <a:pt x="6678" y="62916"/>
                    </a:cubicBezTo>
                    <a:cubicBezTo>
                      <a:pt x="6736" y="63326"/>
                      <a:pt x="6853" y="63736"/>
                      <a:pt x="7088" y="64029"/>
                    </a:cubicBezTo>
                    <a:cubicBezTo>
                      <a:pt x="7322" y="64380"/>
                      <a:pt x="7615" y="64615"/>
                      <a:pt x="8025" y="64849"/>
                    </a:cubicBezTo>
                    <a:cubicBezTo>
                      <a:pt x="8142" y="64966"/>
                      <a:pt x="8201" y="65083"/>
                      <a:pt x="8318" y="65200"/>
                    </a:cubicBezTo>
                    <a:cubicBezTo>
                      <a:pt x="8376" y="65610"/>
                      <a:pt x="8552" y="65962"/>
                      <a:pt x="8845" y="66313"/>
                    </a:cubicBezTo>
                    <a:cubicBezTo>
                      <a:pt x="9079" y="66606"/>
                      <a:pt x="9431" y="66899"/>
                      <a:pt x="9782" y="67075"/>
                    </a:cubicBezTo>
                    <a:cubicBezTo>
                      <a:pt x="9899" y="67192"/>
                      <a:pt x="9958" y="67309"/>
                      <a:pt x="10075" y="67426"/>
                    </a:cubicBezTo>
                    <a:cubicBezTo>
                      <a:pt x="10192" y="67836"/>
                      <a:pt x="10368" y="68187"/>
                      <a:pt x="10661" y="68480"/>
                    </a:cubicBezTo>
                    <a:cubicBezTo>
                      <a:pt x="10895" y="68773"/>
                      <a:pt x="11188" y="68949"/>
                      <a:pt x="11539" y="69066"/>
                    </a:cubicBezTo>
                    <a:cubicBezTo>
                      <a:pt x="11598" y="69066"/>
                      <a:pt x="11598" y="69124"/>
                      <a:pt x="11657" y="69124"/>
                    </a:cubicBezTo>
                    <a:cubicBezTo>
                      <a:pt x="11774" y="69242"/>
                      <a:pt x="11891" y="69359"/>
                      <a:pt x="12008" y="69476"/>
                    </a:cubicBezTo>
                    <a:cubicBezTo>
                      <a:pt x="12125" y="69827"/>
                      <a:pt x="12359" y="70179"/>
                      <a:pt x="12652" y="70471"/>
                    </a:cubicBezTo>
                    <a:cubicBezTo>
                      <a:pt x="12887" y="70647"/>
                      <a:pt x="13121" y="70823"/>
                      <a:pt x="13414" y="70940"/>
                    </a:cubicBezTo>
                    <a:cubicBezTo>
                      <a:pt x="13531" y="70999"/>
                      <a:pt x="13590" y="70999"/>
                      <a:pt x="13707" y="71057"/>
                    </a:cubicBezTo>
                    <a:cubicBezTo>
                      <a:pt x="13824" y="71174"/>
                      <a:pt x="13941" y="71291"/>
                      <a:pt x="14058" y="71350"/>
                    </a:cubicBezTo>
                    <a:cubicBezTo>
                      <a:pt x="14234" y="71701"/>
                      <a:pt x="14468" y="72053"/>
                      <a:pt x="14761" y="72287"/>
                    </a:cubicBezTo>
                    <a:cubicBezTo>
                      <a:pt x="14937" y="72463"/>
                      <a:pt x="15171" y="72580"/>
                      <a:pt x="15347" y="72638"/>
                    </a:cubicBezTo>
                    <a:cubicBezTo>
                      <a:pt x="15523" y="72697"/>
                      <a:pt x="15640" y="72756"/>
                      <a:pt x="15815" y="72756"/>
                    </a:cubicBezTo>
                    <a:cubicBezTo>
                      <a:pt x="15933" y="72873"/>
                      <a:pt x="16108" y="72931"/>
                      <a:pt x="16225" y="73048"/>
                    </a:cubicBezTo>
                    <a:cubicBezTo>
                      <a:pt x="16401" y="73400"/>
                      <a:pt x="16694" y="73693"/>
                      <a:pt x="16987" y="73927"/>
                    </a:cubicBezTo>
                    <a:cubicBezTo>
                      <a:pt x="17104" y="74044"/>
                      <a:pt x="17280" y="74103"/>
                      <a:pt x="17456" y="74161"/>
                    </a:cubicBezTo>
                    <a:cubicBezTo>
                      <a:pt x="17690" y="74278"/>
                      <a:pt x="17866" y="74337"/>
                      <a:pt x="18100" y="74337"/>
                    </a:cubicBezTo>
                    <a:cubicBezTo>
                      <a:pt x="18217" y="74395"/>
                      <a:pt x="18393" y="74513"/>
                      <a:pt x="18510" y="74571"/>
                    </a:cubicBezTo>
                    <a:cubicBezTo>
                      <a:pt x="18744" y="74922"/>
                      <a:pt x="18979" y="75215"/>
                      <a:pt x="19330" y="75391"/>
                    </a:cubicBezTo>
                    <a:cubicBezTo>
                      <a:pt x="19447" y="75450"/>
                      <a:pt x="19564" y="75508"/>
                      <a:pt x="19623" y="75567"/>
                    </a:cubicBezTo>
                    <a:cubicBezTo>
                      <a:pt x="19916" y="75684"/>
                      <a:pt x="20150" y="75742"/>
                      <a:pt x="20443" y="75742"/>
                    </a:cubicBezTo>
                    <a:cubicBezTo>
                      <a:pt x="20560" y="75801"/>
                      <a:pt x="20736" y="75918"/>
                      <a:pt x="20853" y="75977"/>
                    </a:cubicBezTo>
                    <a:cubicBezTo>
                      <a:pt x="21087" y="76328"/>
                      <a:pt x="21380" y="76562"/>
                      <a:pt x="21732" y="76797"/>
                    </a:cubicBezTo>
                    <a:cubicBezTo>
                      <a:pt x="21790" y="76797"/>
                      <a:pt x="21849" y="76855"/>
                      <a:pt x="21907" y="76855"/>
                    </a:cubicBezTo>
                    <a:cubicBezTo>
                      <a:pt x="22259" y="76972"/>
                      <a:pt x="22552" y="77031"/>
                      <a:pt x="22903" y="77031"/>
                    </a:cubicBezTo>
                    <a:cubicBezTo>
                      <a:pt x="23020" y="77089"/>
                      <a:pt x="23196" y="77148"/>
                      <a:pt x="23313" y="77265"/>
                    </a:cubicBezTo>
                    <a:cubicBezTo>
                      <a:pt x="23547" y="77558"/>
                      <a:pt x="23899" y="77851"/>
                      <a:pt x="24250" y="77968"/>
                    </a:cubicBezTo>
                    <a:lnTo>
                      <a:pt x="24250" y="77968"/>
                    </a:lnTo>
                    <a:cubicBezTo>
                      <a:pt x="24660" y="78144"/>
                      <a:pt x="25012" y="78202"/>
                      <a:pt x="25422" y="78144"/>
                    </a:cubicBezTo>
                    <a:cubicBezTo>
                      <a:pt x="25598" y="78202"/>
                      <a:pt x="25715" y="78261"/>
                      <a:pt x="25890" y="78319"/>
                    </a:cubicBezTo>
                    <a:cubicBezTo>
                      <a:pt x="26125" y="78554"/>
                      <a:pt x="26418" y="78788"/>
                      <a:pt x="26710" y="78905"/>
                    </a:cubicBezTo>
                    <a:cubicBezTo>
                      <a:pt x="26769" y="78905"/>
                      <a:pt x="26828" y="78964"/>
                      <a:pt x="26886" y="78964"/>
                    </a:cubicBezTo>
                    <a:cubicBezTo>
                      <a:pt x="27296" y="79081"/>
                      <a:pt x="27648" y="79139"/>
                      <a:pt x="28058" y="79081"/>
                    </a:cubicBezTo>
                    <a:cubicBezTo>
                      <a:pt x="28233" y="79139"/>
                      <a:pt x="28351" y="79198"/>
                      <a:pt x="28526" y="79198"/>
                    </a:cubicBezTo>
                    <a:cubicBezTo>
                      <a:pt x="28761" y="79374"/>
                      <a:pt x="28936" y="79549"/>
                      <a:pt x="29229" y="79666"/>
                    </a:cubicBezTo>
                    <a:cubicBezTo>
                      <a:pt x="29346" y="79725"/>
                      <a:pt x="29464" y="79784"/>
                      <a:pt x="29581" y="79784"/>
                    </a:cubicBezTo>
                    <a:cubicBezTo>
                      <a:pt x="29991" y="79901"/>
                      <a:pt x="30401" y="79901"/>
                      <a:pt x="30752" y="79784"/>
                    </a:cubicBezTo>
                    <a:cubicBezTo>
                      <a:pt x="30928" y="79842"/>
                      <a:pt x="31045" y="79842"/>
                      <a:pt x="31221" y="79901"/>
                    </a:cubicBezTo>
                    <a:cubicBezTo>
                      <a:pt x="31397" y="80018"/>
                      <a:pt x="31572" y="80135"/>
                      <a:pt x="31807" y="80252"/>
                    </a:cubicBezTo>
                    <a:cubicBezTo>
                      <a:pt x="31982" y="80311"/>
                      <a:pt x="32158" y="80369"/>
                      <a:pt x="32334" y="80428"/>
                    </a:cubicBezTo>
                    <a:cubicBezTo>
                      <a:pt x="32744" y="80486"/>
                      <a:pt x="33154" y="80486"/>
                      <a:pt x="33505" y="80369"/>
                    </a:cubicBezTo>
                    <a:cubicBezTo>
                      <a:pt x="33681" y="80369"/>
                      <a:pt x="33857" y="80428"/>
                      <a:pt x="33974" y="80428"/>
                    </a:cubicBezTo>
                    <a:cubicBezTo>
                      <a:pt x="34091" y="80545"/>
                      <a:pt x="34267" y="80603"/>
                      <a:pt x="34384" y="80662"/>
                    </a:cubicBezTo>
                    <a:cubicBezTo>
                      <a:pt x="34618" y="80779"/>
                      <a:pt x="34853" y="80838"/>
                      <a:pt x="35087" y="80838"/>
                    </a:cubicBezTo>
                    <a:cubicBezTo>
                      <a:pt x="35497" y="80896"/>
                      <a:pt x="35907" y="80838"/>
                      <a:pt x="36258" y="80721"/>
                    </a:cubicBezTo>
                    <a:cubicBezTo>
                      <a:pt x="36434" y="80721"/>
                      <a:pt x="36610" y="80779"/>
                      <a:pt x="36727" y="80779"/>
                    </a:cubicBezTo>
                    <a:cubicBezTo>
                      <a:pt x="36844" y="80838"/>
                      <a:pt x="36903" y="80896"/>
                      <a:pt x="37020" y="80896"/>
                    </a:cubicBezTo>
                    <a:cubicBezTo>
                      <a:pt x="37313" y="81013"/>
                      <a:pt x="37606" y="81072"/>
                      <a:pt x="37898" y="81072"/>
                    </a:cubicBezTo>
                    <a:cubicBezTo>
                      <a:pt x="38308" y="81072"/>
                      <a:pt x="38718" y="81013"/>
                      <a:pt x="39070" y="80838"/>
                    </a:cubicBezTo>
                    <a:cubicBezTo>
                      <a:pt x="39246" y="80838"/>
                      <a:pt x="39421" y="80838"/>
                      <a:pt x="39539" y="80838"/>
                    </a:cubicBezTo>
                    <a:cubicBezTo>
                      <a:pt x="39597" y="80838"/>
                      <a:pt x="39597" y="80896"/>
                      <a:pt x="39656" y="80896"/>
                    </a:cubicBezTo>
                    <a:cubicBezTo>
                      <a:pt x="40007" y="81013"/>
                      <a:pt x="40359" y="81131"/>
                      <a:pt x="40710" y="81131"/>
                    </a:cubicBezTo>
                    <a:cubicBezTo>
                      <a:pt x="41120" y="81131"/>
                      <a:pt x="41530" y="81013"/>
                      <a:pt x="41882" y="80838"/>
                    </a:cubicBezTo>
                    <a:cubicBezTo>
                      <a:pt x="42057" y="80838"/>
                      <a:pt x="42174" y="80838"/>
                      <a:pt x="42350" y="80838"/>
                    </a:cubicBezTo>
                    <a:cubicBezTo>
                      <a:pt x="42760" y="81013"/>
                      <a:pt x="43170" y="81072"/>
                      <a:pt x="43522" y="81013"/>
                    </a:cubicBezTo>
                    <a:cubicBezTo>
                      <a:pt x="43932" y="80955"/>
                      <a:pt x="44283" y="80838"/>
                      <a:pt x="44635" y="80603"/>
                    </a:cubicBezTo>
                    <a:cubicBezTo>
                      <a:pt x="44810" y="80603"/>
                      <a:pt x="44928" y="80545"/>
                      <a:pt x="45103" y="80545"/>
                    </a:cubicBezTo>
                    <a:cubicBezTo>
                      <a:pt x="45513" y="80662"/>
                      <a:pt x="45923" y="80721"/>
                      <a:pt x="46275" y="80662"/>
                    </a:cubicBezTo>
                    <a:cubicBezTo>
                      <a:pt x="46685" y="80603"/>
                      <a:pt x="47036" y="80428"/>
                      <a:pt x="47388" y="80193"/>
                    </a:cubicBezTo>
                    <a:cubicBezTo>
                      <a:pt x="47563" y="80135"/>
                      <a:pt x="47681" y="80135"/>
                      <a:pt x="47856" y="80076"/>
                    </a:cubicBezTo>
                    <a:cubicBezTo>
                      <a:pt x="48266" y="80193"/>
                      <a:pt x="48676" y="80193"/>
                      <a:pt x="49028" y="80076"/>
                    </a:cubicBezTo>
                    <a:cubicBezTo>
                      <a:pt x="49438" y="79959"/>
                      <a:pt x="49789" y="79784"/>
                      <a:pt x="50141" y="79549"/>
                    </a:cubicBezTo>
                    <a:cubicBezTo>
                      <a:pt x="50258" y="79491"/>
                      <a:pt x="50434" y="79491"/>
                      <a:pt x="50551" y="79432"/>
                    </a:cubicBezTo>
                    <a:cubicBezTo>
                      <a:pt x="50961" y="79491"/>
                      <a:pt x="51371" y="79491"/>
                      <a:pt x="51781" y="79374"/>
                    </a:cubicBezTo>
                    <a:cubicBezTo>
                      <a:pt x="52191" y="79256"/>
                      <a:pt x="52542" y="79022"/>
                      <a:pt x="52835" y="78729"/>
                    </a:cubicBezTo>
                    <a:cubicBezTo>
                      <a:pt x="52952" y="78671"/>
                      <a:pt x="53128" y="78612"/>
                      <a:pt x="53245" y="78612"/>
                    </a:cubicBezTo>
                    <a:cubicBezTo>
                      <a:pt x="53655" y="78671"/>
                      <a:pt x="54065" y="78612"/>
                      <a:pt x="54475" y="78495"/>
                    </a:cubicBezTo>
                    <a:cubicBezTo>
                      <a:pt x="54885" y="78319"/>
                      <a:pt x="55178" y="78085"/>
                      <a:pt x="55471" y="77792"/>
                    </a:cubicBezTo>
                    <a:cubicBezTo>
                      <a:pt x="55588" y="77734"/>
                      <a:pt x="55764" y="77675"/>
                      <a:pt x="55881" y="77617"/>
                    </a:cubicBezTo>
                    <a:cubicBezTo>
                      <a:pt x="56291" y="77617"/>
                      <a:pt x="56701" y="77558"/>
                      <a:pt x="57111" y="77382"/>
                    </a:cubicBezTo>
                    <a:cubicBezTo>
                      <a:pt x="57463" y="77207"/>
                      <a:pt x="57814" y="76914"/>
                      <a:pt x="58048" y="76621"/>
                    </a:cubicBezTo>
                    <a:cubicBezTo>
                      <a:pt x="58166" y="76562"/>
                      <a:pt x="58283" y="76504"/>
                      <a:pt x="58400" y="76445"/>
                    </a:cubicBezTo>
                    <a:cubicBezTo>
                      <a:pt x="58810" y="76445"/>
                      <a:pt x="59220" y="76328"/>
                      <a:pt x="59571" y="76152"/>
                    </a:cubicBezTo>
                    <a:cubicBezTo>
                      <a:pt x="59923" y="75977"/>
                      <a:pt x="60216" y="75684"/>
                      <a:pt x="60450" y="75332"/>
                    </a:cubicBezTo>
                    <a:cubicBezTo>
                      <a:pt x="60567" y="75274"/>
                      <a:pt x="60684" y="75215"/>
                      <a:pt x="60802" y="75098"/>
                    </a:cubicBezTo>
                    <a:cubicBezTo>
                      <a:pt x="61212" y="75040"/>
                      <a:pt x="61622" y="74922"/>
                      <a:pt x="61973" y="74688"/>
                    </a:cubicBezTo>
                    <a:cubicBezTo>
                      <a:pt x="62324" y="74454"/>
                      <a:pt x="62617" y="74161"/>
                      <a:pt x="62793" y="73810"/>
                    </a:cubicBezTo>
                    <a:cubicBezTo>
                      <a:pt x="62910" y="73751"/>
                      <a:pt x="63027" y="73634"/>
                      <a:pt x="63145" y="73575"/>
                    </a:cubicBezTo>
                    <a:cubicBezTo>
                      <a:pt x="63555" y="73517"/>
                      <a:pt x="63965" y="73341"/>
                      <a:pt x="64258" y="73107"/>
                    </a:cubicBezTo>
                    <a:cubicBezTo>
                      <a:pt x="64609" y="72873"/>
                      <a:pt x="64843" y="72521"/>
                      <a:pt x="65019" y="72170"/>
                    </a:cubicBezTo>
                    <a:cubicBezTo>
                      <a:pt x="65136" y="72053"/>
                      <a:pt x="65253" y="71994"/>
                      <a:pt x="65370" y="71877"/>
                    </a:cubicBezTo>
                    <a:cubicBezTo>
                      <a:pt x="65780" y="71760"/>
                      <a:pt x="66132" y="71584"/>
                      <a:pt x="66483" y="71291"/>
                    </a:cubicBezTo>
                    <a:cubicBezTo>
                      <a:pt x="66776" y="70999"/>
                      <a:pt x="67011" y="70647"/>
                      <a:pt x="67186" y="70296"/>
                    </a:cubicBezTo>
                    <a:cubicBezTo>
                      <a:pt x="67303" y="70179"/>
                      <a:pt x="67421" y="70120"/>
                      <a:pt x="67479" y="70003"/>
                    </a:cubicBezTo>
                    <a:cubicBezTo>
                      <a:pt x="67889" y="69886"/>
                      <a:pt x="68241" y="69651"/>
                      <a:pt x="68533" y="69359"/>
                    </a:cubicBezTo>
                    <a:cubicBezTo>
                      <a:pt x="68826" y="69066"/>
                      <a:pt x="69061" y="68714"/>
                      <a:pt x="69178" y="68304"/>
                    </a:cubicBezTo>
                    <a:cubicBezTo>
                      <a:pt x="69295" y="68187"/>
                      <a:pt x="69354" y="68070"/>
                      <a:pt x="69471" y="67953"/>
                    </a:cubicBezTo>
                    <a:cubicBezTo>
                      <a:pt x="69822" y="67777"/>
                      <a:pt x="70174" y="67602"/>
                      <a:pt x="70467" y="67250"/>
                    </a:cubicBezTo>
                    <a:cubicBezTo>
                      <a:pt x="70759" y="66899"/>
                      <a:pt x="70935" y="66547"/>
                      <a:pt x="70994" y="66137"/>
                    </a:cubicBezTo>
                    <a:cubicBezTo>
                      <a:pt x="71111" y="66020"/>
                      <a:pt x="71169" y="65903"/>
                      <a:pt x="71287" y="65786"/>
                    </a:cubicBezTo>
                    <a:cubicBezTo>
                      <a:pt x="71638" y="65610"/>
                      <a:pt x="71989" y="65376"/>
                      <a:pt x="72224" y="65025"/>
                    </a:cubicBezTo>
                    <a:cubicBezTo>
                      <a:pt x="72458" y="64673"/>
                      <a:pt x="72634" y="64263"/>
                      <a:pt x="72692" y="63912"/>
                    </a:cubicBezTo>
                    <a:cubicBezTo>
                      <a:pt x="72751" y="63795"/>
                      <a:pt x="72868" y="63678"/>
                      <a:pt x="72927" y="63561"/>
                    </a:cubicBezTo>
                    <a:cubicBezTo>
                      <a:pt x="73278" y="63385"/>
                      <a:pt x="73571" y="63092"/>
                      <a:pt x="73805" y="62741"/>
                    </a:cubicBezTo>
                    <a:cubicBezTo>
                      <a:pt x="74040" y="62389"/>
                      <a:pt x="74157" y="61979"/>
                      <a:pt x="74215" y="61569"/>
                    </a:cubicBezTo>
                    <a:cubicBezTo>
                      <a:pt x="74274" y="61452"/>
                      <a:pt x="74332" y="61335"/>
                      <a:pt x="74391" y="61218"/>
                    </a:cubicBezTo>
                    <a:cubicBezTo>
                      <a:pt x="74742" y="60984"/>
                      <a:pt x="75035" y="60691"/>
                      <a:pt x="75270" y="60281"/>
                    </a:cubicBezTo>
                    <a:cubicBezTo>
                      <a:pt x="75504" y="59929"/>
                      <a:pt x="75563" y="59519"/>
                      <a:pt x="75563" y="59051"/>
                    </a:cubicBezTo>
                    <a:cubicBezTo>
                      <a:pt x="75621" y="58934"/>
                      <a:pt x="75680" y="58817"/>
                      <a:pt x="75738" y="58700"/>
                    </a:cubicBezTo>
                    <a:cubicBezTo>
                      <a:pt x="76207" y="58114"/>
                      <a:pt x="76441" y="57762"/>
                      <a:pt x="76676" y="57352"/>
                    </a:cubicBezTo>
                    <a:close/>
                  </a:path>
                </a:pathLst>
              </a:custGeom>
              <a:solidFill>
                <a:srgbClr val="BEADA0"/>
              </a:solidFill>
              <a:ln w="5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grpSp>
            <p:nvGrpSpPr>
              <p:cNvPr id="140" name="Graphic 2">
                <a:extLst>
                  <a:ext uri="{FF2B5EF4-FFF2-40B4-BE49-F238E27FC236}">
                    <a16:creationId xmlns:a16="http://schemas.microsoft.com/office/drawing/2014/main" id="{1F9A56D1-16CE-C376-66B6-3C68799C1640}"/>
                  </a:ext>
                </a:extLst>
              </p:cNvPr>
              <p:cNvGrpSpPr/>
              <p:nvPr/>
            </p:nvGrpSpPr>
            <p:grpSpPr>
              <a:xfrm>
                <a:off x="804301" y="2374129"/>
                <a:ext cx="80482" cy="81130"/>
                <a:chOff x="804301" y="2374129"/>
                <a:chExt cx="80482" cy="81130"/>
              </a:xfrm>
            </p:grpSpPr>
            <p:sp>
              <p:nvSpPr>
                <p:cNvPr id="141" name="Freeform 1140">
                  <a:extLst>
                    <a:ext uri="{FF2B5EF4-FFF2-40B4-BE49-F238E27FC236}">
                      <a16:creationId xmlns:a16="http://schemas.microsoft.com/office/drawing/2014/main" id="{1854F4D4-1ECD-20B3-BF33-5AE5DB156197}"/>
                    </a:ext>
                  </a:extLst>
                </p:cNvPr>
                <p:cNvSpPr/>
                <p:nvPr/>
              </p:nvSpPr>
              <p:spPr>
                <a:xfrm>
                  <a:off x="840208" y="2409812"/>
                  <a:ext cx="2672" cy="3023"/>
                </a:xfrm>
                <a:custGeom>
                  <a:avLst/>
                  <a:gdLst>
                    <a:gd name="connsiteX0" fmla="*/ 2460 w 2672"/>
                    <a:gd name="connsiteY0" fmla="*/ 2108 h 3023"/>
                    <a:gd name="connsiteX1" fmla="*/ 1874 w 2672"/>
                    <a:gd name="connsiteY1" fmla="*/ 351 h 3023"/>
                    <a:gd name="connsiteX2" fmla="*/ 1113 w 2672"/>
                    <a:gd name="connsiteY2" fmla="*/ 0 h 3023"/>
                    <a:gd name="connsiteX3" fmla="*/ 0 w 2672"/>
                    <a:gd name="connsiteY3" fmla="*/ 2577 h 3023"/>
                    <a:gd name="connsiteX4" fmla="*/ 703 w 2672"/>
                    <a:gd name="connsiteY4" fmla="*/ 2870 h 3023"/>
                    <a:gd name="connsiteX5" fmla="*/ 2460 w 2672"/>
                    <a:gd name="connsiteY5" fmla="*/ 2108 h 302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2672" h="3023">
                      <a:moveTo>
                        <a:pt x="2460" y="2108"/>
                      </a:moveTo>
                      <a:cubicBezTo>
                        <a:pt x="2870" y="1230"/>
                        <a:pt x="2694" y="703"/>
                        <a:pt x="1874" y="351"/>
                      </a:cubicBezTo>
                      <a:lnTo>
                        <a:pt x="1113" y="0"/>
                      </a:lnTo>
                      <a:lnTo>
                        <a:pt x="0" y="2577"/>
                      </a:lnTo>
                      <a:lnTo>
                        <a:pt x="703" y="2870"/>
                      </a:lnTo>
                      <a:cubicBezTo>
                        <a:pt x="1406" y="3163"/>
                        <a:pt x="2050" y="3104"/>
                        <a:pt x="2460" y="2108"/>
                      </a:cubicBezTo>
                      <a:close/>
                    </a:path>
                  </a:pathLst>
                </a:custGeom>
                <a:solidFill>
                  <a:srgbClr val="311F12"/>
                </a:solidFill>
                <a:ln w="58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42" name="Freeform 1141">
                  <a:extLst>
                    <a:ext uri="{FF2B5EF4-FFF2-40B4-BE49-F238E27FC236}">
                      <a16:creationId xmlns:a16="http://schemas.microsoft.com/office/drawing/2014/main" id="{D5D11C3A-6FCE-AE69-4C1A-6A1581B95ED8}"/>
                    </a:ext>
                  </a:extLst>
                </p:cNvPr>
                <p:cNvSpPr/>
                <p:nvPr/>
              </p:nvSpPr>
              <p:spPr>
                <a:xfrm>
                  <a:off x="852149" y="2415747"/>
                  <a:ext cx="4068" cy="6941"/>
                </a:xfrm>
                <a:custGeom>
                  <a:avLst/>
                  <a:gdLst>
                    <a:gd name="connsiteX0" fmla="*/ 595 w 4068"/>
                    <a:gd name="connsiteY0" fmla="*/ 6832 h 6941"/>
                    <a:gd name="connsiteX1" fmla="*/ 2704 w 4068"/>
                    <a:gd name="connsiteY1" fmla="*/ 4783 h 6941"/>
                    <a:gd name="connsiteX2" fmla="*/ 3524 w 4068"/>
                    <a:gd name="connsiteY2" fmla="*/ 2908 h 6941"/>
                    <a:gd name="connsiteX3" fmla="*/ 3465 w 4068"/>
                    <a:gd name="connsiteY3" fmla="*/ 97 h 6941"/>
                    <a:gd name="connsiteX4" fmla="*/ 1415 w 4068"/>
                    <a:gd name="connsiteY4" fmla="*/ 2030 h 6941"/>
                    <a:gd name="connsiteX5" fmla="*/ 595 w 4068"/>
                    <a:gd name="connsiteY5" fmla="*/ 3904 h 6941"/>
                    <a:gd name="connsiteX6" fmla="*/ 595 w 4068"/>
                    <a:gd name="connsiteY6" fmla="*/ 6832 h 694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4068" h="6941">
                      <a:moveTo>
                        <a:pt x="595" y="6832"/>
                      </a:moveTo>
                      <a:cubicBezTo>
                        <a:pt x="1298" y="7125"/>
                        <a:pt x="1766" y="6950"/>
                        <a:pt x="2704" y="4783"/>
                      </a:cubicBezTo>
                      <a:lnTo>
                        <a:pt x="3524" y="2908"/>
                      </a:lnTo>
                      <a:cubicBezTo>
                        <a:pt x="4344" y="976"/>
                        <a:pt x="4168" y="390"/>
                        <a:pt x="3465" y="97"/>
                      </a:cubicBezTo>
                      <a:cubicBezTo>
                        <a:pt x="2762" y="-196"/>
                        <a:pt x="2235" y="97"/>
                        <a:pt x="1415" y="2030"/>
                      </a:cubicBezTo>
                      <a:lnTo>
                        <a:pt x="595" y="3904"/>
                      </a:lnTo>
                      <a:cubicBezTo>
                        <a:pt x="-284" y="6071"/>
                        <a:pt x="-108" y="6540"/>
                        <a:pt x="595" y="6832"/>
                      </a:cubicBezTo>
                      <a:close/>
                    </a:path>
                  </a:pathLst>
                </a:custGeom>
                <a:solidFill>
                  <a:srgbClr val="311F12"/>
                </a:solidFill>
                <a:ln w="58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43" name="Freeform 1142">
                  <a:extLst>
                    <a:ext uri="{FF2B5EF4-FFF2-40B4-BE49-F238E27FC236}">
                      <a16:creationId xmlns:a16="http://schemas.microsoft.com/office/drawing/2014/main" id="{1990B1AE-0517-6D48-F133-633D7E944BB5}"/>
                    </a:ext>
                  </a:extLst>
                </p:cNvPr>
                <p:cNvSpPr/>
                <p:nvPr/>
              </p:nvSpPr>
              <p:spPr>
                <a:xfrm>
                  <a:off x="827919" y="2403383"/>
                  <a:ext cx="32797" cy="22638"/>
                </a:xfrm>
                <a:custGeom>
                  <a:avLst/>
                  <a:gdLst>
                    <a:gd name="connsiteX0" fmla="*/ 457 w 32797"/>
                    <a:gd name="connsiteY0" fmla="*/ 4496 h 22638"/>
                    <a:gd name="connsiteX1" fmla="*/ 12524 w 32797"/>
                    <a:gd name="connsiteY1" fmla="*/ 20368 h 22638"/>
                    <a:gd name="connsiteX2" fmla="*/ 32322 w 32797"/>
                    <a:gd name="connsiteY2" fmla="*/ 18142 h 22638"/>
                    <a:gd name="connsiteX3" fmla="*/ 20256 w 32797"/>
                    <a:gd name="connsiteY3" fmla="*/ 2271 h 22638"/>
                    <a:gd name="connsiteX4" fmla="*/ 457 w 32797"/>
                    <a:gd name="connsiteY4" fmla="*/ 4496 h 22638"/>
                    <a:gd name="connsiteX5" fmla="*/ 8658 w 32797"/>
                    <a:gd name="connsiteY5" fmla="*/ 9299 h 22638"/>
                    <a:gd name="connsiteX6" fmla="*/ 4147 w 32797"/>
                    <a:gd name="connsiteY6" fmla="*/ 11875 h 22638"/>
                    <a:gd name="connsiteX7" fmla="*/ 2917 w 32797"/>
                    <a:gd name="connsiteY7" fmla="*/ 6780 h 22638"/>
                    <a:gd name="connsiteX8" fmla="*/ 3737 w 32797"/>
                    <a:gd name="connsiteY8" fmla="*/ 4906 h 22638"/>
                    <a:gd name="connsiteX9" fmla="*/ 8189 w 32797"/>
                    <a:gd name="connsiteY9" fmla="*/ 2446 h 22638"/>
                    <a:gd name="connsiteX10" fmla="*/ 9478 w 32797"/>
                    <a:gd name="connsiteY10" fmla="*/ 7366 h 22638"/>
                    <a:gd name="connsiteX11" fmla="*/ 8658 w 32797"/>
                    <a:gd name="connsiteY11" fmla="*/ 9299 h 22638"/>
                    <a:gd name="connsiteX12" fmla="*/ 11762 w 32797"/>
                    <a:gd name="connsiteY12" fmla="*/ 10236 h 22638"/>
                    <a:gd name="connsiteX13" fmla="*/ 10356 w 32797"/>
                    <a:gd name="connsiteY13" fmla="*/ 13457 h 22638"/>
                    <a:gd name="connsiteX14" fmla="*/ 9126 w 32797"/>
                    <a:gd name="connsiteY14" fmla="*/ 13925 h 22638"/>
                    <a:gd name="connsiteX15" fmla="*/ 8599 w 32797"/>
                    <a:gd name="connsiteY15" fmla="*/ 12695 h 22638"/>
                    <a:gd name="connsiteX16" fmla="*/ 11762 w 32797"/>
                    <a:gd name="connsiteY16" fmla="*/ 5316 h 22638"/>
                    <a:gd name="connsiteX17" fmla="*/ 13109 w 32797"/>
                    <a:gd name="connsiteY17" fmla="*/ 4847 h 22638"/>
                    <a:gd name="connsiteX18" fmla="*/ 15511 w 32797"/>
                    <a:gd name="connsiteY18" fmla="*/ 5902 h 22638"/>
                    <a:gd name="connsiteX19" fmla="*/ 16624 w 32797"/>
                    <a:gd name="connsiteY19" fmla="*/ 9123 h 22638"/>
                    <a:gd name="connsiteX20" fmla="*/ 15277 w 32797"/>
                    <a:gd name="connsiteY20" fmla="*/ 10587 h 22638"/>
                    <a:gd name="connsiteX21" fmla="*/ 14808 w 32797"/>
                    <a:gd name="connsiteY21" fmla="*/ 10704 h 22638"/>
                    <a:gd name="connsiteX22" fmla="*/ 14281 w 32797"/>
                    <a:gd name="connsiteY22" fmla="*/ 10763 h 22638"/>
                    <a:gd name="connsiteX23" fmla="*/ 14047 w 32797"/>
                    <a:gd name="connsiteY23" fmla="*/ 14745 h 22638"/>
                    <a:gd name="connsiteX24" fmla="*/ 13168 w 32797"/>
                    <a:gd name="connsiteY24" fmla="*/ 15624 h 22638"/>
                    <a:gd name="connsiteX25" fmla="*/ 12348 w 32797"/>
                    <a:gd name="connsiteY25" fmla="*/ 14570 h 22638"/>
                    <a:gd name="connsiteX26" fmla="*/ 12582 w 32797"/>
                    <a:gd name="connsiteY26" fmla="*/ 10587 h 22638"/>
                    <a:gd name="connsiteX27" fmla="*/ 12406 w 32797"/>
                    <a:gd name="connsiteY27" fmla="*/ 10528 h 22638"/>
                    <a:gd name="connsiteX28" fmla="*/ 11762 w 32797"/>
                    <a:gd name="connsiteY28" fmla="*/ 10236 h 22638"/>
                    <a:gd name="connsiteX29" fmla="*/ 16800 w 32797"/>
                    <a:gd name="connsiteY29" fmla="*/ 19372 h 22638"/>
                    <a:gd name="connsiteX30" fmla="*/ 16800 w 32797"/>
                    <a:gd name="connsiteY30" fmla="*/ 19372 h 22638"/>
                    <a:gd name="connsiteX31" fmla="*/ 14105 w 32797"/>
                    <a:gd name="connsiteY31" fmla="*/ 19489 h 22638"/>
                    <a:gd name="connsiteX32" fmla="*/ 12934 w 32797"/>
                    <a:gd name="connsiteY32" fmla="*/ 19431 h 22638"/>
                    <a:gd name="connsiteX33" fmla="*/ 12055 w 32797"/>
                    <a:gd name="connsiteY33" fmla="*/ 18611 h 22638"/>
                    <a:gd name="connsiteX34" fmla="*/ 10298 w 32797"/>
                    <a:gd name="connsiteY34" fmla="*/ 16619 h 22638"/>
                    <a:gd name="connsiteX35" fmla="*/ 10239 w 32797"/>
                    <a:gd name="connsiteY35" fmla="*/ 16268 h 22638"/>
                    <a:gd name="connsiteX36" fmla="*/ 10708 w 32797"/>
                    <a:gd name="connsiteY36" fmla="*/ 16092 h 22638"/>
                    <a:gd name="connsiteX37" fmla="*/ 10708 w 32797"/>
                    <a:gd name="connsiteY37" fmla="*/ 16092 h 22638"/>
                    <a:gd name="connsiteX38" fmla="*/ 16917 w 32797"/>
                    <a:gd name="connsiteY38" fmla="*/ 18786 h 22638"/>
                    <a:gd name="connsiteX39" fmla="*/ 16917 w 32797"/>
                    <a:gd name="connsiteY39" fmla="*/ 18786 h 22638"/>
                    <a:gd name="connsiteX40" fmla="*/ 17092 w 32797"/>
                    <a:gd name="connsiteY40" fmla="*/ 19255 h 22638"/>
                    <a:gd name="connsiteX41" fmla="*/ 16800 w 32797"/>
                    <a:gd name="connsiteY41" fmla="*/ 19372 h 22638"/>
                    <a:gd name="connsiteX42" fmla="*/ 23829 w 32797"/>
                    <a:gd name="connsiteY42" fmla="*/ 13515 h 22638"/>
                    <a:gd name="connsiteX43" fmla="*/ 28280 w 32797"/>
                    <a:gd name="connsiteY43" fmla="*/ 11056 h 22638"/>
                    <a:gd name="connsiteX44" fmla="*/ 29569 w 32797"/>
                    <a:gd name="connsiteY44" fmla="*/ 15975 h 22638"/>
                    <a:gd name="connsiteX45" fmla="*/ 28749 w 32797"/>
                    <a:gd name="connsiteY45" fmla="*/ 17849 h 22638"/>
                    <a:gd name="connsiteX46" fmla="*/ 24239 w 32797"/>
                    <a:gd name="connsiteY46" fmla="*/ 20426 h 22638"/>
                    <a:gd name="connsiteX47" fmla="*/ 23009 w 32797"/>
                    <a:gd name="connsiteY47" fmla="*/ 15331 h 22638"/>
                    <a:gd name="connsiteX48" fmla="*/ 23829 w 32797"/>
                    <a:gd name="connsiteY48" fmla="*/ 13515 h 22638"/>
                    <a:gd name="connsiteX49" fmla="*/ 23946 w 32797"/>
                    <a:gd name="connsiteY49" fmla="*/ 10353 h 22638"/>
                    <a:gd name="connsiteX50" fmla="*/ 22716 w 32797"/>
                    <a:gd name="connsiteY50" fmla="*/ 10704 h 22638"/>
                    <a:gd name="connsiteX51" fmla="*/ 20080 w 32797"/>
                    <a:gd name="connsiteY51" fmla="*/ 9591 h 22638"/>
                    <a:gd name="connsiteX52" fmla="*/ 19201 w 32797"/>
                    <a:gd name="connsiteY52" fmla="*/ 11641 h 22638"/>
                    <a:gd name="connsiteX53" fmla="*/ 21661 w 32797"/>
                    <a:gd name="connsiteY53" fmla="*/ 12695 h 22638"/>
                    <a:gd name="connsiteX54" fmla="*/ 22247 w 32797"/>
                    <a:gd name="connsiteY54" fmla="*/ 13867 h 22638"/>
                    <a:gd name="connsiteX55" fmla="*/ 21017 w 32797"/>
                    <a:gd name="connsiteY55" fmla="*/ 14218 h 22638"/>
                    <a:gd name="connsiteX56" fmla="*/ 18557 w 32797"/>
                    <a:gd name="connsiteY56" fmla="*/ 13164 h 22638"/>
                    <a:gd name="connsiteX57" fmla="*/ 17502 w 32797"/>
                    <a:gd name="connsiteY57" fmla="*/ 15565 h 22638"/>
                    <a:gd name="connsiteX58" fmla="*/ 20197 w 32797"/>
                    <a:gd name="connsiteY58" fmla="*/ 16736 h 22638"/>
                    <a:gd name="connsiteX59" fmla="*/ 20783 w 32797"/>
                    <a:gd name="connsiteY59" fmla="*/ 17849 h 22638"/>
                    <a:gd name="connsiteX60" fmla="*/ 19553 w 32797"/>
                    <a:gd name="connsiteY60" fmla="*/ 18201 h 22638"/>
                    <a:gd name="connsiteX61" fmla="*/ 16038 w 32797"/>
                    <a:gd name="connsiteY61" fmla="*/ 16678 h 22638"/>
                    <a:gd name="connsiteX62" fmla="*/ 15452 w 32797"/>
                    <a:gd name="connsiteY62" fmla="*/ 15389 h 22638"/>
                    <a:gd name="connsiteX63" fmla="*/ 18557 w 32797"/>
                    <a:gd name="connsiteY63" fmla="*/ 8186 h 22638"/>
                    <a:gd name="connsiteX64" fmla="*/ 19904 w 32797"/>
                    <a:gd name="connsiteY64" fmla="*/ 7717 h 22638"/>
                    <a:gd name="connsiteX65" fmla="*/ 23301 w 32797"/>
                    <a:gd name="connsiteY65" fmla="*/ 9181 h 22638"/>
                    <a:gd name="connsiteX66" fmla="*/ 23946 w 32797"/>
                    <a:gd name="connsiteY66" fmla="*/ 10353 h 22638"/>
                    <a:gd name="connsiteX67" fmla="*/ 22540 w 32797"/>
                    <a:gd name="connsiteY67" fmla="*/ 5902 h 22638"/>
                    <a:gd name="connsiteX68" fmla="*/ 22599 w 32797"/>
                    <a:gd name="connsiteY68" fmla="*/ 6253 h 22638"/>
                    <a:gd name="connsiteX69" fmla="*/ 22130 w 32797"/>
                    <a:gd name="connsiteY69" fmla="*/ 6429 h 22638"/>
                    <a:gd name="connsiteX70" fmla="*/ 22130 w 32797"/>
                    <a:gd name="connsiteY70" fmla="*/ 6429 h 22638"/>
                    <a:gd name="connsiteX71" fmla="*/ 15921 w 32797"/>
                    <a:gd name="connsiteY71" fmla="*/ 3735 h 22638"/>
                    <a:gd name="connsiteX72" fmla="*/ 15921 w 32797"/>
                    <a:gd name="connsiteY72" fmla="*/ 3735 h 22638"/>
                    <a:gd name="connsiteX73" fmla="*/ 15745 w 32797"/>
                    <a:gd name="connsiteY73" fmla="*/ 3266 h 22638"/>
                    <a:gd name="connsiteX74" fmla="*/ 16038 w 32797"/>
                    <a:gd name="connsiteY74" fmla="*/ 3090 h 22638"/>
                    <a:gd name="connsiteX75" fmla="*/ 16097 w 32797"/>
                    <a:gd name="connsiteY75" fmla="*/ 3090 h 22638"/>
                    <a:gd name="connsiteX76" fmla="*/ 18791 w 32797"/>
                    <a:gd name="connsiteY76" fmla="*/ 2973 h 22638"/>
                    <a:gd name="connsiteX77" fmla="*/ 19963 w 32797"/>
                    <a:gd name="connsiteY77" fmla="*/ 3032 h 22638"/>
                    <a:gd name="connsiteX78" fmla="*/ 20783 w 32797"/>
                    <a:gd name="connsiteY78" fmla="*/ 3852 h 22638"/>
                    <a:gd name="connsiteX79" fmla="*/ 22540 w 32797"/>
                    <a:gd name="connsiteY79" fmla="*/ 5902 h 2263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</a:cxnLst>
                  <a:rect l="l" t="t" r="r" b="b"/>
                  <a:pathLst>
                    <a:path w="32797" h="22638">
                      <a:moveTo>
                        <a:pt x="457" y="4496"/>
                      </a:moveTo>
                      <a:cubicBezTo>
                        <a:pt x="-1652" y="9474"/>
                        <a:pt x="3737" y="16619"/>
                        <a:pt x="12524" y="20368"/>
                      </a:cubicBezTo>
                      <a:cubicBezTo>
                        <a:pt x="21310" y="24116"/>
                        <a:pt x="30213" y="23120"/>
                        <a:pt x="32322" y="18142"/>
                      </a:cubicBezTo>
                      <a:cubicBezTo>
                        <a:pt x="34489" y="13164"/>
                        <a:pt x="29042" y="6019"/>
                        <a:pt x="20256" y="2271"/>
                      </a:cubicBezTo>
                      <a:cubicBezTo>
                        <a:pt x="11469" y="-1478"/>
                        <a:pt x="2624" y="-482"/>
                        <a:pt x="457" y="4496"/>
                      </a:cubicBezTo>
                      <a:close/>
                      <a:moveTo>
                        <a:pt x="8658" y="9299"/>
                      </a:moveTo>
                      <a:cubicBezTo>
                        <a:pt x="7193" y="12695"/>
                        <a:pt x="5729" y="12578"/>
                        <a:pt x="4147" y="11875"/>
                      </a:cubicBezTo>
                      <a:cubicBezTo>
                        <a:pt x="2507" y="11173"/>
                        <a:pt x="1453" y="10177"/>
                        <a:pt x="2917" y="6780"/>
                      </a:cubicBezTo>
                      <a:lnTo>
                        <a:pt x="3737" y="4906"/>
                      </a:lnTo>
                      <a:cubicBezTo>
                        <a:pt x="5143" y="1626"/>
                        <a:pt x="6725" y="1802"/>
                        <a:pt x="8189" y="2446"/>
                      </a:cubicBezTo>
                      <a:cubicBezTo>
                        <a:pt x="9653" y="3090"/>
                        <a:pt x="10883" y="4086"/>
                        <a:pt x="9478" y="7366"/>
                      </a:cubicBezTo>
                      <a:lnTo>
                        <a:pt x="8658" y="9299"/>
                      </a:lnTo>
                      <a:close/>
                      <a:moveTo>
                        <a:pt x="11762" y="10236"/>
                      </a:moveTo>
                      <a:lnTo>
                        <a:pt x="10356" y="13457"/>
                      </a:lnTo>
                      <a:cubicBezTo>
                        <a:pt x="10122" y="13984"/>
                        <a:pt x="9595" y="14160"/>
                        <a:pt x="9126" y="13925"/>
                      </a:cubicBezTo>
                      <a:cubicBezTo>
                        <a:pt x="8658" y="13750"/>
                        <a:pt x="8365" y="13222"/>
                        <a:pt x="8599" y="12695"/>
                      </a:cubicBezTo>
                      <a:lnTo>
                        <a:pt x="11762" y="5316"/>
                      </a:lnTo>
                      <a:cubicBezTo>
                        <a:pt x="12055" y="4672"/>
                        <a:pt x="12465" y="4555"/>
                        <a:pt x="13109" y="4847"/>
                      </a:cubicBezTo>
                      <a:lnTo>
                        <a:pt x="15511" y="5902"/>
                      </a:lnTo>
                      <a:cubicBezTo>
                        <a:pt x="17092" y="6604"/>
                        <a:pt x="17210" y="7834"/>
                        <a:pt x="16624" y="9123"/>
                      </a:cubicBezTo>
                      <a:cubicBezTo>
                        <a:pt x="16272" y="10001"/>
                        <a:pt x="15862" y="10411"/>
                        <a:pt x="15277" y="10587"/>
                      </a:cubicBezTo>
                      <a:cubicBezTo>
                        <a:pt x="15159" y="10646"/>
                        <a:pt x="14984" y="10704"/>
                        <a:pt x="14808" y="10704"/>
                      </a:cubicBezTo>
                      <a:cubicBezTo>
                        <a:pt x="14749" y="10704"/>
                        <a:pt x="14457" y="10763"/>
                        <a:pt x="14281" y="10763"/>
                      </a:cubicBezTo>
                      <a:lnTo>
                        <a:pt x="14047" y="14745"/>
                      </a:lnTo>
                      <a:cubicBezTo>
                        <a:pt x="13988" y="15448"/>
                        <a:pt x="13636" y="15682"/>
                        <a:pt x="13168" y="15624"/>
                      </a:cubicBezTo>
                      <a:cubicBezTo>
                        <a:pt x="12699" y="15565"/>
                        <a:pt x="12348" y="15272"/>
                        <a:pt x="12348" y="14570"/>
                      </a:cubicBezTo>
                      <a:lnTo>
                        <a:pt x="12582" y="10587"/>
                      </a:lnTo>
                      <a:cubicBezTo>
                        <a:pt x="12465" y="10587"/>
                        <a:pt x="12406" y="10528"/>
                        <a:pt x="12406" y="10528"/>
                      </a:cubicBezTo>
                      <a:lnTo>
                        <a:pt x="11762" y="10236"/>
                      </a:lnTo>
                      <a:close/>
                      <a:moveTo>
                        <a:pt x="16800" y="19372"/>
                      </a:moveTo>
                      <a:cubicBezTo>
                        <a:pt x="16741" y="19372"/>
                        <a:pt x="16741" y="19372"/>
                        <a:pt x="16800" y="19372"/>
                      </a:cubicBezTo>
                      <a:lnTo>
                        <a:pt x="14105" y="19489"/>
                      </a:lnTo>
                      <a:cubicBezTo>
                        <a:pt x="14105" y="19489"/>
                        <a:pt x="13168" y="19548"/>
                        <a:pt x="12934" y="19431"/>
                      </a:cubicBezTo>
                      <a:cubicBezTo>
                        <a:pt x="12699" y="19313"/>
                        <a:pt x="12055" y="18611"/>
                        <a:pt x="12055" y="18611"/>
                      </a:cubicBezTo>
                      <a:lnTo>
                        <a:pt x="10298" y="16619"/>
                      </a:lnTo>
                      <a:cubicBezTo>
                        <a:pt x="10239" y="16502"/>
                        <a:pt x="10181" y="16385"/>
                        <a:pt x="10239" y="16268"/>
                      </a:cubicBezTo>
                      <a:cubicBezTo>
                        <a:pt x="10298" y="16092"/>
                        <a:pt x="10532" y="16034"/>
                        <a:pt x="10708" y="16092"/>
                      </a:cubicBezTo>
                      <a:lnTo>
                        <a:pt x="10708" y="16092"/>
                      </a:lnTo>
                      <a:lnTo>
                        <a:pt x="16917" y="18786"/>
                      </a:lnTo>
                      <a:lnTo>
                        <a:pt x="16917" y="18786"/>
                      </a:lnTo>
                      <a:cubicBezTo>
                        <a:pt x="17092" y="18845"/>
                        <a:pt x="17151" y="19079"/>
                        <a:pt x="17092" y="19255"/>
                      </a:cubicBezTo>
                      <a:cubicBezTo>
                        <a:pt x="17034" y="19313"/>
                        <a:pt x="16917" y="19372"/>
                        <a:pt x="16800" y="19372"/>
                      </a:cubicBezTo>
                      <a:close/>
                      <a:moveTo>
                        <a:pt x="23829" y="13515"/>
                      </a:moveTo>
                      <a:cubicBezTo>
                        <a:pt x="25234" y="10236"/>
                        <a:pt x="26816" y="10411"/>
                        <a:pt x="28280" y="11056"/>
                      </a:cubicBezTo>
                      <a:cubicBezTo>
                        <a:pt x="29745" y="11700"/>
                        <a:pt x="30975" y="12695"/>
                        <a:pt x="29569" y="15975"/>
                      </a:cubicBezTo>
                      <a:lnTo>
                        <a:pt x="28749" y="17849"/>
                      </a:lnTo>
                      <a:cubicBezTo>
                        <a:pt x="27285" y="21246"/>
                        <a:pt x="25820" y="21129"/>
                        <a:pt x="24239" y="20426"/>
                      </a:cubicBezTo>
                      <a:cubicBezTo>
                        <a:pt x="22599" y="19723"/>
                        <a:pt x="21544" y="18728"/>
                        <a:pt x="23009" y="15331"/>
                      </a:cubicBezTo>
                      <a:lnTo>
                        <a:pt x="23829" y="13515"/>
                      </a:lnTo>
                      <a:close/>
                      <a:moveTo>
                        <a:pt x="23946" y="10353"/>
                      </a:moveTo>
                      <a:cubicBezTo>
                        <a:pt x="23770" y="10763"/>
                        <a:pt x="23360" y="10997"/>
                        <a:pt x="22716" y="10704"/>
                      </a:cubicBezTo>
                      <a:lnTo>
                        <a:pt x="20080" y="9591"/>
                      </a:lnTo>
                      <a:lnTo>
                        <a:pt x="19201" y="11641"/>
                      </a:lnTo>
                      <a:lnTo>
                        <a:pt x="21661" y="12695"/>
                      </a:lnTo>
                      <a:cubicBezTo>
                        <a:pt x="22306" y="12988"/>
                        <a:pt x="22423" y="13398"/>
                        <a:pt x="22247" y="13867"/>
                      </a:cubicBezTo>
                      <a:cubicBezTo>
                        <a:pt x="22071" y="14277"/>
                        <a:pt x="21661" y="14511"/>
                        <a:pt x="21017" y="14218"/>
                      </a:cubicBezTo>
                      <a:lnTo>
                        <a:pt x="18557" y="13164"/>
                      </a:lnTo>
                      <a:lnTo>
                        <a:pt x="17502" y="15565"/>
                      </a:lnTo>
                      <a:lnTo>
                        <a:pt x="20197" y="16736"/>
                      </a:lnTo>
                      <a:cubicBezTo>
                        <a:pt x="20841" y="17029"/>
                        <a:pt x="20958" y="17439"/>
                        <a:pt x="20783" y="17849"/>
                      </a:cubicBezTo>
                      <a:cubicBezTo>
                        <a:pt x="20607" y="18259"/>
                        <a:pt x="20197" y="18493"/>
                        <a:pt x="19553" y="18201"/>
                      </a:cubicBezTo>
                      <a:lnTo>
                        <a:pt x="16038" y="16678"/>
                      </a:lnTo>
                      <a:cubicBezTo>
                        <a:pt x="15394" y="16385"/>
                        <a:pt x="15218" y="15975"/>
                        <a:pt x="15452" y="15389"/>
                      </a:cubicBezTo>
                      <a:lnTo>
                        <a:pt x="18557" y="8186"/>
                      </a:lnTo>
                      <a:cubicBezTo>
                        <a:pt x="18850" y="7542"/>
                        <a:pt x="19260" y="7424"/>
                        <a:pt x="19904" y="7717"/>
                      </a:cubicBezTo>
                      <a:lnTo>
                        <a:pt x="23301" y="9181"/>
                      </a:lnTo>
                      <a:cubicBezTo>
                        <a:pt x="24004" y="9474"/>
                        <a:pt x="24121" y="9943"/>
                        <a:pt x="23946" y="10353"/>
                      </a:cubicBezTo>
                      <a:close/>
                      <a:moveTo>
                        <a:pt x="22540" y="5902"/>
                      </a:moveTo>
                      <a:cubicBezTo>
                        <a:pt x="22599" y="6019"/>
                        <a:pt x="22657" y="6136"/>
                        <a:pt x="22599" y="6253"/>
                      </a:cubicBezTo>
                      <a:cubicBezTo>
                        <a:pt x="22540" y="6429"/>
                        <a:pt x="22306" y="6487"/>
                        <a:pt x="22130" y="6429"/>
                      </a:cubicBezTo>
                      <a:lnTo>
                        <a:pt x="22130" y="6429"/>
                      </a:lnTo>
                      <a:lnTo>
                        <a:pt x="15921" y="3735"/>
                      </a:lnTo>
                      <a:lnTo>
                        <a:pt x="15921" y="3735"/>
                      </a:lnTo>
                      <a:cubicBezTo>
                        <a:pt x="15745" y="3676"/>
                        <a:pt x="15687" y="3442"/>
                        <a:pt x="15745" y="3266"/>
                      </a:cubicBezTo>
                      <a:cubicBezTo>
                        <a:pt x="15804" y="3149"/>
                        <a:pt x="15921" y="3090"/>
                        <a:pt x="16038" y="3090"/>
                      </a:cubicBezTo>
                      <a:cubicBezTo>
                        <a:pt x="16038" y="3090"/>
                        <a:pt x="16038" y="3090"/>
                        <a:pt x="16097" y="3090"/>
                      </a:cubicBezTo>
                      <a:lnTo>
                        <a:pt x="18791" y="2973"/>
                      </a:lnTo>
                      <a:cubicBezTo>
                        <a:pt x="18791" y="2973"/>
                        <a:pt x="19728" y="2915"/>
                        <a:pt x="19963" y="3032"/>
                      </a:cubicBezTo>
                      <a:cubicBezTo>
                        <a:pt x="20197" y="3149"/>
                        <a:pt x="20783" y="3852"/>
                        <a:pt x="20783" y="3852"/>
                      </a:cubicBezTo>
                      <a:lnTo>
                        <a:pt x="22540" y="5902"/>
                      </a:lnTo>
                      <a:close/>
                    </a:path>
                  </a:pathLst>
                </a:custGeom>
                <a:solidFill>
                  <a:srgbClr val="311F12"/>
                </a:solidFill>
                <a:ln w="58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44" name="Freeform 1143">
                  <a:extLst>
                    <a:ext uri="{FF2B5EF4-FFF2-40B4-BE49-F238E27FC236}">
                      <a16:creationId xmlns:a16="http://schemas.microsoft.com/office/drawing/2014/main" id="{B3CE6DD4-39CF-81BA-0CD9-F6AAFEE63EB9}"/>
                    </a:ext>
                  </a:extLst>
                </p:cNvPr>
                <p:cNvSpPr/>
                <p:nvPr/>
              </p:nvSpPr>
              <p:spPr>
                <a:xfrm>
                  <a:off x="837999" y="2427089"/>
                  <a:ext cx="1043" cy="2167"/>
                </a:xfrm>
                <a:custGeom>
                  <a:avLst/>
                  <a:gdLst>
                    <a:gd name="connsiteX0" fmla="*/ 920 w 1043"/>
                    <a:gd name="connsiteY0" fmla="*/ 0 h 2167"/>
                    <a:gd name="connsiteX1" fmla="*/ 100 w 1043"/>
                    <a:gd name="connsiteY1" fmla="*/ 2167 h 2167"/>
                    <a:gd name="connsiteX2" fmla="*/ 920 w 1043"/>
                    <a:gd name="connsiteY2" fmla="*/ 0 h 216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043" h="2167">
                      <a:moveTo>
                        <a:pt x="920" y="0"/>
                      </a:moveTo>
                      <a:cubicBezTo>
                        <a:pt x="393" y="293"/>
                        <a:pt x="-251" y="1581"/>
                        <a:pt x="100" y="2167"/>
                      </a:cubicBezTo>
                      <a:cubicBezTo>
                        <a:pt x="627" y="1933"/>
                        <a:pt x="1330" y="527"/>
                        <a:pt x="920" y="0"/>
                      </a:cubicBezTo>
                      <a:close/>
                    </a:path>
                  </a:pathLst>
                </a:custGeom>
                <a:solidFill>
                  <a:srgbClr val="623E23"/>
                </a:solidFill>
                <a:ln w="58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45" name="Freeform 1144">
                  <a:extLst>
                    <a:ext uri="{FF2B5EF4-FFF2-40B4-BE49-F238E27FC236}">
                      <a16:creationId xmlns:a16="http://schemas.microsoft.com/office/drawing/2014/main" id="{842956E3-EFD7-ACF4-AB32-7314586E881F}"/>
                    </a:ext>
                  </a:extLst>
                </p:cNvPr>
                <p:cNvSpPr/>
                <p:nvPr/>
              </p:nvSpPr>
              <p:spPr>
                <a:xfrm>
                  <a:off x="804301" y="2374129"/>
                  <a:ext cx="80482" cy="81130"/>
                </a:xfrm>
                <a:custGeom>
                  <a:avLst/>
                  <a:gdLst>
                    <a:gd name="connsiteX0" fmla="*/ 76676 w 80482"/>
                    <a:gd name="connsiteY0" fmla="*/ 57352 h 81130"/>
                    <a:gd name="connsiteX1" fmla="*/ 76910 w 80482"/>
                    <a:gd name="connsiteY1" fmla="*/ 56123 h 81130"/>
                    <a:gd name="connsiteX2" fmla="*/ 76968 w 80482"/>
                    <a:gd name="connsiteY2" fmla="*/ 55947 h 81130"/>
                    <a:gd name="connsiteX3" fmla="*/ 77027 w 80482"/>
                    <a:gd name="connsiteY3" fmla="*/ 55771 h 81130"/>
                    <a:gd name="connsiteX4" fmla="*/ 77788 w 80482"/>
                    <a:gd name="connsiteY4" fmla="*/ 54775 h 81130"/>
                    <a:gd name="connsiteX5" fmla="*/ 77906 w 80482"/>
                    <a:gd name="connsiteY5" fmla="*/ 53546 h 81130"/>
                    <a:gd name="connsiteX6" fmla="*/ 78023 w 80482"/>
                    <a:gd name="connsiteY6" fmla="*/ 53194 h 81130"/>
                    <a:gd name="connsiteX7" fmla="*/ 78667 w 80482"/>
                    <a:gd name="connsiteY7" fmla="*/ 52140 h 81130"/>
                    <a:gd name="connsiteX8" fmla="*/ 78726 w 80482"/>
                    <a:gd name="connsiteY8" fmla="*/ 50910 h 81130"/>
                    <a:gd name="connsiteX9" fmla="*/ 78843 w 80482"/>
                    <a:gd name="connsiteY9" fmla="*/ 50500 h 81130"/>
                    <a:gd name="connsiteX10" fmla="*/ 79429 w 80482"/>
                    <a:gd name="connsiteY10" fmla="*/ 49387 h 81130"/>
                    <a:gd name="connsiteX11" fmla="*/ 79429 w 80482"/>
                    <a:gd name="connsiteY11" fmla="*/ 48157 h 81130"/>
                    <a:gd name="connsiteX12" fmla="*/ 79487 w 80482"/>
                    <a:gd name="connsiteY12" fmla="*/ 47747 h 81130"/>
                    <a:gd name="connsiteX13" fmla="*/ 79956 w 80482"/>
                    <a:gd name="connsiteY13" fmla="*/ 46635 h 81130"/>
                    <a:gd name="connsiteX14" fmla="*/ 79839 w 80482"/>
                    <a:gd name="connsiteY14" fmla="*/ 45405 h 81130"/>
                    <a:gd name="connsiteX15" fmla="*/ 79897 w 80482"/>
                    <a:gd name="connsiteY15" fmla="*/ 44995 h 81130"/>
                    <a:gd name="connsiteX16" fmla="*/ 80307 w 80482"/>
                    <a:gd name="connsiteY16" fmla="*/ 43824 h 81130"/>
                    <a:gd name="connsiteX17" fmla="*/ 80131 w 80482"/>
                    <a:gd name="connsiteY17" fmla="*/ 42652 h 81130"/>
                    <a:gd name="connsiteX18" fmla="*/ 80131 w 80482"/>
                    <a:gd name="connsiteY18" fmla="*/ 42184 h 81130"/>
                    <a:gd name="connsiteX19" fmla="*/ 80483 w 80482"/>
                    <a:gd name="connsiteY19" fmla="*/ 41012 h 81130"/>
                    <a:gd name="connsiteX20" fmla="*/ 80190 w 80482"/>
                    <a:gd name="connsiteY20" fmla="*/ 39841 h 81130"/>
                    <a:gd name="connsiteX21" fmla="*/ 80190 w 80482"/>
                    <a:gd name="connsiteY21" fmla="*/ 39372 h 81130"/>
                    <a:gd name="connsiteX22" fmla="*/ 80424 w 80482"/>
                    <a:gd name="connsiteY22" fmla="*/ 38201 h 81130"/>
                    <a:gd name="connsiteX23" fmla="*/ 80073 w 80482"/>
                    <a:gd name="connsiteY23" fmla="*/ 37030 h 81130"/>
                    <a:gd name="connsiteX24" fmla="*/ 80014 w 80482"/>
                    <a:gd name="connsiteY24" fmla="*/ 36620 h 81130"/>
                    <a:gd name="connsiteX25" fmla="*/ 80190 w 80482"/>
                    <a:gd name="connsiteY25" fmla="*/ 35390 h 81130"/>
                    <a:gd name="connsiteX26" fmla="*/ 79780 w 80482"/>
                    <a:gd name="connsiteY26" fmla="*/ 34219 h 81130"/>
                    <a:gd name="connsiteX27" fmla="*/ 79721 w 80482"/>
                    <a:gd name="connsiteY27" fmla="*/ 33809 h 81130"/>
                    <a:gd name="connsiteX28" fmla="*/ 79780 w 80482"/>
                    <a:gd name="connsiteY28" fmla="*/ 32579 h 81130"/>
                    <a:gd name="connsiteX29" fmla="*/ 79253 w 80482"/>
                    <a:gd name="connsiteY29" fmla="*/ 31466 h 81130"/>
                    <a:gd name="connsiteX30" fmla="*/ 79136 w 80482"/>
                    <a:gd name="connsiteY30" fmla="*/ 31056 h 81130"/>
                    <a:gd name="connsiteX31" fmla="*/ 79136 w 80482"/>
                    <a:gd name="connsiteY31" fmla="*/ 29826 h 81130"/>
                    <a:gd name="connsiteX32" fmla="*/ 78550 w 80482"/>
                    <a:gd name="connsiteY32" fmla="*/ 28772 h 81130"/>
                    <a:gd name="connsiteX33" fmla="*/ 78433 w 80482"/>
                    <a:gd name="connsiteY33" fmla="*/ 28362 h 81130"/>
                    <a:gd name="connsiteX34" fmla="*/ 78316 w 80482"/>
                    <a:gd name="connsiteY34" fmla="*/ 27132 h 81130"/>
                    <a:gd name="connsiteX35" fmla="*/ 77671 w 80482"/>
                    <a:gd name="connsiteY35" fmla="*/ 26136 h 81130"/>
                    <a:gd name="connsiteX36" fmla="*/ 77496 w 80482"/>
                    <a:gd name="connsiteY36" fmla="*/ 25726 h 81130"/>
                    <a:gd name="connsiteX37" fmla="*/ 77320 w 80482"/>
                    <a:gd name="connsiteY37" fmla="*/ 24497 h 81130"/>
                    <a:gd name="connsiteX38" fmla="*/ 76558 w 80482"/>
                    <a:gd name="connsiteY38" fmla="*/ 23501 h 81130"/>
                    <a:gd name="connsiteX39" fmla="*/ 76383 w 80482"/>
                    <a:gd name="connsiteY39" fmla="*/ 23091 h 81130"/>
                    <a:gd name="connsiteX40" fmla="*/ 76090 w 80482"/>
                    <a:gd name="connsiteY40" fmla="*/ 21920 h 81130"/>
                    <a:gd name="connsiteX41" fmla="*/ 75328 w 80482"/>
                    <a:gd name="connsiteY41" fmla="*/ 20982 h 81130"/>
                    <a:gd name="connsiteX42" fmla="*/ 75094 w 80482"/>
                    <a:gd name="connsiteY42" fmla="*/ 20573 h 81130"/>
                    <a:gd name="connsiteX43" fmla="*/ 74742 w 80482"/>
                    <a:gd name="connsiteY43" fmla="*/ 19401 h 81130"/>
                    <a:gd name="connsiteX44" fmla="*/ 73922 w 80482"/>
                    <a:gd name="connsiteY44" fmla="*/ 18581 h 81130"/>
                    <a:gd name="connsiteX45" fmla="*/ 73688 w 80482"/>
                    <a:gd name="connsiteY45" fmla="*/ 18171 h 81130"/>
                    <a:gd name="connsiteX46" fmla="*/ 73278 w 80482"/>
                    <a:gd name="connsiteY46" fmla="*/ 17059 h 81130"/>
                    <a:gd name="connsiteX47" fmla="*/ 72399 w 80482"/>
                    <a:gd name="connsiteY47" fmla="*/ 16239 h 81130"/>
                    <a:gd name="connsiteX48" fmla="*/ 72107 w 80482"/>
                    <a:gd name="connsiteY48" fmla="*/ 15887 h 81130"/>
                    <a:gd name="connsiteX49" fmla="*/ 71579 w 80482"/>
                    <a:gd name="connsiteY49" fmla="*/ 14774 h 81130"/>
                    <a:gd name="connsiteX50" fmla="*/ 70642 w 80482"/>
                    <a:gd name="connsiteY50" fmla="*/ 14072 h 81130"/>
                    <a:gd name="connsiteX51" fmla="*/ 70349 w 80482"/>
                    <a:gd name="connsiteY51" fmla="*/ 13720 h 81130"/>
                    <a:gd name="connsiteX52" fmla="*/ 69764 w 80482"/>
                    <a:gd name="connsiteY52" fmla="*/ 12666 h 81130"/>
                    <a:gd name="connsiteX53" fmla="*/ 68885 w 80482"/>
                    <a:gd name="connsiteY53" fmla="*/ 12080 h 81130"/>
                    <a:gd name="connsiteX54" fmla="*/ 68768 w 80482"/>
                    <a:gd name="connsiteY54" fmla="*/ 12022 h 81130"/>
                    <a:gd name="connsiteX55" fmla="*/ 68416 w 80482"/>
                    <a:gd name="connsiteY55" fmla="*/ 11670 h 81130"/>
                    <a:gd name="connsiteX56" fmla="*/ 67772 w 80482"/>
                    <a:gd name="connsiteY56" fmla="*/ 10675 h 81130"/>
                    <a:gd name="connsiteX57" fmla="*/ 67011 w 80482"/>
                    <a:gd name="connsiteY57" fmla="*/ 10206 h 81130"/>
                    <a:gd name="connsiteX58" fmla="*/ 66718 w 80482"/>
                    <a:gd name="connsiteY58" fmla="*/ 10089 h 81130"/>
                    <a:gd name="connsiteX59" fmla="*/ 66366 w 80482"/>
                    <a:gd name="connsiteY59" fmla="*/ 9738 h 81130"/>
                    <a:gd name="connsiteX60" fmla="*/ 65663 w 80482"/>
                    <a:gd name="connsiteY60" fmla="*/ 8801 h 81130"/>
                    <a:gd name="connsiteX61" fmla="*/ 65078 w 80482"/>
                    <a:gd name="connsiteY61" fmla="*/ 8449 h 81130"/>
                    <a:gd name="connsiteX62" fmla="*/ 64609 w 80482"/>
                    <a:gd name="connsiteY62" fmla="*/ 8332 h 81130"/>
                    <a:gd name="connsiteX63" fmla="*/ 64199 w 80482"/>
                    <a:gd name="connsiteY63" fmla="*/ 8039 h 81130"/>
                    <a:gd name="connsiteX64" fmla="*/ 63437 w 80482"/>
                    <a:gd name="connsiteY64" fmla="*/ 7161 h 81130"/>
                    <a:gd name="connsiteX65" fmla="*/ 62969 w 80482"/>
                    <a:gd name="connsiteY65" fmla="*/ 6926 h 81130"/>
                    <a:gd name="connsiteX66" fmla="*/ 62324 w 80482"/>
                    <a:gd name="connsiteY66" fmla="*/ 6751 h 81130"/>
                    <a:gd name="connsiteX67" fmla="*/ 61914 w 80482"/>
                    <a:gd name="connsiteY67" fmla="*/ 6517 h 81130"/>
                    <a:gd name="connsiteX68" fmla="*/ 61094 w 80482"/>
                    <a:gd name="connsiteY68" fmla="*/ 5697 h 81130"/>
                    <a:gd name="connsiteX69" fmla="*/ 59981 w 80482"/>
                    <a:gd name="connsiteY69" fmla="*/ 5345 h 81130"/>
                    <a:gd name="connsiteX70" fmla="*/ 59571 w 80482"/>
                    <a:gd name="connsiteY70" fmla="*/ 5111 h 81130"/>
                    <a:gd name="connsiteX71" fmla="*/ 58693 w 80482"/>
                    <a:gd name="connsiteY71" fmla="*/ 4350 h 81130"/>
                    <a:gd name="connsiteX72" fmla="*/ 57521 w 80482"/>
                    <a:gd name="connsiteY72" fmla="*/ 4057 h 81130"/>
                    <a:gd name="connsiteX73" fmla="*/ 57111 w 80482"/>
                    <a:gd name="connsiteY73" fmla="*/ 3822 h 81130"/>
                    <a:gd name="connsiteX74" fmla="*/ 56174 w 80482"/>
                    <a:gd name="connsiteY74" fmla="*/ 3120 h 81130"/>
                    <a:gd name="connsiteX75" fmla="*/ 55003 w 80482"/>
                    <a:gd name="connsiteY75" fmla="*/ 2944 h 81130"/>
                    <a:gd name="connsiteX76" fmla="*/ 54534 w 80482"/>
                    <a:gd name="connsiteY76" fmla="*/ 2768 h 81130"/>
                    <a:gd name="connsiteX77" fmla="*/ 53714 w 80482"/>
                    <a:gd name="connsiteY77" fmla="*/ 2183 h 81130"/>
                    <a:gd name="connsiteX78" fmla="*/ 53538 w 80482"/>
                    <a:gd name="connsiteY78" fmla="*/ 2124 h 81130"/>
                    <a:gd name="connsiteX79" fmla="*/ 52367 w 80482"/>
                    <a:gd name="connsiteY79" fmla="*/ 2007 h 81130"/>
                    <a:gd name="connsiteX80" fmla="*/ 51898 w 80482"/>
                    <a:gd name="connsiteY80" fmla="*/ 1890 h 81130"/>
                    <a:gd name="connsiteX81" fmla="*/ 51195 w 80482"/>
                    <a:gd name="connsiteY81" fmla="*/ 1421 h 81130"/>
                    <a:gd name="connsiteX82" fmla="*/ 50844 w 80482"/>
                    <a:gd name="connsiteY82" fmla="*/ 1304 h 81130"/>
                    <a:gd name="connsiteX83" fmla="*/ 49672 w 80482"/>
                    <a:gd name="connsiteY83" fmla="*/ 1304 h 81130"/>
                    <a:gd name="connsiteX84" fmla="*/ 49204 w 80482"/>
                    <a:gd name="connsiteY84" fmla="*/ 1187 h 81130"/>
                    <a:gd name="connsiteX85" fmla="*/ 48618 w 80482"/>
                    <a:gd name="connsiteY85" fmla="*/ 836 h 81130"/>
                    <a:gd name="connsiteX86" fmla="*/ 48091 w 80482"/>
                    <a:gd name="connsiteY86" fmla="*/ 660 h 81130"/>
                    <a:gd name="connsiteX87" fmla="*/ 46919 w 80482"/>
                    <a:gd name="connsiteY87" fmla="*/ 718 h 81130"/>
                    <a:gd name="connsiteX88" fmla="*/ 46451 w 80482"/>
                    <a:gd name="connsiteY88" fmla="*/ 660 h 81130"/>
                    <a:gd name="connsiteX89" fmla="*/ 46040 w 80482"/>
                    <a:gd name="connsiteY89" fmla="*/ 426 h 81130"/>
                    <a:gd name="connsiteX90" fmla="*/ 45338 w 80482"/>
                    <a:gd name="connsiteY90" fmla="*/ 250 h 81130"/>
                    <a:gd name="connsiteX91" fmla="*/ 44166 w 80482"/>
                    <a:gd name="connsiteY91" fmla="*/ 367 h 81130"/>
                    <a:gd name="connsiteX92" fmla="*/ 43697 w 80482"/>
                    <a:gd name="connsiteY92" fmla="*/ 308 h 81130"/>
                    <a:gd name="connsiteX93" fmla="*/ 43405 w 80482"/>
                    <a:gd name="connsiteY93" fmla="*/ 191 h 81130"/>
                    <a:gd name="connsiteX94" fmla="*/ 42526 w 80482"/>
                    <a:gd name="connsiteY94" fmla="*/ 16 h 81130"/>
                    <a:gd name="connsiteX95" fmla="*/ 41354 w 80482"/>
                    <a:gd name="connsiteY95" fmla="*/ 250 h 81130"/>
                    <a:gd name="connsiteX96" fmla="*/ 40886 w 80482"/>
                    <a:gd name="connsiteY96" fmla="*/ 250 h 81130"/>
                    <a:gd name="connsiteX97" fmla="*/ 40769 w 80482"/>
                    <a:gd name="connsiteY97" fmla="*/ 191 h 81130"/>
                    <a:gd name="connsiteX98" fmla="*/ 39714 w 80482"/>
                    <a:gd name="connsiteY98" fmla="*/ 16 h 81130"/>
                    <a:gd name="connsiteX99" fmla="*/ 38601 w 80482"/>
                    <a:gd name="connsiteY99" fmla="*/ 308 h 81130"/>
                    <a:gd name="connsiteX100" fmla="*/ 38074 w 80482"/>
                    <a:gd name="connsiteY100" fmla="*/ 308 h 81130"/>
                    <a:gd name="connsiteX101" fmla="*/ 36903 w 80482"/>
                    <a:gd name="connsiteY101" fmla="*/ 133 h 81130"/>
                    <a:gd name="connsiteX102" fmla="*/ 35790 w 80482"/>
                    <a:gd name="connsiteY102" fmla="*/ 543 h 81130"/>
                    <a:gd name="connsiteX103" fmla="*/ 35321 w 80482"/>
                    <a:gd name="connsiteY103" fmla="*/ 601 h 81130"/>
                    <a:gd name="connsiteX104" fmla="*/ 34091 w 80482"/>
                    <a:gd name="connsiteY104" fmla="*/ 484 h 81130"/>
                    <a:gd name="connsiteX105" fmla="*/ 32978 w 80482"/>
                    <a:gd name="connsiteY105" fmla="*/ 953 h 81130"/>
                    <a:gd name="connsiteX106" fmla="*/ 32509 w 80482"/>
                    <a:gd name="connsiteY106" fmla="*/ 1070 h 81130"/>
                    <a:gd name="connsiteX107" fmla="*/ 31338 w 80482"/>
                    <a:gd name="connsiteY107" fmla="*/ 1070 h 81130"/>
                    <a:gd name="connsiteX108" fmla="*/ 30284 w 80482"/>
                    <a:gd name="connsiteY108" fmla="*/ 1597 h 81130"/>
                    <a:gd name="connsiteX109" fmla="*/ 29815 w 80482"/>
                    <a:gd name="connsiteY109" fmla="*/ 1714 h 81130"/>
                    <a:gd name="connsiteX110" fmla="*/ 28643 w 80482"/>
                    <a:gd name="connsiteY110" fmla="*/ 1773 h 81130"/>
                    <a:gd name="connsiteX111" fmla="*/ 27589 w 80482"/>
                    <a:gd name="connsiteY111" fmla="*/ 2417 h 81130"/>
                    <a:gd name="connsiteX112" fmla="*/ 27179 w 80482"/>
                    <a:gd name="connsiteY112" fmla="*/ 2534 h 81130"/>
                    <a:gd name="connsiteX113" fmla="*/ 25949 w 80482"/>
                    <a:gd name="connsiteY113" fmla="*/ 2710 h 81130"/>
                    <a:gd name="connsiteX114" fmla="*/ 24953 w 80482"/>
                    <a:gd name="connsiteY114" fmla="*/ 3412 h 81130"/>
                    <a:gd name="connsiteX115" fmla="*/ 24543 w 80482"/>
                    <a:gd name="connsiteY115" fmla="*/ 3588 h 81130"/>
                    <a:gd name="connsiteX116" fmla="*/ 23372 w 80482"/>
                    <a:gd name="connsiteY116" fmla="*/ 3822 h 81130"/>
                    <a:gd name="connsiteX117" fmla="*/ 22434 w 80482"/>
                    <a:gd name="connsiteY117" fmla="*/ 4584 h 81130"/>
                    <a:gd name="connsiteX118" fmla="*/ 22083 w 80482"/>
                    <a:gd name="connsiteY118" fmla="*/ 4760 h 81130"/>
                    <a:gd name="connsiteX119" fmla="*/ 20912 w 80482"/>
                    <a:gd name="connsiteY119" fmla="*/ 5052 h 81130"/>
                    <a:gd name="connsiteX120" fmla="*/ 20033 w 80482"/>
                    <a:gd name="connsiteY120" fmla="*/ 5872 h 81130"/>
                    <a:gd name="connsiteX121" fmla="*/ 19681 w 80482"/>
                    <a:gd name="connsiteY121" fmla="*/ 6107 h 81130"/>
                    <a:gd name="connsiteX122" fmla="*/ 18510 w 80482"/>
                    <a:gd name="connsiteY122" fmla="*/ 6517 h 81130"/>
                    <a:gd name="connsiteX123" fmla="*/ 17690 w 80482"/>
                    <a:gd name="connsiteY123" fmla="*/ 7395 h 81130"/>
                    <a:gd name="connsiteX124" fmla="*/ 17338 w 80482"/>
                    <a:gd name="connsiteY124" fmla="*/ 7629 h 81130"/>
                    <a:gd name="connsiteX125" fmla="*/ 16225 w 80482"/>
                    <a:gd name="connsiteY125" fmla="*/ 8098 h 81130"/>
                    <a:gd name="connsiteX126" fmla="*/ 15464 w 80482"/>
                    <a:gd name="connsiteY126" fmla="*/ 9035 h 81130"/>
                    <a:gd name="connsiteX127" fmla="*/ 15113 w 80482"/>
                    <a:gd name="connsiteY127" fmla="*/ 9328 h 81130"/>
                    <a:gd name="connsiteX128" fmla="*/ 14000 w 80482"/>
                    <a:gd name="connsiteY128" fmla="*/ 9913 h 81130"/>
                    <a:gd name="connsiteX129" fmla="*/ 13297 w 80482"/>
                    <a:gd name="connsiteY129" fmla="*/ 10909 h 81130"/>
                    <a:gd name="connsiteX130" fmla="*/ 12945 w 80482"/>
                    <a:gd name="connsiteY130" fmla="*/ 11202 h 81130"/>
                    <a:gd name="connsiteX131" fmla="*/ 11891 w 80482"/>
                    <a:gd name="connsiteY131" fmla="*/ 11846 h 81130"/>
                    <a:gd name="connsiteX132" fmla="*/ 11247 w 80482"/>
                    <a:gd name="connsiteY132" fmla="*/ 12900 h 81130"/>
                    <a:gd name="connsiteX133" fmla="*/ 10954 w 80482"/>
                    <a:gd name="connsiteY133" fmla="*/ 13252 h 81130"/>
                    <a:gd name="connsiteX134" fmla="*/ 9958 w 80482"/>
                    <a:gd name="connsiteY134" fmla="*/ 13954 h 81130"/>
                    <a:gd name="connsiteX135" fmla="*/ 9372 w 80482"/>
                    <a:gd name="connsiteY135" fmla="*/ 15067 h 81130"/>
                    <a:gd name="connsiteX136" fmla="*/ 9079 w 80482"/>
                    <a:gd name="connsiteY136" fmla="*/ 15419 h 81130"/>
                    <a:gd name="connsiteX137" fmla="*/ 8142 w 80482"/>
                    <a:gd name="connsiteY137" fmla="*/ 16180 h 81130"/>
                    <a:gd name="connsiteX138" fmla="*/ 7673 w 80482"/>
                    <a:gd name="connsiteY138" fmla="*/ 17293 h 81130"/>
                    <a:gd name="connsiteX139" fmla="*/ 7439 w 80482"/>
                    <a:gd name="connsiteY139" fmla="*/ 17644 h 81130"/>
                    <a:gd name="connsiteX140" fmla="*/ 6561 w 80482"/>
                    <a:gd name="connsiteY140" fmla="*/ 18464 h 81130"/>
                    <a:gd name="connsiteX141" fmla="*/ 6150 w 80482"/>
                    <a:gd name="connsiteY141" fmla="*/ 19635 h 81130"/>
                    <a:gd name="connsiteX142" fmla="*/ 5916 w 80482"/>
                    <a:gd name="connsiteY142" fmla="*/ 19987 h 81130"/>
                    <a:gd name="connsiteX143" fmla="*/ 5037 w 80482"/>
                    <a:gd name="connsiteY143" fmla="*/ 20924 h 81130"/>
                    <a:gd name="connsiteX144" fmla="*/ 4745 w 80482"/>
                    <a:gd name="connsiteY144" fmla="*/ 22154 h 81130"/>
                    <a:gd name="connsiteX145" fmla="*/ 4569 w 80482"/>
                    <a:gd name="connsiteY145" fmla="*/ 22505 h 81130"/>
                    <a:gd name="connsiteX146" fmla="*/ 3749 w 80482"/>
                    <a:gd name="connsiteY146" fmla="*/ 23501 h 81130"/>
                    <a:gd name="connsiteX147" fmla="*/ 3515 w 80482"/>
                    <a:gd name="connsiteY147" fmla="*/ 24731 h 81130"/>
                    <a:gd name="connsiteX148" fmla="*/ 3456 w 80482"/>
                    <a:gd name="connsiteY148" fmla="*/ 24906 h 81130"/>
                    <a:gd name="connsiteX149" fmla="*/ 3397 w 80482"/>
                    <a:gd name="connsiteY149" fmla="*/ 25082 h 81130"/>
                    <a:gd name="connsiteX150" fmla="*/ 2694 w 80482"/>
                    <a:gd name="connsiteY150" fmla="*/ 26078 h 81130"/>
                    <a:gd name="connsiteX151" fmla="*/ 2577 w 80482"/>
                    <a:gd name="connsiteY151" fmla="*/ 27308 h 81130"/>
                    <a:gd name="connsiteX152" fmla="*/ 2460 w 80482"/>
                    <a:gd name="connsiteY152" fmla="*/ 27659 h 81130"/>
                    <a:gd name="connsiteX153" fmla="*/ 1816 w 80482"/>
                    <a:gd name="connsiteY153" fmla="*/ 28713 h 81130"/>
                    <a:gd name="connsiteX154" fmla="*/ 1757 w 80482"/>
                    <a:gd name="connsiteY154" fmla="*/ 29943 h 81130"/>
                    <a:gd name="connsiteX155" fmla="*/ 1640 w 80482"/>
                    <a:gd name="connsiteY155" fmla="*/ 30295 h 81130"/>
                    <a:gd name="connsiteX156" fmla="*/ 1054 w 80482"/>
                    <a:gd name="connsiteY156" fmla="*/ 31407 h 81130"/>
                    <a:gd name="connsiteX157" fmla="*/ 1054 w 80482"/>
                    <a:gd name="connsiteY157" fmla="*/ 32637 h 81130"/>
                    <a:gd name="connsiteX158" fmla="*/ 996 w 80482"/>
                    <a:gd name="connsiteY158" fmla="*/ 33047 h 81130"/>
                    <a:gd name="connsiteX159" fmla="*/ 527 w 80482"/>
                    <a:gd name="connsiteY159" fmla="*/ 34160 h 81130"/>
                    <a:gd name="connsiteX160" fmla="*/ 644 w 80482"/>
                    <a:gd name="connsiteY160" fmla="*/ 35390 h 81130"/>
                    <a:gd name="connsiteX161" fmla="*/ 586 w 80482"/>
                    <a:gd name="connsiteY161" fmla="*/ 35800 h 81130"/>
                    <a:gd name="connsiteX162" fmla="*/ 176 w 80482"/>
                    <a:gd name="connsiteY162" fmla="*/ 36971 h 81130"/>
                    <a:gd name="connsiteX163" fmla="*/ 351 w 80482"/>
                    <a:gd name="connsiteY163" fmla="*/ 38201 h 81130"/>
                    <a:gd name="connsiteX164" fmla="*/ 351 w 80482"/>
                    <a:gd name="connsiteY164" fmla="*/ 38670 h 81130"/>
                    <a:gd name="connsiteX165" fmla="*/ 0 w 80482"/>
                    <a:gd name="connsiteY165" fmla="*/ 39841 h 81130"/>
                    <a:gd name="connsiteX166" fmla="*/ 293 w 80482"/>
                    <a:gd name="connsiteY166" fmla="*/ 41012 h 81130"/>
                    <a:gd name="connsiteX167" fmla="*/ 293 w 80482"/>
                    <a:gd name="connsiteY167" fmla="*/ 41481 h 81130"/>
                    <a:gd name="connsiteX168" fmla="*/ 59 w 80482"/>
                    <a:gd name="connsiteY168" fmla="*/ 42652 h 81130"/>
                    <a:gd name="connsiteX169" fmla="*/ 410 w 80482"/>
                    <a:gd name="connsiteY169" fmla="*/ 43824 h 81130"/>
                    <a:gd name="connsiteX170" fmla="*/ 469 w 80482"/>
                    <a:gd name="connsiteY170" fmla="*/ 44233 h 81130"/>
                    <a:gd name="connsiteX171" fmla="*/ 293 w 80482"/>
                    <a:gd name="connsiteY171" fmla="*/ 45463 h 81130"/>
                    <a:gd name="connsiteX172" fmla="*/ 703 w 80482"/>
                    <a:gd name="connsiteY172" fmla="*/ 46635 h 81130"/>
                    <a:gd name="connsiteX173" fmla="*/ 762 w 80482"/>
                    <a:gd name="connsiteY173" fmla="*/ 47045 h 81130"/>
                    <a:gd name="connsiteX174" fmla="*/ 703 w 80482"/>
                    <a:gd name="connsiteY174" fmla="*/ 48275 h 81130"/>
                    <a:gd name="connsiteX175" fmla="*/ 1230 w 80482"/>
                    <a:gd name="connsiteY175" fmla="*/ 49387 h 81130"/>
                    <a:gd name="connsiteX176" fmla="*/ 1347 w 80482"/>
                    <a:gd name="connsiteY176" fmla="*/ 49797 h 81130"/>
                    <a:gd name="connsiteX177" fmla="*/ 1347 w 80482"/>
                    <a:gd name="connsiteY177" fmla="*/ 51027 h 81130"/>
                    <a:gd name="connsiteX178" fmla="*/ 1933 w 80482"/>
                    <a:gd name="connsiteY178" fmla="*/ 52140 h 81130"/>
                    <a:gd name="connsiteX179" fmla="*/ 2050 w 80482"/>
                    <a:gd name="connsiteY179" fmla="*/ 52550 h 81130"/>
                    <a:gd name="connsiteX180" fmla="*/ 2167 w 80482"/>
                    <a:gd name="connsiteY180" fmla="*/ 53780 h 81130"/>
                    <a:gd name="connsiteX181" fmla="*/ 2812 w 80482"/>
                    <a:gd name="connsiteY181" fmla="*/ 54834 h 81130"/>
                    <a:gd name="connsiteX182" fmla="*/ 2987 w 80482"/>
                    <a:gd name="connsiteY182" fmla="*/ 55244 h 81130"/>
                    <a:gd name="connsiteX183" fmla="*/ 3163 w 80482"/>
                    <a:gd name="connsiteY183" fmla="*/ 56474 h 81130"/>
                    <a:gd name="connsiteX184" fmla="*/ 3866 w 80482"/>
                    <a:gd name="connsiteY184" fmla="*/ 57470 h 81130"/>
                    <a:gd name="connsiteX185" fmla="*/ 4042 w 80482"/>
                    <a:gd name="connsiteY185" fmla="*/ 57880 h 81130"/>
                    <a:gd name="connsiteX186" fmla="*/ 4276 w 80482"/>
                    <a:gd name="connsiteY186" fmla="*/ 59109 h 81130"/>
                    <a:gd name="connsiteX187" fmla="*/ 5037 w 80482"/>
                    <a:gd name="connsiteY187" fmla="*/ 60047 h 81130"/>
                    <a:gd name="connsiteX188" fmla="*/ 5272 w 80482"/>
                    <a:gd name="connsiteY188" fmla="*/ 60457 h 81130"/>
                    <a:gd name="connsiteX189" fmla="*/ 5623 w 80482"/>
                    <a:gd name="connsiteY189" fmla="*/ 61628 h 81130"/>
                    <a:gd name="connsiteX190" fmla="*/ 6443 w 80482"/>
                    <a:gd name="connsiteY190" fmla="*/ 62506 h 81130"/>
                    <a:gd name="connsiteX191" fmla="*/ 6678 w 80482"/>
                    <a:gd name="connsiteY191" fmla="*/ 62916 h 81130"/>
                    <a:gd name="connsiteX192" fmla="*/ 7088 w 80482"/>
                    <a:gd name="connsiteY192" fmla="*/ 64029 h 81130"/>
                    <a:gd name="connsiteX193" fmla="*/ 8025 w 80482"/>
                    <a:gd name="connsiteY193" fmla="*/ 64849 h 81130"/>
                    <a:gd name="connsiteX194" fmla="*/ 8318 w 80482"/>
                    <a:gd name="connsiteY194" fmla="*/ 65200 h 81130"/>
                    <a:gd name="connsiteX195" fmla="*/ 8845 w 80482"/>
                    <a:gd name="connsiteY195" fmla="*/ 66313 h 81130"/>
                    <a:gd name="connsiteX196" fmla="*/ 9782 w 80482"/>
                    <a:gd name="connsiteY196" fmla="*/ 67075 h 81130"/>
                    <a:gd name="connsiteX197" fmla="*/ 10075 w 80482"/>
                    <a:gd name="connsiteY197" fmla="*/ 67426 h 81130"/>
                    <a:gd name="connsiteX198" fmla="*/ 10661 w 80482"/>
                    <a:gd name="connsiteY198" fmla="*/ 68480 h 81130"/>
                    <a:gd name="connsiteX199" fmla="*/ 11539 w 80482"/>
                    <a:gd name="connsiteY199" fmla="*/ 69066 h 81130"/>
                    <a:gd name="connsiteX200" fmla="*/ 11657 w 80482"/>
                    <a:gd name="connsiteY200" fmla="*/ 69124 h 81130"/>
                    <a:gd name="connsiteX201" fmla="*/ 12008 w 80482"/>
                    <a:gd name="connsiteY201" fmla="*/ 69476 h 81130"/>
                    <a:gd name="connsiteX202" fmla="*/ 12652 w 80482"/>
                    <a:gd name="connsiteY202" fmla="*/ 70471 h 81130"/>
                    <a:gd name="connsiteX203" fmla="*/ 13414 w 80482"/>
                    <a:gd name="connsiteY203" fmla="*/ 70940 h 81130"/>
                    <a:gd name="connsiteX204" fmla="*/ 13707 w 80482"/>
                    <a:gd name="connsiteY204" fmla="*/ 71057 h 81130"/>
                    <a:gd name="connsiteX205" fmla="*/ 14058 w 80482"/>
                    <a:gd name="connsiteY205" fmla="*/ 71350 h 81130"/>
                    <a:gd name="connsiteX206" fmla="*/ 14761 w 80482"/>
                    <a:gd name="connsiteY206" fmla="*/ 72287 h 81130"/>
                    <a:gd name="connsiteX207" fmla="*/ 15347 w 80482"/>
                    <a:gd name="connsiteY207" fmla="*/ 72638 h 81130"/>
                    <a:gd name="connsiteX208" fmla="*/ 15815 w 80482"/>
                    <a:gd name="connsiteY208" fmla="*/ 72756 h 81130"/>
                    <a:gd name="connsiteX209" fmla="*/ 16225 w 80482"/>
                    <a:gd name="connsiteY209" fmla="*/ 73048 h 81130"/>
                    <a:gd name="connsiteX210" fmla="*/ 16987 w 80482"/>
                    <a:gd name="connsiteY210" fmla="*/ 73927 h 81130"/>
                    <a:gd name="connsiteX211" fmla="*/ 17456 w 80482"/>
                    <a:gd name="connsiteY211" fmla="*/ 74161 h 81130"/>
                    <a:gd name="connsiteX212" fmla="*/ 18100 w 80482"/>
                    <a:gd name="connsiteY212" fmla="*/ 74337 h 81130"/>
                    <a:gd name="connsiteX213" fmla="*/ 18510 w 80482"/>
                    <a:gd name="connsiteY213" fmla="*/ 74571 h 81130"/>
                    <a:gd name="connsiteX214" fmla="*/ 19330 w 80482"/>
                    <a:gd name="connsiteY214" fmla="*/ 75391 h 81130"/>
                    <a:gd name="connsiteX215" fmla="*/ 19623 w 80482"/>
                    <a:gd name="connsiteY215" fmla="*/ 75567 h 81130"/>
                    <a:gd name="connsiteX216" fmla="*/ 20443 w 80482"/>
                    <a:gd name="connsiteY216" fmla="*/ 75742 h 81130"/>
                    <a:gd name="connsiteX217" fmla="*/ 20853 w 80482"/>
                    <a:gd name="connsiteY217" fmla="*/ 75977 h 81130"/>
                    <a:gd name="connsiteX218" fmla="*/ 21732 w 80482"/>
                    <a:gd name="connsiteY218" fmla="*/ 76797 h 81130"/>
                    <a:gd name="connsiteX219" fmla="*/ 21907 w 80482"/>
                    <a:gd name="connsiteY219" fmla="*/ 76855 h 81130"/>
                    <a:gd name="connsiteX220" fmla="*/ 22903 w 80482"/>
                    <a:gd name="connsiteY220" fmla="*/ 77031 h 81130"/>
                    <a:gd name="connsiteX221" fmla="*/ 23313 w 80482"/>
                    <a:gd name="connsiteY221" fmla="*/ 77265 h 81130"/>
                    <a:gd name="connsiteX222" fmla="*/ 24250 w 80482"/>
                    <a:gd name="connsiteY222" fmla="*/ 77968 h 81130"/>
                    <a:gd name="connsiteX223" fmla="*/ 24250 w 80482"/>
                    <a:gd name="connsiteY223" fmla="*/ 77968 h 81130"/>
                    <a:gd name="connsiteX224" fmla="*/ 25422 w 80482"/>
                    <a:gd name="connsiteY224" fmla="*/ 78144 h 81130"/>
                    <a:gd name="connsiteX225" fmla="*/ 25890 w 80482"/>
                    <a:gd name="connsiteY225" fmla="*/ 78319 h 81130"/>
                    <a:gd name="connsiteX226" fmla="*/ 26710 w 80482"/>
                    <a:gd name="connsiteY226" fmla="*/ 78905 h 81130"/>
                    <a:gd name="connsiteX227" fmla="*/ 26886 w 80482"/>
                    <a:gd name="connsiteY227" fmla="*/ 78964 h 81130"/>
                    <a:gd name="connsiteX228" fmla="*/ 28058 w 80482"/>
                    <a:gd name="connsiteY228" fmla="*/ 79081 h 81130"/>
                    <a:gd name="connsiteX229" fmla="*/ 28526 w 80482"/>
                    <a:gd name="connsiteY229" fmla="*/ 79198 h 81130"/>
                    <a:gd name="connsiteX230" fmla="*/ 29229 w 80482"/>
                    <a:gd name="connsiteY230" fmla="*/ 79666 h 81130"/>
                    <a:gd name="connsiteX231" fmla="*/ 29581 w 80482"/>
                    <a:gd name="connsiteY231" fmla="*/ 79784 h 81130"/>
                    <a:gd name="connsiteX232" fmla="*/ 30752 w 80482"/>
                    <a:gd name="connsiteY232" fmla="*/ 79784 h 81130"/>
                    <a:gd name="connsiteX233" fmla="*/ 31221 w 80482"/>
                    <a:gd name="connsiteY233" fmla="*/ 79901 h 81130"/>
                    <a:gd name="connsiteX234" fmla="*/ 31807 w 80482"/>
                    <a:gd name="connsiteY234" fmla="*/ 80252 h 81130"/>
                    <a:gd name="connsiteX235" fmla="*/ 32334 w 80482"/>
                    <a:gd name="connsiteY235" fmla="*/ 80428 h 81130"/>
                    <a:gd name="connsiteX236" fmla="*/ 33505 w 80482"/>
                    <a:gd name="connsiteY236" fmla="*/ 80369 h 81130"/>
                    <a:gd name="connsiteX237" fmla="*/ 33974 w 80482"/>
                    <a:gd name="connsiteY237" fmla="*/ 80428 h 81130"/>
                    <a:gd name="connsiteX238" fmla="*/ 34384 w 80482"/>
                    <a:gd name="connsiteY238" fmla="*/ 80662 h 81130"/>
                    <a:gd name="connsiteX239" fmla="*/ 35087 w 80482"/>
                    <a:gd name="connsiteY239" fmla="*/ 80838 h 81130"/>
                    <a:gd name="connsiteX240" fmla="*/ 36258 w 80482"/>
                    <a:gd name="connsiteY240" fmla="*/ 80721 h 81130"/>
                    <a:gd name="connsiteX241" fmla="*/ 36727 w 80482"/>
                    <a:gd name="connsiteY241" fmla="*/ 80779 h 81130"/>
                    <a:gd name="connsiteX242" fmla="*/ 37020 w 80482"/>
                    <a:gd name="connsiteY242" fmla="*/ 80896 h 81130"/>
                    <a:gd name="connsiteX243" fmla="*/ 37898 w 80482"/>
                    <a:gd name="connsiteY243" fmla="*/ 81072 h 81130"/>
                    <a:gd name="connsiteX244" fmla="*/ 39070 w 80482"/>
                    <a:gd name="connsiteY244" fmla="*/ 80838 h 81130"/>
                    <a:gd name="connsiteX245" fmla="*/ 39539 w 80482"/>
                    <a:gd name="connsiteY245" fmla="*/ 80838 h 81130"/>
                    <a:gd name="connsiteX246" fmla="*/ 39656 w 80482"/>
                    <a:gd name="connsiteY246" fmla="*/ 80896 h 81130"/>
                    <a:gd name="connsiteX247" fmla="*/ 40710 w 80482"/>
                    <a:gd name="connsiteY247" fmla="*/ 81131 h 81130"/>
                    <a:gd name="connsiteX248" fmla="*/ 41882 w 80482"/>
                    <a:gd name="connsiteY248" fmla="*/ 80838 h 81130"/>
                    <a:gd name="connsiteX249" fmla="*/ 42350 w 80482"/>
                    <a:gd name="connsiteY249" fmla="*/ 80838 h 81130"/>
                    <a:gd name="connsiteX250" fmla="*/ 43522 w 80482"/>
                    <a:gd name="connsiteY250" fmla="*/ 81013 h 81130"/>
                    <a:gd name="connsiteX251" fmla="*/ 44635 w 80482"/>
                    <a:gd name="connsiteY251" fmla="*/ 80603 h 81130"/>
                    <a:gd name="connsiteX252" fmla="*/ 45103 w 80482"/>
                    <a:gd name="connsiteY252" fmla="*/ 80545 h 81130"/>
                    <a:gd name="connsiteX253" fmla="*/ 46275 w 80482"/>
                    <a:gd name="connsiteY253" fmla="*/ 80662 h 81130"/>
                    <a:gd name="connsiteX254" fmla="*/ 47388 w 80482"/>
                    <a:gd name="connsiteY254" fmla="*/ 80193 h 81130"/>
                    <a:gd name="connsiteX255" fmla="*/ 47856 w 80482"/>
                    <a:gd name="connsiteY255" fmla="*/ 80076 h 81130"/>
                    <a:gd name="connsiteX256" fmla="*/ 49028 w 80482"/>
                    <a:gd name="connsiteY256" fmla="*/ 80076 h 81130"/>
                    <a:gd name="connsiteX257" fmla="*/ 50141 w 80482"/>
                    <a:gd name="connsiteY257" fmla="*/ 79549 h 81130"/>
                    <a:gd name="connsiteX258" fmla="*/ 50551 w 80482"/>
                    <a:gd name="connsiteY258" fmla="*/ 79432 h 81130"/>
                    <a:gd name="connsiteX259" fmla="*/ 51781 w 80482"/>
                    <a:gd name="connsiteY259" fmla="*/ 79374 h 81130"/>
                    <a:gd name="connsiteX260" fmla="*/ 52835 w 80482"/>
                    <a:gd name="connsiteY260" fmla="*/ 78729 h 81130"/>
                    <a:gd name="connsiteX261" fmla="*/ 53245 w 80482"/>
                    <a:gd name="connsiteY261" fmla="*/ 78612 h 81130"/>
                    <a:gd name="connsiteX262" fmla="*/ 54475 w 80482"/>
                    <a:gd name="connsiteY262" fmla="*/ 78495 h 81130"/>
                    <a:gd name="connsiteX263" fmla="*/ 55471 w 80482"/>
                    <a:gd name="connsiteY263" fmla="*/ 77792 h 81130"/>
                    <a:gd name="connsiteX264" fmla="*/ 55881 w 80482"/>
                    <a:gd name="connsiteY264" fmla="*/ 77617 h 81130"/>
                    <a:gd name="connsiteX265" fmla="*/ 57111 w 80482"/>
                    <a:gd name="connsiteY265" fmla="*/ 77382 h 81130"/>
                    <a:gd name="connsiteX266" fmla="*/ 58048 w 80482"/>
                    <a:gd name="connsiteY266" fmla="*/ 76621 h 81130"/>
                    <a:gd name="connsiteX267" fmla="*/ 58400 w 80482"/>
                    <a:gd name="connsiteY267" fmla="*/ 76445 h 81130"/>
                    <a:gd name="connsiteX268" fmla="*/ 59571 w 80482"/>
                    <a:gd name="connsiteY268" fmla="*/ 76152 h 81130"/>
                    <a:gd name="connsiteX269" fmla="*/ 60450 w 80482"/>
                    <a:gd name="connsiteY269" fmla="*/ 75332 h 81130"/>
                    <a:gd name="connsiteX270" fmla="*/ 60802 w 80482"/>
                    <a:gd name="connsiteY270" fmla="*/ 75098 h 81130"/>
                    <a:gd name="connsiteX271" fmla="*/ 61973 w 80482"/>
                    <a:gd name="connsiteY271" fmla="*/ 74688 h 81130"/>
                    <a:gd name="connsiteX272" fmla="*/ 62793 w 80482"/>
                    <a:gd name="connsiteY272" fmla="*/ 73810 h 81130"/>
                    <a:gd name="connsiteX273" fmla="*/ 63145 w 80482"/>
                    <a:gd name="connsiteY273" fmla="*/ 73575 h 81130"/>
                    <a:gd name="connsiteX274" fmla="*/ 64258 w 80482"/>
                    <a:gd name="connsiteY274" fmla="*/ 73107 h 81130"/>
                    <a:gd name="connsiteX275" fmla="*/ 65019 w 80482"/>
                    <a:gd name="connsiteY275" fmla="*/ 72170 h 81130"/>
                    <a:gd name="connsiteX276" fmla="*/ 65370 w 80482"/>
                    <a:gd name="connsiteY276" fmla="*/ 71877 h 81130"/>
                    <a:gd name="connsiteX277" fmla="*/ 66483 w 80482"/>
                    <a:gd name="connsiteY277" fmla="*/ 71291 h 81130"/>
                    <a:gd name="connsiteX278" fmla="*/ 67186 w 80482"/>
                    <a:gd name="connsiteY278" fmla="*/ 70296 h 81130"/>
                    <a:gd name="connsiteX279" fmla="*/ 67479 w 80482"/>
                    <a:gd name="connsiteY279" fmla="*/ 70003 h 81130"/>
                    <a:gd name="connsiteX280" fmla="*/ 68533 w 80482"/>
                    <a:gd name="connsiteY280" fmla="*/ 69359 h 81130"/>
                    <a:gd name="connsiteX281" fmla="*/ 69178 w 80482"/>
                    <a:gd name="connsiteY281" fmla="*/ 68304 h 81130"/>
                    <a:gd name="connsiteX282" fmla="*/ 69471 w 80482"/>
                    <a:gd name="connsiteY282" fmla="*/ 67953 h 81130"/>
                    <a:gd name="connsiteX283" fmla="*/ 70467 w 80482"/>
                    <a:gd name="connsiteY283" fmla="*/ 67250 h 81130"/>
                    <a:gd name="connsiteX284" fmla="*/ 70994 w 80482"/>
                    <a:gd name="connsiteY284" fmla="*/ 66137 h 81130"/>
                    <a:gd name="connsiteX285" fmla="*/ 71287 w 80482"/>
                    <a:gd name="connsiteY285" fmla="*/ 65786 h 81130"/>
                    <a:gd name="connsiteX286" fmla="*/ 72224 w 80482"/>
                    <a:gd name="connsiteY286" fmla="*/ 65025 h 81130"/>
                    <a:gd name="connsiteX287" fmla="*/ 72692 w 80482"/>
                    <a:gd name="connsiteY287" fmla="*/ 63912 h 81130"/>
                    <a:gd name="connsiteX288" fmla="*/ 72927 w 80482"/>
                    <a:gd name="connsiteY288" fmla="*/ 63561 h 81130"/>
                    <a:gd name="connsiteX289" fmla="*/ 73805 w 80482"/>
                    <a:gd name="connsiteY289" fmla="*/ 62741 h 81130"/>
                    <a:gd name="connsiteX290" fmla="*/ 74215 w 80482"/>
                    <a:gd name="connsiteY290" fmla="*/ 61569 h 81130"/>
                    <a:gd name="connsiteX291" fmla="*/ 74391 w 80482"/>
                    <a:gd name="connsiteY291" fmla="*/ 61218 h 81130"/>
                    <a:gd name="connsiteX292" fmla="*/ 75270 w 80482"/>
                    <a:gd name="connsiteY292" fmla="*/ 60281 h 81130"/>
                    <a:gd name="connsiteX293" fmla="*/ 75563 w 80482"/>
                    <a:gd name="connsiteY293" fmla="*/ 59051 h 81130"/>
                    <a:gd name="connsiteX294" fmla="*/ 75738 w 80482"/>
                    <a:gd name="connsiteY294" fmla="*/ 58700 h 81130"/>
                    <a:gd name="connsiteX295" fmla="*/ 76676 w 80482"/>
                    <a:gd name="connsiteY295" fmla="*/ 57352 h 81130"/>
                    <a:gd name="connsiteX296" fmla="*/ 76734 w 80482"/>
                    <a:gd name="connsiteY296" fmla="*/ 51496 h 81130"/>
                    <a:gd name="connsiteX297" fmla="*/ 76851 w 80482"/>
                    <a:gd name="connsiteY297" fmla="*/ 51554 h 81130"/>
                    <a:gd name="connsiteX298" fmla="*/ 76734 w 80482"/>
                    <a:gd name="connsiteY298" fmla="*/ 51496 h 81130"/>
                    <a:gd name="connsiteX299" fmla="*/ 75504 w 80482"/>
                    <a:gd name="connsiteY299" fmla="*/ 52023 h 81130"/>
                    <a:gd name="connsiteX300" fmla="*/ 73102 w 80482"/>
                    <a:gd name="connsiteY300" fmla="*/ 51261 h 81130"/>
                    <a:gd name="connsiteX301" fmla="*/ 72399 w 80482"/>
                    <a:gd name="connsiteY301" fmla="*/ 50149 h 81130"/>
                    <a:gd name="connsiteX302" fmla="*/ 73630 w 80482"/>
                    <a:gd name="connsiteY302" fmla="*/ 49622 h 81130"/>
                    <a:gd name="connsiteX303" fmla="*/ 76031 w 80482"/>
                    <a:gd name="connsiteY303" fmla="*/ 50383 h 81130"/>
                    <a:gd name="connsiteX304" fmla="*/ 76734 w 80482"/>
                    <a:gd name="connsiteY304" fmla="*/ 51496 h 81130"/>
                    <a:gd name="connsiteX305" fmla="*/ 77437 w 80482"/>
                    <a:gd name="connsiteY305" fmla="*/ 48919 h 81130"/>
                    <a:gd name="connsiteX306" fmla="*/ 77554 w 80482"/>
                    <a:gd name="connsiteY306" fmla="*/ 48977 h 81130"/>
                    <a:gd name="connsiteX307" fmla="*/ 77437 w 80482"/>
                    <a:gd name="connsiteY307" fmla="*/ 48919 h 81130"/>
                    <a:gd name="connsiteX308" fmla="*/ 76266 w 80482"/>
                    <a:gd name="connsiteY308" fmla="*/ 49504 h 81130"/>
                    <a:gd name="connsiteX309" fmla="*/ 73805 w 80482"/>
                    <a:gd name="connsiteY309" fmla="*/ 48919 h 81130"/>
                    <a:gd name="connsiteX310" fmla="*/ 73044 w 80482"/>
                    <a:gd name="connsiteY310" fmla="*/ 47865 h 81130"/>
                    <a:gd name="connsiteX311" fmla="*/ 74215 w 80482"/>
                    <a:gd name="connsiteY311" fmla="*/ 47279 h 81130"/>
                    <a:gd name="connsiteX312" fmla="*/ 76676 w 80482"/>
                    <a:gd name="connsiteY312" fmla="*/ 47865 h 81130"/>
                    <a:gd name="connsiteX313" fmla="*/ 77437 w 80482"/>
                    <a:gd name="connsiteY313" fmla="*/ 48919 h 81130"/>
                    <a:gd name="connsiteX314" fmla="*/ 77964 w 80482"/>
                    <a:gd name="connsiteY314" fmla="*/ 46283 h 81130"/>
                    <a:gd name="connsiteX315" fmla="*/ 78081 w 80482"/>
                    <a:gd name="connsiteY315" fmla="*/ 46283 h 81130"/>
                    <a:gd name="connsiteX316" fmla="*/ 77964 w 80482"/>
                    <a:gd name="connsiteY316" fmla="*/ 46283 h 81130"/>
                    <a:gd name="connsiteX317" fmla="*/ 76851 w 80482"/>
                    <a:gd name="connsiteY317" fmla="*/ 46986 h 81130"/>
                    <a:gd name="connsiteX318" fmla="*/ 74391 w 80482"/>
                    <a:gd name="connsiteY318" fmla="*/ 46576 h 81130"/>
                    <a:gd name="connsiteX319" fmla="*/ 73571 w 80482"/>
                    <a:gd name="connsiteY319" fmla="*/ 45581 h 81130"/>
                    <a:gd name="connsiteX320" fmla="*/ 74684 w 80482"/>
                    <a:gd name="connsiteY320" fmla="*/ 44878 h 81130"/>
                    <a:gd name="connsiteX321" fmla="*/ 77144 w 80482"/>
                    <a:gd name="connsiteY321" fmla="*/ 45288 h 81130"/>
                    <a:gd name="connsiteX322" fmla="*/ 77964 w 80482"/>
                    <a:gd name="connsiteY322" fmla="*/ 46283 h 81130"/>
                    <a:gd name="connsiteX323" fmla="*/ 78316 w 80482"/>
                    <a:gd name="connsiteY323" fmla="*/ 43589 h 81130"/>
                    <a:gd name="connsiteX324" fmla="*/ 78433 w 80482"/>
                    <a:gd name="connsiteY324" fmla="*/ 43589 h 81130"/>
                    <a:gd name="connsiteX325" fmla="*/ 78316 w 80482"/>
                    <a:gd name="connsiteY325" fmla="*/ 43589 h 81130"/>
                    <a:gd name="connsiteX326" fmla="*/ 77261 w 80482"/>
                    <a:gd name="connsiteY326" fmla="*/ 44351 h 81130"/>
                    <a:gd name="connsiteX327" fmla="*/ 74742 w 80482"/>
                    <a:gd name="connsiteY327" fmla="*/ 44116 h 81130"/>
                    <a:gd name="connsiteX328" fmla="*/ 73805 w 80482"/>
                    <a:gd name="connsiteY328" fmla="*/ 43179 h 81130"/>
                    <a:gd name="connsiteX329" fmla="*/ 74860 w 80482"/>
                    <a:gd name="connsiteY329" fmla="*/ 42418 h 81130"/>
                    <a:gd name="connsiteX330" fmla="*/ 77378 w 80482"/>
                    <a:gd name="connsiteY330" fmla="*/ 42652 h 81130"/>
                    <a:gd name="connsiteX331" fmla="*/ 78316 w 80482"/>
                    <a:gd name="connsiteY331" fmla="*/ 43589 h 81130"/>
                    <a:gd name="connsiteX332" fmla="*/ 78433 w 80482"/>
                    <a:gd name="connsiteY332" fmla="*/ 40895 h 81130"/>
                    <a:gd name="connsiteX333" fmla="*/ 78550 w 80482"/>
                    <a:gd name="connsiteY333" fmla="*/ 40895 h 81130"/>
                    <a:gd name="connsiteX334" fmla="*/ 78433 w 80482"/>
                    <a:gd name="connsiteY334" fmla="*/ 40895 h 81130"/>
                    <a:gd name="connsiteX335" fmla="*/ 77437 w 80482"/>
                    <a:gd name="connsiteY335" fmla="*/ 41715 h 81130"/>
                    <a:gd name="connsiteX336" fmla="*/ 74918 w 80482"/>
                    <a:gd name="connsiteY336" fmla="*/ 41657 h 81130"/>
                    <a:gd name="connsiteX337" fmla="*/ 73922 w 80482"/>
                    <a:gd name="connsiteY337" fmla="*/ 40778 h 81130"/>
                    <a:gd name="connsiteX338" fmla="*/ 74918 w 80482"/>
                    <a:gd name="connsiteY338" fmla="*/ 39958 h 81130"/>
                    <a:gd name="connsiteX339" fmla="*/ 77437 w 80482"/>
                    <a:gd name="connsiteY339" fmla="*/ 40017 h 81130"/>
                    <a:gd name="connsiteX340" fmla="*/ 78433 w 80482"/>
                    <a:gd name="connsiteY340" fmla="*/ 40895 h 81130"/>
                    <a:gd name="connsiteX341" fmla="*/ 38367 w 80482"/>
                    <a:gd name="connsiteY341" fmla="*/ 63209 h 81130"/>
                    <a:gd name="connsiteX342" fmla="*/ 36961 w 80482"/>
                    <a:gd name="connsiteY342" fmla="*/ 63092 h 81130"/>
                    <a:gd name="connsiteX343" fmla="*/ 35263 w 80482"/>
                    <a:gd name="connsiteY343" fmla="*/ 61042 h 81130"/>
                    <a:gd name="connsiteX344" fmla="*/ 35145 w 80482"/>
                    <a:gd name="connsiteY344" fmla="*/ 60632 h 81130"/>
                    <a:gd name="connsiteX345" fmla="*/ 35790 w 80482"/>
                    <a:gd name="connsiteY345" fmla="*/ 60105 h 81130"/>
                    <a:gd name="connsiteX346" fmla="*/ 35790 w 80482"/>
                    <a:gd name="connsiteY346" fmla="*/ 60105 h 81130"/>
                    <a:gd name="connsiteX347" fmla="*/ 35965 w 80482"/>
                    <a:gd name="connsiteY347" fmla="*/ 60164 h 81130"/>
                    <a:gd name="connsiteX348" fmla="*/ 37840 w 80482"/>
                    <a:gd name="connsiteY348" fmla="*/ 60691 h 81130"/>
                    <a:gd name="connsiteX349" fmla="*/ 39773 w 80482"/>
                    <a:gd name="connsiteY349" fmla="*/ 60515 h 81130"/>
                    <a:gd name="connsiteX350" fmla="*/ 40007 w 80482"/>
                    <a:gd name="connsiteY350" fmla="*/ 60515 h 81130"/>
                    <a:gd name="connsiteX351" fmla="*/ 40066 w 80482"/>
                    <a:gd name="connsiteY351" fmla="*/ 60515 h 81130"/>
                    <a:gd name="connsiteX352" fmla="*/ 40593 w 80482"/>
                    <a:gd name="connsiteY352" fmla="*/ 61159 h 81130"/>
                    <a:gd name="connsiteX353" fmla="*/ 40359 w 80482"/>
                    <a:gd name="connsiteY353" fmla="*/ 61569 h 81130"/>
                    <a:gd name="connsiteX354" fmla="*/ 40359 w 80482"/>
                    <a:gd name="connsiteY354" fmla="*/ 61569 h 81130"/>
                    <a:gd name="connsiteX355" fmla="*/ 38367 w 80482"/>
                    <a:gd name="connsiteY355" fmla="*/ 63209 h 81130"/>
                    <a:gd name="connsiteX356" fmla="*/ 37840 w 80482"/>
                    <a:gd name="connsiteY356" fmla="*/ 65318 h 81130"/>
                    <a:gd name="connsiteX357" fmla="*/ 36786 w 80482"/>
                    <a:gd name="connsiteY357" fmla="*/ 64908 h 81130"/>
                    <a:gd name="connsiteX358" fmla="*/ 37196 w 80482"/>
                    <a:gd name="connsiteY358" fmla="*/ 63853 h 81130"/>
                    <a:gd name="connsiteX359" fmla="*/ 38250 w 80482"/>
                    <a:gd name="connsiteY359" fmla="*/ 64263 h 81130"/>
                    <a:gd name="connsiteX360" fmla="*/ 37840 w 80482"/>
                    <a:gd name="connsiteY360" fmla="*/ 65318 h 81130"/>
                    <a:gd name="connsiteX361" fmla="*/ 34208 w 80482"/>
                    <a:gd name="connsiteY361" fmla="*/ 56591 h 81130"/>
                    <a:gd name="connsiteX362" fmla="*/ 32744 w 80482"/>
                    <a:gd name="connsiteY362" fmla="*/ 57411 h 81130"/>
                    <a:gd name="connsiteX363" fmla="*/ 32392 w 80482"/>
                    <a:gd name="connsiteY363" fmla="*/ 55771 h 81130"/>
                    <a:gd name="connsiteX364" fmla="*/ 31514 w 80482"/>
                    <a:gd name="connsiteY364" fmla="*/ 52491 h 81130"/>
                    <a:gd name="connsiteX365" fmla="*/ 30928 w 80482"/>
                    <a:gd name="connsiteY365" fmla="*/ 50969 h 81130"/>
                    <a:gd name="connsiteX366" fmla="*/ 32217 w 80482"/>
                    <a:gd name="connsiteY366" fmla="*/ 51320 h 81130"/>
                    <a:gd name="connsiteX367" fmla="*/ 32861 w 80482"/>
                    <a:gd name="connsiteY367" fmla="*/ 53311 h 81130"/>
                    <a:gd name="connsiteX368" fmla="*/ 33857 w 80482"/>
                    <a:gd name="connsiteY368" fmla="*/ 52843 h 81130"/>
                    <a:gd name="connsiteX369" fmla="*/ 34853 w 80482"/>
                    <a:gd name="connsiteY369" fmla="*/ 52550 h 81130"/>
                    <a:gd name="connsiteX370" fmla="*/ 35673 w 80482"/>
                    <a:gd name="connsiteY370" fmla="*/ 54541 h 81130"/>
                    <a:gd name="connsiteX371" fmla="*/ 37371 w 80482"/>
                    <a:gd name="connsiteY371" fmla="*/ 53604 h 81130"/>
                    <a:gd name="connsiteX372" fmla="*/ 38777 w 80482"/>
                    <a:gd name="connsiteY372" fmla="*/ 54366 h 81130"/>
                    <a:gd name="connsiteX373" fmla="*/ 37196 w 80482"/>
                    <a:gd name="connsiteY373" fmla="*/ 55010 h 81130"/>
                    <a:gd name="connsiteX374" fmla="*/ 34208 w 80482"/>
                    <a:gd name="connsiteY374" fmla="*/ 56591 h 81130"/>
                    <a:gd name="connsiteX375" fmla="*/ 31045 w 80482"/>
                    <a:gd name="connsiteY375" fmla="*/ 64146 h 81130"/>
                    <a:gd name="connsiteX376" fmla="*/ 29932 w 80482"/>
                    <a:gd name="connsiteY376" fmla="*/ 64029 h 81130"/>
                    <a:gd name="connsiteX377" fmla="*/ 30049 w 80482"/>
                    <a:gd name="connsiteY377" fmla="*/ 62916 h 81130"/>
                    <a:gd name="connsiteX378" fmla="*/ 31162 w 80482"/>
                    <a:gd name="connsiteY378" fmla="*/ 63033 h 81130"/>
                    <a:gd name="connsiteX379" fmla="*/ 31045 w 80482"/>
                    <a:gd name="connsiteY379" fmla="*/ 64146 h 81130"/>
                    <a:gd name="connsiteX380" fmla="*/ 27765 w 80482"/>
                    <a:gd name="connsiteY380" fmla="*/ 63853 h 81130"/>
                    <a:gd name="connsiteX381" fmla="*/ 27648 w 80482"/>
                    <a:gd name="connsiteY381" fmla="*/ 64029 h 81130"/>
                    <a:gd name="connsiteX382" fmla="*/ 27648 w 80482"/>
                    <a:gd name="connsiteY382" fmla="*/ 64029 h 81130"/>
                    <a:gd name="connsiteX383" fmla="*/ 26769 w 80482"/>
                    <a:gd name="connsiteY383" fmla="*/ 64146 h 81130"/>
                    <a:gd name="connsiteX384" fmla="*/ 26535 w 80482"/>
                    <a:gd name="connsiteY384" fmla="*/ 63736 h 81130"/>
                    <a:gd name="connsiteX385" fmla="*/ 26125 w 80482"/>
                    <a:gd name="connsiteY385" fmla="*/ 61159 h 81130"/>
                    <a:gd name="connsiteX386" fmla="*/ 27003 w 80482"/>
                    <a:gd name="connsiteY386" fmla="*/ 59988 h 81130"/>
                    <a:gd name="connsiteX387" fmla="*/ 29639 w 80482"/>
                    <a:gd name="connsiteY387" fmla="*/ 59578 h 81130"/>
                    <a:gd name="connsiteX388" fmla="*/ 30049 w 80482"/>
                    <a:gd name="connsiteY388" fmla="*/ 59695 h 81130"/>
                    <a:gd name="connsiteX389" fmla="*/ 30166 w 80482"/>
                    <a:gd name="connsiteY389" fmla="*/ 60574 h 81130"/>
                    <a:gd name="connsiteX390" fmla="*/ 30166 w 80482"/>
                    <a:gd name="connsiteY390" fmla="*/ 60574 h 81130"/>
                    <a:gd name="connsiteX391" fmla="*/ 29991 w 80482"/>
                    <a:gd name="connsiteY391" fmla="*/ 60691 h 81130"/>
                    <a:gd name="connsiteX392" fmla="*/ 28526 w 80482"/>
                    <a:gd name="connsiteY392" fmla="*/ 62038 h 81130"/>
                    <a:gd name="connsiteX393" fmla="*/ 27765 w 80482"/>
                    <a:gd name="connsiteY393" fmla="*/ 63853 h 81130"/>
                    <a:gd name="connsiteX394" fmla="*/ 13824 w 80482"/>
                    <a:gd name="connsiteY394" fmla="*/ 41949 h 81130"/>
                    <a:gd name="connsiteX395" fmla="*/ 13590 w 80482"/>
                    <a:gd name="connsiteY395" fmla="*/ 41949 h 81130"/>
                    <a:gd name="connsiteX396" fmla="*/ 13531 w 80482"/>
                    <a:gd name="connsiteY396" fmla="*/ 41949 h 81130"/>
                    <a:gd name="connsiteX397" fmla="*/ 13004 w 80482"/>
                    <a:gd name="connsiteY397" fmla="*/ 41305 h 81130"/>
                    <a:gd name="connsiteX398" fmla="*/ 13238 w 80482"/>
                    <a:gd name="connsiteY398" fmla="*/ 40895 h 81130"/>
                    <a:gd name="connsiteX399" fmla="*/ 15230 w 80482"/>
                    <a:gd name="connsiteY399" fmla="*/ 39197 h 81130"/>
                    <a:gd name="connsiteX400" fmla="*/ 16694 w 80482"/>
                    <a:gd name="connsiteY400" fmla="*/ 39314 h 81130"/>
                    <a:gd name="connsiteX401" fmla="*/ 18393 w 80482"/>
                    <a:gd name="connsiteY401" fmla="*/ 41364 h 81130"/>
                    <a:gd name="connsiteX402" fmla="*/ 18510 w 80482"/>
                    <a:gd name="connsiteY402" fmla="*/ 41774 h 81130"/>
                    <a:gd name="connsiteX403" fmla="*/ 17866 w 80482"/>
                    <a:gd name="connsiteY403" fmla="*/ 42301 h 81130"/>
                    <a:gd name="connsiteX404" fmla="*/ 17866 w 80482"/>
                    <a:gd name="connsiteY404" fmla="*/ 42301 h 81130"/>
                    <a:gd name="connsiteX405" fmla="*/ 17690 w 80482"/>
                    <a:gd name="connsiteY405" fmla="*/ 42242 h 81130"/>
                    <a:gd name="connsiteX406" fmla="*/ 15815 w 80482"/>
                    <a:gd name="connsiteY406" fmla="*/ 41715 h 81130"/>
                    <a:gd name="connsiteX407" fmla="*/ 13824 w 80482"/>
                    <a:gd name="connsiteY407" fmla="*/ 41949 h 81130"/>
                    <a:gd name="connsiteX408" fmla="*/ 9724 w 80482"/>
                    <a:gd name="connsiteY408" fmla="*/ 51496 h 81130"/>
                    <a:gd name="connsiteX409" fmla="*/ 11129 w 80482"/>
                    <a:gd name="connsiteY409" fmla="*/ 50969 h 81130"/>
                    <a:gd name="connsiteX410" fmla="*/ 9724 w 80482"/>
                    <a:gd name="connsiteY410" fmla="*/ 51496 h 81130"/>
                    <a:gd name="connsiteX411" fmla="*/ 42057 w 80482"/>
                    <a:gd name="connsiteY411" fmla="*/ 17644 h 81130"/>
                    <a:gd name="connsiteX412" fmla="*/ 43463 w 80482"/>
                    <a:gd name="connsiteY412" fmla="*/ 17761 h 81130"/>
                    <a:gd name="connsiteX413" fmla="*/ 45162 w 80482"/>
                    <a:gd name="connsiteY413" fmla="*/ 19811 h 81130"/>
                    <a:gd name="connsiteX414" fmla="*/ 45279 w 80482"/>
                    <a:gd name="connsiteY414" fmla="*/ 20221 h 81130"/>
                    <a:gd name="connsiteX415" fmla="*/ 44635 w 80482"/>
                    <a:gd name="connsiteY415" fmla="*/ 20748 h 81130"/>
                    <a:gd name="connsiteX416" fmla="*/ 44635 w 80482"/>
                    <a:gd name="connsiteY416" fmla="*/ 20748 h 81130"/>
                    <a:gd name="connsiteX417" fmla="*/ 44459 w 80482"/>
                    <a:gd name="connsiteY417" fmla="*/ 20690 h 81130"/>
                    <a:gd name="connsiteX418" fmla="*/ 42585 w 80482"/>
                    <a:gd name="connsiteY418" fmla="*/ 20163 h 81130"/>
                    <a:gd name="connsiteX419" fmla="*/ 40652 w 80482"/>
                    <a:gd name="connsiteY419" fmla="*/ 20338 h 81130"/>
                    <a:gd name="connsiteX420" fmla="*/ 40417 w 80482"/>
                    <a:gd name="connsiteY420" fmla="*/ 20338 h 81130"/>
                    <a:gd name="connsiteX421" fmla="*/ 40359 w 80482"/>
                    <a:gd name="connsiteY421" fmla="*/ 20338 h 81130"/>
                    <a:gd name="connsiteX422" fmla="*/ 39831 w 80482"/>
                    <a:gd name="connsiteY422" fmla="*/ 19694 h 81130"/>
                    <a:gd name="connsiteX423" fmla="*/ 40066 w 80482"/>
                    <a:gd name="connsiteY423" fmla="*/ 19284 h 81130"/>
                    <a:gd name="connsiteX424" fmla="*/ 42057 w 80482"/>
                    <a:gd name="connsiteY424" fmla="*/ 17644 h 81130"/>
                    <a:gd name="connsiteX425" fmla="*/ 42585 w 80482"/>
                    <a:gd name="connsiteY425" fmla="*/ 15536 h 81130"/>
                    <a:gd name="connsiteX426" fmla="*/ 43639 w 80482"/>
                    <a:gd name="connsiteY426" fmla="*/ 15946 h 81130"/>
                    <a:gd name="connsiteX427" fmla="*/ 43229 w 80482"/>
                    <a:gd name="connsiteY427" fmla="*/ 17000 h 81130"/>
                    <a:gd name="connsiteX428" fmla="*/ 42174 w 80482"/>
                    <a:gd name="connsiteY428" fmla="*/ 16590 h 81130"/>
                    <a:gd name="connsiteX429" fmla="*/ 42585 w 80482"/>
                    <a:gd name="connsiteY429" fmla="*/ 15536 h 81130"/>
                    <a:gd name="connsiteX430" fmla="*/ 47798 w 80482"/>
                    <a:gd name="connsiteY430" fmla="*/ 22154 h 81130"/>
                    <a:gd name="connsiteX431" fmla="*/ 47915 w 80482"/>
                    <a:gd name="connsiteY431" fmla="*/ 22212 h 81130"/>
                    <a:gd name="connsiteX432" fmla="*/ 48325 w 80482"/>
                    <a:gd name="connsiteY432" fmla="*/ 23208 h 81130"/>
                    <a:gd name="connsiteX433" fmla="*/ 47856 w 80482"/>
                    <a:gd name="connsiteY433" fmla="*/ 24321 h 81130"/>
                    <a:gd name="connsiteX434" fmla="*/ 51957 w 80482"/>
                    <a:gd name="connsiteY434" fmla="*/ 26078 h 81130"/>
                    <a:gd name="connsiteX435" fmla="*/ 52367 w 80482"/>
                    <a:gd name="connsiteY435" fmla="*/ 27073 h 81130"/>
                    <a:gd name="connsiteX436" fmla="*/ 52308 w 80482"/>
                    <a:gd name="connsiteY436" fmla="*/ 27191 h 81130"/>
                    <a:gd name="connsiteX437" fmla="*/ 51312 w 80482"/>
                    <a:gd name="connsiteY437" fmla="*/ 27601 h 81130"/>
                    <a:gd name="connsiteX438" fmla="*/ 47212 w 80482"/>
                    <a:gd name="connsiteY438" fmla="*/ 25844 h 81130"/>
                    <a:gd name="connsiteX439" fmla="*/ 46685 w 80482"/>
                    <a:gd name="connsiteY439" fmla="*/ 27073 h 81130"/>
                    <a:gd name="connsiteX440" fmla="*/ 52952 w 80482"/>
                    <a:gd name="connsiteY440" fmla="*/ 29768 h 81130"/>
                    <a:gd name="connsiteX441" fmla="*/ 53362 w 80482"/>
                    <a:gd name="connsiteY441" fmla="*/ 30763 h 81130"/>
                    <a:gd name="connsiteX442" fmla="*/ 53304 w 80482"/>
                    <a:gd name="connsiteY442" fmla="*/ 30880 h 81130"/>
                    <a:gd name="connsiteX443" fmla="*/ 52308 w 80482"/>
                    <a:gd name="connsiteY443" fmla="*/ 31290 h 81130"/>
                    <a:gd name="connsiteX444" fmla="*/ 46040 w 80482"/>
                    <a:gd name="connsiteY444" fmla="*/ 28596 h 81130"/>
                    <a:gd name="connsiteX445" fmla="*/ 45279 w 80482"/>
                    <a:gd name="connsiteY445" fmla="*/ 30412 h 81130"/>
                    <a:gd name="connsiteX446" fmla="*/ 55413 w 80482"/>
                    <a:gd name="connsiteY446" fmla="*/ 38260 h 81130"/>
                    <a:gd name="connsiteX447" fmla="*/ 57404 w 80482"/>
                    <a:gd name="connsiteY447" fmla="*/ 48099 h 81130"/>
                    <a:gd name="connsiteX448" fmla="*/ 48911 w 80482"/>
                    <a:gd name="connsiteY448" fmla="*/ 53429 h 81130"/>
                    <a:gd name="connsiteX449" fmla="*/ 35438 w 80482"/>
                    <a:gd name="connsiteY449" fmla="*/ 51203 h 81130"/>
                    <a:gd name="connsiteX450" fmla="*/ 24543 w 80482"/>
                    <a:gd name="connsiteY450" fmla="*/ 43004 h 81130"/>
                    <a:gd name="connsiteX451" fmla="*/ 22552 w 80482"/>
                    <a:gd name="connsiteY451" fmla="*/ 33164 h 81130"/>
                    <a:gd name="connsiteX452" fmla="*/ 31104 w 80482"/>
                    <a:gd name="connsiteY452" fmla="*/ 27835 h 81130"/>
                    <a:gd name="connsiteX453" fmla="*/ 43756 w 80482"/>
                    <a:gd name="connsiteY453" fmla="*/ 29768 h 81130"/>
                    <a:gd name="connsiteX454" fmla="*/ 44517 w 80482"/>
                    <a:gd name="connsiteY454" fmla="*/ 27952 h 81130"/>
                    <a:gd name="connsiteX455" fmla="*/ 38250 w 80482"/>
                    <a:gd name="connsiteY455" fmla="*/ 25258 h 81130"/>
                    <a:gd name="connsiteX456" fmla="*/ 37840 w 80482"/>
                    <a:gd name="connsiteY456" fmla="*/ 24262 h 81130"/>
                    <a:gd name="connsiteX457" fmla="*/ 37898 w 80482"/>
                    <a:gd name="connsiteY457" fmla="*/ 24145 h 81130"/>
                    <a:gd name="connsiteX458" fmla="*/ 38894 w 80482"/>
                    <a:gd name="connsiteY458" fmla="*/ 23735 h 81130"/>
                    <a:gd name="connsiteX459" fmla="*/ 45162 w 80482"/>
                    <a:gd name="connsiteY459" fmla="*/ 26429 h 81130"/>
                    <a:gd name="connsiteX460" fmla="*/ 45689 w 80482"/>
                    <a:gd name="connsiteY460" fmla="*/ 25199 h 81130"/>
                    <a:gd name="connsiteX461" fmla="*/ 41589 w 80482"/>
                    <a:gd name="connsiteY461" fmla="*/ 23442 h 81130"/>
                    <a:gd name="connsiteX462" fmla="*/ 41179 w 80482"/>
                    <a:gd name="connsiteY462" fmla="*/ 22447 h 81130"/>
                    <a:gd name="connsiteX463" fmla="*/ 41237 w 80482"/>
                    <a:gd name="connsiteY463" fmla="*/ 22330 h 81130"/>
                    <a:gd name="connsiteX464" fmla="*/ 42233 w 80482"/>
                    <a:gd name="connsiteY464" fmla="*/ 21920 h 81130"/>
                    <a:gd name="connsiteX465" fmla="*/ 46333 w 80482"/>
                    <a:gd name="connsiteY465" fmla="*/ 23677 h 81130"/>
                    <a:gd name="connsiteX466" fmla="*/ 46802 w 80482"/>
                    <a:gd name="connsiteY466" fmla="*/ 22564 h 81130"/>
                    <a:gd name="connsiteX467" fmla="*/ 47798 w 80482"/>
                    <a:gd name="connsiteY467" fmla="*/ 22154 h 81130"/>
                    <a:gd name="connsiteX468" fmla="*/ 49614 w 80482"/>
                    <a:gd name="connsiteY468" fmla="*/ 16414 h 81130"/>
                    <a:gd name="connsiteX469" fmla="*/ 50726 w 80482"/>
                    <a:gd name="connsiteY469" fmla="*/ 16531 h 81130"/>
                    <a:gd name="connsiteX470" fmla="*/ 50609 w 80482"/>
                    <a:gd name="connsiteY470" fmla="*/ 17644 h 81130"/>
                    <a:gd name="connsiteX471" fmla="*/ 49496 w 80482"/>
                    <a:gd name="connsiteY471" fmla="*/ 17527 h 81130"/>
                    <a:gd name="connsiteX472" fmla="*/ 49614 w 80482"/>
                    <a:gd name="connsiteY472" fmla="*/ 16414 h 81130"/>
                    <a:gd name="connsiteX473" fmla="*/ 52660 w 80482"/>
                    <a:gd name="connsiteY473" fmla="*/ 17000 h 81130"/>
                    <a:gd name="connsiteX474" fmla="*/ 52718 w 80482"/>
                    <a:gd name="connsiteY474" fmla="*/ 16824 h 81130"/>
                    <a:gd name="connsiteX475" fmla="*/ 52718 w 80482"/>
                    <a:gd name="connsiteY475" fmla="*/ 16824 h 81130"/>
                    <a:gd name="connsiteX476" fmla="*/ 53597 w 80482"/>
                    <a:gd name="connsiteY476" fmla="*/ 16707 h 81130"/>
                    <a:gd name="connsiteX477" fmla="*/ 53831 w 80482"/>
                    <a:gd name="connsiteY477" fmla="*/ 17117 h 81130"/>
                    <a:gd name="connsiteX478" fmla="*/ 54241 w 80482"/>
                    <a:gd name="connsiteY478" fmla="*/ 19694 h 81130"/>
                    <a:gd name="connsiteX479" fmla="*/ 53362 w 80482"/>
                    <a:gd name="connsiteY479" fmla="*/ 20865 h 81130"/>
                    <a:gd name="connsiteX480" fmla="*/ 50726 w 80482"/>
                    <a:gd name="connsiteY480" fmla="*/ 21275 h 81130"/>
                    <a:gd name="connsiteX481" fmla="*/ 50316 w 80482"/>
                    <a:gd name="connsiteY481" fmla="*/ 21158 h 81130"/>
                    <a:gd name="connsiteX482" fmla="*/ 50199 w 80482"/>
                    <a:gd name="connsiteY482" fmla="*/ 20280 h 81130"/>
                    <a:gd name="connsiteX483" fmla="*/ 50199 w 80482"/>
                    <a:gd name="connsiteY483" fmla="*/ 20280 h 81130"/>
                    <a:gd name="connsiteX484" fmla="*/ 50375 w 80482"/>
                    <a:gd name="connsiteY484" fmla="*/ 20163 h 81130"/>
                    <a:gd name="connsiteX485" fmla="*/ 51839 w 80482"/>
                    <a:gd name="connsiteY485" fmla="*/ 18816 h 81130"/>
                    <a:gd name="connsiteX486" fmla="*/ 52660 w 80482"/>
                    <a:gd name="connsiteY486" fmla="*/ 17000 h 81130"/>
                    <a:gd name="connsiteX487" fmla="*/ 57287 w 80482"/>
                    <a:gd name="connsiteY487" fmla="*/ 17878 h 81130"/>
                    <a:gd name="connsiteX488" fmla="*/ 59044 w 80482"/>
                    <a:gd name="connsiteY488" fmla="*/ 18757 h 81130"/>
                    <a:gd name="connsiteX489" fmla="*/ 59220 w 80482"/>
                    <a:gd name="connsiteY489" fmla="*/ 18816 h 81130"/>
                    <a:gd name="connsiteX490" fmla="*/ 59220 w 80482"/>
                    <a:gd name="connsiteY490" fmla="*/ 18816 h 81130"/>
                    <a:gd name="connsiteX491" fmla="*/ 59337 w 80482"/>
                    <a:gd name="connsiteY491" fmla="*/ 19694 h 81130"/>
                    <a:gd name="connsiteX492" fmla="*/ 58927 w 80482"/>
                    <a:gd name="connsiteY492" fmla="*/ 19928 h 81130"/>
                    <a:gd name="connsiteX493" fmla="*/ 56350 w 80482"/>
                    <a:gd name="connsiteY493" fmla="*/ 20338 h 81130"/>
                    <a:gd name="connsiteX494" fmla="*/ 55178 w 80482"/>
                    <a:gd name="connsiteY494" fmla="*/ 19460 h 81130"/>
                    <a:gd name="connsiteX495" fmla="*/ 54768 w 80482"/>
                    <a:gd name="connsiteY495" fmla="*/ 16824 h 81130"/>
                    <a:gd name="connsiteX496" fmla="*/ 54885 w 80482"/>
                    <a:gd name="connsiteY496" fmla="*/ 16414 h 81130"/>
                    <a:gd name="connsiteX497" fmla="*/ 55764 w 80482"/>
                    <a:gd name="connsiteY497" fmla="*/ 16297 h 81130"/>
                    <a:gd name="connsiteX498" fmla="*/ 55764 w 80482"/>
                    <a:gd name="connsiteY498" fmla="*/ 16297 h 81130"/>
                    <a:gd name="connsiteX499" fmla="*/ 55881 w 80482"/>
                    <a:gd name="connsiteY499" fmla="*/ 16473 h 81130"/>
                    <a:gd name="connsiteX500" fmla="*/ 57287 w 80482"/>
                    <a:gd name="connsiteY500" fmla="*/ 17878 h 81130"/>
                    <a:gd name="connsiteX501" fmla="*/ 59571 w 80482"/>
                    <a:gd name="connsiteY501" fmla="*/ 15302 h 81130"/>
                    <a:gd name="connsiteX502" fmla="*/ 58224 w 80482"/>
                    <a:gd name="connsiteY502" fmla="*/ 15711 h 81130"/>
                    <a:gd name="connsiteX503" fmla="*/ 59571 w 80482"/>
                    <a:gd name="connsiteY503" fmla="*/ 15302 h 81130"/>
                    <a:gd name="connsiteX504" fmla="*/ 70759 w 80482"/>
                    <a:gd name="connsiteY504" fmla="*/ 41422 h 81130"/>
                    <a:gd name="connsiteX505" fmla="*/ 70467 w 80482"/>
                    <a:gd name="connsiteY505" fmla="*/ 39021 h 81130"/>
                    <a:gd name="connsiteX506" fmla="*/ 69646 w 80482"/>
                    <a:gd name="connsiteY506" fmla="*/ 33047 h 81130"/>
                    <a:gd name="connsiteX507" fmla="*/ 70115 w 80482"/>
                    <a:gd name="connsiteY507" fmla="*/ 31407 h 81130"/>
                    <a:gd name="connsiteX508" fmla="*/ 70818 w 80482"/>
                    <a:gd name="connsiteY508" fmla="*/ 31642 h 81130"/>
                    <a:gd name="connsiteX509" fmla="*/ 71462 w 80482"/>
                    <a:gd name="connsiteY509" fmla="*/ 33984 h 81130"/>
                    <a:gd name="connsiteX510" fmla="*/ 72048 w 80482"/>
                    <a:gd name="connsiteY510" fmla="*/ 40134 h 81130"/>
                    <a:gd name="connsiteX511" fmla="*/ 70759 w 80482"/>
                    <a:gd name="connsiteY511" fmla="*/ 41422 h 81130"/>
                    <a:gd name="connsiteX512" fmla="*/ 71345 w 80482"/>
                    <a:gd name="connsiteY512" fmla="*/ 44116 h 81130"/>
                    <a:gd name="connsiteX513" fmla="*/ 69822 w 80482"/>
                    <a:gd name="connsiteY513" fmla="*/ 43824 h 81130"/>
                    <a:gd name="connsiteX514" fmla="*/ 70584 w 80482"/>
                    <a:gd name="connsiteY514" fmla="*/ 43296 h 81130"/>
                    <a:gd name="connsiteX515" fmla="*/ 71345 w 80482"/>
                    <a:gd name="connsiteY515" fmla="*/ 44116 h 81130"/>
                    <a:gd name="connsiteX516" fmla="*/ 62207 w 80482"/>
                    <a:gd name="connsiteY516" fmla="*/ 58641 h 81130"/>
                    <a:gd name="connsiteX517" fmla="*/ 62149 w 80482"/>
                    <a:gd name="connsiteY517" fmla="*/ 58817 h 81130"/>
                    <a:gd name="connsiteX518" fmla="*/ 62149 w 80482"/>
                    <a:gd name="connsiteY518" fmla="*/ 58817 h 81130"/>
                    <a:gd name="connsiteX519" fmla="*/ 61329 w 80482"/>
                    <a:gd name="connsiteY519" fmla="*/ 58992 h 81130"/>
                    <a:gd name="connsiteX520" fmla="*/ 61094 w 80482"/>
                    <a:gd name="connsiteY520" fmla="*/ 58582 h 81130"/>
                    <a:gd name="connsiteX521" fmla="*/ 60626 w 80482"/>
                    <a:gd name="connsiteY521" fmla="*/ 56005 h 81130"/>
                    <a:gd name="connsiteX522" fmla="*/ 61446 w 80482"/>
                    <a:gd name="connsiteY522" fmla="*/ 54834 h 81130"/>
                    <a:gd name="connsiteX523" fmla="*/ 64082 w 80482"/>
                    <a:gd name="connsiteY523" fmla="*/ 54366 h 81130"/>
                    <a:gd name="connsiteX524" fmla="*/ 64492 w 80482"/>
                    <a:gd name="connsiteY524" fmla="*/ 54483 h 81130"/>
                    <a:gd name="connsiteX525" fmla="*/ 64668 w 80482"/>
                    <a:gd name="connsiteY525" fmla="*/ 55303 h 81130"/>
                    <a:gd name="connsiteX526" fmla="*/ 64668 w 80482"/>
                    <a:gd name="connsiteY526" fmla="*/ 55303 h 81130"/>
                    <a:gd name="connsiteX527" fmla="*/ 64492 w 80482"/>
                    <a:gd name="connsiteY527" fmla="*/ 55420 h 81130"/>
                    <a:gd name="connsiteX528" fmla="*/ 63086 w 80482"/>
                    <a:gd name="connsiteY528" fmla="*/ 56825 h 81130"/>
                    <a:gd name="connsiteX529" fmla="*/ 62207 w 80482"/>
                    <a:gd name="connsiteY529" fmla="*/ 58641 h 81130"/>
                    <a:gd name="connsiteX530" fmla="*/ 60040 w 80482"/>
                    <a:gd name="connsiteY530" fmla="*/ 53018 h 81130"/>
                    <a:gd name="connsiteX531" fmla="*/ 59571 w 80482"/>
                    <a:gd name="connsiteY531" fmla="*/ 50383 h 81130"/>
                    <a:gd name="connsiteX532" fmla="*/ 59689 w 80482"/>
                    <a:gd name="connsiteY532" fmla="*/ 49973 h 81130"/>
                    <a:gd name="connsiteX533" fmla="*/ 60509 w 80482"/>
                    <a:gd name="connsiteY533" fmla="*/ 49797 h 81130"/>
                    <a:gd name="connsiteX534" fmla="*/ 60509 w 80482"/>
                    <a:gd name="connsiteY534" fmla="*/ 49797 h 81130"/>
                    <a:gd name="connsiteX535" fmla="*/ 60626 w 80482"/>
                    <a:gd name="connsiteY535" fmla="*/ 49973 h 81130"/>
                    <a:gd name="connsiteX536" fmla="*/ 62032 w 80482"/>
                    <a:gd name="connsiteY536" fmla="*/ 51379 h 81130"/>
                    <a:gd name="connsiteX537" fmla="*/ 63847 w 80482"/>
                    <a:gd name="connsiteY537" fmla="*/ 52199 h 81130"/>
                    <a:gd name="connsiteX538" fmla="*/ 64023 w 80482"/>
                    <a:gd name="connsiteY538" fmla="*/ 52257 h 81130"/>
                    <a:gd name="connsiteX539" fmla="*/ 64023 w 80482"/>
                    <a:gd name="connsiteY539" fmla="*/ 52257 h 81130"/>
                    <a:gd name="connsiteX540" fmla="*/ 64199 w 80482"/>
                    <a:gd name="connsiteY540" fmla="*/ 53136 h 81130"/>
                    <a:gd name="connsiteX541" fmla="*/ 63789 w 80482"/>
                    <a:gd name="connsiteY541" fmla="*/ 53370 h 81130"/>
                    <a:gd name="connsiteX542" fmla="*/ 61212 w 80482"/>
                    <a:gd name="connsiteY542" fmla="*/ 53838 h 81130"/>
                    <a:gd name="connsiteX543" fmla="*/ 60040 w 80482"/>
                    <a:gd name="connsiteY543" fmla="*/ 53018 h 81130"/>
                    <a:gd name="connsiteX544" fmla="*/ 59747 w 80482"/>
                    <a:gd name="connsiteY544" fmla="*/ 55420 h 81130"/>
                    <a:gd name="connsiteX545" fmla="*/ 59044 w 80482"/>
                    <a:gd name="connsiteY545" fmla="*/ 54541 h 81130"/>
                    <a:gd name="connsiteX546" fmla="*/ 59923 w 80482"/>
                    <a:gd name="connsiteY546" fmla="*/ 53838 h 81130"/>
                    <a:gd name="connsiteX547" fmla="*/ 60626 w 80482"/>
                    <a:gd name="connsiteY547" fmla="*/ 54717 h 81130"/>
                    <a:gd name="connsiteX548" fmla="*/ 59747 w 80482"/>
                    <a:gd name="connsiteY548" fmla="*/ 55420 h 81130"/>
                    <a:gd name="connsiteX549" fmla="*/ 55003 w 80482"/>
                    <a:gd name="connsiteY549" fmla="*/ 62331 h 81130"/>
                    <a:gd name="connsiteX550" fmla="*/ 55120 w 80482"/>
                    <a:gd name="connsiteY550" fmla="*/ 62506 h 81130"/>
                    <a:gd name="connsiteX551" fmla="*/ 55120 w 80482"/>
                    <a:gd name="connsiteY551" fmla="*/ 62506 h 81130"/>
                    <a:gd name="connsiteX552" fmla="*/ 54827 w 80482"/>
                    <a:gd name="connsiteY552" fmla="*/ 63326 h 81130"/>
                    <a:gd name="connsiteX553" fmla="*/ 54358 w 80482"/>
                    <a:gd name="connsiteY553" fmla="*/ 63326 h 81130"/>
                    <a:gd name="connsiteX554" fmla="*/ 51898 w 80482"/>
                    <a:gd name="connsiteY554" fmla="*/ 62448 h 81130"/>
                    <a:gd name="connsiteX555" fmla="*/ 51254 w 80482"/>
                    <a:gd name="connsiteY555" fmla="*/ 61159 h 81130"/>
                    <a:gd name="connsiteX556" fmla="*/ 52132 w 80482"/>
                    <a:gd name="connsiteY556" fmla="*/ 58582 h 81130"/>
                    <a:gd name="connsiteX557" fmla="*/ 52425 w 80482"/>
                    <a:gd name="connsiteY557" fmla="*/ 58290 h 81130"/>
                    <a:gd name="connsiteX558" fmla="*/ 53245 w 80482"/>
                    <a:gd name="connsiteY558" fmla="*/ 58582 h 81130"/>
                    <a:gd name="connsiteX559" fmla="*/ 53245 w 80482"/>
                    <a:gd name="connsiteY559" fmla="*/ 58582 h 81130"/>
                    <a:gd name="connsiteX560" fmla="*/ 53304 w 80482"/>
                    <a:gd name="connsiteY560" fmla="*/ 58758 h 81130"/>
                    <a:gd name="connsiteX561" fmla="*/ 53831 w 80482"/>
                    <a:gd name="connsiteY561" fmla="*/ 60632 h 81130"/>
                    <a:gd name="connsiteX562" fmla="*/ 55003 w 80482"/>
                    <a:gd name="connsiteY562" fmla="*/ 62331 h 81130"/>
                    <a:gd name="connsiteX563" fmla="*/ 55823 w 80482"/>
                    <a:gd name="connsiteY563" fmla="*/ 59227 h 81130"/>
                    <a:gd name="connsiteX564" fmla="*/ 56936 w 80482"/>
                    <a:gd name="connsiteY564" fmla="*/ 59344 h 81130"/>
                    <a:gd name="connsiteX565" fmla="*/ 56818 w 80482"/>
                    <a:gd name="connsiteY565" fmla="*/ 60457 h 81130"/>
                    <a:gd name="connsiteX566" fmla="*/ 55705 w 80482"/>
                    <a:gd name="connsiteY566" fmla="*/ 60339 h 81130"/>
                    <a:gd name="connsiteX567" fmla="*/ 55823 w 80482"/>
                    <a:gd name="connsiteY567" fmla="*/ 59227 h 81130"/>
                    <a:gd name="connsiteX568" fmla="*/ 38543 w 80482"/>
                    <a:gd name="connsiteY568" fmla="*/ 56298 h 81130"/>
                    <a:gd name="connsiteX569" fmla="*/ 38543 w 80482"/>
                    <a:gd name="connsiteY569" fmla="*/ 56298 h 81130"/>
                    <a:gd name="connsiteX570" fmla="*/ 39304 w 80482"/>
                    <a:gd name="connsiteY570" fmla="*/ 55713 h 81130"/>
                    <a:gd name="connsiteX571" fmla="*/ 40124 w 80482"/>
                    <a:gd name="connsiteY571" fmla="*/ 55478 h 81130"/>
                    <a:gd name="connsiteX572" fmla="*/ 40183 w 80482"/>
                    <a:gd name="connsiteY572" fmla="*/ 55478 h 81130"/>
                    <a:gd name="connsiteX573" fmla="*/ 40242 w 80482"/>
                    <a:gd name="connsiteY573" fmla="*/ 55478 h 81130"/>
                    <a:gd name="connsiteX574" fmla="*/ 41003 w 80482"/>
                    <a:gd name="connsiteY574" fmla="*/ 55713 h 81130"/>
                    <a:gd name="connsiteX575" fmla="*/ 41706 w 80482"/>
                    <a:gd name="connsiteY575" fmla="*/ 56298 h 81130"/>
                    <a:gd name="connsiteX576" fmla="*/ 41706 w 80482"/>
                    <a:gd name="connsiteY576" fmla="*/ 56298 h 81130"/>
                    <a:gd name="connsiteX577" fmla="*/ 42877 w 80482"/>
                    <a:gd name="connsiteY577" fmla="*/ 57294 h 81130"/>
                    <a:gd name="connsiteX578" fmla="*/ 42877 w 80482"/>
                    <a:gd name="connsiteY578" fmla="*/ 57294 h 81130"/>
                    <a:gd name="connsiteX579" fmla="*/ 42995 w 80482"/>
                    <a:gd name="connsiteY579" fmla="*/ 57587 h 81130"/>
                    <a:gd name="connsiteX580" fmla="*/ 42643 w 80482"/>
                    <a:gd name="connsiteY580" fmla="*/ 57938 h 81130"/>
                    <a:gd name="connsiteX581" fmla="*/ 42643 w 80482"/>
                    <a:gd name="connsiteY581" fmla="*/ 57938 h 81130"/>
                    <a:gd name="connsiteX582" fmla="*/ 42643 w 80482"/>
                    <a:gd name="connsiteY582" fmla="*/ 57938 h 81130"/>
                    <a:gd name="connsiteX583" fmla="*/ 42643 w 80482"/>
                    <a:gd name="connsiteY583" fmla="*/ 57938 h 81130"/>
                    <a:gd name="connsiteX584" fmla="*/ 40124 w 80482"/>
                    <a:gd name="connsiteY584" fmla="*/ 57821 h 81130"/>
                    <a:gd name="connsiteX585" fmla="*/ 37606 w 80482"/>
                    <a:gd name="connsiteY585" fmla="*/ 57938 h 81130"/>
                    <a:gd name="connsiteX586" fmla="*/ 37606 w 80482"/>
                    <a:gd name="connsiteY586" fmla="*/ 57938 h 81130"/>
                    <a:gd name="connsiteX587" fmla="*/ 37606 w 80482"/>
                    <a:gd name="connsiteY587" fmla="*/ 57938 h 81130"/>
                    <a:gd name="connsiteX588" fmla="*/ 37606 w 80482"/>
                    <a:gd name="connsiteY588" fmla="*/ 57938 h 81130"/>
                    <a:gd name="connsiteX589" fmla="*/ 37254 w 80482"/>
                    <a:gd name="connsiteY589" fmla="*/ 57587 h 81130"/>
                    <a:gd name="connsiteX590" fmla="*/ 37371 w 80482"/>
                    <a:gd name="connsiteY590" fmla="*/ 57294 h 81130"/>
                    <a:gd name="connsiteX591" fmla="*/ 37371 w 80482"/>
                    <a:gd name="connsiteY591" fmla="*/ 57294 h 81130"/>
                    <a:gd name="connsiteX592" fmla="*/ 38543 w 80482"/>
                    <a:gd name="connsiteY592" fmla="*/ 56298 h 81130"/>
                    <a:gd name="connsiteX593" fmla="*/ 43405 w 80482"/>
                    <a:gd name="connsiteY593" fmla="*/ 55713 h 81130"/>
                    <a:gd name="connsiteX594" fmla="*/ 43405 w 80482"/>
                    <a:gd name="connsiteY594" fmla="*/ 55713 h 81130"/>
                    <a:gd name="connsiteX595" fmla="*/ 43287 w 80482"/>
                    <a:gd name="connsiteY595" fmla="*/ 55420 h 81130"/>
                    <a:gd name="connsiteX596" fmla="*/ 43639 w 80482"/>
                    <a:gd name="connsiteY596" fmla="*/ 55068 h 81130"/>
                    <a:gd name="connsiteX597" fmla="*/ 43697 w 80482"/>
                    <a:gd name="connsiteY597" fmla="*/ 55068 h 81130"/>
                    <a:gd name="connsiteX598" fmla="*/ 43697 w 80482"/>
                    <a:gd name="connsiteY598" fmla="*/ 55068 h 81130"/>
                    <a:gd name="connsiteX599" fmla="*/ 43697 w 80482"/>
                    <a:gd name="connsiteY599" fmla="*/ 55068 h 81130"/>
                    <a:gd name="connsiteX600" fmla="*/ 46216 w 80482"/>
                    <a:gd name="connsiteY600" fmla="*/ 55186 h 81130"/>
                    <a:gd name="connsiteX601" fmla="*/ 48735 w 80482"/>
                    <a:gd name="connsiteY601" fmla="*/ 55068 h 81130"/>
                    <a:gd name="connsiteX602" fmla="*/ 48735 w 80482"/>
                    <a:gd name="connsiteY602" fmla="*/ 55068 h 81130"/>
                    <a:gd name="connsiteX603" fmla="*/ 48735 w 80482"/>
                    <a:gd name="connsiteY603" fmla="*/ 55068 h 81130"/>
                    <a:gd name="connsiteX604" fmla="*/ 48794 w 80482"/>
                    <a:gd name="connsiteY604" fmla="*/ 55068 h 81130"/>
                    <a:gd name="connsiteX605" fmla="*/ 49145 w 80482"/>
                    <a:gd name="connsiteY605" fmla="*/ 55420 h 81130"/>
                    <a:gd name="connsiteX606" fmla="*/ 49028 w 80482"/>
                    <a:gd name="connsiteY606" fmla="*/ 55713 h 81130"/>
                    <a:gd name="connsiteX607" fmla="*/ 49028 w 80482"/>
                    <a:gd name="connsiteY607" fmla="*/ 55713 h 81130"/>
                    <a:gd name="connsiteX608" fmla="*/ 47856 w 80482"/>
                    <a:gd name="connsiteY608" fmla="*/ 56708 h 81130"/>
                    <a:gd name="connsiteX609" fmla="*/ 47856 w 80482"/>
                    <a:gd name="connsiteY609" fmla="*/ 56708 h 81130"/>
                    <a:gd name="connsiteX610" fmla="*/ 47095 w 80482"/>
                    <a:gd name="connsiteY610" fmla="*/ 57294 h 81130"/>
                    <a:gd name="connsiteX611" fmla="*/ 46275 w 80482"/>
                    <a:gd name="connsiteY611" fmla="*/ 57528 h 81130"/>
                    <a:gd name="connsiteX612" fmla="*/ 46216 w 80482"/>
                    <a:gd name="connsiteY612" fmla="*/ 57528 h 81130"/>
                    <a:gd name="connsiteX613" fmla="*/ 46158 w 80482"/>
                    <a:gd name="connsiteY613" fmla="*/ 57528 h 81130"/>
                    <a:gd name="connsiteX614" fmla="*/ 45338 w 80482"/>
                    <a:gd name="connsiteY614" fmla="*/ 57294 h 81130"/>
                    <a:gd name="connsiteX615" fmla="*/ 44635 w 80482"/>
                    <a:gd name="connsiteY615" fmla="*/ 56650 h 81130"/>
                    <a:gd name="connsiteX616" fmla="*/ 44635 w 80482"/>
                    <a:gd name="connsiteY616" fmla="*/ 56650 h 81130"/>
                    <a:gd name="connsiteX617" fmla="*/ 43405 w 80482"/>
                    <a:gd name="connsiteY617" fmla="*/ 55713 h 81130"/>
                    <a:gd name="connsiteX618" fmla="*/ 46451 w 80482"/>
                    <a:gd name="connsiteY618" fmla="*/ 59519 h 81130"/>
                    <a:gd name="connsiteX619" fmla="*/ 46451 w 80482"/>
                    <a:gd name="connsiteY619" fmla="*/ 59519 h 81130"/>
                    <a:gd name="connsiteX620" fmla="*/ 46685 w 80482"/>
                    <a:gd name="connsiteY620" fmla="*/ 59461 h 81130"/>
                    <a:gd name="connsiteX621" fmla="*/ 48559 w 80482"/>
                    <a:gd name="connsiteY621" fmla="*/ 58934 h 81130"/>
                    <a:gd name="connsiteX622" fmla="*/ 50141 w 80482"/>
                    <a:gd name="connsiteY622" fmla="*/ 57762 h 81130"/>
                    <a:gd name="connsiteX623" fmla="*/ 50316 w 80482"/>
                    <a:gd name="connsiteY623" fmla="*/ 57645 h 81130"/>
                    <a:gd name="connsiteX624" fmla="*/ 50316 w 80482"/>
                    <a:gd name="connsiteY624" fmla="*/ 57645 h 81130"/>
                    <a:gd name="connsiteX625" fmla="*/ 51137 w 80482"/>
                    <a:gd name="connsiteY625" fmla="*/ 57938 h 81130"/>
                    <a:gd name="connsiteX626" fmla="*/ 51137 w 80482"/>
                    <a:gd name="connsiteY626" fmla="*/ 58407 h 81130"/>
                    <a:gd name="connsiteX627" fmla="*/ 50258 w 80482"/>
                    <a:gd name="connsiteY627" fmla="*/ 60925 h 81130"/>
                    <a:gd name="connsiteX628" fmla="*/ 48969 w 80482"/>
                    <a:gd name="connsiteY628" fmla="*/ 61569 h 81130"/>
                    <a:gd name="connsiteX629" fmla="*/ 46451 w 80482"/>
                    <a:gd name="connsiteY629" fmla="*/ 60691 h 81130"/>
                    <a:gd name="connsiteX630" fmla="*/ 46158 w 80482"/>
                    <a:gd name="connsiteY630" fmla="*/ 60398 h 81130"/>
                    <a:gd name="connsiteX631" fmla="*/ 46451 w 80482"/>
                    <a:gd name="connsiteY631" fmla="*/ 59519 h 81130"/>
                    <a:gd name="connsiteX632" fmla="*/ 44049 w 80482"/>
                    <a:gd name="connsiteY632" fmla="*/ 65083 h 81130"/>
                    <a:gd name="connsiteX633" fmla="*/ 45162 w 80482"/>
                    <a:gd name="connsiteY633" fmla="*/ 65200 h 81130"/>
                    <a:gd name="connsiteX634" fmla="*/ 45045 w 80482"/>
                    <a:gd name="connsiteY634" fmla="*/ 66313 h 81130"/>
                    <a:gd name="connsiteX635" fmla="*/ 43932 w 80482"/>
                    <a:gd name="connsiteY635" fmla="*/ 66196 h 81130"/>
                    <a:gd name="connsiteX636" fmla="*/ 44049 w 80482"/>
                    <a:gd name="connsiteY636" fmla="*/ 65083 h 81130"/>
                    <a:gd name="connsiteX637" fmla="*/ 45572 w 80482"/>
                    <a:gd name="connsiteY637" fmla="*/ 62623 h 81130"/>
                    <a:gd name="connsiteX638" fmla="*/ 45455 w 80482"/>
                    <a:gd name="connsiteY638" fmla="*/ 62448 h 81130"/>
                    <a:gd name="connsiteX639" fmla="*/ 45455 w 80482"/>
                    <a:gd name="connsiteY639" fmla="*/ 62448 h 81130"/>
                    <a:gd name="connsiteX640" fmla="*/ 45748 w 80482"/>
                    <a:gd name="connsiteY640" fmla="*/ 61628 h 81130"/>
                    <a:gd name="connsiteX641" fmla="*/ 46216 w 80482"/>
                    <a:gd name="connsiteY641" fmla="*/ 61628 h 81130"/>
                    <a:gd name="connsiteX642" fmla="*/ 48676 w 80482"/>
                    <a:gd name="connsiteY642" fmla="*/ 62506 h 81130"/>
                    <a:gd name="connsiteX643" fmla="*/ 49321 w 80482"/>
                    <a:gd name="connsiteY643" fmla="*/ 63795 h 81130"/>
                    <a:gd name="connsiteX644" fmla="*/ 48442 w 80482"/>
                    <a:gd name="connsiteY644" fmla="*/ 66372 h 81130"/>
                    <a:gd name="connsiteX645" fmla="*/ 48149 w 80482"/>
                    <a:gd name="connsiteY645" fmla="*/ 66665 h 81130"/>
                    <a:gd name="connsiteX646" fmla="*/ 47329 w 80482"/>
                    <a:gd name="connsiteY646" fmla="*/ 66372 h 81130"/>
                    <a:gd name="connsiteX647" fmla="*/ 47329 w 80482"/>
                    <a:gd name="connsiteY647" fmla="*/ 66372 h 81130"/>
                    <a:gd name="connsiteX648" fmla="*/ 47271 w 80482"/>
                    <a:gd name="connsiteY648" fmla="*/ 66196 h 81130"/>
                    <a:gd name="connsiteX649" fmla="*/ 46743 w 80482"/>
                    <a:gd name="connsiteY649" fmla="*/ 64322 h 81130"/>
                    <a:gd name="connsiteX650" fmla="*/ 45572 w 80482"/>
                    <a:gd name="connsiteY650" fmla="*/ 62623 h 81130"/>
                    <a:gd name="connsiteX651" fmla="*/ 49614 w 80482"/>
                    <a:gd name="connsiteY651" fmla="*/ 62038 h 81130"/>
                    <a:gd name="connsiteX652" fmla="*/ 50726 w 80482"/>
                    <a:gd name="connsiteY652" fmla="*/ 61804 h 81130"/>
                    <a:gd name="connsiteX653" fmla="*/ 50961 w 80482"/>
                    <a:gd name="connsiteY653" fmla="*/ 62916 h 81130"/>
                    <a:gd name="connsiteX654" fmla="*/ 49848 w 80482"/>
                    <a:gd name="connsiteY654" fmla="*/ 63151 h 81130"/>
                    <a:gd name="connsiteX655" fmla="*/ 49614 w 80482"/>
                    <a:gd name="connsiteY655" fmla="*/ 62038 h 81130"/>
                    <a:gd name="connsiteX656" fmla="*/ 55120 w 80482"/>
                    <a:gd name="connsiteY656" fmla="*/ 54775 h 81130"/>
                    <a:gd name="connsiteX657" fmla="*/ 54944 w 80482"/>
                    <a:gd name="connsiteY657" fmla="*/ 53897 h 81130"/>
                    <a:gd name="connsiteX658" fmla="*/ 54944 w 80482"/>
                    <a:gd name="connsiteY658" fmla="*/ 53897 h 81130"/>
                    <a:gd name="connsiteX659" fmla="*/ 55120 w 80482"/>
                    <a:gd name="connsiteY659" fmla="*/ 53780 h 81130"/>
                    <a:gd name="connsiteX660" fmla="*/ 56525 w 80482"/>
                    <a:gd name="connsiteY660" fmla="*/ 52374 h 81130"/>
                    <a:gd name="connsiteX661" fmla="*/ 57346 w 80482"/>
                    <a:gd name="connsiteY661" fmla="*/ 50559 h 81130"/>
                    <a:gd name="connsiteX662" fmla="*/ 57404 w 80482"/>
                    <a:gd name="connsiteY662" fmla="*/ 50383 h 81130"/>
                    <a:gd name="connsiteX663" fmla="*/ 57404 w 80482"/>
                    <a:gd name="connsiteY663" fmla="*/ 50383 h 81130"/>
                    <a:gd name="connsiteX664" fmla="*/ 58224 w 80482"/>
                    <a:gd name="connsiteY664" fmla="*/ 50207 h 81130"/>
                    <a:gd name="connsiteX665" fmla="*/ 58459 w 80482"/>
                    <a:gd name="connsiteY665" fmla="*/ 50617 h 81130"/>
                    <a:gd name="connsiteX666" fmla="*/ 58459 w 80482"/>
                    <a:gd name="connsiteY666" fmla="*/ 50617 h 81130"/>
                    <a:gd name="connsiteX667" fmla="*/ 58927 w 80482"/>
                    <a:gd name="connsiteY667" fmla="*/ 53194 h 81130"/>
                    <a:gd name="connsiteX668" fmla="*/ 58107 w 80482"/>
                    <a:gd name="connsiteY668" fmla="*/ 54366 h 81130"/>
                    <a:gd name="connsiteX669" fmla="*/ 55471 w 80482"/>
                    <a:gd name="connsiteY669" fmla="*/ 54834 h 81130"/>
                    <a:gd name="connsiteX670" fmla="*/ 55120 w 80482"/>
                    <a:gd name="connsiteY670" fmla="*/ 54775 h 81130"/>
                    <a:gd name="connsiteX671" fmla="*/ 58986 w 80482"/>
                    <a:gd name="connsiteY671" fmla="*/ 28186 h 81130"/>
                    <a:gd name="connsiteX672" fmla="*/ 58986 w 80482"/>
                    <a:gd name="connsiteY672" fmla="*/ 28186 h 81130"/>
                    <a:gd name="connsiteX673" fmla="*/ 59220 w 80482"/>
                    <a:gd name="connsiteY673" fmla="*/ 28128 h 81130"/>
                    <a:gd name="connsiteX674" fmla="*/ 61153 w 80482"/>
                    <a:gd name="connsiteY674" fmla="*/ 27718 h 81130"/>
                    <a:gd name="connsiteX675" fmla="*/ 62793 w 80482"/>
                    <a:gd name="connsiteY675" fmla="*/ 26605 h 81130"/>
                    <a:gd name="connsiteX676" fmla="*/ 62969 w 80482"/>
                    <a:gd name="connsiteY676" fmla="*/ 26488 h 81130"/>
                    <a:gd name="connsiteX677" fmla="*/ 62969 w 80482"/>
                    <a:gd name="connsiteY677" fmla="*/ 26488 h 81130"/>
                    <a:gd name="connsiteX678" fmla="*/ 63789 w 80482"/>
                    <a:gd name="connsiteY678" fmla="*/ 26781 h 81130"/>
                    <a:gd name="connsiteX679" fmla="*/ 63789 w 80482"/>
                    <a:gd name="connsiteY679" fmla="*/ 27249 h 81130"/>
                    <a:gd name="connsiteX680" fmla="*/ 62793 w 80482"/>
                    <a:gd name="connsiteY680" fmla="*/ 29709 h 81130"/>
                    <a:gd name="connsiteX681" fmla="*/ 61446 w 80482"/>
                    <a:gd name="connsiteY681" fmla="*/ 30295 h 81130"/>
                    <a:gd name="connsiteX682" fmla="*/ 58986 w 80482"/>
                    <a:gd name="connsiteY682" fmla="*/ 29299 h 81130"/>
                    <a:gd name="connsiteX683" fmla="*/ 58693 w 80482"/>
                    <a:gd name="connsiteY683" fmla="*/ 29006 h 81130"/>
                    <a:gd name="connsiteX684" fmla="*/ 58986 w 80482"/>
                    <a:gd name="connsiteY684" fmla="*/ 28186 h 81130"/>
                    <a:gd name="connsiteX685" fmla="*/ 60274 w 80482"/>
                    <a:gd name="connsiteY685" fmla="*/ 24497 h 81130"/>
                    <a:gd name="connsiteX686" fmla="*/ 61387 w 80482"/>
                    <a:gd name="connsiteY686" fmla="*/ 24614 h 81130"/>
                    <a:gd name="connsiteX687" fmla="*/ 61270 w 80482"/>
                    <a:gd name="connsiteY687" fmla="*/ 25726 h 81130"/>
                    <a:gd name="connsiteX688" fmla="*/ 60157 w 80482"/>
                    <a:gd name="connsiteY688" fmla="*/ 25609 h 81130"/>
                    <a:gd name="connsiteX689" fmla="*/ 60274 w 80482"/>
                    <a:gd name="connsiteY689" fmla="*/ 24497 h 81130"/>
                    <a:gd name="connsiteX690" fmla="*/ 58166 w 80482"/>
                    <a:gd name="connsiteY690" fmla="*/ 30236 h 81130"/>
                    <a:gd name="connsiteX691" fmla="*/ 58634 w 80482"/>
                    <a:gd name="connsiteY691" fmla="*/ 30236 h 81130"/>
                    <a:gd name="connsiteX692" fmla="*/ 61094 w 80482"/>
                    <a:gd name="connsiteY692" fmla="*/ 31232 h 81130"/>
                    <a:gd name="connsiteX693" fmla="*/ 61680 w 80482"/>
                    <a:gd name="connsiteY693" fmla="*/ 32579 h 81130"/>
                    <a:gd name="connsiteX694" fmla="*/ 60684 w 80482"/>
                    <a:gd name="connsiteY694" fmla="*/ 35097 h 81130"/>
                    <a:gd name="connsiteX695" fmla="*/ 60391 w 80482"/>
                    <a:gd name="connsiteY695" fmla="*/ 35390 h 81130"/>
                    <a:gd name="connsiteX696" fmla="*/ 59571 w 80482"/>
                    <a:gd name="connsiteY696" fmla="*/ 35097 h 81130"/>
                    <a:gd name="connsiteX697" fmla="*/ 59571 w 80482"/>
                    <a:gd name="connsiteY697" fmla="*/ 35097 h 81130"/>
                    <a:gd name="connsiteX698" fmla="*/ 59513 w 80482"/>
                    <a:gd name="connsiteY698" fmla="*/ 34921 h 81130"/>
                    <a:gd name="connsiteX699" fmla="*/ 59103 w 80482"/>
                    <a:gd name="connsiteY699" fmla="*/ 32989 h 81130"/>
                    <a:gd name="connsiteX700" fmla="*/ 58048 w 80482"/>
                    <a:gd name="connsiteY700" fmla="*/ 31349 h 81130"/>
                    <a:gd name="connsiteX701" fmla="*/ 57931 w 80482"/>
                    <a:gd name="connsiteY701" fmla="*/ 31173 h 81130"/>
                    <a:gd name="connsiteX702" fmla="*/ 57931 w 80482"/>
                    <a:gd name="connsiteY702" fmla="*/ 31173 h 81130"/>
                    <a:gd name="connsiteX703" fmla="*/ 58166 w 80482"/>
                    <a:gd name="connsiteY703" fmla="*/ 30236 h 81130"/>
                    <a:gd name="connsiteX704" fmla="*/ 62032 w 80482"/>
                    <a:gd name="connsiteY704" fmla="*/ 30822 h 81130"/>
                    <a:gd name="connsiteX705" fmla="*/ 63145 w 80482"/>
                    <a:gd name="connsiteY705" fmla="*/ 30646 h 81130"/>
                    <a:gd name="connsiteX706" fmla="*/ 63320 w 80482"/>
                    <a:gd name="connsiteY706" fmla="*/ 31759 h 81130"/>
                    <a:gd name="connsiteX707" fmla="*/ 62207 w 80482"/>
                    <a:gd name="connsiteY707" fmla="*/ 31934 h 81130"/>
                    <a:gd name="connsiteX708" fmla="*/ 62032 w 80482"/>
                    <a:gd name="connsiteY708" fmla="*/ 30822 h 81130"/>
                    <a:gd name="connsiteX709" fmla="*/ 63906 w 80482"/>
                    <a:gd name="connsiteY709" fmla="*/ 32344 h 81130"/>
                    <a:gd name="connsiteX710" fmla="*/ 66366 w 80482"/>
                    <a:gd name="connsiteY710" fmla="*/ 33340 h 81130"/>
                    <a:gd name="connsiteX711" fmla="*/ 66659 w 80482"/>
                    <a:gd name="connsiteY711" fmla="*/ 33633 h 81130"/>
                    <a:gd name="connsiteX712" fmla="*/ 66308 w 80482"/>
                    <a:gd name="connsiteY712" fmla="*/ 34453 h 81130"/>
                    <a:gd name="connsiteX713" fmla="*/ 66308 w 80482"/>
                    <a:gd name="connsiteY713" fmla="*/ 34453 h 81130"/>
                    <a:gd name="connsiteX714" fmla="*/ 66132 w 80482"/>
                    <a:gd name="connsiteY714" fmla="*/ 34511 h 81130"/>
                    <a:gd name="connsiteX715" fmla="*/ 64199 w 80482"/>
                    <a:gd name="connsiteY715" fmla="*/ 34980 h 81130"/>
                    <a:gd name="connsiteX716" fmla="*/ 62559 w 80482"/>
                    <a:gd name="connsiteY716" fmla="*/ 36093 h 81130"/>
                    <a:gd name="connsiteX717" fmla="*/ 62383 w 80482"/>
                    <a:gd name="connsiteY717" fmla="*/ 36210 h 81130"/>
                    <a:gd name="connsiteX718" fmla="*/ 62383 w 80482"/>
                    <a:gd name="connsiteY718" fmla="*/ 36210 h 81130"/>
                    <a:gd name="connsiteX719" fmla="*/ 61563 w 80482"/>
                    <a:gd name="connsiteY719" fmla="*/ 35917 h 81130"/>
                    <a:gd name="connsiteX720" fmla="*/ 61563 w 80482"/>
                    <a:gd name="connsiteY720" fmla="*/ 35448 h 81130"/>
                    <a:gd name="connsiteX721" fmla="*/ 62559 w 80482"/>
                    <a:gd name="connsiteY721" fmla="*/ 32989 h 81130"/>
                    <a:gd name="connsiteX722" fmla="*/ 63906 w 80482"/>
                    <a:gd name="connsiteY722" fmla="*/ 32344 h 81130"/>
                    <a:gd name="connsiteX723" fmla="*/ 60802 w 80482"/>
                    <a:gd name="connsiteY723" fmla="*/ 39900 h 81130"/>
                    <a:gd name="connsiteX724" fmla="*/ 61212 w 80482"/>
                    <a:gd name="connsiteY724" fmla="*/ 40134 h 81130"/>
                    <a:gd name="connsiteX725" fmla="*/ 62910 w 80482"/>
                    <a:gd name="connsiteY725" fmla="*/ 42125 h 81130"/>
                    <a:gd name="connsiteX726" fmla="*/ 62793 w 80482"/>
                    <a:gd name="connsiteY726" fmla="*/ 43589 h 81130"/>
                    <a:gd name="connsiteX727" fmla="*/ 60743 w 80482"/>
                    <a:gd name="connsiteY727" fmla="*/ 45346 h 81130"/>
                    <a:gd name="connsiteX728" fmla="*/ 60333 w 80482"/>
                    <a:gd name="connsiteY728" fmla="*/ 45463 h 81130"/>
                    <a:gd name="connsiteX729" fmla="*/ 59806 w 80482"/>
                    <a:gd name="connsiteY729" fmla="*/ 44819 h 81130"/>
                    <a:gd name="connsiteX730" fmla="*/ 59806 w 80482"/>
                    <a:gd name="connsiteY730" fmla="*/ 44819 h 81130"/>
                    <a:gd name="connsiteX731" fmla="*/ 59864 w 80482"/>
                    <a:gd name="connsiteY731" fmla="*/ 44643 h 81130"/>
                    <a:gd name="connsiteX732" fmla="*/ 60391 w 80482"/>
                    <a:gd name="connsiteY732" fmla="*/ 42711 h 81130"/>
                    <a:gd name="connsiteX733" fmla="*/ 60216 w 80482"/>
                    <a:gd name="connsiteY733" fmla="*/ 40719 h 81130"/>
                    <a:gd name="connsiteX734" fmla="*/ 60216 w 80482"/>
                    <a:gd name="connsiteY734" fmla="*/ 40485 h 81130"/>
                    <a:gd name="connsiteX735" fmla="*/ 60216 w 80482"/>
                    <a:gd name="connsiteY735" fmla="*/ 40427 h 81130"/>
                    <a:gd name="connsiteX736" fmla="*/ 60802 w 80482"/>
                    <a:gd name="connsiteY736" fmla="*/ 39900 h 81130"/>
                    <a:gd name="connsiteX737" fmla="*/ 63379 w 80482"/>
                    <a:gd name="connsiteY737" fmla="*/ 44409 h 81130"/>
                    <a:gd name="connsiteX738" fmla="*/ 64843 w 80482"/>
                    <a:gd name="connsiteY738" fmla="*/ 44526 h 81130"/>
                    <a:gd name="connsiteX739" fmla="*/ 66542 w 80482"/>
                    <a:gd name="connsiteY739" fmla="*/ 46576 h 81130"/>
                    <a:gd name="connsiteX740" fmla="*/ 66659 w 80482"/>
                    <a:gd name="connsiteY740" fmla="*/ 46986 h 81130"/>
                    <a:gd name="connsiteX741" fmla="*/ 66015 w 80482"/>
                    <a:gd name="connsiteY741" fmla="*/ 47513 h 81130"/>
                    <a:gd name="connsiteX742" fmla="*/ 66015 w 80482"/>
                    <a:gd name="connsiteY742" fmla="*/ 47513 h 81130"/>
                    <a:gd name="connsiteX743" fmla="*/ 65839 w 80482"/>
                    <a:gd name="connsiteY743" fmla="*/ 47455 h 81130"/>
                    <a:gd name="connsiteX744" fmla="*/ 63965 w 80482"/>
                    <a:gd name="connsiteY744" fmla="*/ 46928 h 81130"/>
                    <a:gd name="connsiteX745" fmla="*/ 62032 w 80482"/>
                    <a:gd name="connsiteY745" fmla="*/ 47103 h 81130"/>
                    <a:gd name="connsiteX746" fmla="*/ 61797 w 80482"/>
                    <a:gd name="connsiteY746" fmla="*/ 47103 h 81130"/>
                    <a:gd name="connsiteX747" fmla="*/ 61797 w 80482"/>
                    <a:gd name="connsiteY747" fmla="*/ 47103 h 81130"/>
                    <a:gd name="connsiteX748" fmla="*/ 61270 w 80482"/>
                    <a:gd name="connsiteY748" fmla="*/ 46459 h 81130"/>
                    <a:gd name="connsiteX749" fmla="*/ 61504 w 80482"/>
                    <a:gd name="connsiteY749" fmla="*/ 46049 h 81130"/>
                    <a:gd name="connsiteX750" fmla="*/ 63379 w 80482"/>
                    <a:gd name="connsiteY750" fmla="*/ 44409 h 81130"/>
                    <a:gd name="connsiteX751" fmla="*/ 63906 w 80482"/>
                    <a:gd name="connsiteY751" fmla="*/ 42301 h 81130"/>
                    <a:gd name="connsiteX752" fmla="*/ 64960 w 80482"/>
                    <a:gd name="connsiteY752" fmla="*/ 42711 h 81130"/>
                    <a:gd name="connsiteX753" fmla="*/ 64550 w 80482"/>
                    <a:gd name="connsiteY753" fmla="*/ 43765 h 81130"/>
                    <a:gd name="connsiteX754" fmla="*/ 63496 w 80482"/>
                    <a:gd name="connsiteY754" fmla="*/ 43355 h 81130"/>
                    <a:gd name="connsiteX755" fmla="*/ 63906 w 80482"/>
                    <a:gd name="connsiteY755" fmla="*/ 42301 h 81130"/>
                    <a:gd name="connsiteX756" fmla="*/ 68182 w 80482"/>
                    <a:gd name="connsiteY756" fmla="*/ 43355 h 81130"/>
                    <a:gd name="connsiteX757" fmla="*/ 68358 w 80482"/>
                    <a:gd name="connsiteY757" fmla="*/ 45346 h 81130"/>
                    <a:gd name="connsiteX758" fmla="*/ 68358 w 80482"/>
                    <a:gd name="connsiteY758" fmla="*/ 45581 h 81130"/>
                    <a:gd name="connsiteX759" fmla="*/ 68358 w 80482"/>
                    <a:gd name="connsiteY759" fmla="*/ 45639 h 81130"/>
                    <a:gd name="connsiteX760" fmla="*/ 67713 w 80482"/>
                    <a:gd name="connsiteY760" fmla="*/ 46225 h 81130"/>
                    <a:gd name="connsiteX761" fmla="*/ 67303 w 80482"/>
                    <a:gd name="connsiteY761" fmla="*/ 45990 h 81130"/>
                    <a:gd name="connsiteX762" fmla="*/ 65605 w 80482"/>
                    <a:gd name="connsiteY762" fmla="*/ 43999 h 81130"/>
                    <a:gd name="connsiteX763" fmla="*/ 65722 w 80482"/>
                    <a:gd name="connsiteY763" fmla="*/ 42535 h 81130"/>
                    <a:gd name="connsiteX764" fmla="*/ 67772 w 80482"/>
                    <a:gd name="connsiteY764" fmla="*/ 40778 h 81130"/>
                    <a:gd name="connsiteX765" fmla="*/ 68182 w 80482"/>
                    <a:gd name="connsiteY765" fmla="*/ 40661 h 81130"/>
                    <a:gd name="connsiteX766" fmla="*/ 68709 w 80482"/>
                    <a:gd name="connsiteY766" fmla="*/ 41305 h 81130"/>
                    <a:gd name="connsiteX767" fmla="*/ 68709 w 80482"/>
                    <a:gd name="connsiteY767" fmla="*/ 41305 h 81130"/>
                    <a:gd name="connsiteX768" fmla="*/ 68651 w 80482"/>
                    <a:gd name="connsiteY768" fmla="*/ 41481 h 81130"/>
                    <a:gd name="connsiteX769" fmla="*/ 68182 w 80482"/>
                    <a:gd name="connsiteY769" fmla="*/ 43355 h 81130"/>
                    <a:gd name="connsiteX770" fmla="*/ 63906 w 80482"/>
                    <a:gd name="connsiteY770" fmla="*/ 49973 h 81130"/>
                    <a:gd name="connsiteX771" fmla="*/ 62793 w 80482"/>
                    <a:gd name="connsiteY771" fmla="*/ 49856 h 81130"/>
                    <a:gd name="connsiteX772" fmla="*/ 62910 w 80482"/>
                    <a:gd name="connsiteY772" fmla="*/ 48743 h 81130"/>
                    <a:gd name="connsiteX773" fmla="*/ 64023 w 80482"/>
                    <a:gd name="connsiteY773" fmla="*/ 48860 h 81130"/>
                    <a:gd name="connsiteX774" fmla="*/ 63906 w 80482"/>
                    <a:gd name="connsiteY774" fmla="*/ 49973 h 81130"/>
                    <a:gd name="connsiteX775" fmla="*/ 66542 w 80482"/>
                    <a:gd name="connsiteY775" fmla="*/ 38904 h 81130"/>
                    <a:gd name="connsiteX776" fmla="*/ 66776 w 80482"/>
                    <a:gd name="connsiteY776" fmla="*/ 38904 h 81130"/>
                    <a:gd name="connsiteX777" fmla="*/ 66835 w 80482"/>
                    <a:gd name="connsiteY777" fmla="*/ 38904 h 81130"/>
                    <a:gd name="connsiteX778" fmla="*/ 67362 w 80482"/>
                    <a:gd name="connsiteY778" fmla="*/ 39548 h 81130"/>
                    <a:gd name="connsiteX779" fmla="*/ 67128 w 80482"/>
                    <a:gd name="connsiteY779" fmla="*/ 39958 h 81130"/>
                    <a:gd name="connsiteX780" fmla="*/ 65136 w 80482"/>
                    <a:gd name="connsiteY780" fmla="*/ 41657 h 81130"/>
                    <a:gd name="connsiteX781" fmla="*/ 63672 w 80482"/>
                    <a:gd name="connsiteY781" fmla="*/ 41539 h 81130"/>
                    <a:gd name="connsiteX782" fmla="*/ 61973 w 80482"/>
                    <a:gd name="connsiteY782" fmla="*/ 39490 h 81130"/>
                    <a:gd name="connsiteX783" fmla="*/ 61856 w 80482"/>
                    <a:gd name="connsiteY783" fmla="*/ 39080 h 81130"/>
                    <a:gd name="connsiteX784" fmla="*/ 62500 w 80482"/>
                    <a:gd name="connsiteY784" fmla="*/ 38553 h 81130"/>
                    <a:gd name="connsiteX785" fmla="*/ 62500 w 80482"/>
                    <a:gd name="connsiteY785" fmla="*/ 38553 h 81130"/>
                    <a:gd name="connsiteX786" fmla="*/ 62676 w 80482"/>
                    <a:gd name="connsiteY786" fmla="*/ 38611 h 81130"/>
                    <a:gd name="connsiteX787" fmla="*/ 64550 w 80482"/>
                    <a:gd name="connsiteY787" fmla="*/ 39138 h 81130"/>
                    <a:gd name="connsiteX788" fmla="*/ 66542 w 80482"/>
                    <a:gd name="connsiteY788" fmla="*/ 38904 h 81130"/>
                    <a:gd name="connsiteX789" fmla="*/ 65605 w 80482"/>
                    <a:gd name="connsiteY789" fmla="*/ 37381 h 81130"/>
                    <a:gd name="connsiteX790" fmla="*/ 64492 w 80482"/>
                    <a:gd name="connsiteY790" fmla="*/ 37264 h 81130"/>
                    <a:gd name="connsiteX791" fmla="*/ 64609 w 80482"/>
                    <a:gd name="connsiteY791" fmla="*/ 36151 h 81130"/>
                    <a:gd name="connsiteX792" fmla="*/ 65722 w 80482"/>
                    <a:gd name="connsiteY792" fmla="*/ 36268 h 81130"/>
                    <a:gd name="connsiteX793" fmla="*/ 65605 w 80482"/>
                    <a:gd name="connsiteY793" fmla="*/ 37381 h 81130"/>
                    <a:gd name="connsiteX794" fmla="*/ 67772 w 80482"/>
                    <a:gd name="connsiteY794" fmla="*/ 28596 h 81130"/>
                    <a:gd name="connsiteX795" fmla="*/ 68533 w 80482"/>
                    <a:gd name="connsiteY795" fmla="*/ 27952 h 81130"/>
                    <a:gd name="connsiteX796" fmla="*/ 69236 w 80482"/>
                    <a:gd name="connsiteY796" fmla="*/ 28948 h 81130"/>
                    <a:gd name="connsiteX797" fmla="*/ 67772 w 80482"/>
                    <a:gd name="connsiteY797" fmla="*/ 28596 h 81130"/>
                    <a:gd name="connsiteX798" fmla="*/ 67362 w 80482"/>
                    <a:gd name="connsiteY798" fmla="*/ 31407 h 81130"/>
                    <a:gd name="connsiteX799" fmla="*/ 67479 w 80482"/>
                    <a:gd name="connsiteY799" fmla="*/ 31583 h 81130"/>
                    <a:gd name="connsiteX800" fmla="*/ 67479 w 80482"/>
                    <a:gd name="connsiteY800" fmla="*/ 31583 h 81130"/>
                    <a:gd name="connsiteX801" fmla="*/ 67186 w 80482"/>
                    <a:gd name="connsiteY801" fmla="*/ 32403 h 81130"/>
                    <a:gd name="connsiteX802" fmla="*/ 66718 w 80482"/>
                    <a:gd name="connsiteY802" fmla="*/ 32403 h 81130"/>
                    <a:gd name="connsiteX803" fmla="*/ 64258 w 80482"/>
                    <a:gd name="connsiteY803" fmla="*/ 31407 h 81130"/>
                    <a:gd name="connsiteX804" fmla="*/ 63672 w 80482"/>
                    <a:gd name="connsiteY804" fmla="*/ 30060 h 81130"/>
                    <a:gd name="connsiteX805" fmla="*/ 64668 w 80482"/>
                    <a:gd name="connsiteY805" fmla="*/ 27542 h 81130"/>
                    <a:gd name="connsiteX806" fmla="*/ 64960 w 80482"/>
                    <a:gd name="connsiteY806" fmla="*/ 27249 h 81130"/>
                    <a:gd name="connsiteX807" fmla="*/ 65780 w 80482"/>
                    <a:gd name="connsiteY807" fmla="*/ 27601 h 81130"/>
                    <a:gd name="connsiteX808" fmla="*/ 65780 w 80482"/>
                    <a:gd name="connsiteY808" fmla="*/ 27601 h 81130"/>
                    <a:gd name="connsiteX809" fmla="*/ 65839 w 80482"/>
                    <a:gd name="connsiteY809" fmla="*/ 27776 h 81130"/>
                    <a:gd name="connsiteX810" fmla="*/ 66249 w 80482"/>
                    <a:gd name="connsiteY810" fmla="*/ 29709 h 81130"/>
                    <a:gd name="connsiteX811" fmla="*/ 67362 w 80482"/>
                    <a:gd name="connsiteY811" fmla="*/ 31407 h 81130"/>
                    <a:gd name="connsiteX812" fmla="*/ 67069 w 80482"/>
                    <a:gd name="connsiteY812" fmla="*/ 26312 h 81130"/>
                    <a:gd name="connsiteX813" fmla="*/ 66366 w 80482"/>
                    <a:gd name="connsiteY813" fmla="*/ 25316 h 81130"/>
                    <a:gd name="connsiteX814" fmla="*/ 62852 w 80482"/>
                    <a:gd name="connsiteY814" fmla="*/ 20280 h 81130"/>
                    <a:gd name="connsiteX815" fmla="*/ 61387 w 80482"/>
                    <a:gd name="connsiteY815" fmla="*/ 18347 h 81130"/>
                    <a:gd name="connsiteX816" fmla="*/ 62149 w 80482"/>
                    <a:gd name="connsiteY816" fmla="*/ 17820 h 81130"/>
                    <a:gd name="connsiteX817" fmla="*/ 64140 w 80482"/>
                    <a:gd name="connsiteY817" fmla="*/ 19694 h 81130"/>
                    <a:gd name="connsiteX818" fmla="*/ 67128 w 80482"/>
                    <a:gd name="connsiteY818" fmla="*/ 23677 h 81130"/>
                    <a:gd name="connsiteX819" fmla="*/ 68006 w 80482"/>
                    <a:gd name="connsiteY819" fmla="*/ 25902 h 81130"/>
                    <a:gd name="connsiteX820" fmla="*/ 67069 w 80482"/>
                    <a:gd name="connsiteY820" fmla="*/ 26312 h 81130"/>
                    <a:gd name="connsiteX821" fmla="*/ 55588 w 80482"/>
                    <a:gd name="connsiteY821" fmla="*/ 33399 h 81130"/>
                    <a:gd name="connsiteX822" fmla="*/ 56350 w 80482"/>
                    <a:gd name="connsiteY822" fmla="*/ 33809 h 81130"/>
                    <a:gd name="connsiteX823" fmla="*/ 56408 w 80482"/>
                    <a:gd name="connsiteY823" fmla="*/ 33867 h 81130"/>
                    <a:gd name="connsiteX824" fmla="*/ 56467 w 80482"/>
                    <a:gd name="connsiteY824" fmla="*/ 33926 h 81130"/>
                    <a:gd name="connsiteX825" fmla="*/ 56818 w 80482"/>
                    <a:gd name="connsiteY825" fmla="*/ 34687 h 81130"/>
                    <a:gd name="connsiteX826" fmla="*/ 56877 w 80482"/>
                    <a:gd name="connsiteY826" fmla="*/ 35624 h 81130"/>
                    <a:gd name="connsiteX827" fmla="*/ 56877 w 80482"/>
                    <a:gd name="connsiteY827" fmla="*/ 35624 h 81130"/>
                    <a:gd name="connsiteX828" fmla="*/ 56994 w 80482"/>
                    <a:gd name="connsiteY828" fmla="*/ 37147 h 81130"/>
                    <a:gd name="connsiteX829" fmla="*/ 56994 w 80482"/>
                    <a:gd name="connsiteY829" fmla="*/ 37147 h 81130"/>
                    <a:gd name="connsiteX830" fmla="*/ 56877 w 80482"/>
                    <a:gd name="connsiteY830" fmla="*/ 37440 h 81130"/>
                    <a:gd name="connsiteX831" fmla="*/ 56350 w 80482"/>
                    <a:gd name="connsiteY831" fmla="*/ 37440 h 81130"/>
                    <a:gd name="connsiteX832" fmla="*/ 56350 w 80482"/>
                    <a:gd name="connsiteY832" fmla="*/ 37440 h 81130"/>
                    <a:gd name="connsiteX833" fmla="*/ 56350 w 80482"/>
                    <a:gd name="connsiteY833" fmla="*/ 37440 h 81130"/>
                    <a:gd name="connsiteX834" fmla="*/ 56350 w 80482"/>
                    <a:gd name="connsiteY834" fmla="*/ 37440 h 81130"/>
                    <a:gd name="connsiteX835" fmla="*/ 54710 w 80482"/>
                    <a:gd name="connsiteY835" fmla="*/ 35566 h 81130"/>
                    <a:gd name="connsiteX836" fmla="*/ 52894 w 80482"/>
                    <a:gd name="connsiteY836" fmla="*/ 33867 h 81130"/>
                    <a:gd name="connsiteX837" fmla="*/ 52894 w 80482"/>
                    <a:gd name="connsiteY837" fmla="*/ 33867 h 81130"/>
                    <a:gd name="connsiteX838" fmla="*/ 52894 w 80482"/>
                    <a:gd name="connsiteY838" fmla="*/ 33867 h 81130"/>
                    <a:gd name="connsiteX839" fmla="*/ 52894 w 80482"/>
                    <a:gd name="connsiteY839" fmla="*/ 33340 h 81130"/>
                    <a:gd name="connsiteX840" fmla="*/ 53187 w 80482"/>
                    <a:gd name="connsiteY840" fmla="*/ 33223 h 81130"/>
                    <a:gd name="connsiteX841" fmla="*/ 53187 w 80482"/>
                    <a:gd name="connsiteY841" fmla="*/ 33223 h 81130"/>
                    <a:gd name="connsiteX842" fmla="*/ 54710 w 80482"/>
                    <a:gd name="connsiteY842" fmla="*/ 33399 h 81130"/>
                    <a:gd name="connsiteX843" fmla="*/ 54710 w 80482"/>
                    <a:gd name="connsiteY843" fmla="*/ 33399 h 81130"/>
                    <a:gd name="connsiteX844" fmla="*/ 55588 w 80482"/>
                    <a:gd name="connsiteY844" fmla="*/ 33399 h 81130"/>
                    <a:gd name="connsiteX845" fmla="*/ 59747 w 80482"/>
                    <a:gd name="connsiteY845" fmla="*/ 21920 h 81130"/>
                    <a:gd name="connsiteX846" fmla="*/ 59747 w 80482"/>
                    <a:gd name="connsiteY846" fmla="*/ 21920 h 81130"/>
                    <a:gd name="connsiteX847" fmla="*/ 59571 w 80482"/>
                    <a:gd name="connsiteY847" fmla="*/ 22095 h 81130"/>
                    <a:gd name="connsiteX848" fmla="*/ 58166 w 80482"/>
                    <a:gd name="connsiteY848" fmla="*/ 23442 h 81130"/>
                    <a:gd name="connsiteX849" fmla="*/ 57287 w 80482"/>
                    <a:gd name="connsiteY849" fmla="*/ 25199 h 81130"/>
                    <a:gd name="connsiteX850" fmla="*/ 57228 w 80482"/>
                    <a:gd name="connsiteY850" fmla="*/ 25375 h 81130"/>
                    <a:gd name="connsiteX851" fmla="*/ 57228 w 80482"/>
                    <a:gd name="connsiteY851" fmla="*/ 25375 h 81130"/>
                    <a:gd name="connsiteX852" fmla="*/ 56408 w 80482"/>
                    <a:gd name="connsiteY852" fmla="*/ 25492 h 81130"/>
                    <a:gd name="connsiteX853" fmla="*/ 56174 w 80482"/>
                    <a:gd name="connsiteY853" fmla="*/ 25082 h 81130"/>
                    <a:gd name="connsiteX854" fmla="*/ 55764 w 80482"/>
                    <a:gd name="connsiteY854" fmla="*/ 22505 h 81130"/>
                    <a:gd name="connsiteX855" fmla="*/ 56643 w 80482"/>
                    <a:gd name="connsiteY855" fmla="*/ 21334 h 81130"/>
                    <a:gd name="connsiteX856" fmla="*/ 59279 w 80482"/>
                    <a:gd name="connsiteY856" fmla="*/ 20924 h 81130"/>
                    <a:gd name="connsiteX857" fmla="*/ 59689 w 80482"/>
                    <a:gd name="connsiteY857" fmla="*/ 21041 h 81130"/>
                    <a:gd name="connsiteX858" fmla="*/ 59747 w 80482"/>
                    <a:gd name="connsiteY858" fmla="*/ 21920 h 81130"/>
                    <a:gd name="connsiteX859" fmla="*/ 54710 w 80482"/>
                    <a:gd name="connsiteY859" fmla="*/ 22681 h 81130"/>
                    <a:gd name="connsiteX860" fmla="*/ 55120 w 80482"/>
                    <a:gd name="connsiteY860" fmla="*/ 25316 h 81130"/>
                    <a:gd name="connsiteX861" fmla="*/ 55003 w 80482"/>
                    <a:gd name="connsiteY861" fmla="*/ 25726 h 81130"/>
                    <a:gd name="connsiteX862" fmla="*/ 54124 w 80482"/>
                    <a:gd name="connsiteY862" fmla="*/ 25844 h 81130"/>
                    <a:gd name="connsiteX863" fmla="*/ 54124 w 80482"/>
                    <a:gd name="connsiteY863" fmla="*/ 25844 h 81130"/>
                    <a:gd name="connsiteX864" fmla="*/ 54007 w 80482"/>
                    <a:gd name="connsiteY864" fmla="*/ 25668 h 81130"/>
                    <a:gd name="connsiteX865" fmla="*/ 52660 w 80482"/>
                    <a:gd name="connsiteY865" fmla="*/ 24204 h 81130"/>
                    <a:gd name="connsiteX866" fmla="*/ 50902 w 80482"/>
                    <a:gd name="connsiteY866" fmla="*/ 23325 h 81130"/>
                    <a:gd name="connsiteX867" fmla="*/ 50726 w 80482"/>
                    <a:gd name="connsiteY867" fmla="*/ 23267 h 81130"/>
                    <a:gd name="connsiteX868" fmla="*/ 50726 w 80482"/>
                    <a:gd name="connsiteY868" fmla="*/ 23267 h 81130"/>
                    <a:gd name="connsiteX869" fmla="*/ 50609 w 80482"/>
                    <a:gd name="connsiteY869" fmla="*/ 22388 h 81130"/>
                    <a:gd name="connsiteX870" fmla="*/ 51019 w 80482"/>
                    <a:gd name="connsiteY870" fmla="*/ 22154 h 81130"/>
                    <a:gd name="connsiteX871" fmla="*/ 53597 w 80482"/>
                    <a:gd name="connsiteY871" fmla="*/ 21744 h 81130"/>
                    <a:gd name="connsiteX872" fmla="*/ 54710 w 80482"/>
                    <a:gd name="connsiteY872" fmla="*/ 22681 h 81130"/>
                    <a:gd name="connsiteX873" fmla="*/ 55061 w 80482"/>
                    <a:gd name="connsiteY873" fmla="*/ 20338 h 81130"/>
                    <a:gd name="connsiteX874" fmla="*/ 55764 w 80482"/>
                    <a:gd name="connsiteY874" fmla="*/ 21217 h 81130"/>
                    <a:gd name="connsiteX875" fmla="*/ 54885 w 80482"/>
                    <a:gd name="connsiteY875" fmla="*/ 21920 h 81130"/>
                    <a:gd name="connsiteX876" fmla="*/ 54182 w 80482"/>
                    <a:gd name="connsiteY876" fmla="*/ 21041 h 81130"/>
                    <a:gd name="connsiteX877" fmla="*/ 55061 w 80482"/>
                    <a:gd name="connsiteY877" fmla="*/ 20338 h 81130"/>
                    <a:gd name="connsiteX878" fmla="*/ 29581 w 80482"/>
                    <a:gd name="connsiteY878" fmla="*/ 54366 h 81130"/>
                    <a:gd name="connsiteX879" fmla="*/ 29053 w 80482"/>
                    <a:gd name="connsiteY879" fmla="*/ 54366 h 81130"/>
                    <a:gd name="connsiteX880" fmla="*/ 29053 w 80482"/>
                    <a:gd name="connsiteY880" fmla="*/ 54366 h 81130"/>
                    <a:gd name="connsiteX881" fmla="*/ 29053 w 80482"/>
                    <a:gd name="connsiteY881" fmla="*/ 54366 h 81130"/>
                    <a:gd name="connsiteX882" fmla="*/ 27413 w 80482"/>
                    <a:gd name="connsiteY882" fmla="*/ 52491 h 81130"/>
                    <a:gd name="connsiteX883" fmla="*/ 25598 w 80482"/>
                    <a:gd name="connsiteY883" fmla="*/ 50793 h 81130"/>
                    <a:gd name="connsiteX884" fmla="*/ 25598 w 80482"/>
                    <a:gd name="connsiteY884" fmla="*/ 50793 h 81130"/>
                    <a:gd name="connsiteX885" fmla="*/ 25598 w 80482"/>
                    <a:gd name="connsiteY885" fmla="*/ 50793 h 81130"/>
                    <a:gd name="connsiteX886" fmla="*/ 25598 w 80482"/>
                    <a:gd name="connsiteY886" fmla="*/ 50266 h 81130"/>
                    <a:gd name="connsiteX887" fmla="*/ 25890 w 80482"/>
                    <a:gd name="connsiteY887" fmla="*/ 50149 h 81130"/>
                    <a:gd name="connsiteX888" fmla="*/ 25890 w 80482"/>
                    <a:gd name="connsiteY888" fmla="*/ 50149 h 81130"/>
                    <a:gd name="connsiteX889" fmla="*/ 27413 w 80482"/>
                    <a:gd name="connsiteY889" fmla="*/ 50324 h 81130"/>
                    <a:gd name="connsiteX890" fmla="*/ 27413 w 80482"/>
                    <a:gd name="connsiteY890" fmla="*/ 50324 h 81130"/>
                    <a:gd name="connsiteX891" fmla="*/ 28351 w 80482"/>
                    <a:gd name="connsiteY891" fmla="*/ 50442 h 81130"/>
                    <a:gd name="connsiteX892" fmla="*/ 29112 w 80482"/>
                    <a:gd name="connsiteY892" fmla="*/ 50852 h 81130"/>
                    <a:gd name="connsiteX893" fmla="*/ 29171 w 80482"/>
                    <a:gd name="connsiteY893" fmla="*/ 50910 h 81130"/>
                    <a:gd name="connsiteX894" fmla="*/ 29229 w 80482"/>
                    <a:gd name="connsiteY894" fmla="*/ 50969 h 81130"/>
                    <a:gd name="connsiteX895" fmla="*/ 29581 w 80482"/>
                    <a:gd name="connsiteY895" fmla="*/ 51730 h 81130"/>
                    <a:gd name="connsiteX896" fmla="*/ 29639 w 80482"/>
                    <a:gd name="connsiteY896" fmla="*/ 52667 h 81130"/>
                    <a:gd name="connsiteX897" fmla="*/ 29639 w 80482"/>
                    <a:gd name="connsiteY897" fmla="*/ 52667 h 81130"/>
                    <a:gd name="connsiteX898" fmla="*/ 29756 w 80482"/>
                    <a:gd name="connsiteY898" fmla="*/ 54190 h 81130"/>
                    <a:gd name="connsiteX899" fmla="*/ 29756 w 80482"/>
                    <a:gd name="connsiteY899" fmla="*/ 54190 h 81130"/>
                    <a:gd name="connsiteX900" fmla="*/ 29581 w 80482"/>
                    <a:gd name="connsiteY900" fmla="*/ 54366 h 81130"/>
                    <a:gd name="connsiteX901" fmla="*/ 29464 w 80482"/>
                    <a:gd name="connsiteY901" fmla="*/ 58582 h 81130"/>
                    <a:gd name="connsiteX902" fmla="*/ 26886 w 80482"/>
                    <a:gd name="connsiteY902" fmla="*/ 58992 h 81130"/>
                    <a:gd name="connsiteX903" fmla="*/ 25715 w 80482"/>
                    <a:gd name="connsiteY903" fmla="*/ 58114 h 81130"/>
                    <a:gd name="connsiteX904" fmla="*/ 25305 w 80482"/>
                    <a:gd name="connsiteY904" fmla="*/ 55420 h 81130"/>
                    <a:gd name="connsiteX905" fmla="*/ 25422 w 80482"/>
                    <a:gd name="connsiteY905" fmla="*/ 55010 h 81130"/>
                    <a:gd name="connsiteX906" fmla="*/ 26300 w 80482"/>
                    <a:gd name="connsiteY906" fmla="*/ 54893 h 81130"/>
                    <a:gd name="connsiteX907" fmla="*/ 26300 w 80482"/>
                    <a:gd name="connsiteY907" fmla="*/ 54893 h 81130"/>
                    <a:gd name="connsiteX908" fmla="*/ 26418 w 80482"/>
                    <a:gd name="connsiteY908" fmla="*/ 55068 h 81130"/>
                    <a:gd name="connsiteX909" fmla="*/ 27765 w 80482"/>
                    <a:gd name="connsiteY909" fmla="*/ 56474 h 81130"/>
                    <a:gd name="connsiteX910" fmla="*/ 29522 w 80482"/>
                    <a:gd name="connsiteY910" fmla="*/ 57352 h 81130"/>
                    <a:gd name="connsiteX911" fmla="*/ 29698 w 80482"/>
                    <a:gd name="connsiteY911" fmla="*/ 57411 h 81130"/>
                    <a:gd name="connsiteX912" fmla="*/ 29698 w 80482"/>
                    <a:gd name="connsiteY912" fmla="*/ 57411 h 81130"/>
                    <a:gd name="connsiteX913" fmla="*/ 29815 w 80482"/>
                    <a:gd name="connsiteY913" fmla="*/ 58290 h 81130"/>
                    <a:gd name="connsiteX914" fmla="*/ 29464 w 80482"/>
                    <a:gd name="connsiteY914" fmla="*/ 58582 h 81130"/>
                    <a:gd name="connsiteX915" fmla="*/ 29464 w 80482"/>
                    <a:gd name="connsiteY915" fmla="*/ 58582 h 81130"/>
                    <a:gd name="connsiteX916" fmla="*/ 25363 w 80482"/>
                    <a:gd name="connsiteY916" fmla="*/ 60515 h 81130"/>
                    <a:gd name="connsiteX917" fmla="*/ 24660 w 80482"/>
                    <a:gd name="connsiteY917" fmla="*/ 59637 h 81130"/>
                    <a:gd name="connsiteX918" fmla="*/ 25539 w 80482"/>
                    <a:gd name="connsiteY918" fmla="*/ 58934 h 81130"/>
                    <a:gd name="connsiteX919" fmla="*/ 26242 w 80482"/>
                    <a:gd name="connsiteY919" fmla="*/ 59812 h 81130"/>
                    <a:gd name="connsiteX920" fmla="*/ 25363 w 80482"/>
                    <a:gd name="connsiteY920" fmla="*/ 60515 h 81130"/>
                    <a:gd name="connsiteX921" fmla="*/ 18920 w 80482"/>
                    <a:gd name="connsiteY921" fmla="*/ 50559 h 81130"/>
                    <a:gd name="connsiteX922" fmla="*/ 21380 w 80482"/>
                    <a:gd name="connsiteY922" fmla="*/ 51554 h 81130"/>
                    <a:gd name="connsiteX923" fmla="*/ 21673 w 80482"/>
                    <a:gd name="connsiteY923" fmla="*/ 51847 h 81130"/>
                    <a:gd name="connsiteX924" fmla="*/ 21322 w 80482"/>
                    <a:gd name="connsiteY924" fmla="*/ 52667 h 81130"/>
                    <a:gd name="connsiteX925" fmla="*/ 21322 w 80482"/>
                    <a:gd name="connsiteY925" fmla="*/ 52667 h 81130"/>
                    <a:gd name="connsiteX926" fmla="*/ 21146 w 80482"/>
                    <a:gd name="connsiteY926" fmla="*/ 52726 h 81130"/>
                    <a:gd name="connsiteX927" fmla="*/ 19213 w 80482"/>
                    <a:gd name="connsiteY927" fmla="*/ 53136 h 81130"/>
                    <a:gd name="connsiteX928" fmla="*/ 17573 w 80482"/>
                    <a:gd name="connsiteY928" fmla="*/ 54248 h 81130"/>
                    <a:gd name="connsiteX929" fmla="*/ 17397 w 80482"/>
                    <a:gd name="connsiteY929" fmla="*/ 54366 h 81130"/>
                    <a:gd name="connsiteX930" fmla="*/ 17338 w 80482"/>
                    <a:gd name="connsiteY930" fmla="*/ 54366 h 81130"/>
                    <a:gd name="connsiteX931" fmla="*/ 16518 w 80482"/>
                    <a:gd name="connsiteY931" fmla="*/ 54073 h 81130"/>
                    <a:gd name="connsiteX932" fmla="*/ 16518 w 80482"/>
                    <a:gd name="connsiteY932" fmla="*/ 53604 h 81130"/>
                    <a:gd name="connsiteX933" fmla="*/ 17514 w 80482"/>
                    <a:gd name="connsiteY933" fmla="*/ 51144 h 81130"/>
                    <a:gd name="connsiteX934" fmla="*/ 18920 w 80482"/>
                    <a:gd name="connsiteY934" fmla="*/ 50559 h 81130"/>
                    <a:gd name="connsiteX935" fmla="*/ 17280 w 80482"/>
                    <a:gd name="connsiteY935" fmla="*/ 50149 h 81130"/>
                    <a:gd name="connsiteX936" fmla="*/ 17104 w 80482"/>
                    <a:gd name="connsiteY936" fmla="*/ 49036 h 81130"/>
                    <a:gd name="connsiteX937" fmla="*/ 18217 w 80482"/>
                    <a:gd name="connsiteY937" fmla="*/ 48860 h 81130"/>
                    <a:gd name="connsiteX938" fmla="*/ 18393 w 80482"/>
                    <a:gd name="connsiteY938" fmla="*/ 49973 h 81130"/>
                    <a:gd name="connsiteX939" fmla="*/ 17280 w 80482"/>
                    <a:gd name="connsiteY939" fmla="*/ 50149 h 81130"/>
                    <a:gd name="connsiteX940" fmla="*/ 22259 w 80482"/>
                    <a:gd name="connsiteY940" fmla="*/ 50617 h 81130"/>
                    <a:gd name="connsiteX941" fmla="*/ 21790 w 80482"/>
                    <a:gd name="connsiteY941" fmla="*/ 50617 h 81130"/>
                    <a:gd name="connsiteX942" fmla="*/ 21790 w 80482"/>
                    <a:gd name="connsiteY942" fmla="*/ 50617 h 81130"/>
                    <a:gd name="connsiteX943" fmla="*/ 19330 w 80482"/>
                    <a:gd name="connsiteY943" fmla="*/ 49622 h 81130"/>
                    <a:gd name="connsiteX944" fmla="*/ 18744 w 80482"/>
                    <a:gd name="connsiteY944" fmla="*/ 48275 h 81130"/>
                    <a:gd name="connsiteX945" fmla="*/ 19740 w 80482"/>
                    <a:gd name="connsiteY945" fmla="*/ 45756 h 81130"/>
                    <a:gd name="connsiteX946" fmla="*/ 20033 w 80482"/>
                    <a:gd name="connsiteY946" fmla="*/ 45463 h 81130"/>
                    <a:gd name="connsiteX947" fmla="*/ 20853 w 80482"/>
                    <a:gd name="connsiteY947" fmla="*/ 45756 h 81130"/>
                    <a:gd name="connsiteX948" fmla="*/ 20853 w 80482"/>
                    <a:gd name="connsiteY948" fmla="*/ 45756 h 81130"/>
                    <a:gd name="connsiteX949" fmla="*/ 20912 w 80482"/>
                    <a:gd name="connsiteY949" fmla="*/ 45932 h 81130"/>
                    <a:gd name="connsiteX950" fmla="*/ 21322 w 80482"/>
                    <a:gd name="connsiteY950" fmla="*/ 47865 h 81130"/>
                    <a:gd name="connsiteX951" fmla="*/ 22376 w 80482"/>
                    <a:gd name="connsiteY951" fmla="*/ 49504 h 81130"/>
                    <a:gd name="connsiteX952" fmla="*/ 22493 w 80482"/>
                    <a:gd name="connsiteY952" fmla="*/ 49680 h 81130"/>
                    <a:gd name="connsiteX953" fmla="*/ 22493 w 80482"/>
                    <a:gd name="connsiteY953" fmla="*/ 49680 h 81130"/>
                    <a:gd name="connsiteX954" fmla="*/ 22259 w 80482"/>
                    <a:gd name="connsiteY954" fmla="*/ 50617 h 81130"/>
                    <a:gd name="connsiteX955" fmla="*/ 16987 w 80482"/>
                    <a:gd name="connsiteY955" fmla="*/ 36444 h 81130"/>
                    <a:gd name="connsiteX956" fmla="*/ 15523 w 80482"/>
                    <a:gd name="connsiteY956" fmla="*/ 36327 h 81130"/>
                    <a:gd name="connsiteX957" fmla="*/ 13824 w 80482"/>
                    <a:gd name="connsiteY957" fmla="*/ 34277 h 81130"/>
                    <a:gd name="connsiteX958" fmla="*/ 13707 w 80482"/>
                    <a:gd name="connsiteY958" fmla="*/ 33867 h 81130"/>
                    <a:gd name="connsiteX959" fmla="*/ 14351 w 80482"/>
                    <a:gd name="connsiteY959" fmla="*/ 33340 h 81130"/>
                    <a:gd name="connsiteX960" fmla="*/ 14351 w 80482"/>
                    <a:gd name="connsiteY960" fmla="*/ 33340 h 81130"/>
                    <a:gd name="connsiteX961" fmla="*/ 14527 w 80482"/>
                    <a:gd name="connsiteY961" fmla="*/ 33399 h 81130"/>
                    <a:gd name="connsiteX962" fmla="*/ 16401 w 80482"/>
                    <a:gd name="connsiteY962" fmla="*/ 33926 h 81130"/>
                    <a:gd name="connsiteX963" fmla="*/ 18334 w 80482"/>
                    <a:gd name="connsiteY963" fmla="*/ 33750 h 81130"/>
                    <a:gd name="connsiteX964" fmla="*/ 18569 w 80482"/>
                    <a:gd name="connsiteY964" fmla="*/ 33750 h 81130"/>
                    <a:gd name="connsiteX965" fmla="*/ 18627 w 80482"/>
                    <a:gd name="connsiteY965" fmla="*/ 33750 h 81130"/>
                    <a:gd name="connsiteX966" fmla="*/ 19154 w 80482"/>
                    <a:gd name="connsiteY966" fmla="*/ 34394 h 81130"/>
                    <a:gd name="connsiteX967" fmla="*/ 18920 w 80482"/>
                    <a:gd name="connsiteY967" fmla="*/ 34804 h 81130"/>
                    <a:gd name="connsiteX968" fmla="*/ 16987 w 80482"/>
                    <a:gd name="connsiteY968" fmla="*/ 36444 h 81130"/>
                    <a:gd name="connsiteX969" fmla="*/ 16460 w 80482"/>
                    <a:gd name="connsiteY969" fmla="*/ 38553 h 81130"/>
                    <a:gd name="connsiteX970" fmla="*/ 15405 w 80482"/>
                    <a:gd name="connsiteY970" fmla="*/ 38143 h 81130"/>
                    <a:gd name="connsiteX971" fmla="*/ 15815 w 80482"/>
                    <a:gd name="connsiteY971" fmla="*/ 37088 h 81130"/>
                    <a:gd name="connsiteX972" fmla="*/ 16870 w 80482"/>
                    <a:gd name="connsiteY972" fmla="*/ 37498 h 81130"/>
                    <a:gd name="connsiteX973" fmla="*/ 16460 w 80482"/>
                    <a:gd name="connsiteY973" fmla="*/ 38553 h 81130"/>
                    <a:gd name="connsiteX974" fmla="*/ 18217 w 80482"/>
                    <a:gd name="connsiteY974" fmla="*/ 22212 h 81130"/>
                    <a:gd name="connsiteX975" fmla="*/ 18276 w 80482"/>
                    <a:gd name="connsiteY975" fmla="*/ 22037 h 81130"/>
                    <a:gd name="connsiteX976" fmla="*/ 18276 w 80482"/>
                    <a:gd name="connsiteY976" fmla="*/ 22037 h 81130"/>
                    <a:gd name="connsiteX977" fmla="*/ 19096 w 80482"/>
                    <a:gd name="connsiteY977" fmla="*/ 21861 h 81130"/>
                    <a:gd name="connsiteX978" fmla="*/ 19330 w 80482"/>
                    <a:gd name="connsiteY978" fmla="*/ 22271 h 81130"/>
                    <a:gd name="connsiteX979" fmla="*/ 19799 w 80482"/>
                    <a:gd name="connsiteY979" fmla="*/ 24848 h 81130"/>
                    <a:gd name="connsiteX980" fmla="*/ 18979 w 80482"/>
                    <a:gd name="connsiteY980" fmla="*/ 26019 h 81130"/>
                    <a:gd name="connsiteX981" fmla="*/ 16343 w 80482"/>
                    <a:gd name="connsiteY981" fmla="*/ 26488 h 81130"/>
                    <a:gd name="connsiteX982" fmla="*/ 15933 w 80482"/>
                    <a:gd name="connsiteY982" fmla="*/ 26371 h 81130"/>
                    <a:gd name="connsiteX983" fmla="*/ 15757 w 80482"/>
                    <a:gd name="connsiteY983" fmla="*/ 25492 h 81130"/>
                    <a:gd name="connsiteX984" fmla="*/ 15757 w 80482"/>
                    <a:gd name="connsiteY984" fmla="*/ 25492 h 81130"/>
                    <a:gd name="connsiteX985" fmla="*/ 15933 w 80482"/>
                    <a:gd name="connsiteY985" fmla="*/ 25375 h 81130"/>
                    <a:gd name="connsiteX986" fmla="*/ 17338 w 80482"/>
                    <a:gd name="connsiteY986" fmla="*/ 23969 h 81130"/>
                    <a:gd name="connsiteX987" fmla="*/ 18217 w 80482"/>
                    <a:gd name="connsiteY987" fmla="*/ 22212 h 81130"/>
                    <a:gd name="connsiteX988" fmla="*/ 20384 w 80482"/>
                    <a:gd name="connsiteY988" fmla="*/ 27835 h 81130"/>
                    <a:gd name="connsiteX989" fmla="*/ 20853 w 80482"/>
                    <a:gd name="connsiteY989" fmla="*/ 30470 h 81130"/>
                    <a:gd name="connsiteX990" fmla="*/ 20736 w 80482"/>
                    <a:gd name="connsiteY990" fmla="*/ 30880 h 81130"/>
                    <a:gd name="connsiteX991" fmla="*/ 19916 w 80482"/>
                    <a:gd name="connsiteY991" fmla="*/ 31056 h 81130"/>
                    <a:gd name="connsiteX992" fmla="*/ 19916 w 80482"/>
                    <a:gd name="connsiteY992" fmla="*/ 31056 h 81130"/>
                    <a:gd name="connsiteX993" fmla="*/ 19799 w 80482"/>
                    <a:gd name="connsiteY993" fmla="*/ 30880 h 81130"/>
                    <a:gd name="connsiteX994" fmla="*/ 18393 w 80482"/>
                    <a:gd name="connsiteY994" fmla="*/ 29475 h 81130"/>
                    <a:gd name="connsiteX995" fmla="*/ 16577 w 80482"/>
                    <a:gd name="connsiteY995" fmla="*/ 28655 h 81130"/>
                    <a:gd name="connsiteX996" fmla="*/ 16401 w 80482"/>
                    <a:gd name="connsiteY996" fmla="*/ 28596 h 81130"/>
                    <a:gd name="connsiteX997" fmla="*/ 16401 w 80482"/>
                    <a:gd name="connsiteY997" fmla="*/ 28596 h 81130"/>
                    <a:gd name="connsiteX998" fmla="*/ 16225 w 80482"/>
                    <a:gd name="connsiteY998" fmla="*/ 27776 h 81130"/>
                    <a:gd name="connsiteX999" fmla="*/ 16635 w 80482"/>
                    <a:gd name="connsiteY999" fmla="*/ 27542 h 81130"/>
                    <a:gd name="connsiteX1000" fmla="*/ 19213 w 80482"/>
                    <a:gd name="connsiteY1000" fmla="*/ 27073 h 81130"/>
                    <a:gd name="connsiteX1001" fmla="*/ 20384 w 80482"/>
                    <a:gd name="connsiteY1001" fmla="*/ 27835 h 81130"/>
                    <a:gd name="connsiteX1002" fmla="*/ 20677 w 80482"/>
                    <a:gd name="connsiteY1002" fmla="*/ 25434 h 81130"/>
                    <a:gd name="connsiteX1003" fmla="*/ 21380 w 80482"/>
                    <a:gd name="connsiteY1003" fmla="*/ 26312 h 81130"/>
                    <a:gd name="connsiteX1004" fmla="*/ 20501 w 80482"/>
                    <a:gd name="connsiteY1004" fmla="*/ 27015 h 81130"/>
                    <a:gd name="connsiteX1005" fmla="*/ 19799 w 80482"/>
                    <a:gd name="connsiteY1005" fmla="*/ 26136 h 81130"/>
                    <a:gd name="connsiteX1006" fmla="*/ 20677 w 80482"/>
                    <a:gd name="connsiteY1006" fmla="*/ 25434 h 81130"/>
                    <a:gd name="connsiteX1007" fmla="*/ 25422 w 80482"/>
                    <a:gd name="connsiteY1007" fmla="*/ 18523 h 81130"/>
                    <a:gd name="connsiteX1008" fmla="*/ 25305 w 80482"/>
                    <a:gd name="connsiteY1008" fmla="*/ 18347 h 81130"/>
                    <a:gd name="connsiteX1009" fmla="*/ 25305 w 80482"/>
                    <a:gd name="connsiteY1009" fmla="*/ 18288 h 81130"/>
                    <a:gd name="connsiteX1010" fmla="*/ 25598 w 80482"/>
                    <a:gd name="connsiteY1010" fmla="*/ 17468 h 81130"/>
                    <a:gd name="connsiteX1011" fmla="*/ 26066 w 80482"/>
                    <a:gd name="connsiteY1011" fmla="*/ 17468 h 81130"/>
                    <a:gd name="connsiteX1012" fmla="*/ 28526 w 80482"/>
                    <a:gd name="connsiteY1012" fmla="*/ 18347 h 81130"/>
                    <a:gd name="connsiteX1013" fmla="*/ 29171 w 80482"/>
                    <a:gd name="connsiteY1013" fmla="*/ 19635 h 81130"/>
                    <a:gd name="connsiteX1014" fmla="*/ 28292 w 80482"/>
                    <a:gd name="connsiteY1014" fmla="*/ 22212 h 81130"/>
                    <a:gd name="connsiteX1015" fmla="*/ 27999 w 80482"/>
                    <a:gd name="connsiteY1015" fmla="*/ 22505 h 81130"/>
                    <a:gd name="connsiteX1016" fmla="*/ 27179 w 80482"/>
                    <a:gd name="connsiteY1016" fmla="*/ 22212 h 81130"/>
                    <a:gd name="connsiteX1017" fmla="*/ 27179 w 80482"/>
                    <a:gd name="connsiteY1017" fmla="*/ 22212 h 81130"/>
                    <a:gd name="connsiteX1018" fmla="*/ 27121 w 80482"/>
                    <a:gd name="connsiteY1018" fmla="*/ 22037 h 81130"/>
                    <a:gd name="connsiteX1019" fmla="*/ 26593 w 80482"/>
                    <a:gd name="connsiteY1019" fmla="*/ 20104 h 81130"/>
                    <a:gd name="connsiteX1020" fmla="*/ 25422 w 80482"/>
                    <a:gd name="connsiteY1020" fmla="*/ 18523 h 81130"/>
                    <a:gd name="connsiteX1021" fmla="*/ 25480 w 80482"/>
                    <a:gd name="connsiteY1021" fmla="*/ 21158 h 81130"/>
                    <a:gd name="connsiteX1022" fmla="*/ 24367 w 80482"/>
                    <a:gd name="connsiteY1022" fmla="*/ 21041 h 81130"/>
                    <a:gd name="connsiteX1023" fmla="*/ 24485 w 80482"/>
                    <a:gd name="connsiteY1023" fmla="*/ 19928 h 81130"/>
                    <a:gd name="connsiteX1024" fmla="*/ 25598 w 80482"/>
                    <a:gd name="connsiteY1024" fmla="*/ 20045 h 81130"/>
                    <a:gd name="connsiteX1025" fmla="*/ 25480 w 80482"/>
                    <a:gd name="connsiteY1025" fmla="*/ 21158 h 81130"/>
                    <a:gd name="connsiteX1026" fmla="*/ 36493 w 80482"/>
                    <a:gd name="connsiteY1026" fmla="*/ 26254 h 81130"/>
                    <a:gd name="connsiteX1027" fmla="*/ 36141 w 80482"/>
                    <a:gd name="connsiteY1027" fmla="*/ 26605 h 81130"/>
                    <a:gd name="connsiteX1028" fmla="*/ 36141 w 80482"/>
                    <a:gd name="connsiteY1028" fmla="*/ 26605 h 81130"/>
                    <a:gd name="connsiteX1029" fmla="*/ 36141 w 80482"/>
                    <a:gd name="connsiteY1029" fmla="*/ 26605 h 81130"/>
                    <a:gd name="connsiteX1030" fmla="*/ 33622 w 80482"/>
                    <a:gd name="connsiteY1030" fmla="*/ 26488 h 81130"/>
                    <a:gd name="connsiteX1031" fmla="*/ 31104 w 80482"/>
                    <a:gd name="connsiteY1031" fmla="*/ 26605 h 81130"/>
                    <a:gd name="connsiteX1032" fmla="*/ 31104 w 80482"/>
                    <a:gd name="connsiteY1032" fmla="*/ 26605 h 81130"/>
                    <a:gd name="connsiteX1033" fmla="*/ 31104 w 80482"/>
                    <a:gd name="connsiteY1033" fmla="*/ 26605 h 81130"/>
                    <a:gd name="connsiteX1034" fmla="*/ 31045 w 80482"/>
                    <a:gd name="connsiteY1034" fmla="*/ 26605 h 81130"/>
                    <a:gd name="connsiteX1035" fmla="*/ 30694 w 80482"/>
                    <a:gd name="connsiteY1035" fmla="*/ 26254 h 81130"/>
                    <a:gd name="connsiteX1036" fmla="*/ 30811 w 80482"/>
                    <a:gd name="connsiteY1036" fmla="*/ 25961 h 81130"/>
                    <a:gd name="connsiteX1037" fmla="*/ 31982 w 80482"/>
                    <a:gd name="connsiteY1037" fmla="*/ 24965 h 81130"/>
                    <a:gd name="connsiteX1038" fmla="*/ 31982 w 80482"/>
                    <a:gd name="connsiteY1038" fmla="*/ 24965 h 81130"/>
                    <a:gd name="connsiteX1039" fmla="*/ 32744 w 80482"/>
                    <a:gd name="connsiteY1039" fmla="*/ 24379 h 81130"/>
                    <a:gd name="connsiteX1040" fmla="*/ 33564 w 80482"/>
                    <a:gd name="connsiteY1040" fmla="*/ 24145 h 81130"/>
                    <a:gd name="connsiteX1041" fmla="*/ 33622 w 80482"/>
                    <a:gd name="connsiteY1041" fmla="*/ 24145 h 81130"/>
                    <a:gd name="connsiteX1042" fmla="*/ 33681 w 80482"/>
                    <a:gd name="connsiteY1042" fmla="*/ 24145 h 81130"/>
                    <a:gd name="connsiteX1043" fmla="*/ 34442 w 80482"/>
                    <a:gd name="connsiteY1043" fmla="*/ 24438 h 81130"/>
                    <a:gd name="connsiteX1044" fmla="*/ 35145 w 80482"/>
                    <a:gd name="connsiteY1044" fmla="*/ 25024 h 81130"/>
                    <a:gd name="connsiteX1045" fmla="*/ 35145 w 80482"/>
                    <a:gd name="connsiteY1045" fmla="*/ 25024 h 81130"/>
                    <a:gd name="connsiteX1046" fmla="*/ 36317 w 80482"/>
                    <a:gd name="connsiteY1046" fmla="*/ 26019 h 81130"/>
                    <a:gd name="connsiteX1047" fmla="*/ 36317 w 80482"/>
                    <a:gd name="connsiteY1047" fmla="*/ 26019 h 81130"/>
                    <a:gd name="connsiteX1048" fmla="*/ 36493 w 80482"/>
                    <a:gd name="connsiteY1048" fmla="*/ 26254 h 81130"/>
                    <a:gd name="connsiteX1049" fmla="*/ 31865 w 80482"/>
                    <a:gd name="connsiteY1049" fmla="*/ 21920 h 81130"/>
                    <a:gd name="connsiteX1050" fmla="*/ 30284 w 80482"/>
                    <a:gd name="connsiteY1050" fmla="*/ 23091 h 81130"/>
                    <a:gd name="connsiteX1051" fmla="*/ 30108 w 80482"/>
                    <a:gd name="connsiteY1051" fmla="*/ 23208 h 81130"/>
                    <a:gd name="connsiteX1052" fmla="*/ 30108 w 80482"/>
                    <a:gd name="connsiteY1052" fmla="*/ 23208 h 81130"/>
                    <a:gd name="connsiteX1053" fmla="*/ 29288 w 80482"/>
                    <a:gd name="connsiteY1053" fmla="*/ 22915 h 81130"/>
                    <a:gd name="connsiteX1054" fmla="*/ 29288 w 80482"/>
                    <a:gd name="connsiteY1054" fmla="*/ 22447 h 81130"/>
                    <a:gd name="connsiteX1055" fmla="*/ 30166 w 80482"/>
                    <a:gd name="connsiteY1055" fmla="*/ 19928 h 81130"/>
                    <a:gd name="connsiteX1056" fmla="*/ 31455 w 80482"/>
                    <a:gd name="connsiteY1056" fmla="*/ 19284 h 81130"/>
                    <a:gd name="connsiteX1057" fmla="*/ 33974 w 80482"/>
                    <a:gd name="connsiteY1057" fmla="*/ 20163 h 81130"/>
                    <a:gd name="connsiteX1058" fmla="*/ 34267 w 80482"/>
                    <a:gd name="connsiteY1058" fmla="*/ 20455 h 81130"/>
                    <a:gd name="connsiteX1059" fmla="*/ 33974 w 80482"/>
                    <a:gd name="connsiteY1059" fmla="*/ 21275 h 81130"/>
                    <a:gd name="connsiteX1060" fmla="*/ 33974 w 80482"/>
                    <a:gd name="connsiteY1060" fmla="*/ 21275 h 81130"/>
                    <a:gd name="connsiteX1061" fmla="*/ 33798 w 80482"/>
                    <a:gd name="connsiteY1061" fmla="*/ 21334 h 81130"/>
                    <a:gd name="connsiteX1062" fmla="*/ 31865 w 80482"/>
                    <a:gd name="connsiteY1062" fmla="*/ 21920 h 81130"/>
                    <a:gd name="connsiteX1063" fmla="*/ 37781 w 80482"/>
                    <a:gd name="connsiteY1063" fmla="*/ 15946 h 81130"/>
                    <a:gd name="connsiteX1064" fmla="*/ 36668 w 80482"/>
                    <a:gd name="connsiteY1064" fmla="*/ 15829 h 81130"/>
                    <a:gd name="connsiteX1065" fmla="*/ 36786 w 80482"/>
                    <a:gd name="connsiteY1065" fmla="*/ 14716 h 81130"/>
                    <a:gd name="connsiteX1066" fmla="*/ 37898 w 80482"/>
                    <a:gd name="connsiteY1066" fmla="*/ 14833 h 81130"/>
                    <a:gd name="connsiteX1067" fmla="*/ 37781 w 80482"/>
                    <a:gd name="connsiteY1067" fmla="*/ 15946 h 81130"/>
                    <a:gd name="connsiteX1068" fmla="*/ 34677 w 80482"/>
                    <a:gd name="connsiteY1068" fmla="*/ 19225 h 81130"/>
                    <a:gd name="connsiteX1069" fmla="*/ 34208 w 80482"/>
                    <a:gd name="connsiteY1069" fmla="*/ 19225 h 81130"/>
                    <a:gd name="connsiteX1070" fmla="*/ 31748 w 80482"/>
                    <a:gd name="connsiteY1070" fmla="*/ 18347 h 81130"/>
                    <a:gd name="connsiteX1071" fmla="*/ 31104 w 80482"/>
                    <a:gd name="connsiteY1071" fmla="*/ 17059 h 81130"/>
                    <a:gd name="connsiteX1072" fmla="*/ 31982 w 80482"/>
                    <a:gd name="connsiteY1072" fmla="*/ 14482 h 81130"/>
                    <a:gd name="connsiteX1073" fmla="*/ 32275 w 80482"/>
                    <a:gd name="connsiteY1073" fmla="*/ 14189 h 81130"/>
                    <a:gd name="connsiteX1074" fmla="*/ 33095 w 80482"/>
                    <a:gd name="connsiteY1074" fmla="*/ 14482 h 81130"/>
                    <a:gd name="connsiteX1075" fmla="*/ 33095 w 80482"/>
                    <a:gd name="connsiteY1075" fmla="*/ 14482 h 81130"/>
                    <a:gd name="connsiteX1076" fmla="*/ 33154 w 80482"/>
                    <a:gd name="connsiteY1076" fmla="*/ 14657 h 81130"/>
                    <a:gd name="connsiteX1077" fmla="*/ 33681 w 80482"/>
                    <a:gd name="connsiteY1077" fmla="*/ 16590 h 81130"/>
                    <a:gd name="connsiteX1078" fmla="*/ 34853 w 80482"/>
                    <a:gd name="connsiteY1078" fmla="*/ 18171 h 81130"/>
                    <a:gd name="connsiteX1079" fmla="*/ 34970 w 80482"/>
                    <a:gd name="connsiteY1079" fmla="*/ 18347 h 81130"/>
                    <a:gd name="connsiteX1080" fmla="*/ 34970 w 80482"/>
                    <a:gd name="connsiteY1080" fmla="*/ 18347 h 81130"/>
                    <a:gd name="connsiteX1081" fmla="*/ 34677 w 80482"/>
                    <a:gd name="connsiteY1081" fmla="*/ 19225 h 81130"/>
                    <a:gd name="connsiteX1082" fmla="*/ 30752 w 80482"/>
                    <a:gd name="connsiteY1082" fmla="*/ 18816 h 81130"/>
                    <a:gd name="connsiteX1083" fmla="*/ 29639 w 80482"/>
                    <a:gd name="connsiteY1083" fmla="*/ 19050 h 81130"/>
                    <a:gd name="connsiteX1084" fmla="*/ 29405 w 80482"/>
                    <a:gd name="connsiteY1084" fmla="*/ 17937 h 81130"/>
                    <a:gd name="connsiteX1085" fmla="*/ 30518 w 80482"/>
                    <a:gd name="connsiteY1085" fmla="*/ 17703 h 81130"/>
                    <a:gd name="connsiteX1086" fmla="*/ 30752 w 80482"/>
                    <a:gd name="connsiteY1086" fmla="*/ 18816 h 81130"/>
                    <a:gd name="connsiteX1087" fmla="*/ 25246 w 80482"/>
                    <a:gd name="connsiteY1087" fmla="*/ 26078 h 81130"/>
                    <a:gd name="connsiteX1088" fmla="*/ 25422 w 80482"/>
                    <a:gd name="connsiteY1088" fmla="*/ 26898 h 81130"/>
                    <a:gd name="connsiteX1089" fmla="*/ 25422 w 80482"/>
                    <a:gd name="connsiteY1089" fmla="*/ 26898 h 81130"/>
                    <a:gd name="connsiteX1090" fmla="*/ 25246 w 80482"/>
                    <a:gd name="connsiteY1090" fmla="*/ 27015 h 81130"/>
                    <a:gd name="connsiteX1091" fmla="*/ 23840 w 80482"/>
                    <a:gd name="connsiteY1091" fmla="*/ 28420 h 81130"/>
                    <a:gd name="connsiteX1092" fmla="*/ 23020 w 80482"/>
                    <a:gd name="connsiteY1092" fmla="*/ 30236 h 81130"/>
                    <a:gd name="connsiteX1093" fmla="*/ 22962 w 80482"/>
                    <a:gd name="connsiteY1093" fmla="*/ 30412 h 81130"/>
                    <a:gd name="connsiteX1094" fmla="*/ 22962 w 80482"/>
                    <a:gd name="connsiteY1094" fmla="*/ 30412 h 81130"/>
                    <a:gd name="connsiteX1095" fmla="*/ 22142 w 80482"/>
                    <a:gd name="connsiteY1095" fmla="*/ 30587 h 81130"/>
                    <a:gd name="connsiteX1096" fmla="*/ 21907 w 80482"/>
                    <a:gd name="connsiteY1096" fmla="*/ 30177 h 81130"/>
                    <a:gd name="connsiteX1097" fmla="*/ 21907 w 80482"/>
                    <a:gd name="connsiteY1097" fmla="*/ 30177 h 81130"/>
                    <a:gd name="connsiteX1098" fmla="*/ 21439 w 80482"/>
                    <a:gd name="connsiteY1098" fmla="*/ 27601 h 81130"/>
                    <a:gd name="connsiteX1099" fmla="*/ 22259 w 80482"/>
                    <a:gd name="connsiteY1099" fmla="*/ 26429 h 81130"/>
                    <a:gd name="connsiteX1100" fmla="*/ 24895 w 80482"/>
                    <a:gd name="connsiteY1100" fmla="*/ 25961 h 81130"/>
                    <a:gd name="connsiteX1101" fmla="*/ 25246 w 80482"/>
                    <a:gd name="connsiteY1101" fmla="*/ 26078 h 81130"/>
                    <a:gd name="connsiteX1102" fmla="*/ 17397 w 80482"/>
                    <a:gd name="connsiteY1102" fmla="*/ 31700 h 81130"/>
                    <a:gd name="connsiteX1103" fmla="*/ 16284 w 80482"/>
                    <a:gd name="connsiteY1103" fmla="*/ 31583 h 81130"/>
                    <a:gd name="connsiteX1104" fmla="*/ 16401 w 80482"/>
                    <a:gd name="connsiteY1104" fmla="*/ 30470 h 81130"/>
                    <a:gd name="connsiteX1105" fmla="*/ 17514 w 80482"/>
                    <a:gd name="connsiteY1105" fmla="*/ 30587 h 81130"/>
                    <a:gd name="connsiteX1106" fmla="*/ 17397 w 80482"/>
                    <a:gd name="connsiteY1106" fmla="*/ 31700 h 81130"/>
                    <a:gd name="connsiteX1107" fmla="*/ 12711 w 80482"/>
                    <a:gd name="connsiteY1107" fmla="*/ 34746 h 81130"/>
                    <a:gd name="connsiteX1108" fmla="*/ 13121 w 80482"/>
                    <a:gd name="connsiteY1108" fmla="*/ 34980 h 81130"/>
                    <a:gd name="connsiteX1109" fmla="*/ 14820 w 80482"/>
                    <a:gd name="connsiteY1109" fmla="*/ 37030 h 81130"/>
                    <a:gd name="connsiteX1110" fmla="*/ 14702 w 80482"/>
                    <a:gd name="connsiteY1110" fmla="*/ 38494 h 81130"/>
                    <a:gd name="connsiteX1111" fmla="*/ 12652 w 80482"/>
                    <a:gd name="connsiteY1111" fmla="*/ 40251 h 81130"/>
                    <a:gd name="connsiteX1112" fmla="*/ 12242 w 80482"/>
                    <a:gd name="connsiteY1112" fmla="*/ 40368 h 81130"/>
                    <a:gd name="connsiteX1113" fmla="*/ 11715 w 80482"/>
                    <a:gd name="connsiteY1113" fmla="*/ 39724 h 81130"/>
                    <a:gd name="connsiteX1114" fmla="*/ 11715 w 80482"/>
                    <a:gd name="connsiteY1114" fmla="*/ 39724 h 81130"/>
                    <a:gd name="connsiteX1115" fmla="*/ 11774 w 80482"/>
                    <a:gd name="connsiteY1115" fmla="*/ 39548 h 81130"/>
                    <a:gd name="connsiteX1116" fmla="*/ 12301 w 80482"/>
                    <a:gd name="connsiteY1116" fmla="*/ 37615 h 81130"/>
                    <a:gd name="connsiteX1117" fmla="*/ 12125 w 80482"/>
                    <a:gd name="connsiteY1117" fmla="*/ 35624 h 81130"/>
                    <a:gd name="connsiteX1118" fmla="*/ 12125 w 80482"/>
                    <a:gd name="connsiteY1118" fmla="*/ 35390 h 81130"/>
                    <a:gd name="connsiteX1119" fmla="*/ 12125 w 80482"/>
                    <a:gd name="connsiteY1119" fmla="*/ 35331 h 81130"/>
                    <a:gd name="connsiteX1120" fmla="*/ 12711 w 80482"/>
                    <a:gd name="connsiteY1120" fmla="*/ 34746 h 81130"/>
                    <a:gd name="connsiteX1121" fmla="*/ 17631 w 80482"/>
                    <a:gd name="connsiteY1121" fmla="*/ 37205 h 81130"/>
                    <a:gd name="connsiteX1122" fmla="*/ 19681 w 80482"/>
                    <a:gd name="connsiteY1122" fmla="*/ 35448 h 81130"/>
                    <a:gd name="connsiteX1123" fmla="*/ 20091 w 80482"/>
                    <a:gd name="connsiteY1123" fmla="*/ 35331 h 81130"/>
                    <a:gd name="connsiteX1124" fmla="*/ 20619 w 80482"/>
                    <a:gd name="connsiteY1124" fmla="*/ 35976 h 81130"/>
                    <a:gd name="connsiteX1125" fmla="*/ 20619 w 80482"/>
                    <a:gd name="connsiteY1125" fmla="*/ 35976 h 81130"/>
                    <a:gd name="connsiteX1126" fmla="*/ 20560 w 80482"/>
                    <a:gd name="connsiteY1126" fmla="*/ 36151 h 81130"/>
                    <a:gd name="connsiteX1127" fmla="*/ 20033 w 80482"/>
                    <a:gd name="connsiteY1127" fmla="*/ 38084 h 81130"/>
                    <a:gd name="connsiteX1128" fmla="*/ 20209 w 80482"/>
                    <a:gd name="connsiteY1128" fmla="*/ 40075 h 81130"/>
                    <a:gd name="connsiteX1129" fmla="*/ 20209 w 80482"/>
                    <a:gd name="connsiteY1129" fmla="*/ 40310 h 81130"/>
                    <a:gd name="connsiteX1130" fmla="*/ 20209 w 80482"/>
                    <a:gd name="connsiteY1130" fmla="*/ 40368 h 81130"/>
                    <a:gd name="connsiteX1131" fmla="*/ 19564 w 80482"/>
                    <a:gd name="connsiteY1131" fmla="*/ 40954 h 81130"/>
                    <a:gd name="connsiteX1132" fmla="*/ 19154 w 80482"/>
                    <a:gd name="connsiteY1132" fmla="*/ 40719 h 81130"/>
                    <a:gd name="connsiteX1133" fmla="*/ 19154 w 80482"/>
                    <a:gd name="connsiteY1133" fmla="*/ 40719 h 81130"/>
                    <a:gd name="connsiteX1134" fmla="*/ 17456 w 80482"/>
                    <a:gd name="connsiteY1134" fmla="*/ 38728 h 81130"/>
                    <a:gd name="connsiteX1135" fmla="*/ 17631 w 80482"/>
                    <a:gd name="connsiteY1135" fmla="*/ 37205 h 81130"/>
                    <a:gd name="connsiteX1136" fmla="*/ 46333 w 80482"/>
                    <a:gd name="connsiteY1136" fmla="*/ 19343 h 81130"/>
                    <a:gd name="connsiteX1137" fmla="*/ 45923 w 80482"/>
                    <a:gd name="connsiteY1137" fmla="*/ 19108 h 81130"/>
                    <a:gd name="connsiteX1138" fmla="*/ 44225 w 80482"/>
                    <a:gd name="connsiteY1138" fmla="*/ 17117 h 81130"/>
                    <a:gd name="connsiteX1139" fmla="*/ 44342 w 80482"/>
                    <a:gd name="connsiteY1139" fmla="*/ 15653 h 81130"/>
                    <a:gd name="connsiteX1140" fmla="*/ 46392 w 80482"/>
                    <a:gd name="connsiteY1140" fmla="*/ 13896 h 81130"/>
                    <a:gd name="connsiteX1141" fmla="*/ 46802 w 80482"/>
                    <a:gd name="connsiteY1141" fmla="*/ 13779 h 81130"/>
                    <a:gd name="connsiteX1142" fmla="*/ 47329 w 80482"/>
                    <a:gd name="connsiteY1142" fmla="*/ 14423 h 81130"/>
                    <a:gd name="connsiteX1143" fmla="*/ 47329 w 80482"/>
                    <a:gd name="connsiteY1143" fmla="*/ 14423 h 81130"/>
                    <a:gd name="connsiteX1144" fmla="*/ 47271 w 80482"/>
                    <a:gd name="connsiteY1144" fmla="*/ 14599 h 81130"/>
                    <a:gd name="connsiteX1145" fmla="*/ 46743 w 80482"/>
                    <a:gd name="connsiteY1145" fmla="*/ 16531 h 81130"/>
                    <a:gd name="connsiteX1146" fmla="*/ 46919 w 80482"/>
                    <a:gd name="connsiteY1146" fmla="*/ 18523 h 81130"/>
                    <a:gd name="connsiteX1147" fmla="*/ 46919 w 80482"/>
                    <a:gd name="connsiteY1147" fmla="*/ 18757 h 81130"/>
                    <a:gd name="connsiteX1148" fmla="*/ 46919 w 80482"/>
                    <a:gd name="connsiteY1148" fmla="*/ 18816 h 81130"/>
                    <a:gd name="connsiteX1149" fmla="*/ 46333 w 80482"/>
                    <a:gd name="connsiteY1149" fmla="*/ 19343 h 81130"/>
                    <a:gd name="connsiteX1150" fmla="*/ 41413 w 80482"/>
                    <a:gd name="connsiteY1150" fmla="*/ 16824 h 81130"/>
                    <a:gd name="connsiteX1151" fmla="*/ 39363 w 80482"/>
                    <a:gd name="connsiteY1151" fmla="*/ 18581 h 81130"/>
                    <a:gd name="connsiteX1152" fmla="*/ 38953 w 80482"/>
                    <a:gd name="connsiteY1152" fmla="*/ 18698 h 81130"/>
                    <a:gd name="connsiteX1153" fmla="*/ 38426 w 80482"/>
                    <a:gd name="connsiteY1153" fmla="*/ 18054 h 81130"/>
                    <a:gd name="connsiteX1154" fmla="*/ 38426 w 80482"/>
                    <a:gd name="connsiteY1154" fmla="*/ 18054 h 81130"/>
                    <a:gd name="connsiteX1155" fmla="*/ 38484 w 80482"/>
                    <a:gd name="connsiteY1155" fmla="*/ 17878 h 81130"/>
                    <a:gd name="connsiteX1156" fmla="*/ 39011 w 80482"/>
                    <a:gd name="connsiteY1156" fmla="*/ 15946 h 81130"/>
                    <a:gd name="connsiteX1157" fmla="*/ 38836 w 80482"/>
                    <a:gd name="connsiteY1157" fmla="*/ 13954 h 81130"/>
                    <a:gd name="connsiteX1158" fmla="*/ 38836 w 80482"/>
                    <a:gd name="connsiteY1158" fmla="*/ 13720 h 81130"/>
                    <a:gd name="connsiteX1159" fmla="*/ 38836 w 80482"/>
                    <a:gd name="connsiteY1159" fmla="*/ 13662 h 81130"/>
                    <a:gd name="connsiteX1160" fmla="*/ 39480 w 80482"/>
                    <a:gd name="connsiteY1160" fmla="*/ 13076 h 81130"/>
                    <a:gd name="connsiteX1161" fmla="*/ 39890 w 80482"/>
                    <a:gd name="connsiteY1161" fmla="*/ 13310 h 81130"/>
                    <a:gd name="connsiteX1162" fmla="*/ 41589 w 80482"/>
                    <a:gd name="connsiteY1162" fmla="*/ 15302 h 81130"/>
                    <a:gd name="connsiteX1163" fmla="*/ 41413 w 80482"/>
                    <a:gd name="connsiteY1163" fmla="*/ 16824 h 81130"/>
                    <a:gd name="connsiteX1164" fmla="*/ 39187 w 80482"/>
                    <a:gd name="connsiteY1164" fmla="*/ 9972 h 81130"/>
                    <a:gd name="connsiteX1165" fmla="*/ 33095 w 80482"/>
                    <a:gd name="connsiteY1165" fmla="*/ 10792 h 81130"/>
                    <a:gd name="connsiteX1166" fmla="*/ 31572 w 80482"/>
                    <a:gd name="connsiteY1166" fmla="*/ 10089 h 81130"/>
                    <a:gd name="connsiteX1167" fmla="*/ 33798 w 80482"/>
                    <a:gd name="connsiteY1167" fmla="*/ 9093 h 81130"/>
                    <a:gd name="connsiteX1168" fmla="*/ 41062 w 80482"/>
                    <a:gd name="connsiteY1168" fmla="*/ 8391 h 81130"/>
                    <a:gd name="connsiteX1169" fmla="*/ 41647 w 80482"/>
                    <a:gd name="connsiteY1169" fmla="*/ 8625 h 81130"/>
                    <a:gd name="connsiteX1170" fmla="*/ 39187 w 80482"/>
                    <a:gd name="connsiteY1170" fmla="*/ 9972 h 81130"/>
                    <a:gd name="connsiteX1171" fmla="*/ 29991 w 80482"/>
                    <a:gd name="connsiteY1171" fmla="*/ 13662 h 81130"/>
                    <a:gd name="connsiteX1172" fmla="*/ 30166 w 80482"/>
                    <a:gd name="connsiteY1172" fmla="*/ 13545 h 81130"/>
                    <a:gd name="connsiteX1173" fmla="*/ 30225 w 80482"/>
                    <a:gd name="connsiteY1173" fmla="*/ 13545 h 81130"/>
                    <a:gd name="connsiteX1174" fmla="*/ 31045 w 80482"/>
                    <a:gd name="connsiteY1174" fmla="*/ 13837 h 81130"/>
                    <a:gd name="connsiteX1175" fmla="*/ 31045 w 80482"/>
                    <a:gd name="connsiteY1175" fmla="*/ 14306 h 81130"/>
                    <a:gd name="connsiteX1176" fmla="*/ 30166 w 80482"/>
                    <a:gd name="connsiteY1176" fmla="*/ 16824 h 81130"/>
                    <a:gd name="connsiteX1177" fmla="*/ 28878 w 80482"/>
                    <a:gd name="connsiteY1177" fmla="*/ 17468 h 81130"/>
                    <a:gd name="connsiteX1178" fmla="*/ 26359 w 80482"/>
                    <a:gd name="connsiteY1178" fmla="*/ 16590 h 81130"/>
                    <a:gd name="connsiteX1179" fmla="*/ 26066 w 80482"/>
                    <a:gd name="connsiteY1179" fmla="*/ 16297 h 81130"/>
                    <a:gd name="connsiteX1180" fmla="*/ 26359 w 80482"/>
                    <a:gd name="connsiteY1180" fmla="*/ 15477 h 81130"/>
                    <a:gd name="connsiteX1181" fmla="*/ 26359 w 80482"/>
                    <a:gd name="connsiteY1181" fmla="*/ 15477 h 81130"/>
                    <a:gd name="connsiteX1182" fmla="*/ 26535 w 80482"/>
                    <a:gd name="connsiteY1182" fmla="*/ 15419 h 81130"/>
                    <a:gd name="connsiteX1183" fmla="*/ 28409 w 80482"/>
                    <a:gd name="connsiteY1183" fmla="*/ 14892 h 81130"/>
                    <a:gd name="connsiteX1184" fmla="*/ 29991 w 80482"/>
                    <a:gd name="connsiteY1184" fmla="*/ 13662 h 81130"/>
                    <a:gd name="connsiteX1185" fmla="*/ 28175 w 80482"/>
                    <a:gd name="connsiteY1185" fmla="*/ 11495 h 81130"/>
                    <a:gd name="connsiteX1186" fmla="*/ 28526 w 80482"/>
                    <a:gd name="connsiteY1186" fmla="*/ 10089 h 81130"/>
                    <a:gd name="connsiteX1187" fmla="*/ 28175 w 80482"/>
                    <a:gd name="connsiteY1187" fmla="*/ 11495 h 81130"/>
                    <a:gd name="connsiteX1188" fmla="*/ 22844 w 80482"/>
                    <a:gd name="connsiteY1188" fmla="*/ 22974 h 81130"/>
                    <a:gd name="connsiteX1189" fmla="*/ 24660 w 80482"/>
                    <a:gd name="connsiteY1189" fmla="*/ 23794 h 81130"/>
                    <a:gd name="connsiteX1190" fmla="*/ 24836 w 80482"/>
                    <a:gd name="connsiteY1190" fmla="*/ 23852 h 81130"/>
                    <a:gd name="connsiteX1191" fmla="*/ 24836 w 80482"/>
                    <a:gd name="connsiteY1191" fmla="*/ 23852 h 81130"/>
                    <a:gd name="connsiteX1192" fmla="*/ 25012 w 80482"/>
                    <a:gd name="connsiteY1192" fmla="*/ 24731 h 81130"/>
                    <a:gd name="connsiteX1193" fmla="*/ 24602 w 80482"/>
                    <a:gd name="connsiteY1193" fmla="*/ 24965 h 81130"/>
                    <a:gd name="connsiteX1194" fmla="*/ 22024 w 80482"/>
                    <a:gd name="connsiteY1194" fmla="*/ 25434 h 81130"/>
                    <a:gd name="connsiteX1195" fmla="*/ 20853 w 80482"/>
                    <a:gd name="connsiteY1195" fmla="*/ 24614 h 81130"/>
                    <a:gd name="connsiteX1196" fmla="*/ 20384 w 80482"/>
                    <a:gd name="connsiteY1196" fmla="*/ 21978 h 81130"/>
                    <a:gd name="connsiteX1197" fmla="*/ 20501 w 80482"/>
                    <a:gd name="connsiteY1197" fmla="*/ 21568 h 81130"/>
                    <a:gd name="connsiteX1198" fmla="*/ 21322 w 80482"/>
                    <a:gd name="connsiteY1198" fmla="*/ 21392 h 81130"/>
                    <a:gd name="connsiteX1199" fmla="*/ 21322 w 80482"/>
                    <a:gd name="connsiteY1199" fmla="*/ 21392 h 81130"/>
                    <a:gd name="connsiteX1200" fmla="*/ 21439 w 80482"/>
                    <a:gd name="connsiteY1200" fmla="*/ 21568 h 81130"/>
                    <a:gd name="connsiteX1201" fmla="*/ 22844 w 80482"/>
                    <a:gd name="connsiteY1201" fmla="*/ 22974 h 81130"/>
                    <a:gd name="connsiteX1202" fmla="*/ 25246 w 80482"/>
                    <a:gd name="connsiteY1202" fmla="*/ 13837 h 81130"/>
                    <a:gd name="connsiteX1203" fmla="*/ 20150 w 80482"/>
                    <a:gd name="connsiteY1203" fmla="*/ 17351 h 81130"/>
                    <a:gd name="connsiteX1204" fmla="*/ 18100 w 80482"/>
                    <a:gd name="connsiteY1204" fmla="*/ 18698 h 81130"/>
                    <a:gd name="connsiteX1205" fmla="*/ 19447 w 80482"/>
                    <a:gd name="connsiteY1205" fmla="*/ 16063 h 81130"/>
                    <a:gd name="connsiteX1206" fmla="*/ 25305 w 80482"/>
                    <a:gd name="connsiteY1206" fmla="*/ 12080 h 81130"/>
                    <a:gd name="connsiteX1207" fmla="*/ 26242 w 80482"/>
                    <a:gd name="connsiteY1207" fmla="*/ 12900 h 81130"/>
                    <a:gd name="connsiteX1208" fmla="*/ 25246 w 80482"/>
                    <a:gd name="connsiteY1208" fmla="*/ 13837 h 81130"/>
                    <a:gd name="connsiteX1209" fmla="*/ 16694 w 80482"/>
                    <a:gd name="connsiteY1209" fmla="*/ 20807 h 81130"/>
                    <a:gd name="connsiteX1210" fmla="*/ 15757 w 80482"/>
                    <a:gd name="connsiteY1210" fmla="*/ 21392 h 81130"/>
                    <a:gd name="connsiteX1211" fmla="*/ 16108 w 80482"/>
                    <a:gd name="connsiteY1211" fmla="*/ 19870 h 81130"/>
                    <a:gd name="connsiteX1212" fmla="*/ 16694 w 80482"/>
                    <a:gd name="connsiteY1212" fmla="*/ 20807 h 81130"/>
                    <a:gd name="connsiteX1213" fmla="*/ 14527 w 80482"/>
                    <a:gd name="connsiteY1213" fmla="*/ 23442 h 81130"/>
                    <a:gd name="connsiteX1214" fmla="*/ 13882 w 80482"/>
                    <a:gd name="connsiteY1214" fmla="*/ 24848 h 81130"/>
                    <a:gd name="connsiteX1215" fmla="*/ 11364 w 80482"/>
                    <a:gd name="connsiteY1215" fmla="*/ 30412 h 81130"/>
                    <a:gd name="connsiteX1216" fmla="*/ 10192 w 80482"/>
                    <a:gd name="connsiteY1216" fmla="*/ 32579 h 81130"/>
                    <a:gd name="connsiteX1217" fmla="*/ 10661 w 80482"/>
                    <a:gd name="connsiteY1217" fmla="*/ 28245 h 81130"/>
                    <a:gd name="connsiteX1218" fmla="*/ 11832 w 80482"/>
                    <a:gd name="connsiteY1218" fmla="*/ 25609 h 81130"/>
                    <a:gd name="connsiteX1219" fmla="*/ 13590 w 80482"/>
                    <a:gd name="connsiteY1219" fmla="*/ 23032 h 81130"/>
                    <a:gd name="connsiteX1220" fmla="*/ 14527 w 80482"/>
                    <a:gd name="connsiteY1220" fmla="*/ 23442 h 81130"/>
                    <a:gd name="connsiteX1221" fmla="*/ 9255 w 80482"/>
                    <a:gd name="connsiteY1221" fmla="*/ 34511 h 81130"/>
                    <a:gd name="connsiteX1222" fmla="*/ 8669 w 80482"/>
                    <a:gd name="connsiteY1222" fmla="*/ 35800 h 81130"/>
                    <a:gd name="connsiteX1223" fmla="*/ 9255 w 80482"/>
                    <a:gd name="connsiteY1223" fmla="*/ 34511 h 81130"/>
                    <a:gd name="connsiteX1224" fmla="*/ 9489 w 80482"/>
                    <a:gd name="connsiteY1224" fmla="*/ 40954 h 81130"/>
                    <a:gd name="connsiteX1225" fmla="*/ 10192 w 80482"/>
                    <a:gd name="connsiteY1225" fmla="*/ 46986 h 81130"/>
                    <a:gd name="connsiteX1226" fmla="*/ 9606 w 80482"/>
                    <a:gd name="connsiteY1226" fmla="*/ 48509 h 81130"/>
                    <a:gd name="connsiteX1227" fmla="*/ 8611 w 80482"/>
                    <a:gd name="connsiteY1227" fmla="*/ 46166 h 81130"/>
                    <a:gd name="connsiteX1228" fmla="*/ 7908 w 80482"/>
                    <a:gd name="connsiteY1228" fmla="*/ 41129 h 81130"/>
                    <a:gd name="connsiteX1229" fmla="*/ 8142 w 80482"/>
                    <a:gd name="connsiteY1229" fmla="*/ 38377 h 81130"/>
                    <a:gd name="connsiteX1230" fmla="*/ 9489 w 80482"/>
                    <a:gd name="connsiteY1230" fmla="*/ 40954 h 81130"/>
                    <a:gd name="connsiteX1231" fmla="*/ 16518 w 80482"/>
                    <a:gd name="connsiteY1231" fmla="*/ 44233 h 81130"/>
                    <a:gd name="connsiteX1232" fmla="*/ 15405 w 80482"/>
                    <a:gd name="connsiteY1232" fmla="*/ 44116 h 81130"/>
                    <a:gd name="connsiteX1233" fmla="*/ 15523 w 80482"/>
                    <a:gd name="connsiteY1233" fmla="*/ 43004 h 81130"/>
                    <a:gd name="connsiteX1234" fmla="*/ 16635 w 80482"/>
                    <a:gd name="connsiteY1234" fmla="*/ 43121 h 81130"/>
                    <a:gd name="connsiteX1235" fmla="*/ 16518 w 80482"/>
                    <a:gd name="connsiteY1235" fmla="*/ 44233 h 81130"/>
                    <a:gd name="connsiteX1236" fmla="*/ 14058 w 80482"/>
                    <a:gd name="connsiteY1236" fmla="*/ 46400 h 81130"/>
                    <a:gd name="connsiteX1237" fmla="*/ 14058 w 80482"/>
                    <a:gd name="connsiteY1237" fmla="*/ 46400 h 81130"/>
                    <a:gd name="connsiteX1238" fmla="*/ 14292 w 80482"/>
                    <a:gd name="connsiteY1238" fmla="*/ 46342 h 81130"/>
                    <a:gd name="connsiteX1239" fmla="*/ 16225 w 80482"/>
                    <a:gd name="connsiteY1239" fmla="*/ 45873 h 81130"/>
                    <a:gd name="connsiteX1240" fmla="*/ 17866 w 80482"/>
                    <a:gd name="connsiteY1240" fmla="*/ 44761 h 81130"/>
                    <a:gd name="connsiteX1241" fmla="*/ 18041 w 80482"/>
                    <a:gd name="connsiteY1241" fmla="*/ 44643 h 81130"/>
                    <a:gd name="connsiteX1242" fmla="*/ 18100 w 80482"/>
                    <a:gd name="connsiteY1242" fmla="*/ 44643 h 81130"/>
                    <a:gd name="connsiteX1243" fmla="*/ 18920 w 80482"/>
                    <a:gd name="connsiteY1243" fmla="*/ 44936 h 81130"/>
                    <a:gd name="connsiteX1244" fmla="*/ 18920 w 80482"/>
                    <a:gd name="connsiteY1244" fmla="*/ 45405 h 81130"/>
                    <a:gd name="connsiteX1245" fmla="*/ 17924 w 80482"/>
                    <a:gd name="connsiteY1245" fmla="*/ 47865 h 81130"/>
                    <a:gd name="connsiteX1246" fmla="*/ 16577 w 80482"/>
                    <a:gd name="connsiteY1246" fmla="*/ 48450 h 81130"/>
                    <a:gd name="connsiteX1247" fmla="*/ 14117 w 80482"/>
                    <a:gd name="connsiteY1247" fmla="*/ 47455 h 81130"/>
                    <a:gd name="connsiteX1248" fmla="*/ 13824 w 80482"/>
                    <a:gd name="connsiteY1248" fmla="*/ 47162 h 81130"/>
                    <a:gd name="connsiteX1249" fmla="*/ 14058 w 80482"/>
                    <a:gd name="connsiteY1249" fmla="*/ 46400 h 81130"/>
                    <a:gd name="connsiteX1250" fmla="*/ 13238 w 80482"/>
                    <a:gd name="connsiteY1250" fmla="*/ 48450 h 81130"/>
                    <a:gd name="connsiteX1251" fmla="*/ 13707 w 80482"/>
                    <a:gd name="connsiteY1251" fmla="*/ 48450 h 81130"/>
                    <a:gd name="connsiteX1252" fmla="*/ 13707 w 80482"/>
                    <a:gd name="connsiteY1252" fmla="*/ 48450 h 81130"/>
                    <a:gd name="connsiteX1253" fmla="*/ 16167 w 80482"/>
                    <a:gd name="connsiteY1253" fmla="*/ 49446 h 81130"/>
                    <a:gd name="connsiteX1254" fmla="*/ 16753 w 80482"/>
                    <a:gd name="connsiteY1254" fmla="*/ 50793 h 81130"/>
                    <a:gd name="connsiteX1255" fmla="*/ 15757 w 80482"/>
                    <a:gd name="connsiteY1255" fmla="*/ 53311 h 81130"/>
                    <a:gd name="connsiteX1256" fmla="*/ 15464 w 80482"/>
                    <a:gd name="connsiteY1256" fmla="*/ 53604 h 81130"/>
                    <a:gd name="connsiteX1257" fmla="*/ 14644 w 80482"/>
                    <a:gd name="connsiteY1257" fmla="*/ 53311 h 81130"/>
                    <a:gd name="connsiteX1258" fmla="*/ 14644 w 80482"/>
                    <a:gd name="connsiteY1258" fmla="*/ 53311 h 81130"/>
                    <a:gd name="connsiteX1259" fmla="*/ 14585 w 80482"/>
                    <a:gd name="connsiteY1259" fmla="*/ 53077 h 81130"/>
                    <a:gd name="connsiteX1260" fmla="*/ 14175 w 80482"/>
                    <a:gd name="connsiteY1260" fmla="*/ 51144 h 81130"/>
                    <a:gd name="connsiteX1261" fmla="*/ 13121 w 80482"/>
                    <a:gd name="connsiteY1261" fmla="*/ 49504 h 81130"/>
                    <a:gd name="connsiteX1262" fmla="*/ 13004 w 80482"/>
                    <a:gd name="connsiteY1262" fmla="*/ 49329 h 81130"/>
                    <a:gd name="connsiteX1263" fmla="*/ 13004 w 80482"/>
                    <a:gd name="connsiteY1263" fmla="*/ 49270 h 81130"/>
                    <a:gd name="connsiteX1264" fmla="*/ 13238 w 80482"/>
                    <a:gd name="connsiteY1264" fmla="*/ 48450 h 81130"/>
                    <a:gd name="connsiteX1265" fmla="*/ 12711 w 80482"/>
                    <a:gd name="connsiteY1265" fmla="*/ 54483 h 81130"/>
                    <a:gd name="connsiteX1266" fmla="*/ 15464 w 80482"/>
                    <a:gd name="connsiteY1266" fmla="*/ 58641 h 81130"/>
                    <a:gd name="connsiteX1267" fmla="*/ 17163 w 80482"/>
                    <a:gd name="connsiteY1267" fmla="*/ 60574 h 81130"/>
                    <a:gd name="connsiteX1268" fmla="*/ 18158 w 80482"/>
                    <a:gd name="connsiteY1268" fmla="*/ 62682 h 81130"/>
                    <a:gd name="connsiteX1269" fmla="*/ 15991 w 80482"/>
                    <a:gd name="connsiteY1269" fmla="*/ 61394 h 81130"/>
                    <a:gd name="connsiteX1270" fmla="*/ 12711 w 80482"/>
                    <a:gd name="connsiteY1270" fmla="*/ 57060 h 81130"/>
                    <a:gd name="connsiteX1271" fmla="*/ 11715 w 80482"/>
                    <a:gd name="connsiteY1271" fmla="*/ 54717 h 81130"/>
                    <a:gd name="connsiteX1272" fmla="*/ 12711 w 80482"/>
                    <a:gd name="connsiteY1272" fmla="*/ 54483 h 81130"/>
                    <a:gd name="connsiteX1273" fmla="*/ 20150 w 80482"/>
                    <a:gd name="connsiteY1273" fmla="*/ 55888 h 81130"/>
                    <a:gd name="connsiteX1274" fmla="*/ 20267 w 80482"/>
                    <a:gd name="connsiteY1274" fmla="*/ 54775 h 81130"/>
                    <a:gd name="connsiteX1275" fmla="*/ 21380 w 80482"/>
                    <a:gd name="connsiteY1275" fmla="*/ 54893 h 81130"/>
                    <a:gd name="connsiteX1276" fmla="*/ 21263 w 80482"/>
                    <a:gd name="connsiteY1276" fmla="*/ 56005 h 81130"/>
                    <a:gd name="connsiteX1277" fmla="*/ 20150 w 80482"/>
                    <a:gd name="connsiteY1277" fmla="*/ 55888 h 81130"/>
                    <a:gd name="connsiteX1278" fmla="*/ 24192 w 80482"/>
                    <a:gd name="connsiteY1278" fmla="*/ 48275 h 81130"/>
                    <a:gd name="connsiteX1279" fmla="*/ 23430 w 80482"/>
                    <a:gd name="connsiteY1279" fmla="*/ 47865 h 81130"/>
                    <a:gd name="connsiteX1280" fmla="*/ 23372 w 80482"/>
                    <a:gd name="connsiteY1280" fmla="*/ 47806 h 81130"/>
                    <a:gd name="connsiteX1281" fmla="*/ 23313 w 80482"/>
                    <a:gd name="connsiteY1281" fmla="*/ 47747 h 81130"/>
                    <a:gd name="connsiteX1282" fmla="*/ 22962 w 80482"/>
                    <a:gd name="connsiteY1282" fmla="*/ 46986 h 81130"/>
                    <a:gd name="connsiteX1283" fmla="*/ 22903 w 80482"/>
                    <a:gd name="connsiteY1283" fmla="*/ 46049 h 81130"/>
                    <a:gd name="connsiteX1284" fmla="*/ 22903 w 80482"/>
                    <a:gd name="connsiteY1284" fmla="*/ 46049 h 81130"/>
                    <a:gd name="connsiteX1285" fmla="*/ 22786 w 80482"/>
                    <a:gd name="connsiteY1285" fmla="*/ 44526 h 81130"/>
                    <a:gd name="connsiteX1286" fmla="*/ 22903 w 80482"/>
                    <a:gd name="connsiteY1286" fmla="*/ 44233 h 81130"/>
                    <a:gd name="connsiteX1287" fmla="*/ 23430 w 80482"/>
                    <a:gd name="connsiteY1287" fmla="*/ 44233 h 81130"/>
                    <a:gd name="connsiteX1288" fmla="*/ 23430 w 80482"/>
                    <a:gd name="connsiteY1288" fmla="*/ 44233 h 81130"/>
                    <a:gd name="connsiteX1289" fmla="*/ 23430 w 80482"/>
                    <a:gd name="connsiteY1289" fmla="*/ 44233 h 81130"/>
                    <a:gd name="connsiteX1290" fmla="*/ 25070 w 80482"/>
                    <a:gd name="connsiteY1290" fmla="*/ 46108 h 81130"/>
                    <a:gd name="connsiteX1291" fmla="*/ 26886 w 80482"/>
                    <a:gd name="connsiteY1291" fmla="*/ 47806 h 81130"/>
                    <a:gd name="connsiteX1292" fmla="*/ 26886 w 80482"/>
                    <a:gd name="connsiteY1292" fmla="*/ 47806 h 81130"/>
                    <a:gd name="connsiteX1293" fmla="*/ 26886 w 80482"/>
                    <a:gd name="connsiteY1293" fmla="*/ 47806 h 81130"/>
                    <a:gd name="connsiteX1294" fmla="*/ 26886 w 80482"/>
                    <a:gd name="connsiteY1294" fmla="*/ 48333 h 81130"/>
                    <a:gd name="connsiteX1295" fmla="*/ 26593 w 80482"/>
                    <a:gd name="connsiteY1295" fmla="*/ 48450 h 81130"/>
                    <a:gd name="connsiteX1296" fmla="*/ 26593 w 80482"/>
                    <a:gd name="connsiteY1296" fmla="*/ 48450 h 81130"/>
                    <a:gd name="connsiteX1297" fmla="*/ 25070 w 80482"/>
                    <a:gd name="connsiteY1297" fmla="*/ 48275 h 81130"/>
                    <a:gd name="connsiteX1298" fmla="*/ 25070 w 80482"/>
                    <a:gd name="connsiteY1298" fmla="*/ 48275 h 81130"/>
                    <a:gd name="connsiteX1299" fmla="*/ 24192 w 80482"/>
                    <a:gd name="connsiteY1299" fmla="*/ 48275 h 81130"/>
                    <a:gd name="connsiteX1300" fmla="*/ 20677 w 80482"/>
                    <a:gd name="connsiteY1300" fmla="*/ 58934 h 81130"/>
                    <a:gd name="connsiteX1301" fmla="*/ 20677 w 80482"/>
                    <a:gd name="connsiteY1301" fmla="*/ 58934 h 81130"/>
                    <a:gd name="connsiteX1302" fmla="*/ 20853 w 80482"/>
                    <a:gd name="connsiteY1302" fmla="*/ 58758 h 81130"/>
                    <a:gd name="connsiteX1303" fmla="*/ 22259 w 80482"/>
                    <a:gd name="connsiteY1303" fmla="*/ 57411 h 81130"/>
                    <a:gd name="connsiteX1304" fmla="*/ 23137 w 80482"/>
                    <a:gd name="connsiteY1304" fmla="*/ 55654 h 81130"/>
                    <a:gd name="connsiteX1305" fmla="*/ 23196 w 80482"/>
                    <a:gd name="connsiteY1305" fmla="*/ 55478 h 81130"/>
                    <a:gd name="connsiteX1306" fmla="*/ 23196 w 80482"/>
                    <a:gd name="connsiteY1306" fmla="*/ 55478 h 81130"/>
                    <a:gd name="connsiteX1307" fmla="*/ 24075 w 80482"/>
                    <a:gd name="connsiteY1307" fmla="*/ 55361 h 81130"/>
                    <a:gd name="connsiteX1308" fmla="*/ 24309 w 80482"/>
                    <a:gd name="connsiteY1308" fmla="*/ 55771 h 81130"/>
                    <a:gd name="connsiteX1309" fmla="*/ 24719 w 80482"/>
                    <a:gd name="connsiteY1309" fmla="*/ 58348 h 81130"/>
                    <a:gd name="connsiteX1310" fmla="*/ 23840 w 80482"/>
                    <a:gd name="connsiteY1310" fmla="*/ 59519 h 81130"/>
                    <a:gd name="connsiteX1311" fmla="*/ 21204 w 80482"/>
                    <a:gd name="connsiteY1311" fmla="*/ 59929 h 81130"/>
                    <a:gd name="connsiteX1312" fmla="*/ 20794 w 80482"/>
                    <a:gd name="connsiteY1312" fmla="*/ 59812 h 81130"/>
                    <a:gd name="connsiteX1313" fmla="*/ 20677 w 80482"/>
                    <a:gd name="connsiteY1313" fmla="*/ 58934 h 81130"/>
                    <a:gd name="connsiteX1314" fmla="*/ 21322 w 80482"/>
                    <a:gd name="connsiteY1314" fmla="*/ 62096 h 81130"/>
                    <a:gd name="connsiteX1315" fmla="*/ 21146 w 80482"/>
                    <a:gd name="connsiteY1315" fmla="*/ 62038 h 81130"/>
                    <a:gd name="connsiteX1316" fmla="*/ 21146 w 80482"/>
                    <a:gd name="connsiteY1316" fmla="*/ 62038 h 81130"/>
                    <a:gd name="connsiteX1317" fmla="*/ 21029 w 80482"/>
                    <a:gd name="connsiteY1317" fmla="*/ 61159 h 81130"/>
                    <a:gd name="connsiteX1318" fmla="*/ 21439 w 80482"/>
                    <a:gd name="connsiteY1318" fmla="*/ 60925 h 81130"/>
                    <a:gd name="connsiteX1319" fmla="*/ 24016 w 80482"/>
                    <a:gd name="connsiteY1319" fmla="*/ 60515 h 81130"/>
                    <a:gd name="connsiteX1320" fmla="*/ 25188 w 80482"/>
                    <a:gd name="connsiteY1320" fmla="*/ 61394 h 81130"/>
                    <a:gd name="connsiteX1321" fmla="*/ 25598 w 80482"/>
                    <a:gd name="connsiteY1321" fmla="*/ 64029 h 81130"/>
                    <a:gd name="connsiteX1322" fmla="*/ 25480 w 80482"/>
                    <a:gd name="connsiteY1322" fmla="*/ 64439 h 81130"/>
                    <a:gd name="connsiteX1323" fmla="*/ 24602 w 80482"/>
                    <a:gd name="connsiteY1323" fmla="*/ 64556 h 81130"/>
                    <a:gd name="connsiteX1324" fmla="*/ 24602 w 80482"/>
                    <a:gd name="connsiteY1324" fmla="*/ 64556 h 81130"/>
                    <a:gd name="connsiteX1325" fmla="*/ 24485 w 80482"/>
                    <a:gd name="connsiteY1325" fmla="*/ 64380 h 81130"/>
                    <a:gd name="connsiteX1326" fmla="*/ 23137 w 80482"/>
                    <a:gd name="connsiteY1326" fmla="*/ 62916 h 81130"/>
                    <a:gd name="connsiteX1327" fmla="*/ 21322 w 80482"/>
                    <a:gd name="connsiteY1327" fmla="*/ 62096 h 81130"/>
                    <a:gd name="connsiteX1328" fmla="*/ 19623 w 80482"/>
                    <a:gd name="connsiteY1328" fmla="*/ 64029 h 81130"/>
                    <a:gd name="connsiteX1329" fmla="*/ 21029 w 80482"/>
                    <a:gd name="connsiteY1329" fmla="*/ 63736 h 81130"/>
                    <a:gd name="connsiteX1330" fmla="*/ 19623 w 80482"/>
                    <a:gd name="connsiteY1330" fmla="*/ 64029 h 81130"/>
                    <a:gd name="connsiteX1331" fmla="*/ 34032 w 80482"/>
                    <a:gd name="connsiteY1331" fmla="*/ 61511 h 81130"/>
                    <a:gd name="connsiteX1332" fmla="*/ 34442 w 80482"/>
                    <a:gd name="connsiteY1332" fmla="*/ 61745 h 81130"/>
                    <a:gd name="connsiteX1333" fmla="*/ 36141 w 80482"/>
                    <a:gd name="connsiteY1333" fmla="*/ 63736 h 81130"/>
                    <a:gd name="connsiteX1334" fmla="*/ 36024 w 80482"/>
                    <a:gd name="connsiteY1334" fmla="*/ 65200 h 81130"/>
                    <a:gd name="connsiteX1335" fmla="*/ 33974 w 80482"/>
                    <a:gd name="connsiteY1335" fmla="*/ 66957 h 81130"/>
                    <a:gd name="connsiteX1336" fmla="*/ 33564 w 80482"/>
                    <a:gd name="connsiteY1336" fmla="*/ 67075 h 81130"/>
                    <a:gd name="connsiteX1337" fmla="*/ 33037 w 80482"/>
                    <a:gd name="connsiteY1337" fmla="*/ 66430 h 81130"/>
                    <a:gd name="connsiteX1338" fmla="*/ 33037 w 80482"/>
                    <a:gd name="connsiteY1338" fmla="*/ 66430 h 81130"/>
                    <a:gd name="connsiteX1339" fmla="*/ 33095 w 80482"/>
                    <a:gd name="connsiteY1339" fmla="*/ 66255 h 81130"/>
                    <a:gd name="connsiteX1340" fmla="*/ 33622 w 80482"/>
                    <a:gd name="connsiteY1340" fmla="*/ 64322 h 81130"/>
                    <a:gd name="connsiteX1341" fmla="*/ 33447 w 80482"/>
                    <a:gd name="connsiteY1341" fmla="*/ 62331 h 81130"/>
                    <a:gd name="connsiteX1342" fmla="*/ 33447 w 80482"/>
                    <a:gd name="connsiteY1342" fmla="*/ 62096 h 81130"/>
                    <a:gd name="connsiteX1343" fmla="*/ 33447 w 80482"/>
                    <a:gd name="connsiteY1343" fmla="*/ 62096 h 81130"/>
                    <a:gd name="connsiteX1344" fmla="*/ 34032 w 80482"/>
                    <a:gd name="connsiteY1344" fmla="*/ 61511 h 81130"/>
                    <a:gd name="connsiteX1345" fmla="*/ 39011 w 80482"/>
                    <a:gd name="connsiteY1345" fmla="*/ 63971 h 81130"/>
                    <a:gd name="connsiteX1346" fmla="*/ 41062 w 80482"/>
                    <a:gd name="connsiteY1346" fmla="*/ 62214 h 81130"/>
                    <a:gd name="connsiteX1347" fmla="*/ 41472 w 80482"/>
                    <a:gd name="connsiteY1347" fmla="*/ 62096 h 81130"/>
                    <a:gd name="connsiteX1348" fmla="*/ 41999 w 80482"/>
                    <a:gd name="connsiteY1348" fmla="*/ 62741 h 81130"/>
                    <a:gd name="connsiteX1349" fmla="*/ 41999 w 80482"/>
                    <a:gd name="connsiteY1349" fmla="*/ 62741 h 81130"/>
                    <a:gd name="connsiteX1350" fmla="*/ 41940 w 80482"/>
                    <a:gd name="connsiteY1350" fmla="*/ 62916 h 81130"/>
                    <a:gd name="connsiteX1351" fmla="*/ 41413 w 80482"/>
                    <a:gd name="connsiteY1351" fmla="*/ 64849 h 81130"/>
                    <a:gd name="connsiteX1352" fmla="*/ 41589 w 80482"/>
                    <a:gd name="connsiteY1352" fmla="*/ 66840 h 81130"/>
                    <a:gd name="connsiteX1353" fmla="*/ 41589 w 80482"/>
                    <a:gd name="connsiteY1353" fmla="*/ 67075 h 81130"/>
                    <a:gd name="connsiteX1354" fmla="*/ 41589 w 80482"/>
                    <a:gd name="connsiteY1354" fmla="*/ 67133 h 81130"/>
                    <a:gd name="connsiteX1355" fmla="*/ 40944 w 80482"/>
                    <a:gd name="connsiteY1355" fmla="*/ 67719 h 81130"/>
                    <a:gd name="connsiteX1356" fmla="*/ 40534 w 80482"/>
                    <a:gd name="connsiteY1356" fmla="*/ 67485 h 81130"/>
                    <a:gd name="connsiteX1357" fmla="*/ 38836 w 80482"/>
                    <a:gd name="connsiteY1357" fmla="*/ 65493 h 81130"/>
                    <a:gd name="connsiteX1358" fmla="*/ 39011 w 80482"/>
                    <a:gd name="connsiteY1358" fmla="*/ 63971 h 81130"/>
                    <a:gd name="connsiteX1359" fmla="*/ 40827 w 80482"/>
                    <a:gd name="connsiteY1359" fmla="*/ 70296 h 81130"/>
                    <a:gd name="connsiteX1360" fmla="*/ 47915 w 80482"/>
                    <a:gd name="connsiteY1360" fmla="*/ 69242 h 81130"/>
                    <a:gd name="connsiteX1361" fmla="*/ 48618 w 80482"/>
                    <a:gd name="connsiteY1361" fmla="*/ 70237 h 81130"/>
                    <a:gd name="connsiteX1362" fmla="*/ 46158 w 80482"/>
                    <a:gd name="connsiteY1362" fmla="*/ 71116 h 81130"/>
                    <a:gd name="connsiteX1363" fmla="*/ 40886 w 80482"/>
                    <a:gd name="connsiteY1363" fmla="*/ 71701 h 81130"/>
                    <a:gd name="connsiteX1364" fmla="*/ 38367 w 80482"/>
                    <a:gd name="connsiteY1364" fmla="*/ 71174 h 81130"/>
                    <a:gd name="connsiteX1365" fmla="*/ 40827 w 80482"/>
                    <a:gd name="connsiteY1365" fmla="*/ 70296 h 81130"/>
                    <a:gd name="connsiteX1366" fmla="*/ 49438 w 80482"/>
                    <a:gd name="connsiteY1366" fmla="*/ 67075 h 81130"/>
                    <a:gd name="connsiteX1367" fmla="*/ 49438 w 80482"/>
                    <a:gd name="connsiteY1367" fmla="*/ 66606 h 81130"/>
                    <a:gd name="connsiteX1368" fmla="*/ 49438 w 80482"/>
                    <a:gd name="connsiteY1368" fmla="*/ 66606 h 81130"/>
                    <a:gd name="connsiteX1369" fmla="*/ 50316 w 80482"/>
                    <a:gd name="connsiteY1369" fmla="*/ 64088 h 81130"/>
                    <a:gd name="connsiteX1370" fmla="*/ 51605 w 80482"/>
                    <a:gd name="connsiteY1370" fmla="*/ 63443 h 81130"/>
                    <a:gd name="connsiteX1371" fmla="*/ 54124 w 80482"/>
                    <a:gd name="connsiteY1371" fmla="*/ 64322 h 81130"/>
                    <a:gd name="connsiteX1372" fmla="*/ 54417 w 80482"/>
                    <a:gd name="connsiteY1372" fmla="*/ 64615 h 81130"/>
                    <a:gd name="connsiteX1373" fmla="*/ 54124 w 80482"/>
                    <a:gd name="connsiteY1373" fmla="*/ 65435 h 81130"/>
                    <a:gd name="connsiteX1374" fmla="*/ 54124 w 80482"/>
                    <a:gd name="connsiteY1374" fmla="*/ 65435 h 81130"/>
                    <a:gd name="connsiteX1375" fmla="*/ 53948 w 80482"/>
                    <a:gd name="connsiteY1375" fmla="*/ 65493 h 81130"/>
                    <a:gd name="connsiteX1376" fmla="*/ 52074 w 80482"/>
                    <a:gd name="connsiteY1376" fmla="*/ 66020 h 81130"/>
                    <a:gd name="connsiteX1377" fmla="*/ 50492 w 80482"/>
                    <a:gd name="connsiteY1377" fmla="*/ 67192 h 81130"/>
                    <a:gd name="connsiteX1378" fmla="*/ 50316 w 80482"/>
                    <a:gd name="connsiteY1378" fmla="*/ 67309 h 81130"/>
                    <a:gd name="connsiteX1379" fmla="*/ 50316 w 80482"/>
                    <a:gd name="connsiteY1379" fmla="*/ 67309 h 81130"/>
                    <a:gd name="connsiteX1380" fmla="*/ 49438 w 80482"/>
                    <a:gd name="connsiteY1380" fmla="*/ 67075 h 81130"/>
                    <a:gd name="connsiteX1381" fmla="*/ 52425 w 80482"/>
                    <a:gd name="connsiteY1381" fmla="*/ 68597 h 81130"/>
                    <a:gd name="connsiteX1382" fmla="*/ 52191 w 80482"/>
                    <a:gd name="connsiteY1382" fmla="*/ 70061 h 81130"/>
                    <a:gd name="connsiteX1383" fmla="*/ 52425 w 80482"/>
                    <a:gd name="connsiteY1383" fmla="*/ 68597 h 81130"/>
                    <a:gd name="connsiteX1384" fmla="*/ 57521 w 80482"/>
                    <a:gd name="connsiteY1384" fmla="*/ 57880 h 81130"/>
                    <a:gd name="connsiteX1385" fmla="*/ 55705 w 80482"/>
                    <a:gd name="connsiteY1385" fmla="*/ 57060 h 81130"/>
                    <a:gd name="connsiteX1386" fmla="*/ 55530 w 80482"/>
                    <a:gd name="connsiteY1386" fmla="*/ 57001 h 81130"/>
                    <a:gd name="connsiteX1387" fmla="*/ 55530 w 80482"/>
                    <a:gd name="connsiteY1387" fmla="*/ 57001 h 81130"/>
                    <a:gd name="connsiteX1388" fmla="*/ 55354 w 80482"/>
                    <a:gd name="connsiteY1388" fmla="*/ 56123 h 81130"/>
                    <a:gd name="connsiteX1389" fmla="*/ 55764 w 80482"/>
                    <a:gd name="connsiteY1389" fmla="*/ 55888 h 81130"/>
                    <a:gd name="connsiteX1390" fmla="*/ 55764 w 80482"/>
                    <a:gd name="connsiteY1390" fmla="*/ 55888 h 81130"/>
                    <a:gd name="connsiteX1391" fmla="*/ 58341 w 80482"/>
                    <a:gd name="connsiteY1391" fmla="*/ 55420 h 81130"/>
                    <a:gd name="connsiteX1392" fmla="*/ 59513 w 80482"/>
                    <a:gd name="connsiteY1392" fmla="*/ 56240 h 81130"/>
                    <a:gd name="connsiteX1393" fmla="*/ 59981 w 80482"/>
                    <a:gd name="connsiteY1393" fmla="*/ 58875 h 81130"/>
                    <a:gd name="connsiteX1394" fmla="*/ 59864 w 80482"/>
                    <a:gd name="connsiteY1394" fmla="*/ 59285 h 81130"/>
                    <a:gd name="connsiteX1395" fmla="*/ 59044 w 80482"/>
                    <a:gd name="connsiteY1395" fmla="*/ 59461 h 81130"/>
                    <a:gd name="connsiteX1396" fmla="*/ 59044 w 80482"/>
                    <a:gd name="connsiteY1396" fmla="*/ 59461 h 81130"/>
                    <a:gd name="connsiteX1397" fmla="*/ 58927 w 80482"/>
                    <a:gd name="connsiteY1397" fmla="*/ 59285 h 81130"/>
                    <a:gd name="connsiteX1398" fmla="*/ 57521 w 80482"/>
                    <a:gd name="connsiteY1398" fmla="*/ 57880 h 81130"/>
                    <a:gd name="connsiteX1399" fmla="*/ 56350 w 80482"/>
                    <a:gd name="connsiteY1399" fmla="*/ 66137 h 81130"/>
                    <a:gd name="connsiteX1400" fmla="*/ 60216 w 80482"/>
                    <a:gd name="connsiteY1400" fmla="*/ 63326 h 81130"/>
                    <a:gd name="connsiteX1401" fmla="*/ 62090 w 80482"/>
                    <a:gd name="connsiteY1401" fmla="*/ 61745 h 81130"/>
                    <a:gd name="connsiteX1402" fmla="*/ 61036 w 80482"/>
                    <a:gd name="connsiteY1402" fmla="*/ 64498 h 81130"/>
                    <a:gd name="connsiteX1403" fmla="*/ 56877 w 80482"/>
                    <a:gd name="connsiteY1403" fmla="*/ 67485 h 81130"/>
                    <a:gd name="connsiteX1404" fmla="*/ 54593 w 80482"/>
                    <a:gd name="connsiteY1404" fmla="*/ 68246 h 81130"/>
                    <a:gd name="connsiteX1405" fmla="*/ 54358 w 80482"/>
                    <a:gd name="connsiteY1405" fmla="*/ 67660 h 81130"/>
                    <a:gd name="connsiteX1406" fmla="*/ 56350 w 80482"/>
                    <a:gd name="connsiteY1406" fmla="*/ 66137 h 81130"/>
                    <a:gd name="connsiteX1407" fmla="*/ 63847 w 80482"/>
                    <a:gd name="connsiteY1407" fmla="*/ 59051 h 81130"/>
                    <a:gd name="connsiteX1408" fmla="*/ 65312 w 80482"/>
                    <a:gd name="connsiteY1408" fmla="*/ 58641 h 81130"/>
                    <a:gd name="connsiteX1409" fmla="*/ 64960 w 80482"/>
                    <a:gd name="connsiteY1409" fmla="*/ 59871 h 81130"/>
                    <a:gd name="connsiteX1410" fmla="*/ 63847 w 80482"/>
                    <a:gd name="connsiteY1410" fmla="*/ 59051 h 81130"/>
                    <a:gd name="connsiteX1411" fmla="*/ 66776 w 80482"/>
                    <a:gd name="connsiteY1411" fmla="*/ 54893 h 81130"/>
                    <a:gd name="connsiteX1412" fmla="*/ 69471 w 80482"/>
                    <a:gd name="connsiteY1412" fmla="*/ 48040 h 81130"/>
                    <a:gd name="connsiteX1413" fmla="*/ 70818 w 80482"/>
                    <a:gd name="connsiteY1413" fmla="*/ 48157 h 81130"/>
                    <a:gd name="connsiteX1414" fmla="*/ 70174 w 80482"/>
                    <a:gd name="connsiteY1414" fmla="*/ 50910 h 81130"/>
                    <a:gd name="connsiteX1415" fmla="*/ 68006 w 80482"/>
                    <a:gd name="connsiteY1415" fmla="*/ 55830 h 81130"/>
                    <a:gd name="connsiteX1416" fmla="*/ 66366 w 80482"/>
                    <a:gd name="connsiteY1416" fmla="*/ 57294 h 81130"/>
                    <a:gd name="connsiteX1417" fmla="*/ 66776 w 80482"/>
                    <a:gd name="connsiteY1417" fmla="*/ 54893 h 81130"/>
                    <a:gd name="connsiteX1418" fmla="*/ 78433 w 80482"/>
                    <a:gd name="connsiteY1418" fmla="*/ 38201 h 81130"/>
                    <a:gd name="connsiteX1419" fmla="*/ 78550 w 80482"/>
                    <a:gd name="connsiteY1419" fmla="*/ 38201 h 81130"/>
                    <a:gd name="connsiteX1420" fmla="*/ 78433 w 80482"/>
                    <a:gd name="connsiteY1420" fmla="*/ 38201 h 81130"/>
                    <a:gd name="connsiteX1421" fmla="*/ 77496 w 80482"/>
                    <a:gd name="connsiteY1421" fmla="*/ 39138 h 81130"/>
                    <a:gd name="connsiteX1422" fmla="*/ 74977 w 80482"/>
                    <a:gd name="connsiteY1422" fmla="*/ 39255 h 81130"/>
                    <a:gd name="connsiteX1423" fmla="*/ 73922 w 80482"/>
                    <a:gd name="connsiteY1423" fmla="*/ 38435 h 81130"/>
                    <a:gd name="connsiteX1424" fmla="*/ 74860 w 80482"/>
                    <a:gd name="connsiteY1424" fmla="*/ 37557 h 81130"/>
                    <a:gd name="connsiteX1425" fmla="*/ 77378 w 80482"/>
                    <a:gd name="connsiteY1425" fmla="*/ 37440 h 81130"/>
                    <a:gd name="connsiteX1426" fmla="*/ 78433 w 80482"/>
                    <a:gd name="connsiteY1426" fmla="*/ 38201 h 81130"/>
                    <a:gd name="connsiteX1427" fmla="*/ 78198 w 80482"/>
                    <a:gd name="connsiteY1427" fmla="*/ 35566 h 81130"/>
                    <a:gd name="connsiteX1428" fmla="*/ 78316 w 80482"/>
                    <a:gd name="connsiteY1428" fmla="*/ 35566 h 81130"/>
                    <a:gd name="connsiteX1429" fmla="*/ 78198 w 80482"/>
                    <a:gd name="connsiteY1429" fmla="*/ 35566 h 81130"/>
                    <a:gd name="connsiteX1430" fmla="*/ 77320 w 80482"/>
                    <a:gd name="connsiteY1430" fmla="*/ 36561 h 81130"/>
                    <a:gd name="connsiteX1431" fmla="*/ 74801 w 80482"/>
                    <a:gd name="connsiteY1431" fmla="*/ 36854 h 81130"/>
                    <a:gd name="connsiteX1432" fmla="*/ 73688 w 80482"/>
                    <a:gd name="connsiteY1432" fmla="*/ 36093 h 81130"/>
                    <a:gd name="connsiteX1433" fmla="*/ 74567 w 80482"/>
                    <a:gd name="connsiteY1433" fmla="*/ 35097 h 81130"/>
                    <a:gd name="connsiteX1434" fmla="*/ 77086 w 80482"/>
                    <a:gd name="connsiteY1434" fmla="*/ 34804 h 81130"/>
                    <a:gd name="connsiteX1435" fmla="*/ 78198 w 80482"/>
                    <a:gd name="connsiteY1435" fmla="*/ 35566 h 81130"/>
                    <a:gd name="connsiteX1436" fmla="*/ 77788 w 80482"/>
                    <a:gd name="connsiteY1436" fmla="*/ 32872 h 81130"/>
                    <a:gd name="connsiteX1437" fmla="*/ 77906 w 80482"/>
                    <a:gd name="connsiteY1437" fmla="*/ 32872 h 81130"/>
                    <a:gd name="connsiteX1438" fmla="*/ 77788 w 80482"/>
                    <a:gd name="connsiteY1438" fmla="*/ 32872 h 81130"/>
                    <a:gd name="connsiteX1439" fmla="*/ 76968 w 80482"/>
                    <a:gd name="connsiteY1439" fmla="*/ 33926 h 81130"/>
                    <a:gd name="connsiteX1440" fmla="*/ 74508 w 80482"/>
                    <a:gd name="connsiteY1440" fmla="*/ 34394 h 81130"/>
                    <a:gd name="connsiteX1441" fmla="*/ 73395 w 80482"/>
                    <a:gd name="connsiteY1441" fmla="*/ 33750 h 81130"/>
                    <a:gd name="connsiteX1442" fmla="*/ 74215 w 80482"/>
                    <a:gd name="connsiteY1442" fmla="*/ 32696 h 81130"/>
                    <a:gd name="connsiteX1443" fmla="*/ 76676 w 80482"/>
                    <a:gd name="connsiteY1443" fmla="*/ 32227 h 81130"/>
                    <a:gd name="connsiteX1444" fmla="*/ 77788 w 80482"/>
                    <a:gd name="connsiteY1444" fmla="*/ 32872 h 81130"/>
                    <a:gd name="connsiteX1445" fmla="*/ 76031 w 80482"/>
                    <a:gd name="connsiteY1445" fmla="*/ 29709 h 81130"/>
                    <a:gd name="connsiteX1446" fmla="*/ 77203 w 80482"/>
                    <a:gd name="connsiteY1446" fmla="*/ 30295 h 81130"/>
                    <a:gd name="connsiteX1447" fmla="*/ 77320 w 80482"/>
                    <a:gd name="connsiteY1447" fmla="*/ 30295 h 81130"/>
                    <a:gd name="connsiteX1448" fmla="*/ 77203 w 80482"/>
                    <a:gd name="connsiteY1448" fmla="*/ 30353 h 81130"/>
                    <a:gd name="connsiteX1449" fmla="*/ 76441 w 80482"/>
                    <a:gd name="connsiteY1449" fmla="*/ 31466 h 81130"/>
                    <a:gd name="connsiteX1450" fmla="*/ 73981 w 80482"/>
                    <a:gd name="connsiteY1450" fmla="*/ 32110 h 81130"/>
                    <a:gd name="connsiteX1451" fmla="*/ 72810 w 80482"/>
                    <a:gd name="connsiteY1451" fmla="*/ 31525 h 81130"/>
                    <a:gd name="connsiteX1452" fmla="*/ 73571 w 80482"/>
                    <a:gd name="connsiteY1452" fmla="*/ 30412 h 81130"/>
                    <a:gd name="connsiteX1453" fmla="*/ 76031 w 80482"/>
                    <a:gd name="connsiteY1453" fmla="*/ 29709 h 81130"/>
                    <a:gd name="connsiteX1454" fmla="*/ 75211 w 80482"/>
                    <a:gd name="connsiteY1454" fmla="*/ 27249 h 81130"/>
                    <a:gd name="connsiteX1455" fmla="*/ 76441 w 80482"/>
                    <a:gd name="connsiteY1455" fmla="*/ 27718 h 81130"/>
                    <a:gd name="connsiteX1456" fmla="*/ 76558 w 80482"/>
                    <a:gd name="connsiteY1456" fmla="*/ 27659 h 81130"/>
                    <a:gd name="connsiteX1457" fmla="*/ 76441 w 80482"/>
                    <a:gd name="connsiteY1457" fmla="*/ 27718 h 81130"/>
                    <a:gd name="connsiteX1458" fmla="*/ 75738 w 80482"/>
                    <a:gd name="connsiteY1458" fmla="*/ 28830 h 81130"/>
                    <a:gd name="connsiteX1459" fmla="*/ 73337 w 80482"/>
                    <a:gd name="connsiteY1459" fmla="*/ 29650 h 81130"/>
                    <a:gd name="connsiteX1460" fmla="*/ 72107 w 80482"/>
                    <a:gd name="connsiteY1460" fmla="*/ 29182 h 81130"/>
                    <a:gd name="connsiteX1461" fmla="*/ 72810 w 80482"/>
                    <a:gd name="connsiteY1461" fmla="*/ 28069 h 81130"/>
                    <a:gd name="connsiteX1462" fmla="*/ 75211 w 80482"/>
                    <a:gd name="connsiteY1462" fmla="*/ 27249 h 81130"/>
                    <a:gd name="connsiteX1463" fmla="*/ 75504 w 80482"/>
                    <a:gd name="connsiteY1463" fmla="*/ 25199 h 81130"/>
                    <a:gd name="connsiteX1464" fmla="*/ 75621 w 80482"/>
                    <a:gd name="connsiteY1464" fmla="*/ 25141 h 81130"/>
                    <a:gd name="connsiteX1465" fmla="*/ 75504 w 80482"/>
                    <a:gd name="connsiteY1465" fmla="*/ 25199 h 81130"/>
                    <a:gd name="connsiteX1466" fmla="*/ 74918 w 80482"/>
                    <a:gd name="connsiteY1466" fmla="*/ 26371 h 81130"/>
                    <a:gd name="connsiteX1467" fmla="*/ 72575 w 80482"/>
                    <a:gd name="connsiteY1467" fmla="*/ 27366 h 81130"/>
                    <a:gd name="connsiteX1468" fmla="*/ 71345 w 80482"/>
                    <a:gd name="connsiteY1468" fmla="*/ 26956 h 81130"/>
                    <a:gd name="connsiteX1469" fmla="*/ 71931 w 80482"/>
                    <a:gd name="connsiteY1469" fmla="*/ 25785 h 81130"/>
                    <a:gd name="connsiteX1470" fmla="*/ 74274 w 80482"/>
                    <a:gd name="connsiteY1470" fmla="*/ 24789 h 81130"/>
                    <a:gd name="connsiteX1471" fmla="*/ 75504 w 80482"/>
                    <a:gd name="connsiteY1471" fmla="*/ 25199 h 81130"/>
                    <a:gd name="connsiteX1472" fmla="*/ 74391 w 80482"/>
                    <a:gd name="connsiteY1472" fmla="*/ 22740 h 81130"/>
                    <a:gd name="connsiteX1473" fmla="*/ 74508 w 80482"/>
                    <a:gd name="connsiteY1473" fmla="*/ 22681 h 81130"/>
                    <a:gd name="connsiteX1474" fmla="*/ 74391 w 80482"/>
                    <a:gd name="connsiteY1474" fmla="*/ 22740 h 81130"/>
                    <a:gd name="connsiteX1475" fmla="*/ 73864 w 80482"/>
                    <a:gd name="connsiteY1475" fmla="*/ 23969 h 81130"/>
                    <a:gd name="connsiteX1476" fmla="*/ 71638 w 80482"/>
                    <a:gd name="connsiteY1476" fmla="*/ 25141 h 81130"/>
                    <a:gd name="connsiteX1477" fmla="*/ 70349 w 80482"/>
                    <a:gd name="connsiteY1477" fmla="*/ 24848 h 81130"/>
                    <a:gd name="connsiteX1478" fmla="*/ 70877 w 80482"/>
                    <a:gd name="connsiteY1478" fmla="*/ 23618 h 81130"/>
                    <a:gd name="connsiteX1479" fmla="*/ 73102 w 80482"/>
                    <a:gd name="connsiteY1479" fmla="*/ 22447 h 81130"/>
                    <a:gd name="connsiteX1480" fmla="*/ 74391 w 80482"/>
                    <a:gd name="connsiteY1480" fmla="*/ 22740 h 81130"/>
                    <a:gd name="connsiteX1481" fmla="*/ 73102 w 80482"/>
                    <a:gd name="connsiteY1481" fmla="*/ 20397 h 81130"/>
                    <a:gd name="connsiteX1482" fmla="*/ 73220 w 80482"/>
                    <a:gd name="connsiteY1482" fmla="*/ 20338 h 81130"/>
                    <a:gd name="connsiteX1483" fmla="*/ 73102 w 80482"/>
                    <a:gd name="connsiteY1483" fmla="*/ 20397 h 81130"/>
                    <a:gd name="connsiteX1484" fmla="*/ 72692 w 80482"/>
                    <a:gd name="connsiteY1484" fmla="*/ 21627 h 81130"/>
                    <a:gd name="connsiteX1485" fmla="*/ 70525 w 80482"/>
                    <a:gd name="connsiteY1485" fmla="*/ 22915 h 81130"/>
                    <a:gd name="connsiteX1486" fmla="*/ 69236 w 80482"/>
                    <a:gd name="connsiteY1486" fmla="*/ 22681 h 81130"/>
                    <a:gd name="connsiteX1487" fmla="*/ 69646 w 80482"/>
                    <a:gd name="connsiteY1487" fmla="*/ 21451 h 81130"/>
                    <a:gd name="connsiteX1488" fmla="*/ 71814 w 80482"/>
                    <a:gd name="connsiteY1488" fmla="*/ 20163 h 81130"/>
                    <a:gd name="connsiteX1489" fmla="*/ 73102 w 80482"/>
                    <a:gd name="connsiteY1489" fmla="*/ 20397 h 81130"/>
                    <a:gd name="connsiteX1490" fmla="*/ 70349 w 80482"/>
                    <a:gd name="connsiteY1490" fmla="*/ 18054 h 81130"/>
                    <a:gd name="connsiteX1491" fmla="*/ 71638 w 80482"/>
                    <a:gd name="connsiteY1491" fmla="*/ 18171 h 81130"/>
                    <a:gd name="connsiteX1492" fmla="*/ 71755 w 80482"/>
                    <a:gd name="connsiteY1492" fmla="*/ 18113 h 81130"/>
                    <a:gd name="connsiteX1493" fmla="*/ 71638 w 80482"/>
                    <a:gd name="connsiteY1493" fmla="*/ 18171 h 81130"/>
                    <a:gd name="connsiteX1494" fmla="*/ 71287 w 80482"/>
                    <a:gd name="connsiteY1494" fmla="*/ 19460 h 81130"/>
                    <a:gd name="connsiteX1495" fmla="*/ 69236 w 80482"/>
                    <a:gd name="connsiteY1495" fmla="*/ 20924 h 81130"/>
                    <a:gd name="connsiteX1496" fmla="*/ 67948 w 80482"/>
                    <a:gd name="connsiteY1496" fmla="*/ 20807 h 81130"/>
                    <a:gd name="connsiteX1497" fmla="*/ 68299 w 80482"/>
                    <a:gd name="connsiteY1497" fmla="*/ 19518 h 81130"/>
                    <a:gd name="connsiteX1498" fmla="*/ 70349 w 80482"/>
                    <a:gd name="connsiteY1498" fmla="*/ 18054 h 81130"/>
                    <a:gd name="connsiteX1499" fmla="*/ 68768 w 80482"/>
                    <a:gd name="connsiteY1499" fmla="*/ 16004 h 81130"/>
                    <a:gd name="connsiteX1500" fmla="*/ 70056 w 80482"/>
                    <a:gd name="connsiteY1500" fmla="*/ 16063 h 81130"/>
                    <a:gd name="connsiteX1501" fmla="*/ 70174 w 80482"/>
                    <a:gd name="connsiteY1501" fmla="*/ 16004 h 81130"/>
                    <a:gd name="connsiteX1502" fmla="*/ 70056 w 80482"/>
                    <a:gd name="connsiteY1502" fmla="*/ 16063 h 81130"/>
                    <a:gd name="connsiteX1503" fmla="*/ 69822 w 80482"/>
                    <a:gd name="connsiteY1503" fmla="*/ 17351 h 81130"/>
                    <a:gd name="connsiteX1504" fmla="*/ 67831 w 80482"/>
                    <a:gd name="connsiteY1504" fmla="*/ 18933 h 81130"/>
                    <a:gd name="connsiteX1505" fmla="*/ 66542 w 80482"/>
                    <a:gd name="connsiteY1505" fmla="*/ 18874 h 81130"/>
                    <a:gd name="connsiteX1506" fmla="*/ 66776 w 80482"/>
                    <a:gd name="connsiteY1506" fmla="*/ 17586 h 81130"/>
                    <a:gd name="connsiteX1507" fmla="*/ 68768 w 80482"/>
                    <a:gd name="connsiteY1507" fmla="*/ 16004 h 81130"/>
                    <a:gd name="connsiteX1508" fmla="*/ 67011 w 80482"/>
                    <a:gd name="connsiteY1508" fmla="*/ 14013 h 81130"/>
                    <a:gd name="connsiteX1509" fmla="*/ 68299 w 80482"/>
                    <a:gd name="connsiteY1509" fmla="*/ 13954 h 81130"/>
                    <a:gd name="connsiteX1510" fmla="*/ 68416 w 80482"/>
                    <a:gd name="connsiteY1510" fmla="*/ 13896 h 81130"/>
                    <a:gd name="connsiteX1511" fmla="*/ 68299 w 80482"/>
                    <a:gd name="connsiteY1511" fmla="*/ 14013 h 81130"/>
                    <a:gd name="connsiteX1512" fmla="*/ 68123 w 80482"/>
                    <a:gd name="connsiteY1512" fmla="*/ 15302 h 81130"/>
                    <a:gd name="connsiteX1513" fmla="*/ 66249 w 80482"/>
                    <a:gd name="connsiteY1513" fmla="*/ 17000 h 81130"/>
                    <a:gd name="connsiteX1514" fmla="*/ 64902 w 80482"/>
                    <a:gd name="connsiteY1514" fmla="*/ 17059 h 81130"/>
                    <a:gd name="connsiteX1515" fmla="*/ 65078 w 80482"/>
                    <a:gd name="connsiteY1515" fmla="*/ 15770 h 81130"/>
                    <a:gd name="connsiteX1516" fmla="*/ 67011 w 80482"/>
                    <a:gd name="connsiteY1516" fmla="*/ 14013 h 81130"/>
                    <a:gd name="connsiteX1517" fmla="*/ 66425 w 80482"/>
                    <a:gd name="connsiteY1517" fmla="*/ 12080 h 81130"/>
                    <a:gd name="connsiteX1518" fmla="*/ 66542 w 80482"/>
                    <a:gd name="connsiteY1518" fmla="*/ 11963 h 81130"/>
                    <a:gd name="connsiteX1519" fmla="*/ 66425 w 80482"/>
                    <a:gd name="connsiteY1519" fmla="*/ 12080 h 81130"/>
                    <a:gd name="connsiteX1520" fmla="*/ 66366 w 80482"/>
                    <a:gd name="connsiteY1520" fmla="*/ 13427 h 81130"/>
                    <a:gd name="connsiteX1521" fmla="*/ 64668 w 80482"/>
                    <a:gd name="connsiteY1521" fmla="*/ 15243 h 81130"/>
                    <a:gd name="connsiteX1522" fmla="*/ 63379 w 80482"/>
                    <a:gd name="connsiteY1522" fmla="*/ 15360 h 81130"/>
                    <a:gd name="connsiteX1523" fmla="*/ 63437 w 80482"/>
                    <a:gd name="connsiteY1523" fmla="*/ 14013 h 81130"/>
                    <a:gd name="connsiteX1524" fmla="*/ 65195 w 80482"/>
                    <a:gd name="connsiteY1524" fmla="*/ 12139 h 81130"/>
                    <a:gd name="connsiteX1525" fmla="*/ 66425 w 80482"/>
                    <a:gd name="connsiteY1525" fmla="*/ 12080 h 81130"/>
                    <a:gd name="connsiteX1526" fmla="*/ 61563 w 80482"/>
                    <a:gd name="connsiteY1526" fmla="*/ 12549 h 81130"/>
                    <a:gd name="connsiteX1527" fmla="*/ 63145 w 80482"/>
                    <a:gd name="connsiteY1527" fmla="*/ 10558 h 81130"/>
                    <a:gd name="connsiteX1528" fmla="*/ 64433 w 80482"/>
                    <a:gd name="connsiteY1528" fmla="*/ 10323 h 81130"/>
                    <a:gd name="connsiteX1529" fmla="*/ 64492 w 80482"/>
                    <a:gd name="connsiteY1529" fmla="*/ 10206 h 81130"/>
                    <a:gd name="connsiteX1530" fmla="*/ 64433 w 80482"/>
                    <a:gd name="connsiteY1530" fmla="*/ 10323 h 81130"/>
                    <a:gd name="connsiteX1531" fmla="*/ 64433 w 80482"/>
                    <a:gd name="connsiteY1531" fmla="*/ 11670 h 81130"/>
                    <a:gd name="connsiteX1532" fmla="*/ 62852 w 80482"/>
                    <a:gd name="connsiteY1532" fmla="*/ 13662 h 81130"/>
                    <a:gd name="connsiteX1533" fmla="*/ 61563 w 80482"/>
                    <a:gd name="connsiteY1533" fmla="*/ 13896 h 81130"/>
                    <a:gd name="connsiteX1534" fmla="*/ 61563 w 80482"/>
                    <a:gd name="connsiteY1534" fmla="*/ 12549 h 81130"/>
                    <a:gd name="connsiteX1535" fmla="*/ 59571 w 80482"/>
                    <a:gd name="connsiteY1535" fmla="*/ 11085 h 81130"/>
                    <a:gd name="connsiteX1536" fmla="*/ 61036 w 80482"/>
                    <a:gd name="connsiteY1536" fmla="*/ 9035 h 81130"/>
                    <a:gd name="connsiteX1537" fmla="*/ 62324 w 80482"/>
                    <a:gd name="connsiteY1537" fmla="*/ 8683 h 81130"/>
                    <a:gd name="connsiteX1538" fmla="*/ 62383 w 80482"/>
                    <a:gd name="connsiteY1538" fmla="*/ 8566 h 81130"/>
                    <a:gd name="connsiteX1539" fmla="*/ 62324 w 80482"/>
                    <a:gd name="connsiteY1539" fmla="*/ 8683 h 81130"/>
                    <a:gd name="connsiteX1540" fmla="*/ 62442 w 80482"/>
                    <a:gd name="connsiteY1540" fmla="*/ 9972 h 81130"/>
                    <a:gd name="connsiteX1541" fmla="*/ 60977 w 80482"/>
                    <a:gd name="connsiteY1541" fmla="*/ 12022 h 81130"/>
                    <a:gd name="connsiteX1542" fmla="*/ 59689 w 80482"/>
                    <a:gd name="connsiteY1542" fmla="*/ 12373 h 81130"/>
                    <a:gd name="connsiteX1543" fmla="*/ 59571 w 80482"/>
                    <a:gd name="connsiteY1543" fmla="*/ 11085 h 81130"/>
                    <a:gd name="connsiteX1544" fmla="*/ 57521 w 80482"/>
                    <a:gd name="connsiteY1544" fmla="*/ 9796 h 81130"/>
                    <a:gd name="connsiteX1545" fmla="*/ 58810 w 80482"/>
                    <a:gd name="connsiteY1545" fmla="*/ 7629 h 81130"/>
                    <a:gd name="connsiteX1546" fmla="*/ 60040 w 80482"/>
                    <a:gd name="connsiteY1546" fmla="*/ 7219 h 81130"/>
                    <a:gd name="connsiteX1547" fmla="*/ 60099 w 80482"/>
                    <a:gd name="connsiteY1547" fmla="*/ 7102 h 81130"/>
                    <a:gd name="connsiteX1548" fmla="*/ 60040 w 80482"/>
                    <a:gd name="connsiteY1548" fmla="*/ 7219 h 81130"/>
                    <a:gd name="connsiteX1549" fmla="*/ 60274 w 80482"/>
                    <a:gd name="connsiteY1549" fmla="*/ 8508 h 81130"/>
                    <a:gd name="connsiteX1550" fmla="*/ 58986 w 80482"/>
                    <a:gd name="connsiteY1550" fmla="*/ 10675 h 81130"/>
                    <a:gd name="connsiteX1551" fmla="*/ 57756 w 80482"/>
                    <a:gd name="connsiteY1551" fmla="*/ 11085 h 81130"/>
                    <a:gd name="connsiteX1552" fmla="*/ 57521 w 80482"/>
                    <a:gd name="connsiteY1552" fmla="*/ 9796 h 81130"/>
                    <a:gd name="connsiteX1553" fmla="*/ 56525 w 80482"/>
                    <a:gd name="connsiteY1553" fmla="*/ 6458 h 81130"/>
                    <a:gd name="connsiteX1554" fmla="*/ 57756 w 80482"/>
                    <a:gd name="connsiteY1554" fmla="*/ 5931 h 81130"/>
                    <a:gd name="connsiteX1555" fmla="*/ 57814 w 80482"/>
                    <a:gd name="connsiteY1555" fmla="*/ 5814 h 81130"/>
                    <a:gd name="connsiteX1556" fmla="*/ 57756 w 80482"/>
                    <a:gd name="connsiteY1556" fmla="*/ 5931 h 81130"/>
                    <a:gd name="connsiteX1557" fmla="*/ 58048 w 80482"/>
                    <a:gd name="connsiteY1557" fmla="*/ 7219 h 81130"/>
                    <a:gd name="connsiteX1558" fmla="*/ 56877 w 80482"/>
                    <a:gd name="connsiteY1558" fmla="*/ 9445 h 81130"/>
                    <a:gd name="connsiteX1559" fmla="*/ 55647 w 80482"/>
                    <a:gd name="connsiteY1559" fmla="*/ 9972 h 81130"/>
                    <a:gd name="connsiteX1560" fmla="*/ 55354 w 80482"/>
                    <a:gd name="connsiteY1560" fmla="*/ 8683 h 81130"/>
                    <a:gd name="connsiteX1561" fmla="*/ 56525 w 80482"/>
                    <a:gd name="connsiteY1561" fmla="*/ 6458 h 81130"/>
                    <a:gd name="connsiteX1562" fmla="*/ 54124 w 80482"/>
                    <a:gd name="connsiteY1562" fmla="*/ 5404 h 81130"/>
                    <a:gd name="connsiteX1563" fmla="*/ 55295 w 80482"/>
                    <a:gd name="connsiteY1563" fmla="*/ 4818 h 81130"/>
                    <a:gd name="connsiteX1564" fmla="*/ 55354 w 80482"/>
                    <a:gd name="connsiteY1564" fmla="*/ 4701 h 81130"/>
                    <a:gd name="connsiteX1565" fmla="*/ 55295 w 80482"/>
                    <a:gd name="connsiteY1565" fmla="*/ 4818 h 81130"/>
                    <a:gd name="connsiteX1566" fmla="*/ 55705 w 80482"/>
                    <a:gd name="connsiteY1566" fmla="*/ 6107 h 81130"/>
                    <a:gd name="connsiteX1567" fmla="*/ 54710 w 80482"/>
                    <a:gd name="connsiteY1567" fmla="*/ 8449 h 81130"/>
                    <a:gd name="connsiteX1568" fmla="*/ 53538 w 80482"/>
                    <a:gd name="connsiteY1568" fmla="*/ 9035 h 81130"/>
                    <a:gd name="connsiteX1569" fmla="*/ 53128 w 80482"/>
                    <a:gd name="connsiteY1569" fmla="*/ 7805 h 81130"/>
                    <a:gd name="connsiteX1570" fmla="*/ 54124 w 80482"/>
                    <a:gd name="connsiteY1570" fmla="*/ 5404 h 81130"/>
                    <a:gd name="connsiteX1571" fmla="*/ 52835 w 80482"/>
                    <a:gd name="connsiteY1571" fmla="*/ 3822 h 81130"/>
                    <a:gd name="connsiteX1572" fmla="*/ 52894 w 80482"/>
                    <a:gd name="connsiteY1572" fmla="*/ 3705 h 81130"/>
                    <a:gd name="connsiteX1573" fmla="*/ 52835 w 80482"/>
                    <a:gd name="connsiteY1573" fmla="*/ 3822 h 81130"/>
                    <a:gd name="connsiteX1574" fmla="*/ 53304 w 80482"/>
                    <a:gd name="connsiteY1574" fmla="*/ 5052 h 81130"/>
                    <a:gd name="connsiteX1575" fmla="*/ 52484 w 80482"/>
                    <a:gd name="connsiteY1575" fmla="*/ 7454 h 81130"/>
                    <a:gd name="connsiteX1576" fmla="*/ 51312 w 80482"/>
                    <a:gd name="connsiteY1576" fmla="*/ 8098 h 81130"/>
                    <a:gd name="connsiteX1577" fmla="*/ 50844 w 80482"/>
                    <a:gd name="connsiteY1577" fmla="*/ 6868 h 81130"/>
                    <a:gd name="connsiteX1578" fmla="*/ 51664 w 80482"/>
                    <a:gd name="connsiteY1578" fmla="*/ 4467 h 81130"/>
                    <a:gd name="connsiteX1579" fmla="*/ 52835 w 80482"/>
                    <a:gd name="connsiteY1579" fmla="*/ 3822 h 81130"/>
                    <a:gd name="connsiteX1580" fmla="*/ 52191 w 80482"/>
                    <a:gd name="connsiteY1580" fmla="*/ 11202 h 81130"/>
                    <a:gd name="connsiteX1581" fmla="*/ 55530 w 80482"/>
                    <a:gd name="connsiteY1581" fmla="*/ 12666 h 81130"/>
                    <a:gd name="connsiteX1582" fmla="*/ 56877 w 80482"/>
                    <a:gd name="connsiteY1582" fmla="*/ 14247 h 81130"/>
                    <a:gd name="connsiteX1583" fmla="*/ 54007 w 80482"/>
                    <a:gd name="connsiteY1583" fmla="*/ 13427 h 81130"/>
                    <a:gd name="connsiteX1584" fmla="*/ 48969 w 80482"/>
                    <a:gd name="connsiteY1584" fmla="*/ 11378 h 81130"/>
                    <a:gd name="connsiteX1585" fmla="*/ 47446 w 80482"/>
                    <a:gd name="connsiteY1585" fmla="*/ 10206 h 81130"/>
                    <a:gd name="connsiteX1586" fmla="*/ 52191 w 80482"/>
                    <a:gd name="connsiteY1586" fmla="*/ 11202 h 81130"/>
                    <a:gd name="connsiteX1587" fmla="*/ 50258 w 80482"/>
                    <a:gd name="connsiteY1587" fmla="*/ 3061 h 81130"/>
                    <a:gd name="connsiteX1588" fmla="*/ 50316 w 80482"/>
                    <a:gd name="connsiteY1588" fmla="*/ 2944 h 81130"/>
                    <a:gd name="connsiteX1589" fmla="*/ 50258 w 80482"/>
                    <a:gd name="connsiteY1589" fmla="*/ 3061 h 81130"/>
                    <a:gd name="connsiteX1590" fmla="*/ 50844 w 80482"/>
                    <a:gd name="connsiteY1590" fmla="*/ 4232 h 81130"/>
                    <a:gd name="connsiteX1591" fmla="*/ 50199 w 80482"/>
                    <a:gd name="connsiteY1591" fmla="*/ 6692 h 81130"/>
                    <a:gd name="connsiteX1592" fmla="*/ 49086 w 80482"/>
                    <a:gd name="connsiteY1592" fmla="*/ 7454 h 81130"/>
                    <a:gd name="connsiteX1593" fmla="*/ 48501 w 80482"/>
                    <a:gd name="connsiteY1593" fmla="*/ 6282 h 81130"/>
                    <a:gd name="connsiteX1594" fmla="*/ 49145 w 80482"/>
                    <a:gd name="connsiteY1594" fmla="*/ 3822 h 81130"/>
                    <a:gd name="connsiteX1595" fmla="*/ 50258 w 80482"/>
                    <a:gd name="connsiteY1595" fmla="*/ 3061 h 81130"/>
                    <a:gd name="connsiteX1596" fmla="*/ 45455 w 80482"/>
                    <a:gd name="connsiteY1596" fmla="*/ 12080 h 81130"/>
                    <a:gd name="connsiteX1597" fmla="*/ 45982 w 80482"/>
                    <a:gd name="connsiteY1597" fmla="*/ 12725 h 81130"/>
                    <a:gd name="connsiteX1598" fmla="*/ 45748 w 80482"/>
                    <a:gd name="connsiteY1598" fmla="*/ 13135 h 81130"/>
                    <a:gd name="connsiteX1599" fmla="*/ 43756 w 80482"/>
                    <a:gd name="connsiteY1599" fmla="*/ 14833 h 81130"/>
                    <a:gd name="connsiteX1600" fmla="*/ 42350 w 80482"/>
                    <a:gd name="connsiteY1600" fmla="*/ 14716 h 81130"/>
                    <a:gd name="connsiteX1601" fmla="*/ 40652 w 80482"/>
                    <a:gd name="connsiteY1601" fmla="*/ 12666 h 81130"/>
                    <a:gd name="connsiteX1602" fmla="*/ 40534 w 80482"/>
                    <a:gd name="connsiteY1602" fmla="*/ 12256 h 81130"/>
                    <a:gd name="connsiteX1603" fmla="*/ 41179 w 80482"/>
                    <a:gd name="connsiteY1603" fmla="*/ 11729 h 81130"/>
                    <a:gd name="connsiteX1604" fmla="*/ 41179 w 80482"/>
                    <a:gd name="connsiteY1604" fmla="*/ 11729 h 81130"/>
                    <a:gd name="connsiteX1605" fmla="*/ 41354 w 80482"/>
                    <a:gd name="connsiteY1605" fmla="*/ 11788 h 81130"/>
                    <a:gd name="connsiteX1606" fmla="*/ 43229 w 80482"/>
                    <a:gd name="connsiteY1606" fmla="*/ 12315 h 81130"/>
                    <a:gd name="connsiteX1607" fmla="*/ 45162 w 80482"/>
                    <a:gd name="connsiteY1607" fmla="*/ 12139 h 81130"/>
                    <a:gd name="connsiteX1608" fmla="*/ 45455 w 80482"/>
                    <a:gd name="connsiteY1608" fmla="*/ 12080 h 81130"/>
                    <a:gd name="connsiteX1609" fmla="*/ 45455 w 80482"/>
                    <a:gd name="connsiteY1609" fmla="*/ 12080 h 81130"/>
                    <a:gd name="connsiteX1610" fmla="*/ 45279 w 80482"/>
                    <a:gd name="connsiteY1610" fmla="*/ 9679 h 81130"/>
                    <a:gd name="connsiteX1611" fmla="*/ 43697 w 80482"/>
                    <a:gd name="connsiteY1611" fmla="*/ 9679 h 81130"/>
                    <a:gd name="connsiteX1612" fmla="*/ 45279 w 80482"/>
                    <a:gd name="connsiteY1612" fmla="*/ 9679 h 81130"/>
                    <a:gd name="connsiteX1613" fmla="*/ 47681 w 80482"/>
                    <a:gd name="connsiteY1613" fmla="*/ 2417 h 81130"/>
                    <a:gd name="connsiteX1614" fmla="*/ 47739 w 80482"/>
                    <a:gd name="connsiteY1614" fmla="*/ 2300 h 81130"/>
                    <a:gd name="connsiteX1615" fmla="*/ 47681 w 80482"/>
                    <a:gd name="connsiteY1615" fmla="*/ 2417 h 81130"/>
                    <a:gd name="connsiteX1616" fmla="*/ 48325 w 80482"/>
                    <a:gd name="connsiteY1616" fmla="*/ 3588 h 81130"/>
                    <a:gd name="connsiteX1617" fmla="*/ 47856 w 80482"/>
                    <a:gd name="connsiteY1617" fmla="*/ 6048 h 81130"/>
                    <a:gd name="connsiteX1618" fmla="*/ 46802 w 80482"/>
                    <a:gd name="connsiteY1618" fmla="*/ 6868 h 81130"/>
                    <a:gd name="connsiteX1619" fmla="*/ 46158 w 80482"/>
                    <a:gd name="connsiteY1619" fmla="*/ 5697 h 81130"/>
                    <a:gd name="connsiteX1620" fmla="*/ 46626 w 80482"/>
                    <a:gd name="connsiteY1620" fmla="*/ 3237 h 81130"/>
                    <a:gd name="connsiteX1621" fmla="*/ 47681 w 80482"/>
                    <a:gd name="connsiteY1621" fmla="*/ 2417 h 81130"/>
                    <a:gd name="connsiteX1622" fmla="*/ 45045 w 80482"/>
                    <a:gd name="connsiteY1622" fmla="*/ 2007 h 81130"/>
                    <a:gd name="connsiteX1623" fmla="*/ 45045 w 80482"/>
                    <a:gd name="connsiteY1623" fmla="*/ 1890 h 81130"/>
                    <a:gd name="connsiteX1624" fmla="*/ 45045 w 80482"/>
                    <a:gd name="connsiteY1624" fmla="*/ 2007 h 81130"/>
                    <a:gd name="connsiteX1625" fmla="*/ 45748 w 80482"/>
                    <a:gd name="connsiteY1625" fmla="*/ 3120 h 81130"/>
                    <a:gd name="connsiteX1626" fmla="*/ 45455 w 80482"/>
                    <a:gd name="connsiteY1626" fmla="*/ 5638 h 81130"/>
                    <a:gd name="connsiteX1627" fmla="*/ 44459 w 80482"/>
                    <a:gd name="connsiteY1627" fmla="*/ 6517 h 81130"/>
                    <a:gd name="connsiteX1628" fmla="*/ 43756 w 80482"/>
                    <a:gd name="connsiteY1628" fmla="*/ 5404 h 81130"/>
                    <a:gd name="connsiteX1629" fmla="*/ 44107 w 80482"/>
                    <a:gd name="connsiteY1629" fmla="*/ 2885 h 81130"/>
                    <a:gd name="connsiteX1630" fmla="*/ 45045 w 80482"/>
                    <a:gd name="connsiteY1630" fmla="*/ 2007 h 81130"/>
                    <a:gd name="connsiteX1631" fmla="*/ 42350 w 80482"/>
                    <a:gd name="connsiteY1631" fmla="*/ 1773 h 81130"/>
                    <a:gd name="connsiteX1632" fmla="*/ 42350 w 80482"/>
                    <a:gd name="connsiteY1632" fmla="*/ 1655 h 81130"/>
                    <a:gd name="connsiteX1633" fmla="*/ 42350 w 80482"/>
                    <a:gd name="connsiteY1633" fmla="*/ 1773 h 81130"/>
                    <a:gd name="connsiteX1634" fmla="*/ 43170 w 80482"/>
                    <a:gd name="connsiteY1634" fmla="*/ 2827 h 81130"/>
                    <a:gd name="connsiteX1635" fmla="*/ 43053 w 80482"/>
                    <a:gd name="connsiteY1635" fmla="*/ 5345 h 81130"/>
                    <a:gd name="connsiteX1636" fmla="*/ 42116 w 80482"/>
                    <a:gd name="connsiteY1636" fmla="*/ 6282 h 81130"/>
                    <a:gd name="connsiteX1637" fmla="*/ 41296 w 80482"/>
                    <a:gd name="connsiteY1637" fmla="*/ 5228 h 81130"/>
                    <a:gd name="connsiteX1638" fmla="*/ 41413 w 80482"/>
                    <a:gd name="connsiteY1638" fmla="*/ 2710 h 81130"/>
                    <a:gd name="connsiteX1639" fmla="*/ 42350 w 80482"/>
                    <a:gd name="connsiteY1639" fmla="*/ 1773 h 81130"/>
                    <a:gd name="connsiteX1640" fmla="*/ 39714 w 80482"/>
                    <a:gd name="connsiteY1640" fmla="*/ 1714 h 81130"/>
                    <a:gd name="connsiteX1641" fmla="*/ 39714 w 80482"/>
                    <a:gd name="connsiteY1641" fmla="*/ 1597 h 81130"/>
                    <a:gd name="connsiteX1642" fmla="*/ 39714 w 80482"/>
                    <a:gd name="connsiteY1642" fmla="*/ 1714 h 81130"/>
                    <a:gd name="connsiteX1643" fmla="*/ 40593 w 80482"/>
                    <a:gd name="connsiteY1643" fmla="*/ 2710 h 81130"/>
                    <a:gd name="connsiteX1644" fmla="*/ 40652 w 80482"/>
                    <a:gd name="connsiteY1644" fmla="*/ 5228 h 81130"/>
                    <a:gd name="connsiteX1645" fmla="*/ 39773 w 80482"/>
                    <a:gd name="connsiteY1645" fmla="*/ 6224 h 81130"/>
                    <a:gd name="connsiteX1646" fmla="*/ 38894 w 80482"/>
                    <a:gd name="connsiteY1646" fmla="*/ 5228 h 81130"/>
                    <a:gd name="connsiteX1647" fmla="*/ 38894 w 80482"/>
                    <a:gd name="connsiteY1647" fmla="*/ 2710 h 81130"/>
                    <a:gd name="connsiteX1648" fmla="*/ 39714 w 80482"/>
                    <a:gd name="connsiteY1648" fmla="*/ 1714 h 81130"/>
                    <a:gd name="connsiteX1649" fmla="*/ 37020 w 80482"/>
                    <a:gd name="connsiteY1649" fmla="*/ 1890 h 81130"/>
                    <a:gd name="connsiteX1650" fmla="*/ 37020 w 80482"/>
                    <a:gd name="connsiteY1650" fmla="*/ 1773 h 81130"/>
                    <a:gd name="connsiteX1651" fmla="*/ 37020 w 80482"/>
                    <a:gd name="connsiteY1651" fmla="*/ 1890 h 81130"/>
                    <a:gd name="connsiteX1652" fmla="*/ 37957 w 80482"/>
                    <a:gd name="connsiteY1652" fmla="*/ 2827 h 81130"/>
                    <a:gd name="connsiteX1653" fmla="*/ 38191 w 80482"/>
                    <a:gd name="connsiteY1653" fmla="*/ 5345 h 81130"/>
                    <a:gd name="connsiteX1654" fmla="*/ 37430 w 80482"/>
                    <a:gd name="connsiteY1654" fmla="*/ 6399 h 81130"/>
                    <a:gd name="connsiteX1655" fmla="*/ 36493 w 80482"/>
                    <a:gd name="connsiteY1655" fmla="*/ 5462 h 81130"/>
                    <a:gd name="connsiteX1656" fmla="*/ 36317 w 80482"/>
                    <a:gd name="connsiteY1656" fmla="*/ 2944 h 81130"/>
                    <a:gd name="connsiteX1657" fmla="*/ 37020 w 80482"/>
                    <a:gd name="connsiteY1657" fmla="*/ 1890 h 81130"/>
                    <a:gd name="connsiteX1658" fmla="*/ 34384 w 80482"/>
                    <a:gd name="connsiteY1658" fmla="*/ 2183 h 81130"/>
                    <a:gd name="connsiteX1659" fmla="*/ 34384 w 80482"/>
                    <a:gd name="connsiteY1659" fmla="*/ 2065 h 81130"/>
                    <a:gd name="connsiteX1660" fmla="*/ 34384 w 80482"/>
                    <a:gd name="connsiteY1660" fmla="*/ 2183 h 81130"/>
                    <a:gd name="connsiteX1661" fmla="*/ 35380 w 80482"/>
                    <a:gd name="connsiteY1661" fmla="*/ 3061 h 81130"/>
                    <a:gd name="connsiteX1662" fmla="*/ 35790 w 80482"/>
                    <a:gd name="connsiteY1662" fmla="*/ 5579 h 81130"/>
                    <a:gd name="connsiteX1663" fmla="*/ 35087 w 80482"/>
                    <a:gd name="connsiteY1663" fmla="*/ 6692 h 81130"/>
                    <a:gd name="connsiteX1664" fmla="*/ 34091 w 80482"/>
                    <a:gd name="connsiteY1664" fmla="*/ 5814 h 81130"/>
                    <a:gd name="connsiteX1665" fmla="*/ 33740 w 80482"/>
                    <a:gd name="connsiteY1665" fmla="*/ 3295 h 81130"/>
                    <a:gd name="connsiteX1666" fmla="*/ 34384 w 80482"/>
                    <a:gd name="connsiteY1666" fmla="*/ 2183 h 81130"/>
                    <a:gd name="connsiteX1667" fmla="*/ 31748 w 80482"/>
                    <a:gd name="connsiteY1667" fmla="*/ 2710 h 81130"/>
                    <a:gd name="connsiteX1668" fmla="*/ 31748 w 80482"/>
                    <a:gd name="connsiteY1668" fmla="*/ 2593 h 81130"/>
                    <a:gd name="connsiteX1669" fmla="*/ 31748 w 80482"/>
                    <a:gd name="connsiteY1669" fmla="*/ 2710 h 81130"/>
                    <a:gd name="connsiteX1670" fmla="*/ 32802 w 80482"/>
                    <a:gd name="connsiteY1670" fmla="*/ 3471 h 81130"/>
                    <a:gd name="connsiteX1671" fmla="*/ 33330 w 80482"/>
                    <a:gd name="connsiteY1671" fmla="*/ 5931 h 81130"/>
                    <a:gd name="connsiteX1672" fmla="*/ 32685 w 80482"/>
                    <a:gd name="connsiteY1672" fmla="*/ 7102 h 81130"/>
                    <a:gd name="connsiteX1673" fmla="*/ 31631 w 80482"/>
                    <a:gd name="connsiteY1673" fmla="*/ 6341 h 81130"/>
                    <a:gd name="connsiteX1674" fmla="*/ 31104 w 80482"/>
                    <a:gd name="connsiteY1674" fmla="*/ 3881 h 81130"/>
                    <a:gd name="connsiteX1675" fmla="*/ 31748 w 80482"/>
                    <a:gd name="connsiteY1675" fmla="*/ 2710 h 81130"/>
                    <a:gd name="connsiteX1676" fmla="*/ 29171 w 80482"/>
                    <a:gd name="connsiteY1676" fmla="*/ 3412 h 81130"/>
                    <a:gd name="connsiteX1677" fmla="*/ 29112 w 80482"/>
                    <a:gd name="connsiteY1677" fmla="*/ 3295 h 81130"/>
                    <a:gd name="connsiteX1678" fmla="*/ 29171 w 80482"/>
                    <a:gd name="connsiteY1678" fmla="*/ 3412 h 81130"/>
                    <a:gd name="connsiteX1679" fmla="*/ 30284 w 80482"/>
                    <a:gd name="connsiteY1679" fmla="*/ 4115 h 81130"/>
                    <a:gd name="connsiteX1680" fmla="*/ 30987 w 80482"/>
                    <a:gd name="connsiteY1680" fmla="*/ 6517 h 81130"/>
                    <a:gd name="connsiteX1681" fmla="*/ 30459 w 80482"/>
                    <a:gd name="connsiteY1681" fmla="*/ 7746 h 81130"/>
                    <a:gd name="connsiteX1682" fmla="*/ 29346 w 80482"/>
                    <a:gd name="connsiteY1682" fmla="*/ 7044 h 81130"/>
                    <a:gd name="connsiteX1683" fmla="*/ 28643 w 80482"/>
                    <a:gd name="connsiteY1683" fmla="*/ 4642 h 81130"/>
                    <a:gd name="connsiteX1684" fmla="*/ 29171 w 80482"/>
                    <a:gd name="connsiteY1684" fmla="*/ 3412 h 81130"/>
                    <a:gd name="connsiteX1685" fmla="*/ 26593 w 80482"/>
                    <a:gd name="connsiteY1685" fmla="*/ 4115 h 81130"/>
                    <a:gd name="connsiteX1686" fmla="*/ 26652 w 80482"/>
                    <a:gd name="connsiteY1686" fmla="*/ 4232 h 81130"/>
                    <a:gd name="connsiteX1687" fmla="*/ 27823 w 80482"/>
                    <a:gd name="connsiteY1687" fmla="*/ 4877 h 81130"/>
                    <a:gd name="connsiteX1688" fmla="*/ 28702 w 80482"/>
                    <a:gd name="connsiteY1688" fmla="*/ 7219 h 81130"/>
                    <a:gd name="connsiteX1689" fmla="*/ 28233 w 80482"/>
                    <a:gd name="connsiteY1689" fmla="*/ 8449 h 81130"/>
                    <a:gd name="connsiteX1690" fmla="*/ 27062 w 80482"/>
                    <a:gd name="connsiteY1690" fmla="*/ 7805 h 81130"/>
                    <a:gd name="connsiteX1691" fmla="*/ 26183 w 80482"/>
                    <a:gd name="connsiteY1691" fmla="*/ 5462 h 81130"/>
                    <a:gd name="connsiteX1692" fmla="*/ 26652 w 80482"/>
                    <a:gd name="connsiteY1692" fmla="*/ 4232 h 81130"/>
                    <a:gd name="connsiteX1693" fmla="*/ 26593 w 80482"/>
                    <a:gd name="connsiteY1693" fmla="*/ 4115 h 81130"/>
                    <a:gd name="connsiteX1694" fmla="*/ 24133 w 80482"/>
                    <a:gd name="connsiteY1694" fmla="*/ 5169 h 81130"/>
                    <a:gd name="connsiteX1695" fmla="*/ 24192 w 80482"/>
                    <a:gd name="connsiteY1695" fmla="*/ 5287 h 81130"/>
                    <a:gd name="connsiteX1696" fmla="*/ 25363 w 80482"/>
                    <a:gd name="connsiteY1696" fmla="*/ 5814 h 81130"/>
                    <a:gd name="connsiteX1697" fmla="*/ 26418 w 80482"/>
                    <a:gd name="connsiteY1697" fmla="*/ 8098 h 81130"/>
                    <a:gd name="connsiteX1698" fmla="*/ 26066 w 80482"/>
                    <a:gd name="connsiteY1698" fmla="*/ 9386 h 81130"/>
                    <a:gd name="connsiteX1699" fmla="*/ 24895 w 80482"/>
                    <a:gd name="connsiteY1699" fmla="*/ 8859 h 81130"/>
                    <a:gd name="connsiteX1700" fmla="*/ 23840 w 80482"/>
                    <a:gd name="connsiteY1700" fmla="*/ 6575 h 81130"/>
                    <a:gd name="connsiteX1701" fmla="*/ 24192 w 80482"/>
                    <a:gd name="connsiteY1701" fmla="*/ 5287 h 81130"/>
                    <a:gd name="connsiteX1702" fmla="*/ 24133 w 80482"/>
                    <a:gd name="connsiteY1702" fmla="*/ 5169 h 81130"/>
                    <a:gd name="connsiteX1703" fmla="*/ 21732 w 80482"/>
                    <a:gd name="connsiteY1703" fmla="*/ 6399 h 81130"/>
                    <a:gd name="connsiteX1704" fmla="*/ 21790 w 80482"/>
                    <a:gd name="connsiteY1704" fmla="*/ 6517 h 81130"/>
                    <a:gd name="connsiteX1705" fmla="*/ 23020 w 80482"/>
                    <a:gd name="connsiteY1705" fmla="*/ 6985 h 81130"/>
                    <a:gd name="connsiteX1706" fmla="*/ 24250 w 80482"/>
                    <a:gd name="connsiteY1706" fmla="*/ 9211 h 81130"/>
                    <a:gd name="connsiteX1707" fmla="*/ 23957 w 80482"/>
                    <a:gd name="connsiteY1707" fmla="*/ 10499 h 81130"/>
                    <a:gd name="connsiteX1708" fmla="*/ 22727 w 80482"/>
                    <a:gd name="connsiteY1708" fmla="*/ 10031 h 81130"/>
                    <a:gd name="connsiteX1709" fmla="*/ 21497 w 80482"/>
                    <a:gd name="connsiteY1709" fmla="*/ 7805 h 81130"/>
                    <a:gd name="connsiteX1710" fmla="*/ 21790 w 80482"/>
                    <a:gd name="connsiteY1710" fmla="*/ 6517 h 81130"/>
                    <a:gd name="connsiteX1711" fmla="*/ 21732 w 80482"/>
                    <a:gd name="connsiteY1711" fmla="*/ 6399 h 81130"/>
                    <a:gd name="connsiteX1712" fmla="*/ 19389 w 80482"/>
                    <a:gd name="connsiteY1712" fmla="*/ 7805 h 81130"/>
                    <a:gd name="connsiteX1713" fmla="*/ 19447 w 80482"/>
                    <a:gd name="connsiteY1713" fmla="*/ 7922 h 81130"/>
                    <a:gd name="connsiteX1714" fmla="*/ 20677 w 80482"/>
                    <a:gd name="connsiteY1714" fmla="*/ 8274 h 81130"/>
                    <a:gd name="connsiteX1715" fmla="*/ 22024 w 80482"/>
                    <a:gd name="connsiteY1715" fmla="*/ 10382 h 81130"/>
                    <a:gd name="connsiteX1716" fmla="*/ 21849 w 80482"/>
                    <a:gd name="connsiteY1716" fmla="*/ 11670 h 81130"/>
                    <a:gd name="connsiteX1717" fmla="*/ 20619 w 80482"/>
                    <a:gd name="connsiteY1717" fmla="*/ 11319 h 81130"/>
                    <a:gd name="connsiteX1718" fmla="*/ 19271 w 80482"/>
                    <a:gd name="connsiteY1718" fmla="*/ 9211 h 81130"/>
                    <a:gd name="connsiteX1719" fmla="*/ 19447 w 80482"/>
                    <a:gd name="connsiteY1719" fmla="*/ 7922 h 81130"/>
                    <a:gd name="connsiteX1720" fmla="*/ 19389 w 80482"/>
                    <a:gd name="connsiteY1720" fmla="*/ 7805 h 81130"/>
                    <a:gd name="connsiteX1721" fmla="*/ 17280 w 80482"/>
                    <a:gd name="connsiteY1721" fmla="*/ 9445 h 81130"/>
                    <a:gd name="connsiteX1722" fmla="*/ 18569 w 80482"/>
                    <a:gd name="connsiteY1722" fmla="*/ 9738 h 81130"/>
                    <a:gd name="connsiteX1723" fmla="*/ 20091 w 80482"/>
                    <a:gd name="connsiteY1723" fmla="*/ 11788 h 81130"/>
                    <a:gd name="connsiteX1724" fmla="*/ 19974 w 80482"/>
                    <a:gd name="connsiteY1724" fmla="*/ 13135 h 81130"/>
                    <a:gd name="connsiteX1725" fmla="*/ 18686 w 80482"/>
                    <a:gd name="connsiteY1725" fmla="*/ 12842 h 81130"/>
                    <a:gd name="connsiteX1726" fmla="*/ 17163 w 80482"/>
                    <a:gd name="connsiteY1726" fmla="*/ 10792 h 81130"/>
                    <a:gd name="connsiteX1727" fmla="*/ 17280 w 80482"/>
                    <a:gd name="connsiteY1727" fmla="*/ 9445 h 81130"/>
                    <a:gd name="connsiteX1728" fmla="*/ 17221 w 80482"/>
                    <a:gd name="connsiteY1728" fmla="*/ 9328 h 81130"/>
                    <a:gd name="connsiteX1729" fmla="*/ 17280 w 80482"/>
                    <a:gd name="connsiteY1729" fmla="*/ 9445 h 81130"/>
                    <a:gd name="connsiteX1730" fmla="*/ 15171 w 80482"/>
                    <a:gd name="connsiteY1730" fmla="*/ 11143 h 81130"/>
                    <a:gd name="connsiteX1731" fmla="*/ 16460 w 80482"/>
                    <a:gd name="connsiteY1731" fmla="*/ 11319 h 81130"/>
                    <a:gd name="connsiteX1732" fmla="*/ 18100 w 80482"/>
                    <a:gd name="connsiteY1732" fmla="*/ 13252 h 81130"/>
                    <a:gd name="connsiteX1733" fmla="*/ 18100 w 80482"/>
                    <a:gd name="connsiteY1733" fmla="*/ 14599 h 81130"/>
                    <a:gd name="connsiteX1734" fmla="*/ 16811 w 80482"/>
                    <a:gd name="connsiteY1734" fmla="*/ 14423 h 81130"/>
                    <a:gd name="connsiteX1735" fmla="*/ 15171 w 80482"/>
                    <a:gd name="connsiteY1735" fmla="*/ 12490 h 81130"/>
                    <a:gd name="connsiteX1736" fmla="*/ 15171 w 80482"/>
                    <a:gd name="connsiteY1736" fmla="*/ 11143 h 81130"/>
                    <a:gd name="connsiteX1737" fmla="*/ 15113 w 80482"/>
                    <a:gd name="connsiteY1737" fmla="*/ 11026 h 81130"/>
                    <a:gd name="connsiteX1738" fmla="*/ 15171 w 80482"/>
                    <a:gd name="connsiteY1738" fmla="*/ 11143 h 81130"/>
                    <a:gd name="connsiteX1739" fmla="*/ 13238 w 80482"/>
                    <a:gd name="connsiteY1739" fmla="*/ 12959 h 81130"/>
                    <a:gd name="connsiteX1740" fmla="*/ 14527 w 80482"/>
                    <a:gd name="connsiteY1740" fmla="*/ 13076 h 81130"/>
                    <a:gd name="connsiteX1741" fmla="*/ 16284 w 80482"/>
                    <a:gd name="connsiteY1741" fmla="*/ 14892 h 81130"/>
                    <a:gd name="connsiteX1742" fmla="*/ 16401 w 80482"/>
                    <a:gd name="connsiteY1742" fmla="*/ 16239 h 81130"/>
                    <a:gd name="connsiteX1743" fmla="*/ 15113 w 80482"/>
                    <a:gd name="connsiteY1743" fmla="*/ 16121 h 81130"/>
                    <a:gd name="connsiteX1744" fmla="*/ 13355 w 80482"/>
                    <a:gd name="connsiteY1744" fmla="*/ 14306 h 81130"/>
                    <a:gd name="connsiteX1745" fmla="*/ 13238 w 80482"/>
                    <a:gd name="connsiteY1745" fmla="*/ 12959 h 81130"/>
                    <a:gd name="connsiteX1746" fmla="*/ 13121 w 80482"/>
                    <a:gd name="connsiteY1746" fmla="*/ 12842 h 81130"/>
                    <a:gd name="connsiteX1747" fmla="*/ 13238 w 80482"/>
                    <a:gd name="connsiteY1747" fmla="*/ 12959 h 81130"/>
                    <a:gd name="connsiteX1748" fmla="*/ 11364 w 80482"/>
                    <a:gd name="connsiteY1748" fmla="*/ 14950 h 81130"/>
                    <a:gd name="connsiteX1749" fmla="*/ 12652 w 80482"/>
                    <a:gd name="connsiteY1749" fmla="*/ 14950 h 81130"/>
                    <a:gd name="connsiteX1750" fmla="*/ 14527 w 80482"/>
                    <a:gd name="connsiteY1750" fmla="*/ 16590 h 81130"/>
                    <a:gd name="connsiteX1751" fmla="*/ 14702 w 80482"/>
                    <a:gd name="connsiteY1751" fmla="*/ 17878 h 81130"/>
                    <a:gd name="connsiteX1752" fmla="*/ 13414 w 80482"/>
                    <a:gd name="connsiteY1752" fmla="*/ 17878 h 81130"/>
                    <a:gd name="connsiteX1753" fmla="*/ 11539 w 80482"/>
                    <a:gd name="connsiteY1753" fmla="*/ 16239 h 81130"/>
                    <a:gd name="connsiteX1754" fmla="*/ 11364 w 80482"/>
                    <a:gd name="connsiteY1754" fmla="*/ 14950 h 81130"/>
                    <a:gd name="connsiteX1755" fmla="*/ 11247 w 80482"/>
                    <a:gd name="connsiteY1755" fmla="*/ 14892 h 81130"/>
                    <a:gd name="connsiteX1756" fmla="*/ 11364 w 80482"/>
                    <a:gd name="connsiteY1756" fmla="*/ 14950 h 81130"/>
                    <a:gd name="connsiteX1757" fmla="*/ 9665 w 80482"/>
                    <a:gd name="connsiteY1757" fmla="*/ 17000 h 81130"/>
                    <a:gd name="connsiteX1758" fmla="*/ 10954 w 80482"/>
                    <a:gd name="connsiteY1758" fmla="*/ 16941 h 81130"/>
                    <a:gd name="connsiteX1759" fmla="*/ 12945 w 80482"/>
                    <a:gd name="connsiteY1759" fmla="*/ 18464 h 81130"/>
                    <a:gd name="connsiteX1760" fmla="*/ 13238 w 80482"/>
                    <a:gd name="connsiteY1760" fmla="*/ 19753 h 81130"/>
                    <a:gd name="connsiteX1761" fmla="*/ 11949 w 80482"/>
                    <a:gd name="connsiteY1761" fmla="*/ 19811 h 81130"/>
                    <a:gd name="connsiteX1762" fmla="*/ 9958 w 80482"/>
                    <a:gd name="connsiteY1762" fmla="*/ 18288 h 81130"/>
                    <a:gd name="connsiteX1763" fmla="*/ 9665 w 80482"/>
                    <a:gd name="connsiteY1763" fmla="*/ 17000 h 81130"/>
                    <a:gd name="connsiteX1764" fmla="*/ 9548 w 80482"/>
                    <a:gd name="connsiteY1764" fmla="*/ 16941 h 81130"/>
                    <a:gd name="connsiteX1765" fmla="*/ 9665 w 80482"/>
                    <a:gd name="connsiteY1765" fmla="*/ 17000 h 81130"/>
                    <a:gd name="connsiteX1766" fmla="*/ 8142 w 80482"/>
                    <a:gd name="connsiteY1766" fmla="*/ 19225 h 81130"/>
                    <a:gd name="connsiteX1767" fmla="*/ 9431 w 80482"/>
                    <a:gd name="connsiteY1767" fmla="*/ 19050 h 81130"/>
                    <a:gd name="connsiteX1768" fmla="*/ 11539 w 80482"/>
                    <a:gd name="connsiteY1768" fmla="*/ 20455 h 81130"/>
                    <a:gd name="connsiteX1769" fmla="*/ 11891 w 80482"/>
                    <a:gd name="connsiteY1769" fmla="*/ 21744 h 81130"/>
                    <a:gd name="connsiteX1770" fmla="*/ 10602 w 80482"/>
                    <a:gd name="connsiteY1770" fmla="*/ 21920 h 81130"/>
                    <a:gd name="connsiteX1771" fmla="*/ 8493 w 80482"/>
                    <a:gd name="connsiteY1771" fmla="*/ 20514 h 81130"/>
                    <a:gd name="connsiteX1772" fmla="*/ 8142 w 80482"/>
                    <a:gd name="connsiteY1772" fmla="*/ 19225 h 81130"/>
                    <a:gd name="connsiteX1773" fmla="*/ 8025 w 80482"/>
                    <a:gd name="connsiteY1773" fmla="*/ 19167 h 81130"/>
                    <a:gd name="connsiteX1774" fmla="*/ 8142 w 80482"/>
                    <a:gd name="connsiteY1774" fmla="*/ 19225 h 81130"/>
                    <a:gd name="connsiteX1775" fmla="*/ 6736 w 80482"/>
                    <a:gd name="connsiteY1775" fmla="*/ 21510 h 81130"/>
                    <a:gd name="connsiteX1776" fmla="*/ 8025 w 80482"/>
                    <a:gd name="connsiteY1776" fmla="*/ 21275 h 81130"/>
                    <a:gd name="connsiteX1777" fmla="*/ 10192 w 80482"/>
                    <a:gd name="connsiteY1777" fmla="*/ 22505 h 81130"/>
                    <a:gd name="connsiteX1778" fmla="*/ 10661 w 80482"/>
                    <a:gd name="connsiteY1778" fmla="*/ 23735 h 81130"/>
                    <a:gd name="connsiteX1779" fmla="*/ 9372 w 80482"/>
                    <a:gd name="connsiteY1779" fmla="*/ 23969 h 81130"/>
                    <a:gd name="connsiteX1780" fmla="*/ 7205 w 80482"/>
                    <a:gd name="connsiteY1780" fmla="*/ 22740 h 81130"/>
                    <a:gd name="connsiteX1781" fmla="*/ 6736 w 80482"/>
                    <a:gd name="connsiteY1781" fmla="*/ 21510 h 81130"/>
                    <a:gd name="connsiteX1782" fmla="*/ 6619 w 80482"/>
                    <a:gd name="connsiteY1782" fmla="*/ 21451 h 81130"/>
                    <a:gd name="connsiteX1783" fmla="*/ 6736 w 80482"/>
                    <a:gd name="connsiteY1783" fmla="*/ 21510 h 81130"/>
                    <a:gd name="connsiteX1784" fmla="*/ 5506 w 80482"/>
                    <a:gd name="connsiteY1784" fmla="*/ 23911 h 81130"/>
                    <a:gd name="connsiteX1785" fmla="*/ 6795 w 80482"/>
                    <a:gd name="connsiteY1785" fmla="*/ 23559 h 81130"/>
                    <a:gd name="connsiteX1786" fmla="*/ 9079 w 80482"/>
                    <a:gd name="connsiteY1786" fmla="*/ 24614 h 81130"/>
                    <a:gd name="connsiteX1787" fmla="*/ 9606 w 80482"/>
                    <a:gd name="connsiteY1787" fmla="*/ 25844 h 81130"/>
                    <a:gd name="connsiteX1788" fmla="*/ 8318 w 80482"/>
                    <a:gd name="connsiteY1788" fmla="*/ 26195 h 81130"/>
                    <a:gd name="connsiteX1789" fmla="*/ 6033 w 80482"/>
                    <a:gd name="connsiteY1789" fmla="*/ 25141 h 81130"/>
                    <a:gd name="connsiteX1790" fmla="*/ 5506 w 80482"/>
                    <a:gd name="connsiteY1790" fmla="*/ 23911 h 81130"/>
                    <a:gd name="connsiteX1791" fmla="*/ 5389 w 80482"/>
                    <a:gd name="connsiteY1791" fmla="*/ 23852 h 81130"/>
                    <a:gd name="connsiteX1792" fmla="*/ 5506 w 80482"/>
                    <a:gd name="connsiteY1792" fmla="*/ 23911 h 81130"/>
                    <a:gd name="connsiteX1793" fmla="*/ 4335 w 80482"/>
                    <a:gd name="connsiteY1793" fmla="*/ 26312 h 81130"/>
                    <a:gd name="connsiteX1794" fmla="*/ 4452 w 80482"/>
                    <a:gd name="connsiteY1794" fmla="*/ 26371 h 81130"/>
                    <a:gd name="connsiteX1795" fmla="*/ 5682 w 80482"/>
                    <a:gd name="connsiteY1795" fmla="*/ 25961 h 81130"/>
                    <a:gd name="connsiteX1796" fmla="*/ 8025 w 80482"/>
                    <a:gd name="connsiteY1796" fmla="*/ 26839 h 81130"/>
                    <a:gd name="connsiteX1797" fmla="*/ 8669 w 80482"/>
                    <a:gd name="connsiteY1797" fmla="*/ 28011 h 81130"/>
                    <a:gd name="connsiteX1798" fmla="*/ 7439 w 80482"/>
                    <a:gd name="connsiteY1798" fmla="*/ 28479 h 81130"/>
                    <a:gd name="connsiteX1799" fmla="*/ 5096 w 80482"/>
                    <a:gd name="connsiteY1799" fmla="*/ 27542 h 81130"/>
                    <a:gd name="connsiteX1800" fmla="*/ 4452 w 80482"/>
                    <a:gd name="connsiteY1800" fmla="*/ 26371 h 81130"/>
                    <a:gd name="connsiteX1801" fmla="*/ 4335 w 80482"/>
                    <a:gd name="connsiteY1801" fmla="*/ 26312 h 81130"/>
                    <a:gd name="connsiteX1802" fmla="*/ 3573 w 80482"/>
                    <a:gd name="connsiteY1802" fmla="*/ 28948 h 81130"/>
                    <a:gd name="connsiteX1803" fmla="*/ 3456 w 80482"/>
                    <a:gd name="connsiteY1803" fmla="*/ 28889 h 81130"/>
                    <a:gd name="connsiteX1804" fmla="*/ 3573 w 80482"/>
                    <a:gd name="connsiteY1804" fmla="*/ 28948 h 81130"/>
                    <a:gd name="connsiteX1805" fmla="*/ 4803 w 80482"/>
                    <a:gd name="connsiteY1805" fmla="*/ 28420 h 81130"/>
                    <a:gd name="connsiteX1806" fmla="*/ 7205 w 80482"/>
                    <a:gd name="connsiteY1806" fmla="*/ 29182 h 81130"/>
                    <a:gd name="connsiteX1807" fmla="*/ 7908 w 80482"/>
                    <a:gd name="connsiteY1807" fmla="*/ 30295 h 81130"/>
                    <a:gd name="connsiteX1808" fmla="*/ 6678 w 80482"/>
                    <a:gd name="connsiteY1808" fmla="*/ 30822 h 81130"/>
                    <a:gd name="connsiteX1809" fmla="*/ 4276 w 80482"/>
                    <a:gd name="connsiteY1809" fmla="*/ 30060 h 81130"/>
                    <a:gd name="connsiteX1810" fmla="*/ 3573 w 80482"/>
                    <a:gd name="connsiteY1810" fmla="*/ 28948 h 81130"/>
                    <a:gd name="connsiteX1811" fmla="*/ 2870 w 80482"/>
                    <a:gd name="connsiteY1811" fmla="*/ 31525 h 81130"/>
                    <a:gd name="connsiteX1812" fmla="*/ 2753 w 80482"/>
                    <a:gd name="connsiteY1812" fmla="*/ 31466 h 81130"/>
                    <a:gd name="connsiteX1813" fmla="*/ 2870 w 80482"/>
                    <a:gd name="connsiteY1813" fmla="*/ 31525 h 81130"/>
                    <a:gd name="connsiteX1814" fmla="*/ 4042 w 80482"/>
                    <a:gd name="connsiteY1814" fmla="*/ 30939 h 81130"/>
                    <a:gd name="connsiteX1815" fmla="*/ 6502 w 80482"/>
                    <a:gd name="connsiteY1815" fmla="*/ 31525 h 81130"/>
                    <a:gd name="connsiteX1816" fmla="*/ 7263 w 80482"/>
                    <a:gd name="connsiteY1816" fmla="*/ 32579 h 81130"/>
                    <a:gd name="connsiteX1817" fmla="*/ 6092 w 80482"/>
                    <a:gd name="connsiteY1817" fmla="*/ 33164 h 81130"/>
                    <a:gd name="connsiteX1818" fmla="*/ 3632 w 80482"/>
                    <a:gd name="connsiteY1818" fmla="*/ 32579 h 81130"/>
                    <a:gd name="connsiteX1819" fmla="*/ 2870 w 80482"/>
                    <a:gd name="connsiteY1819" fmla="*/ 31525 h 81130"/>
                    <a:gd name="connsiteX1820" fmla="*/ 2343 w 80482"/>
                    <a:gd name="connsiteY1820" fmla="*/ 34160 h 81130"/>
                    <a:gd name="connsiteX1821" fmla="*/ 2226 w 80482"/>
                    <a:gd name="connsiteY1821" fmla="*/ 34160 h 81130"/>
                    <a:gd name="connsiteX1822" fmla="*/ 2343 w 80482"/>
                    <a:gd name="connsiteY1822" fmla="*/ 34160 h 81130"/>
                    <a:gd name="connsiteX1823" fmla="*/ 3456 w 80482"/>
                    <a:gd name="connsiteY1823" fmla="*/ 33457 h 81130"/>
                    <a:gd name="connsiteX1824" fmla="*/ 5916 w 80482"/>
                    <a:gd name="connsiteY1824" fmla="*/ 33867 h 81130"/>
                    <a:gd name="connsiteX1825" fmla="*/ 6736 w 80482"/>
                    <a:gd name="connsiteY1825" fmla="*/ 34863 h 81130"/>
                    <a:gd name="connsiteX1826" fmla="*/ 5623 w 80482"/>
                    <a:gd name="connsiteY1826" fmla="*/ 35566 h 81130"/>
                    <a:gd name="connsiteX1827" fmla="*/ 3163 w 80482"/>
                    <a:gd name="connsiteY1827" fmla="*/ 35156 h 81130"/>
                    <a:gd name="connsiteX1828" fmla="*/ 2343 w 80482"/>
                    <a:gd name="connsiteY1828" fmla="*/ 34160 h 81130"/>
                    <a:gd name="connsiteX1829" fmla="*/ 1992 w 80482"/>
                    <a:gd name="connsiteY1829" fmla="*/ 36796 h 81130"/>
                    <a:gd name="connsiteX1830" fmla="*/ 1874 w 80482"/>
                    <a:gd name="connsiteY1830" fmla="*/ 36796 h 81130"/>
                    <a:gd name="connsiteX1831" fmla="*/ 1992 w 80482"/>
                    <a:gd name="connsiteY1831" fmla="*/ 36796 h 81130"/>
                    <a:gd name="connsiteX1832" fmla="*/ 3046 w 80482"/>
                    <a:gd name="connsiteY1832" fmla="*/ 36034 h 81130"/>
                    <a:gd name="connsiteX1833" fmla="*/ 5565 w 80482"/>
                    <a:gd name="connsiteY1833" fmla="*/ 36268 h 81130"/>
                    <a:gd name="connsiteX1834" fmla="*/ 6502 w 80482"/>
                    <a:gd name="connsiteY1834" fmla="*/ 37205 h 81130"/>
                    <a:gd name="connsiteX1835" fmla="*/ 5448 w 80482"/>
                    <a:gd name="connsiteY1835" fmla="*/ 37967 h 81130"/>
                    <a:gd name="connsiteX1836" fmla="*/ 2929 w 80482"/>
                    <a:gd name="connsiteY1836" fmla="*/ 37733 h 81130"/>
                    <a:gd name="connsiteX1837" fmla="*/ 1992 w 80482"/>
                    <a:gd name="connsiteY1837" fmla="*/ 36796 h 81130"/>
                    <a:gd name="connsiteX1838" fmla="*/ 1874 w 80482"/>
                    <a:gd name="connsiteY1838" fmla="*/ 39490 h 81130"/>
                    <a:gd name="connsiteX1839" fmla="*/ 1757 w 80482"/>
                    <a:gd name="connsiteY1839" fmla="*/ 39490 h 81130"/>
                    <a:gd name="connsiteX1840" fmla="*/ 1874 w 80482"/>
                    <a:gd name="connsiteY1840" fmla="*/ 39490 h 81130"/>
                    <a:gd name="connsiteX1841" fmla="*/ 2870 w 80482"/>
                    <a:gd name="connsiteY1841" fmla="*/ 38670 h 81130"/>
                    <a:gd name="connsiteX1842" fmla="*/ 5389 w 80482"/>
                    <a:gd name="connsiteY1842" fmla="*/ 38728 h 81130"/>
                    <a:gd name="connsiteX1843" fmla="*/ 6385 w 80482"/>
                    <a:gd name="connsiteY1843" fmla="*/ 39607 h 81130"/>
                    <a:gd name="connsiteX1844" fmla="*/ 5389 w 80482"/>
                    <a:gd name="connsiteY1844" fmla="*/ 40427 h 81130"/>
                    <a:gd name="connsiteX1845" fmla="*/ 2870 w 80482"/>
                    <a:gd name="connsiteY1845" fmla="*/ 40368 h 81130"/>
                    <a:gd name="connsiteX1846" fmla="*/ 1874 w 80482"/>
                    <a:gd name="connsiteY1846" fmla="*/ 39490 h 81130"/>
                    <a:gd name="connsiteX1847" fmla="*/ 1874 w 80482"/>
                    <a:gd name="connsiteY1847" fmla="*/ 42184 h 81130"/>
                    <a:gd name="connsiteX1848" fmla="*/ 1757 w 80482"/>
                    <a:gd name="connsiteY1848" fmla="*/ 42184 h 81130"/>
                    <a:gd name="connsiteX1849" fmla="*/ 1874 w 80482"/>
                    <a:gd name="connsiteY1849" fmla="*/ 42184 h 81130"/>
                    <a:gd name="connsiteX1850" fmla="*/ 2812 w 80482"/>
                    <a:gd name="connsiteY1850" fmla="*/ 41247 h 81130"/>
                    <a:gd name="connsiteX1851" fmla="*/ 5330 w 80482"/>
                    <a:gd name="connsiteY1851" fmla="*/ 41129 h 81130"/>
                    <a:gd name="connsiteX1852" fmla="*/ 6385 w 80482"/>
                    <a:gd name="connsiteY1852" fmla="*/ 41949 h 81130"/>
                    <a:gd name="connsiteX1853" fmla="*/ 5448 w 80482"/>
                    <a:gd name="connsiteY1853" fmla="*/ 42828 h 81130"/>
                    <a:gd name="connsiteX1854" fmla="*/ 2929 w 80482"/>
                    <a:gd name="connsiteY1854" fmla="*/ 42945 h 81130"/>
                    <a:gd name="connsiteX1855" fmla="*/ 1874 w 80482"/>
                    <a:gd name="connsiteY1855" fmla="*/ 42184 h 81130"/>
                    <a:gd name="connsiteX1856" fmla="*/ 2109 w 80482"/>
                    <a:gd name="connsiteY1856" fmla="*/ 44878 h 81130"/>
                    <a:gd name="connsiteX1857" fmla="*/ 1992 w 80482"/>
                    <a:gd name="connsiteY1857" fmla="*/ 44878 h 81130"/>
                    <a:gd name="connsiteX1858" fmla="*/ 2109 w 80482"/>
                    <a:gd name="connsiteY1858" fmla="*/ 44878 h 81130"/>
                    <a:gd name="connsiteX1859" fmla="*/ 2987 w 80482"/>
                    <a:gd name="connsiteY1859" fmla="*/ 43882 h 81130"/>
                    <a:gd name="connsiteX1860" fmla="*/ 5506 w 80482"/>
                    <a:gd name="connsiteY1860" fmla="*/ 43589 h 81130"/>
                    <a:gd name="connsiteX1861" fmla="*/ 6619 w 80482"/>
                    <a:gd name="connsiteY1861" fmla="*/ 44351 h 81130"/>
                    <a:gd name="connsiteX1862" fmla="*/ 5740 w 80482"/>
                    <a:gd name="connsiteY1862" fmla="*/ 45346 h 81130"/>
                    <a:gd name="connsiteX1863" fmla="*/ 3222 w 80482"/>
                    <a:gd name="connsiteY1863" fmla="*/ 45639 h 81130"/>
                    <a:gd name="connsiteX1864" fmla="*/ 2109 w 80482"/>
                    <a:gd name="connsiteY1864" fmla="*/ 44878 h 81130"/>
                    <a:gd name="connsiteX1865" fmla="*/ 2519 w 80482"/>
                    <a:gd name="connsiteY1865" fmla="*/ 47513 h 81130"/>
                    <a:gd name="connsiteX1866" fmla="*/ 2402 w 80482"/>
                    <a:gd name="connsiteY1866" fmla="*/ 47513 h 81130"/>
                    <a:gd name="connsiteX1867" fmla="*/ 2519 w 80482"/>
                    <a:gd name="connsiteY1867" fmla="*/ 47513 h 81130"/>
                    <a:gd name="connsiteX1868" fmla="*/ 3339 w 80482"/>
                    <a:gd name="connsiteY1868" fmla="*/ 46459 h 81130"/>
                    <a:gd name="connsiteX1869" fmla="*/ 5799 w 80482"/>
                    <a:gd name="connsiteY1869" fmla="*/ 45990 h 81130"/>
                    <a:gd name="connsiteX1870" fmla="*/ 6971 w 80482"/>
                    <a:gd name="connsiteY1870" fmla="*/ 46635 h 81130"/>
                    <a:gd name="connsiteX1871" fmla="*/ 6150 w 80482"/>
                    <a:gd name="connsiteY1871" fmla="*/ 47689 h 81130"/>
                    <a:gd name="connsiteX1872" fmla="*/ 3690 w 80482"/>
                    <a:gd name="connsiteY1872" fmla="*/ 48157 h 81130"/>
                    <a:gd name="connsiteX1873" fmla="*/ 2519 w 80482"/>
                    <a:gd name="connsiteY1873" fmla="*/ 47513 h 81130"/>
                    <a:gd name="connsiteX1874" fmla="*/ 4276 w 80482"/>
                    <a:gd name="connsiteY1874" fmla="*/ 50676 h 81130"/>
                    <a:gd name="connsiteX1875" fmla="*/ 3105 w 80482"/>
                    <a:gd name="connsiteY1875" fmla="*/ 50090 h 81130"/>
                    <a:gd name="connsiteX1876" fmla="*/ 2987 w 80482"/>
                    <a:gd name="connsiteY1876" fmla="*/ 50090 h 81130"/>
                    <a:gd name="connsiteX1877" fmla="*/ 3105 w 80482"/>
                    <a:gd name="connsiteY1877" fmla="*/ 50032 h 81130"/>
                    <a:gd name="connsiteX1878" fmla="*/ 3866 w 80482"/>
                    <a:gd name="connsiteY1878" fmla="*/ 48977 h 81130"/>
                    <a:gd name="connsiteX1879" fmla="*/ 6326 w 80482"/>
                    <a:gd name="connsiteY1879" fmla="*/ 48333 h 81130"/>
                    <a:gd name="connsiteX1880" fmla="*/ 7498 w 80482"/>
                    <a:gd name="connsiteY1880" fmla="*/ 48919 h 81130"/>
                    <a:gd name="connsiteX1881" fmla="*/ 6736 w 80482"/>
                    <a:gd name="connsiteY1881" fmla="*/ 50032 h 81130"/>
                    <a:gd name="connsiteX1882" fmla="*/ 4276 w 80482"/>
                    <a:gd name="connsiteY1882" fmla="*/ 50676 h 81130"/>
                    <a:gd name="connsiteX1883" fmla="*/ 5096 w 80482"/>
                    <a:gd name="connsiteY1883" fmla="*/ 53194 h 81130"/>
                    <a:gd name="connsiteX1884" fmla="*/ 3866 w 80482"/>
                    <a:gd name="connsiteY1884" fmla="*/ 52726 h 81130"/>
                    <a:gd name="connsiteX1885" fmla="*/ 3749 w 80482"/>
                    <a:gd name="connsiteY1885" fmla="*/ 52784 h 81130"/>
                    <a:gd name="connsiteX1886" fmla="*/ 3866 w 80482"/>
                    <a:gd name="connsiteY1886" fmla="*/ 52726 h 81130"/>
                    <a:gd name="connsiteX1887" fmla="*/ 4569 w 80482"/>
                    <a:gd name="connsiteY1887" fmla="*/ 51613 h 81130"/>
                    <a:gd name="connsiteX1888" fmla="*/ 6971 w 80482"/>
                    <a:gd name="connsiteY1888" fmla="*/ 50793 h 81130"/>
                    <a:gd name="connsiteX1889" fmla="*/ 8201 w 80482"/>
                    <a:gd name="connsiteY1889" fmla="*/ 51261 h 81130"/>
                    <a:gd name="connsiteX1890" fmla="*/ 7556 w 80482"/>
                    <a:gd name="connsiteY1890" fmla="*/ 52374 h 81130"/>
                    <a:gd name="connsiteX1891" fmla="*/ 5096 w 80482"/>
                    <a:gd name="connsiteY1891" fmla="*/ 53194 h 81130"/>
                    <a:gd name="connsiteX1892" fmla="*/ 4803 w 80482"/>
                    <a:gd name="connsiteY1892" fmla="*/ 55186 h 81130"/>
                    <a:gd name="connsiteX1893" fmla="*/ 4686 w 80482"/>
                    <a:gd name="connsiteY1893" fmla="*/ 55244 h 81130"/>
                    <a:gd name="connsiteX1894" fmla="*/ 4803 w 80482"/>
                    <a:gd name="connsiteY1894" fmla="*/ 55186 h 81130"/>
                    <a:gd name="connsiteX1895" fmla="*/ 5389 w 80482"/>
                    <a:gd name="connsiteY1895" fmla="*/ 54014 h 81130"/>
                    <a:gd name="connsiteX1896" fmla="*/ 7732 w 80482"/>
                    <a:gd name="connsiteY1896" fmla="*/ 53018 h 81130"/>
                    <a:gd name="connsiteX1897" fmla="*/ 8962 w 80482"/>
                    <a:gd name="connsiteY1897" fmla="*/ 53429 h 81130"/>
                    <a:gd name="connsiteX1898" fmla="*/ 8376 w 80482"/>
                    <a:gd name="connsiteY1898" fmla="*/ 54600 h 81130"/>
                    <a:gd name="connsiteX1899" fmla="*/ 6033 w 80482"/>
                    <a:gd name="connsiteY1899" fmla="*/ 55595 h 81130"/>
                    <a:gd name="connsiteX1900" fmla="*/ 4803 w 80482"/>
                    <a:gd name="connsiteY1900" fmla="*/ 55186 h 81130"/>
                    <a:gd name="connsiteX1901" fmla="*/ 5916 w 80482"/>
                    <a:gd name="connsiteY1901" fmla="*/ 57645 h 81130"/>
                    <a:gd name="connsiteX1902" fmla="*/ 5799 w 80482"/>
                    <a:gd name="connsiteY1902" fmla="*/ 57704 h 81130"/>
                    <a:gd name="connsiteX1903" fmla="*/ 5916 w 80482"/>
                    <a:gd name="connsiteY1903" fmla="*/ 57645 h 81130"/>
                    <a:gd name="connsiteX1904" fmla="*/ 6443 w 80482"/>
                    <a:gd name="connsiteY1904" fmla="*/ 56415 h 81130"/>
                    <a:gd name="connsiteX1905" fmla="*/ 8669 w 80482"/>
                    <a:gd name="connsiteY1905" fmla="*/ 55244 h 81130"/>
                    <a:gd name="connsiteX1906" fmla="*/ 9958 w 80482"/>
                    <a:gd name="connsiteY1906" fmla="*/ 55537 h 81130"/>
                    <a:gd name="connsiteX1907" fmla="*/ 9431 w 80482"/>
                    <a:gd name="connsiteY1907" fmla="*/ 56767 h 81130"/>
                    <a:gd name="connsiteX1908" fmla="*/ 7205 w 80482"/>
                    <a:gd name="connsiteY1908" fmla="*/ 57938 h 81130"/>
                    <a:gd name="connsiteX1909" fmla="*/ 5916 w 80482"/>
                    <a:gd name="connsiteY1909" fmla="*/ 57645 h 81130"/>
                    <a:gd name="connsiteX1910" fmla="*/ 7205 w 80482"/>
                    <a:gd name="connsiteY1910" fmla="*/ 59988 h 81130"/>
                    <a:gd name="connsiteX1911" fmla="*/ 7088 w 80482"/>
                    <a:gd name="connsiteY1911" fmla="*/ 60047 h 81130"/>
                    <a:gd name="connsiteX1912" fmla="*/ 7205 w 80482"/>
                    <a:gd name="connsiteY1912" fmla="*/ 59988 h 81130"/>
                    <a:gd name="connsiteX1913" fmla="*/ 7615 w 80482"/>
                    <a:gd name="connsiteY1913" fmla="*/ 58758 h 81130"/>
                    <a:gd name="connsiteX1914" fmla="*/ 9782 w 80482"/>
                    <a:gd name="connsiteY1914" fmla="*/ 57470 h 81130"/>
                    <a:gd name="connsiteX1915" fmla="*/ 11071 w 80482"/>
                    <a:gd name="connsiteY1915" fmla="*/ 57704 h 81130"/>
                    <a:gd name="connsiteX1916" fmla="*/ 10661 w 80482"/>
                    <a:gd name="connsiteY1916" fmla="*/ 58934 h 81130"/>
                    <a:gd name="connsiteX1917" fmla="*/ 8493 w 80482"/>
                    <a:gd name="connsiteY1917" fmla="*/ 60222 h 81130"/>
                    <a:gd name="connsiteX1918" fmla="*/ 7205 w 80482"/>
                    <a:gd name="connsiteY1918" fmla="*/ 59988 h 81130"/>
                    <a:gd name="connsiteX1919" fmla="*/ 9958 w 80482"/>
                    <a:gd name="connsiteY1919" fmla="*/ 62389 h 81130"/>
                    <a:gd name="connsiteX1920" fmla="*/ 8669 w 80482"/>
                    <a:gd name="connsiteY1920" fmla="*/ 62272 h 81130"/>
                    <a:gd name="connsiteX1921" fmla="*/ 8552 w 80482"/>
                    <a:gd name="connsiteY1921" fmla="*/ 62331 h 81130"/>
                    <a:gd name="connsiteX1922" fmla="*/ 8669 w 80482"/>
                    <a:gd name="connsiteY1922" fmla="*/ 62272 h 81130"/>
                    <a:gd name="connsiteX1923" fmla="*/ 9021 w 80482"/>
                    <a:gd name="connsiteY1923" fmla="*/ 60984 h 81130"/>
                    <a:gd name="connsiteX1924" fmla="*/ 11071 w 80482"/>
                    <a:gd name="connsiteY1924" fmla="*/ 59519 h 81130"/>
                    <a:gd name="connsiteX1925" fmla="*/ 12359 w 80482"/>
                    <a:gd name="connsiteY1925" fmla="*/ 59637 h 81130"/>
                    <a:gd name="connsiteX1926" fmla="*/ 12008 w 80482"/>
                    <a:gd name="connsiteY1926" fmla="*/ 60925 h 81130"/>
                    <a:gd name="connsiteX1927" fmla="*/ 9958 w 80482"/>
                    <a:gd name="connsiteY1927" fmla="*/ 62389 h 81130"/>
                    <a:gd name="connsiteX1928" fmla="*/ 11539 w 80482"/>
                    <a:gd name="connsiteY1928" fmla="*/ 64439 h 81130"/>
                    <a:gd name="connsiteX1929" fmla="*/ 10251 w 80482"/>
                    <a:gd name="connsiteY1929" fmla="*/ 64380 h 81130"/>
                    <a:gd name="connsiteX1930" fmla="*/ 10134 w 80482"/>
                    <a:gd name="connsiteY1930" fmla="*/ 64439 h 81130"/>
                    <a:gd name="connsiteX1931" fmla="*/ 10251 w 80482"/>
                    <a:gd name="connsiteY1931" fmla="*/ 64380 h 81130"/>
                    <a:gd name="connsiteX1932" fmla="*/ 10485 w 80482"/>
                    <a:gd name="connsiteY1932" fmla="*/ 63092 h 81130"/>
                    <a:gd name="connsiteX1933" fmla="*/ 12418 w 80482"/>
                    <a:gd name="connsiteY1933" fmla="*/ 61511 h 81130"/>
                    <a:gd name="connsiteX1934" fmla="*/ 13765 w 80482"/>
                    <a:gd name="connsiteY1934" fmla="*/ 61569 h 81130"/>
                    <a:gd name="connsiteX1935" fmla="*/ 13531 w 80482"/>
                    <a:gd name="connsiteY1935" fmla="*/ 62858 h 81130"/>
                    <a:gd name="connsiteX1936" fmla="*/ 11539 w 80482"/>
                    <a:gd name="connsiteY1936" fmla="*/ 64439 h 81130"/>
                    <a:gd name="connsiteX1937" fmla="*/ 13297 w 80482"/>
                    <a:gd name="connsiteY1937" fmla="*/ 66372 h 81130"/>
                    <a:gd name="connsiteX1938" fmla="*/ 12008 w 80482"/>
                    <a:gd name="connsiteY1938" fmla="*/ 66430 h 81130"/>
                    <a:gd name="connsiteX1939" fmla="*/ 11891 w 80482"/>
                    <a:gd name="connsiteY1939" fmla="*/ 66489 h 81130"/>
                    <a:gd name="connsiteX1940" fmla="*/ 12008 w 80482"/>
                    <a:gd name="connsiteY1940" fmla="*/ 66372 h 81130"/>
                    <a:gd name="connsiteX1941" fmla="*/ 12184 w 80482"/>
                    <a:gd name="connsiteY1941" fmla="*/ 65083 h 81130"/>
                    <a:gd name="connsiteX1942" fmla="*/ 14058 w 80482"/>
                    <a:gd name="connsiteY1942" fmla="*/ 63385 h 81130"/>
                    <a:gd name="connsiteX1943" fmla="*/ 15405 w 80482"/>
                    <a:gd name="connsiteY1943" fmla="*/ 63326 h 81130"/>
                    <a:gd name="connsiteX1944" fmla="*/ 15230 w 80482"/>
                    <a:gd name="connsiteY1944" fmla="*/ 64615 h 81130"/>
                    <a:gd name="connsiteX1945" fmla="*/ 13297 w 80482"/>
                    <a:gd name="connsiteY1945" fmla="*/ 66372 h 81130"/>
                    <a:gd name="connsiteX1946" fmla="*/ 13882 w 80482"/>
                    <a:gd name="connsiteY1946" fmla="*/ 68304 h 81130"/>
                    <a:gd name="connsiteX1947" fmla="*/ 13765 w 80482"/>
                    <a:gd name="connsiteY1947" fmla="*/ 68422 h 81130"/>
                    <a:gd name="connsiteX1948" fmla="*/ 13882 w 80482"/>
                    <a:gd name="connsiteY1948" fmla="*/ 68304 h 81130"/>
                    <a:gd name="connsiteX1949" fmla="*/ 13941 w 80482"/>
                    <a:gd name="connsiteY1949" fmla="*/ 66957 h 81130"/>
                    <a:gd name="connsiteX1950" fmla="*/ 15640 w 80482"/>
                    <a:gd name="connsiteY1950" fmla="*/ 65142 h 81130"/>
                    <a:gd name="connsiteX1951" fmla="*/ 16928 w 80482"/>
                    <a:gd name="connsiteY1951" fmla="*/ 65025 h 81130"/>
                    <a:gd name="connsiteX1952" fmla="*/ 16870 w 80482"/>
                    <a:gd name="connsiteY1952" fmla="*/ 66372 h 81130"/>
                    <a:gd name="connsiteX1953" fmla="*/ 15171 w 80482"/>
                    <a:gd name="connsiteY1953" fmla="*/ 68246 h 81130"/>
                    <a:gd name="connsiteX1954" fmla="*/ 13882 w 80482"/>
                    <a:gd name="connsiteY1954" fmla="*/ 68304 h 81130"/>
                    <a:gd name="connsiteX1955" fmla="*/ 18744 w 80482"/>
                    <a:gd name="connsiteY1955" fmla="*/ 67894 h 81130"/>
                    <a:gd name="connsiteX1956" fmla="*/ 17163 w 80482"/>
                    <a:gd name="connsiteY1956" fmla="*/ 69886 h 81130"/>
                    <a:gd name="connsiteX1957" fmla="*/ 15874 w 80482"/>
                    <a:gd name="connsiteY1957" fmla="*/ 70120 h 81130"/>
                    <a:gd name="connsiteX1958" fmla="*/ 15815 w 80482"/>
                    <a:gd name="connsiteY1958" fmla="*/ 70237 h 81130"/>
                    <a:gd name="connsiteX1959" fmla="*/ 15874 w 80482"/>
                    <a:gd name="connsiteY1959" fmla="*/ 70120 h 81130"/>
                    <a:gd name="connsiteX1960" fmla="*/ 15874 w 80482"/>
                    <a:gd name="connsiteY1960" fmla="*/ 68832 h 81130"/>
                    <a:gd name="connsiteX1961" fmla="*/ 17456 w 80482"/>
                    <a:gd name="connsiteY1961" fmla="*/ 66840 h 81130"/>
                    <a:gd name="connsiteX1962" fmla="*/ 18744 w 80482"/>
                    <a:gd name="connsiteY1962" fmla="*/ 66606 h 81130"/>
                    <a:gd name="connsiteX1963" fmla="*/ 18744 w 80482"/>
                    <a:gd name="connsiteY1963" fmla="*/ 67894 h 81130"/>
                    <a:gd name="connsiteX1964" fmla="*/ 20736 w 80482"/>
                    <a:gd name="connsiteY1964" fmla="*/ 69300 h 81130"/>
                    <a:gd name="connsiteX1965" fmla="*/ 19271 w 80482"/>
                    <a:gd name="connsiteY1965" fmla="*/ 71350 h 81130"/>
                    <a:gd name="connsiteX1966" fmla="*/ 17983 w 80482"/>
                    <a:gd name="connsiteY1966" fmla="*/ 71701 h 81130"/>
                    <a:gd name="connsiteX1967" fmla="*/ 17924 w 80482"/>
                    <a:gd name="connsiteY1967" fmla="*/ 71818 h 81130"/>
                    <a:gd name="connsiteX1968" fmla="*/ 17983 w 80482"/>
                    <a:gd name="connsiteY1968" fmla="*/ 71701 h 81130"/>
                    <a:gd name="connsiteX1969" fmla="*/ 17866 w 80482"/>
                    <a:gd name="connsiteY1969" fmla="*/ 70413 h 81130"/>
                    <a:gd name="connsiteX1970" fmla="*/ 19330 w 80482"/>
                    <a:gd name="connsiteY1970" fmla="*/ 68363 h 81130"/>
                    <a:gd name="connsiteX1971" fmla="*/ 20619 w 80482"/>
                    <a:gd name="connsiteY1971" fmla="*/ 68012 h 81130"/>
                    <a:gd name="connsiteX1972" fmla="*/ 20736 w 80482"/>
                    <a:gd name="connsiteY1972" fmla="*/ 69300 h 81130"/>
                    <a:gd name="connsiteX1973" fmla="*/ 22786 w 80482"/>
                    <a:gd name="connsiteY1973" fmla="*/ 70589 h 81130"/>
                    <a:gd name="connsiteX1974" fmla="*/ 21497 w 80482"/>
                    <a:gd name="connsiteY1974" fmla="*/ 72756 h 81130"/>
                    <a:gd name="connsiteX1975" fmla="*/ 20267 w 80482"/>
                    <a:gd name="connsiteY1975" fmla="*/ 73165 h 81130"/>
                    <a:gd name="connsiteX1976" fmla="*/ 20209 w 80482"/>
                    <a:gd name="connsiteY1976" fmla="*/ 73283 h 81130"/>
                    <a:gd name="connsiteX1977" fmla="*/ 20267 w 80482"/>
                    <a:gd name="connsiteY1977" fmla="*/ 73165 h 81130"/>
                    <a:gd name="connsiteX1978" fmla="*/ 20091 w 80482"/>
                    <a:gd name="connsiteY1978" fmla="*/ 71877 h 81130"/>
                    <a:gd name="connsiteX1979" fmla="*/ 21380 w 80482"/>
                    <a:gd name="connsiteY1979" fmla="*/ 69710 h 81130"/>
                    <a:gd name="connsiteX1980" fmla="*/ 22610 w 80482"/>
                    <a:gd name="connsiteY1980" fmla="*/ 69300 h 81130"/>
                    <a:gd name="connsiteX1981" fmla="*/ 22786 w 80482"/>
                    <a:gd name="connsiteY1981" fmla="*/ 70589 h 81130"/>
                    <a:gd name="connsiteX1982" fmla="*/ 23782 w 80482"/>
                    <a:gd name="connsiteY1982" fmla="*/ 73985 h 81130"/>
                    <a:gd name="connsiteX1983" fmla="*/ 22552 w 80482"/>
                    <a:gd name="connsiteY1983" fmla="*/ 74513 h 81130"/>
                    <a:gd name="connsiteX1984" fmla="*/ 22493 w 80482"/>
                    <a:gd name="connsiteY1984" fmla="*/ 74630 h 81130"/>
                    <a:gd name="connsiteX1985" fmla="*/ 22552 w 80482"/>
                    <a:gd name="connsiteY1985" fmla="*/ 74513 h 81130"/>
                    <a:gd name="connsiteX1986" fmla="*/ 22259 w 80482"/>
                    <a:gd name="connsiteY1986" fmla="*/ 73224 h 81130"/>
                    <a:gd name="connsiteX1987" fmla="*/ 23430 w 80482"/>
                    <a:gd name="connsiteY1987" fmla="*/ 70999 h 81130"/>
                    <a:gd name="connsiteX1988" fmla="*/ 24660 w 80482"/>
                    <a:gd name="connsiteY1988" fmla="*/ 70471 h 81130"/>
                    <a:gd name="connsiteX1989" fmla="*/ 24953 w 80482"/>
                    <a:gd name="connsiteY1989" fmla="*/ 71760 h 81130"/>
                    <a:gd name="connsiteX1990" fmla="*/ 23782 w 80482"/>
                    <a:gd name="connsiteY1990" fmla="*/ 73985 h 81130"/>
                    <a:gd name="connsiteX1991" fmla="*/ 26183 w 80482"/>
                    <a:gd name="connsiteY1991" fmla="*/ 75040 h 81130"/>
                    <a:gd name="connsiteX1992" fmla="*/ 25012 w 80482"/>
                    <a:gd name="connsiteY1992" fmla="*/ 75625 h 81130"/>
                    <a:gd name="connsiteX1993" fmla="*/ 24953 w 80482"/>
                    <a:gd name="connsiteY1993" fmla="*/ 75742 h 81130"/>
                    <a:gd name="connsiteX1994" fmla="*/ 25012 w 80482"/>
                    <a:gd name="connsiteY1994" fmla="*/ 75625 h 81130"/>
                    <a:gd name="connsiteX1995" fmla="*/ 24602 w 80482"/>
                    <a:gd name="connsiteY1995" fmla="*/ 74395 h 81130"/>
                    <a:gd name="connsiteX1996" fmla="*/ 25598 w 80482"/>
                    <a:gd name="connsiteY1996" fmla="*/ 72053 h 81130"/>
                    <a:gd name="connsiteX1997" fmla="*/ 26769 w 80482"/>
                    <a:gd name="connsiteY1997" fmla="*/ 71467 h 81130"/>
                    <a:gd name="connsiteX1998" fmla="*/ 27179 w 80482"/>
                    <a:gd name="connsiteY1998" fmla="*/ 72756 h 81130"/>
                    <a:gd name="connsiteX1999" fmla="*/ 26183 w 80482"/>
                    <a:gd name="connsiteY1999" fmla="*/ 75040 h 81130"/>
                    <a:gd name="connsiteX2000" fmla="*/ 27472 w 80482"/>
                    <a:gd name="connsiteY2000" fmla="*/ 76562 h 81130"/>
                    <a:gd name="connsiteX2001" fmla="*/ 27413 w 80482"/>
                    <a:gd name="connsiteY2001" fmla="*/ 76679 h 81130"/>
                    <a:gd name="connsiteX2002" fmla="*/ 27472 w 80482"/>
                    <a:gd name="connsiteY2002" fmla="*/ 76562 h 81130"/>
                    <a:gd name="connsiteX2003" fmla="*/ 27003 w 80482"/>
                    <a:gd name="connsiteY2003" fmla="*/ 75332 h 81130"/>
                    <a:gd name="connsiteX2004" fmla="*/ 27823 w 80482"/>
                    <a:gd name="connsiteY2004" fmla="*/ 72931 h 81130"/>
                    <a:gd name="connsiteX2005" fmla="*/ 28936 w 80482"/>
                    <a:gd name="connsiteY2005" fmla="*/ 72287 h 81130"/>
                    <a:gd name="connsiteX2006" fmla="*/ 29405 w 80482"/>
                    <a:gd name="connsiteY2006" fmla="*/ 73517 h 81130"/>
                    <a:gd name="connsiteX2007" fmla="*/ 28585 w 80482"/>
                    <a:gd name="connsiteY2007" fmla="*/ 75918 h 81130"/>
                    <a:gd name="connsiteX2008" fmla="*/ 27472 w 80482"/>
                    <a:gd name="connsiteY2008" fmla="*/ 76562 h 81130"/>
                    <a:gd name="connsiteX2009" fmla="*/ 30225 w 80482"/>
                    <a:gd name="connsiteY2009" fmla="*/ 70061 h 81130"/>
                    <a:gd name="connsiteX2010" fmla="*/ 26008 w 80482"/>
                    <a:gd name="connsiteY2010" fmla="*/ 68187 h 81130"/>
                    <a:gd name="connsiteX2011" fmla="*/ 23430 w 80482"/>
                    <a:gd name="connsiteY2011" fmla="*/ 66255 h 81130"/>
                    <a:gd name="connsiteX2012" fmla="*/ 26476 w 80482"/>
                    <a:gd name="connsiteY2012" fmla="*/ 66899 h 81130"/>
                    <a:gd name="connsiteX2013" fmla="*/ 32041 w 80482"/>
                    <a:gd name="connsiteY2013" fmla="*/ 69066 h 81130"/>
                    <a:gd name="connsiteX2014" fmla="*/ 32217 w 80482"/>
                    <a:gd name="connsiteY2014" fmla="*/ 69124 h 81130"/>
                    <a:gd name="connsiteX2015" fmla="*/ 32802 w 80482"/>
                    <a:gd name="connsiteY2015" fmla="*/ 70179 h 81130"/>
                    <a:gd name="connsiteX2016" fmla="*/ 30225 w 80482"/>
                    <a:gd name="connsiteY2016" fmla="*/ 70061 h 81130"/>
                    <a:gd name="connsiteX2017" fmla="*/ 30049 w 80482"/>
                    <a:gd name="connsiteY2017" fmla="*/ 77382 h 81130"/>
                    <a:gd name="connsiteX2018" fmla="*/ 29991 w 80482"/>
                    <a:gd name="connsiteY2018" fmla="*/ 77499 h 81130"/>
                    <a:gd name="connsiteX2019" fmla="*/ 30049 w 80482"/>
                    <a:gd name="connsiteY2019" fmla="*/ 77382 h 81130"/>
                    <a:gd name="connsiteX2020" fmla="*/ 29464 w 80482"/>
                    <a:gd name="connsiteY2020" fmla="*/ 76211 h 81130"/>
                    <a:gd name="connsiteX2021" fmla="*/ 30108 w 80482"/>
                    <a:gd name="connsiteY2021" fmla="*/ 73751 h 81130"/>
                    <a:gd name="connsiteX2022" fmla="*/ 31221 w 80482"/>
                    <a:gd name="connsiteY2022" fmla="*/ 72990 h 81130"/>
                    <a:gd name="connsiteX2023" fmla="*/ 31807 w 80482"/>
                    <a:gd name="connsiteY2023" fmla="*/ 74161 h 81130"/>
                    <a:gd name="connsiteX2024" fmla="*/ 31162 w 80482"/>
                    <a:gd name="connsiteY2024" fmla="*/ 76621 h 81130"/>
                    <a:gd name="connsiteX2025" fmla="*/ 30049 w 80482"/>
                    <a:gd name="connsiteY2025" fmla="*/ 77382 h 81130"/>
                    <a:gd name="connsiteX2026" fmla="*/ 34442 w 80482"/>
                    <a:gd name="connsiteY2026" fmla="*/ 68070 h 81130"/>
                    <a:gd name="connsiteX2027" fmla="*/ 34677 w 80482"/>
                    <a:gd name="connsiteY2027" fmla="*/ 67660 h 81130"/>
                    <a:gd name="connsiteX2028" fmla="*/ 34677 w 80482"/>
                    <a:gd name="connsiteY2028" fmla="*/ 67660 h 81130"/>
                    <a:gd name="connsiteX2029" fmla="*/ 36668 w 80482"/>
                    <a:gd name="connsiteY2029" fmla="*/ 65962 h 81130"/>
                    <a:gd name="connsiteX2030" fmla="*/ 38133 w 80482"/>
                    <a:gd name="connsiteY2030" fmla="*/ 66079 h 81130"/>
                    <a:gd name="connsiteX2031" fmla="*/ 39831 w 80482"/>
                    <a:gd name="connsiteY2031" fmla="*/ 68129 h 81130"/>
                    <a:gd name="connsiteX2032" fmla="*/ 39949 w 80482"/>
                    <a:gd name="connsiteY2032" fmla="*/ 68539 h 81130"/>
                    <a:gd name="connsiteX2033" fmla="*/ 39304 w 80482"/>
                    <a:gd name="connsiteY2033" fmla="*/ 69066 h 81130"/>
                    <a:gd name="connsiteX2034" fmla="*/ 39304 w 80482"/>
                    <a:gd name="connsiteY2034" fmla="*/ 69066 h 81130"/>
                    <a:gd name="connsiteX2035" fmla="*/ 39129 w 80482"/>
                    <a:gd name="connsiteY2035" fmla="*/ 69007 h 81130"/>
                    <a:gd name="connsiteX2036" fmla="*/ 37254 w 80482"/>
                    <a:gd name="connsiteY2036" fmla="*/ 68480 h 81130"/>
                    <a:gd name="connsiteX2037" fmla="*/ 35321 w 80482"/>
                    <a:gd name="connsiteY2037" fmla="*/ 68656 h 81130"/>
                    <a:gd name="connsiteX2038" fmla="*/ 35087 w 80482"/>
                    <a:gd name="connsiteY2038" fmla="*/ 68656 h 81130"/>
                    <a:gd name="connsiteX2039" fmla="*/ 35087 w 80482"/>
                    <a:gd name="connsiteY2039" fmla="*/ 68656 h 81130"/>
                    <a:gd name="connsiteX2040" fmla="*/ 34442 w 80482"/>
                    <a:gd name="connsiteY2040" fmla="*/ 68070 h 81130"/>
                    <a:gd name="connsiteX2041" fmla="*/ 35204 w 80482"/>
                    <a:gd name="connsiteY2041" fmla="*/ 70647 h 81130"/>
                    <a:gd name="connsiteX2042" fmla="*/ 36668 w 80482"/>
                    <a:gd name="connsiteY2042" fmla="*/ 70413 h 81130"/>
                    <a:gd name="connsiteX2043" fmla="*/ 35204 w 80482"/>
                    <a:gd name="connsiteY2043" fmla="*/ 70647 h 81130"/>
                    <a:gd name="connsiteX2044" fmla="*/ 32627 w 80482"/>
                    <a:gd name="connsiteY2044" fmla="*/ 77968 h 81130"/>
                    <a:gd name="connsiteX2045" fmla="*/ 32568 w 80482"/>
                    <a:gd name="connsiteY2045" fmla="*/ 78085 h 81130"/>
                    <a:gd name="connsiteX2046" fmla="*/ 32627 w 80482"/>
                    <a:gd name="connsiteY2046" fmla="*/ 77968 h 81130"/>
                    <a:gd name="connsiteX2047" fmla="*/ 31982 w 80482"/>
                    <a:gd name="connsiteY2047" fmla="*/ 76797 h 81130"/>
                    <a:gd name="connsiteX2048" fmla="*/ 32451 w 80482"/>
                    <a:gd name="connsiteY2048" fmla="*/ 74337 h 81130"/>
                    <a:gd name="connsiteX2049" fmla="*/ 33505 w 80482"/>
                    <a:gd name="connsiteY2049" fmla="*/ 73517 h 81130"/>
                    <a:gd name="connsiteX2050" fmla="*/ 34150 w 80482"/>
                    <a:gd name="connsiteY2050" fmla="*/ 74688 h 81130"/>
                    <a:gd name="connsiteX2051" fmla="*/ 33681 w 80482"/>
                    <a:gd name="connsiteY2051" fmla="*/ 77148 h 81130"/>
                    <a:gd name="connsiteX2052" fmla="*/ 32627 w 80482"/>
                    <a:gd name="connsiteY2052" fmla="*/ 77968 h 81130"/>
                    <a:gd name="connsiteX2053" fmla="*/ 35263 w 80482"/>
                    <a:gd name="connsiteY2053" fmla="*/ 78378 h 81130"/>
                    <a:gd name="connsiteX2054" fmla="*/ 35263 w 80482"/>
                    <a:gd name="connsiteY2054" fmla="*/ 78495 h 81130"/>
                    <a:gd name="connsiteX2055" fmla="*/ 35263 w 80482"/>
                    <a:gd name="connsiteY2055" fmla="*/ 78378 h 81130"/>
                    <a:gd name="connsiteX2056" fmla="*/ 34560 w 80482"/>
                    <a:gd name="connsiteY2056" fmla="*/ 77265 h 81130"/>
                    <a:gd name="connsiteX2057" fmla="*/ 34853 w 80482"/>
                    <a:gd name="connsiteY2057" fmla="*/ 74747 h 81130"/>
                    <a:gd name="connsiteX2058" fmla="*/ 35848 w 80482"/>
                    <a:gd name="connsiteY2058" fmla="*/ 73868 h 81130"/>
                    <a:gd name="connsiteX2059" fmla="*/ 36551 w 80482"/>
                    <a:gd name="connsiteY2059" fmla="*/ 74981 h 81130"/>
                    <a:gd name="connsiteX2060" fmla="*/ 36258 w 80482"/>
                    <a:gd name="connsiteY2060" fmla="*/ 77499 h 81130"/>
                    <a:gd name="connsiteX2061" fmla="*/ 35263 w 80482"/>
                    <a:gd name="connsiteY2061" fmla="*/ 78378 h 81130"/>
                    <a:gd name="connsiteX2062" fmla="*/ 37957 w 80482"/>
                    <a:gd name="connsiteY2062" fmla="*/ 78612 h 81130"/>
                    <a:gd name="connsiteX2063" fmla="*/ 37957 w 80482"/>
                    <a:gd name="connsiteY2063" fmla="*/ 78729 h 81130"/>
                    <a:gd name="connsiteX2064" fmla="*/ 37957 w 80482"/>
                    <a:gd name="connsiteY2064" fmla="*/ 78612 h 81130"/>
                    <a:gd name="connsiteX2065" fmla="*/ 37137 w 80482"/>
                    <a:gd name="connsiteY2065" fmla="*/ 77558 h 81130"/>
                    <a:gd name="connsiteX2066" fmla="*/ 37254 w 80482"/>
                    <a:gd name="connsiteY2066" fmla="*/ 75040 h 81130"/>
                    <a:gd name="connsiteX2067" fmla="*/ 38191 w 80482"/>
                    <a:gd name="connsiteY2067" fmla="*/ 74103 h 81130"/>
                    <a:gd name="connsiteX2068" fmla="*/ 39011 w 80482"/>
                    <a:gd name="connsiteY2068" fmla="*/ 75157 h 81130"/>
                    <a:gd name="connsiteX2069" fmla="*/ 38836 w 80482"/>
                    <a:gd name="connsiteY2069" fmla="*/ 77675 h 81130"/>
                    <a:gd name="connsiteX2070" fmla="*/ 37957 w 80482"/>
                    <a:gd name="connsiteY2070" fmla="*/ 78612 h 81130"/>
                    <a:gd name="connsiteX2071" fmla="*/ 40593 w 80482"/>
                    <a:gd name="connsiteY2071" fmla="*/ 78671 h 81130"/>
                    <a:gd name="connsiteX2072" fmla="*/ 40593 w 80482"/>
                    <a:gd name="connsiteY2072" fmla="*/ 78788 h 81130"/>
                    <a:gd name="connsiteX2073" fmla="*/ 40593 w 80482"/>
                    <a:gd name="connsiteY2073" fmla="*/ 78671 h 81130"/>
                    <a:gd name="connsiteX2074" fmla="*/ 39714 w 80482"/>
                    <a:gd name="connsiteY2074" fmla="*/ 77675 h 81130"/>
                    <a:gd name="connsiteX2075" fmla="*/ 39714 w 80482"/>
                    <a:gd name="connsiteY2075" fmla="*/ 75157 h 81130"/>
                    <a:gd name="connsiteX2076" fmla="*/ 40593 w 80482"/>
                    <a:gd name="connsiteY2076" fmla="*/ 74161 h 81130"/>
                    <a:gd name="connsiteX2077" fmla="*/ 41472 w 80482"/>
                    <a:gd name="connsiteY2077" fmla="*/ 75157 h 81130"/>
                    <a:gd name="connsiteX2078" fmla="*/ 41472 w 80482"/>
                    <a:gd name="connsiteY2078" fmla="*/ 77675 h 81130"/>
                    <a:gd name="connsiteX2079" fmla="*/ 40593 w 80482"/>
                    <a:gd name="connsiteY2079" fmla="*/ 78671 h 81130"/>
                    <a:gd name="connsiteX2080" fmla="*/ 43287 w 80482"/>
                    <a:gd name="connsiteY2080" fmla="*/ 78554 h 81130"/>
                    <a:gd name="connsiteX2081" fmla="*/ 43287 w 80482"/>
                    <a:gd name="connsiteY2081" fmla="*/ 78671 h 81130"/>
                    <a:gd name="connsiteX2082" fmla="*/ 43287 w 80482"/>
                    <a:gd name="connsiteY2082" fmla="*/ 78554 h 81130"/>
                    <a:gd name="connsiteX2083" fmla="*/ 42350 w 80482"/>
                    <a:gd name="connsiteY2083" fmla="*/ 77617 h 81130"/>
                    <a:gd name="connsiteX2084" fmla="*/ 42116 w 80482"/>
                    <a:gd name="connsiteY2084" fmla="*/ 75098 h 81130"/>
                    <a:gd name="connsiteX2085" fmla="*/ 42877 w 80482"/>
                    <a:gd name="connsiteY2085" fmla="*/ 74044 h 81130"/>
                    <a:gd name="connsiteX2086" fmla="*/ 43815 w 80482"/>
                    <a:gd name="connsiteY2086" fmla="*/ 74981 h 81130"/>
                    <a:gd name="connsiteX2087" fmla="*/ 43990 w 80482"/>
                    <a:gd name="connsiteY2087" fmla="*/ 77499 h 81130"/>
                    <a:gd name="connsiteX2088" fmla="*/ 43287 w 80482"/>
                    <a:gd name="connsiteY2088" fmla="*/ 78554 h 81130"/>
                    <a:gd name="connsiteX2089" fmla="*/ 45923 w 80482"/>
                    <a:gd name="connsiteY2089" fmla="*/ 78202 h 81130"/>
                    <a:gd name="connsiteX2090" fmla="*/ 45923 w 80482"/>
                    <a:gd name="connsiteY2090" fmla="*/ 78319 h 81130"/>
                    <a:gd name="connsiteX2091" fmla="*/ 45923 w 80482"/>
                    <a:gd name="connsiteY2091" fmla="*/ 78202 h 81130"/>
                    <a:gd name="connsiteX2092" fmla="*/ 44928 w 80482"/>
                    <a:gd name="connsiteY2092" fmla="*/ 77324 h 81130"/>
                    <a:gd name="connsiteX2093" fmla="*/ 44576 w 80482"/>
                    <a:gd name="connsiteY2093" fmla="*/ 74805 h 81130"/>
                    <a:gd name="connsiteX2094" fmla="*/ 45279 w 80482"/>
                    <a:gd name="connsiteY2094" fmla="*/ 73693 h 81130"/>
                    <a:gd name="connsiteX2095" fmla="*/ 46275 w 80482"/>
                    <a:gd name="connsiteY2095" fmla="*/ 74571 h 81130"/>
                    <a:gd name="connsiteX2096" fmla="*/ 46626 w 80482"/>
                    <a:gd name="connsiteY2096" fmla="*/ 77089 h 81130"/>
                    <a:gd name="connsiteX2097" fmla="*/ 45923 w 80482"/>
                    <a:gd name="connsiteY2097" fmla="*/ 78202 h 81130"/>
                    <a:gd name="connsiteX2098" fmla="*/ 48559 w 80482"/>
                    <a:gd name="connsiteY2098" fmla="*/ 77734 h 81130"/>
                    <a:gd name="connsiteX2099" fmla="*/ 48559 w 80482"/>
                    <a:gd name="connsiteY2099" fmla="*/ 77851 h 81130"/>
                    <a:gd name="connsiteX2100" fmla="*/ 48559 w 80482"/>
                    <a:gd name="connsiteY2100" fmla="*/ 77734 h 81130"/>
                    <a:gd name="connsiteX2101" fmla="*/ 47505 w 80482"/>
                    <a:gd name="connsiteY2101" fmla="*/ 76972 h 81130"/>
                    <a:gd name="connsiteX2102" fmla="*/ 46978 w 80482"/>
                    <a:gd name="connsiteY2102" fmla="*/ 74513 h 81130"/>
                    <a:gd name="connsiteX2103" fmla="*/ 47622 w 80482"/>
                    <a:gd name="connsiteY2103" fmla="*/ 73341 h 81130"/>
                    <a:gd name="connsiteX2104" fmla="*/ 48676 w 80482"/>
                    <a:gd name="connsiteY2104" fmla="*/ 74103 h 81130"/>
                    <a:gd name="connsiteX2105" fmla="*/ 49204 w 80482"/>
                    <a:gd name="connsiteY2105" fmla="*/ 76562 h 81130"/>
                    <a:gd name="connsiteX2106" fmla="*/ 48559 w 80482"/>
                    <a:gd name="connsiteY2106" fmla="*/ 77734 h 81130"/>
                    <a:gd name="connsiteX2107" fmla="*/ 51137 w 80482"/>
                    <a:gd name="connsiteY2107" fmla="*/ 77031 h 81130"/>
                    <a:gd name="connsiteX2108" fmla="*/ 51195 w 80482"/>
                    <a:gd name="connsiteY2108" fmla="*/ 77148 h 81130"/>
                    <a:gd name="connsiteX2109" fmla="*/ 51137 w 80482"/>
                    <a:gd name="connsiteY2109" fmla="*/ 77031 h 81130"/>
                    <a:gd name="connsiteX2110" fmla="*/ 50024 w 80482"/>
                    <a:gd name="connsiteY2110" fmla="*/ 76328 h 81130"/>
                    <a:gd name="connsiteX2111" fmla="*/ 49321 w 80482"/>
                    <a:gd name="connsiteY2111" fmla="*/ 73927 h 81130"/>
                    <a:gd name="connsiteX2112" fmla="*/ 49848 w 80482"/>
                    <a:gd name="connsiteY2112" fmla="*/ 72697 h 81130"/>
                    <a:gd name="connsiteX2113" fmla="*/ 50961 w 80482"/>
                    <a:gd name="connsiteY2113" fmla="*/ 73400 h 81130"/>
                    <a:gd name="connsiteX2114" fmla="*/ 51664 w 80482"/>
                    <a:gd name="connsiteY2114" fmla="*/ 75801 h 81130"/>
                    <a:gd name="connsiteX2115" fmla="*/ 51137 w 80482"/>
                    <a:gd name="connsiteY2115" fmla="*/ 77031 h 81130"/>
                    <a:gd name="connsiteX2116" fmla="*/ 53714 w 80482"/>
                    <a:gd name="connsiteY2116" fmla="*/ 76270 h 81130"/>
                    <a:gd name="connsiteX2117" fmla="*/ 53655 w 80482"/>
                    <a:gd name="connsiteY2117" fmla="*/ 76152 h 81130"/>
                    <a:gd name="connsiteX2118" fmla="*/ 52484 w 80482"/>
                    <a:gd name="connsiteY2118" fmla="*/ 75508 h 81130"/>
                    <a:gd name="connsiteX2119" fmla="*/ 51605 w 80482"/>
                    <a:gd name="connsiteY2119" fmla="*/ 73165 h 81130"/>
                    <a:gd name="connsiteX2120" fmla="*/ 52074 w 80482"/>
                    <a:gd name="connsiteY2120" fmla="*/ 71936 h 81130"/>
                    <a:gd name="connsiteX2121" fmla="*/ 53245 w 80482"/>
                    <a:gd name="connsiteY2121" fmla="*/ 72580 h 81130"/>
                    <a:gd name="connsiteX2122" fmla="*/ 54124 w 80482"/>
                    <a:gd name="connsiteY2122" fmla="*/ 74922 h 81130"/>
                    <a:gd name="connsiteX2123" fmla="*/ 53655 w 80482"/>
                    <a:gd name="connsiteY2123" fmla="*/ 76152 h 81130"/>
                    <a:gd name="connsiteX2124" fmla="*/ 53714 w 80482"/>
                    <a:gd name="connsiteY2124" fmla="*/ 76270 h 81130"/>
                    <a:gd name="connsiteX2125" fmla="*/ 56174 w 80482"/>
                    <a:gd name="connsiteY2125" fmla="*/ 75215 h 81130"/>
                    <a:gd name="connsiteX2126" fmla="*/ 56115 w 80482"/>
                    <a:gd name="connsiteY2126" fmla="*/ 75098 h 81130"/>
                    <a:gd name="connsiteX2127" fmla="*/ 54944 w 80482"/>
                    <a:gd name="connsiteY2127" fmla="*/ 74571 h 81130"/>
                    <a:gd name="connsiteX2128" fmla="*/ 53890 w 80482"/>
                    <a:gd name="connsiteY2128" fmla="*/ 72287 h 81130"/>
                    <a:gd name="connsiteX2129" fmla="*/ 54241 w 80482"/>
                    <a:gd name="connsiteY2129" fmla="*/ 70999 h 81130"/>
                    <a:gd name="connsiteX2130" fmla="*/ 55413 w 80482"/>
                    <a:gd name="connsiteY2130" fmla="*/ 71526 h 81130"/>
                    <a:gd name="connsiteX2131" fmla="*/ 56467 w 80482"/>
                    <a:gd name="connsiteY2131" fmla="*/ 73810 h 81130"/>
                    <a:gd name="connsiteX2132" fmla="*/ 56115 w 80482"/>
                    <a:gd name="connsiteY2132" fmla="*/ 75098 h 81130"/>
                    <a:gd name="connsiteX2133" fmla="*/ 56174 w 80482"/>
                    <a:gd name="connsiteY2133" fmla="*/ 75215 h 81130"/>
                    <a:gd name="connsiteX2134" fmla="*/ 58576 w 80482"/>
                    <a:gd name="connsiteY2134" fmla="*/ 73985 h 81130"/>
                    <a:gd name="connsiteX2135" fmla="*/ 58517 w 80482"/>
                    <a:gd name="connsiteY2135" fmla="*/ 73868 h 81130"/>
                    <a:gd name="connsiteX2136" fmla="*/ 57287 w 80482"/>
                    <a:gd name="connsiteY2136" fmla="*/ 73400 h 81130"/>
                    <a:gd name="connsiteX2137" fmla="*/ 56057 w 80482"/>
                    <a:gd name="connsiteY2137" fmla="*/ 71174 h 81130"/>
                    <a:gd name="connsiteX2138" fmla="*/ 56350 w 80482"/>
                    <a:gd name="connsiteY2138" fmla="*/ 69886 h 81130"/>
                    <a:gd name="connsiteX2139" fmla="*/ 57580 w 80482"/>
                    <a:gd name="connsiteY2139" fmla="*/ 70354 h 81130"/>
                    <a:gd name="connsiteX2140" fmla="*/ 58810 w 80482"/>
                    <a:gd name="connsiteY2140" fmla="*/ 72580 h 81130"/>
                    <a:gd name="connsiteX2141" fmla="*/ 58517 w 80482"/>
                    <a:gd name="connsiteY2141" fmla="*/ 73868 h 81130"/>
                    <a:gd name="connsiteX2142" fmla="*/ 58576 w 80482"/>
                    <a:gd name="connsiteY2142" fmla="*/ 73985 h 81130"/>
                    <a:gd name="connsiteX2143" fmla="*/ 60919 w 80482"/>
                    <a:gd name="connsiteY2143" fmla="*/ 72580 h 81130"/>
                    <a:gd name="connsiteX2144" fmla="*/ 60860 w 80482"/>
                    <a:gd name="connsiteY2144" fmla="*/ 72463 h 81130"/>
                    <a:gd name="connsiteX2145" fmla="*/ 59630 w 80482"/>
                    <a:gd name="connsiteY2145" fmla="*/ 72053 h 81130"/>
                    <a:gd name="connsiteX2146" fmla="*/ 58283 w 80482"/>
                    <a:gd name="connsiteY2146" fmla="*/ 69944 h 81130"/>
                    <a:gd name="connsiteX2147" fmla="*/ 58459 w 80482"/>
                    <a:gd name="connsiteY2147" fmla="*/ 68656 h 81130"/>
                    <a:gd name="connsiteX2148" fmla="*/ 59689 w 80482"/>
                    <a:gd name="connsiteY2148" fmla="*/ 69007 h 81130"/>
                    <a:gd name="connsiteX2149" fmla="*/ 61036 w 80482"/>
                    <a:gd name="connsiteY2149" fmla="*/ 71116 h 81130"/>
                    <a:gd name="connsiteX2150" fmla="*/ 60860 w 80482"/>
                    <a:gd name="connsiteY2150" fmla="*/ 72404 h 81130"/>
                    <a:gd name="connsiteX2151" fmla="*/ 60919 w 80482"/>
                    <a:gd name="connsiteY2151" fmla="*/ 72580 h 81130"/>
                    <a:gd name="connsiteX2152" fmla="*/ 63027 w 80482"/>
                    <a:gd name="connsiteY2152" fmla="*/ 70940 h 81130"/>
                    <a:gd name="connsiteX2153" fmla="*/ 61739 w 80482"/>
                    <a:gd name="connsiteY2153" fmla="*/ 70647 h 81130"/>
                    <a:gd name="connsiteX2154" fmla="*/ 60216 w 80482"/>
                    <a:gd name="connsiteY2154" fmla="*/ 68656 h 81130"/>
                    <a:gd name="connsiteX2155" fmla="*/ 60333 w 80482"/>
                    <a:gd name="connsiteY2155" fmla="*/ 67309 h 81130"/>
                    <a:gd name="connsiteX2156" fmla="*/ 61622 w 80482"/>
                    <a:gd name="connsiteY2156" fmla="*/ 67602 h 81130"/>
                    <a:gd name="connsiteX2157" fmla="*/ 63145 w 80482"/>
                    <a:gd name="connsiteY2157" fmla="*/ 69593 h 81130"/>
                    <a:gd name="connsiteX2158" fmla="*/ 63027 w 80482"/>
                    <a:gd name="connsiteY2158" fmla="*/ 70940 h 81130"/>
                    <a:gd name="connsiteX2159" fmla="*/ 63086 w 80482"/>
                    <a:gd name="connsiteY2159" fmla="*/ 71057 h 81130"/>
                    <a:gd name="connsiteX2160" fmla="*/ 63027 w 80482"/>
                    <a:gd name="connsiteY2160" fmla="*/ 70940 h 81130"/>
                    <a:gd name="connsiteX2161" fmla="*/ 65136 w 80482"/>
                    <a:gd name="connsiteY2161" fmla="*/ 69300 h 81130"/>
                    <a:gd name="connsiteX2162" fmla="*/ 63847 w 80482"/>
                    <a:gd name="connsiteY2162" fmla="*/ 69124 h 81130"/>
                    <a:gd name="connsiteX2163" fmla="*/ 62207 w 80482"/>
                    <a:gd name="connsiteY2163" fmla="*/ 67192 h 81130"/>
                    <a:gd name="connsiteX2164" fmla="*/ 62207 w 80482"/>
                    <a:gd name="connsiteY2164" fmla="*/ 65845 h 81130"/>
                    <a:gd name="connsiteX2165" fmla="*/ 63496 w 80482"/>
                    <a:gd name="connsiteY2165" fmla="*/ 66020 h 81130"/>
                    <a:gd name="connsiteX2166" fmla="*/ 65136 w 80482"/>
                    <a:gd name="connsiteY2166" fmla="*/ 67953 h 81130"/>
                    <a:gd name="connsiteX2167" fmla="*/ 65136 w 80482"/>
                    <a:gd name="connsiteY2167" fmla="*/ 69300 h 81130"/>
                    <a:gd name="connsiteX2168" fmla="*/ 65195 w 80482"/>
                    <a:gd name="connsiteY2168" fmla="*/ 69417 h 81130"/>
                    <a:gd name="connsiteX2169" fmla="*/ 65136 w 80482"/>
                    <a:gd name="connsiteY2169" fmla="*/ 69300 h 81130"/>
                    <a:gd name="connsiteX2170" fmla="*/ 67069 w 80482"/>
                    <a:gd name="connsiteY2170" fmla="*/ 67426 h 81130"/>
                    <a:gd name="connsiteX2171" fmla="*/ 65780 w 80482"/>
                    <a:gd name="connsiteY2171" fmla="*/ 67309 h 81130"/>
                    <a:gd name="connsiteX2172" fmla="*/ 64023 w 80482"/>
                    <a:gd name="connsiteY2172" fmla="*/ 65493 h 81130"/>
                    <a:gd name="connsiteX2173" fmla="*/ 63906 w 80482"/>
                    <a:gd name="connsiteY2173" fmla="*/ 64146 h 81130"/>
                    <a:gd name="connsiteX2174" fmla="*/ 65195 w 80482"/>
                    <a:gd name="connsiteY2174" fmla="*/ 64263 h 81130"/>
                    <a:gd name="connsiteX2175" fmla="*/ 66952 w 80482"/>
                    <a:gd name="connsiteY2175" fmla="*/ 66079 h 81130"/>
                    <a:gd name="connsiteX2176" fmla="*/ 67069 w 80482"/>
                    <a:gd name="connsiteY2176" fmla="*/ 67426 h 81130"/>
                    <a:gd name="connsiteX2177" fmla="*/ 67186 w 80482"/>
                    <a:gd name="connsiteY2177" fmla="*/ 67543 h 81130"/>
                    <a:gd name="connsiteX2178" fmla="*/ 67069 w 80482"/>
                    <a:gd name="connsiteY2178" fmla="*/ 67426 h 81130"/>
                    <a:gd name="connsiteX2179" fmla="*/ 68944 w 80482"/>
                    <a:gd name="connsiteY2179" fmla="*/ 65493 h 81130"/>
                    <a:gd name="connsiteX2180" fmla="*/ 67655 w 80482"/>
                    <a:gd name="connsiteY2180" fmla="*/ 65493 h 81130"/>
                    <a:gd name="connsiteX2181" fmla="*/ 65780 w 80482"/>
                    <a:gd name="connsiteY2181" fmla="*/ 63853 h 81130"/>
                    <a:gd name="connsiteX2182" fmla="*/ 65605 w 80482"/>
                    <a:gd name="connsiteY2182" fmla="*/ 62565 h 81130"/>
                    <a:gd name="connsiteX2183" fmla="*/ 66893 w 80482"/>
                    <a:gd name="connsiteY2183" fmla="*/ 62565 h 81130"/>
                    <a:gd name="connsiteX2184" fmla="*/ 68768 w 80482"/>
                    <a:gd name="connsiteY2184" fmla="*/ 64205 h 81130"/>
                    <a:gd name="connsiteX2185" fmla="*/ 68944 w 80482"/>
                    <a:gd name="connsiteY2185" fmla="*/ 65493 h 81130"/>
                    <a:gd name="connsiteX2186" fmla="*/ 69061 w 80482"/>
                    <a:gd name="connsiteY2186" fmla="*/ 65552 h 81130"/>
                    <a:gd name="connsiteX2187" fmla="*/ 68944 w 80482"/>
                    <a:gd name="connsiteY2187" fmla="*/ 65493 h 81130"/>
                    <a:gd name="connsiteX2188" fmla="*/ 70642 w 80482"/>
                    <a:gd name="connsiteY2188" fmla="*/ 63385 h 81130"/>
                    <a:gd name="connsiteX2189" fmla="*/ 69354 w 80482"/>
                    <a:gd name="connsiteY2189" fmla="*/ 63443 h 81130"/>
                    <a:gd name="connsiteX2190" fmla="*/ 67362 w 80482"/>
                    <a:gd name="connsiteY2190" fmla="*/ 61921 h 81130"/>
                    <a:gd name="connsiteX2191" fmla="*/ 67069 w 80482"/>
                    <a:gd name="connsiteY2191" fmla="*/ 60632 h 81130"/>
                    <a:gd name="connsiteX2192" fmla="*/ 68358 w 80482"/>
                    <a:gd name="connsiteY2192" fmla="*/ 60574 h 81130"/>
                    <a:gd name="connsiteX2193" fmla="*/ 70349 w 80482"/>
                    <a:gd name="connsiteY2193" fmla="*/ 62096 h 81130"/>
                    <a:gd name="connsiteX2194" fmla="*/ 70642 w 80482"/>
                    <a:gd name="connsiteY2194" fmla="*/ 63385 h 81130"/>
                    <a:gd name="connsiteX2195" fmla="*/ 70759 w 80482"/>
                    <a:gd name="connsiteY2195" fmla="*/ 63443 h 81130"/>
                    <a:gd name="connsiteX2196" fmla="*/ 70642 w 80482"/>
                    <a:gd name="connsiteY2196" fmla="*/ 63385 h 81130"/>
                    <a:gd name="connsiteX2197" fmla="*/ 72165 w 80482"/>
                    <a:gd name="connsiteY2197" fmla="*/ 61218 h 81130"/>
                    <a:gd name="connsiteX2198" fmla="*/ 70877 w 80482"/>
                    <a:gd name="connsiteY2198" fmla="*/ 61394 h 81130"/>
                    <a:gd name="connsiteX2199" fmla="*/ 68768 w 80482"/>
                    <a:gd name="connsiteY2199" fmla="*/ 59988 h 81130"/>
                    <a:gd name="connsiteX2200" fmla="*/ 68416 w 80482"/>
                    <a:gd name="connsiteY2200" fmla="*/ 58700 h 81130"/>
                    <a:gd name="connsiteX2201" fmla="*/ 69705 w 80482"/>
                    <a:gd name="connsiteY2201" fmla="*/ 58524 h 81130"/>
                    <a:gd name="connsiteX2202" fmla="*/ 71814 w 80482"/>
                    <a:gd name="connsiteY2202" fmla="*/ 59929 h 81130"/>
                    <a:gd name="connsiteX2203" fmla="*/ 72165 w 80482"/>
                    <a:gd name="connsiteY2203" fmla="*/ 61218 h 81130"/>
                    <a:gd name="connsiteX2204" fmla="*/ 72282 w 80482"/>
                    <a:gd name="connsiteY2204" fmla="*/ 61276 h 81130"/>
                    <a:gd name="connsiteX2205" fmla="*/ 72165 w 80482"/>
                    <a:gd name="connsiteY2205" fmla="*/ 61218 h 81130"/>
                    <a:gd name="connsiteX2206" fmla="*/ 73571 w 80482"/>
                    <a:gd name="connsiteY2206" fmla="*/ 58875 h 81130"/>
                    <a:gd name="connsiteX2207" fmla="*/ 72282 w 80482"/>
                    <a:gd name="connsiteY2207" fmla="*/ 59109 h 81130"/>
                    <a:gd name="connsiteX2208" fmla="*/ 70115 w 80482"/>
                    <a:gd name="connsiteY2208" fmla="*/ 57880 h 81130"/>
                    <a:gd name="connsiteX2209" fmla="*/ 69646 w 80482"/>
                    <a:gd name="connsiteY2209" fmla="*/ 56650 h 81130"/>
                    <a:gd name="connsiteX2210" fmla="*/ 70935 w 80482"/>
                    <a:gd name="connsiteY2210" fmla="*/ 56415 h 81130"/>
                    <a:gd name="connsiteX2211" fmla="*/ 73102 w 80482"/>
                    <a:gd name="connsiteY2211" fmla="*/ 57645 h 81130"/>
                    <a:gd name="connsiteX2212" fmla="*/ 73571 w 80482"/>
                    <a:gd name="connsiteY2212" fmla="*/ 58875 h 81130"/>
                    <a:gd name="connsiteX2213" fmla="*/ 73688 w 80482"/>
                    <a:gd name="connsiteY2213" fmla="*/ 58934 h 81130"/>
                    <a:gd name="connsiteX2214" fmla="*/ 73571 w 80482"/>
                    <a:gd name="connsiteY2214" fmla="*/ 58875 h 81130"/>
                    <a:gd name="connsiteX2215" fmla="*/ 74801 w 80482"/>
                    <a:gd name="connsiteY2215" fmla="*/ 56532 h 81130"/>
                    <a:gd name="connsiteX2216" fmla="*/ 73512 w 80482"/>
                    <a:gd name="connsiteY2216" fmla="*/ 56884 h 81130"/>
                    <a:gd name="connsiteX2217" fmla="*/ 71228 w 80482"/>
                    <a:gd name="connsiteY2217" fmla="*/ 55830 h 81130"/>
                    <a:gd name="connsiteX2218" fmla="*/ 70701 w 80482"/>
                    <a:gd name="connsiteY2218" fmla="*/ 54600 h 81130"/>
                    <a:gd name="connsiteX2219" fmla="*/ 71989 w 80482"/>
                    <a:gd name="connsiteY2219" fmla="*/ 54248 h 81130"/>
                    <a:gd name="connsiteX2220" fmla="*/ 74274 w 80482"/>
                    <a:gd name="connsiteY2220" fmla="*/ 55303 h 81130"/>
                    <a:gd name="connsiteX2221" fmla="*/ 74801 w 80482"/>
                    <a:gd name="connsiteY2221" fmla="*/ 56532 h 81130"/>
                    <a:gd name="connsiteX2222" fmla="*/ 74918 w 80482"/>
                    <a:gd name="connsiteY2222" fmla="*/ 56591 h 81130"/>
                    <a:gd name="connsiteX2223" fmla="*/ 74801 w 80482"/>
                    <a:gd name="connsiteY2223" fmla="*/ 56532 h 81130"/>
                    <a:gd name="connsiteX2224" fmla="*/ 75855 w 80482"/>
                    <a:gd name="connsiteY2224" fmla="*/ 54014 h 81130"/>
                    <a:gd name="connsiteX2225" fmla="*/ 74625 w 80482"/>
                    <a:gd name="connsiteY2225" fmla="*/ 54424 h 81130"/>
                    <a:gd name="connsiteX2226" fmla="*/ 72282 w 80482"/>
                    <a:gd name="connsiteY2226" fmla="*/ 53546 h 81130"/>
                    <a:gd name="connsiteX2227" fmla="*/ 71638 w 80482"/>
                    <a:gd name="connsiteY2227" fmla="*/ 52374 h 81130"/>
                    <a:gd name="connsiteX2228" fmla="*/ 72868 w 80482"/>
                    <a:gd name="connsiteY2228" fmla="*/ 51964 h 81130"/>
                    <a:gd name="connsiteX2229" fmla="*/ 75211 w 80482"/>
                    <a:gd name="connsiteY2229" fmla="*/ 52901 h 81130"/>
                    <a:gd name="connsiteX2230" fmla="*/ 75855 w 80482"/>
                    <a:gd name="connsiteY2230" fmla="*/ 54014 h 81130"/>
                    <a:gd name="connsiteX2231" fmla="*/ 75973 w 80482"/>
                    <a:gd name="connsiteY2231" fmla="*/ 54073 h 81130"/>
                    <a:gd name="connsiteX2232" fmla="*/ 75855 w 80482"/>
                    <a:gd name="connsiteY2232" fmla="*/ 54014 h 8113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  <a:cxn ang="0">
                      <a:pos x="connsiteX86" y="connsiteY86"/>
                    </a:cxn>
                    <a:cxn ang="0">
                      <a:pos x="connsiteX87" y="connsiteY87"/>
                    </a:cxn>
                    <a:cxn ang="0">
                      <a:pos x="connsiteX88" y="connsiteY88"/>
                    </a:cxn>
                    <a:cxn ang="0">
                      <a:pos x="connsiteX89" y="connsiteY89"/>
                    </a:cxn>
                    <a:cxn ang="0">
                      <a:pos x="connsiteX90" y="connsiteY90"/>
                    </a:cxn>
                    <a:cxn ang="0">
                      <a:pos x="connsiteX91" y="connsiteY91"/>
                    </a:cxn>
                    <a:cxn ang="0">
                      <a:pos x="connsiteX92" y="connsiteY92"/>
                    </a:cxn>
                    <a:cxn ang="0">
                      <a:pos x="connsiteX93" y="connsiteY93"/>
                    </a:cxn>
                    <a:cxn ang="0">
                      <a:pos x="connsiteX94" y="connsiteY94"/>
                    </a:cxn>
                    <a:cxn ang="0">
                      <a:pos x="connsiteX95" y="connsiteY95"/>
                    </a:cxn>
                    <a:cxn ang="0">
                      <a:pos x="connsiteX96" y="connsiteY96"/>
                    </a:cxn>
                    <a:cxn ang="0">
                      <a:pos x="connsiteX97" y="connsiteY97"/>
                    </a:cxn>
                    <a:cxn ang="0">
                      <a:pos x="connsiteX98" y="connsiteY98"/>
                    </a:cxn>
                    <a:cxn ang="0">
                      <a:pos x="connsiteX99" y="connsiteY99"/>
                    </a:cxn>
                    <a:cxn ang="0">
                      <a:pos x="connsiteX100" y="connsiteY100"/>
                    </a:cxn>
                    <a:cxn ang="0">
                      <a:pos x="connsiteX101" y="connsiteY101"/>
                    </a:cxn>
                    <a:cxn ang="0">
                      <a:pos x="connsiteX102" y="connsiteY102"/>
                    </a:cxn>
                    <a:cxn ang="0">
                      <a:pos x="connsiteX103" y="connsiteY103"/>
                    </a:cxn>
                    <a:cxn ang="0">
                      <a:pos x="connsiteX104" y="connsiteY104"/>
                    </a:cxn>
                    <a:cxn ang="0">
                      <a:pos x="connsiteX105" y="connsiteY105"/>
                    </a:cxn>
                    <a:cxn ang="0">
                      <a:pos x="connsiteX106" y="connsiteY106"/>
                    </a:cxn>
                    <a:cxn ang="0">
                      <a:pos x="connsiteX107" y="connsiteY107"/>
                    </a:cxn>
                    <a:cxn ang="0">
                      <a:pos x="connsiteX108" y="connsiteY108"/>
                    </a:cxn>
                    <a:cxn ang="0">
                      <a:pos x="connsiteX109" y="connsiteY109"/>
                    </a:cxn>
                    <a:cxn ang="0">
                      <a:pos x="connsiteX110" y="connsiteY110"/>
                    </a:cxn>
                    <a:cxn ang="0">
                      <a:pos x="connsiteX111" y="connsiteY111"/>
                    </a:cxn>
                    <a:cxn ang="0">
                      <a:pos x="connsiteX112" y="connsiteY112"/>
                    </a:cxn>
                    <a:cxn ang="0">
                      <a:pos x="connsiteX113" y="connsiteY113"/>
                    </a:cxn>
                    <a:cxn ang="0">
                      <a:pos x="connsiteX114" y="connsiteY114"/>
                    </a:cxn>
                    <a:cxn ang="0">
                      <a:pos x="connsiteX115" y="connsiteY115"/>
                    </a:cxn>
                    <a:cxn ang="0">
                      <a:pos x="connsiteX116" y="connsiteY116"/>
                    </a:cxn>
                    <a:cxn ang="0">
                      <a:pos x="connsiteX117" y="connsiteY117"/>
                    </a:cxn>
                    <a:cxn ang="0">
                      <a:pos x="connsiteX118" y="connsiteY118"/>
                    </a:cxn>
                    <a:cxn ang="0">
                      <a:pos x="connsiteX119" y="connsiteY119"/>
                    </a:cxn>
                    <a:cxn ang="0">
                      <a:pos x="connsiteX120" y="connsiteY120"/>
                    </a:cxn>
                    <a:cxn ang="0">
                      <a:pos x="connsiteX121" y="connsiteY121"/>
                    </a:cxn>
                    <a:cxn ang="0">
                      <a:pos x="connsiteX122" y="connsiteY122"/>
                    </a:cxn>
                    <a:cxn ang="0">
                      <a:pos x="connsiteX123" y="connsiteY123"/>
                    </a:cxn>
                    <a:cxn ang="0">
                      <a:pos x="connsiteX124" y="connsiteY124"/>
                    </a:cxn>
                    <a:cxn ang="0">
                      <a:pos x="connsiteX125" y="connsiteY125"/>
                    </a:cxn>
                    <a:cxn ang="0">
                      <a:pos x="connsiteX126" y="connsiteY126"/>
                    </a:cxn>
                    <a:cxn ang="0">
                      <a:pos x="connsiteX127" y="connsiteY127"/>
                    </a:cxn>
                    <a:cxn ang="0">
                      <a:pos x="connsiteX128" y="connsiteY128"/>
                    </a:cxn>
                    <a:cxn ang="0">
                      <a:pos x="connsiteX129" y="connsiteY129"/>
                    </a:cxn>
                    <a:cxn ang="0">
                      <a:pos x="connsiteX130" y="connsiteY130"/>
                    </a:cxn>
                    <a:cxn ang="0">
                      <a:pos x="connsiteX131" y="connsiteY131"/>
                    </a:cxn>
                    <a:cxn ang="0">
                      <a:pos x="connsiteX132" y="connsiteY132"/>
                    </a:cxn>
                    <a:cxn ang="0">
                      <a:pos x="connsiteX133" y="connsiteY133"/>
                    </a:cxn>
                    <a:cxn ang="0">
                      <a:pos x="connsiteX134" y="connsiteY134"/>
                    </a:cxn>
                    <a:cxn ang="0">
                      <a:pos x="connsiteX135" y="connsiteY135"/>
                    </a:cxn>
                    <a:cxn ang="0">
                      <a:pos x="connsiteX136" y="connsiteY136"/>
                    </a:cxn>
                    <a:cxn ang="0">
                      <a:pos x="connsiteX137" y="connsiteY137"/>
                    </a:cxn>
                    <a:cxn ang="0">
                      <a:pos x="connsiteX138" y="connsiteY138"/>
                    </a:cxn>
                    <a:cxn ang="0">
                      <a:pos x="connsiteX139" y="connsiteY139"/>
                    </a:cxn>
                    <a:cxn ang="0">
                      <a:pos x="connsiteX140" y="connsiteY140"/>
                    </a:cxn>
                    <a:cxn ang="0">
                      <a:pos x="connsiteX141" y="connsiteY141"/>
                    </a:cxn>
                    <a:cxn ang="0">
                      <a:pos x="connsiteX142" y="connsiteY142"/>
                    </a:cxn>
                    <a:cxn ang="0">
                      <a:pos x="connsiteX143" y="connsiteY143"/>
                    </a:cxn>
                    <a:cxn ang="0">
                      <a:pos x="connsiteX144" y="connsiteY144"/>
                    </a:cxn>
                    <a:cxn ang="0">
                      <a:pos x="connsiteX145" y="connsiteY145"/>
                    </a:cxn>
                    <a:cxn ang="0">
                      <a:pos x="connsiteX146" y="connsiteY146"/>
                    </a:cxn>
                    <a:cxn ang="0">
                      <a:pos x="connsiteX147" y="connsiteY147"/>
                    </a:cxn>
                    <a:cxn ang="0">
                      <a:pos x="connsiteX148" y="connsiteY148"/>
                    </a:cxn>
                    <a:cxn ang="0">
                      <a:pos x="connsiteX149" y="connsiteY149"/>
                    </a:cxn>
                    <a:cxn ang="0">
                      <a:pos x="connsiteX150" y="connsiteY150"/>
                    </a:cxn>
                    <a:cxn ang="0">
                      <a:pos x="connsiteX151" y="connsiteY151"/>
                    </a:cxn>
                    <a:cxn ang="0">
                      <a:pos x="connsiteX152" y="connsiteY152"/>
                    </a:cxn>
                    <a:cxn ang="0">
                      <a:pos x="connsiteX153" y="connsiteY153"/>
                    </a:cxn>
                    <a:cxn ang="0">
                      <a:pos x="connsiteX154" y="connsiteY154"/>
                    </a:cxn>
                    <a:cxn ang="0">
                      <a:pos x="connsiteX155" y="connsiteY155"/>
                    </a:cxn>
                    <a:cxn ang="0">
                      <a:pos x="connsiteX156" y="connsiteY156"/>
                    </a:cxn>
                    <a:cxn ang="0">
                      <a:pos x="connsiteX157" y="connsiteY157"/>
                    </a:cxn>
                    <a:cxn ang="0">
                      <a:pos x="connsiteX158" y="connsiteY158"/>
                    </a:cxn>
                    <a:cxn ang="0">
                      <a:pos x="connsiteX159" y="connsiteY159"/>
                    </a:cxn>
                    <a:cxn ang="0">
                      <a:pos x="connsiteX160" y="connsiteY160"/>
                    </a:cxn>
                    <a:cxn ang="0">
                      <a:pos x="connsiteX161" y="connsiteY161"/>
                    </a:cxn>
                    <a:cxn ang="0">
                      <a:pos x="connsiteX162" y="connsiteY162"/>
                    </a:cxn>
                    <a:cxn ang="0">
                      <a:pos x="connsiteX163" y="connsiteY163"/>
                    </a:cxn>
                    <a:cxn ang="0">
                      <a:pos x="connsiteX164" y="connsiteY164"/>
                    </a:cxn>
                    <a:cxn ang="0">
                      <a:pos x="connsiteX165" y="connsiteY165"/>
                    </a:cxn>
                    <a:cxn ang="0">
                      <a:pos x="connsiteX166" y="connsiteY166"/>
                    </a:cxn>
                    <a:cxn ang="0">
                      <a:pos x="connsiteX167" y="connsiteY167"/>
                    </a:cxn>
                    <a:cxn ang="0">
                      <a:pos x="connsiteX168" y="connsiteY168"/>
                    </a:cxn>
                    <a:cxn ang="0">
                      <a:pos x="connsiteX169" y="connsiteY169"/>
                    </a:cxn>
                    <a:cxn ang="0">
                      <a:pos x="connsiteX170" y="connsiteY170"/>
                    </a:cxn>
                    <a:cxn ang="0">
                      <a:pos x="connsiteX171" y="connsiteY171"/>
                    </a:cxn>
                    <a:cxn ang="0">
                      <a:pos x="connsiteX172" y="connsiteY172"/>
                    </a:cxn>
                    <a:cxn ang="0">
                      <a:pos x="connsiteX173" y="connsiteY173"/>
                    </a:cxn>
                    <a:cxn ang="0">
                      <a:pos x="connsiteX174" y="connsiteY174"/>
                    </a:cxn>
                    <a:cxn ang="0">
                      <a:pos x="connsiteX175" y="connsiteY175"/>
                    </a:cxn>
                    <a:cxn ang="0">
                      <a:pos x="connsiteX176" y="connsiteY176"/>
                    </a:cxn>
                    <a:cxn ang="0">
                      <a:pos x="connsiteX177" y="connsiteY177"/>
                    </a:cxn>
                    <a:cxn ang="0">
                      <a:pos x="connsiteX178" y="connsiteY178"/>
                    </a:cxn>
                    <a:cxn ang="0">
                      <a:pos x="connsiteX179" y="connsiteY179"/>
                    </a:cxn>
                    <a:cxn ang="0">
                      <a:pos x="connsiteX180" y="connsiteY180"/>
                    </a:cxn>
                    <a:cxn ang="0">
                      <a:pos x="connsiteX181" y="connsiteY181"/>
                    </a:cxn>
                    <a:cxn ang="0">
                      <a:pos x="connsiteX182" y="connsiteY182"/>
                    </a:cxn>
                    <a:cxn ang="0">
                      <a:pos x="connsiteX183" y="connsiteY183"/>
                    </a:cxn>
                    <a:cxn ang="0">
                      <a:pos x="connsiteX184" y="connsiteY184"/>
                    </a:cxn>
                    <a:cxn ang="0">
                      <a:pos x="connsiteX185" y="connsiteY185"/>
                    </a:cxn>
                    <a:cxn ang="0">
                      <a:pos x="connsiteX186" y="connsiteY186"/>
                    </a:cxn>
                    <a:cxn ang="0">
                      <a:pos x="connsiteX187" y="connsiteY187"/>
                    </a:cxn>
                    <a:cxn ang="0">
                      <a:pos x="connsiteX188" y="connsiteY188"/>
                    </a:cxn>
                    <a:cxn ang="0">
                      <a:pos x="connsiteX189" y="connsiteY189"/>
                    </a:cxn>
                    <a:cxn ang="0">
                      <a:pos x="connsiteX190" y="connsiteY190"/>
                    </a:cxn>
                    <a:cxn ang="0">
                      <a:pos x="connsiteX191" y="connsiteY191"/>
                    </a:cxn>
                    <a:cxn ang="0">
                      <a:pos x="connsiteX192" y="connsiteY192"/>
                    </a:cxn>
                    <a:cxn ang="0">
                      <a:pos x="connsiteX193" y="connsiteY193"/>
                    </a:cxn>
                    <a:cxn ang="0">
                      <a:pos x="connsiteX194" y="connsiteY194"/>
                    </a:cxn>
                    <a:cxn ang="0">
                      <a:pos x="connsiteX195" y="connsiteY195"/>
                    </a:cxn>
                    <a:cxn ang="0">
                      <a:pos x="connsiteX196" y="connsiteY196"/>
                    </a:cxn>
                    <a:cxn ang="0">
                      <a:pos x="connsiteX197" y="connsiteY197"/>
                    </a:cxn>
                    <a:cxn ang="0">
                      <a:pos x="connsiteX198" y="connsiteY198"/>
                    </a:cxn>
                    <a:cxn ang="0">
                      <a:pos x="connsiteX199" y="connsiteY199"/>
                    </a:cxn>
                    <a:cxn ang="0">
                      <a:pos x="connsiteX200" y="connsiteY200"/>
                    </a:cxn>
                    <a:cxn ang="0">
                      <a:pos x="connsiteX201" y="connsiteY201"/>
                    </a:cxn>
                    <a:cxn ang="0">
                      <a:pos x="connsiteX202" y="connsiteY202"/>
                    </a:cxn>
                    <a:cxn ang="0">
                      <a:pos x="connsiteX203" y="connsiteY203"/>
                    </a:cxn>
                    <a:cxn ang="0">
                      <a:pos x="connsiteX204" y="connsiteY204"/>
                    </a:cxn>
                    <a:cxn ang="0">
                      <a:pos x="connsiteX205" y="connsiteY205"/>
                    </a:cxn>
                    <a:cxn ang="0">
                      <a:pos x="connsiteX206" y="connsiteY206"/>
                    </a:cxn>
                    <a:cxn ang="0">
                      <a:pos x="connsiteX207" y="connsiteY207"/>
                    </a:cxn>
                    <a:cxn ang="0">
                      <a:pos x="connsiteX208" y="connsiteY208"/>
                    </a:cxn>
                    <a:cxn ang="0">
                      <a:pos x="connsiteX209" y="connsiteY209"/>
                    </a:cxn>
                    <a:cxn ang="0">
                      <a:pos x="connsiteX210" y="connsiteY210"/>
                    </a:cxn>
                    <a:cxn ang="0">
                      <a:pos x="connsiteX211" y="connsiteY211"/>
                    </a:cxn>
                    <a:cxn ang="0">
                      <a:pos x="connsiteX212" y="connsiteY212"/>
                    </a:cxn>
                    <a:cxn ang="0">
                      <a:pos x="connsiteX213" y="connsiteY213"/>
                    </a:cxn>
                    <a:cxn ang="0">
                      <a:pos x="connsiteX214" y="connsiteY214"/>
                    </a:cxn>
                    <a:cxn ang="0">
                      <a:pos x="connsiteX215" y="connsiteY215"/>
                    </a:cxn>
                    <a:cxn ang="0">
                      <a:pos x="connsiteX216" y="connsiteY216"/>
                    </a:cxn>
                    <a:cxn ang="0">
                      <a:pos x="connsiteX217" y="connsiteY217"/>
                    </a:cxn>
                    <a:cxn ang="0">
                      <a:pos x="connsiteX218" y="connsiteY218"/>
                    </a:cxn>
                    <a:cxn ang="0">
                      <a:pos x="connsiteX219" y="connsiteY219"/>
                    </a:cxn>
                    <a:cxn ang="0">
                      <a:pos x="connsiteX220" y="connsiteY220"/>
                    </a:cxn>
                    <a:cxn ang="0">
                      <a:pos x="connsiteX221" y="connsiteY221"/>
                    </a:cxn>
                    <a:cxn ang="0">
                      <a:pos x="connsiteX222" y="connsiteY222"/>
                    </a:cxn>
                    <a:cxn ang="0">
                      <a:pos x="connsiteX223" y="connsiteY223"/>
                    </a:cxn>
                    <a:cxn ang="0">
                      <a:pos x="connsiteX224" y="connsiteY224"/>
                    </a:cxn>
                    <a:cxn ang="0">
                      <a:pos x="connsiteX225" y="connsiteY225"/>
                    </a:cxn>
                    <a:cxn ang="0">
                      <a:pos x="connsiteX226" y="connsiteY226"/>
                    </a:cxn>
                    <a:cxn ang="0">
                      <a:pos x="connsiteX227" y="connsiteY227"/>
                    </a:cxn>
                    <a:cxn ang="0">
                      <a:pos x="connsiteX228" y="connsiteY228"/>
                    </a:cxn>
                    <a:cxn ang="0">
                      <a:pos x="connsiteX229" y="connsiteY229"/>
                    </a:cxn>
                    <a:cxn ang="0">
                      <a:pos x="connsiteX230" y="connsiteY230"/>
                    </a:cxn>
                    <a:cxn ang="0">
                      <a:pos x="connsiteX231" y="connsiteY231"/>
                    </a:cxn>
                    <a:cxn ang="0">
                      <a:pos x="connsiteX232" y="connsiteY232"/>
                    </a:cxn>
                    <a:cxn ang="0">
                      <a:pos x="connsiteX233" y="connsiteY233"/>
                    </a:cxn>
                    <a:cxn ang="0">
                      <a:pos x="connsiteX234" y="connsiteY234"/>
                    </a:cxn>
                    <a:cxn ang="0">
                      <a:pos x="connsiteX235" y="connsiteY235"/>
                    </a:cxn>
                    <a:cxn ang="0">
                      <a:pos x="connsiteX236" y="connsiteY236"/>
                    </a:cxn>
                    <a:cxn ang="0">
                      <a:pos x="connsiteX237" y="connsiteY237"/>
                    </a:cxn>
                    <a:cxn ang="0">
                      <a:pos x="connsiteX238" y="connsiteY238"/>
                    </a:cxn>
                    <a:cxn ang="0">
                      <a:pos x="connsiteX239" y="connsiteY239"/>
                    </a:cxn>
                    <a:cxn ang="0">
                      <a:pos x="connsiteX240" y="connsiteY240"/>
                    </a:cxn>
                    <a:cxn ang="0">
                      <a:pos x="connsiteX241" y="connsiteY241"/>
                    </a:cxn>
                    <a:cxn ang="0">
                      <a:pos x="connsiteX242" y="connsiteY242"/>
                    </a:cxn>
                    <a:cxn ang="0">
                      <a:pos x="connsiteX243" y="connsiteY243"/>
                    </a:cxn>
                    <a:cxn ang="0">
                      <a:pos x="connsiteX244" y="connsiteY244"/>
                    </a:cxn>
                    <a:cxn ang="0">
                      <a:pos x="connsiteX245" y="connsiteY245"/>
                    </a:cxn>
                    <a:cxn ang="0">
                      <a:pos x="connsiteX246" y="connsiteY246"/>
                    </a:cxn>
                    <a:cxn ang="0">
                      <a:pos x="connsiteX247" y="connsiteY247"/>
                    </a:cxn>
                    <a:cxn ang="0">
                      <a:pos x="connsiteX248" y="connsiteY248"/>
                    </a:cxn>
                    <a:cxn ang="0">
                      <a:pos x="connsiteX249" y="connsiteY249"/>
                    </a:cxn>
                    <a:cxn ang="0">
                      <a:pos x="connsiteX250" y="connsiteY250"/>
                    </a:cxn>
                    <a:cxn ang="0">
                      <a:pos x="connsiteX251" y="connsiteY251"/>
                    </a:cxn>
                    <a:cxn ang="0">
                      <a:pos x="connsiteX252" y="connsiteY252"/>
                    </a:cxn>
                    <a:cxn ang="0">
                      <a:pos x="connsiteX253" y="connsiteY253"/>
                    </a:cxn>
                    <a:cxn ang="0">
                      <a:pos x="connsiteX254" y="connsiteY254"/>
                    </a:cxn>
                    <a:cxn ang="0">
                      <a:pos x="connsiteX255" y="connsiteY255"/>
                    </a:cxn>
                    <a:cxn ang="0">
                      <a:pos x="connsiteX256" y="connsiteY256"/>
                    </a:cxn>
                    <a:cxn ang="0">
                      <a:pos x="connsiteX257" y="connsiteY257"/>
                    </a:cxn>
                    <a:cxn ang="0">
                      <a:pos x="connsiteX258" y="connsiteY258"/>
                    </a:cxn>
                    <a:cxn ang="0">
                      <a:pos x="connsiteX259" y="connsiteY259"/>
                    </a:cxn>
                    <a:cxn ang="0">
                      <a:pos x="connsiteX260" y="connsiteY260"/>
                    </a:cxn>
                    <a:cxn ang="0">
                      <a:pos x="connsiteX261" y="connsiteY261"/>
                    </a:cxn>
                    <a:cxn ang="0">
                      <a:pos x="connsiteX262" y="connsiteY262"/>
                    </a:cxn>
                    <a:cxn ang="0">
                      <a:pos x="connsiteX263" y="connsiteY263"/>
                    </a:cxn>
                    <a:cxn ang="0">
                      <a:pos x="connsiteX264" y="connsiteY264"/>
                    </a:cxn>
                    <a:cxn ang="0">
                      <a:pos x="connsiteX265" y="connsiteY265"/>
                    </a:cxn>
                    <a:cxn ang="0">
                      <a:pos x="connsiteX266" y="connsiteY266"/>
                    </a:cxn>
                    <a:cxn ang="0">
                      <a:pos x="connsiteX267" y="connsiteY267"/>
                    </a:cxn>
                    <a:cxn ang="0">
                      <a:pos x="connsiteX268" y="connsiteY268"/>
                    </a:cxn>
                    <a:cxn ang="0">
                      <a:pos x="connsiteX269" y="connsiteY269"/>
                    </a:cxn>
                    <a:cxn ang="0">
                      <a:pos x="connsiteX270" y="connsiteY270"/>
                    </a:cxn>
                    <a:cxn ang="0">
                      <a:pos x="connsiteX271" y="connsiteY271"/>
                    </a:cxn>
                    <a:cxn ang="0">
                      <a:pos x="connsiteX272" y="connsiteY272"/>
                    </a:cxn>
                    <a:cxn ang="0">
                      <a:pos x="connsiteX273" y="connsiteY273"/>
                    </a:cxn>
                    <a:cxn ang="0">
                      <a:pos x="connsiteX274" y="connsiteY274"/>
                    </a:cxn>
                    <a:cxn ang="0">
                      <a:pos x="connsiteX275" y="connsiteY275"/>
                    </a:cxn>
                    <a:cxn ang="0">
                      <a:pos x="connsiteX276" y="connsiteY276"/>
                    </a:cxn>
                    <a:cxn ang="0">
                      <a:pos x="connsiteX277" y="connsiteY277"/>
                    </a:cxn>
                    <a:cxn ang="0">
                      <a:pos x="connsiteX278" y="connsiteY278"/>
                    </a:cxn>
                    <a:cxn ang="0">
                      <a:pos x="connsiteX279" y="connsiteY279"/>
                    </a:cxn>
                    <a:cxn ang="0">
                      <a:pos x="connsiteX280" y="connsiteY280"/>
                    </a:cxn>
                    <a:cxn ang="0">
                      <a:pos x="connsiteX281" y="connsiteY281"/>
                    </a:cxn>
                    <a:cxn ang="0">
                      <a:pos x="connsiteX282" y="connsiteY282"/>
                    </a:cxn>
                    <a:cxn ang="0">
                      <a:pos x="connsiteX283" y="connsiteY283"/>
                    </a:cxn>
                    <a:cxn ang="0">
                      <a:pos x="connsiteX284" y="connsiteY284"/>
                    </a:cxn>
                    <a:cxn ang="0">
                      <a:pos x="connsiteX285" y="connsiteY285"/>
                    </a:cxn>
                    <a:cxn ang="0">
                      <a:pos x="connsiteX286" y="connsiteY286"/>
                    </a:cxn>
                    <a:cxn ang="0">
                      <a:pos x="connsiteX287" y="connsiteY287"/>
                    </a:cxn>
                    <a:cxn ang="0">
                      <a:pos x="connsiteX288" y="connsiteY288"/>
                    </a:cxn>
                    <a:cxn ang="0">
                      <a:pos x="connsiteX289" y="connsiteY289"/>
                    </a:cxn>
                    <a:cxn ang="0">
                      <a:pos x="connsiteX290" y="connsiteY290"/>
                    </a:cxn>
                    <a:cxn ang="0">
                      <a:pos x="connsiteX291" y="connsiteY291"/>
                    </a:cxn>
                    <a:cxn ang="0">
                      <a:pos x="connsiteX292" y="connsiteY292"/>
                    </a:cxn>
                    <a:cxn ang="0">
                      <a:pos x="connsiteX293" y="connsiteY293"/>
                    </a:cxn>
                    <a:cxn ang="0">
                      <a:pos x="connsiteX294" y="connsiteY294"/>
                    </a:cxn>
                    <a:cxn ang="0">
                      <a:pos x="connsiteX295" y="connsiteY295"/>
                    </a:cxn>
                    <a:cxn ang="0">
                      <a:pos x="connsiteX296" y="connsiteY296"/>
                    </a:cxn>
                    <a:cxn ang="0">
                      <a:pos x="connsiteX297" y="connsiteY297"/>
                    </a:cxn>
                    <a:cxn ang="0">
                      <a:pos x="connsiteX298" y="connsiteY298"/>
                    </a:cxn>
                    <a:cxn ang="0">
                      <a:pos x="connsiteX299" y="connsiteY299"/>
                    </a:cxn>
                    <a:cxn ang="0">
                      <a:pos x="connsiteX300" y="connsiteY300"/>
                    </a:cxn>
                    <a:cxn ang="0">
                      <a:pos x="connsiteX301" y="connsiteY301"/>
                    </a:cxn>
                    <a:cxn ang="0">
                      <a:pos x="connsiteX302" y="connsiteY302"/>
                    </a:cxn>
                    <a:cxn ang="0">
                      <a:pos x="connsiteX303" y="connsiteY303"/>
                    </a:cxn>
                    <a:cxn ang="0">
                      <a:pos x="connsiteX304" y="connsiteY304"/>
                    </a:cxn>
                    <a:cxn ang="0">
                      <a:pos x="connsiteX305" y="connsiteY305"/>
                    </a:cxn>
                    <a:cxn ang="0">
                      <a:pos x="connsiteX306" y="connsiteY306"/>
                    </a:cxn>
                    <a:cxn ang="0">
                      <a:pos x="connsiteX307" y="connsiteY307"/>
                    </a:cxn>
                    <a:cxn ang="0">
                      <a:pos x="connsiteX308" y="connsiteY308"/>
                    </a:cxn>
                    <a:cxn ang="0">
                      <a:pos x="connsiteX309" y="connsiteY309"/>
                    </a:cxn>
                    <a:cxn ang="0">
                      <a:pos x="connsiteX310" y="connsiteY310"/>
                    </a:cxn>
                    <a:cxn ang="0">
                      <a:pos x="connsiteX311" y="connsiteY311"/>
                    </a:cxn>
                    <a:cxn ang="0">
                      <a:pos x="connsiteX312" y="connsiteY312"/>
                    </a:cxn>
                    <a:cxn ang="0">
                      <a:pos x="connsiteX313" y="connsiteY313"/>
                    </a:cxn>
                    <a:cxn ang="0">
                      <a:pos x="connsiteX314" y="connsiteY314"/>
                    </a:cxn>
                    <a:cxn ang="0">
                      <a:pos x="connsiteX315" y="connsiteY315"/>
                    </a:cxn>
                    <a:cxn ang="0">
                      <a:pos x="connsiteX316" y="connsiteY316"/>
                    </a:cxn>
                    <a:cxn ang="0">
                      <a:pos x="connsiteX317" y="connsiteY317"/>
                    </a:cxn>
                    <a:cxn ang="0">
                      <a:pos x="connsiteX318" y="connsiteY318"/>
                    </a:cxn>
                    <a:cxn ang="0">
                      <a:pos x="connsiteX319" y="connsiteY319"/>
                    </a:cxn>
                    <a:cxn ang="0">
                      <a:pos x="connsiteX320" y="connsiteY320"/>
                    </a:cxn>
                    <a:cxn ang="0">
                      <a:pos x="connsiteX321" y="connsiteY321"/>
                    </a:cxn>
                    <a:cxn ang="0">
                      <a:pos x="connsiteX322" y="connsiteY322"/>
                    </a:cxn>
                    <a:cxn ang="0">
                      <a:pos x="connsiteX323" y="connsiteY323"/>
                    </a:cxn>
                    <a:cxn ang="0">
                      <a:pos x="connsiteX324" y="connsiteY324"/>
                    </a:cxn>
                    <a:cxn ang="0">
                      <a:pos x="connsiteX325" y="connsiteY325"/>
                    </a:cxn>
                    <a:cxn ang="0">
                      <a:pos x="connsiteX326" y="connsiteY326"/>
                    </a:cxn>
                    <a:cxn ang="0">
                      <a:pos x="connsiteX327" y="connsiteY327"/>
                    </a:cxn>
                    <a:cxn ang="0">
                      <a:pos x="connsiteX328" y="connsiteY328"/>
                    </a:cxn>
                    <a:cxn ang="0">
                      <a:pos x="connsiteX329" y="connsiteY329"/>
                    </a:cxn>
                    <a:cxn ang="0">
                      <a:pos x="connsiteX330" y="connsiteY330"/>
                    </a:cxn>
                    <a:cxn ang="0">
                      <a:pos x="connsiteX331" y="connsiteY331"/>
                    </a:cxn>
                    <a:cxn ang="0">
                      <a:pos x="connsiteX332" y="connsiteY332"/>
                    </a:cxn>
                    <a:cxn ang="0">
                      <a:pos x="connsiteX333" y="connsiteY333"/>
                    </a:cxn>
                    <a:cxn ang="0">
                      <a:pos x="connsiteX334" y="connsiteY334"/>
                    </a:cxn>
                    <a:cxn ang="0">
                      <a:pos x="connsiteX335" y="connsiteY335"/>
                    </a:cxn>
                    <a:cxn ang="0">
                      <a:pos x="connsiteX336" y="connsiteY336"/>
                    </a:cxn>
                    <a:cxn ang="0">
                      <a:pos x="connsiteX337" y="connsiteY337"/>
                    </a:cxn>
                    <a:cxn ang="0">
                      <a:pos x="connsiteX338" y="connsiteY338"/>
                    </a:cxn>
                    <a:cxn ang="0">
                      <a:pos x="connsiteX339" y="connsiteY339"/>
                    </a:cxn>
                    <a:cxn ang="0">
                      <a:pos x="connsiteX340" y="connsiteY340"/>
                    </a:cxn>
                    <a:cxn ang="0">
                      <a:pos x="connsiteX341" y="connsiteY341"/>
                    </a:cxn>
                    <a:cxn ang="0">
                      <a:pos x="connsiteX342" y="connsiteY342"/>
                    </a:cxn>
                    <a:cxn ang="0">
                      <a:pos x="connsiteX343" y="connsiteY343"/>
                    </a:cxn>
                    <a:cxn ang="0">
                      <a:pos x="connsiteX344" y="connsiteY344"/>
                    </a:cxn>
                    <a:cxn ang="0">
                      <a:pos x="connsiteX345" y="connsiteY345"/>
                    </a:cxn>
                    <a:cxn ang="0">
                      <a:pos x="connsiteX346" y="connsiteY346"/>
                    </a:cxn>
                    <a:cxn ang="0">
                      <a:pos x="connsiteX347" y="connsiteY347"/>
                    </a:cxn>
                    <a:cxn ang="0">
                      <a:pos x="connsiteX348" y="connsiteY348"/>
                    </a:cxn>
                    <a:cxn ang="0">
                      <a:pos x="connsiteX349" y="connsiteY349"/>
                    </a:cxn>
                    <a:cxn ang="0">
                      <a:pos x="connsiteX350" y="connsiteY350"/>
                    </a:cxn>
                    <a:cxn ang="0">
                      <a:pos x="connsiteX351" y="connsiteY351"/>
                    </a:cxn>
                    <a:cxn ang="0">
                      <a:pos x="connsiteX352" y="connsiteY352"/>
                    </a:cxn>
                    <a:cxn ang="0">
                      <a:pos x="connsiteX353" y="connsiteY353"/>
                    </a:cxn>
                    <a:cxn ang="0">
                      <a:pos x="connsiteX354" y="connsiteY354"/>
                    </a:cxn>
                    <a:cxn ang="0">
                      <a:pos x="connsiteX355" y="connsiteY355"/>
                    </a:cxn>
                    <a:cxn ang="0">
                      <a:pos x="connsiteX356" y="connsiteY356"/>
                    </a:cxn>
                    <a:cxn ang="0">
                      <a:pos x="connsiteX357" y="connsiteY357"/>
                    </a:cxn>
                    <a:cxn ang="0">
                      <a:pos x="connsiteX358" y="connsiteY358"/>
                    </a:cxn>
                    <a:cxn ang="0">
                      <a:pos x="connsiteX359" y="connsiteY359"/>
                    </a:cxn>
                    <a:cxn ang="0">
                      <a:pos x="connsiteX360" y="connsiteY360"/>
                    </a:cxn>
                    <a:cxn ang="0">
                      <a:pos x="connsiteX361" y="connsiteY361"/>
                    </a:cxn>
                    <a:cxn ang="0">
                      <a:pos x="connsiteX362" y="connsiteY362"/>
                    </a:cxn>
                    <a:cxn ang="0">
                      <a:pos x="connsiteX363" y="connsiteY363"/>
                    </a:cxn>
                    <a:cxn ang="0">
                      <a:pos x="connsiteX364" y="connsiteY364"/>
                    </a:cxn>
                    <a:cxn ang="0">
                      <a:pos x="connsiteX365" y="connsiteY365"/>
                    </a:cxn>
                    <a:cxn ang="0">
                      <a:pos x="connsiteX366" y="connsiteY366"/>
                    </a:cxn>
                    <a:cxn ang="0">
                      <a:pos x="connsiteX367" y="connsiteY367"/>
                    </a:cxn>
                    <a:cxn ang="0">
                      <a:pos x="connsiteX368" y="connsiteY368"/>
                    </a:cxn>
                    <a:cxn ang="0">
                      <a:pos x="connsiteX369" y="connsiteY369"/>
                    </a:cxn>
                    <a:cxn ang="0">
                      <a:pos x="connsiteX370" y="connsiteY370"/>
                    </a:cxn>
                    <a:cxn ang="0">
                      <a:pos x="connsiteX371" y="connsiteY371"/>
                    </a:cxn>
                    <a:cxn ang="0">
                      <a:pos x="connsiteX372" y="connsiteY372"/>
                    </a:cxn>
                    <a:cxn ang="0">
                      <a:pos x="connsiteX373" y="connsiteY373"/>
                    </a:cxn>
                    <a:cxn ang="0">
                      <a:pos x="connsiteX374" y="connsiteY374"/>
                    </a:cxn>
                    <a:cxn ang="0">
                      <a:pos x="connsiteX375" y="connsiteY375"/>
                    </a:cxn>
                    <a:cxn ang="0">
                      <a:pos x="connsiteX376" y="connsiteY376"/>
                    </a:cxn>
                    <a:cxn ang="0">
                      <a:pos x="connsiteX377" y="connsiteY377"/>
                    </a:cxn>
                    <a:cxn ang="0">
                      <a:pos x="connsiteX378" y="connsiteY378"/>
                    </a:cxn>
                    <a:cxn ang="0">
                      <a:pos x="connsiteX379" y="connsiteY379"/>
                    </a:cxn>
                    <a:cxn ang="0">
                      <a:pos x="connsiteX380" y="connsiteY380"/>
                    </a:cxn>
                    <a:cxn ang="0">
                      <a:pos x="connsiteX381" y="connsiteY381"/>
                    </a:cxn>
                    <a:cxn ang="0">
                      <a:pos x="connsiteX382" y="connsiteY382"/>
                    </a:cxn>
                    <a:cxn ang="0">
                      <a:pos x="connsiteX383" y="connsiteY383"/>
                    </a:cxn>
                    <a:cxn ang="0">
                      <a:pos x="connsiteX384" y="connsiteY384"/>
                    </a:cxn>
                    <a:cxn ang="0">
                      <a:pos x="connsiteX385" y="connsiteY385"/>
                    </a:cxn>
                    <a:cxn ang="0">
                      <a:pos x="connsiteX386" y="connsiteY386"/>
                    </a:cxn>
                    <a:cxn ang="0">
                      <a:pos x="connsiteX387" y="connsiteY387"/>
                    </a:cxn>
                    <a:cxn ang="0">
                      <a:pos x="connsiteX388" y="connsiteY388"/>
                    </a:cxn>
                    <a:cxn ang="0">
                      <a:pos x="connsiteX389" y="connsiteY389"/>
                    </a:cxn>
                    <a:cxn ang="0">
                      <a:pos x="connsiteX390" y="connsiteY390"/>
                    </a:cxn>
                    <a:cxn ang="0">
                      <a:pos x="connsiteX391" y="connsiteY391"/>
                    </a:cxn>
                    <a:cxn ang="0">
                      <a:pos x="connsiteX392" y="connsiteY392"/>
                    </a:cxn>
                    <a:cxn ang="0">
                      <a:pos x="connsiteX393" y="connsiteY393"/>
                    </a:cxn>
                    <a:cxn ang="0">
                      <a:pos x="connsiteX394" y="connsiteY394"/>
                    </a:cxn>
                    <a:cxn ang="0">
                      <a:pos x="connsiteX395" y="connsiteY395"/>
                    </a:cxn>
                    <a:cxn ang="0">
                      <a:pos x="connsiteX396" y="connsiteY396"/>
                    </a:cxn>
                    <a:cxn ang="0">
                      <a:pos x="connsiteX397" y="connsiteY397"/>
                    </a:cxn>
                    <a:cxn ang="0">
                      <a:pos x="connsiteX398" y="connsiteY398"/>
                    </a:cxn>
                    <a:cxn ang="0">
                      <a:pos x="connsiteX399" y="connsiteY399"/>
                    </a:cxn>
                    <a:cxn ang="0">
                      <a:pos x="connsiteX400" y="connsiteY400"/>
                    </a:cxn>
                    <a:cxn ang="0">
                      <a:pos x="connsiteX401" y="connsiteY401"/>
                    </a:cxn>
                    <a:cxn ang="0">
                      <a:pos x="connsiteX402" y="connsiteY402"/>
                    </a:cxn>
                    <a:cxn ang="0">
                      <a:pos x="connsiteX403" y="connsiteY403"/>
                    </a:cxn>
                    <a:cxn ang="0">
                      <a:pos x="connsiteX404" y="connsiteY404"/>
                    </a:cxn>
                    <a:cxn ang="0">
                      <a:pos x="connsiteX405" y="connsiteY405"/>
                    </a:cxn>
                    <a:cxn ang="0">
                      <a:pos x="connsiteX406" y="connsiteY406"/>
                    </a:cxn>
                    <a:cxn ang="0">
                      <a:pos x="connsiteX407" y="connsiteY407"/>
                    </a:cxn>
                    <a:cxn ang="0">
                      <a:pos x="connsiteX408" y="connsiteY408"/>
                    </a:cxn>
                    <a:cxn ang="0">
                      <a:pos x="connsiteX409" y="connsiteY409"/>
                    </a:cxn>
                    <a:cxn ang="0">
                      <a:pos x="connsiteX410" y="connsiteY410"/>
                    </a:cxn>
                    <a:cxn ang="0">
                      <a:pos x="connsiteX411" y="connsiteY411"/>
                    </a:cxn>
                    <a:cxn ang="0">
                      <a:pos x="connsiteX412" y="connsiteY412"/>
                    </a:cxn>
                    <a:cxn ang="0">
                      <a:pos x="connsiteX413" y="connsiteY413"/>
                    </a:cxn>
                    <a:cxn ang="0">
                      <a:pos x="connsiteX414" y="connsiteY414"/>
                    </a:cxn>
                    <a:cxn ang="0">
                      <a:pos x="connsiteX415" y="connsiteY415"/>
                    </a:cxn>
                    <a:cxn ang="0">
                      <a:pos x="connsiteX416" y="connsiteY416"/>
                    </a:cxn>
                    <a:cxn ang="0">
                      <a:pos x="connsiteX417" y="connsiteY417"/>
                    </a:cxn>
                    <a:cxn ang="0">
                      <a:pos x="connsiteX418" y="connsiteY418"/>
                    </a:cxn>
                    <a:cxn ang="0">
                      <a:pos x="connsiteX419" y="connsiteY419"/>
                    </a:cxn>
                    <a:cxn ang="0">
                      <a:pos x="connsiteX420" y="connsiteY420"/>
                    </a:cxn>
                    <a:cxn ang="0">
                      <a:pos x="connsiteX421" y="connsiteY421"/>
                    </a:cxn>
                    <a:cxn ang="0">
                      <a:pos x="connsiteX422" y="connsiteY422"/>
                    </a:cxn>
                    <a:cxn ang="0">
                      <a:pos x="connsiteX423" y="connsiteY423"/>
                    </a:cxn>
                    <a:cxn ang="0">
                      <a:pos x="connsiteX424" y="connsiteY424"/>
                    </a:cxn>
                    <a:cxn ang="0">
                      <a:pos x="connsiteX425" y="connsiteY425"/>
                    </a:cxn>
                    <a:cxn ang="0">
                      <a:pos x="connsiteX426" y="connsiteY426"/>
                    </a:cxn>
                    <a:cxn ang="0">
                      <a:pos x="connsiteX427" y="connsiteY427"/>
                    </a:cxn>
                    <a:cxn ang="0">
                      <a:pos x="connsiteX428" y="connsiteY428"/>
                    </a:cxn>
                    <a:cxn ang="0">
                      <a:pos x="connsiteX429" y="connsiteY429"/>
                    </a:cxn>
                    <a:cxn ang="0">
                      <a:pos x="connsiteX430" y="connsiteY430"/>
                    </a:cxn>
                    <a:cxn ang="0">
                      <a:pos x="connsiteX431" y="connsiteY431"/>
                    </a:cxn>
                    <a:cxn ang="0">
                      <a:pos x="connsiteX432" y="connsiteY432"/>
                    </a:cxn>
                    <a:cxn ang="0">
                      <a:pos x="connsiteX433" y="connsiteY433"/>
                    </a:cxn>
                    <a:cxn ang="0">
                      <a:pos x="connsiteX434" y="connsiteY434"/>
                    </a:cxn>
                    <a:cxn ang="0">
                      <a:pos x="connsiteX435" y="connsiteY435"/>
                    </a:cxn>
                    <a:cxn ang="0">
                      <a:pos x="connsiteX436" y="connsiteY436"/>
                    </a:cxn>
                    <a:cxn ang="0">
                      <a:pos x="connsiteX437" y="connsiteY437"/>
                    </a:cxn>
                    <a:cxn ang="0">
                      <a:pos x="connsiteX438" y="connsiteY438"/>
                    </a:cxn>
                    <a:cxn ang="0">
                      <a:pos x="connsiteX439" y="connsiteY439"/>
                    </a:cxn>
                    <a:cxn ang="0">
                      <a:pos x="connsiteX440" y="connsiteY440"/>
                    </a:cxn>
                    <a:cxn ang="0">
                      <a:pos x="connsiteX441" y="connsiteY441"/>
                    </a:cxn>
                    <a:cxn ang="0">
                      <a:pos x="connsiteX442" y="connsiteY442"/>
                    </a:cxn>
                    <a:cxn ang="0">
                      <a:pos x="connsiteX443" y="connsiteY443"/>
                    </a:cxn>
                    <a:cxn ang="0">
                      <a:pos x="connsiteX444" y="connsiteY444"/>
                    </a:cxn>
                    <a:cxn ang="0">
                      <a:pos x="connsiteX445" y="connsiteY445"/>
                    </a:cxn>
                    <a:cxn ang="0">
                      <a:pos x="connsiteX446" y="connsiteY446"/>
                    </a:cxn>
                    <a:cxn ang="0">
                      <a:pos x="connsiteX447" y="connsiteY447"/>
                    </a:cxn>
                    <a:cxn ang="0">
                      <a:pos x="connsiteX448" y="connsiteY448"/>
                    </a:cxn>
                    <a:cxn ang="0">
                      <a:pos x="connsiteX449" y="connsiteY449"/>
                    </a:cxn>
                    <a:cxn ang="0">
                      <a:pos x="connsiteX450" y="connsiteY450"/>
                    </a:cxn>
                    <a:cxn ang="0">
                      <a:pos x="connsiteX451" y="connsiteY451"/>
                    </a:cxn>
                    <a:cxn ang="0">
                      <a:pos x="connsiteX452" y="connsiteY452"/>
                    </a:cxn>
                    <a:cxn ang="0">
                      <a:pos x="connsiteX453" y="connsiteY453"/>
                    </a:cxn>
                    <a:cxn ang="0">
                      <a:pos x="connsiteX454" y="connsiteY454"/>
                    </a:cxn>
                    <a:cxn ang="0">
                      <a:pos x="connsiteX455" y="connsiteY455"/>
                    </a:cxn>
                    <a:cxn ang="0">
                      <a:pos x="connsiteX456" y="connsiteY456"/>
                    </a:cxn>
                    <a:cxn ang="0">
                      <a:pos x="connsiteX457" y="connsiteY457"/>
                    </a:cxn>
                    <a:cxn ang="0">
                      <a:pos x="connsiteX458" y="connsiteY458"/>
                    </a:cxn>
                    <a:cxn ang="0">
                      <a:pos x="connsiteX459" y="connsiteY459"/>
                    </a:cxn>
                    <a:cxn ang="0">
                      <a:pos x="connsiteX460" y="connsiteY460"/>
                    </a:cxn>
                    <a:cxn ang="0">
                      <a:pos x="connsiteX461" y="connsiteY461"/>
                    </a:cxn>
                    <a:cxn ang="0">
                      <a:pos x="connsiteX462" y="connsiteY462"/>
                    </a:cxn>
                    <a:cxn ang="0">
                      <a:pos x="connsiteX463" y="connsiteY463"/>
                    </a:cxn>
                    <a:cxn ang="0">
                      <a:pos x="connsiteX464" y="connsiteY464"/>
                    </a:cxn>
                    <a:cxn ang="0">
                      <a:pos x="connsiteX465" y="connsiteY465"/>
                    </a:cxn>
                    <a:cxn ang="0">
                      <a:pos x="connsiteX466" y="connsiteY466"/>
                    </a:cxn>
                    <a:cxn ang="0">
                      <a:pos x="connsiteX467" y="connsiteY467"/>
                    </a:cxn>
                    <a:cxn ang="0">
                      <a:pos x="connsiteX468" y="connsiteY468"/>
                    </a:cxn>
                    <a:cxn ang="0">
                      <a:pos x="connsiteX469" y="connsiteY469"/>
                    </a:cxn>
                    <a:cxn ang="0">
                      <a:pos x="connsiteX470" y="connsiteY470"/>
                    </a:cxn>
                    <a:cxn ang="0">
                      <a:pos x="connsiteX471" y="connsiteY471"/>
                    </a:cxn>
                    <a:cxn ang="0">
                      <a:pos x="connsiteX472" y="connsiteY472"/>
                    </a:cxn>
                    <a:cxn ang="0">
                      <a:pos x="connsiteX473" y="connsiteY473"/>
                    </a:cxn>
                    <a:cxn ang="0">
                      <a:pos x="connsiteX474" y="connsiteY474"/>
                    </a:cxn>
                    <a:cxn ang="0">
                      <a:pos x="connsiteX475" y="connsiteY475"/>
                    </a:cxn>
                    <a:cxn ang="0">
                      <a:pos x="connsiteX476" y="connsiteY476"/>
                    </a:cxn>
                    <a:cxn ang="0">
                      <a:pos x="connsiteX477" y="connsiteY477"/>
                    </a:cxn>
                    <a:cxn ang="0">
                      <a:pos x="connsiteX478" y="connsiteY478"/>
                    </a:cxn>
                    <a:cxn ang="0">
                      <a:pos x="connsiteX479" y="connsiteY479"/>
                    </a:cxn>
                    <a:cxn ang="0">
                      <a:pos x="connsiteX480" y="connsiteY480"/>
                    </a:cxn>
                    <a:cxn ang="0">
                      <a:pos x="connsiteX481" y="connsiteY481"/>
                    </a:cxn>
                    <a:cxn ang="0">
                      <a:pos x="connsiteX482" y="connsiteY482"/>
                    </a:cxn>
                    <a:cxn ang="0">
                      <a:pos x="connsiteX483" y="connsiteY483"/>
                    </a:cxn>
                    <a:cxn ang="0">
                      <a:pos x="connsiteX484" y="connsiteY484"/>
                    </a:cxn>
                    <a:cxn ang="0">
                      <a:pos x="connsiteX485" y="connsiteY485"/>
                    </a:cxn>
                    <a:cxn ang="0">
                      <a:pos x="connsiteX486" y="connsiteY486"/>
                    </a:cxn>
                    <a:cxn ang="0">
                      <a:pos x="connsiteX487" y="connsiteY487"/>
                    </a:cxn>
                    <a:cxn ang="0">
                      <a:pos x="connsiteX488" y="connsiteY488"/>
                    </a:cxn>
                    <a:cxn ang="0">
                      <a:pos x="connsiteX489" y="connsiteY489"/>
                    </a:cxn>
                    <a:cxn ang="0">
                      <a:pos x="connsiteX490" y="connsiteY490"/>
                    </a:cxn>
                    <a:cxn ang="0">
                      <a:pos x="connsiteX491" y="connsiteY491"/>
                    </a:cxn>
                    <a:cxn ang="0">
                      <a:pos x="connsiteX492" y="connsiteY492"/>
                    </a:cxn>
                    <a:cxn ang="0">
                      <a:pos x="connsiteX493" y="connsiteY493"/>
                    </a:cxn>
                    <a:cxn ang="0">
                      <a:pos x="connsiteX494" y="connsiteY494"/>
                    </a:cxn>
                    <a:cxn ang="0">
                      <a:pos x="connsiteX495" y="connsiteY495"/>
                    </a:cxn>
                    <a:cxn ang="0">
                      <a:pos x="connsiteX496" y="connsiteY496"/>
                    </a:cxn>
                    <a:cxn ang="0">
                      <a:pos x="connsiteX497" y="connsiteY497"/>
                    </a:cxn>
                    <a:cxn ang="0">
                      <a:pos x="connsiteX498" y="connsiteY498"/>
                    </a:cxn>
                    <a:cxn ang="0">
                      <a:pos x="connsiteX499" y="connsiteY499"/>
                    </a:cxn>
                    <a:cxn ang="0">
                      <a:pos x="connsiteX500" y="connsiteY500"/>
                    </a:cxn>
                    <a:cxn ang="0">
                      <a:pos x="connsiteX501" y="connsiteY501"/>
                    </a:cxn>
                    <a:cxn ang="0">
                      <a:pos x="connsiteX502" y="connsiteY502"/>
                    </a:cxn>
                    <a:cxn ang="0">
                      <a:pos x="connsiteX503" y="connsiteY503"/>
                    </a:cxn>
                    <a:cxn ang="0">
                      <a:pos x="connsiteX504" y="connsiteY504"/>
                    </a:cxn>
                    <a:cxn ang="0">
                      <a:pos x="connsiteX505" y="connsiteY505"/>
                    </a:cxn>
                    <a:cxn ang="0">
                      <a:pos x="connsiteX506" y="connsiteY506"/>
                    </a:cxn>
                    <a:cxn ang="0">
                      <a:pos x="connsiteX507" y="connsiteY507"/>
                    </a:cxn>
                    <a:cxn ang="0">
                      <a:pos x="connsiteX508" y="connsiteY508"/>
                    </a:cxn>
                    <a:cxn ang="0">
                      <a:pos x="connsiteX509" y="connsiteY509"/>
                    </a:cxn>
                    <a:cxn ang="0">
                      <a:pos x="connsiteX510" y="connsiteY510"/>
                    </a:cxn>
                    <a:cxn ang="0">
                      <a:pos x="connsiteX511" y="connsiteY511"/>
                    </a:cxn>
                    <a:cxn ang="0">
                      <a:pos x="connsiteX512" y="connsiteY512"/>
                    </a:cxn>
                    <a:cxn ang="0">
                      <a:pos x="connsiteX513" y="connsiteY513"/>
                    </a:cxn>
                    <a:cxn ang="0">
                      <a:pos x="connsiteX514" y="connsiteY514"/>
                    </a:cxn>
                    <a:cxn ang="0">
                      <a:pos x="connsiteX515" y="connsiteY515"/>
                    </a:cxn>
                    <a:cxn ang="0">
                      <a:pos x="connsiteX516" y="connsiteY516"/>
                    </a:cxn>
                    <a:cxn ang="0">
                      <a:pos x="connsiteX517" y="connsiteY517"/>
                    </a:cxn>
                    <a:cxn ang="0">
                      <a:pos x="connsiteX518" y="connsiteY518"/>
                    </a:cxn>
                    <a:cxn ang="0">
                      <a:pos x="connsiteX519" y="connsiteY519"/>
                    </a:cxn>
                    <a:cxn ang="0">
                      <a:pos x="connsiteX520" y="connsiteY520"/>
                    </a:cxn>
                    <a:cxn ang="0">
                      <a:pos x="connsiteX521" y="connsiteY521"/>
                    </a:cxn>
                    <a:cxn ang="0">
                      <a:pos x="connsiteX522" y="connsiteY522"/>
                    </a:cxn>
                    <a:cxn ang="0">
                      <a:pos x="connsiteX523" y="connsiteY523"/>
                    </a:cxn>
                    <a:cxn ang="0">
                      <a:pos x="connsiteX524" y="connsiteY524"/>
                    </a:cxn>
                    <a:cxn ang="0">
                      <a:pos x="connsiteX525" y="connsiteY525"/>
                    </a:cxn>
                    <a:cxn ang="0">
                      <a:pos x="connsiteX526" y="connsiteY526"/>
                    </a:cxn>
                    <a:cxn ang="0">
                      <a:pos x="connsiteX527" y="connsiteY527"/>
                    </a:cxn>
                    <a:cxn ang="0">
                      <a:pos x="connsiteX528" y="connsiteY528"/>
                    </a:cxn>
                    <a:cxn ang="0">
                      <a:pos x="connsiteX529" y="connsiteY529"/>
                    </a:cxn>
                    <a:cxn ang="0">
                      <a:pos x="connsiteX530" y="connsiteY530"/>
                    </a:cxn>
                    <a:cxn ang="0">
                      <a:pos x="connsiteX531" y="connsiteY531"/>
                    </a:cxn>
                    <a:cxn ang="0">
                      <a:pos x="connsiteX532" y="connsiteY532"/>
                    </a:cxn>
                    <a:cxn ang="0">
                      <a:pos x="connsiteX533" y="connsiteY533"/>
                    </a:cxn>
                    <a:cxn ang="0">
                      <a:pos x="connsiteX534" y="connsiteY534"/>
                    </a:cxn>
                    <a:cxn ang="0">
                      <a:pos x="connsiteX535" y="connsiteY535"/>
                    </a:cxn>
                    <a:cxn ang="0">
                      <a:pos x="connsiteX536" y="connsiteY536"/>
                    </a:cxn>
                    <a:cxn ang="0">
                      <a:pos x="connsiteX537" y="connsiteY537"/>
                    </a:cxn>
                    <a:cxn ang="0">
                      <a:pos x="connsiteX538" y="connsiteY538"/>
                    </a:cxn>
                    <a:cxn ang="0">
                      <a:pos x="connsiteX539" y="connsiteY539"/>
                    </a:cxn>
                    <a:cxn ang="0">
                      <a:pos x="connsiteX540" y="connsiteY540"/>
                    </a:cxn>
                    <a:cxn ang="0">
                      <a:pos x="connsiteX541" y="connsiteY541"/>
                    </a:cxn>
                    <a:cxn ang="0">
                      <a:pos x="connsiteX542" y="connsiteY542"/>
                    </a:cxn>
                    <a:cxn ang="0">
                      <a:pos x="connsiteX543" y="connsiteY543"/>
                    </a:cxn>
                    <a:cxn ang="0">
                      <a:pos x="connsiteX544" y="connsiteY544"/>
                    </a:cxn>
                    <a:cxn ang="0">
                      <a:pos x="connsiteX545" y="connsiteY545"/>
                    </a:cxn>
                    <a:cxn ang="0">
                      <a:pos x="connsiteX546" y="connsiteY546"/>
                    </a:cxn>
                    <a:cxn ang="0">
                      <a:pos x="connsiteX547" y="connsiteY547"/>
                    </a:cxn>
                    <a:cxn ang="0">
                      <a:pos x="connsiteX548" y="connsiteY548"/>
                    </a:cxn>
                    <a:cxn ang="0">
                      <a:pos x="connsiteX549" y="connsiteY549"/>
                    </a:cxn>
                    <a:cxn ang="0">
                      <a:pos x="connsiteX550" y="connsiteY550"/>
                    </a:cxn>
                    <a:cxn ang="0">
                      <a:pos x="connsiteX551" y="connsiteY551"/>
                    </a:cxn>
                    <a:cxn ang="0">
                      <a:pos x="connsiteX552" y="connsiteY552"/>
                    </a:cxn>
                    <a:cxn ang="0">
                      <a:pos x="connsiteX553" y="connsiteY553"/>
                    </a:cxn>
                    <a:cxn ang="0">
                      <a:pos x="connsiteX554" y="connsiteY554"/>
                    </a:cxn>
                    <a:cxn ang="0">
                      <a:pos x="connsiteX555" y="connsiteY555"/>
                    </a:cxn>
                    <a:cxn ang="0">
                      <a:pos x="connsiteX556" y="connsiteY556"/>
                    </a:cxn>
                    <a:cxn ang="0">
                      <a:pos x="connsiteX557" y="connsiteY557"/>
                    </a:cxn>
                    <a:cxn ang="0">
                      <a:pos x="connsiteX558" y="connsiteY558"/>
                    </a:cxn>
                    <a:cxn ang="0">
                      <a:pos x="connsiteX559" y="connsiteY559"/>
                    </a:cxn>
                    <a:cxn ang="0">
                      <a:pos x="connsiteX560" y="connsiteY560"/>
                    </a:cxn>
                    <a:cxn ang="0">
                      <a:pos x="connsiteX561" y="connsiteY561"/>
                    </a:cxn>
                    <a:cxn ang="0">
                      <a:pos x="connsiteX562" y="connsiteY562"/>
                    </a:cxn>
                    <a:cxn ang="0">
                      <a:pos x="connsiteX563" y="connsiteY563"/>
                    </a:cxn>
                    <a:cxn ang="0">
                      <a:pos x="connsiteX564" y="connsiteY564"/>
                    </a:cxn>
                    <a:cxn ang="0">
                      <a:pos x="connsiteX565" y="connsiteY565"/>
                    </a:cxn>
                    <a:cxn ang="0">
                      <a:pos x="connsiteX566" y="connsiteY566"/>
                    </a:cxn>
                    <a:cxn ang="0">
                      <a:pos x="connsiteX567" y="connsiteY567"/>
                    </a:cxn>
                    <a:cxn ang="0">
                      <a:pos x="connsiteX568" y="connsiteY568"/>
                    </a:cxn>
                    <a:cxn ang="0">
                      <a:pos x="connsiteX569" y="connsiteY569"/>
                    </a:cxn>
                    <a:cxn ang="0">
                      <a:pos x="connsiteX570" y="connsiteY570"/>
                    </a:cxn>
                    <a:cxn ang="0">
                      <a:pos x="connsiteX571" y="connsiteY571"/>
                    </a:cxn>
                    <a:cxn ang="0">
                      <a:pos x="connsiteX572" y="connsiteY572"/>
                    </a:cxn>
                    <a:cxn ang="0">
                      <a:pos x="connsiteX573" y="connsiteY573"/>
                    </a:cxn>
                    <a:cxn ang="0">
                      <a:pos x="connsiteX574" y="connsiteY574"/>
                    </a:cxn>
                    <a:cxn ang="0">
                      <a:pos x="connsiteX575" y="connsiteY575"/>
                    </a:cxn>
                    <a:cxn ang="0">
                      <a:pos x="connsiteX576" y="connsiteY576"/>
                    </a:cxn>
                    <a:cxn ang="0">
                      <a:pos x="connsiteX577" y="connsiteY577"/>
                    </a:cxn>
                    <a:cxn ang="0">
                      <a:pos x="connsiteX578" y="connsiteY578"/>
                    </a:cxn>
                    <a:cxn ang="0">
                      <a:pos x="connsiteX579" y="connsiteY579"/>
                    </a:cxn>
                    <a:cxn ang="0">
                      <a:pos x="connsiteX580" y="connsiteY580"/>
                    </a:cxn>
                    <a:cxn ang="0">
                      <a:pos x="connsiteX581" y="connsiteY581"/>
                    </a:cxn>
                    <a:cxn ang="0">
                      <a:pos x="connsiteX582" y="connsiteY582"/>
                    </a:cxn>
                    <a:cxn ang="0">
                      <a:pos x="connsiteX583" y="connsiteY583"/>
                    </a:cxn>
                    <a:cxn ang="0">
                      <a:pos x="connsiteX584" y="connsiteY584"/>
                    </a:cxn>
                    <a:cxn ang="0">
                      <a:pos x="connsiteX585" y="connsiteY585"/>
                    </a:cxn>
                    <a:cxn ang="0">
                      <a:pos x="connsiteX586" y="connsiteY586"/>
                    </a:cxn>
                    <a:cxn ang="0">
                      <a:pos x="connsiteX587" y="connsiteY587"/>
                    </a:cxn>
                    <a:cxn ang="0">
                      <a:pos x="connsiteX588" y="connsiteY588"/>
                    </a:cxn>
                    <a:cxn ang="0">
                      <a:pos x="connsiteX589" y="connsiteY589"/>
                    </a:cxn>
                    <a:cxn ang="0">
                      <a:pos x="connsiteX590" y="connsiteY590"/>
                    </a:cxn>
                    <a:cxn ang="0">
                      <a:pos x="connsiteX591" y="connsiteY591"/>
                    </a:cxn>
                    <a:cxn ang="0">
                      <a:pos x="connsiteX592" y="connsiteY592"/>
                    </a:cxn>
                    <a:cxn ang="0">
                      <a:pos x="connsiteX593" y="connsiteY593"/>
                    </a:cxn>
                    <a:cxn ang="0">
                      <a:pos x="connsiteX594" y="connsiteY594"/>
                    </a:cxn>
                    <a:cxn ang="0">
                      <a:pos x="connsiteX595" y="connsiteY595"/>
                    </a:cxn>
                    <a:cxn ang="0">
                      <a:pos x="connsiteX596" y="connsiteY596"/>
                    </a:cxn>
                    <a:cxn ang="0">
                      <a:pos x="connsiteX597" y="connsiteY597"/>
                    </a:cxn>
                    <a:cxn ang="0">
                      <a:pos x="connsiteX598" y="connsiteY598"/>
                    </a:cxn>
                    <a:cxn ang="0">
                      <a:pos x="connsiteX599" y="connsiteY599"/>
                    </a:cxn>
                    <a:cxn ang="0">
                      <a:pos x="connsiteX600" y="connsiteY600"/>
                    </a:cxn>
                    <a:cxn ang="0">
                      <a:pos x="connsiteX601" y="connsiteY601"/>
                    </a:cxn>
                    <a:cxn ang="0">
                      <a:pos x="connsiteX602" y="connsiteY602"/>
                    </a:cxn>
                    <a:cxn ang="0">
                      <a:pos x="connsiteX603" y="connsiteY603"/>
                    </a:cxn>
                    <a:cxn ang="0">
                      <a:pos x="connsiteX604" y="connsiteY604"/>
                    </a:cxn>
                    <a:cxn ang="0">
                      <a:pos x="connsiteX605" y="connsiteY605"/>
                    </a:cxn>
                    <a:cxn ang="0">
                      <a:pos x="connsiteX606" y="connsiteY606"/>
                    </a:cxn>
                    <a:cxn ang="0">
                      <a:pos x="connsiteX607" y="connsiteY607"/>
                    </a:cxn>
                    <a:cxn ang="0">
                      <a:pos x="connsiteX608" y="connsiteY608"/>
                    </a:cxn>
                    <a:cxn ang="0">
                      <a:pos x="connsiteX609" y="connsiteY609"/>
                    </a:cxn>
                    <a:cxn ang="0">
                      <a:pos x="connsiteX610" y="connsiteY610"/>
                    </a:cxn>
                    <a:cxn ang="0">
                      <a:pos x="connsiteX611" y="connsiteY611"/>
                    </a:cxn>
                    <a:cxn ang="0">
                      <a:pos x="connsiteX612" y="connsiteY612"/>
                    </a:cxn>
                    <a:cxn ang="0">
                      <a:pos x="connsiteX613" y="connsiteY613"/>
                    </a:cxn>
                    <a:cxn ang="0">
                      <a:pos x="connsiteX614" y="connsiteY614"/>
                    </a:cxn>
                    <a:cxn ang="0">
                      <a:pos x="connsiteX615" y="connsiteY615"/>
                    </a:cxn>
                    <a:cxn ang="0">
                      <a:pos x="connsiteX616" y="connsiteY616"/>
                    </a:cxn>
                    <a:cxn ang="0">
                      <a:pos x="connsiteX617" y="connsiteY617"/>
                    </a:cxn>
                    <a:cxn ang="0">
                      <a:pos x="connsiteX618" y="connsiteY618"/>
                    </a:cxn>
                    <a:cxn ang="0">
                      <a:pos x="connsiteX619" y="connsiteY619"/>
                    </a:cxn>
                    <a:cxn ang="0">
                      <a:pos x="connsiteX620" y="connsiteY620"/>
                    </a:cxn>
                    <a:cxn ang="0">
                      <a:pos x="connsiteX621" y="connsiteY621"/>
                    </a:cxn>
                    <a:cxn ang="0">
                      <a:pos x="connsiteX622" y="connsiteY622"/>
                    </a:cxn>
                    <a:cxn ang="0">
                      <a:pos x="connsiteX623" y="connsiteY623"/>
                    </a:cxn>
                    <a:cxn ang="0">
                      <a:pos x="connsiteX624" y="connsiteY624"/>
                    </a:cxn>
                    <a:cxn ang="0">
                      <a:pos x="connsiteX625" y="connsiteY625"/>
                    </a:cxn>
                    <a:cxn ang="0">
                      <a:pos x="connsiteX626" y="connsiteY626"/>
                    </a:cxn>
                    <a:cxn ang="0">
                      <a:pos x="connsiteX627" y="connsiteY627"/>
                    </a:cxn>
                    <a:cxn ang="0">
                      <a:pos x="connsiteX628" y="connsiteY628"/>
                    </a:cxn>
                    <a:cxn ang="0">
                      <a:pos x="connsiteX629" y="connsiteY629"/>
                    </a:cxn>
                    <a:cxn ang="0">
                      <a:pos x="connsiteX630" y="connsiteY630"/>
                    </a:cxn>
                    <a:cxn ang="0">
                      <a:pos x="connsiteX631" y="connsiteY631"/>
                    </a:cxn>
                    <a:cxn ang="0">
                      <a:pos x="connsiteX632" y="connsiteY632"/>
                    </a:cxn>
                    <a:cxn ang="0">
                      <a:pos x="connsiteX633" y="connsiteY633"/>
                    </a:cxn>
                    <a:cxn ang="0">
                      <a:pos x="connsiteX634" y="connsiteY634"/>
                    </a:cxn>
                    <a:cxn ang="0">
                      <a:pos x="connsiteX635" y="connsiteY635"/>
                    </a:cxn>
                    <a:cxn ang="0">
                      <a:pos x="connsiteX636" y="connsiteY636"/>
                    </a:cxn>
                    <a:cxn ang="0">
                      <a:pos x="connsiteX637" y="connsiteY637"/>
                    </a:cxn>
                    <a:cxn ang="0">
                      <a:pos x="connsiteX638" y="connsiteY638"/>
                    </a:cxn>
                    <a:cxn ang="0">
                      <a:pos x="connsiteX639" y="connsiteY639"/>
                    </a:cxn>
                    <a:cxn ang="0">
                      <a:pos x="connsiteX640" y="connsiteY640"/>
                    </a:cxn>
                    <a:cxn ang="0">
                      <a:pos x="connsiteX641" y="connsiteY641"/>
                    </a:cxn>
                    <a:cxn ang="0">
                      <a:pos x="connsiteX642" y="connsiteY642"/>
                    </a:cxn>
                    <a:cxn ang="0">
                      <a:pos x="connsiteX643" y="connsiteY643"/>
                    </a:cxn>
                    <a:cxn ang="0">
                      <a:pos x="connsiteX644" y="connsiteY644"/>
                    </a:cxn>
                    <a:cxn ang="0">
                      <a:pos x="connsiteX645" y="connsiteY645"/>
                    </a:cxn>
                    <a:cxn ang="0">
                      <a:pos x="connsiteX646" y="connsiteY646"/>
                    </a:cxn>
                    <a:cxn ang="0">
                      <a:pos x="connsiteX647" y="connsiteY647"/>
                    </a:cxn>
                    <a:cxn ang="0">
                      <a:pos x="connsiteX648" y="connsiteY648"/>
                    </a:cxn>
                    <a:cxn ang="0">
                      <a:pos x="connsiteX649" y="connsiteY649"/>
                    </a:cxn>
                    <a:cxn ang="0">
                      <a:pos x="connsiteX650" y="connsiteY650"/>
                    </a:cxn>
                    <a:cxn ang="0">
                      <a:pos x="connsiteX651" y="connsiteY651"/>
                    </a:cxn>
                    <a:cxn ang="0">
                      <a:pos x="connsiteX652" y="connsiteY652"/>
                    </a:cxn>
                    <a:cxn ang="0">
                      <a:pos x="connsiteX653" y="connsiteY653"/>
                    </a:cxn>
                    <a:cxn ang="0">
                      <a:pos x="connsiteX654" y="connsiteY654"/>
                    </a:cxn>
                    <a:cxn ang="0">
                      <a:pos x="connsiteX655" y="connsiteY655"/>
                    </a:cxn>
                    <a:cxn ang="0">
                      <a:pos x="connsiteX656" y="connsiteY656"/>
                    </a:cxn>
                    <a:cxn ang="0">
                      <a:pos x="connsiteX657" y="connsiteY657"/>
                    </a:cxn>
                    <a:cxn ang="0">
                      <a:pos x="connsiteX658" y="connsiteY658"/>
                    </a:cxn>
                    <a:cxn ang="0">
                      <a:pos x="connsiteX659" y="connsiteY659"/>
                    </a:cxn>
                    <a:cxn ang="0">
                      <a:pos x="connsiteX660" y="connsiteY660"/>
                    </a:cxn>
                    <a:cxn ang="0">
                      <a:pos x="connsiteX661" y="connsiteY661"/>
                    </a:cxn>
                    <a:cxn ang="0">
                      <a:pos x="connsiteX662" y="connsiteY662"/>
                    </a:cxn>
                    <a:cxn ang="0">
                      <a:pos x="connsiteX663" y="connsiteY663"/>
                    </a:cxn>
                    <a:cxn ang="0">
                      <a:pos x="connsiteX664" y="connsiteY664"/>
                    </a:cxn>
                    <a:cxn ang="0">
                      <a:pos x="connsiteX665" y="connsiteY665"/>
                    </a:cxn>
                    <a:cxn ang="0">
                      <a:pos x="connsiteX666" y="connsiteY666"/>
                    </a:cxn>
                    <a:cxn ang="0">
                      <a:pos x="connsiteX667" y="connsiteY667"/>
                    </a:cxn>
                    <a:cxn ang="0">
                      <a:pos x="connsiteX668" y="connsiteY668"/>
                    </a:cxn>
                    <a:cxn ang="0">
                      <a:pos x="connsiteX669" y="connsiteY669"/>
                    </a:cxn>
                    <a:cxn ang="0">
                      <a:pos x="connsiteX670" y="connsiteY670"/>
                    </a:cxn>
                    <a:cxn ang="0">
                      <a:pos x="connsiteX671" y="connsiteY671"/>
                    </a:cxn>
                    <a:cxn ang="0">
                      <a:pos x="connsiteX672" y="connsiteY672"/>
                    </a:cxn>
                    <a:cxn ang="0">
                      <a:pos x="connsiteX673" y="connsiteY673"/>
                    </a:cxn>
                    <a:cxn ang="0">
                      <a:pos x="connsiteX674" y="connsiteY674"/>
                    </a:cxn>
                    <a:cxn ang="0">
                      <a:pos x="connsiteX675" y="connsiteY675"/>
                    </a:cxn>
                    <a:cxn ang="0">
                      <a:pos x="connsiteX676" y="connsiteY676"/>
                    </a:cxn>
                    <a:cxn ang="0">
                      <a:pos x="connsiteX677" y="connsiteY677"/>
                    </a:cxn>
                    <a:cxn ang="0">
                      <a:pos x="connsiteX678" y="connsiteY678"/>
                    </a:cxn>
                    <a:cxn ang="0">
                      <a:pos x="connsiteX679" y="connsiteY679"/>
                    </a:cxn>
                    <a:cxn ang="0">
                      <a:pos x="connsiteX680" y="connsiteY680"/>
                    </a:cxn>
                    <a:cxn ang="0">
                      <a:pos x="connsiteX681" y="connsiteY681"/>
                    </a:cxn>
                    <a:cxn ang="0">
                      <a:pos x="connsiteX682" y="connsiteY682"/>
                    </a:cxn>
                    <a:cxn ang="0">
                      <a:pos x="connsiteX683" y="connsiteY683"/>
                    </a:cxn>
                    <a:cxn ang="0">
                      <a:pos x="connsiteX684" y="connsiteY684"/>
                    </a:cxn>
                    <a:cxn ang="0">
                      <a:pos x="connsiteX685" y="connsiteY685"/>
                    </a:cxn>
                    <a:cxn ang="0">
                      <a:pos x="connsiteX686" y="connsiteY686"/>
                    </a:cxn>
                    <a:cxn ang="0">
                      <a:pos x="connsiteX687" y="connsiteY687"/>
                    </a:cxn>
                    <a:cxn ang="0">
                      <a:pos x="connsiteX688" y="connsiteY688"/>
                    </a:cxn>
                    <a:cxn ang="0">
                      <a:pos x="connsiteX689" y="connsiteY689"/>
                    </a:cxn>
                    <a:cxn ang="0">
                      <a:pos x="connsiteX690" y="connsiteY690"/>
                    </a:cxn>
                    <a:cxn ang="0">
                      <a:pos x="connsiteX691" y="connsiteY691"/>
                    </a:cxn>
                    <a:cxn ang="0">
                      <a:pos x="connsiteX692" y="connsiteY692"/>
                    </a:cxn>
                    <a:cxn ang="0">
                      <a:pos x="connsiteX693" y="connsiteY693"/>
                    </a:cxn>
                    <a:cxn ang="0">
                      <a:pos x="connsiteX694" y="connsiteY694"/>
                    </a:cxn>
                    <a:cxn ang="0">
                      <a:pos x="connsiteX695" y="connsiteY695"/>
                    </a:cxn>
                    <a:cxn ang="0">
                      <a:pos x="connsiteX696" y="connsiteY696"/>
                    </a:cxn>
                    <a:cxn ang="0">
                      <a:pos x="connsiteX697" y="connsiteY697"/>
                    </a:cxn>
                    <a:cxn ang="0">
                      <a:pos x="connsiteX698" y="connsiteY698"/>
                    </a:cxn>
                    <a:cxn ang="0">
                      <a:pos x="connsiteX699" y="connsiteY699"/>
                    </a:cxn>
                    <a:cxn ang="0">
                      <a:pos x="connsiteX700" y="connsiteY700"/>
                    </a:cxn>
                    <a:cxn ang="0">
                      <a:pos x="connsiteX701" y="connsiteY701"/>
                    </a:cxn>
                    <a:cxn ang="0">
                      <a:pos x="connsiteX702" y="connsiteY702"/>
                    </a:cxn>
                    <a:cxn ang="0">
                      <a:pos x="connsiteX703" y="connsiteY703"/>
                    </a:cxn>
                    <a:cxn ang="0">
                      <a:pos x="connsiteX704" y="connsiteY704"/>
                    </a:cxn>
                    <a:cxn ang="0">
                      <a:pos x="connsiteX705" y="connsiteY705"/>
                    </a:cxn>
                    <a:cxn ang="0">
                      <a:pos x="connsiteX706" y="connsiteY706"/>
                    </a:cxn>
                    <a:cxn ang="0">
                      <a:pos x="connsiteX707" y="connsiteY707"/>
                    </a:cxn>
                    <a:cxn ang="0">
                      <a:pos x="connsiteX708" y="connsiteY708"/>
                    </a:cxn>
                    <a:cxn ang="0">
                      <a:pos x="connsiteX709" y="connsiteY709"/>
                    </a:cxn>
                    <a:cxn ang="0">
                      <a:pos x="connsiteX710" y="connsiteY710"/>
                    </a:cxn>
                    <a:cxn ang="0">
                      <a:pos x="connsiteX711" y="connsiteY711"/>
                    </a:cxn>
                    <a:cxn ang="0">
                      <a:pos x="connsiteX712" y="connsiteY712"/>
                    </a:cxn>
                    <a:cxn ang="0">
                      <a:pos x="connsiteX713" y="connsiteY713"/>
                    </a:cxn>
                    <a:cxn ang="0">
                      <a:pos x="connsiteX714" y="connsiteY714"/>
                    </a:cxn>
                    <a:cxn ang="0">
                      <a:pos x="connsiteX715" y="connsiteY715"/>
                    </a:cxn>
                    <a:cxn ang="0">
                      <a:pos x="connsiteX716" y="connsiteY716"/>
                    </a:cxn>
                    <a:cxn ang="0">
                      <a:pos x="connsiteX717" y="connsiteY717"/>
                    </a:cxn>
                    <a:cxn ang="0">
                      <a:pos x="connsiteX718" y="connsiteY718"/>
                    </a:cxn>
                    <a:cxn ang="0">
                      <a:pos x="connsiteX719" y="connsiteY719"/>
                    </a:cxn>
                    <a:cxn ang="0">
                      <a:pos x="connsiteX720" y="connsiteY720"/>
                    </a:cxn>
                    <a:cxn ang="0">
                      <a:pos x="connsiteX721" y="connsiteY721"/>
                    </a:cxn>
                    <a:cxn ang="0">
                      <a:pos x="connsiteX722" y="connsiteY722"/>
                    </a:cxn>
                    <a:cxn ang="0">
                      <a:pos x="connsiteX723" y="connsiteY723"/>
                    </a:cxn>
                    <a:cxn ang="0">
                      <a:pos x="connsiteX724" y="connsiteY724"/>
                    </a:cxn>
                    <a:cxn ang="0">
                      <a:pos x="connsiteX725" y="connsiteY725"/>
                    </a:cxn>
                    <a:cxn ang="0">
                      <a:pos x="connsiteX726" y="connsiteY726"/>
                    </a:cxn>
                    <a:cxn ang="0">
                      <a:pos x="connsiteX727" y="connsiteY727"/>
                    </a:cxn>
                    <a:cxn ang="0">
                      <a:pos x="connsiteX728" y="connsiteY728"/>
                    </a:cxn>
                    <a:cxn ang="0">
                      <a:pos x="connsiteX729" y="connsiteY729"/>
                    </a:cxn>
                    <a:cxn ang="0">
                      <a:pos x="connsiteX730" y="connsiteY730"/>
                    </a:cxn>
                    <a:cxn ang="0">
                      <a:pos x="connsiteX731" y="connsiteY731"/>
                    </a:cxn>
                    <a:cxn ang="0">
                      <a:pos x="connsiteX732" y="connsiteY732"/>
                    </a:cxn>
                    <a:cxn ang="0">
                      <a:pos x="connsiteX733" y="connsiteY733"/>
                    </a:cxn>
                    <a:cxn ang="0">
                      <a:pos x="connsiteX734" y="connsiteY734"/>
                    </a:cxn>
                    <a:cxn ang="0">
                      <a:pos x="connsiteX735" y="connsiteY735"/>
                    </a:cxn>
                    <a:cxn ang="0">
                      <a:pos x="connsiteX736" y="connsiteY736"/>
                    </a:cxn>
                    <a:cxn ang="0">
                      <a:pos x="connsiteX737" y="connsiteY737"/>
                    </a:cxn>
                    <a:cxn ang="0">
                      <a:pos x="connsiteX738" y="connsiteY738"/>
                    </a:cxn>
                    <a:cxn ang="0">
                      <a:pos x="connsiteX739" y="connsiteY739"/>
                    </a:cxn>
                    <a:cxn ang="0">
                      <a:pos x="connsiteX740" y="connsiteY740"/>
                    </a:cxn>
                    <a:cxn ang="0">
                      <a:pos x="connsiteX741" y="connsiteY741"/>
                    </a:cxn>
                    <a:cxn ang="0">
                      <a:pos x="connsiteX742" y="connsiteY742"/>
                    </a:cxn>
                    <a:cxn ang="0">
                      <a:pos x="connsiteX743" y="connsiteY743"/>
                    </a:cxn>
                    <a:cxn ang="0">
                      <a:pos x="connsiteX744" y="connsiteY744"/>
                    </a:cxn>
                    <a:cxn ang="0">
                      <a:pos x="connsiteX745" y="connsiteY745"/>
                    </a:cxn>
                    <a:cxn ang="0">
                      <a:pos x="connsiteX746" y="connsiteY746"/>
                    </a:cxn>
                    <a:cxn ang="0">
                      <a:pos x="connsiteX747" y="connsiteY747"/>
                    </a:cxn>
                    <a:cxn ang="0">
                      <a:pos x="connsiteX748" y="connsiteY748"/>
                    </a:cxn>
                    <a:cxn ang="0">
                      <a:pos x="connsiteX749" y="connsiteY749"/>
                    </a:cxn>
                    <a:cxn ang="0">
                      <a:pos x="connsiteX750" y="connsiteY750"/>
                    </a:cxn>
                    <a:cxn ang="0">
                      <a:pos x="connsiteX751" y="connsiteY751"/>
                    </a:cxn>
                    <a:cxn ang="0">
                      <a:pos x="connsiteX752" y="connsiteY752"/>
                    </a:cxn>
                    <a:cxn ang="0">
                      <a:pos x="connsiteX753" y="connsiteY753"/>
                    </a:cxn>
                    <a:cxn ang="0">
                      <a:pos x="connsiteX754" y="connsiteY754"/>
                    </a:cxn>
                    <a:cxn ang="0">
                      <a:pos x="connsiteX755" y="connsiteY755"/>
                    </a:cxn>
                    <a:cxn ang="0">
                      <a:pos x="connsiteX756" y="connsiteY756"/>
                    </a:cxn>
                    <a:cxn ang="0">
                      <a:pos x="connsiteX757" y="connsiteY757"/>
                    </a:cxn>
                    <a:cxn ang="0">
                      <a:pos x="connsiteX758" y="connsiteY758"/>
                    </a:cxn>
                    <a:cxn ang="0">
                      <a:pos x="connsiteX759" y="connsiteY759"/>
                    </a:cxn>
                    <a:cxn ang="0">
                      <a:pos x="connsiteX760" y="connsiteY760"/>
                    </a:cxn>
                    <a:cxn ang="0">
                      <a:pos x="connsiteX761" y="connsiteY761"/>
                    </a:cxn>
                    <a:cxn ang="0">
                      <a:pos x="connsiteX762" y="connsiteY762"/>
                    </a:cxn>
                    <a:cxn ang="0">
                      <a:pos x="connsiteX763" y="connsiteY763"/>
                    </a:cxn>
                    <a:cxn ang="0">
                      <a:pos x="connsiteX764" y="connsiteY764"/>
                    </a:cxn>
                    <a:cxn ang="0">
                      <a:pos x="connsiteX765" y="connsiteY765"/>
                    </a:cxn>
                    <a:cxn ang="0">
                      <a:pos x="connsiteX766" y="connsiteY766"/>
                    </a:cxn>
                    <a:cxn ang="0">
                      <a:pos x="connsiteX767" y="connsiteY767"/>
                    </a:cxn>
                    <a:cxn ang="0">
                      <a:pos x="connsiteX768" y="connsiteY768"/>
                    </a:cxn>
                    <a:cxn ang="0">
                      <a:pos x="connsiteX769" y="connsiteY769"/>
                    </a:cxn>
                    <a:cxn ang="0">
                      <a:pos x="connsiteX770" y="connsiteY770"/>
                    </a:cxn>
                    <a:cxn ang="0">
                      <a:pos x="connsiteX771" y="connsiteY771"/>
                    </a:cxn>
                    <a:cxn ang="0">
                      <a:pos x="connsiteX772" y="connsiteY772"/>
                    </a:cxn>
                    <a:cxn ang="0">
                      <a:pos x="connsiteX773" y="connsiteY773"/>
                    </a:cxn>
                    <a:cxn ang="0">
                      <a:pos x="connsiteX774" y="connsiteY774"/>
                    </a:cxn>
                    <a:cxn ang="0">
                      <a:pos x="connsiteX775" y="connsiteY775"/>
                    </a:cxn>
                    <a:cxn ang="0">
                      <a:pos x="connsiteX776" y="connsiteY776"/>
                    </a:cxn>
                    <a:cxn ang="0">
                      <a:pos x="connsiteX777" y="connsiteY777"/>
                    </a:cxn>
                    <a:cxn ang="0">
                      <a:pos x="connsiteX778" y="connsiteY778"/>
                    </a:cxn>
                    <a:cxn ang="0">
                      <a:pos x="connsiteX779" y="connsiteY779"/>
                    </a:cxn>
                    <a:cxn ang="0">
                      <a:pos x="connsiteX780" y="connsiteY780"/>
                    </a:cxn>
                    <a:cxn ang="0">
                      <a:pos x="connsiteX781" y="connsiteY781"/>
                    </a:cxn>
                    <a:cxn ang="0">
                      <a:pos x="connsiteX782" y="connsiteY782"/>
                    </a:cxn>
                    <a:cxn ang="0">
                      <a:pos x="connsiteX783" y="connsiteY783"/>
                    </a:cxn>
                    <a:cxn ang="0">
                      <a:pos x="connsiteX784" y="connsiteY784"/>
                    </a:cxn>
                    <a:cxn ang="0">
                      <a:pos x="connsiteX785" y="connsiteY785"/>
                    </a:cxn>
                    <a:cxn ang="0">
                      <a:pos x="connsiteX786" y="connsiteY786"/>
                    </a:cxn>
                    <a:cxn ang="0">
                      <a:pos x="connsiteX787" y="connsiteY787"/>
                    </a:cxn>
                    <a:cxn ang="0">
                      <a:pos x="connsiteX788" y="connsiteY788"/>
                    </a:cxn>
                    <a:cxn ang="0">
                      <a:pos x="connsiteX789" y="connsiteY789"/>
                    </a:cxn>
                    <a:cxn ang="0">
                      <a:pos x="connsiteX790" y="connsiteY790"/>
                    </a:cxn>
                    <a:cxn ang="0">
                      <a:pos x="connsiteX791" y="connsiteY791"/>
                    </a:cxn>
                    <a:cxn ang="0">
                      <a:pos x="connsiteX792" y="connsiteY792"/>
                    </a:cxn>
                    <a:cxn ang="0">
                      <a:pos x="connsiteX793" y="connsiteY793"/>
                    </a:cxn>
                    <a:cxn ang="0">
                      <a:pos x="connsiteX794" y="connsiteY794"/>
                    </a:cxn>
                    <a:cxn ang="0">
                      <a:pos x="connsiteX795" y="connsiteY795"/>
                    </a:cxn>
                    <a:cxn ang="0">
                      <a:pos x="connsiteX796" y="connsiteY796"/>
                    </a:cxn>
                    <a:cxn ang="0">
                      <a:pos x="connsiteX797" y="connsiteY797"/>
                    </a:cxn>
                    <a:cxn ang="0">
                      <a:pos x="connsiteX798" y="connsiteY798"/>
                    </a:cxn>
                    <a:cxn ang="0">
                      <a:pos x="connsiteX799" y="connsiteY799"/>
                    </a:cxn>
                    <a:cxn ang="0">
                      <a:pos x="connsiteX800" y="connsiteY800"/>
                    </a:cxn>
                    <a:cxn ang="0">
                      <a:pos x="connsiteX801" y="connsiteY801"/>
                    </a:cxn>
                    <a:cxn ang="0">
                      <a:pos x="connsiteX802" y="connsiteY802"/>
                    </a:cxn>
                    <a:cxn ang="0">
                      <a:pos x="connsiteX803" y="connsiteY803"/>
                    </a:cxn>
                    <a:cxn ang="0">
                      <a:pos x="connsiteX804" y="connsiteY804"/>
                    </a:cxn>
                    <a:cxn ang="0">
                      <a:pos x="connsiteX805" y="connsiteY805"/>
                    </a:cxn>
                    <a:cxn ang="0">
                      <a:pos x="connsiteX806" y="connsiteY806"/>
                    </a:cxn>
                    <a:cxn ang="0">
                      <a:pos x="connsiteX807" y="connsiteY807"/>
                    </a:cxn>
                    <a:cxn ang="0">
                      <a:pos x="connsiteX808" y="connsiteY808"/>
                    </a:cxn>
                    <a:cxn ang="0">
                      <a:pos x="connsiteX809" y="connsiteY809"/>
                    </a:cxn>
                    <a:cxn ang="0">
                      <a:pos x="connsiteX810" y="connsiteY810"/>
                    </a:cxn>
                    <a:cxn ang="0">
                      <a:pos x="connsiteX811" y="connsiteY811"/>
                    </a:cxn>
                    <a:cxn ang="0">
                      <a:pos x="connsiteX812" y="connsiteY812"/>
                    </a:cxn>
                    <a:cxn ang="0">
                      <a:pos x="connsiteX813" y="connsiteY813"/>
                    </a:cxn>
                    <a:cxn ang="0">
                      <a:pos x="connsiteX814" y="connsiteY814"/>
                    </a:cxn>
                    <a:cxn ang="0">
                      <a:pos x="connsiteX815" y="connsiteY815"/>
                    </a:cxn>
                    <a:cxn ang="0">
                      <a:pos x="connsiteX816" y="connsiteY816"/>
                    </a:cxn>
                    <a:cxn ang="0">
                      <a:pos x="connsiteX817" y="connsiteY817"/>
                    </a:cxn>
                    <a:cxn ang="0">
                      <a:pos x="connsiteX818" y="connsiteY818"/>
                    </a:cxn>
                    <a:cxn ang="0">
                      <a:pos x="connsiteX819" y="connsiteY819"/>
                    </a:cxn>
                    <a:cxn ang="0">
                      <a:pos x="connsiteX820" y="connsiteY820"/>
                    </a:cxn>
                    <a:cxn ang="0">
                      <a:pos x="connsiteX821" y="connsiteY821"/>
                    </a:cxn>
                    <a:cxn ang="0">
                      <a:pos x="connsiteX822" y="connsiteY822"/>
                    </a:cxn>
                    <a:cxn ang="0">
                      <a:pos x="connsiteX823" y="connsiteY823"/>
                    </a:cxn>
                    <a:cxn ang="0">
                      <a:pos x="connsiteX824" y="connsiteY824"/>
                    </a:cxn>
                    <a:cxn ang="0">
                      <a:pos x="connsiteX825" y="connsiteY825"/>
                    </a:cxn>
                    <a:cxn ang="0">
                      <a:pos x="connsiteX826" y="connsiteY826"/>
                    </a:cxn>
                    <a:cxn ang="0">
                      <a:pos x="connsiteX827" y="connsiteY827"/>
                    </a:cxn>
                    <a:cxn ang="0">
                      <a:pos x="connsiteX828" y="connsiteY828"/>
                    </a:cxn>
                    <a:cxn ang="0">
                      <a:pos x="connsiteX829" y="connsiteY829"/>
                    </a:cxn>
                    <a:cxn ang="0">
                      <a:pos x="connsiteX830" y="connsiteY830"/>
                    </a:cxn>
                    <a:cxn ang="0">
                      <a:pos x="connsiteX831" y="connsiteY831"/>
                    </a:cxn>
                    <a:cxn ang="0">
                      <a:pos x="connsiteX832" y="connsiteY832"/>
                    </a:cxn>
                    <a:cxn ang="0">
                      <a:pos x="connsiteX833" y="connsiteY833"/>
                    </a:cxn>
                    <a:cxn ang="0">
                      <a:pos x="connsiteX834" y="connsiteY834"/>
                    </a:cxn>
                    <a:cxn ang="0">
                      <a:pos x="connsiteX835" y="connsiteY835"/>
                    </a:cxn>
                    <a:cxn ang="0">
                      <a:pos x="connsiteX836" y="connsiteY836"/>
                    </a:cxn>
                    <a:cxn ang="0">
                      <a:pos x="connsiteX837" y="connsiteY837"/>
                    </a:cxn>
                    <a:cxn ang="0">
                      <a:pos x="connsiteX838" y="connsiteY838"/>
                    </a:cxn>
                    <a:cxn ang="0">
                      <a:pos x="connsiteX839" y="connsiteY839"/>
                    </a:cxn>
                    <a:cxn ang="0">
                      <a:pos x="connsiteX840" y="connsiteY840"/>
                    </a:cxn>
                    <a:cxn ang="0">
                      <a:pos x="connsiteX841" y="connsiteY841"/>
                    </a:cxn>
                    <a:cxn ang="0">
                      <a:pos x="connsiteX842" y="connsiteY842"/>
                    </a:cxn>
                    <a:cxn ang="0">
                      <a:pos x="connsiteX843" y="connsiteY843"/>
                    </a:cxn>
                    <a:cxn ang="0">
                      <a:pos x="connsiteX844" y="connsiteY844"/>
                    </a:cxn>
                    <a:cxn ang="0">
                      <a:pos x="connsiteX845" y="connsiteY845"/>
                    </a:cxn>
                    <a:cxn ang="0">
                      <a:pos x="connsiteX846" y="connsiteY846"/>
                    </a:cxn>
                    <a:cxn ang="0">
                      <a:pos x="connsiteX847" y="connsiteY847"/>
                    </a:cxn>
                    <a:cxn ang="0">
                      <a:pos x="connsiteX848" y="connsiteY848"/>
                    </a:cxn>
                    <a:cxn ang="0">
                      <a:pos x="connsiteX849" y="connsiteY849"/>
                    </a:cxn>
                    <a:cxn ang="0">
                      <a:pos x="connsiteX850" y="connsiteY850"/>
                    </a:cxn>
                    <a:cxn ang="0">
                      <a:pos x="connsiteX851" y="connsiteY851"/>
                    </a:cxn>
                    <a:cxn ang="0">
                      <a:pos x="connsiteX852" y="connsiteY852"/>
                    </a:cxn>
                    <a:cxn ang="0">
                      <a:pos x="connsiteX853" y="connsiteY853"/>
                    </a:cxn>
                    <a:cxn ang="0">
                      <a:pos x="connsiteX854" y="connsiteY854"/>
                    </a:cxn>
                    <a:cxn ang="0">
                      <a:pos x="connsiteX855" y="connsiteY855"/>
                    </a:cxn>
                    <a:cxn ang="0">
                      <a:pos x="connsiteX856" y="connsiteY856"/>
                    </a:cxn>
                    <a:cxn ang="0">
                      <a:pos x="connsiteX857" y="connsiteY857"/>
                    </a:cxn>
                    <a:cxn ang="0">
                      <a:pos x="connsiteX858" y="connsiteY858"/>
                    </a:cxn>
                    <a:cxn ang="0">
                      <a:pos x="connsiteX859" y="connsiteY859"/>
                    </a:cxn>
                    <a:cxn ang="0">
                      <a:pos x="connsiteX860" y="connsiteY860"/>
                    </a:cxn>
                    <a:cxn ang="0">
                      <a:pos x="connsiteX861" y="connsiteY861"/>
                    </a:cxn>
                    <a:cxn ang="0">
                      <a:pos x="connsiteX862" y="connsiteY862"/>
                    </a:cxn>
                    <a:cxn ang="0">
                      <a:pos x="connsiteX863" y="connsiteY863"/>
                    </a:cxn>
                    <a:cxn ang="0">
                      <a:pos x="connsiteX864" y="connsiteY864"/>
                    </a:cxn>
                    <a:cxn ang="0">
                      <a:pos x="connsiteX865" y="connsiteY865"/>
                    </a:cxn>
                    <a:cxn ang="0">
                      <a:pos x="connsiteX866" y="connsiteY866"/>
                    </a:cxn>
                    <a:cxn ang="0">
                      <a:pos x="connsiteX867" y="connsiteY867"/>
                    </a:cxn>
                    <a:cxn ang="0">
                      <a:pos x="connsiteX868" y="connsiteY868"/>
                    </a:cxn>
                    <a:cxn ang="0">
                      <a:pos x="connsiteX869" y="connsiteY869"/>
                    </a:cxn>
                    <a:cxn ang="0">
                      <a:pos x="connsiteX870" y="connsiteY870"/>
                    </a:cxn>
                    <a:cxn ang="0">
                      <a:pos x="connsiteX871" y="connsiteY871"/>
                    </a:cxn>
                    <a:cxn ang="0">
                      <a:pos x="connsiteX872" y="connsiteY872"/>
                    </a:cxn>
                    <a:cxn ang="0">
                      <a:pos x="connsiteX873" y="connsiteY873"/>
                    </a:cxn>
                    <a:cxn ang="0">
                      <a:pos x="connsiteX874" y="connsiteY874"/>
                    </a:cxn>
                    <a:cxn ang="0">
                      <a:pos x="connsiteX875" y="connsiteY875"/>
                    </a:cxn>
                    <a:cxn ang="0">
                      <a:pos x="connsiteX876" y="connsiteY876"/>
                    </a:cxn>
                    <a:cxn ang="0">
                      <a:pos x="connsiteX877" y="connsiteY877"/>
                    </a:cxn>
                    <a:cxn ang="0">
                      <a:pos x="connsiteX878" y="connsiteY878"/>
                    </a:cxn>
                    <a:cxn ang="0">
                      <a:pos x="connsiteX879" y="connsiteY879"/>
                    </a:cxn>
                    <a:cxn ang="0">
                      <a:pos x="connsiteX880" y="connsiteY880"/>
                    </a:cxn>
                    <a:cxn ang="0">
                      <a:pos x="connsiteX881" y="connsiteY881"/>
                    </a:cxn>
                    <a:cxn ang="0">
                      <a:pos x="connsiteX882" y="connsiteY882"/>
                    </a:cxn>
                    <a:cxn ang="0">
                      <a:pos x="connsiteX883" y="connsiteY883"/>
                    </a:cxn>
                    <a:cxn ang="0">
                      <a:pos x="connsiteX884" y="connsiteY884"/>
                    </a:cxn>
                    <a:cxn ang="0">
                      <a:pos x="connsiteX885" y="connsiteY885"/>
                    </a:cxn>
                    <a:cxn ang="0">
                      <a:pos x="connsiteX886" y="connsiteY886"/>
                    </a:cxn>
                    <a:cxn ang="0">
                      <a:pos x="connsiteX887" y="connsiteY887"/>
                    </a:cxn>
                    <a:cxn ang="0">
                      <a:pos x="connsiteX888" y="connsiteY888"/>
                    </a:cxn>
                    <a:cxn ang="0">
                      <a:pos x="connsiteX889" y="connsiteY889"/>
                    </a:cxn>
                    <a:cxn ang="0">
                      <a:pos x="connsiteX890" y="connsiteY890"/>
                    </a:cxn>
                    <a:cxn ang="0">
                      <a:pos x="connsiteX891" y="connsiteY891"/>
                    </a:cxn>
                    <a:cxn ang="0">
                      <a:pos x="connsiteX892" y="connsiteY892"/>
                    </a:cxn>
                    <a:cxn ang="0">
                      <a:pos x="connsiteX893" y="connsiteY893"/>
                    </a:cxn>
                    <a:cxn ang="0">
                      <a:pos x="connsiteX894" y="connsiteY894"/>
                    </a:cxn>
                    <a:cxn ang="0">
                      <a:pos x="connsiteX895" y="connsiteY895"/>
                    </a:cxn>
                    <a:cxn ang="0">
                      <a:pos x="connsiteX896" y="connsiteY896"/>
                    </a:cxn>
                    <a:cxn ang="0">
                      <a:pos x="connsiteX897" y="connsiteY897"/>
                    </a:cxn>
                    <a:cxn ang="0">
                      <a:pos x="connsiteX898" y="connsiteY898"/>
                    </a:cxn>
                    <a:cxn ang="0">
                      <a:pos x="connsiteX899" y="connsiteY899"/>
                    </a:cxn>
                    <a:cxn ang="0">
                      <a:pos x="connsiteX900" y="connsiteY900"/>
                    </a:cxn>
                    <a:cxn ang="0">
                      <a:pos x="connsiteX901" y="connsiteY901"/>
                    </a:cxn>
                    <a:cxn ang="0">
                      <a:pos x="connsiteX902" y="connsiteY902"/>
                    </a:cxn>
                    <a:cxn ang="0">
                      <a:pos x="connsiteX903" y="connsiteY903"/>
                    </a:cxn>
                    <a:cxn ang="0">
                      <a:pos x="connsiteX904" y="connsiteY904"/>
                    </a:cxn>
                    <a:cxn ang="0">
                      <a:pos x="connsiteX905" y="connsiteY905"/>
                    </a:cxn>
                    <a:cxn ang="0">
                      <a:pos x="connsiteX906" y="connsiteY906"/>
                    </a:cxn>
                    <a:cxn ang="0">
                      <a:pos x="connsiteX907" y="connsiteY907"/>
                    </a:cxn>
                    <a:cxn ang="0">
                      <a:pos x="connsiteX908" y="connsiteY908"/>
                    </a:cxn>
                    <a:cxn ang="0">
                      <a:pos x="connsiteX909" y="connsiteY909"/>
                    </a:cxn>
                    <a:cxn ang="0">
                      <a:pos x="connsiteX910" y="connsiteY910"/>
                    </a:cxn>
                    <a:cxn ang="0">
                      <a:pos x="connsiteX911" y="connsiteY911"/>
                    </a:cxn>
                    <a:cxn ang="0">
                      <a:pos x="connsiteX912" y="connsiteY912"/>
                    </a:cxn>
                    <a:cxn ang="0">
                      <a:pos x="connsiteX913" y="connsiteY913"/>
                    </a:cxn>
                    <a:cxn ang="0">
                      <a:pos x="connsiteX914" y="connsiteY914"/>
                    </a:cxn>
                    <a:cxn ang="0">
                      <a:pos x="connsiteX915" y="connsiteY915"/>
                    </a:cxn>
                    <a:cxn ang="0">
                      <a:pos x="connsiteX916" y="connsiteY916"/>
                    </a:cxn>
                    <a:cxn ang="0">
                      <a:pos x="connsiteX917" y="connsiteY917"/>
                    </a:cxn>
                    <a:cxn ang="0">
                      <a:pos x="connsiteX918" y="connsiteY918"/>
                    </a:cxn>
                    <a:cxn ang="0">
                      <a:pos x="connsiteX919" y="connsiteY919"/>
                    </a:cxn>
                    <a:cxn ang="0">
                      <a:pos x="connsiteX920" y="connsiteY920"/>
                    </a:cxn>
                    <a:cxn ang="0">
                      <a:pos x="connsiteX921" y="connsiteY921"/>
                    </a:cxn>
                    <a:cxn ang="0">
                      <a:pos x="connsiteX922" y="connsiteY922"/>
                    </a:cxn>
                    <a:cxn ang="0">
                      <a:pos x="connsiteX923" y="connsiteY923"/>
                    </a:cxn>
                    <a:cxn ang="0">
                      <a:pos x="connsiteX924" y="connsiteY924"/>
                    </a:cxn>
                    <a:cxn ang="0">
                      <a:pos x="connsiteX925" y="connsiteY925"/>
                    </a:cxn>
                    <a:cxn ang="0">
                      <a:pos x="connsiteX926" y="connsiteY926"/>
                    </a:cxn>
                    <a:cxn ang="0">
                      <a:pos x="connsiteX927" y="connsiteY927"/>
                    </a:cxn>
                    <a:cxn ang="0">
                      <a:pos x="connsiteX928" y="connsiteY928"/>
                    </a:cxn>
                    <a:cxn ang="0">
                      <a:pos x="connsiteX929" y="connsiteY929"/>
                    </a:cxn>
                    <a:cxn ang="0">
                      <a:pos x="connsiteX930" y="connsiteY930"/>
                    </a:cxn>
                    <a:cxn ang="0">
                      <a:pos x="connsiteX931" y="connsiteY931"/>
                    </a:cxn>
                    <a:cxn ang="0">
                      <a:pos x="connsiteX932" y="connsiteY932"/>
                    </a:cxn>
                    <a:cxn ang="0">
                      <a:pos x="connsiteX933" y="connsiteY933"/>
                    </a:cxn>
                    <a:cxn ang="0">
                      <a:pos x="connsiteX934" y="connsiteY934"/>
                    </a:cxn>
                    <a:cxn ang="0">
                      <a:pos x="connsiteX935" y="connsiteY935"/>
                    </a:cxn>
                    <a:cxn ang="0">
                      <a:pos x="connsiteX936" y="connsiteY936"/>
                    </a:cxn>
                    <a:cxn ang="0">
                      <a:pos x="connsiteX937" y="connsiteY937"/>
                    </a:cxn>
                    <a:cxn ang="0">
                      <a:pos x="connsiteX938" y="connsiteY938"/>
                    </a:cxn>
                    <a:cxn ang="0">
                      <a:pos x="connsiteX939" y="connsiteY939"/>
                    </a:cxn>
                    <a:cxn ang="0">
                      <a:pos x="connsiteX940" y="connsiteY940"/>
                    </a:cxn>
                    <a:cxn ang="0">
                      <a:pos x="connsiteX941" y="connsiteY941"/>
                    </a:cxn>
                    <a:cxn ang="0">
                      <a:pos x="connsiteX942" y="connsiteY942"/>
                    </a:cxn>
                    <a:cxn ang="0">
                      <a:pos x="connsiteX943" y="connsiteY943"/>
                    </a:cxn>
                    <a:cxn ang="0">
                      <a:pos x="connsiteX944" y="connsiteY944"/>
                    </a:cxn>
                    <a:cxn ang="0">
                      <a:pos x="connsiteX945" y="connsiteY945"/>
                    </a:cxn>
                    <a:cxn ang="0">
                      <a:pos x="connsiteX946" y="connsiteY946"/>
                    </a:cxn>
                    <a:cxn ang="0">
                      <a:pos x="connsiteX947" y="connsiteY947"/>
                    </a:cxn>
                    <a:cxn ang="0">
                      <a:pos x="connsiteX948" y="connsiteY948"/>
                    </a:cxn>
                    <a:cxn ang="0">
                      <a:pos x="connsiteX949" y="connsiteY949"/>
                    </a:cxn>
                    <a:cxn ang="0">
                      <a:pos x="connsiteX950" y="connsiteY950"/>
                    </a:cxn>
                    <a:cxn ang="0">
                      <a:pos x="connsiteX951" y="connsiteY951"/>
                    </a:cxn>
                    <a:cxn ang="0">
                      <a:pos x="connsiteX952" y="connsiteY952"/>
                    </a:cxn>
                    <a:cxn ang="0">
                      <a:pos x="connsiteX953" y="connsiteY953"/>
                    </a:cxn>
                    <a:cxn ang="0">
                      <a:pos x="connsiteX954" y="connsiteY954"/>
                    </a:cxn>
                    <a:cxn ang="0">
                      <a:pos x="connsiteX955" y="connsiteY955"/>
                    </a:cxn>
                    <a:cxn ang="0">
                      <a:pos x="connsiteX956" y="connsiteY956"/>
                    </a:cxn>
                    <a:cxn ang="0">
                      <a:pos x="connsiteX957" y="connsiteY957"/>
                    </a:cxn>
                    <a:cxn ang="0">
                      <a:pos x="connsiteX958" y="connsiteY958"/>
                    </a:cxn>
                    <a:cxn ang="0">
                      <a:pos x="connsiteX959" y="connsiteY959"/>
                    </a:cxn>
                    <a:cxn ang="0">
                      <a:pos x="connsiteX960" y="connsiteY960"/>
                    </a:cxn>
                    <a:cxn ang="0">
                      <a:pos x="connsiteX961" y="connsiteY961"/>
                    </a:cxn>
                    <a:cxn ang="0">
                      <a:pos x="connsiteX962" y="connsiteY962"/>
                    </a:cxn>
                    <a:cxn ang="0">
                      <a:pos x="connsiteX963" y="connsiteY963"/>
                    </a:cxn>
                    <a:cxn ang="0">
                      <a:pos x="connsiteX964" y="connsiteY964"/>
                    </a:cxn>
                    <a:cxn ang="0">
                      <a:pos x="connsiteX965" y="connsiteY965"/>
                    </a:cxn>
                    <a:cxn ang="0">
                      <a:pos x="connsiteX966" y="connsiteY966"/>
                    </a:cxn>
                    <a:cxn ang="0">
                      <a:pos x="connsiteX967" y="connsiteY967"/>
                    </a:cxn>
                    <a:cxn ang="0">
                      <a:pos x="connsiteX968" y="connsiteY968"/>
                    </a:cxn>
                    <a:cxn ang="0">
                      <a:pos x="connsiteX969" y="connsiteY969"/>
                    </a:cxn>
                    <a:cxn ang="0">
                      <a:pos x="connsiteX970" y="connsiteY970"/>
                    </a:cxn>
                    <a:cxn ang="0">
                      <a:pos x="connsiteX971" y="connsiteY971"/>
                    </a:cxn>
                    <a:cxn ang="0">
                      <a:pos x="connsiteX972" y="connsiteY972"/>
                    </a:cxn>
                    <a:cxn ang="0">
                      <a:pos x="connsiteX973" y="connsiteY973"/>
                    </a:cxn>
                    <a:cxn ang="0">
                      <a:pos x="connsiteX974" y="connsiteY974"/>
                    </a:cxn>
                    <a:cxn ang="0">
                      <a:pos x="connsiteX975" y="connsiteY975"/>
                    </a:cxn>
                    <a:cxn ang="0">
                      <a:pos x="connsiteX976" y="connsiteY976"/>
                    </a:cxn>
                    <a:cxn ang="0">
                      <a:pos x="connsiteX977" y="connsiteY977"/>
                    </a:cxn>
                    <a:cxn ang="0">
                      <a:pos x="connsiteX978" y="connsiteY978"/>
                    </a:cxn>
                    <a:cxn ang="0">
                      <a:pos x="connsiteX979" y="connsiteY979"/>
                    </a:cxn>
                    <a:cxn ang="0">
                      <a:pos x="connsiteX980" y="connsiteY980"/>
                    </a:cxn>
                    <a:cxn ang="0">
                      <a:pos x="connsiteX981" y="connsiteY981"/>
                    </a:cxn>
                    <a:cxn ang="0">
                      <a:pos x="connsiteX982" y="connsiteY982"/>
                    </a:cxn>
                    <a:cxn ang="0">
                      <a:pos x="connsiteX983" y="connsiteY983"/>
                    </a:cxn>
                    <a:cxn ang="0">
                      <a:pos x="connsiteX984" y="connsiteY984"/>
                    </a:cxn>
                    <a:cxn ang="0">
                      <a:pos x="connsiteX985" y="connsiteY985"/>
                    </a:cxn>
                    <a:cxn ang="0">
                      <a:pos x="connsiteX986" y="connsiteY986"/>
                    </a:cxn>
                    <a:cxn ang="0">
                      <a:pos x="connsiteX987" y="connsiteY987"/>
                    </a:cxn>
                    <a:cxn ang="0">
                      <a:pos x="connsiteX988" y="connsiteY988"/>
                    </a:cxn>
                    <a:cxn ang="0">
                      <a:pos x="connsiteX989" y="connsiteY989"/>
                    </a:cxn>
                    <a:cxn ang="0">
                      <a:pos x="connsiteX990" y="connsiteY990"/>
                    </a:cxn>
                    <a:cxn ang="0">
                      <a:pos x="connsiteX991" y="connsiteY991"/>
                    </a:cxn>
                    <a:cxn ang="0">
                      <a:pos x="connsiteX992" y="connsiteY992"/>
                    </a:cxn>
                    <a:cxn ang="0">
                      <a:pos x="connsiteX993" y="connsiteY993"/>
                    </a:cxn>
                    <a:cxn ang="0">
                      <a:pos x="connsiteX994" y="connsiteY994"/>
                    </a:cxn>
                    <a:cxn ang="0">
                      <a:pos x="connsiteX995" y="connsiteY995"/>
                    </a:cxn>
                    <a:cxn ang="0">
                      <a:pos x="connsiteX996" y="connsiteY996"/>
                    </a:cxn>
                    <a:cxn ang="0">
                      <a:pos x="connsiteX997" y="connsiteY997"/>
                    </a:cxn>
                    <a:cxn ang="0">
                      <a:pos x="connsiteX998" y="connsiteY998"/>
                    </a:cxn>
                    <a:cxn ang="0">
                      <a:pos x="connsiteX999" y="connsiteY999"/>
                    </a:cxn>
                    <a:cxn ang="0">
                      <a:pos x="connsiteX1000" y="connsiteY1000"/>
                    </a:cxn>
                    <a:cxn ang="0">
                      <a:pos x="connsiteX1001" y="connsiteY1001"/>
                    </a:cxn>
                    <a:cxn ang="0">
                      <a:pos x="connsiteX1002" y="connsiteY1002"/>
                    </a:cxn>
                    <a:cxn ang="0">
                      <a:pos x="connsiteX1003" y="connsiteY1003"/>
                    </a:cxn>
                    <a:cxn ang="0">
                      <a:pos x="connsiteX1004" y="connsiteY1004"/>
                    </a:cxn>
                    <a:cxn ang="0">
                      <a:pos x="connsiteX1005" y="connsiteY1005"/>
                    </a:cxn>
                    <a:cxn ang="0">
                      <a:pos x="connsiteX1006" y="connsiteY1006"/>
                    </a:cxn>
                    <a:cxn ang="0">
                      <a:pos x="connsiteX1007" y="connsiteY1007"/>
                    </a:cxn>
                    <a:cxn ang="0">
                      <a:pos x="connsiteX1008" y="connsiteY1008"/>
                    </a:cxn>
                    <a:cxn ang="0">
                      <a:pos x="connsiteX1009" y="connsiteY1009"/>
                    </a:cxn>
                    <a:cxn ang="0">
                      <a:pos x="connsiteX1010" y="connsiteY1010"/>
                    </a:cxn>
                    <a:cxn ang="0">
                      <a:pos x="connsiteX1011" y="connsiteY1011"/>
                    </a:cxn>
                    <a:cxn ang="0">
                      <a:pos x="connsiteX1012" y="connsiteY1012"/>
                    </a:cxn>
                    <a:cxn ang="0">
                      <a:pos x="connsiteX1013" y="connsiteY1013"/>
                    </a:cxn>
                    <a:cxn ang="0">
                      <a:pos x="connsiteX1014" y="connsiteY1014"/>
                    </a:cxn>
                    <a:cxn ang="0">
                      <a:pos x="connsiteX1015" y="connsiteY1015"/>
                    </a:cxn>
                    <a:cxn ang="0">
                      <a:pos x="connsiteX1016" y="connsiteY1016"/>
                    </a:cxn>
                    <a:cxn ang="0">
                      <a:pos x="connsiteX1017" y="connsiteY1017"/>
                    </a:cxn>
                    <a:cxn ang="0">
                      <a:pos x="connsiteX1018" y="connsiteY1018"/>
                    </a:cxn>
                    <a:cxn ang="0">
                      <a:pos x="connsiteX1019" y="connsiteY1019"/>
                    </a:cxn>
                    <a:cxn ang="0">
                      <a:pos x="connsiteX1020" y="connsiteY1020"/>
                    </a:cxn>
                    <a:cxn ang="0">
                      <a:pos x="connsiteX1021" y="connsiteY1021"/>
                    </a:cxn>
                    <a:cxn ang="0">
                      <a:pos x="connsiteX1022" y="connsiteY1022"/>
                    </a:cxn>
                    <a:cxn ang="0">
                      <a:pos x="connsiteX1023" y="connsiteY1023"/>
                    </a:cxn>
                    <a:cxn ang="0">
                      <a:pos x="connsiteX1024" y="connsiteY1024"/>
                    </a:cxn>
                    <a:cxn ang="0">
                      <a:pos x="connsiteX1025" y="connsiteY1025"/>
                    </a:cxn>
                    <a:cxn ang="0">
                      <a:pos x="connsiteX1026" y="connsiteY1026"/>
                    </a:cxn>
                    <a:cxn ang="0">
                      <a:pos x="connsiteX1027" y="connsiteY1027"/>
                    </a:cxn>
                    <a:cxn ang="0">
                      <a:pos x="connsiteX1028" y="connsiteY1028"/>
                    </a:cxn>
                    <a:cxn ang="0">
                      <a:pos x="connsiteX1029" y="connsiteY1029"/>
                    </a:cxn>
                    <a:cxn ang="0">
                      <a:pos x="connsiteX1030" y="connsiteY1030"/>
                    </a:cxn>
                    <a:cxn ang="0">
                      <a:pos x="connsiteX1031" y="connsiteY1031"/>
                    </a:cxn>
                    <a:cxn ang="0">
                      <a:pos x="connsiteX1032" y="connsiteY1032"/>
                    </a:cxn>
                    <a:cxn ang="0">
                      <a:pos x="connsiteX1033" y="connsiteY1033"/>
                    </a:cxn>
                    <a:cxn ang="0">
                      <a:pos x="connsiteX1034" y="connsiteY1034"/>
                    </a:cxn>
                    <a:cxn ang="0">
                      <a:pos x="connsiteX1035" y="connsiteY1035"/>
                    </a:cxn>
                    <a:cxn ang="0">
                      <a:pos x="connsiteX1036" y="connsiteY1036"/>
                    </a:cxn>
                    <a:cxn ang="0">
                      <a:pos x="connsiteX1037" y="connsiteY1037"/>
                    </a:cxn>
                    <a:cxn ang="0">
                      <a:pos x="connsiteX1038" y="connsiteY1038"/>
                    </a:cxn>
                    <a:cxn ang="0">
                      <a:pos x="connsiteX1039" y="connsiteY1039"/>
                    </a:cxn>
                    <a:cxn ang="0">
                      <a:pos x="connsiteX1040" y="connsiteY1040"/>
                    </a:cxn>
                    <a:cxn ang="0">
                      <a:pos x="connsiteX1041" y="connsiteY1041"/>
                    </a:cxn>
                    <a:cxn ang="0">
                      <a:pos x="connsiteX1042" y="connsiteY1042"/>
                    </a:cxn>
                    <a:cxn ang="0">
                      <a:pos x="connsiteX1043" y="connsiteY1043"/>
                    </a:cxn>
                    <a:cxn ang="0">
                      <a:pos x="connsiteX1044" y="connsiteY1044"/>
                    </a:cxn>
                    <a:cxn ang="0">
                      <a:pos x="connsiteX1045" y="connsiteY1045"/>
                    </a:cxn>
                    <a:cxn ang="0">
                      <a:pos x="connsiteX1046" y="connsiteY1046"/>
                    </a:cxn>
                    <a:cxn ang="0">
                      <a:pos x="connsiteX1047" y="connsiteY1047"/>
                    </a:cxn>
                    <a:cxn ang="0">
                      <a:pos x="connsiteX1048" y="connsiteY1048"/>
                    </a:cxn>
                    <a:cxn ang="0">
                      <a:pos x="connsiteX1049" y="connsiteY1049"/>
                    </a:cxn>
                    <a:cxn ang="0">
                      <a:pos x="connsiteX1050" y="connsiteY1050"/>
                    </a:cxn>
                    <a:cxn ang="0">
                      <a:pos x="connsiteX1051" y="connsiteY1051"/>
                    </a:cxn>
                    <a:cxn ang="0">
                      <a:pos x="connsiteX1052" y="connsiteY1052"/>
                    </a:cxn>
                    <a:cxn ang="0">
                      <a:pos x="connsiteX1053" y="connsiteY1053"/>
                    </a:cxn>
                    <a:cxn ang="0">
                      <a:pos x="connsiteX1054" y="connsiteY1054"/>
                    </a:cxn>
                    <a:cxn ang="0">
                      <a:pos x="connsiteX1055" y="connsiteY1055"/>
                    </a:cxn>
                    <a:cxn ang="0">
                      <a:pos x="connsiteX1056" y="connsiteY1056"/>
                    </a:cxn>
                    <a:cxn ang="0">
                      <a:pos x="connsiteX1057" y="connsiteY1057"/>
                    </a:cxn>
                    <a:cxn ang="0">
                      <a:pos x="connsiteX1058" y="connsiteY1058"/>
                    </a:cxn>
                    <a:cxn ang="0">
                      <a:pos x="connsiteX1059" y="connsiteY1059"/>
                    </a:cxn>
                    <a:cxn ang="0">
                      <a:pos x="connsiteX1060" y="connsiteY1060"/>
                    </a:cxn>
                    <a:cxn ang="0">
                      <a:pos x="connsiteX1061" y="connsiteY1061"/>
                    </a:cxn>
                    <a:cxn ang="0">
                      <a:pos x="connsiteX1062" y="connsiteY1062"/>
                    </a:cxn>
                    <a:cxn ang="0">
                      <a:pos x="connsiteX1063" y="connsiteY1063"/>
                    </a:cxn>
                    <a:cxn ang="0">
                      <a:pos x="connsiteX1064" y="connsiteY1064"/>
                    </a:cxn>
                    <a:cxn ang="0">
                      <a:pos x="connsiteX1065" y="connsiteY1065"/>
                    </a:cxn>
                    <a:cxn ang="0">
                      <a:pos x="connsiteX1066" y="connsiteY1066"/>
                    </a:cxn>
                    <a:cxn ang="0">
                      <a:pos x="connsiteX1067" y="connsiteY1067"/>
                    </a:cxn>
                    <a:cxn ang="0">
                      <a:pos x="connsiteX1068" y="connsiteY1068"/>
                    </a:cxn>
                    <a:cxn ang="0">
                      <a:pos x="connsiteX1069" y="connsiteY1069"/>
                    </a:cxn>
                    <a:cxn ang="0">
                      <a:pos x="connsiteX1070" y="connsiteY1070"/>
                    </a:cxn>
                    <a:cxn ang="0">
                      <a:pos x="connsiteX1071" y="connsiteY1071"/>
                    </a:cxn>
                    <a:cxn ang="0">
                      <a:pos x="connsiteX1072" y="connsiteY1072"/>
                    </a:cxn>
                    <a:cxn ang="0">
                      <a:pos x="connsiteX1073" y="connsiteY1073"/>
                    </a:cxn>
                    <a:cxn ang="0">
                      <a:pos x="connsiteX1074" y="connsiteY1074"/>
                    </a:cxn>
                    <a:cxn ang="0">
                      <a:pos x="connsiteX1075" y="connsiteY1075"/>
                    </a:cxn>
                    <a:cxn ang="0">
                      <a:pos x="connsiteX1076" y="connsiteY1076"/>
                    </a:cxn>
                    <a:cxn ang="0">
                      <a:pos x="connsiteX1077" y="connsiteY1077"/>
                    </a:cxn>
                    <a:cxn ang="0">
                      <a:pos x="connsiteX1078" y="connsiteY1078"/>
                    </a:cxn>
                    <a:cxn ang="0">
                      <a:pos x="connsiteX1079" y="connsiteY1079"/>
                    </a:cxn>
                    <a:cxn ang="0">
                      <a:pos x="connsiteX1080" y="connsiteY1080"/>
                    </a:cxn>
                    <a:cxn ang="0">
                      <a:pos x="connsiteX1081" y="connsiteY1081"/>
                    </a:cxn>
                    <a:cxn ang="0">
                      <a:pos x="connsiteX1082" y="connsiteY1082"/>
                    </a:cxn>
                    <a:cxn ang="0">
                      <a:pos x="connsiteX1083" y="connsiteY1083"/>
                    </a:cxn>
                    <a:cxn ang="0">
                      <a:pos x="connsiteX1084" y="connsiteY1084"/>
                    </a:cxn>
                    <a:cxn ang="0">
                      <a:pos x="connsiteX1085" y="connsiteY1085"/>
                    </a:cxn>
                    <a:cxn ang="0">
                      <a:pos x="connsiteX1086" y="connsiteY1086"/>
                    </a:cxn>
                    <a:cxn ang="0">
                      <a:pos x="connsiteX1087" y="connsiteY1087"/>
                    </a:cxn>
                    <a:cxn ang="0">
                      <a:pos x="connsiteX1088" y="connsiteY1088"/>
                    </a:cxn>
                    <a:cxn ang="0">
                      <a:pos x="connsiteX1089" y="connsiteY1089"/>
                    </a:cxn>
                    <a:cxn ang="0">
                      <a:pos x="connsiteX1090" y="connsiteY1090"/>
                    </a:cxn>
                    <a:cxn ang="0">
                      <a:pos x="connsiteX1091" y="connsiteY1091"/>
                    </a:cxn>
                    <a:cxn ang="0">
                      <a:pos x="connsiteX1092" y="connsiteY1092"/>
                    </a:cxn>
                    <a:cxn ang="0">
                      <a:pos x="connsiteX1093" y="connsiteY1093"/>
                    </a:cxn>
                    <a:cxn ang="0">
                      <a:pos x="connsiteX1094" y="connsiteY1094"/>
                    </a:cxn>
                    <a:cxn ang="0">
                      <a:pos x="connsiteX1095" y="connsiteY1095"/>
                    </a:cxn>
                    <a:cxn ang="0">
                      <a:pos x="connsiteX1096" y="connsiteY1096"/>
                    </a:cxn>
                    <a:cxn ang="0">
                      <a:pos x="connsiteX1097" y="connsiteY1097"/>
                    </a:cxn>
                    <a:cxn ang="0">
                      <a:pos x="connsiteX1098" y="connsiteY1098"/>
                    </a:cxn>
                    <a:cxn ang="0">
                      <a:pos x="connsiteX1099" y="connsiteY1099"/>
                    </a:cxn>
                    <a:cxn ang="0">
                      <a:pos x="connsiteX1100" y="connsiteY1100"/>
                    </a:cxn>
                    <a:cxn ang="0">
                      <a:pos x="connsiteX1101" y="connsiteY1101"/>
                    </a:cxn>
                    <a:cxn ang="0">
                      <a:pos x="connsiteX1102" y="connsiteY1102"/>
                    </a:cxn>
                    <a:cxn ang="0">
                      <a:pos x="connsiteX1103" y="connsiteY1103"/>
                    </a:cxn>
                    <a:cxn ang="0">
                      <a:pos x="connsiteX1104" y="connsiteY1104"/>
                    </a:cxn>
                    <a:cxn ang="0">
                      <a:pos x="connsiteX1105" y="connsiteY1105"/>
                    </a:cxn>
                    <a:cxn ang="0">
                      <a:pos x="connsiteX1106" y="connsiteY1106"/>
                    </a:cxn>
                    <a:cxn ang="0">
                      <a:pos x="connsiteX1107" y="connsiteY1107"/>
                    </a:cxn>
                    <a:cxn ang="0">
                      <a:pos x="connsiteX1108" y="connsiteY1108"/>
                    </a:cxn>
                    <a:cxn ang="0">
                      <a:pos x="connsiteX1109" y="connsiteY1109"/>
                    </a:cxn>
                    <a:cxn ang="0">
                      <a:pos x="connsiteX1110" y="connsiteY1110"/>
                    </a:cxn>
                    <a:cxn ang="0">
                      <a:pos x="connsiteX1111" y="connsiteY1111"/>
                    </a:cxn>
                    <a:cxn ang="0">
                      <a:pos x="connsiteX1112" y="connsiteY1112"/>
                    </a:cxn>
                    <a:cxn ang="0">
                      <a:pos x="connsiteX1113" y="connsiteY1113"/>
                    </a:cxn>
                    <a:cxn ang="0">
                      <a:pos x="connsiteX1114" y="connsiteY1114"/>
                    </a:cxn>
                    <a:cxn ang="0">
                      <a:pos x="connsiteX1115" y="connsiteY1115"/>
                    </a:cxn>
                    <a:cxn ang="0">
                      <a:pos x="connsiteX1116" y="connsiteY1116"/>
                    </a:cxn>
                    <a:cxn ang="0">
                      <a:pos x="connsiteX1117" y="connsiteY1117"/>
                    </a:cxn>
                    <a:cxn ang="0">
                      <a:pos x="connsiteX1118" y="connsiteY1118"/>
                    </a:cxn>
                    <a:cxn ang="0">
                      <a:pos x="connsiteX1119" y="connsiteY1119"/>
                    </a:cxn>
                    <a:cxn ang="0">
                      <a:pos x="connsiteX1120" y="connsiteY1120"/>
                    </a:cxn>
                    <a:cxn ang="0">
                      <a:pos x="connsiteX1121" y="connsiteY1121"/>
                    </a:cxn>
                    <a:cxn ang="0">
                      <a:pos x="connsiteX1122" y="connsiteY1122"/>
                    </a:cxn>
                    <a:cxn ang="0">
                      <a:pos x="connsiteX1123" y="connsiteY1123"/>
                    </a:cxn>
                    <a:cxn ang="0">
                      <a:pos x="connsiteX1124" y="connsiteY1124"/>
                    </a:cxn>
                    <a:cxn ang="0">
                      <a:pos x="connsiteX1125" y="connsiteY1125"/>
                    </a:cxn>
                    <a:cxn ang="0">
                      <a:pos x="connsiteX1126" y="connsiteY1126"/>
                    </a:cxn>
                    <a:cxn ang="0">
                      <a:pos x="connsiteX1127" y="connsiteY1127"/>
                    </a:cxn>
                    <a:cxn ang="0">
                      <a:pos x="connsiteX1128" y="connsiteY1128"/>
                    </a:cxn>
                    <a:cxn ang="0">
                      <a:pos x="connsiteX1129" y="connsiteY1129"/>
                    </a:cxn>
                    <a:cxn ang="0">
                      <a:pos x="connsiteX1130" y="connsiteY1130"/>
                    </a:cxn>
                    <a:cxn ang="0">
                      <a:pos x="connsiteX1131" y="connsiteY1131"/>
                    </a:cxn>
                    <a:cxn ang="0">
                      <a:pos x="connsiteX1132" y="connsiteY1132"/>
                    </a:cxn>
                    <a:cxn ang="0">
                      <a:pos x="connsiteX1133" y="connsiteY1133"/>
                    </a:cxn>
                    <a:cxn ang="0">
                      <a:pos x="connsiteX1134" y="connsiteY1134"/>
                    </a:cxn>
                    <a:cxn ang="0">
                      <a:pos x="connsiteX1135" y="connsiteY1135"/>
                    </a:cxn>
                    <a:cxn ang="0">
                      <a:pos x="connsiteX1136" y="connsiteY1136"/>
                    </a:cxn>
                    <a:cxn ang="0">
                      <a:pos x="connsiteX1137" y="connsiteY1137"/>
                    </a:cxn>
                    <a:cxn ang="0">
                      <a:pos x="connsiteX1138" y="connsiteY1138"/>
                    </a:cxn>
                    <a:cxn ang="0">
                      <a:pos x="connsiteX1139" y="connsiteY1139"/>
                    </a:cxn>
                    <a:cxn ang="0">
                      <a:pos x="connsiteX1140" y="connsiteY1140"/>
                    </a:cxn>
                    <a:cxn ang="0">
                      <a:pos x="connsiteX1141" y="connsiteY1141"/>
                    </a:cxn>
                    <a:cxn ang="0">
                      <a:pos x="connsiteX1142" y="connsiteY1142"/>
                    </a:cxn>
                    <a:cxn ang="0">
                      <a:pos x="connsiteX1143" y="connsiteY1143"/>
                    </a:cxn>
                    <a:cxn ang="0">
                      <a:pos x="connsiteX1144" y="connsiteY1144"/>
                    </a:cxn>
                    <a:cxn ang="0">
                      <a:pos x="connsiteX1145" y="connsiteY1145"/>
                    </a:cxn>
                    <a:cxn ang="0">
                      <a:pos x="connsiteX1146" y="connsiteY1146"/>
                    </a:cxn>
                    <a:cxn ang="0">
                      <a:pos x="connsiteX1147" y="connsiteY1147"/>
                    </a:cxn>
                    <a:cxn ang="0">
                      <a:pos x="connsiteX1148" y="connsiteY1148"/>
                    </a:cxn>
                    <a:cxn ang="0">
                      <a:pos x="connsiteX1149" y="connsiteY1149"/>
                    </a:cxn>
                    <a:cxn ang="0">
                      <a:pos x="connsiteX1150" y="connsiteY1150"/>
                    </a:cxn>
                    <a:cxn ang="0">
                      <a:pos x="connsiteX1151" y="connsiteY1151"/>
                    </a:cxn>
                    <a:cxn ang="0">
                      <a:pos x="connsiteX1152" y="connsiteY1152"/>
                    </a:cxn>
                    <a:cxn ang="0">
                      <a:pos x="connsiteX1153" y="connsiteY1153"/>
                    </a:cxn>
                    <a:cxn ang="0">
                      <a:pos x="connsiteX1154" y="connsiteY1154"/>
                    </a:cxn>
                    <a:cxn ang="0">
                      <a:pos x="connsiteX1155" y="connsiteY1155"/>
                    </a:cxn>
                    <a:cxn ang="0">
                      <a:pos x="connsiteX1156" y="connsiteY1156"/>
                    </a:cxn>
                    <a:cxn ang="0">
                      <a:pos x="connsiteX1157" y="connsiteY1157"/>
                    </a:cxn>
                    <a:cxn ang="0">
                      <a:pos x="connsiteX1158" y="connsiteY1158"/>
                    </a:cxn>
                    <a:cxn ang="0">
                      <a:pos x="connsiteX1159" y="connsiteY1159"/>
                    </a:cxn>
                    <a:cxn ang="0">
                      <a:pos x="connsiteX1160" y="connsiteY1160"/>
                    </a:cxn>
                    <a:cxn ang="0">
                      <a:pos x="connsiteX1161" y="connsiteY1161"/>
                    </a:cxn>
                    <a:cxn ang="0">
                      <a:pos x="connsiteX1162" y="connsiteY1162"/>
                    </a:cxn>
                    <a:cxn ang="0">
                      <a:pos x="connsiteX1163" y="connsiteY1163"/>
                    </a:cxn>
                    <a:cxn ang="0">
                      <a:pos x="connsiteX1164" y="connsiteY1164"/>
                    </a:cxn>
                    <a:cxn ang="0">
                      <a:pos x="connsiteX1165" y="connsiteY1165"/>
                    </a:cxn>
                    <a:cxn ang="0">
                      <a:pos x="connsiteX1166" y="connsiteY1166"/>
                    </a:cxn>
                    <a:cxn ang="0">
                      <a:pos x="connsiteX1167" y="connsiteY1167"/>
                    </a:cxn>
                    <a:cxn ang="0">
                      <a:pos x="connsiteX1168" y="connsiteY1168"/>
                    </a:cxn>
                    <a:cxn ang="0">
                      <a:pos x="connsiteX1169" y="connsiteY1169"/>
                    </a:cxn>
                    <a:cxn ang="0">
                      <a:pos x="connsiteX1170" y="connsiteY1170"/>
                    </a:cxn>
                    <a:cxn ang="0">
                      <a:pos x="connsiteX1171" y="connsiteY1171"/>
                    </a:cxn>
                    <a:cxn ang="0">
                      <a:pos x="connsiteX1172" y="connsiteY1172"/>
                    </a:cxn>
                    <a:cxn ang="0">
                      <a:pos x="connsiteX1173" y="connsiteY1173"/>
                    </a:cxn>
                    <a:cxn ang="0">
                      <a:pos x="connsiteX1174" y="connsiteY1174"/>
                    </a:cxn>
                    <a:cxn ang="0">
                      <a:pos x="connsiteX1175" y="connsiteY1175"/>
                    </a:cxn>
                    <a:cxn ang="0">
                      <a:pos x="connsiteX1176" y="connsiteY1176"/>
                    </a:cxn>
                    <a:cxn ang="0">
                      <a:pos x="connsiteX1177" y="connsiteY1177"/>
                    </a:cxn>
                    <a:cxn ang="0">
                      <a:pos x="connsiteX1178" y="connsiteY1178"/>
                    </a:cxn>
                    <a:cxn ang="0">
                      <a:pos x="connsiteX1179" y="connsiteY1179"/>
                    </a:cxn>
                    <a:cxn ang="0">
                      <a:pos x="connsiteX1180" y="connsiteY1180"/>
                    </a:cxn>
                    <a:cxn ang="0">
                      <a:pos x="connsiteX1181" y="connsiteY1181"/>
                    </a:cxn>
                    <a:cxn ang="0">
                      <a:pos x="connsiteX1182" y="connsiteY1182"/>
                    </a:cxn>
                    <a:cxn ang="0">
                      <a:pos x="connsiteX1183" y="connsiteY1183"/>
                    </a:cxn>
                    <a:cxn ang="0">
                      <a:pos x="connsiteX1184" y="connsiteY1184"/>
                    </a:cxn>
                    <a:cxn ang="0">
                      <a:pos x="connsiteX1185" y="connsiteY1185"/>
                    </a:cxn>
                    <a:cxn ang="0">
                      <a:pos x="connsiteX1186" y="connsiteY1186"/>
                    </a:cxn>
                    <a:cxn ang="0">
                      <a:pos x="connsiteX1187" y="connsiteY1187"/>
                    </a:cxn>
                    <a:cxn ang="0">
                      <a:pos x="connsiteX1188" y="connsiteY1188"/>
                    </a:cxn>
                    <a:cxn ang="0">
                      <a:pos x="connsiteX1189" y="connsiteY1189"/>
                    </a:cxn>
                    <a:cxn ang="0">
                      <a:pos x="connsiteX1190" y="connsiteY1190"/>
                    </a:cxn>
                    <a:cxn ang="0">
                      <a:pos x="connsiteX1191" y="connsiteY1191"/>
                    </a:cxn>
                    <a:cxn ang="0">
                      <a:pos x="connsiteX1192" y="connsiteY1192"/>
                    </a:cxn>
                    <a:cxn ang="0">
                      <a:pos x="connsiteX1193" y="connsiteY1193"/>
                    </a:cxn>
                    <a:cxn ang="0">
                      <a:pos x="connsiteX1194" y="connsiteY1194"/>
                    </a:cxn>
                    <a:cxn ang="0">
                      <a:pos x="connsiteX1195" y="connsiteY1195"/>
                    </a:cxn>
                    <a:cxn ang="0">
                      <a:pos x="connsiteX1196" y="connsiteY1196"/>
                    </a:cxn>
                    <a:cxn ang="0">
                      <a:pos x="connsiteX1197" y="connsiteY1197"/>
                    </a:cxn>
                    <a:cxn ang="0">
                      <a:pos x="connsiteX1198" y="connsiteY1198"/>
                    </a:cxn>
                    <a:cxn ang="0">
                      <a:pos x="connsiteX1199" y="connsiteY1199"/>
                    </a:cxn>
                    <a:cxn ang="0">
                      <a:pos x="connsiteX1200" y="connsiteY1200"/>
                    </a:cxn>
                    <a:cxn ang="0">
                      <a:pos x="connsiteX1201" y="connsiteY1201"/>
                    </a:cxn>
                    <a:cxn ang="0">
                      <a:pos x="connsiteX1202" y="connsiteY1202"/>
                    </a:cxn>
                    <a:cxn ang="0">
                      <a:pos x="connsiteX1203" y="connsiteY1203"/>
                    </a:cxn>
                    <a:cxn ang="0">
                      <a:pos x="connsiteX1204" y="connsiteY1204"/>
                    </a:cxn>
                    <a:cxn ang="0">
                      <a:pos x="connsiteX1205" y="connsiteY1205"/>
                    </a:cxn>
                    <a:cxn ang="0">
                      <a:pos x="connsiteX1206" y="connsiteY1206"/>
                    </a:cxn>
                    <a:cxn ang="0">
                      <a:pos x="connsiteX1207" y="connsiteY1207"/>
                    </a:cxn>
                    <a:cxn ang="0">
                      <a:pos x="connsiteX1208" y="connsiteY1208"/>
                    </a:cxn>
                    <a:cxn ang="0">
                      <a:pos x="connsiteX1209" y="connsiteY1209"/>
                    </a:cxn>
                    <a:cxn ang="0">
                      <a:pos x="connsiteX1210" y="connsiteY1210"/>
                    </a:cxn>
                    <a:cxn ang="0">
                      <a:pos x="connsiteX1211" y="connsiteY1211"/>
                    </a:cxn>
                    <a:cxn ang="0">
                      <a:pos x="connsiteX1212" y="connsiteY1212"/>
                    </a:cxn>
                    <a:cxn ang="0">
                      <a:pos x="connsiteX1213" y="connsiteY1213"/>
                    </a:cxn>
                    <a:cxn ang="0">
                      <a:pos x="connsiteX1214" y="connsiteY1214"/>
                    </a:cxn>
                    <a:cxn ang="0">
                      <a:pos x="connsiteX1215" y="connsiteY1215"/>
                    </a:cxn>
                    <a:cxn ang="0">
                      <a:pos x="connsiteX1216" y="connsiteY1216"/>
                    </a:cxn>
                    <a:cxn ang="0">
                      <a:pos x="connsiteX1217" y="connsiteY1217"/>
                    </a:cxn>
                    <a:cxn ang="0">
                      <a:pos x="connsiteX1218" y="connsiteY1218"/>
                    </a:cxn>
                    <a:cxn ang="0">
                      <a:pos x="connsiteX1219" y="connsiteY1219"/>
                    </a:cxn>
                    <a:cxn ang="0">
                      <a:pos x="connsiteX1220" y="connsiteY1220"/>
                    </a:cxn>
                    <a:cxn ang="0">
                      <a:pos x="connsiteX1221" y="connsiteY1221"/>
                    </a:cxn>
                    <a:cxn ang="0">
                      <a:pos x="connsiteX1222" y="connsiteY1222"/>
                    </a:cxn>
                    <a:cxn ang="0">
                      <a:pos x="connsiteX1223" y="connsiteY1223"/>
                    </a:cxn>
                    <a:cxn ang="0">
                      <a:pos x="connsiteX1224" y="connsiteY1224"/>
                    </a:cxn>
                    <a:cxn ang="0">
                      <a:pos x="connsiteX1225" y="connsiteY1225"/>
                    </a:cxn>
                    <a:cxn ang="0">
                      <a:pos x="connsiteX1226" y="connsiteY1226"/>
                    </a:cxn>
                    <a:cxn ang="0">
                      <a:pos x="connsiteX1227" y="connsiteY1227"/>
                    </a:cxn>
                    <a:cxn ang="0">
                      <a:pos x="connsiteX1228" y="connsiteY1228"/>
                    </a:cxn>
                    <a:cxn ang="0">
                      <a:pos x="connsiteX1229" y="connsiteY1229"/>
                    </a:cxn>
                    <a:cxn ang="0">
                      <a:pos x="connsiteX1230" y="connsiteY1230"/>
                    </a:cxn>
                    <a:cxn ang="0">
                      <a:pos x="connsiteX1231" y="connsiteY1231"/>
                    </a:cxn>
                    <a:cxn ang="0">
                      <a:pos x="connsiteX1232" y="connsiteY1232"/>
                    </a:cxn>
                    <a:cxn ang="0">
                      <a:pos x="connsiteX1233" y="connsiteY1233"/>
                    </a:cxn>
                    <a:cxn ang="0">
                      <a:pos x="connsiteX1234" y="connsiteY1234"/>
                    </a:cxn>
                    <a:cxn ang="0">
                      <a:pos x="connsiteX1235" y="connsiteY1235"/>
                    </a:cxn>
                    <a:cxn ang="0">
                      <a:pos x="connsiteX1236" y="connsiteY1236"/>
                    </a:cxn>
                    <a:cxn ang="0">
                      <a:pos x="connsiteX1237" y="connsiteY1237"/>
                    </a:cxn>
                    <a:cxn ang="0">
                      <a:pos x="connsiteX1238" y="connsiteY1238"/>
                    </a:cxn>
                    <a:cxn ang="0">
                      <a:pos x="connsiteX1239" y="connsiteY1239"/>
                    </a:cxn>
                    <a:cxn ang="0">
                      <a:pos x="connsiteX1240" y="connsiteY1240"/>
                    </a:cxn>
                    <a:cxn ang="0">
                      <a:pos x="connsiteX1241" y="connsiteY1241"/>
                    </a:cxn>
                    <a:cxn ang="0">
                      <a:pos x="connsiteX1242" y="connsiteY1242"/>
                    </a:cxn>
                    <a:cxn ang="0">
                      <a:pos x="connsiteX1243" y="connsiteY1243"/>
                    </a:cxn>
                    <a:cxn ang="0">
                      <a:pos x="connsiteX1244" y="connsiteY1244"/>
                    </a:cxn>
                    <a:cxn ang="0">
                      <a:pos x="connsiteX1245" y="connsiteY1245"/>
                    </a:cxn>
                    <a:cxn ang="0">
                      <a:pos x="connsiteX1246" y="connsiteY1246"/>
                    </a:cxn>
                    <a:cxn ang="0">
                      <a:pos x="connsiteX1247" y="connsiteY1247"/>
                    </a:cxn>
                    <a:cxn ang="0">
                      <a:pos x="connsiteX1248" y="connsiteY1248"/>
                    </a:cxn>
                    <a:cxn ang="0">
                      <a:pos x="connsiteX1249" y="connsiteY1249"/>
                    </a:cxn>
                    <a:cxn ang="0">
                      <a:pos x="connsiteX1250" y="connsiteY1250"/>
                    </a:cxn>
                    <a:cxn ang="0">
                      <a:pos x="connsiteX1251" y="connsiteY1251"/>
                    </a:cxn>
                    <a:cxn ang="0">
                      <a:pos x="connsiteX1252" y="connsiteY1252"/>
                    </a:cxn>
                    <a:cxn ang="0">
                      <a:pos x="connsiteX1253" y="connsiteY1253"/>
                    </a:cxn>
                    <a:cxn ang="0">
                      <a:pos x="connsiteX1254" y="connsiteY1254"/>
                    </a:cxn>
                    <a:cxn ang="0">
                      <a:pos x="connsiteX1255" y="connsiteY1255"/>
                    </a:cxn>
                    <a:cxn ang="0">
                      <a:pos x="connsiteX1256" y="connsiteY1256"/>
                    </a:cxn>
                    <a:cxn ang="0">
                      <a:pos x="connsiteX1257" y="connsiteY1257"/>
                    </a:cxn>
                    <a:cxn ang="0">
                      <a:pos x="connsiteX1258" y="connsiteY1258"/>
                    </a:cxn>
                    <a:cxn ang="0">
                      <a:pos x="connsiteX1259" y="connsiteY1259"/>
                    </a:cxn>
                    <a:cxn ang="0">
                      <a:pos x="connsiteX1260" y="connsiteY1260"/>
                    </a:cxn>
                    <a:cxn ang="0">
                      <a:pos x="connsiteX1261" y="connsiteY1261"/>
                    </a:cxn>
                    <a:cxn ang="0">
                      <a:pos x="connsiteX1262" y="connsiteY1262"/>
                    </a:cxn>
                    <a:cxn ang="0">
                      <a:pos x="connsiteX1263" y="connsiteY1263"/>
                    </a:cxn>
                    <a:cxn ang="0">
                      <a:pos x="connsiteX1264" y="connsiteY1264"/>
                    </a:cxn>
                    <a:cxn ang="0">
                      <a:pos x="connsiteX1265" y="connsiteY1265"/>
                    </a:cxn>
                    <a:cxn ang="0">
                      <a:pos x="connsiteX1266" y="connsiteY1266"/>
                    </a:cxn>
                    <a:cxn ang="0">
                      <a:pos x="connsiteX1267" y="connsiteY1267"/>
                    </a:cxn>
                    <a:cxn ang="0">
                      <a:pos x="connsiteX1268" y="connsiteY1268"/>
                    </a:cxn>
                    <a:cxn ang="0">
                      <a:pos x="connsiteX1269" y="connsiteY1269"/>
                    </a:cxn>
                    <a:cxn ang="0">
                      <a:pos x="connsiteX1270" y="connsiteY1270"/>
                    </a:cxn>
                    <a:cxn ang="0">
                      <a:pos x="connsiteX1271" y="connsiteY1271"/>
                    </a:cxn>
                    <a:cxn ang="0">
                      <a:pos x="connsiteX1272" y="connsiteY1272"/>
                    </a:cxn>
                    <a:cxn ang="0">
                      <a:pos x="connsiteX1273" y="connsiteY1273"/>
                    </a:cxn>
                    <a:cxn ang="0">
                      <a:pos x="connsiteX1274" y="connsiteY1274"/>
                    </a:cxn>
                    <a:cxn ang="0">
                      <a:pos x="connsiteX1275" y="connsiteY1275"/>
                    </a:cxn>
                    <a:cxn ang="0">
                      <a:pos x="connsiteX1276" y="connsiteY1276"/>
                    </a:cxn>
                    <a:cxn ang="0">
                      <a:pos x="connsiteX1277" y="connsiteY1277"/>
                    </a:cxn>
                    <a:cxn ang="0">
                      <a:pos x="connsiteX1278" y="connsiteY1278"/>
                    </a:cxn>
                    <a:cxn ang="0">
                      <a:pos x="connsiteX1279" y="connsiteY1279"/>
                    </a:cxn>
                    <a:cxn ang="0">
                      <a:pos x="connsiteX1280" y="connsiteY1280"/>
                    </a:cxn>
                    <a:cxn ang="0">
                      <a:pos x="connsiteX1281" y="connsiteY1281"/>
                    </a:cxn>
                    <a:cxn ang="0">
                      <a:pos x="connsiteX1282" y="connsiteY1282"/>
                    </a:cxn>
                    <a:cxn ang="0">
                      <a:pos x="connsiteX1283" y="connsiteY1283"/>
                    </a:cxn>
                    <a:cxn ang="0">
                      <a:pos x="connsiteX1284" y="connsiteY1284"/>
                    </a:cxn>
                    <a:cxn ang="0">
                      <a:pos x="connsiteX1285" y="connsiteY1285"/>
                    </a:cxn>
                    <a:cxn ang="0">
                      <a:pos x="connsiteX1286" y="connsiteY1286"/>
                    </a:cxn>
                    <a:cxn ang="0">
                      <a:pos x="connsiteX1287" y="connsiteY1287"/>
                    </a:cxn>
                    <a:cxn ang="0">
                      <a:pos x="connsiteX1288" y="connsiteY1288"/>
                    </a:cxn>
                    <a:cxn ang="0">
                      <a:pos x="connsiteX1289" y="connsiteY1289"/>
                    </a:cxn>
                    <a:cxn ang="0">
                      <a:pos x="connsiteX1290" y="connsiteY1290"/>
                    </a:cxn>
                    <a:cxn ang="0">
                      <a:pos x="connsiteX1291" y="connsiteY1291"/>
                    </a:cxn>
                    <a:cxn ang="0">
                      <a:pos x="connsiteX1292" y="connsiteY1292"/>
                    </a:cxn>
                    <a:cxn ang="0">
                      <a:pos x="connsiteX1293" y="connsiteY1293"/>
                    </a:cxn>
                    <a:cxn ang="0">
                      <a:pos x="connsiteX1294" y="connsiteY1294"/>
                    </a:cxn>
                    <a:cxn ang="0">
                      <a:pos x="connsiteX1295" y="connsiteY1295"/>
                    </a:cxn>
                    <a:cxn ang="0">
                      <a:pos x="connsiteX1296" y="connsiteY1296"/>
                    </a:cxn>
                    <a:cxn ang="0">
                      <a:pos x="connsiteX1297" y="connsiteY1297"/>
                    </a:cxn>
                    <a:cxn ang="0">
                      <a:pos x="connsiteX1298" y="connsiteY1298"/>
                    </a:cxn>
                    <a:cxn ang="0">
                      <a:pos x="connsiteX1299" y="connsiteY1299"/>
                    </a:cxn>
                    <a:cxn ang="0">
                      <a:pos x="connsiteX1300" y="connsiteY1300"/>
                    </a:cxn>
                    <a:cxn ang="0">
                      <a:pos x="connsiteX1301" y="connsiteY1301"/>
                    </a:cxn>
                    <a:cxn ang="0">
                      <a:pos x="connsiteX1302" y="connsiteY1302"/>
                    </a:cxn>
                    <a:cxn ang="0">
                      <a:pos x="connsiteX1303" y="connsiteY1303"/>
                    </a:cxn>
                    <a:cxn ang="0">
                      <a:pos x="connsiteX1304" y="connsiteY1304"/>
                    </a:cxn>
                    <a:cxn ang="0">
                      <a:pos x="connsiteX1305" y="connsiteY1305"/>
                    </a:cxn>
                    <a:cxn ang="0">
                      <a:pos x="connsiteX1306" y="connsiteY1306"/>
                    </a:cxn>
                    <a:cxn ang="0">
                      <a:pos x="connsiteX1307" y="connsiteY1307"/>
                    </a:cxn>
                    <a:cxn ang="0">
                      <a:pos x="connsiteX1308" y="connsiteY1308"/>
                    </a:cxn>
                    <a:cxn ang="0">
                      <a:pos x="connsiteX1309" y="connsiteY1309"/>
                    </a:cxn>
                    <a:cxn ang="0">
                      <a:pos x="connsiteX1310" y="connsiteY1310"/>
                    </a:cxn>
                    <a:cxn ang="0">
                      <a:pos x="connsiteX1311" y="connsiteY1311"/>
                    </a:cxn>
                    <a:cxn ang="0">
                      <a:pos x="connsiteX1312" y="connsiteY1312"/>
                    </a:cxn>
                    <a:cxn ang="0">
                      <a:pos x="connsiteX1313" y="connsiteY1313"/>
                    </a:cxn>
                    <a:cxn ang="0">
                      <a:pos x="connsiteX1314" y="connsiteY1314"/>
                    </a:cxn>
                    <a:cxn ang="0">
                      <a:pos x="connsiteX1315" y="connsiteY1315"/>
                    </a:cxn>
                    <a:cxn ang="0">
                      <a:pos x="connsiteX1316" y="connsiteY1316"/>
                    </a:cxn>
                    <a:cxn ang="0">
                      <a:pos x="connsiteX1317" y="connsiteY1317"/>
                    </a:cxn>
                    <a:cxn ang="0">
                      <a:pos x="connsiteX1318" y="connsiteY1318"/>
                    </a:cxn>
                    <a:cxn ang="0">
                      <a:pos x="connsiteX1319" y="connsiteY1319"/>
                    </a:cxn>
                    <a:cxn ang="0">
                      <a:pos x="connsiteX1320" y="connsiteY1320"/>
                    </a:cxn>
                    <a:cxn ang="0">
                      <a:pos x="connsiteX1321" y="connsiteY1321"/>
                    </a:cxn>
                    <a:cxn ang="0">
                      <a:pos x="connsiteX1322" y="connsiteY1322"/>
                    </a:cxn>
                    <a:cxn ang="0">
                      <a:pos x="connsiteX1323" y="connsiteY1323"/>
                    </a:cxn>
                    <a:cxn ang="0">
                      <a:pos x="connsiteX1324" y="connsiteY1324"/>
                    </a:cxn>
                    <a:cxn ang="0">
                      <a:pos x="connsiteX1325" y="connsiteY1325"/>
                    </a:cxn>
                    <a:cxn ang="0">
                      <a:pos x="connsiteX1326" y="connsiteY1326"/>
                    </a:cxn>
                    <a:cxn ang="0">
                      <a:pos x="connsiteX1327" y="connsiteY1327"/>
                    </a:cxn>
                    <a:cxn ang="0">
                      <a:pos x="connsiteX1328" y="connsiteY1328"/>
                    </a:cxn>
                    <a:cxn ang="0">
                      <a:pos x="connsiteX1329" y="connsiteY1329"/>
                    </a:cxn>
                    <a:cxn ang="0">
                      <a:pos x="connsiteX1330" y="connsiteY1330"/>
                    </a:cxn>
                    <a:cxn ang="0">
                      <a:pos x="connsiteX1331" y="connsiteY1331"/>
                    </a:cxn>
                    <a:cxn ang="0">
                      <a:pos x="connsiteX1332" y="connsiteY1332"/>
                    </a:cxn>
                    <a:cxn ang="0">
                      <a:pos x="connsiteX1333" y="connsiteY1333"/>
                    </a:cxn>
                    <a:cxn ang="0">
                      <a:pos x="connsiteX1334" y="connsiteY1334"/>
                    </a:cxn>
                    <a:cxn ang="0">
                      <a:pos x="connsiteX1335" y="connsiteY1335"/>
                    </a:cxn>
                    <a:cxn ang="0">
                      <a:pos x="connsiteX1336" y="connsiteY1336"/>
                    </a:cxn>
                    <a:cxn ang="0">
                      <a:pos x="connsiteX1337" y="connsiteY1337"/>
                    </a:cxn>
                    <a:cxn ang="0">
                      <a:pos x="connsiteX1338" y="connsiteY1338"/>
                    </a:cxn>
                    <a:cxn ang="0">
                      <a:pos x="connsiteX1339" y="connsiteY1339"/>
                    </a:cxn>
                    <a:cxn ang="0">
                      <a:pos x="connsiteX1340" y="connsiteY1340"/>
                    </a:cxn>
                    <a:cxn ang="0">
                      <a:pos x="connsiteX1341" y="connsiteY1341"/>
                    </a:cxn>
                    <a:cxn ang="0">
                      <a:pos x="connsiteX1342" y="connsiteY1342"/>
                    </a:cxn>
                    <a:cxn ang="0">
                      <a:pos x="connsiteX1343" y="connsiteY1343"/>
                    </a:cxn>
                    <a:cxn ang="0">
                      <a:pos x="connsiteX1344" y="connsiteY1344"/>
                    </a:cxn>
                    <a:cxn ang="0">
                      <a:pos x="connsiteX1345" y="connsiteY1345"/>
                    </a:cxn>
                    <a:cxn ang="0">
                      <a:pos x="connsiteX1346" y="connsiteY1346"/>
                    </a:cxn>
                    <a:cxn ang="0">
                      <a:pos x="connsiteX1347" y="connsiteY1347"/>
                    </a:cxn>
                    <a:cxn ang="0">
                      <a:pos x="connsiteX1348" y="connsiteY1348"/>
                    </a:cxn>
                    <a:cxn ang="0">
                      <a:pos x="connsiteX1349" y="connsiteY1349"/>
                    </a:cxn>
                    <a:cxn ang="0">
                      <a:pos x="connsiteX1350" y="connsiteY1350"/>
                    </a:cxn>
                    <a:cxn ang="0">
                      <a:pos x="connsiteX1351" y="connsiteY1351"/>
                    </a:cxn>
                    <a:cxn ang="0">
                      <a:pos x="connsiteX1352" y="connsiteY1352"/>
                    </a:cxn>
                    <a:cxn ang="0">
                      <a:pos x="connsiteX1353" y="connsiteY1353"/>
                    </a:cxn>
                    <a:cxn ang="0">
                      <a:pos x="connsiteX1354" y="connsiteY1354"/>
                    </a:cxn>
                    <a:cxn ang="0">
                      <a:pos x="connsiteX1355" y="connsiteY1355"/>
                    </a:cxn>
                    <a:cxn ang="0">
                      <a:pos x="connsiteX1356" y="connsiteY1356"/>
                    </a:cxn>
                    <a:cxn ang="0">
                      <a:pos x="connsiteX1357" y="connsiteY1357"/>
                    </a:cxn>
                    <a:cxn ang="0">
                      <a:pos x="connsiteX1358" y="connsiteY1358"/>
                    </a:cxn>
                    <a:cxn ang="0">
                      <a:pos x="connsiteX1359" y="connsiteY1359"/>
                    </a:cxn>
                    <a:cxn ang="0">
                      <a:pos x="connsiteX1360" y="connsiteY1360"/>
                    </a:cxn>
                    <a:cxn ang="0">
                      <a:pos x="connsiteX1361" y="connsiteY1361"/>
                    </a:cxn>
                    <a:cxn ang="0">
                      <a:pos x="connsiteX1362" y="connsiteY1362"/>
                    </a:cxn>
                    <a:cxn ang="0">
                      <a:pos x="connsiteX1363" y="connsiteY1363"/>
                    </a:cxn>
                    <a:cxn ang="0">
                      <a:pos x="connsiteX1364" y="connsiteY1364"/>
                    </a:cxn>
                    <a:cxn ang="0">
                      <a:pos x="connsiteX1365" y="connsiteY1365"/>
                    </a:cxn>
                    <a:cxn ang="0">
                      <a:pos x="connsiteX1366" y="connsiteY1366"/>
                    </a:cxn>
                    <a:cxn ang="0">
                      <a:pos x="connsiteX1367" y="connsiteY1367"/>
                    </a:cxn>
                    <a:cxn ang="0">
                      <a:pos x="connsiteX1368" y="connsiteY1368"/>
                    </a:cxn>
                    <a:cxn ang="0">
                      <a:pos x="connsiteX1369" y="connsiteY1369"/>
                    </a:cxn>
                    <a:cxn ang="0">
                      <a:pos x="connsiteX1370" y="connsiteY1370"/>
                    </a:cxn>
                    <a:cxn ang="0">
                      <a:pos x="connsiteX1371" y="connsiteY1371"/>
                    </a:cxn>
                    <a:cxn ang="0">
                      <a:pos x="connsiteX1372" y="connsiteY1372"/>
                    </a:cxn>
                    <a:cxn ang="0">
                      <a:pos x="connsiteX1373" y="connsiteY1373"/>
                    </a:cxn>
                    <a:cxn ang="0">
                      <a:pos x="connsiteX1374" y="connsiteY1374"/>
                    </a:cxn>
                    <a:cxn ang="0">
                      <a:pos x="connsiteX1375" y="connsiteY1375"/>
                    </a:cxn>
                    <a:cxn ang="0">
                      <a:pos x="connsiteX1376" y="connsiteY1376"/>
                    </a:cxn>
                    <a:cxn ang="0">
                      <a:pos x="connsiteX1377" y="connsiteY1377"/>
                    </a:cxn>
                    <a:cxn ang="0">
                      <a:pos x="connsiteX1378" y="connsiteY1378"/>
                    </a:cxn>
                    <a:cxn ang="0">
                      <a:pos x="connsiteX1379" y="connsiteY1379"/>
                    </a:cxn>
                    <a:cxn ang="0">
                      <a:pos x="connsiteX1380" y="connsiteY1380"/>
                    </a:cxn>
                    <a:cxn ang="0">
                      <a:pos x="connsiteX1381" y="connsiteY1381"/>
                    </a:cxn>
                    <a:cxn ang="0">
                      <a:pos x="connsiteX1382" y="connsiteY1382"/>
                    </a:cxn>
                    <a:cxn ang="0">
                      <a:pos x="connsiteX1383" y="connsiteY1383"/>
                    </a:cxn>
                    <a:cxn ang="0">
                      <a:pos x="connsiteX1384" y="connsiteY1384"/>
                    </a:cxn>
                    <a:cxn ang="0">
                      <a:pos x="connsiteX1385" y="connsiteY1385"/>
                    </a:cxn>
                    <a:cxn ang="0">
                      <a:pos x="connsiteX1386" y="connsiteY1386"/>
                    </a:cxn>
                    <a:cxn ang="0">
                      <a:pos x="connsiteX1387" y="connsiteY1387"/>
                    </a:cxn>
                    <a:cxn ang="0">
                      <a:pos x="connsiteX1388" y="connsiteY1388"/>
                    </a:cxn>
                    <a:cxn ang="0">
                      <a:pos x="connsiteX1389" y="connsiteY1389"/>
                    </a:cxn>
                    <a:cxn ang="0">
                      <a:pos x="connsiteX1390" y="connsiteY1390"/>
                    </a:cxn>
                    <a:cxn ang="0">
                      <a:pos x="connsiteX1391" y="connsiteY1391"/>
                    </a:cxn>
                    <a:cxn ang="0">
                      <a:pos x="connsiteX1392" y="connsiteY1392"/>
                    </a:cxn>
                    <a:cxn ang="0">
                      <a:pos x="connsiteX1393" y="connsiteY1393"/>
                    </a:cxn>
                    <a:cxn ang="0">
                      <a:pos x="connsiteX1394" y="connsiteY1394"/>
                    </a:cxn>
                    <a:cxn ang="0">
                      <a:pos x="connsiteX1395" y="connsiteY1395"/>
                    </a:cxn>
                    <a:cxn ang="0">
                      <a:pos x="connsiteX1396" y="connsiteY1396"/>
                    </a:cxn>
                    <a:cxn ang="0">
                      <a:pos x="connsiteX1397" y="connsiteY1397"/>
                    </a:cxn>
                    <a:cxn ang="0">
                      <a:pos x="connsiteX1398" y="connsiteY1398"/>
                    </a:cxn>
                    <a:cxn ang="0">
                      <a:pos x="connsiteX1399" y="connsiteY1399"/>
                    </a:cxn>
                    <a:cxn ang="0">
                      <a:pos x="connsiteX1400" y="connsiteY1400"/>
                    </a:cxn>
                    <a:cxn ang="0">
                      <a:pos x="connsiteX1401" y="connsiteY1401"/>
                    </a:cxn>
                    <a:cxn ang="0">
                      <a:pos x="connsiteX1402" y="connsiteY1402"/>
                    </a:cxn>
                    <a:cxn ang="0">
                      <a:pos x="connsiteX1403" y="connsiteY1403"/>
                    </a:cxn>
                    <a:cxn ang="0">
                      <a:pos x="connsiteX1404" y="connsiteY1404"/>
                    </a:cxn>
                    <a:cxn ang="0">
                      <a:pos x="connsiteX1405" y="connsiteY1405"/>
                    </a:cxn>
                    <a:cxn ang="0">
                      <a:pos x="connsiteX1406" y="connsiteY1406"/>
                    </a:cxn>
                    <a:cxn ang="0">
                      <a:pos x="connsiteX1407" y="connsiteY1407"/>
                    </a:cxn>
                    <a:cxn ang="0">
                      <a:pos x="connsiteX1408" y="connsiteY1408"/>
                    </a:cxn>
                    <a:cxn ang="0">
                      <a:pos x="connsiteX1409" y="connsiteY1409"/>
                    </a:cxn>
                    <a:cxn ang="0">
                      <a:pos x="connsiteX1410" y="connsiteY1410"/>
                    </a:cxn>
                    <a:cxn ang="0">
                      <a:pos x="connsiteX1411" y="connsiteY1411"/>
                    </a:cxn>
                    <a:cxn ang="0">
                      <a:pos x="connsiteX1412" y="connsiteY1412"/>
                    </a:cxn>
                    <a:cxn ang="0">
                      <a:pos x="connsiteX1413" y="connsiteY1413"/>
                    </a:cxn>
                    <a:cxn ang="0">
                      <a:pos x="connsiteX1414" y="connsiteY1414"/>
                    </a:cxn>
                    <a:cxn ang="0">
                      <a:pos x="connsiteX1415" y="connsiteY1415"/>
                    </a:cxn>
                    <a:cxn ang="0">
                      <a:pos x="connsiteX1416" y="connsiteY1416"/>
                    </a:cxn>
                    <a:cxn ang="0">
                      <a:pos x="connsiteX1417" y="connsiteY1417"/>
                    </a:cxn>
                    <a:cxn ang="0">
                      <a:pos x="connsiteX1418" y="connsiteY1418"/>
                    </a:cxn>
                    <a:cxn ang="0">
                      <a:pos x="connsiteX1419" y="connsiteY1419"/>
                    </a:cxn>
                    <a:cxn ang="0">
                      <a:pos x="connsiteX1420" y="connsiteY1420"/>
                    </a:cxn>
                    <a:cxn ang="0">
                      <a:pos x="connsiteX1421" y="connsiteY1421"/>
                    </a:cxn>
                    <a:cxn ang="0">
                      <a:pos x="connsiteX1422" y="connsiteY1422"/>
                    </a:cxn>
                    <a:cxn ang="0">
                      <a:pos x="connsiteX1423" y="connsiteY1423"/>
                    </a:cxn>
                    <a:cxn ang="0">
                      <a:pos x="connsiteX1424" y="connsiteY1424"/>
                    </a:cxn>
                    <a:cxn ang="0">
                      <a:pos x="connsiteX1425" y="connsiteY1425"/>
                    </a:cxn>
                    <a:cxn ang="0">
                      <a:pos x="connsiteX1426" y="connsiteY1426"/>
                    </a:cxn>
                    <a:cxn ang="0">
                      <a:pos x="connsiteX1427" y="connsiteY1427"/>
                    </a:cxn>
                    <a:cxn ang="0">
                      <a:pos x="connsiteX1428" y="connsiteY1428"/>
                    </a:cxn>
                    <a:cxn ang="0">
                      <a:pos x="connsiteX1429" y="connsiteY1429"/>
                    </a:cxn>
                    <a:cxn ang="0">
                      <a:pos x="connsiteX1430" y="connsiteY1430"/>
                    </a:cxn>
                    <a:cxn ang="0">
                      <a:pos x="connsiteX1431" y="connsiteY1431"/>
                    </a:cxn>
                    <a:cxn ang="0">
                      <a:pos x="connsiteX1432" y="connsiteY1432"/>
                    </a:cxn>
                    <a:cxn ang="0">
                      <a:pos x="connsiteX1433" y="connsiteY1433"/>
                    </a:cxn>
                    <a:cxn ang="0">
                      <a:pos x="connsiteX1434" y="connsiteY1434"/>
                    </a:cxn>
                    <a:cxn ang="0">
                      <a:pos x="connsiteX1435" y="connsiteY1435"/>
                    </a:cxn>
                    <a:cxn ang="0">
                      <a:pos x="connsiteX1436" y="connsiteY1436"/>
                    </a:cxn>
                    <a:cxn ang="0">
                      <a:pos x="connsiteX1437" y="connsiteY1437"/>
                    </a:cxn>
                    <a:cxn ang="0">
                      <a:pos x="connsiteX1438" y="connsiteY1438"/>
                    </a:cxn>
                    <a:cxn ang="0">
                      <a:pos x="connsiteX1439" y="connsiteY1439"/>
                    </a:cxn>
                    <a:cxn ang="0">
                      <a:pos x="connsiteX1440" y="connsiteY1440"/>
                    </a:cxn>
                    <a:cxn ang="0">
                      <a:pos x="connsiteX1441" y="connsiteY1441"/>
                    </a:cxn>
                    <a:cxn ang="0">
                      <a:pos x="connsiteX1442" y="connsiteY1442"/>
                    </a:cxn>
                    <a:cxn ang="0">
                      <a:pos x="connsiteX1443" y="connsiteY1443"/>
                    </a:cxn>
                    <a:cxn ang="0">
                      <a:pos x="connsiteX1444" y="connsiteY1444"/>
                    </a:cxn>
                    <a:cxn ang="0">
                      <a:pos x="connsiteX1445" y="connsiteY1445"/>
                    </a:cxn>
                    <a:cxn ang="0">
                      <a:pos x="connsiteX1446" y="connsiteY1446"/>
                    </a:cxn>
                    <a:cxn ang="0">
                      <a:pos x="connsiteX1447" y="connsiteY1447"/>
                    </a:cxn>
                    <a:cxn ang="0">
                      <a:pos x="connsiteX1448" y="connsiteY1448"/>
                    </a:cxn>
                    <a:cxn ang="0">
                      <a:pos x="connsiteX1449" y="connsiteY1449"/>
                    </a:cxn>
                    <a:cxn ang="0">
                      <a:pos x="connsiteX1450" y="connsiteY1450"/>
                    </a:cxn>
                    <a:cxn ang="0">
                      <a:pos x="connsiteX1451" y="connsiteY1451"/>
                    </a:cxn>
                    <a:cxn ang="0">
                      <a:pos x="connsiteX1452" y="connsiteY1452"/>
                    </a:cxn>
                    <a:cxn ang="0">
                      <a:pos x="connsiteX1453" y="connsiteY1453"/>
                    </a:cxn>
                    <a:cxn ang="0">
                      <a:pos x="connsiteX1454" y="connsiteY1454"/>
                    </a:cxn>
                    <a:cxn ang="0">
                      <a:pos x="connsiteX1455" y="connsiteY1455"/>
                    </a:cxn>
                    <a:cxn ang="0">
                      <a:pos x="connsiteX1456" y="connsiteY1456"/>
                    </a:cxn>
                    <a:cxn ang="0">
                      <a:pos x="connsiteX1457" y="connsiteY1457"/>
                    </a:cxn>
                    <a:cxn ang="0">
                      <a:pos x="connsiteX1458" y="connsiteY1458"/>
                    </a:cxn>
                    <a:cxn ang="0">
                      <a:pos x="connsiteX1459" y="connsiteY1459"/>
                    </a:cxn>
                    <a:cxn ang="0">
                      <a:pos x="connsiteX1460" y="connsiteY1460"/>
                    </a:cxn>
                    <a:cxn ang="0">
                      <a:pos x="connsiteX1461" y="connsiteY1461"/>
                    </a:cxn>
                    <a:cxn ang="0">
                      <a:pos x="connsiteX1462" y="connsiteY1462"/>
                    </a:cxn>
                    <a:cxn ang="0">
                      <a:pos x="connsiteX1463" y="connsiteY1463"/>
                    </a:cxn>
                    <a:cxn ang="0">
                      <a:pos x="connsiteX1464" y="connsiteY1464"/>
                    </a:cxn>
                    <a:cxn ang="0">
                      <a:pos x="connsiteX1465" y="connsiteY1465"/>
                    </a:cxn>
                    <a:cxn ang="0">
                      <a:pos x="connsiteX1466" y="connsiteY1466"/>
                    </a:cxn>
                    <a:cxn ang="0">
                      <a:pos x="connsiteX1467" y="connsiteY1467"/>
                    </a:cxn>
                    <a:cxn ang="0">
                      <a:pos x="connsiteX1468" y="connsiteY1468"/>
                    </a:cxn>
                    <a:cxn ang="0">
                      <a:pos x="connsiteX1469" y="connsiteY1469"/>
                    </a:cxn>
                    <a:cxn ang="0">
                      <a:pos x="connsiteX1470" y="connsiteY1470"/>
                    </a:cxn>
                    <a:cxn ang="0">
                      <a:pos x="connsiteX1471" y="connsiteY1471"/>
                    </a:cxn>
                    <a:cxn ang="0">
                      <a:pos x="connsiteX1472" y="connsiteY1472"/>
                    </a:cxn>
                    <a:cxn ang="0">
                      <a:pos x="connsiteX1473" y="connsiteY1473"/>
                    </a:cxn>
                    <a:cxn ang="0">
                      <a:pos x="connsiteX1474" y="connsiteY1474"/>
                    </a:cxn>
                    <a:cxn ang="0">
                      <a:pos x="connsiteX1475" y="connsiteY1475"/>
                    </a:cxn>
                    <a:cxn ang="0">
                      <a:pos x="connsiteX1476" y="connsiteY1476"/>
                    </a:cxn>
                    <a:cxn ang="0">
                      <a:pos x="connsiteX1477" y="connsiteY1477"/>
                    </a:cxn>
                    <a:cxn ang="0">
                      <a:pos x="connsiteX1478" y="connsiteY1478"/>
                    </a:cxn>
                    <a:cxn ang="0">
                      <a:pos x="connsiteX1479" y="connsiteY1479"/>
                    </a:cxn>
                    <a:cxn ang="0">
                      <a:pos x="connsiteX1480" y="connsiteY1480"/>
                    </a:cxn>
                    <a:cxn ang="0">
                      <a:pos x="connsiteX1481" y="connsiteY1481"/>
                    </a:cxn>
                    <a:cxn ang="0">
                      <a:pos x="connsiteX1482" y="connsiteY1482"/>
                    </a:cxn>
                    <a:cxn ang="0">
                      <a:pos x="connsiteX1483" y="connsiteY1483"/>
                    </a:cxn>
                    <a:cxn ang="0">
                      <a:pos x="connsiteX1484" y="connsiteY1484"/>
                    </a:cxn>
                    <a:cxn ang="0">
                      <a:pos x="connsiteX1485" y="connsiteY1485"/>
                    </a:cxn>
                    <a:cxn ang="0">
                      <a:pos x="connsiteX1486" y="connsiteY1486"/>
                    </a:cxn>
                    <a:cxn ang="0">
                      <a:pos x="connsiteX1487" y="connsiteY1487"/>
                    </a:cxn>
                    <a:cxn ang="0">
                      <a:pos x="connsiteX1488" y="connsiteY1488"/>
                    </a:cxn>
                    <a:cxn ang="0">
                      <a:pos x="connsiteX1489" y="connsiteY1489"/>
                    </a:cxn>
                    <a:cxn ang="0">
                      <a:pos x="connsiteX1490" y="connsiteY1490"/>
                    </a:cxn>
                    <a:cxn ang="0">
                      <a:pos x="connsiteX1491" y="connsiteY1491"/>
                    </a:cxn>
                    <a:cxn ang="0">
                      <a:pos x="connsiteX1492" y="connsiteY1492"/>
                    </a:cxn>
                    <a:cxn ang="0">
                      <a:pos x="connsiteX1493" y="connsiteY1493"/>
                    </a:cxn>
                    <a:cxn ang="0">
                      <a:pos x="connsiteX1494" y="connsiteY1494"/>
                    </a:cxn>
                    <a:cxn ang="0">
                      <a:pos x="connsiteX1495" y="connsiteY1495"/>
                    </a:cxn>
                    <a:cxn ang="0">
                      <a:pos x="connsiteX1496" y="connsiteY1496"/>
                    </a:cxn>
                    <a:cxn ang="0">
                      <a:pos x="connsiteX1497" y="connsiteY1497"/>
                    </a:cxn>
                    <a:cxn ang="0">
                      <a:pos x="connsiteX1498" y="connsiteY1498"/>
                    </a:cxn>
                    <a:cxn ang="0">
                      <a:pos x="connsiteX1499" y="connsiteY1499"/>
                    </a:cxn>
                    <a:cxn ang="0">
                      <a:pos x="connsiteX1500" y="connsiteY1500"/>
                    </a:cxn>
                    <a:cxn ang="0">
                      <a:pos x="connsiteX1501" y="connsiteY1501"/>
                    </a:cxn>
                    <a:cxn ang="0">
                      <a:pos x="connsiteX1502" y="connsiteY1502"/>
                    </a:cxn>
                    <a:cxn ang="0">
                      <a:pos x="connsiteX1503" y="connsiteY1503"/>
                    </a:cxn>
                    <a:cxn ang="0">
                      <a:pos x="connsiteX1504" y="connsiteY1504"/>
                    </a:cxn>
                    <a:cxn ang="0">
                      <a:pos x="connsiteX1505" y="connsiteY1505"/>
                    </a:cxn>
                    <a:cxn ang="0">
                      <a:pos x="connsiteX1506" y="connsiteY1506"/>
                    </a:cxn>
                    <a:cxn ang="0">
                      <a:pos x="connsiteX1507" y="connsiteY1507"/>
                    </a:cxn>
                    <a:cxn ang="0">
                      <a:pos x="connsiteX1508" y="connsiteY1508"/>
                    </a:cxn>
                    <a:cxn ang="0">
                      <a:pos x="connsiteX1509" y="connsiteY1509"/>
                    </a:cxn>
                    <a:cxn ang="0">
                      <a:pos x="connsiteX1510" y="connsiteY1510"/>
                    </a:cxn>
                    <a:cxn ang="0">
                      <a:pos x="connsiteX1511" y="connsiteY1511"/>
                    </a:cxn>
                    <a:cxn ang="0">
                      <a:pos x="connsiteX1512" y="connsiteY1512"/>
                    </a:cxn>
                    <a:cxn ang="0">
                      <a:pos x="connsiteX1513" y="connsiteY1513"/>
                    </a:cxn>
                    <a:cxn ang="0">
                      <a:pos x="connsiteX1514" y="connsiteY1514"/>
                    </a:cxn>
                    <a:cxn ang="0">
                      <a:pos x="connsiteX1515" y="connsiteY1515"/>
                    </a:cxn>
                    <a:cxn ang="0">
                      <a:pos x="connsiteX1516" y="connsiteY1516"/>
                    </a:cxn>
                    <a:cxn ang="0">
                      <a:pos x="connsiteX1517" y="connsiteY1517"/>
                    </a:cxn>
                    <a:cxn ang="0">
                      <a:pos x="connsiteX1518" y="connsiteY1518"/>
                    </a:cxn>
                    <a:cxn ang="0">
                      <a:pos x="connsiteX1519" y="connsiteY1519"/>
                    </a:cxn>
                    <a:cxn ang="0">
                      <a:pos x="connsiteX1520" y="connsiteY1520"/>
                    </a:cxn>
                    <a:cxn ang="0">
                      <a:pos x="connsiteX1521" y="connsiteY1521"/>
                    </a:cxn>
                    <a:cxn ang="0">
                      <a:pos x="connsiteX1522" y="connsiteY1522"/>
                    </a:cxn>
                    <a:cxn ang="0">
                      <a:pos x="connsiteX1523" y="connsiteY1523"/>
                    </a:cxn>
                    <a:cxn ang="0">
                      <a:pos x="connsiteX1524" y="connsiteY1524"/>
                    </a:cxn>
                    <a:cxn ang="0">
                      <a:pos x="connsiteX1525" y="connsiteY1525"/>
                    </a:cxn>
                    <a:cxn ang="0">
                      <a:pos x="connsiteX1526" y="connsiteY1526"/>
                    </a:cxn>
                    <a:cxn ang="0">
                      <a:pos x="connsiteX1527" y="connsiteY1527"/>
                    </a:cxn>
                    <a:cxn ang="0">
                      <a:pos x="connsiteX1528" y="connsiteY1528"/>
                    </a:cxn>
                    <a:cxn ang="0">
                      <a:pos x="connsiteX1529" y="connsiteY1529"/>
                    </a:cxn>
                    <a:cxn ang="0">
                      <a:pos x="connsiteX1530" y="connsiteY1530"/>
                    </a:cxn>
                    <a:cxn ang="0">
                      <a:pos x="connsiteX1531" y="connsiteY1531"/>
                    </a:cxn>
                    <a:cxn ang="0">
                      <a:pos x="connsiteX1532" y="connsiteY1532"/>
                    </a:cxn>
                    <a:cxn ang="0">
                      <a:pos x="connsiteX1533" y="connsiteY1533"/>
                    </a:cxn>
                    <a:cxn ang="0">
                      <a:pos x="connsiteX1534" y="connsiteY1534"/>
                    </a:cxn>
                    <a:cxn ang="0">
                      <a:pos x="connsiteX1535" y="connsiteY1535"/>
                    </a:cxn>
                    <a:cxn ang="0">
                      <a:pos x="connsiteX1536" y="connsiteY1536"/>
                    </a:cxn>
                    <a:cxn ang="0">
                      <a:pos x="connsiteX1537" y="connsiteY1537"/>
                    </a:cxn>
                    <a:cxn ang="0">
                      <a:pos x="connsiteX1538" y="connsiteY1538"/>
                    </a:cxn>
                    <a:cxn ang="0">
                      <a:pos x="connsiteX1539" y="connsiteY1539"/>
                    </a:cxn>
                    <a:cxn ang="0">
                      <a:pos x="connsiteX1540" y="connsiteY1540"/>
                    </a:cxn>
                    <a:cxn ang="0">
                      <a:pos x="connsiteX1541" y="connsiteY1541"/>
                    </a:cxn>
                    <a:cxn ang="0">
                      <a:pos x="connsiteX1542" y="connsiteY1542"/>
                    </a:cxn>
                    <a:cxn ang="0">
                      <a:pos x="connsiteX1543" y="connsiteY1543"/>
                    </a:cxn>
                    <a:cxn ang="0">
                      <a:pos x="connsiteX1544" y="connsiteY1544"/>
                    </a:cxn>
                    <a:cxn ang="0">
                      <a:pos x="connsiteX1545" y="connsiteY1545"/>
                    </a:cxn>
                    <a:cxn ang="0">
                      <a:pos x="connsiteX1546" y="connsiteY1546"/>
                    </a:cxn>
                    <a:cxn ang="0">
                      <a:pos x="connsiteX1547" y="connsiteY1547"/>
                    </a:cxn>
                    <a:cxn ang="0">
                      <a:pos x="connsiteX1548" y="connsiteY1548"/>
                    </a:cxn>
                    <a:cxn ang="0">
                      <a:pos x="connsiteX1549" y="connsiteY1549"/>
                    </a:cxn>
                    <a:cxn ang="0">
                      <a:pos x="connsiteX1550" y="connsiteY1550"/>
                    </a:cxn>
                    <a:cxn ang="0">
                      <a:pos x="connsiteX1551" y="connsiteY1551"/>
                    </a:cxn>
                    <a:cxn ang="0">
                      <a:pos x="connsiteX1552" y="connsiteY1552"/>
                    </a:cxn>
                    <a:cxn ang="0">
                      <a:pos x="connsiteX1553" y="connsiteY1553"/>
                    </a:cxn>
                    <a:cxn ang="0">
                      <a:pos x="connsiteX1554" y="connsiteY1554"/>
                    </a:cxn>
                    <a:cxn ang="0">
                      <a:pos x="connsiteX1555" y="connsiteY1555"/>
                    </a:cxn>
                    <a:cxn ang="0">
                      <a:pos x="connsiteX1556" y="connsiteY1556"/>
                    </a:cxn>
                    <a:cxn ang="0">
                      <a:pos x="connsiteX1557" y="connsiteY1557"/>
                    </a:cxn>
                    <a:cxn ang="0">
                      <a:pos x="connsiteX1558" y="connsiteY1558"/>
                    </a:cxn>
                    <a:cxn ang="0">
                      <a:pos x="connsiteX1559" y="connsiteY1559"/>
                    </a:cxn>
                    <a:cxn ang="0">
                      <a:pos x="connsiteX1560" y="connsiteY1560"/>
                    </a:cxn>
                    <a:cxn ang="0">
                      <a:pos x="connsiteX1561" y="connsiteY1561"/>
                    </a:cxn>
                    <a:cxn ang="0">
                      <a:pos x="connsiteX1562" y="connsiteY1562"/>
                    </a:cxn>
                    <a:cxn ang="0">
                      <a:pos x="connsiteX1563" y="connsiteY1563"/>
                    </a:cxn>
                    <a:cxn ang="0">
                      <a:pos x="connsiteX1564" y="connsiteY1564"/>
                    </a:cxn>
                    <a:cxn ang="0">
                      <a:pos x="connsiteX1565" y="connsiteY1565"/>
                    </a:cxn>
                    <a:cxn ang="0">
                      <a:pos x="connsiteX1566" y="connsiteY1566"/>
                    </a:cxn>
                    <a:cxn ang="0">
                      <a:pos x="connsiteX1567" y="connsiteY1567"/>
                    </a:cxn>
                    <a:cxn ang="0">
                      <a:pos x="connsiteX1568" y="connsiteY1568"/>
                    </a:cxn>
                    <a:cxn ang="0">
                      <a:pos x="connsiteX1569" y="connsiteY1569"/>
                    </a:cxn>
                    <a:cxn ang="0">
                      <a:pos x="connsiteX1570" y="connsiteY1570"/>
                    </a:cxn>
                    <a:cxn ang="0">
                      <a:pos x="connsiteX1571" y="connsiteY1571"/>
                    </a:cxn>
                    <a:cxn ang="0">
                      <a:pos x="connsiteX1572" y="connsiteY1572"/>
                    </a:cxn>
                    <a:cxn ang="0">
                      <a:pos x="connsiteX1573" y="connsiteY1573"/>
                    </a:cxn>
                    <a:cxn ang="0">
                      <a:pos x="connsiteX1574" y="connsiteY1574"/>
                    </a:cxn>
                    <a:cxn ang="0">
                      <a:pos x="connsiteX1575" y="connsiteY1575"/>
                    </a:cxn>
                    <a:cxn ang="0">
                      <a:pos x="connsiteX1576" y="connsiteY1576"/>
                    </a:cxn>
                    <a:cxn ang="0">
                      <a:pos x="connsiteX1577" y="connsiteY1577"/>
                    </a:cxn>
                    <a:cxn ang="0">
                      <a:pos x="connsiteX1578" y="connsiteY1578"/>
                    </a:cxn>
                    <a:cxn ang="0">
                      <a:pos x="connsiteX1579" y="connsiteY1579"/>
                    </a:cxn>
                    <a:cxn ang="0">
                      <a:pos x="connsiteX1580" y="connsiteY1580"/>
                    </a:cxn>
                    <a:cxn ang="0">
                      <a:pos x="connsiteX1581" y="connsiteY1581"/>
                    </a:cxn>
                    <a:cxn ang="0">
                      <a:pos x="connsiteX1582" y="connsiteY1582"/>
                    </a:cxn>
                    <a:cxn ang="0">
                      <a:pos x="connsiteX1583" y="connsiteY1583"/>
                    </a:cxn>
                    <a:cxn ang="0">
                      <a:pos x="connsiteX1584" y="connsiteY1584"/>
                    </a:cxn>
                    <a:cxn ang="0">
                      <a:pos x="connsiteX1585" y="connsiteY1585"/>
                    </a:cxn>
                    <a:cxn ang="0">
                      <a:pos x="connsiteX1586" y="connsiteY1586"/>
                    </a:cxn>
                    <a:cxn ang="0">
                      <a:pos x="connsiteX1587" y="connsiteY1587"/>
                    </a:cxn>
                    <a:cxn ang="0">
                      <a:pos x="connsiteX1588" y="connsiteY1588"/>
                    </a:cxn>
                    <a:cxn ang="0">
                      <a:pos x="connsiteX1589" y="connsiteY1589"/>
                    </a:cxn>
                    <a:cxn ang="0">
                      <a:pos x="connsiteX1590" y="connsiteY1590"/>
                    </a:cxn>
                    <a:cxn ang="0">
                      <a:pos x="connsiteX1591" y="connsiteY1591"/>
                    </a:cxn>
                    <a:cxn ang="0">
                      <a:pos x="connsiteX1592" y="connsiteY1592"/>
                    </a:cxn>
                    <a:cxn ang="0">
                      <a:pos x="connsiteX1593" y="connsiteY1593"/>
                    </a:cxn>
                    <a:cxn ang="0">
                      <a:pos x="connsiteX1594" y="connsiteY1594"/>
                    </a:cxn>
                    <a:cxn ang="0">
                      <a:pos x="connsiteX1595" y="connsiteY1595"/>
                    </a:cxn>
                    <a:cxn ang="0">
                      <a:pos x="connsiteX1596" y="connsiteY1596"/>
                    </a:cxn>
                    <a:cxn ang="0">
                      <a:pos x="connsiteX1597" y="connsiteY1597"/>
                    </a:cxn>
                    <a:cxn ang="0">
                      <a:pos x="connsiteX1598" y="connsiteY1598"/>
                    </a:cxn>
                    <a:cxn ang="0">
                      <a:pos x="connsiteX1599" y="connsiteY1599"/>
                    </a:cxn>
                    <a:cxn ang="0">
                      <a:pos x="connsiteX1600" y="connsiteY1600"/>
                    </a:cxn>
                    <a:cxn ang="0">
                      <a:pos x="connsiteX1601" y="connsiteY1601"/>
                    </a:cxn>
                    <a:cxn ang="0">
                      <a:pos x="connsiteX1602" y="connsiteY1602"/>
                    </a:cxn>
                    <a:cxn ang="0">
                      <a:pos x="connsiteX1603" y="connsiteY1603"/>
                    </a:cxn>
                    <a:cxn ang="0">
                      <a:pos x="connsiteX1604" y="connsiteY1604"/>
                    </a:cxn>
                    <a:cxn ang="0">
                      <a:pos x="connsiteX1605" y="connsiteY1605"/>
                    </a:cxn>
                    <a:cxn ang="0">
                      <a:pos x="connsiteX1606" y="connsiteY1606"/>
                    </a:cxn>
                    <a:cxn ang="0">
                      <a:pos x="connsiteX1607" y="connsiteY1607"/>
                    </a:cxn>
                    <a:cxn ang="0">
                      <a:pos x="connsiteX1608" y="connsiteY1608"/>
                    </a:cxn>
                    <a:cxn ang="0">
                      <a:pos x="connsiteX1609" y="connsiteY1609"/>
                    </a:cxn>
                    <a:cxn ang="0">
                      <a:pos x="connsiteX1610" y="connsiteY1610"/>
                    </a:cxn>
                    <a:cxn ang="0">
                      <a:pos x="connsiteX1611" y="connsiteY1611"/>
                    </a:cxn>
                    <a:cxn ang="0">
                      <a:pos x="connsiteX1612" y="connsiteY1612"/>
                    </a:cxn>
                    <a:cxn ang="0">
                      <a:pos x="connsiteX1613" y="connsiteY1613"/>
                    </a:cxn>
                    <a:cxn ang="0">
                      <a:pos x="connsiteX1614" y="connsiteY1614"/>
                    </a:cxn>
                    <a:cxn ang="0">
                      <a:pos x="connsiteX1615" y="connsiteY1615"/>
                    </a:cxn>
                    <a:cxn ang="0">
                      <a:pos x="connsiteX1616" y="connsiteY1616"/>
                    </a:cxn>
                    <a:cxn ang="0">
                      <a:pos x="connsiteX1617" y="connsiteY1617"/>
                    </a:cxn>
                    <a:cxn ang="0">
                      <a:pos x="connsiteX1618" y="connsiteY1618"/>
                    </a:cxn>
                    <a:cxn ang="0">
                      <a:pos x="connsiteX1619" y="connsiteY1619"/>
                    </a:cxn>
                    <a:cxn ang="0">
                      <a:pos x="connsiteX1620" y="connsiteY1620"/>
                    </a:cxn>
                    <a:cxn ang="0">
                      <a:pos x="connsiteX1621" y="connsiteY1621"/>
                    </a:cxn>
                    <a:cxn ang="0">
                      <a:pos x="connsiteX1622" y="connsiteY1622"/>
                    </a:cxn>
                    <a:cxn ang="0">
                      <a:pos x="connsiteX1623" y="connsiteY1623"/>
                    </a:cxn>
                    <a:cxn ang="0">
                      <a:pos x="connsiteX1624" y="connsiteY1624"/>
                    </a:cxn>
                    <a:cxn ang="0">
                      <a:pos x="connsiteX1625" y="connsiteY1625"/>
                    </a:cxn>
                    <a:cxn ang="0">
                      <a:pos x="connsiteX1626" y="connsiteY1626"/>
                    </a:cxn>
                    <a:cxn ang="0">
                      <a:pos x="connsiteX1627" y="connsiteY1627"/>
                    </a:cxn>
                    <a:cxn ang="0">
                      <a:pos x="connsiteX1628" y="connsiteY1628"/>
                    </a:cxn>
                    <a:cxn ang="0">
                      <a:pos x="connsiteX1629" y="connsiteY1629"/>
                    </a:cxn>
                    <a:cxn ang="0">
                      <a:pos x="connsiteX1630" y="connsiteY1630"/>
                    </a:cxn>
                    <a:cxn ang="0">
                      <a:pos x="connsiteX1631" y="connsiteY1631"/>
                    </a:cxn>
                    <a:cxn ang="0">
                      <a:pos x="connsiteX1632" y="connsiteY1632"/>
                    </a:cxn>
                    <a:cxn ang="0">
                      <a:pos x="connsiteX1633" y="connsiteY1633"/>
                    </a:cxn>
                    <a:cxn ang="0">
                      <a:pos x="connsiteX1634" y="connsiteY1634"/>
                    </a:cxn>
                    <a:cxn ang="0">
                      <a:pos x="connsiteX1635" y="connsiteY1635"/>
                    </a:cxn>
                    <a:cxn ang="0">
                      <a:pos x="connsiteX1636" y="connsiteY1636"/>
                    </a:cxn>
                    <a:cxn ang="0">
                      <a:pos x="connsiteX1637" y="connsiteY1637"/>
                    </a:cxn>
                    <a:cxn ang="0">
                      <a:pos x="connsiteX1638" y="connsiteY1638"/>
                    </a:cxn>
                    <a:cxn ang="0">
                      <a:pos x="connsiteX1639" y="connsiteY1639"/>
                    </a:cxn>
                    <a:cxn ang="0">
                      <a:pos x="connsiteX1640" y="connsiteY1640"/>
                    </a:cxn>
                    <a:cxn ang="0">
                      <a:pos x="connsiteX1641" y="connsiteY1641"/>
                    </a:cxn>
                    <a:cxn ang="0">
                      <a:pos x="connsiteX1642" y="connsiteY1642"/>
                    </a:cxn>
                    <a:cxn ang="0">
                      <a:pos x="connsiteX1643" y="connsiteY1643"/>
                    </a:cxn>
                    <a:cxn ang="0">
                      <a:pos x="connsiteX1644" y="connsiteY1644"/>
                    </a:cxn>
                    <a:cxn ang="0">
                      <a:pos x="connsiteX1645" y="connsiteY1645"/>
                    </a:cxn>
                    <a:cxn ang="0">
                      <a:pos x="connsiteX1646" y="connsiteY1646"/>
                    </a:cxn>
                    <a:cxn ang="0">
                      <a:pos x="connsiteX1647" y="connsiteY1647"/>
                    </a:cxn>
                    <a:cxn ang="0">
                      <a:pos x="connsiteX1648" y="connsiteY1648"/>
                    </a:cxn>
                    <a:cxn ang="0">
                      <a:pos x="connsiteX1649" y="connsiteY1649"/>
                    </a:cxn>
                    <a:cxn ang="0">
                      <a:pos x="connsiteX1650" y="connsiteY1650"/>
                    </a:cxn>
                    <a:cxn ang="0">
                      <a:pos x="connsiteX1651" y="connsiteY1651"/>
                    </a:cxn>
                    <a:cxn ang="0">
                      <a:pos x="connsiteX1652" y="connsiteY1652"/>
                    </a:cxn>
                    <a:cxn ang="0">
                      <a:pos x="connsiteX1653" y="connsiteY1653"/>
                    </a:cxn>
                    <a:cxn ang="0">
                      <a:pos x="connsiteX1654" y="connsiteY1654"/>
                    </a:cxn>
                    <a:cxn ang="0">
                      <a:pos x="connsiteX1655" y="connsiteY1655"/>
                    </a:cxn>
                    <a:cxn ang="0">
                      <a:pos x="connsiteX1656" y="connsiteY1656"/>
                    </a:cxn>
                    <a:cxn ang="0">
                      <a:pos x="connsiteX1657" y="connsiteY1657"/>
                    </a:cxn>
                    <a:cxn ang="0">
                      <a:pos x="connsiteX1658" y="connsiteY1658"/>
                    </a:cxn>
                    <a:cxn ang="0">
                      <a:pos x="connsiteX1659" y="connsiteY1659"/>
                    </a:cxn>
                    <a:cxn ang="0">
                      <a:pos x="connsiteX1660" y="connsiteY1660"/>
                    </a:cxn>
                    <a:cxn ang="0">
                      <a:pos x="connsiteX1661" y="connsiteY1661"/>
                    </a:cxn>
                    <a:cxn ang="0">
                      <a:pos x="connsiteX1662" y="connsiteY1662"/>
                    </a:cxn>
                    <a:cxn ang="0">
                      <a:pos x="connsiteX1663" y="connsiteY1663"/>
                    </a:cxn>
                    <a:cxn ang="0">
                      <a:pos x="connsiteX1664" y="connsiteY1664"/>
                    </a:cxn>
                    <a:cxn ang="0">
                      <a:pos x="connsiteX1665" y="connsiteY1665"/>
                    </a:cxn>
                    <a:cxn ang="0">
                      <a:pos x="connsiteX1666" y="connsiteY1666"/>
                    </a:cxn>
                    <a:cxn ang="0">
                      <a:pos x="connsiteX1667" y="connsiteY1667"/>
                    </a:cxn>
                    <a:cxn ang="0">
                      <a:pos x="connsiteX1668" y="connsiteY1668"/>
                    </a:cxn>
                    <a:cxn ang="0">
                      <a:pos x="connsiteX1669" y="connsiteY1669"/>
                    </a:cxn>
                    <a:cxn ang="0">
                      <a:pos x="connsiteX1670" y="connsiteY1670"/>
                    </a:cxn>
                    <a:cxn ang="0">
                      <a:pos x="connsiteX1671" y="connsiteY1671"/>
                    </a:cxn>
                    <a:cxn ang="0">
                      <a:pos x="connsiteX1672" y="connsiteY1672"/>
                    </a:cxn>
                    <a:cxn ang="0">
                      <a:pos x="connsiteX1673" y="connsiteY1673"/>
                    </a:cxn>
                    <a:cxn ang="0">
                      <a:pos x="connsiteX1674" y="connsiteY1674"/>
                    </a:cxn>
                    <a:cxn ang="0">
                      <a:pos x="connsiteX1675" y="connsiteY1675"/>
                    </a:cxn>
                    <a:cxn ang="0">
                      <a:pos x="connsiteX1676" y="connsiteY1676"/>
                    </a:cxn>
                    <a:cxn ang="0">
                      <a:pos x="connsiteX1677" y="connsiteY1677"/>
                    </a:cxn>
                    <a:cxn ang="0">
                      <a:pos x="connsiteX1678" y="connsiteY1678"/>
                    </a:cxn>
                    <a:cxn ang="0">
                      <a:pos x="connsiteX1679" y="connsiteY1679"/>
                    </a:cxn>
                    <a:cxn ang="0">
                      <a:pos x="connsiteX1680" y="connsiteY1680"/>
                    </a:cxn>
                    <a:cxn ang="0">
                      <a:pos x="connsiteX1681" y="connsiteY1681"/>
                    </a:cxn>
                    <a:cxn ang="0">
                      <a:pos x="connsiteX1682" y="connsiteY1682"/>
                    </a:cxn>
                    <a:cxn ang="0">
                      <a:pos x="connsiteX1683" y="connsiteY1683"/>
                    </a:cxn>
                    <a:cxn ang="0">
                      <a:pos x="connsiteX1684" y="connsiteY1684"/>
                    </a:cxn>
                    <a:cxn ang="0">
                      <a:pos x="connsiteX1685" y="connsiteY1685"/>
                    </a:cxn>
                    <a:cxn ang="0">
                      <a:pos x="connsiteX1686" y="connsiteY1686"/>
                    </a:cxn>
                    <a:cxn ang="0">
                      <a:pos x="connsiteX1687" y="connsiteY1687"/>
                    </a:cxn>
                    <a:cxn ang="0">
                      <a:pos x="connsiteX1688" y="connsiteY1688"/>
                    </a:cxn>
                    <a:cxn ang="0">
                      <a:pos x="connsiteX1689" y="connsiteY1689"/>
                    </a:cxn>
                    <a:cxn ang="0">
                      <a:pos x="connsiteX1690" y="connsiteY1690"/>
                    </a:cxn>
                    <a:cxn ang="0">
                      <a:pos x="connsiteX1691" y="connsiteY1691"/>
                    </a:cxn>
                    <a:cxn ang="0">
                      <a:pos x="connsiteX1692" y="connsiteY1692"/>
                    </a:cxn>
                    <a:cxn ang="0">
                      <a:pos x="connsiteX1693" y="connsiteY1693"/>
                    </a:cxn>
                    <a:cxn ang="0">
                      <a:pos x="connsiteX1694" y="connsiteY1694"/>
                    </a:cxn>
                    <a:cxn ang="0">
                      <a:pos x="connsiteX1695" y="connsiteY1695"/>
                    </a:cxn>
                    <a:cxn ang="0">
                      <a:pos x="connsiteX1696" y="connsiteY1696"/>
                    </a:cxn>
                    <a:cxn ang="0">
                      <a:pos x="connsiteX1697" y="connsiteY1697"/>
                    </a:cxn>
                    <a:cxn ang="0">
                      <a:pos x="connsiteX1698" y="connsiteY1698"/>
                    </a:cxn>
                    <a:cxn ang="0">
                      <a:pos x="connsiteX1699" y="connsiteY1699"/>
                    </a:cxn>
                    <a:cxn ang="0">
                      <a:pos x="connsiteX1700" y="connsiteY1700"/>
                    </a:cxn>
                    <a:cxn ang="0">
                      <a:pos x="connsiteX1701" y="connsiteY1701"/>
                    </a:cxn>
                    <a:cxn ang="0">
                      <a:pos x="connsiteX1702" y="connsiteY1702"/>
                    </a:cxn>
                    <a:cxn ang="0">
                      <a:pos x="connsiteX1703" y="connsiteY1703"/>
                    </a:cxn>
                    <a:cxn ang="0">
                      <a:pos x="connsiteX1704" y="connsiteY1704"/>
                    </a:cxn>
                    <a:cxn ang="0">
                      <a:pos x="connsiteX1705" y="connsiteY1705"/>
                    </a:cxn>
                    <a:cxn ang="0">
                      <a:pos x="connsiteX1706" y="connsiteY1706"/>
                    </a:cxn>
                    <a:cxn ang="0">
                      <a:pos x="connsiteX1707" y="connsiteY1707"/>
                    </a:cxn>
                    <a:cxn ang="0">
                      <a:pos x="connsiteX1708" y="connsiteY1708"/>
                    </a:cxn>
                    <a:cxn ang="0">
                      <a:pos x="connsiteX1709" y="connsiteY1709"/>
                    </a:cxn>
                    <a:cxn ang="0">
                      <a:pos x="connsiteX1710" y="connsiteY1710"/>
                    </a:cxn>
                    <a:cxn ang="0">
                      <a:pos x="connsiteX1711" y="connsiteY1711"/>
                    </a:cxn>
                    <a:cxn ang="0">
                      <a:pos x="connsiteX1712" y="connsiteY1712"/>
                    </a:cxn>
                    <a:cxn ang="0">
                      <a:pos x="connsiteX1713" y="connsiteY1713"/>
                    </a:cxn>
                    <a:cxn ang="0">
                      <a:pos x="connsiteX1714" y="connsiteY1714"/>
                    </a:cxn>
                    <a:cxn ang="0">
                      <a:pos x="connsiteX1715" y="connsiteY1715"/>
                    </a:cxn>
                    <a:cxn ang="0">
                      <a:pos x="connsiteX1716" y="connsiteY1716"/>
                    </a:cxn>
                    <a:cxn ang="0">
                      <a:pos x="connsiteX1717" y="connsiteY1717"/>
                    </a:cxn>
                    <a:cxn ang="0">
                      <a:pos x="connsiteX1718" y="connsiteY1718"/>
                    </a:cxn>
                    <a:cxn ang="0">
                      <a:pos x="connsiteX1719" y="connsiteY1719"/>
                    </a:cxn>
                    <a:cxn ang="0">
                      <a:pos x="connsiteX1720" y="connsiteY1720"/>
                    </a:cxn>
                    <a:cxn ang="0">
                      <a:pos x="connsiteX1721" y="connsiteY1721"/>
                    </a:cxn>
                    <a:cxn ang="0">
                      <a:pos x="connsiteX1722" y="connsiteY1722"/>
                    </a:cxn>
                    <a:cxn ang="0">
                      <a:pos x="connsiteX1723" y="connsiteY1723"/>
                    </a:cxn>
                    <a:cxn ang="0">
                      <a:pos x="connsiteX1724" y="connsiteY1724"/>
                    </a:cxn>
                    <a:cxn ang="0">
                      <a:pos x="connsiteX1725" y="connsiteY1725"/>
                    </a:cxn>
                    <a:cxn ang="0">
                      <a:pos x="connsiteX1726" y="connsiteY1726"/>
                    </a:cxn>
                    <a:cxn ang="0">
                      <a:pos x="connsiteX1727" y="connsiteY1727"/>
                    </a:cxn>
                    <a:cxn ang="0">
                      <a:pos x="connsiteX1728" y="connsiteY1728"/>
                    </a:cxn>
                    <a:cxn ang="0">
                      <a:pos x="connsiteX1729" y="connsiteY1729"/>
                    </a:cxn>
                    <a:cxn ang="0">
                      <a:pos x="connsiteX1730" y="connsiteY1730"/>
                    </a:cxn>
                    <a:cxn ang="0">
                      <a:pos x="connsiteX1731" y="connsiteY1731"/>
                    </a:cxn>
                    <a:cxn ang="0">
                      <a:pos x="connsiteX1732" y="connsiteY1732"/>
                    </a:cxn>
                    <a:cxn ang="0">
                      <a:pos x="connsiteX1733" y="connsiteY1733"/>
                    </a:cxn>
                    <a:cxn ang="0">
                      <a:pos x="connsiteX1734" y="connsiteY1734"/>
                    </a:cxn>
                    <a:cxn ang="0">
                      <a:pos x="connsiteX1735" y="connsiteY1735"/>
                    </a:cxn>
                    <a:cxn ang="0">
                      <a:pos x="connsiteX1736" y="connsiteY1736"/>
                    </a:cxn>
                    <a:cxn ang="0">
                      <a:pos x="connsiteX1737" y="connsiteY1737"/>
                    </a:cxn>
                    <a:cxn ang="0">
                      <a:pos x="connsiteX1738" y="connsiteY1738"/>
                    </a:cxn>
                    <a:cxn ang="0">
                      <a:pos x="connsiteX1739" y="connsiteY1739"/>
                    </a:cxn>
                    <a:cxn ang="0">
                      <a:pos x="connsiteX1740" y="connsiteY1740"/>
                    </a:cxn>
                    <a:cxn ang="0">
                      <a:pos x="connsiteX1741" y="connsiteY1741"/>
                    </a:cxn>
                    <a:cxn ang="0">
                      <a:pos x="connsiteX1742" y="connsiteY1742"/>
                    </a:cxn>
                    <a:cxn ang="0">
                      <a:pos x="connsiteX1743" y="connsiteY1743"/>
                    </a:cxn>
                    <a:cxn ang="0">
                      <a:pos x="connsiteX1744" y="connsiteY1744"/>
                    </a:cxn>
                    <a:cxn ang="0">
                      <a:pos x="connsiteX1745" y="connsiteY1745"/>
                    </a:cxn>
                    <a:cxn ang="0">
                      <a:pos x="connsiteX1746" y="connsiteY1746"/>
                    </a:cxn>
                    <a:cxn ang="0">
                      <a:pos x="connsiteX1747" y="connsiteY1747"/>
                    </a:cxn>
                    <a:cxn ang="0">
                      <a:pos x="connsiteX1748" y="connsiteY1748"/>
                    </a:cxn>
                    <a:cxn ang="0">
                      <a:pos x="connsiteX1749" y="connsiteY1749"/>
                    </a:cxn>
                    <a:cxn ang="0">
                      <a:pos x="connsiteX1750" y="connsiteY1750"/>
                    </a:cxn>
                    <a:cxn ang="0">
                      <a:pos x="connsiteX1751" y="connsiteY1751"/>
                    </a:cxn>
                    <a:cxn ang="0">
                      <a:pos x="connsiteX1752" y="connsiteY1752"/>
                    </a:cxn>
                    <a:cxn ang="0">
                      <a:pos x="connsiteX1753" y="connsiteY1753"/>
                    </a:cxn>
                    <a:cxn ang="0">
                      <a:pos x="connsiteX1754" y="connsiteY1754"/>
                    </a:cxn>
                    <a:cxn ang="0">
                      <a:pos x="connsiteX1755" y="connsiteY1755"/>
                    </a:cxn>
                    <a:cxn ang="0">
                      <a:pos x="connsiteX1756" y="connsiteY1756"/>
                    </a:cxn>
                    <a:cxn ang="0">
                      <a:pos x="connsiteX1757" y="connsiteY1757"/>
                    </a:cxn>
                    <a:cxn ang="0">
                      <a:pos x="connsiteX1758" y="connsiteY1758"/>
                    </a:cxn>
                    <a:cxn ang="0">
                      <a:pos x="connsiteX1759" y="connsiteY1759"/>
                    </a:cxn>
                    <a:cxn ang="0">
                      <a:pos x="connsiteX1760" y="connsiteY1760"/>
                    </a:cxn>
                    <a:cxn ang="0">
                      <a:pos x="connsiteX1761" y="connsiteY1761"/>
                    </a:cxn>
                    <a:cxn ang="0">
                      <a:pos x="connsiteX1762" y="connsiteY1762"/>
                    </a:cxn>
                    <a:cxn ang="0">
                      <a:pos x="connsiteX1763" y="connsiteY1763"/>
                    </a:cxn>
                    <a:cxn ang="0">
                      <a:pos x="connsiteX1764" y="connsiteY1764"/>
                    </a:cxn>
                    <a:cxn ang="0">
                      <a:pos x="connsiteX1765" y="connsiteY1765"/>
                    </a:cxn>
                    <a:cxn ang="0">
                      <a:pos x="connsiteX1766" y="connsiteY1766"/>
                    </a:cxn>
                    <a:cxn ang="0">
                      <a:pos x="connsiteX1767" y="connsiteY1767"/>
                    </a:cxn>
                    <a:cxn ang="0">
                      <a:pos x="connsiteX1768" y="connsiteY1768"/>
                    </a:cxn>
                    <a:cxn ang="0">
                      <a:pos x="connsiteX1769" y="connsiteY1769"/>
                    </a:cxn>
                    <a:cxn ang="0">
                      <a:pos x="connsiteX1770" y="connsiteY1770"/>
                    </a:cxn>
                    <a:cxn ang="0">
                      <a:pos x="connsiteX1771" y="connsiteY1771"/>
                    </a:cxn>
                    <a:cxn ang="0">
                      <a:pos x="connsiteX1772" y="connsiteY1772"/>
                    </a:cxn>
                    <a:cxn ang="0">
                      <a:pos x="connsiteX1773" y="connsiteY1773"/>
                    </a:cxn>
                    <a:cxn ang="0">
                      <a:pos x="connsiteX1774" y="connsiteY1774"/>
                    </a:cxn>
                    <a:cxn ang="0">
                      <a:pos x="connsiteX1775" y="connsiteY1775"/>
                    </a:cxn>
                    <a:cxn ang="0">
                      <a:pos x="connsiteX1776" y="connsiteY1776"/>
                    </a:cxn>
                    <a:cxn ang="0">
                      <a:pos x="connsiteX1777" y="connsiteY1777"/>
                    </a:cxn>
                    <a:cxn ang="0">
                      <a:pos x="connsiteX1778" y="connsiteY1778"/>
                    </a:cxn>
                    <a:cxn ang="0">
                      <a:pos x="connsiteX1779" y="connsiteY1779"/>
                    </a:cxn>
                    <a:cxn ang="0">
                      <a:pos x="connsiteX1780" y="connsiteY1780"/>
                    </a:cxn>
                    <a:cxn ang="0">
                      <a:pos x="connsiteX1781" y="connsiteY1781"/>
                    </a:cxn>
                    <a:cxn ang="0">
                      <a:pos x="connsiteX1782" y="connsiteY1782"/>
                    </a:cxn>
                    <a:cxn ang="0">
                      <a:pos x="connsiteX1783" y="connsiteY1783"/>
                    </a:cxn>
                    <a:cxn ang="0">
                      <a:pos x="connsiteX1784" y="connsiteY1784"/>
                    </a:cxn>
                    <a:cxn ang="0">
                      <a:pos x="connsiteX1785" y="connsiteY1785"/>
                    </a:cxn>
                    <a:cxn ang="0">
                      <a:pos x="connsiteX1786" y="connsiteY1786"/>
                    </a:cxn>
                    <a:cxn ang="0">
                      <a:pos x="connsiteX1787" y="connsiteY1787"/>
                    </a:cxn>
                    <a:cxn ang="0">
                      <a:pos x="connsiteX1788" y="connsiteY1788"/>
                    </a:cxn>
                    <a:cxn ang="0">
                      <a:pos x="connsiteX1789" y="connsiteY1789"/>
                    </a:cxn>
                    <a:cxn ang="0">
                      <a:pos x="connsiteX1790" y="connsiteY1790"/>
                    </a:cxn>
                    <a:cxn ang="0">
                      <a:pos x="connsiteX1791" y="connsiteY1791"/>
                    </a:cxn>
                    <a:cxn ang="0">
                      <a:pos x="connsiteX1792" y="connsiteY1792"/>
                    </a:cxn>
                    <a:cxn ang="0">
                      <a:pos x="connsiteX1793" y="connsiteY1793"/>
                    </a:cxn>
                    <a:cxn ang="0">
                      <a:pos x="connsiteX1794" y="connsiteY1794"/>
                    </a:cxn>
                    <a:cxn ang="0">
                      <a:pos x="connsiteX1795" y="connsiteY1795"/>
                    </a:cxn>
                    <a:cxn ang="0">
                      <a:pos x="connsiteX1796" y="connsiteY1796"/>
                    </a:cxn>
                    <a:cxn ang="0">
                      <a:pos x="connsiteX1797" y="connsiteY1797"/>
                    </a:cxn>
                    <a:cxn ang="0">
                      <a:pos x="connsiteX1798" y="connsiteY1798"/>
                    </a:cxn>
                    <a:cxn ang="0">
                      <a:pos x="connsiteX1799" y="connsiteY1799"/>
                    </a:cxn>
                    <a:cxn ang="0">
                      <a:pos x="connsiteX1800" y="connsiteY1800"/>
                    </a:cxn>
                    <a:cxn ang="0">
                      <a:pos x="connsiteX1801" y="connsiteY1801"/>
                    </a:cxn>
                    <a:cxn ang="0">
                      <a:pos x="connsiteX1802" y="connsiteY1802"/>
                    </a:cxn>
                    <a:cxn ang="0">
                      <a:pos x="connsiteX1803" y="connsiteY1803"/>
                    </a:cxn>
                    <a:cxn ang="0">
                      <a:pos x="connsiteX1804" y="connsiteY1804"/>
                    </a:cxn>
                    <a:cxn ang="0">
                      <a:pos x="connsiteX1805" y="connsiteY1805"/>
                    </a:cxn>
                    <a:cxn ang="0">
                      <a:pos x="connsiteX1806" y="connsiteY1806"/>
                    </a:cxn>
                    <a:cxn ang="0">
                      <a:pos x="connsiteX1807" y="connsiteY1807"/>
                    </a:cxn>
                    <a:cxn ang="0">
                      <a:pos x="connsiteX1808" y="connsiteY1808"/>
                    </a:cxn>
                    <a:cxn ang="0">
                      <a:pos x="connsiteX1809" y="connsiteY1809"/>
                    </a:cxn>
                    <a:cxn ang="0">
                      <a:pos x="connsiteX1810" y="connsiteY1810"/>
                    </a:cxn>
                    <a:cxn ang="0">
                      <a:pos x="connsiteX1811" y="connsiteY1811"/>
                    </a:cxn>
                    <a:cxn ang="0">
                      <a:pos x="connsiteX1812" y="connsiteY1812"/>
                    </a:cxn>
                    <a:cxn ang="0">
                      <a:pos x="connsiteX1813" y="connsiteY1813"/>
                    </a:cxn>
                    <a:cxn ang="0">
                      <a:pos x="connsiteX1814" y="connsiteY1814"/>
                    </a:cxn>
                    <a:cxn ang="0">
                      <a:pos x="connsiteX1815" y="connsiteY1815"/>
                    </a:cxn>
                    <a:cxn ang="0">
                      <a:pos x="connsiteX1816" y="connsiteY1816"/>
                    </a:cxn>
                    <a:cxn ang="0">
                      <a:pos x="connsiteX1817" y="connsiteY1817"/>
                    </a:cxn>
                    <a:cxn ang="0">
                      <a:pos x="connsiteX1818" y="connsiteY1818"/>
                    </a:cxn>
                    <a:cxn ang="0">
                      <a:pos x="connsiteX1819" y="connsiteY1819"/>
                    </a:cxn>
                    <a:cxn ang="0">
                      <a:pos x="connsiteX1820" y="connsiteY1820"/>
                    </a:cxn>
                    <a:cxn ang="0">
                      <a:pos x="connsiteX1821" y="connsiteY1821"/>
                    </a:cxn>
                    <a:cxn ang="0">
                      <a:pos x="connsiteX1822" y="connsiteY1822"/>
                    </a:cxn>
                    <a:cxn ang="0">
                      <a:pos x="connsiteX1823" y="connsiteY1823"/>
                    </a:cxn>
                    <a:cxn ang="0">
                      <a:pos x="connsiteX1824" y="connsiteY1824"/>
                    </a:cxn>
                    <a:cxn ang="0">
                      <a:pos x="connsiteX1825" y="connsiteY1825"/>
                    </a:cxn>
                    <a:cxn ang="0">
                      <a:pos x="connsiteX1826" y="connsiteY1826"/>
                    </a:cxn>
                    <a:cxn ang="0">
                      <a:pos x="connsiteX1827" y="connsiteY1827"/>
                    </a:cxn>
                    <a:cxn ang="0">
                      <a:pos x="connsiteX1828" y="connsiteY1828"/>
                    </a:cxn>
                    <a:cxn ang="0">
                      <a:pos x="connsiteX1829" y="connsiteY1829"/>
                    </a:cxn>
                    <a:cxn ang="0">
                      <a:pos x="connsiteX1830" y="connsiteY1830"/>
                    </a:cxn>
                    <a:cxn ang="0">
                      <a:pos x="connsiteX1831" y="connsiteY1831"/>
                    </a:cxn>
                    <a:cxn ang="0">
                      <a:pos x="connsiteX1832" y="connsiteY1832"/>
                    </a:cxn>
                    <a:cxn ang="0">
                      <a:pos x="connsiteX1833" y="connsiteY1833"/>
                    </a:cxn>
                    <a:cxn ang="0">
                      <a:pos x="connsiteX1834" y="connsiteY1834"/>
                    </a:cxn>
                    <a:cxn ang="0">
                      <a:pos x="connsiteX1835" y="connsiteY1835"/>
                    </a:cxn>
                    <a:cxn ang="0">
                      <a:pos x="connsiteX1836" y="connsiteY1836"/>
                    </a:cxn>
                    <a:cxn ang="0">
                      <a:pos x="connsiteX1837" y="connsiteY1837"/>
                    </a:cxn>
                    <a:cxn ang="0">
                      <a:pos x="connsiteX1838" y="connsiteY1838"/>
                    </a:cxn>
                    <a:cxn ang="0">
                      <a:pos x="connsiteX1839" y="connsiteY1839"/>
                    </a:cxn>
                    <a:cxn ang="0">
                      <a:pos x="connsiteX1840" y="connsiteY1840"/>
                    </a:cxn>
                    <a:cxn ang="0">
                      <a:pos x="connsiteX1841" y="connsiteY1841"/>
                    </a:cxn>
                    <a:cxn ang="0">
                      <a:pos x="connsiteX1842" y="connsiteY1842"/>
                    </a:cxn>
                    <a:cxn ang="0">
                      <a:pos x="connsiteX1843" y="connsiteY1843"/>
                    </a:cxn>
                    <a:cxn ang="0">
                      <a:pos x="connsiteX1844" y="connsiteY1844"/>
                    </a:cxn>
                    <a:cxn ang="0">
                      <a:pos x="connsiteX1845" y="connsiteY1845"/>
                    </a:cxn>
                    <a:cxn ang="0">
                      <a:pos x="connsiteX1846" y="connsiteY1846"/>
                    </a:cxn>
                    <a:cxn ang="0">
                      <a:pos x="connsiteX1847" y="connsiteY1847"/>
                    </a:cxn>
                    <a:cxn ang="0">
                      <a:pos x="connsiteX1848" y="connsiteY1848"/>
                    </a:cxn>
                    <a:cxn ang="0">
                      <a:pos x="connsiteX1849" y="connsiteY1849"/>
                    </a:cxn>
                    <a:cxn ang="0">
                      <a:pos x="connsiteX1850" y="connsiteY1850"/>
                    </a:cxn>
                    <a:cxn ang="0">
                      <a:pos x="connsiteX1851" y="connsiteY1851"/>
                    </a:cxn>
                    <a:cxn ang="0">
                      <a:pos x="connsiteX1852" y="connsiteY1852"/>
                    </a:cxn>
                    <a:cxn ang="0">
                      <a:pos x="connsiteX1853" y="connsiteY1853"/>
                    </a:cxn>
                    <a:cxn ang="0">
                      <a:pos x="connsiteX1854" y="connsiteY1854"/>
                    </a:cxn>
                    <a:cxn ang="0">
                      <a:pos x="connsiteX1855" y="connsiteY1855"/>
                    </a:cxn>
                    <a:cxn ang="0">
                      <a:pos x="connsiteX1856" y="connsiteY1856"/>
                    </a:cxn>
                    <a:cxn ang="0">
                      <a:pos x="connsiteX1857" y="connsiteY1857"/>
                    </a:cxn>
                    <a:cxn ang="0">
                      <a:pos x="connsiteX1858" y="connsiteY1858"/>
                    </a:cxn>
                    <a:cxn ang="0">
                      <a:pos x="connsiteX1859" y="connsiteY1859"/>
                    </a:cxn>
                    <a:cxn ang="0">
                      <a:pos x="connsiteX1860" y="connsiteY1860"/>
                    </a:cxn>
                    <a:cxn ang="0">
                      <a:pos x="connsiteX1861" y="connsiteY1861"/>
                    </a:cxn>
                    <a:cxn ang="0">
                      <a:pos x="connsiteX1862" y="connsiteY1862"/>
                    </a:cxn>
                    <a:cxn ang="0">
                      <a:pos x="connsiteX1863" y="connsiteY1863"/>
                    </a:cxn>
                    <a:cxn ang="0">
                      <a:pos x="connsiteX1864" y="connsiteY1864"/>
                    </a:cxn>
                    <a:cxn ang="0">
                      <a:pos x="connsiteX1865" y="connsiteY1865"/>
                    </a:cxn>
                    <a:cxn ang="0">
                      <a:pos x="connsiteX1866" y="connsiteY1866"/>
                    </a:cxn>
                    <a:cxn ang="0">
                      <a:pos x="connsiteX1867" y="connsiteY1867"/>
                    </a:cxn>
                    <a:cxn ang="0">
                      <a:pos x="connsiteX1868" y="connsiteY1868"/>
                    </a:cxn>
                    <a:cxn ang="0">
                      <a:pos x="connsiteX1869" y="connsiteY1869"/>
                    </a:cxn>
                    <a:cxn ang="0">
                      <a:pos x="connsiteX1870" y="connsiteY1870"/>
                    </a:cxn>
                    <a:cxn ang="0">
                      <a:pos x="connsiteX1871" y="connsiteY1871"/>
                    </a:cxn>
                    <a:cxn ang="0">
                      <a:pos x="connsiteX1872" y="connsiteY1872"/>
                    </a:cxn>
                    <a:cxn ang="0">
                      <a:pos x="connsiteX1873" y="connsiteY1873"/>
                    </a:cxn>
                    <a:cxn ang="0">
                      <a:pos x="connsiteX1874" y="connsiteY1874"/>
                    </a:cxn>
                    <a:cxn ang="0">
                      <a:pos x="connsiteX1875" y="connsiteY1875"/>
                    </a:cxn>
                    <a:cxn ang="0">
                      <a:pos x="connsiteX1876" y="connsiteY1876"/>
                    </a:cxn>
                    <a:cxn ang="0">
                      <a:pos x="connsiteX1877" y="connsiteY1877"/>
                    </a:cxn>
                    <a:cxn ang="0">
                      <a:pos x="connsiteX1878" y="connsiteY1878"/>
                    </a:cxn>
                    <a:cxn ang="0">
                      <a:pos x="connsiteX1879" y="connsiteY1879"/>
                    </a:cxn>
                    <a:cxn ang="0">
                      <a:pos x="connsiteX1880" y="connsiteY1880"/>
                    </a:cxn>
                    <a:cxn ang="0">
                      <a:pos x="connsiteX1881" y="connsiteY1881"/>
                    </a:cxn>
                    <a:cxn ang="0">
                      <a:pos x="connsiteX1882" y="connsiteY1882"/>
                    </a:cxn>
                    <a:cxn ang="0">
                      <a:pos x="connsiteX1883" y="connsiteY1883"/>
                    </a:cxn>
                    <a:cxn ang="0">
                      <a:pos x="connsiteX1884" y="connsiteY1884"/>
                    </a:cxn>
                    <a:cxn ang="0">
                      <a:pos x="connsiteX1885" y="connsiteY1885"/>
                    </a:cxn>
                    <a:cxn ang="0">
                      <a:pos x="connsiteX1886" y="connsiteY1886"/>
                    </a:cxn>
                    <a:cxn ang="0">
                      <a:pos x="connsiteX1887" y="connsiteY1887"/>
                    </a:cxn>
                    <a:cxn ang="0">
                      <a:pos x="connsiteX1888" y="connsiteY1888"/>
                    </a:cxn>
                    <a:cxn ang="0">
                      <a:pos x="connsiteX1889" y="connsiteY1889"/>
                    </a:cxn>
                    <a:cxn ang="0">
                      <a:pos x="connsiteX1890" y="connsiteY1890"/>
                    </a:cxn>
                    <a:cxn ang="0">
                      <a:pos x="connsiteX1891" y="connsiteY1891"/>
                    </a:cxn>
                    <a:cxn ang="0">
                      <a:pos x="connsiteX1892" y="connsiteY1892"/>
                    </a:cxn>
                    <a:cxn ang="0">
                      <a:pos x="connsiteX1893" y="connsiteY1893"/>
                    </a:cxn>
                    <a:cxn ang="0">
                      <a:pos x="connsiteX1894" y="connsiteY1894"/>
                    </a:cxn>
                    <a:cxn ang="0">
                      <a:pos x="connsiteX1895" y="connsiteY1895"/>
                    </a:cxn>
                    <a:cxn ang="0">
                      <a:pos x="connsiteX1896" y="connsiteY1896"/>
                    </a:cxn>
                    <a:cxn ang="0">
                      <a:pos x="connsiteX1897" y="connsiteY1897"/>
                    </a:cxn>
                    <a:cxn ang="0">
                      <a:pos x="connsiteX1898" y="connsiteY1898"/>
                    </a:cxn>
                    <a:cxn ang="0">
                      <a:pos x="connsiteX1899" y="connsiteY1899"/>
                    </a:cxn>
                    <a:cxn ang="0">
                      <a:pos x="connsiteX1900" y="connsiteY1900"/>
                    </a:cxn>
                    <a:cxn ang="0">
                      <a:pos x="connsiteX1901" y="connsiteY1901"/>
                    </a:cxn>
                    <a:cxn ang="0">
                      <a:pos x="connsiteX1902" y="connsiteY1902"/>
                    </a:cxn>
                    <a:cxn ang="0">
                      <a:pos x="connsiteX1903" y="connsiteY1903"/>
                    </a:cxn>
                    <a:cxn ang="0">
                      <a:pos x="connsiteX1904" y="connsiteY1904"/>
                    </a:cxn>
                    <a:cxn ang="0">
                      <a:pos x="connsiteX1905" y="connsiteY1905"/>
                    </a:cxn>
                    <a:cxn ang="0">
                      <a:pos x="connsiteX1906" y="connsiteY1906"/>
                    </a:cxn>
                    <a:cxn ang="0">
                      <a:pos x="connsiteX1907" y="connsiteY1907"/>
                    </a:cxn>
                    <a:cxn ang="0">
                      <a:pos x="connsiteX1908" y="connsiteY1908"/>
                    </a:cxn>
                    <a:cxn ang="0">
                      <a:pos x="connsiteX1909" y="connsiteY1909"/>
                    </a:cxn>
                    <a:cxn ang="0">
                      <a:pos x="connsiteX1910" y="connsiteY1910"/>
                    </a:cxn>
                    <a:cxn ang="0">
                      <a:pos x="connsiteX1911" y="connsiteY1911"/>
                    </a:cxn>
                    <a:cxn ang="0">
                      <a:pos x="connsiteX1912" y="connsiteY1912"/>
                    </a:cxn>
                    <a:cxn ang="0">
                      <a:pos x="connsiteX1913" y="connsiteY1913"/>
                    </a:cxn>
                    <a:cxn ang="0">
                      <a:pos x="connsiteX1914" y="connsiteY1914"/>
                    </a:cxn>
                    <a:cxn ang="0">
                      <a:pos x="connsiteX1915" y="connsiteY1915"/>
                    </a:cxn>
                    <a:cxn ang="0">
                      <a:pos x="connsiteX1916" y="connsiteY1916"/>
                    </a:cxn>
                    <a:cxn ang="0">
                      <a:pos x="connsiteX1917" y="connsiteY1917"/>
                    </a:cxn>
                    <a:cxn ang="0">
                      <a:pos x="connsiteX1918" y="connsiteY1918"/>
                    </a:cxn>
                    <a:cxn ang="0">
                      <a:pos x="connsiteX1919" y="connsiteY1919"/>
                    </a:cxn>
                    <a:cxn ang="0">
                      <a:pos x="connsiteX1920" y="connsiteY1920"/>
                    </a:cxn>
                    <a:cxn ang="0">
                      <a:pos x="connsiteX1921" y="connsiteY1921"/>
                    </a:cxn>
                    <a:cxn ang="0">
                      <a:pos x="connsiteX1922" y="connsiteY1922"/>
                    </a:cxn>
                    <a:cxn ang="0">
                      <a:pos x="connsiteX1923" y="connsiteY1923"/>
                    </a:cxn>
                    <a:cxn ang="0">
                      <a:pos x="connsiteX1924" y="connsiteY1924"/>
                    </a:cxn>
                    <a:cxn ang="0">
                      <a:pos x="connsiteX1925" y="connsiteY1925"/>
                    </a:cxn>
                    <a:cxn ang="0">
                      <a:pos x="connsiteX1926" y="connsiteY1926"/>
                    </a:cxn>
                    <a:cxn ang="0">
                      <a:pos x="connsiteX1927" y="connsiteY1927"/>
                    </a:cxn>
                    <a:cxn ang="0">
                      <a:pos x="connsiteX1928" y="connsiteY1928"/>
                    </a:cxn>
                    <a:cxn ang="0">
                      <a:pos x="connsiteX1929" y="connsiteY1929"/>
                    </a:cxn>
                    <a:cxn ang="0">
                      <a:pos x="connsiteX1930" y="connsiteY1930"/>
                    </a:cxn>
                    <a:cxn ang="0">
                      <a:pos x="connsiteX1931" y="connsiteY1931"/>
                    </a:cxn>
                    <a:cxn ang="0">
                      <a:pos x="connsiteX1932" y="connsiteY1932"/>
                    </a:cxn>
                    <a:cxn ang="0">
                      <a:pos x="connsiteX1933" y="connsiteY1933"/>
                    </a:cxn>
                    <a:cxn ang="0">
                      <a:pos x="connsiteX1934" y="connsiteY1934"/>
                    </a:cxn>
                    <a:cxn ang="0">
                      <a:pos x="connsiteX1935" y="connsiteY1935"/>
                    </a:cxn>
                    <a:cxn ang="0">
                      <a:pos x="connsiteX1936" y="connsiteY1936"/>
                    </a:cxn>
                    <a:cxn ang="0">
                      <a:pos x="connsiteX1937" y="connsiteY1937"/>
                    </a:cxn>
                    <a:cxn ang="0">
                      <a:pos x="connsiteX1938" y="connsiteY1938"/>
                    </a:cxn>
                    <a:cxn ang="0">
                      <a:pos x="connsiteX1939" y="connsiteY1939"/>
                    </a:cxn>
                    <a:cxn ang="0">
                      <a:pos x="connsiteX1940" y="connsiteY1940"/>
                    </a:cxn>
                    <a:cxn ang="0">
                      <a:pos x="connsiteX1941" y="connsiteY1941"/>
                    </a:cxn>
                    <a:cxn ang="0">
                      <a:pos x="connsiteX1942" y="connsiteY1942"/>
                    </a:cxn>
                    <a:cxn ang="0">
                      <a:pos x="connsiteX1943" y="connsiteY1943"/>
                    </a:cxn>
                    <a:cxn ang="0">
                      <a:pos x="connsiteX1944" y="connsiteY1944"/>
                    </a:cxn>
                    <a:cxn ang="0">
                      <a:pos x="connsiteX1945" y="connsiteY1945"/>
                    </a:cxn>
                    <a:cxn ang="0">
                      <a:pos x="connsiteX1946" y="connsiteY1946"/>
                    </a:cxn>
                    <a:cxn ang="0">
                      <a:pos x="connsiteX1947" y="connsiteY1947"/>
                    </a:cxn>
                    <a:cxn ang="0">
                      <a:pos x="connsiteX1948" y="connsiteY1948"/>
                    </a:cxn>
                    <a:cxn ang="0">
                      <a:pos x="connsiteX1949" y="connsiteY1949"/>
                    </a:cxn>
                    <a:cxn ang="0">
                      <a:pos x="connsiteX1950" y="connsiteY1950"/>
                    </a:cxn>
                    <a:cxn ang="0">
                      <a:pos x="connsiteX1951" y="connsiteY1951"/>
                    </a:cxn>
                    <a:cxn ang="0">
                      <a:pos x="connsiteX1952" y="connsiteY1952"/>
                    </a:cxn>
                    <a:cxn ang="0">
                      <a:pos x="connsiteX1953" y="connsiteY1953"/>
                    </a:cxn>
                    <a:cxn ang="0">
                      <a:pos x="connsiteX1954" y="connsiteY1954"/>
                    </a:cxn>
                    <a:cxn ang="0">
                      <a:pos x="connsiteX1955" y="connsiteY1955"/>
                    </a:cxn>
                    <a:cxn ang="0">
                      <a:pos x="connsiteX1956" y="connsiteY1956"/>
                    </a:cxn>
                    <a:cxn ang="0">
                      <a:pos x="connsiteX1957" y="connsiteY1957"/>
                    </a:cxn>
                    <a:cxn ang="0">
                      <a:pos x="connsiteX1958" y="connsiteY1958"/>
                    </a:cxn>
                    <a:cxn ang="0">
                      <a:pos x="connsiteX1959" y="connsiteY1959"/>
                    </a:cxn>
                    <a:cxn ang="0">
                      <a:pos x="connsiteX1960" y="connsiteY1960"/>
                    </a:cxn>
                    <a:cxn ang="0">
                      <a:pos x="connsiteX1961" y="connsiteY1961"/>
                    </a:cxn>
                    <a:cxn ang="0">
                      <a:pos x="connsiteX1962" y="connsiteY1962"/>
                    </a:cxn>
                    <a:cxn ang="0">
                      <a:pos x="connsiteX1963" y="connsiteY1963"/>
                    </a:cxn>
                    <a:cxn ang="0">
                      <a:pos x="connsiteX1964" y="connsiteY1964"/>
                    </a:cxn>
                    <a:cxn ang="0">
                      <a:pos x="connsiteX1965" y="connsiteY1965"/>
                    </a:cxn>
                    <a:cxn ang="0">
                      <a:pos x="connsiteX1966" y="connsiteY1966"/>
                    </a:cxn>
                    <a:cxn ang="0">
                      <a:pos x="connsiteX1967" y="connsiteY1967"/>
                    </a:cxn>
                    <a:cxn ang="0">
                      <a:pos x="connsiteX1968" y="connsiteY1968"/>
                    </a:cxn>
                    <a:cxn ang="0">
                      <a:pos x="connsiteX1969" y="connsiteY1969"/>
                    </a:cxn>
                    <a:cxn ang="0">
                      <a:pos x="connsiteX1970" y="connsiteY1970"/>
                    </a:cxn>
                    <a:cxn ang="0">
                      <a:pos x="connsiteX1971" y="connsiteY1971"/>
                    </a:cxn>
                    <a:cxn ang="0">
                      <a:pos x="connsiteX1972" y="connsiteY1972"/>
                    </a:cxn>
                    <a:cxn ang="0">
                      <a:pos x="connsiteX1973" y="connsiteY1973"/>
                    </a:cxn>
                    <a:cxn ang="0">
                      <a:pos x="connsiteX1974" y="connsiteY1974"/>
                    </a:cxn>
                    <a:cxn ang="0">
                      <a:pos x="connsiteX1975" y="connsiteY1975"/>
                    </a:cxn>
                    <a:cxn ang="0">
                      <a:pos x="connsiteX1976" y="connsiteY1976"/>
                    </a:cxn>
                    <a:cxn ang="0">
                      <a:pos x="connsiteX1977" y="connsiteY1977"/>
                    </a:cxn>
                    <a:cxn ang="0">
                      <a:pos x="connsiteX1978" y="connsiteY1978"/>
                    </a:cxn>
                    <a:cxn ang="0">
                      <a:pos x="connsiteX1979" y="connsiteY1979"/>
                    </a:cxn>
                    <a:cxn ang="0">
                      <a:pos x="connsiteX1980" y="connsiteY1980"/>
                    </a:cxn>
                    <a:cxn ang="0">
                      <a:pos x="connsiteX1981" y="connsiteY1981"/>
                    </a:cxn>
                    <a:cxn ang="0">
                      <a:pos x="connsiteX1982" y="connsiteY1982"/>
                    </a:cxn>
                    <a:cxn ang="0">
                      <a:pos x="connsiteX1983" y="connsiteY1983"/>
                    </a:cxn>
                    <a:cxn ang="0">
                      <a:pos x="connsiteX1984" y="connsiteY1984"/>
                    </a:cxn>
                    <a:cxn ang="0">
                      <a:pos x="connsiteX1985" y="connsiteY1985"/>
                    </a:cxn>
                    <a:cxn ang="0">
                      <a:pos x="connsiteX1986" y="connsiteY1986"/>
                    </a:cxn>
                    <a:cxn ang="0">
                      <a:pos x="connsiteX1987" y="connsiteY1987"/>
                    </a:cxn>
                    <a:cxn ang="0">
                      <a:pos x="connsiteX1988" y="connsiteY1988"/>
                    </a:cxn>
                    <a:cxn ang="0">
                      <a:pos x="connsiteX1989" y="connsiteY1989"/>
                    </a:cxn>
                    <a:cxn ang="0">
                      <a:pos x="connsiteX1990" y="connsiteY1990"/>
                    </a:cxn>
                    <a:cxn ang="0">
                      <a:pos x="connsiteX1991" y="connsiteY1991"/>
                    </a:cxn>
                    <a:cxn ang="0">
                      <a:pos x="connsiteX1992" y="connsiteY1992"/>
                    </a:cxn>
                    <a:cxn ang="0">
                      <a:pos x="connsiteX1993" y="connsiteY1993"/>
                    </a:cxn>
                    <a:cxn ang="0">
                      <a:pos x="connsiteX1994" y="connsiteY1994"/>
                    </a:cxn>
                    <a:cxn ang="0">
                      <a:pos x="connsiteX1995" y="connsiteY1995"/>
                    </a:cxn>
                    <a:cxn ang="0">
                      <a:pos x="connsiteX1996" y="connsiteY1996"/>
                    </a:cxn>
                    <a:cxn ang="0">
                      <a:pos x="connsiteX1997" y="connsiteY1997"/>
                    </a:cxn>
                    <a:cxn ang="0">
                      <a:pos x="connsiteX1998" y="connsiteY1998"/>
                    </a:cxn>
                    <a:cxn ang="0">
                      <a:pos x="connsiteX1999" y="connsiteY1999"/>
                    </a:cxn>
                    <a:cxn ang="0">
                      <a:pos x="connsiteX2000" y="connsiteY2000"/>
                    </a:cxn>
                    <a:cxn ang="0">
                      <a:pos x="connsiteX2001" y="connsiteY2001"/>
                    </a:cxn>
                    <a:cxn ang="0">
                      <a:pos x="connsiteX2002" y="connsiteY2002"/>
                    </a:cxn>
                    <a:cxn ang="0">
                      <a:pos x="connsiteX2003" y="connsiteY2003"/>
                    </a:cxn>
                    <a:cxn ang="0">
                      <a:pos x="connsiteX2004" y="connsiteY2004"/>
                    </a:cxn>
                    <a:cxn ang="0">
                      <a:pos x="connsiteX2005" y="connsiteY2005"/>
                    </a:cxn>
                    <a:cxn ang="0">
                      <a:pos x="connsiteX2006" y="connsiteY2006"/>
                    </a:cxn>
                    <a:cxn ang="0">
                      <a:pos x="connsiteX2007" y="connsiteY2007"/>
                    </a:cxn>
                    <a:cxn ang="0">
                      <a:pos x="connsiteX2008" y="connsiteY2008"/>
                    </a:cxn>
                    <a:cxn ang="0">
                      <a:pos x="connsiteX2009" y="connsiteY2009"/>
                    </a:cxn>
                    <a:cxn ang="0">
                      <a:pos x="connsiteX2010" y="connsiteY2010"/>
                    </a:cxn>
                    <a:cxn ang="0">
                      <a:pos x="connsiteX2011" y="connsiteY2011"/>
                    </a:cxn>
                    <a:cxn ang="0">
                      <a:pos x="connsiteX2012" y="connsiteY2012"/>
                    </a:cxn>
                    <a:cxn ang="0">
                      <a:pos x="connsiteX2013" y="connsiteY2013"/>
                    </a:cxn>
                    <a:cxn ang="0">
                      <a:pos x="connsiteX2014" y="connsiteY2014"/>
                    </a:cxn>
                    <a:cxn ang="0">
                      <a:pos x="connsiteX2015" y="connsiteY2015"/>
                    </a:cxn>
                    <a:cxn ang="0">
                      <a:pos x="connsiteX2016" y="connsiteY2016"/>
                    </a:cxn>
                    <a:cxn ang="0">
                      <a:pos x="connsiteX2017" y="connsiteY2017"/>
                    </a:cxn>
                    <a:cxn ang="0">
                      <a:pos x="connsiteX2018" y="connsiteY2018"/>
                    </a:cxn>
                    <a:cxn ang="0">
                      <a:pos x="connsiteX2019" y="connsiteY2019"/>
                    </a:cxn>
                    <a:cxn ang="0">
                      <a:pos x="connsiteX2020" y="connsiteY2020"/>
                    </a:cxn>
                    <a:cxn ang="0">
                      <a:pos x="connsiteX2021" y="connsiteY2021"/>
                    </a:cxn>
                    <a:cxn ang="0">
                      <a:pos x="connsiteX2022" y="connsiteY2022"/>
                    </a:cxn>
                    <a:cxn ang="0">
                      <a:pos x="connsiteX2023" y="connsiteY2023"/>
                    </a:cxn>
                    <a:cxn ang="0">
                      <a:pos x="connsiteX2024" y="connsiteY2024"/>
                    </a:cxn>
                    <a:cxn ang="0">
                      <a:pos x="connsiteX2025" y="connsiteY2025"/>
                    </a:cxn>
                    <a:cxn ang="0">
                      <a:pos x="connsiteX2026" y="connsiteY2026"/>
                    </a:cxn>
                    <a:cxn ang="0">
                      <a:pos x="connsiteX2027" y="connsiteY2027"/>
                    </a:cxn>
                    <a:cxn ang="0">
                      <a:pos x="connsiteX2028" y="connsiteY2028"/>
                    </a:cxn>
                    <a:cxn ang="0">
                      <a:pos x="connsiteX2029" y="connsiteY2029"/>
                    </a:cxn>
                    <a:cxn ang="0">
                      <a:pos x="connsiteX2030" y="connsiteY2030"/>
                    </a:cxn>
                    <a:cxn ang="0">
                      <a:pos x="connsiteX2031" y="connsiteY2031"/>
                    </a:cxn>
                    <a:cxn ang="0">
                      <a:pos x="connsiteX2032" y="connsiteY2032"/>
                    </a:cxn>
                    <a:cxn ang="0">
                      <a:pos x="connsiteX2033" y="connsiteY2033"/>
                    </a:cxn>
                    <a:cxn ang="0">
                      <a:pos x="connsiteX2034" y="connsiteY2034"/>
                    </a:cxn>
                    <a:cxn ang="0">
                      <a:pos x="connsiteX2035" y="connsiteY2035"/>
                    </a:cxn>
                    <a:cxn ang="0">
                      <a:pos x="connsiteX2036" y="connsiteY2036"/>
                    </a:cxn>
                    <a:cxn ang="0">
                      <a:pos x="connsiteX2037" y="connsiteY2037"/>
                    </a:cxn>
                    <a:cxn ang="0">
                      <a:pos x="connsiteX2038" y="connsiteY2038"/>
                    </a:cxn>
                    <a:cxn ang="0">
                      <a:pos x="connsiteX2039" y="connsiteY2039"/>
                    </a:cxn>
                    <a:cxn ang="0">
                      <a:pos x="connsiteX2040" y="connsiteY2040"/>
                    </a:cxn>
                    <a:cxn ang="0">
                      <a:pos x="connsiteX2041" y="connsiteY2041"/>
                    </a:cxn>
                    <a:cxn ang="0">
                      <a:pos x="connsiteX2042" y="connsiteY2042"/>
                    </a:cxn>
                    <a:cxn ang="0">
                      <a:pos x="connsiteX2043" y="connsiteY2043"/>
                    </a:cxn>
                    <a:cxn ang="0">
                      <a:pos x="connsiteX2044" y="connsiteY2044"/>
                    </a:cxn>
                    <a:cxn ang="0">
                      <a:pos x="connsiteX2045" y="connsiteY2045"/>
                    </a:cxn>
                    <a:cxn ang="0">
                      <a:pos x="connsiteX2046" y="connsiteY2046"/>
                    </a:cxn>
                    <a:cxn ang="0">
                      <a:pos x="connsiteX2047" y="connsiteY2047"/>
                    </a:cxn>
                    <a:cxn ang="0">
                      <a:pos x="connsiteX2048" y="connsiteY2048"/>
                    </a:cxn>
                    <a:cxn ang="0">
                      <a:pos x="connsiteX2049" y="connsiteY2049"/>
                    </a:cxn>
                    <a:cxn ang="0">
                      <a:pos x="connsiteX2050" y="connsiteY2050"/>
                    </a:cxn>
                    <a:cxn ang="0">
                      <a:pos x="connsiteX2051" y="connsiteY2051"/>
                    </a:cxn>
                    <a:cxn ang="0">
                      <a:pos x="connsiteX2052" y="connsiteY2052"/>
                    </a:cxn>
                    <a:cxn ang="0">
                      <a:pos x="connsiteX2053" y="connsiteY2053"/>
                    </a:cxn>
                    <a:cxn ang="0">
                      <a:pos x="connsiteX2054" y="connsiteY2054"/>
                    </a:cxn>
                    <a:cxn ang="0">
                      <a:pos x="connsiteX2055" y="connsiteY2055"/>
                    </a:cxn>
                    <a:cxn ang="0">
                      <a:pos x="connsiteX2056" y="connsiteY2056"/>
                    </a:cxn>
                    <a:cxn ang="0">
                      <a:pos x="connsiteX2057" y="connsiteY2057"/>
                    </a:cxn>
                    <a:cxn ang="0">
                      <a:pos x="connsiteX2058" y="connsiteY2058"/>
                    </a:cxn>
                    <a:cxn ang="0">
                      <a:pos x="connsiteX2059" y="connsiteY2059"/>
                    </a:cxn>
                    <a:cxn ang="0">
                      <a:pos x="connsiteX2060" y="connsiteY2060"/>
                    </a:cxn>
                    <a:cxn ang="0">
                      <a:pos x="connsiteX2061" y="connsiteY2061"/>
                    </a:cxn>
                    <a:cxn ang="0">
                      <a:pos x="connsiteX2062" y="connsiteY2062"/>
                    </a:cxn>
                    <a:cxn ang="0">
                      <a:pos x="connsiteX2063" y="connsiteY2063"/>
                    </a:cxn>
                    <a:cxn ang="0">
                      <a:pos x="connsiteX2064" y="connsiteY2064"/>
                    </a:cxn>
                    <a:cxn ang="0">
                      <a:pos x="connsiteX2065" y="connsiteY2065"/>
                    </a:cxn>
                    <a:cxn ang="0">
                      <a:pos x="connsiteX2066" y="connsiteY2066"/>
                    </a:cxn>
                    <a:cxn ang="0">
                      <a:pos x="connsiteX2067" y="connsiteY2067"/>
                    </a:cxn>
                    <a:cxn ang="0">
                      <a:pos x="connsiteX2068" y="connsiteY2068"/>
                    </a:cxn>
                    <a:cxn ang="0">
                      <a:pos x="connsiteX2069" y="connsiteY2069"/>
                    </a:cxn>
                    <a:cxn ang="0">
                      <a:pos x="connsiteX2070" y="connsiteY2070"/>
                    </a:cxn>
                    <a:cxn ang="0">
                      <a:pos x="connsiteX2071" y="connsiteY2071"/>
                    </a:cxn>
                    <a:cxn ang="0">
                      <a:pos x="connsiteX2072" y="connsiteY2072"/>
                    </a:cxn>
                    <a:cxn ang="0">
                      <a:pos x="connsiteX2073" y="connsiteY2073"/>
                    </a:cxn>
                    <a:cxn ang="0">
                      <a:pos x="connsiteX2074" y="connsiteY2074"/>
                    </a:cxn>
                    <a:cxn ang="0">
                      <a:pos x="connsiteX2075" y="connsiteY2075"/>
                    </a:cxn>
                    <a:cxn ang="0">
                      <a:pos x="connsiteX2076" y="connsiteY2076"/>
                    </a:cxn>
                    <a:cxn ang="0">
                      <a:pos x="connsiteX2077" y="connsiteY2077"/>
                    </a:cxn>
                    <a:cxn ang="0">
                      <a:pos x="connsiteX2078" y="connsiteY2078"/>
                    </a:cxn>
                    <a:cxn ang="0">
                      <a:pos x="connsiteX2079" y="connsiteY2079"/>
                    </a:cxn>
                    <a:cxn ang="0">
                      <a:pos x="connsiteX2080" y="connsiteY2080"/>
                    </a:cxn>
                    <a:cxn ang="0">
                      <a:pos x="connsiteX2081" y="connsiteY2081"/>
                    </a:cxn>
                    <a:cxn ang="0">
                      <a:pos x="connsiteX2082" y="connsiteY2082"/>
                    </a:cxn>
                    <a:cxn ang="0">
                      <a:pos x="connsiteX2083" y="connsiteY2083"/>
                    </a:cxn>
                    <a:cxn ang="0">
                      <a:pos x="connsiteX2084" y="connsiteY2084"/>
                    </a:cxn>
                    <a:cxn ang="0">
                      <a:pos x="connsiteX2085" y="connsiteY2085"/>
                    </a:cxn>
                    <a:cxn ang="0">
                      <a:pos x="connsiteX2086" y="connsiteY2086"/>
                    </a:cxn>
                    <a:cxn ang="0">
                      <a:pos x="connsiteX2087" y="connsiteY2087"/>
                    </a:cxn>
                    <a:cxn ang="0">
                      <a:pos x="connsiteX2088" y="connsiteY2088"/>
                    </a:cxn>
                    <a:cxn ang="0">
                      <a:pos x="connsiteX2089" y="connsiteY2089"/>
                    </a:cxn>
                    <a:cxn ang="0">
                      <a:pos x="connsiteX2090" y="connsiteY2090"/>
                    </a:cxn>
                    <a:cxn ang="0">
                      <a:pos x="connsiteX2091" y="connsiteY2091"/>
                    </a:cxn>
                    <a:cxn ang="0">
                      <a:pos x="connsiteX2092" y="connsiteY2092"/>
                    </a:cxn>
                    <a:cxn ang="0">
                      <a:pos x="connsiteX2093" y="connsiteY2093"/>
                    </a:cxn>
                    <a:cxn ang="0">
                      <a:pos x="connsiteX2094" y="connsiteY2094"/>
                    </a:cxn>
                    <a:cxn ang="0">
                      <a:pos x="connsiteX2095" y="connsiteY2095"/>
                    </a:cxn>
                    <a:cxn ang="0">
                      <a:pos x="connsiteX2096" y="connsiteY2096"/>
                    </a:cxn>
                    <a:cxn ang="0">
                      <a:pos x="connsiteX2097" y="connsiteY2097"/>
                    </a:cxn>
                    <a:cxn ang="0">
                      <a:pos x="connsiteX2098" y="connsiteY2098"/>
                    </a:cxn>
                    <a:cxn ang="0">
                      <a:pos x="connsiteX2099" y="connsiteY2099"/>
                    </a:cxn>
                    <a:cxn ang="0">
                      <a:pos x="connsiteX2100" y="connsiteY2100"/>
                    </a:cxn>
                    <a:cxn ang="0">
                      <a:pos x="connsiteX2101" y="connsiteY2101"/>
                    </a:cxn>
                    <a:cxn ang="0">
                      <a:pos x="connsiteX2102" y="connsiteY2102"/>
                    </a:cxn>
                    <a:cxn ang="0">
                      <a:pos x="connsiteX2103" y="connsiteY2103"/>
                    </a:cxn>
                    <a:cxn ang="0">
                      <a:pos x="connsiteX2104" y="connsiteY2104"/>
                    </a:cxn>
                    <a:cxn ang="0">
                      <a:pos x="connsiteX2105" y="connsiteY2105"/>
                    </a:cxn>
                    <a:cxn ang="0">
                      <a:pos x="connsiteX2106" y="connsiteY2106"/>
                    </a:cxn>
                    <a:cxn ang="0">
                      <a:pos x="connsiteX2107" y="connsiteY2107"/>
                    </a:cxn>
                    <a:cxn ang="0">
                      <a:pos x="connsiteX2108" y="connsiteY2108"/>
                    </a:cxn>
                    <a:cxn ang="0">
                      <a:pos x="connsiteX2109" y="connsiteY2109"/>
                    </a:cxn>
                    <a:cxn ang="0">
                      <a:pos x="connsiteX2110" y="connsiteY2110"/>
                    </a:cxn>
                    <a:cxn ang="0">
                      <a:pos x="connsiteX2111" y="connsiteY2111"/>
                    </a:cxn>
                    <a:cxn ang="0">
                      <a:pos x="connsiteX2112" y="connsiteY2112"/>
                    </a:cxn>
                    <a:cxn ang="0">
                      <a:pos x="connsiteX2113" y="connsiteY2113"/>
                    </a:cxn>
                    <a:cxn ang="0">
                      <a:pos x="connsiteX2114" y="connsiteY2114"/>
                    </a:cxn>
                    <a:cxn ang="0">
                      <a:pos x="connsiteX2115" y="connsiteY2115"/>
                    </a:cxn>
                    <a:cxn ang="0">
                      <a:pos x="connsiteX2116" y="connsiteY2116"/>
                    </a:cxn>
                    <a:cxn ang="0">
                      <a:pos x="connsiteX2117" y="connsiteY2117"/>
                    </a:cxn>
                    <a:cxn ang="0">
                      <a:pos x="connsiteX2118" y="connsiteY2118"/>
                    </a:cxn>
                    <a:cxn ang="0">
                      <a:pos x="connsiteX2119" y="connsiteY2119"/>
                    </a:cxn>
                    <a:cxn ang="0">
                      <a:pos x="connsiteX2120" y="connsiteY2120"/>
                    </a:cxn>
                    <a:cxn ang="0">
                      <a:pos x="connsiteX2121" y="connsiteY2121"/>
                    </a:cxn>
                    <a:cxn ang="0">
                      <a:pos x="connsiteX2122" y="connsiteY2122"/>
                    </a:cxn>
                    <a:cxn ang="0">
                      <a:pos x="connsiteX2123" y="connsiteY2123"/>
                    </a:cxn>
                    <a:cxn ang="0">
                      <a:pos x="connsiteX2124" y="connsiteY2124"/>
                    </a:cxn>
                    <a:cxn ang="0">
                      <a:pos x="connsiteX2125" y="connsiteY2125"/>
                    </a:cxn>
                    <a:cxn ang="0">
                      <a:pos x="connsiteX2126" y="connsiteY2126"/>
                    </a:cxn>
                    <a:cxn ang="0">
                      <a:pos x="connsiteX2127" y="connsiteY2127"/>
                    </a:cxn>
                    <a:cxn ang="0">
                      <a:pos x="connsiteX2128" y="connsiteY2128"/>
                    </a:cxn>
                    <a:cxn ang="0">
                      <a:pos x="connsiteX2129" y="connsiteY2129"/>
                    </a:cxn>
                    <a:cxn ang="0">
                      <a:pos x="connsiteX2130" y="connsiteY2130"/>
                    </a:cxn>
                    <a:cxn ang="0">
                      <a:pos x="connsiteX2131" y="connsiteY2131"/>
                    </a:cxn>
                    <a:cxn ang="0">
                      <a:pos x="connsiteX2132" y="connsiteY2132"/>
                    </a:cxn>
                    <a:cxn ang="0">
                      <a:pos x="connsiteX2133" y="connsiteY2133"/>
                    </a:cxn>
                    <a:cxn ang="0">
                      <a:pos x="connsiteX2134" y="connsiteY2134"/>
                    </a:cxn>
                    <a:cxn ang="0">
                      <a:pos x="connsiteX2135" y="connsiteY2135"/>
                    </a:cxn>
                    <a:cxn ang="0">
                      <a:pos x="connsiteX2136" y="connsiteY2136"/>
                    </a:cxn>
                    <a:cxn ang="0">
                      <a:pos x="connsiteX2137" y="connsiteY2137"/>
                    </a:cxn>
                    <a:cxn ang="0">
                      <a:pos x="connsiteX2138" y="connsiteY2138"/>
                    </a:cxn>
                    <a:cxn ang="0">
                      <a:pos x="connsiteX2139" y="connsiteY2139"/>
                    </a:cxn>
                    <a:cxn ang="0">
                      <a:pos x="connsiteX2140" y="connsiteY2140"/>
                    </a:cxn>
                    <a:cxn ang="0">
                      <a:pos x="connsiteX2141" y="connsiteY2141"/>
                    </a:cxn>
                    <a:cxn ang="0">
                      <a:pos x="connsiteX2142" y="connsiteY2142"/>
                    </a:cxn>
                    <a:cxn ang="0">
                      <a:pos x="connsiteX2143" y="connsiteY2143"/>
                    </a:cxn>
                    <a:cxn ang="0">
                      <a:pos x="connsiteX2144" y="connsiteY2144"/>
                    </a:cxn>
                    <a:cxn ang="0">
                      <a:pos x="connsiteX2145" y="connsiteY2145"/>
                    </a:cxn>
                    <a:cxn ang="0">
                      <a:pos x="connsiteX2146" y="connsiteY2146"/>
                    </a:cxn>
                    <a:cxn ang="0">
                      <a:pos x="connsiteX2147" y="connsiteY2147"/>
                    </a:cxn>
                    <a:cxn ang="0">
                      <a:pos x="connsiteX2148" y="connsiteY2148"/>
                    </a:cxn>
                    <a:cxn ang="0">
                      <a:pos x="connsiteX2149" y="connsiteY2149"/>
                    </a:cxn>
                    <a:cxn ang="0">
                      <a:pos x="connsiteX2150" y="connsiteY2150"/>
                    </a:cxn>
                    <a:cxn ang="0">
                      <a:pos x="connsiteX2151" y="connsiteY2151"/>
                    </a:cxn>
                    <a:cxn ang="0">
                      <a:pos x="connsiteX2152" y="connsiteY2152"/>
                    </a:cxn>
                    <a:cxn ang="0">
                      <a:pos x="connsiteX2153" y="connsiteY2153"/>
                    </a:cxn>
                    <a:cxn ang="0">
                      <a:pos x="connsiteX2154" y="connsiteY2154"/>
                    </a:cxn>
                    <a:cxn ang="0">
                      <a:pos x="connsiteX2155" y="connsiteY2155"/>
                    </a:cxn>
                    <a:cxn ang="0">
                      <a:pos x="connsiteX2156" y="connsiteY2156"/>
                    </a:cxn>
                    <a:cxn ang="0">
                      <a:pos x="connsiteX2157" y="connsiteY2157"/>
                    </a:cxn>
                    <a:cxn ang="0">
                      <a:pos x="connsiteX2158" y="connsiteY2158"/>
                    </a:cxn>
                    <a:cxn ang="0">
                      <a:pos x="connsiteX2159" y="connsiteY2159"/>
                    </a:cxn>
                    <a:cxn ang="0">
                      <a:pos x="connsiteX2160" y="connsiteY2160"/>
                    </a:cxn>
                    <a:cxn ang="0">
                      <a:pos x="connsiteX2161" y="connsiteY2161"/>
                    </a:cxn>
                    <a:cxn ang="0">
                      <a:pos x="connsiteX2162" y="connsiteY2162"/>
                    </a:cxn>
                    <a:cxn ang="0">
                      <a:pos x="connsiteX2163" y="connsiteY2163"/>
                    </a:cxn>
                    <a:cxn ang="0">
                      <a:pos x="connsiteX2164" y="connsiteY2164"/>
                    </a:cxn>
                    <a:cxn ang="0">
                      <a:pos x="connsiteX2165" y="connsiteY2165"/>
                    </a:cxn>
                    <a:cxn ang="0">
                      <a:pos x="connsiteX2166" y="connsiteY2166"/>
                    </a:cxn>
                    <a:cxn ang="0">
                      <a:pos x="connsiteX2167" y="connsiteY2167"/>
                    </a:cxn>
                    <a:cxn ang="0">
                      <a:pos x="connsiteX2168" y="connsiteY2168"/>
                    </a:cxn>
                    <a:cxn ang="0">
                      <a:pos x="connsiteX2169" y="connsiteY2169"/>
                    </a:cxn>
                    <a:cxn ang="0">
                      <a:pos x="connsiteX2170" y="connsiteY2170"/>
                    </a:cxn>
                    <a:cxn ang="0">
                      <a:pos x="connsiteX2171" y="connsiteY2171"/>
                    </a:cxn>
                    <a:cxn ang="0">
                      <a:pos x="connsiteX2172" y="connsiteY2172"/>
                    </a:cxn>
                    <a:cxn ang="0">
                      <a:pos x="connsiteX2173" y="connsiteY2173"/>
                    </a:cxn>
                    <a:cxn ang="0">
                      <a:pos x="connsiteX2174" y="connsiteY2174"/>
                    </a:cxn>
                    <a:cxn ang="0">
                      <a:pos x="connsiteX2175" y="connsiteY2175"/>
                    </a:cxn>
                    <a:cxn ang="0">
                      <a:pos x="connsiteX2176" y="connsiteY2176"/>
                    </a:cxn>
                    <a:cxn ang="0">
                      <a:pos x="connsiteX2177" y="connsiteY2177"/>
                    </a:cxn>
                    <a:cxn ang="0">
                      <a:pos x="connsiteX2178" y="connsiteY2178"/>
                    </a:cxn>
                    <a:cxn ang="0">
                      <a:pos x="connsiteX2179" y="connsiteY2179"/>
                    </a:cxn>
                    <a:cxn ang="0">
                      <a:pos x="connsiteX2180" y="connsiteY2180"/>
                    </a:cxn>
                    <a:cxn ang="0">
                      <a:pos x="connsiteX2181" y="connsiteY2181"/>
                    </a:cxn>
                    <a:cxn ang="0">
                      <a:pos x="connsiteX2182" y="connsiteY2182"/>
                    </a:cxn>
                    <a:cxn ang="0">
                      <a:pos x="connsiteX2183" y="connsiteY2183"/>
                    </a:cxn>
                    <a:cxn ang="0">
                      <a:pos x="connsiteX2184" y="connsiteY2184"/>
                    </a:cxn>
                    <a:cxn ang="0">
                      <a:pos x="connsiteX2185" y="connsiteY2185"/>
                    </a:cxn>
                    <a:cxn ang="0">
                      <a:pos x="connsiteX2186" y="connsiteY2186"/>
                    </a:cxn>
                    <a:cxn ang="0">
                      <a:pos x="connsiteX2187" y="connsiteY2187"/>
                    </a:cxn>
                    <a:cxn ang="0">
                      <a:pos x="connsiteX2188" y="connsiteY2188"/>
                    </a:cxn>
                    <a:cxn ang="0">
                      <a:pos x="connsiteX2189" y="connsiteY2189"/>
                    </a:cxn>
                    <a:cxn ang="0">
                      <a:pos x="connsiteX2190" y="connsiteY2190"/>
                    </a:cxn>
                    <a:cxn ang="0">
                      <a:pos x="connsiteX2191" y="connsiteY2191"/>
                    </a:cxn>
                    <a:cxn ang="0">
                      <a:pos x="connsiteX2192" y="connsiteY2192"/>
                    </a:cxn>
                    <a:cxn ang="0">
                      <a:pos x="connsiteX2193" y="connsiteY2193"/>
                    </a:cxn>
                    <a:cxn ang="0">
                      <a:pos x="connsiteX2194" y="connsiteY2194"/>
                    </a:cxn>
                    <a:cxn ang="0">
                      <a:pos x="connsiteX2195" y="connsiteY2195"/>
                    </a:cxn>
                    <a:cxn ang="0">
                      <a:pos x="connsiteX2196" y="connsiteY2196"/>
                    </a:cxn>
                    <a:cxn ang="0">
                      <a:pos x="connsiteX2197" y="connsiteY2197"/>
                    </a:cxn>
                    <a:cxn ang="0">
                      <a:pos x="connsiteX2198" y="connsiteY2198"/>
                    </a:cxn>
                    <a:cxn ang="0">
                      <a:pos x="connsiteX2199" y="connsiteY2199"/>
                    </a:cxn>
                    <a:cxn ang="0">
                      <a:pos x="connsiteX2200" y="connsiteY2200"/>
                    </a:cxn>
                    <a:cxn ang="0">
                      <a:pos x="connsiteX2201" y="connsiteY2201"/>
                    </a:cxn>
                    <a:cxn ang="0">
                      <a:pos x="connsiteX2202" y="connsiteY2202"/>
                    </a:cxn>
                    <a:cxn ang="0">
                      <a:pos x="connsiteX2203" y="connsiteY2203"/>
                    </a:cxn>
                    <a:cxn ang="0">
                      <a:pos x="connsiteX2204" y="connsiteY2204"/>
                    </a:cxn>
                    <a:cxn ang="0">
                      <a:pos x="connsiteX2205" y="connsiteY2205"/>
                    </a:cxn>
                    <a:cxn ang="0">
                      <a:pos x="connsiteX2206" y="connsiteY2206"/>
                    </a:cxn>
                    <a:cxn ang="0">
                      <a:pos x="connsiteX2207" y="connsiteY2207"/>
                    </a:cxn>
                    <a:cxn ang="0">
                      <a:pos x="connsiteX2208" y="connsiteY2208"/>
                    </a:cxn>
                    <a:cxn ang="0">
                      <a:pos x="connsiteX2209" y="connsiteY2209"/>
                    </a:cxn>
                    <a:cxn ang="0">
                      <a:pos x="connsiteX2210" y="connsiteY2210"/>
                    </a:cxn>
                    <a:cxn ang="0">
                      <a:pos x="connsiteX2211" y="connsiteY2211"/>
                    </a:cxn>
                    <a:cxn ang="0">
                      <a:pos x="connsiteX2212" y="connsiteY2212"/>
                    </a:cxn>
                    <a:cxn ang="0">
                      <a:pos x="connsiteX2213" y="connsiteY2213"/>
                    </a:cxn>
                    <a:cxn ang="0">
                      <a:pos x="connsiteX2214" y="connsiteY2214"/>
                    </a:cxn>
                    <a:cxn ang="0">
                      <a:pos x="connsiteX2215" y="connsiteY2215"/>
                    </a:cxn>
                    <a:cxn ang="0">
                      <a:pos x="connsiteX2216" y="connsiteY2216"/>
                    </a:cxn>
                    <a:cxn ang="0">
                      <a:pos x="connsiteX2217" y="connsiteY2217"/>
                    </a:cxn>
                    <a:cxn ang="0">
                      <a:pos x="connsiteX2218" y="connsiteY2218"/>
                    </a:cxn>
                    <a:cxn ang="0">
                      <a:pos x="connsiteX2219" y="connsiteY2219"/>
                    </a:cxn>
                    <a:cxn ang="0">
                      <a:pos x="connsiteX2220" y="connsiteY2220"/>
                    </a:cxn>
                    <a:cxn ang="0">
                      <a:pos x="connsiteX2221" y="connsiteY2221"/>
                    </a:cxn>
                    <a:cxn ang="0">
                      <a:pos x="connsiteX2222" y="connsiteY2222"/>
                    </a:cxn>
                    <a:cxn ang="0">
                      <a:pos x="connsiteX2223" y="connsiteY2223"/>
                    </a:cxn>
                    <a:cxn ang="0">
                      <a:pos x="connsiteX2224" y="connsiteY2224"/>
                    </a:cxn>
                    <a:cxn ang="0">
                      <a:pos x="connsiteX2225" y="connsiteY2225"/>
                    </a:cxn>
                    <a:cxn ang="0">
                      <a:pos x="connsiteX2226" y="connsiteY2226"/>
                    </a:cxn>
                    <a:cxn ang="0">
                      <a:pos x="connsiteX2227" y="connsiteY2227"/>
                    </a:cxn>
                    <a:cxn ang="0">
                      <a:pos x="connsiteX2228" y="connsiteY2228"/>
                    </a:cxn>
                    <a:cxn ang="0">
                      <a:pos x="connsiteX2229" y="connsiteY2229"/>
                    </a:cxn>
                    <a:cxn ang="0">
                      <a:pos x="connsiteX2230" y="connsiteY2230"/>
                    </a:cxn>
                    <a:cxn ang="0">
                      <a:pos x="connsiteX2231" y="connsiteY2231"/>
                    </a:cxn>
                    <a:cxn ang="0">
                      <a:pos x="connsiteX2232" y="connsiteY2232"/>
                    </a:cxn>
                  </a:cxnLst>
                  <a:rect l="l" t="t" r="r" b="b"/>
                  <a:pathLst>
                    <a:path w="80482" h="81130">
                      <a:moveTo>
                        <a:pt x="76676" y="57352"/>
                      </a:moveTo>
                      <a:cubicBezTo>
                        <a:pt x="76851" y="56943"/>
                        <a:pt x="76910" y="56532"/>
                        <a:pt x="76910" y="56123"/>
                      </a:cubicBezTo>
                      <a:cubicBezTo>
                        <a:pt x="76910" y="56064"/>
                        <a:pt x="76968" y="56005"/>
                        <a:pt x="76968" y="55947"/>
                      </a:cubicBezTo>
                      <a:cubicBezTo>
                        <a:pt x="76968" y="55888"/>
                        <a:pt x="77027" y="55830"/>
                        <a:pt x="77027" y="55771"/>
                      </a:cubicBezTo>
                      <a:cubicBezTo>
                        <a:pt x="77378" y="55478"/>
                        <a:pt x="77613" y="55127"/>
                        <a:pt x="77788" y="54775"/>
                      </a:cubicBezTo>
                      <a:cubicBezTo>
                        <a:pt x="77964" y="54366"/>
                        <a:pt x="77964" y="53956"/>
                        <a:pt x="77906" y="53546"/>
                      </a:cubicBezTo>
                      <a:cubicBezTo>
                        <a:pt x="77964" y="53429"/>
                        <a:pt x="77964" y="53311"/>
                        <a:pt x="78023" y="53194"/>
                      </a:cubicBezTo>
                      <a:cubicBezTo>
                        <a:pt x="78316" y="52901"/>
                        <a:pt x="78550" y="52550"/>
                        <a:pt x="78667" y="52140"/>
                      </a:cubicBezTo>
                      <a:cubicBezTo>
                        <a:pt x="78784" y="51730"/>
                        <a:pt x="78784" y="51320"/>
                        <a:pt x="78726" y="50910"/>
                      </a:cubicBezTo>
                      <a:cubicBezTo>
                        <a:pt x="78784" y="50793"/>
                        <a:pt x="78784" y="50676"/>
                        <a:pt x="78843" y="50500"/>
                      </a:cubicBezTo>
                      <a:cubicBezTo>
                        <a:pt x="79136" y="50207"/>
                        <a:pt x="79311" y="49797"/>
                        <a:pt x="79429" y="49387"/>
                      </a:cubicBezTo>
                      <a:cubicBezTo>
                        <a:pt x="79546" y="48977"/>
                        <a:pt x="79487" y="48567"/>
                        <a:pt x="79429" y="48157"/>
                      </a:cubicBezTo>
                      <a:cubicBezTo>
                        <a:pt x="79429" y="48040"/>
                        <a:pt x="79487" y="47865"/>
                        <a:pt x="79487" y="47747"/>
                      </a:cubicBezTo>
                      <a:cubicBezTo>
                        <a:pt x="79721" y="47396"/>
                        <a:pt x="79897" y="47045"/>
                        <a:pt x="79956" y="46635"/>
                      </a:cubicBezTo>
                      <a:cubicBezTo>
                        <a:pt x="80014" y="46225"/>
                        <a:pt x="79956" y="45815"/>
                        <a:pt x="79839" y="45405"/>
                      </a:cubicBezTo>
                      <a:cubicBezTo>
                        <a:pt x="79839" y="45288"/>
                        <a:pt x="79897" y="45112"/>
                        <a:pt x="79897" y="44995"/>
                      </a:cubicBezTo>
                      <a:cubicBezTo>
                        <a:pt x="80131" y="44643"/>
                        <a:pt x="80249" y="44233"/>
                        <a:pt x="80307" y="43824"/>
                      </a:cubicBezTo>
                      <a:cubicBezTo>
                        <a:pt x="80366" y="43414"/>
                        <a:pt x="80249" y="43004"/>
                        <a:pt x="80131" y="42652"/>
                      </a:cubicBezTo>
                      <a:cubicBezTo>
                        <a:pt x="80131" y="42476"/>
                        <a:pt x="80131" y="42359"/>
                        <a:pt x="80131" y="42184"/>
                      </a:cubicBezTo>
                      <a:cubicBezTo>
                        <a:pt x="80307" y="41832"/>
                        <a:pt x="80424" y="41422"/>
                        <a:pt x="80483" y="41012"/>
                      </a:cubicBezTo>
                      <a:cubicBezTo>
                        <a:pt x="80483" y="40602"/>
                        <a:pt x="80366" y="40192"/>
                        <a:pt x="80190" y="39841"/>
                      </a:cubicBezTo>
                      <a:cubicBezTo>
                        <a:pt x="80190" y="39665"/>
                        <a:pt x="80190" y="39548"/>
                        <a:pt x="80190" y="39372"/>
                      </a:cubicBezTo>
                      <a:cubicBezTo>
                        <a:pt x="80366" y="39021"/>
                        <a:pt x="80424" y="38611"/>
                        <a:pt x="80424" y="38201"/>
                      </a:cubicBezTo>
                      <a:cubicBezTo>
                        <a:pt x="80424" y="37791"/>
                        <a:pt x="80249" y="37381"/>
                        <a:pt x="80073" y="37030"/>
                      </a:cubicBezTo>
                      <a:cubicBezTo>
                        <a:pt x="80073" y="36913"/>
                        <a:pt x="80073" y="36737"/>
                        <a:pt x="80014" y="36620"/>
                      </a:cubicBezTo>
                      <a:cubicBezTo>
                        <a:pt x="80190" y="36210"/>
                        <a:pt x="80249" y="35800"/>
                        <a:pt x="80190" y="35390"/>
                      </a:cubicBezTo>
                      <a:cubicBezTo>
                        <a:pt x="80131" y="34980"/>
                        <a:pt x="79956" y="34570"/>
                        <a:pt x="79780" y="34219"/>
                      </a:cubicBezTo>
                      <a:cubicBezTo>
                        <a:pt x="79780" y="34101"/>
                        <a:pt x="79721" y="33926"/>
                        <a:pt x="79721" y="33809"/>
                      </a:cubicBezTo>
                      <a:cubicBezTo>
                        <a:pt x="79839" y="33399"/>
                        <a:pt x="79897" y="32989"/>
                        <a:pt x="79780" y="32579"/>
                      </a:cubicBezTo>
                      <a:cubicBezTo>
                        <a:pt x="79721" y="32169"/>
                        <a:pt x="79546" y="31817"/>
                        <a:pt x="79253" y="31466"/>
                      </a:cubicBezTo>
                      <a:cubicBezTo>
                        <a:pt x="79194" y="31349"/>
                        <a:pt x="79194" y="31173"/>
                        <a:pt x="79136" y="31056"/>
                      </a:cubicBezTo>
                      <a:cubicBezTo>
                        <a:pt x="79253" y="30646"/>
                        <a:pt x="79253" y="30236"/>
                        <a:pt x="79136" y="29826"/>
                      </a:cubicBezTo>
                      <a:cubicBezTo>
                        <a:pt x="79019" y="29416"/>
                        <a:pt x="78843" y="29065"/>
                        <a:pt x="78550" y="28772"/>
                      </a:cubicBezTo>
                      <a:cubicBezTo>
                        <a:pt x="78491" y="28655"/>
                        <a:pt x="78491" y="28479"/>
                        <a:pt x="78433" y="28362"/>
                      </a:cubicBezTo>
                      <a:cubicBezTo>
                        <a:pt x="78491" y="27952"/>
                        <a:pt x="78491" y="27542"/>
                        <a:pt x="78316" y="27132"/>
                      </a:cubicBezTo>
                      <a:cubicBezTo>
                        <a:pt x="78198" y="26722"/>
                        <a:pt x="77964" y="26371"/>
                        <a:pt x="77671" y="26136"/>
                      </a:cubicBezTo>
                      <a:cubicBezTo>
                        <a:pt x="77613" y="26019"/>
                        <a:pt x="77554" y="25844"/>
                        <a:pt x="77496" y="25726"/>
                      </a:cubicBezTo>
                      <a:cubicBezTo>
                        <a:pt x="77554" y="25316"/>
                        <a:pt x="77496" y="24906"/>
                        <a:pt x="77320" y="24497"/>
                      </a:cubicBezTo>
                      <a:cubicBezTo>
                        <a:pt x="77144" y="24087"/>
                        <a:pt x="76910" y="23794"/>
                        <a:pt x="76558" y="23501"/>
                      </a:cubicBezTo>
                      <a:cubicBezTo>
                        <a:pt x="76500" y="23384"/>
                        <a:pt x="76441" y="23267"/>
                        <a:pt x="76383" y="23091"/>
                      </a:cubicBezTo>
                      <a:cubicBezTo>
                        <a:pt x="76383" y="22681"/>
                        <a:pt x="76324" y="22271"/>
                        <a:pt x="76090" y="21920"/>
                      </a:cubicBezTo>
                      <a:cubicBezTo>
                        <a:pt x="75914" y="21568"/>
                        <a:pt x="75621" y="21275"/>
                        <a:pt x="75328" y="20982"/>
                      </a:cubicBezTo>
                      <a:cubicBezTo>
                        <a:pt x="75270" y="20865"/>
                        <a:pt x="75211" y="20690"/>
                        <a:pt x="75094" y="20573"/>
                      </a:cubicBezTo>
                      <a:cubicBezTo>
                        <a:pt x="75094" y="20163"/>
                        <a:pt x="74977" y="19753"/>
                        <a:pt x="74742" y="19401"/>
                      </a:cubicBezTo>
                      <a:cubicBezTo>
                        <a:pt x="74508" y="19050"/>
                        <a:pt x="74215" y="18757"/>
                        <a:pt x="73922" y="18581"/>
                      </a:cubicBezTo>
                      <a:cubicBezTo>
                        <a:pt x="73864" y="18464"/>
                        <a:pt x="73747" y="18288"/>
                        <a:pt x="73688" y="18171"/>
                      </a:cubicBezTo>
                      <a:cubicBezTo>
                        <a:pt x="73630" y="17761"/>
                        <a:pt x="73512" y="17410"/>
                        <a:pt x="73278" y="17059"/>
                      </a:cubicBezTo>
                      <a:cubicBezTo>
                        <a:pt x="73044" y="16707"/>
                        <a:pt x="72751" y="16473"/>
                        <a:pt x="72399" y="16239"/>
                      </a:cubicBezTo>
                      <a:cubicBezTo>
                        <a:pt x="72282" y="16121"/>
                        <a:pt x="72224" y="16004"/>
                        <a:pt x="72107" y="15887"/>
                      </a:cubicBezTo>
                      <a:cubicBezTo>
                        <a:pt x="72048" y="15477"/>
                        <a:pt x="71872" y="15126"/>
                        <a:pt x="71579" y="14774"/>
                      </a:cubicBezTo>
                      <a:cubicBezTo>
                        <a:pt x="71345" y="14482"/>
                        <a:pt x="70994" y="14189"/>
                        <a:pt x="70642" y="14072"/>
                      </a:cubicBezTo>
                      <a:cubicBezTo>
                        <a:pt x="70525" y="13954"/>
                        <a:pt x="70408" y="13837"/>
                        <a:pt x="70349" y="13720"/>
                      </a:cubicBezTo>
                      <a:cubicBezTo>
                        <a:pt x="70232" y="13310"/>
                        <a:pt x="70056" y="12959"/>
                        <a:pt x="69764" y="12666"/>
                      </a:cubicBezTo>
                      <a:cubicBezTo>
                        <a:pt x="69529" y="12432"/>
                        <a:pt x="69236" y="12197"/>
                        <a:pt x="68885" y="12080"/>
                      </a:cubicBezTo>
                      <a:cubicBezTo>
                        <a:pt x="68826" y="12080"/>
                        <a:pt x="68826" y="12022"/>
                        <a:pt x="68768" y="12022"/>
                      </a:cubicBezTo>
                      <a:cubicBezTo>
                        <a:pt x="68651" y="11905"/>
                        <a:pt x="68533" y="11788"/>
                        <a:pt x="68416" y="11670"/>
                      </a:cubicBezTo>
                      <a:cubicBezTo>
                        <a:pt x="68299" y="11319"/>
                        <a:pt x="68065" y="10968"/>
                        <a:pt x="67772" y="10675"/>
                      </a:cubicBezTo>
                      <a:cubicBezTo>
                        <a:pt x="67538" y="10499"/>
                        <a:pt x="67303" y="10323"/>
                        <a:pt x="67011" y="10206"/>
                      </a:cubicBezTo>
                      <a:cubicBezTo>
                        <a:pt x="66893" y="10148"/>
                        <a:pt x="66835" y="10148"/>
                        <a:pt x="66718" y="10089"/>
                      </a:cubicBezTo>
                      <a:cubicBezTo>
                        <a:pt x="66601" y="9972"/>
                        <a:pt x="66483" y="9855"/>
                        <a:pt x="66366" y="9738"/>
                      </a:cubicBezTo>
                      <a:cubicBezTo>
                        <a:pt x="66190" y="9386"/>
                        <a:pt x="65956" y="9035"/>
                        <a:pt x="65663" y="8801"/>
                      </a:cubicBezTo>
                      <a:cubicBezTo>
                        <a:pt x="65488" y="8625"/>
                        <a:pt x="65253" y="8508"/>
                        <a:pt x="65078" y="8449"/>
                      </a:cubicBezTo>
                      <a:cubicBezTo>
                        <a:pt x="64902" y="8391"/>
                        <a:pt x="64785" y="8332"/>
                        <a:pt x="64609" y="8332"/>
                      </a:cubicBezTo>
                      <a:cubicBezTo>
                        <a:pt x="64492" y="8215"/>
                        <a:pt x="64316" y="8156"/>
                        <a:pt x="64199" y="8039"/>
                      </a:cubicBezTo>
                      <a:cubicBezTo>
                        <a:pt x="64023" y="7688"/>
                        <a:pt x="63730" y="7395"/>
                        <a:pt x="63437" y="7161"/>
                      </a:cubicBezTo>
                      <a:cubicBezTo>
                        <a:pt x="63320" y="7044"/>
                        <a:pt x="63145" y="6985"/>
                        <a:pt x="62969" y="6926"/>
                      </a:cubicBezTo>
                      <a:cubicBezTo>
                        <a:pt x="62734" y="6809"/>
                        <a:pt x="62559" y="6751"/>
                        <a:pt x="62324" y="6751"/>
                      </a:cubicBezTo>
                      <a:cubicBezTo>
                        <a:pt x="62207" y="6634"/>
                        <a:pt x="62032" y="6575"/>
                        <a:pt x="61914" y="6517"/>
                      </a:cubicBezTo>
                      <a:cubicBezTo>
                        <a:pt x="61680" y="6165"/>
                        <a:pt x="61446" y="5872"/>
                        <a:pt x="61094" y="5697"/>
                      </a:cubicBezTo>
                      <a:cubicBezTo>
                        <a:pt x="60743" y="5462"/>
                        <a:pt x="60333" y="5345"/>
                        <a:pt x="59981" y="5345"/>
                      </a:cubicBezTo>
                      <a:cubicBezTo>
                        <a:pt x="59864" y="5287"/>
                        <a:pt x="59689" y="5169"/>
                        <a:pt x="59571" y="5111"/>
                      </a:cubicBezTo>
                      <a:cubicBezTo>
                        <a:pt x="59337" y="4818"/>
                        <a:pt x="59044" y="4525"/>
                        <a:pt x="58693" y="4350"/>
                      </a:cubicBezTo>
                      <a:cubicBezTo>
                        <a:pt x="58341" y="4174"/>
                        <a:pt x="57931" y="4057"/>
                        <a:pt x="57521" y="4057"/>
                      </a:cubicBezTo>
                      <a:cubicBezTo>
                        <a:pt x="57346" y="3998"/>
                        <a:pt x="57228" y="3940"/>
                        <a:pt x="57111" y="3822"/>
                      </a:cubicBezTo>
                      <a:cubicBezTo>
                        <a:pt x="56877" y="3530"/>
                        <a:pt x="56525" y="3237"/>
                        <a:pt x="56174" y="3120"/>
                      </a:cubicBezTo>
                      <a:cubicBezTo>
                        <a:pt x="55764" y="2944"/>
                        <a:pt x="55413" y="2885"/>
                        <a:pt x="55003" y="2944"/>
                      </a:cubicBezTo>
                      <a:cubicBezTo>
                        <a:pt x="54827" y="2885"/>
                        <a:pt x="54710" y="2827"/>
                        <a:pt x="54534" y="2768"/>
                      </a:cubicBezTo>
                      <a:cubicBezTo>
                        <a:pt x="54300" y="2534"/>
                        <a:pt x="54007" y="2300"/>
                        <a:pt x="53714" y="2183"/>
                      </a:cubicBezTo>
                      <a:cubicBezTo>
                        <a:pt x="53655" y="2183"/>
                        <a:pt x="53597" y="2124"/>
                        <a:pt x="53538" y="2124"/>
                      </a:cubicBezTo>
                      <a:cubicBezTo>
                        <a:pt x="53128" y="2007"/>
                        <a:pt x="52777" y="1948"/>
                        <a:pt x="52367" y="2007"/>
                      </a:cubicBezTo>
                      <a:cubicBezTo>
                        <a:pt x="52191" y="1948"/>
                        <a:pt x="52074" y="1890"/>
                        <a:pt x="51898" y="1890"/>
                      </a:cubicBezTo>
                      <a:cubicBezTo>
                        <a:pt x="51664" y="1714"/>
                        <a:pt x="51429" y="1538"/>
                        <a:pt x="51195" y="1421"/>
                      </a:cubicBezTo>
                      <a:cubicBezTo>
                        <a:pt x="51078" y="1363"/>
                        <a:pt x="50961" y="1304"/>
                        <a:pt x="50844" y="1304"/>
                      </a:cubicBezTo>
                      <a:cubicBezTo>
                        <a:pt x="50434" y="1187"/>
                        <a:pt x="50024" y="1187"/>
                        <a:pt x="49672" y="1304"/>
                      </a:cubicBezTo>
                      <a:cubicBezTo>
                        <a:pt x="49496" y="1246"/>
                        <a:pt x="49379" y="1246"/>
                        <a:pt x="49204" y="1187"/>
                      </a:cubicBezTo>
                      <a:cubicBezTo>
                        <a:pt x="49028" y="1070"/>
                        <a:pt x="48852" y="953"/>
                        <a:pt x="48618" y="836"/>
                      </a:cubicBezTo>
                      <a:cubicBezTo>
                        <a:pt x="48442" y="777"/>
                        <a:pt x="48266" y="718"/>
                        <a:pt x="48091" y="660"/>
                      </a:cubicBezTo>
                      <a:cubicBezTo>
                        <a:pt x="47681" y="601"/>
                        <a:pt x="47271" y="601"/>
                        <a:pt x="46919" y="718"/>
                      </a:cubicBezTo>
                      <a:cubicBezTo>
                        <a:pt x="46743" y="718"/>
                        <a:pt x="46568" y="660"/>
                        <a:pt x="46451" y="660"/>
                      </a:cubicBezTo>
                      <a:cubicBezTo>
                        <a:pt x="46333" y="543"/>
                        <a:pt x="46158" y="484"/>
                        <a:pt x="46040" y="426"/>
                      </a:cubicBezTo>
                      <a:cubicBezTo>
                        <a:pt x="45806" y="308"/>
                        <a:pt x="45572" y="250"/>
                        <a:pt x="45338" y="250"/>
                      </a:cubicBezTo>
                      <a:cubicBezTo>
                        <a:pt x="44928" y="191"/>
                        <a:pt x="44517" y="250"/>
                        <a:pt x="44166" y="367"/>
                      </a:cubicBezTo>
                      <a:cubicBezTo>
                        <a:pt x="43990" y="367"/>
                        <a:pt x="43815" y="308"/>
                        <a:pt x="43697" y="308"/>
                      </a:cubicBezTo>
                      <a:cubicBezTo>
                        <a:pt x="43639" y="250"/>
                        <a:pt x="43522" y="191"/>
                        <a:pt x="43405" y="191"/>
                      </a:cubicBezTo>
                      <a:cubicBezTo>
                        <a:pt x="43112" y="74"/>
                        <a:pt x="42819" y="16"/>
                        <a:pt x="42526" y="16"/>
                      </a:cubicBezTo>
                      <a:cubicBezTo>
                        <a:pt x="42116" y="16"/>
                        <a:pt x="41706" y="74"/>
                        <a:pt x="41354" y="250"/>
                      </a:cubicBezTo>
                      <a:cubicBezTo>
                        <a:pt x="41179" y="250"/>
                        <a:pt x="41003" y="250"/>
                        <a:pt x="40886" y="250"/>
                      </a:cubicBezTo>
                      <a:cubicBezTo>
                        <a:pt x="40827" y="250"/>
                        <a:pt x="40827" y="191"/>
                        <a:pt x="40769" y="191"/>
                      </a:cubicBezTo>
                      <a:cubicBezTo>
                        <a:pt x="40417" y="74"/>
                        <a:pt x="40066" y="-43"/>
                        <a:pt x="39714" y="16"/>
                      </a:cubicBezTo>
                      <a:cubicBezTo>
                        <a:pt x="39304" y="16"/>
                        <a:pt x="38953" y="133"/>
                        <a:pt x="38601" y="308"/>
                      </a:cubicBezTo>
                      <a:cubicBezTo>
                        <a:pt x="38426" y="308"/>
                        <a:pt x="38250" y="308"/>
                        <a:pt x="38074" y="308"/>
                      </a:cubicBezTo>
                      <a:cubicBezTo>
                        <a:pt x="37664" y="133"/>
                        <a:pt x="37254" y="74"/>
                        <a:pt x="36903" y="133"/>
                      </a:cubicBezTo>
                      <a:cubicBezTo>
                        <a:pt x="36493" y="191"/>
                        <a:pt x="36141" y="308"/>
                        <a:pt x="35790" y="543"/>
                      </a:cubicBezTo>
                      <a:cubicBezTo>
                        <a:pt x="35614" y="543"/>
                        <a:pt x="35497" y="601"/>
                        <a:pt x="35321" y="601"/>
                      </a:cubicBezTo>
                      <a:cubicBezTo>
                        <a:pt x="34911" y="484"/>
                        <a:pt x="34501" y="426"/>
                        <a:pt x="34091" y="484"/>
                      </a:cubicBezTo>
                      <a:cubicBezTo>
                        <a:pt x="33681" y="543"/>
                        <a:pt x="33330" y="718"/>
                        <a:pt x="32978" y="953"/>
                      </a:cubicBezTo>
                      <a:cubicBezTo>
                        <a:pt x="32802" y="1011"/>
                        <a:pt x="32685" y="1011"/>
                        <a:pt x="32509" y="1070"/>
                      </a:cubicBezTo>
                      <a:cubicBezTo>
                        <a:pt x="32099" y="953"/>
                        <a:pt x="31689" y="953"/>
                        <a:pt x="31338" y="1070"/>
                      </a:cubicBezTo>
                      <a:cubicBezTo>
                        <a:pt x="30928" y="1187"/>
                        <a:pt x="30577" y="1363"/>
                        <a:pt x="30284" y="1597"/>
                      </a:cubicBezTo>
                      <a:cubicBezTo>
                        <a:pt x="30108" y="1655"/>
                        <a:pt x="29991" y="1655"/>
                        <a:pt x="29815" y="1714"/>
                      </a:cubicBezTo>
                      <a:cubicBezTo>
                        <a:pt x="29405" y="1655"/>
                        <a:pt x="28995" y="1655"/>
                        <a:pt x="28643" y="1773"/>
                      </a:cubicBezTo>
                      <a:cubicBezTo>
                        <a:pt x="28233" y="1890"/>
                        <a:pt x="27882" y="2124"/>
                        <a:pt x="27589" y="2417"/>
                      </a:cubicBezTo>
                      <a:cubicBezTo>
                        <a:pt x="27472" y="2475"/>
                        <a:pt x="27296" y="2534"/>
                        <a:pt x="27179" y="2534"/>
                      </a:cubicBezTo>
                      <a:cubicBezTo>
                        <a:pt x="26769" y="2475"/>
                        <a:pt x="26359" y="2534"/>
                        <a:pt x="25949" y="2710"/>
                      </a:cubicBezTo>
                      <a:cubicBezTo>
                        <a:pt x="25539" y="2885"/>
                        <a:pt x="25246" y="3120"/>
                        <a:pt x="24953" y="3412"/>
                      </a:cubicBezTo>
                      <a:cubicBezTo>
                        <a:pt x="24836" y="3471"/>
                        <a:pt x="24660" y="3530"/>
                        <a:pt x="24543" y="3588"/>
                      </a:cubicBezTo>
                      <a:cubicBezTo>
                        <a:pt x="24133" y="3588"/>
                        <a:pt x="23723" y="3647"/>
                        <a:pt x="23372" y="3822"/>
                      </a:cubicBezTo>
                      <a:cubicBezTo>
                        <a:pt x="22962" y="3998"/>
                        <a:pt x="22669" y="4291"/>
                        <a:pt x="22434" y="4584"/>
                      </a:cubicBezTo>
                      <a:cubicBezTo>
                        <a:pt x="22317" y="4642"/>
                        <a:pt x="22200" y="4701"/>
                        <a:pt x="22083" y="4760"/>
                      </a:cubicBezTo>
                      <a:cubicBezTo>
                        <a:pt x="21673" y="4760"/>
                        <a:pt x="21263" y="4877"/>
                        <a:pt x="20912" y="5052"/>
                      </a:cubicBezTo>
                      <a:cubicBezTo>
                        <a:pt x="20560" y="5287"/>
                        <a:pt x="20267" y="5579"/>
                        <a:pt x="20033" y="5872"/>
                      </a:cubicBezTo>
                      <a:cubicBezTo>
                        <a:pt x="19916" y="5931"/>
                        <a:pt x="19799" y="6048"/>
                        <a:pt x="19681" y="6107"/>
                      </a:cubicBezTo>
                      <a:cubicBezTo>
                        <a:pt x="19271" y="6165"/>
                        <a:pt x="18861" y="6282"/>
                        <a:pt x="18510" y="6517"/>
                      </a:cubicBezTo>
                      <a:cubicBezTo>
                        <a:pt x="18158" y="6751"/>
                        <a:pt x="17866" y="7044"/>
                        <a:pt x="17690" y="7395"/>
                      </a:cubicBezTo>
                      <a:cubicBezTo>
                        <a:pt x="17573" y="7454"/>
                        <a:pt x="17456" y="7571"/>
                        <a:pt x="17338" y="7629"/>
                      </a:cubicBezTo>
                      <a:cubicBezTo>
                        <a:pt x="16928" y="7688"/>
                        <a:pt x="16518" y="7864"/>
                        <a:pt x="16225" y="8098"/>
                      </a:cubicBezTo>
                      <a:cubicBezTo>
                        <a:pt x="15874" y="8332"/>
                        <a:pt x="15640" y="8683"/>
                        <a:pt x="15464" y="9035"/>
                      </a:cubicBezTo>
                      <a:cubicBezTo>
                        <a:pt x="15347" y="9093"/>
                        <a:pt x="15230" y="9211"/>
                        <a:pt x="15113" y="9328"/>
                      </a:cubicBezTo>
                      <a:cubicBezTo>
                        <a:pt x="14702" y="9445"/>
                        <a:pt x="14351" y="9621"/>
                        <a:pt x="14000" y="9913"/>
                      </a:cubicBezTo>
                      <a:cubicBezTo>
                        <a:pt x="13707" y="10206"/>
                        <a:pt x="13472" y="10558"/>
                        <a:pt x="13297" y="10909"/>
                      </a:cubicBezTo>
                      <a:cubicBezTo>
                        <a:pt x="13180" y="11026"/>
                        <a:pt x="13062" y="11085"/>
                        <a:pt x="12945" y="11202"/>
                      </a:cubicBezTo>
                      <a:cubicBezTo>
                        <a:pt x="12535" y="11319"/>
                        <a:pt x="12184" y="11553"/>
                        <a:pt x="11891" y="11846"/>
                      </a:cubicBezTo>
                      <a:cubicBezTo>
                        <a:pt x="11598" y="12139"/>
                        <a:pt x="11364" y="12490"/>
                        <a:pt x="11247" y="12900"/>
                      </a:cubicBezTo>
                      <a:cubicBezTo>
                        <a:pt x="11129" y="13017"/>
                        <a:pt x="11071" y="13135"/>
                        <a:pt x="10954" y="13252"/>
                      </a:cubicBezTo>
                      <a:cubicBezTo>
                        <a:pt x="10602" y="13369"/>
                        <a:pt x="10251" y="13603"/>
                        <a:pt x="9958" y="13954"/>
                      </a:cubicBezTo>
                      <a:cubicBezTo>
                        <a:pt x="9665" y="14247"/>
                        <a:pt x="9489" y="14657"/>
                        <a:pt x="9372" y="15067"/>
                      </a:cubicBezTo>
                      <a:cubicBezTo>
                        <a:pt x="9255" y="15184"/>
                        <a:pt x="9196" y="15302"/>
                        <a:pt x="9079" y="15419"/>
                      </a:cubicBezTo>
                      <a:cubicBezTo>
                        <a:pt x="8728" y="15594"/>
                        <a:pt x="8376" y="15829"/>
                        <a:pt x="8142" y="16180"/>
                      </a:cubicBezTo>
                      <a:cubicBezTo>
                        <a:pt x="7908" y="16531"/>
                        <a:pt x="7732" y="16883"/>
                        <a:pt x="7673" y="17293"/>
                      </a:cubicBezTo>
                      <a:cubicBezTo>
                        <a:pt x="7615" y="17410"/>
                        <a:pt x="7498" y="17527"/>
                        <a:pt x="7439" y="17644"/>
                      </a:cubicBezTo>
                      <a:cubicBezTo>
                        <a:pt x="7088" y="17820"/>
                        <a:pt x="6795" y="18113"/>
                        <a:pt x="6561" y="18464"/>
                      </a:cubicBezTo>
                      <a:cubicBezTo>
                        <a:pt x="6326" y="18816"/>
                        <a:pt x="6209" y="19225"/>
                        <a:pt x="6150" y="19635"/>
                      </a:cubicBezTo>
                      <a:cubicBezTo>
                        <a:pt x="6092" y="19753"/>
                        <a:pt x="6033" y="19870"/>
                        <a:pt x="5916" y="19987"/>
                      </a:cubicBezTo>
                      <a:cubicBezTo>
                        <a:pt x="5565" y="20221"/>
                        <a:pt x="5272" y="20514"/>
                        <a:pt x="5037" y="20924"/>
                      </a:cubicBezTo>
                      <a:cubicBezTo>
                        <a:pt x="4862" y="21275"/>
                        <a:pt x="4745" y="21685"/>
                        <a:pt x="4745" y="22154"/>
                      </a:cubicBezTo>
                      <a:cubicBezTo>
                        <a:pt x="4686" y="22271"/>
                        <a:pt x="4627" y="22388"/>
                        <a:pt x="4569" y="22505"/>
                      </a:cubicBezTo>
                      <a:cubicBezTo>
                        <a:pt x="4217" y="22740"/>
                        <a:pt x="3925" y="23091"/>
                        <a:pt x="3749" y="23501"/>
                      </a:cubicBezTo>
                      <a:cubicBezTo>
                        <a:pt x="3573" y="23911"/>
                        <a:pt x="3515" y="24321"/>
                        <a:pt x="3515" y="24731"/>
                      </a:cubicBezTo>
                      <a:cubicBezTo>
                        <a:pt x="3515" y="24789"/>
                        <a:pt x="3456" y="24848"/>
                        <a:pt x="3456" y="24906"/>
                      </a:cubicBezTo>
                      <a:cubicBezTo>
                        <a:pt x="3456" y="24965"/>
                        <a:pt x="3397" y="25024"/>
                        <a:pt x="3397" y="25082"/>
                      </a:cubicBezTo>
                      <a:cubicBezTo>
                        <a:pt x="3046" y="25375"/>
                        <a:pt x="2812" y="25726"/>
                        <a:pt x="2694" y="26078"/>
                      </a:cubicBezTo>
                      <a:cubicBezTo>
                        <a:pt x="2519" y="26488"/>
                        <a:pt x="2519" y="26898"/>
                        <a:pt x="2577" y="27308"/>
                      </a:cubicBezTo>
                      <a:cubicBezTo>
                        <a:pt x="2519" y="27425"/>
                        <a:pt x="2460" y="27542"/>
                        <a:pt x="2460" y="27659"/>
                      </a:cubicBezTo>
                      <a:cubicBezTo>
                        <a:pt x="2167" y="27952"/>
                        <a:pt x="1933" y="28303"/>
                        <a:pt x="1816" y="28713"/>
                      </a:cubicBezTo>
                      <a:cubicBezTo>
                        <a:pt x="1699" y="29123"/>
                        <a:pt x="1699" y="29533"/>
                        <a:pt x="1757" y="29943"/>
                      </a:cubicBezTo>
                      <a:cubicBezTo>
                        <a:pt x="1699" y="30060"/>
                        <a:pt x="1699" y="30177"/>
                        <a:pt x="1640" y="30295"/>
                      </a:cubicBezTo>
                      <a:cubicBezTo>
                        <a:pt x="1347" y="30587"/>
                        <a:pt x="1172" y="30997"/>
                        <a:pt x="1054" y="31407"/>
                      </a:cubicBezTo>
                      <a:cubicBezTo>
                        <a:pt x="937" y="31817"/>
                        <a:pt x="996" y="32227"/>
                        <a:pt x="1054" y="32637"/>
                      </a:cubicBezTo>
                      <a:cubicBezTo>
                        <a:pt x="1054" y="32754"/>
                        <a:pt x="996" y="32930"/>
                        <a:pt x="996" y="33047"/>
                      </a:cubicBezTo>
                      <a:cubicBezTo>
                        <a:pt x="762" y="33399"/>
                        <a:pt x="586" y="33750"/>
                        <a:pt x="527" y="34160"/>
                      </a:cubicBezTo>
                      <a:cubicBezTo>
                        <a:pt x="469" y="34570"/>
                        <a:pt x="527" y="34980"/>
                        <a:pt x="644" y="35390"/>
                      </a:cubicBezTo>
                      <a:cubicBezTo>
                        <a:pt x="644" y="35566"/>
                        <a:pt x="586" y="35683"/>
                        <a:pt x="586" y="35800"/>
                      </a:cubicBezTo>
                      <a:cubicBezTo>
                        <a:pt x="351" y="36151"/>
                        <a:pt x="234" y="36561"/>
                        <a:pt x="176" y="36971"/>
                      </a:cubicBezTo>
                      <a:cubicBezTo>
                        <a:pt x="117" y="37381"/>
                        <a:pt x="234" y="37791"/>
                        <a:pt x="351" y="38201"/>
                      </a:cubicBezTo>
                      <a:cubicBezTo>
                        <a:pt x="351" y="38377"/>
                        <a:pt x="351" y="38494"/>
                        <a:pt x="351" y="38670"/>
                      </a:cubicBezTo>
                      <a:cubicBezTo>
                        <a:pt x="176" y="39021"/>
                        <a:pt x="59" y="39431"/>
                        <a:pt x="0" y="39841"/>
                      </a:cubicBezTo>
                      <a:cubicBezTo>
                        <a:pt x="0" y="40251"/>
                        <a:pt x="117" y="40661"/>
                        <a:pt x="293" y="41012"/>
                      </a:cubicBezTo>
                      <a:cubicBezTo>
                        <a:pt x="293" y="41129"/>
                        <a:pt x="293" y="41305"/>
                        <a:pt x="293" y="41481"/>
                      </a:cubicBezTo>
                      <a:cubicBezTo>
                        <a:pt x="117" y="41832"/>
                        <a:pt x="59" y="42242"/>
                        <a:pt x="59" y="42652"/>
                      </a:cubicBezTo>
                      <a:cubicBezTo>
                        <a:pt x="59" y="43062"/>
                        <a:pt x="234" y="43472"/>
                        <a:pt x="410" y="43824"/>
                      </a:cubicBezTo>
                      <a:cubicBezTo>
                        <a:pt x="410" y="43941"/>
                        <a:pt x="410" y="44116"/>
                        <a:pt x="469" y="44233"/>
                      </a:cubicBezTo>
                      <a:cubicBezTo>
                        <a:pt x="293" y="44643"/>
                        <a:pt x="234" y="45053"/>
                        <a:pt x="293" y="45463"/>
                      </a:cubicBezTo>
                      <a:cubicBezTo>
                        <a:pt x="351" y="45873"/>
                        <a:pt x="527" y="46283"/>
                        <a:pt x="703" y="46635"/>
                      </a:cubicBezTo>
                      <a:cubicBezTo>
                        <a:pt x="703" y="46752"/>
                        <a:pt x="762" y="46928"/>
                        <a:pt x="762" y="47045"/>
                      </a:cubicBezTo>
                      <a:cubicBezTo>
                        <a:pt x="644" y="47455"/>
                        <a:pt x="586" y="47865"/>
                        <a:pt x="703" y="48275"/>
                      </a:cubicBezTo>
                      <a:cubicBezTo>
                        <a:pt x="762" y="48685"/>
                        <a:pt x="937" y="49036"/>
                        <a:pt x="1230" y="49387"/>
                      </a:cubicBezTo>
                      <a:cubicBezTo>
                        <a:pt x="1289" y="49504"/>
                        <a:pt x="1289" y="49680"/>
                        <a:pt x="1347" y="49797"/>
                      </a:cubicBezTo>
                      <a:cubicBezTo>
                        <a:pt x="1230" y="50207"/>
                        <a:pt x="1230" y="50617"/>
                        <a:pt x="1347" y="51027"/>
                      </a:cubicBezTo>
                      <a:cubicBezTo>
                        <a:pt x="1464" y="51437"/>
                        <a:pt x="1640" y="51789"/>
                        <a:pt x="1933" y="52140"/>
                      </a:cubicBezTo>
                      <a:cubicBezTo>
                        <a:pt x="1992" y="52257"/>
                        <a:pt x="1992" y="52374"/>
                        <a:pt x="2050" y="52550"/>
                      </a:cubicBezTo>
                      <a:cubicBezTo>
                        <a:pt x="1992" y="52960"/>
                        <a:pt x="1992" y="53370"/>
                        <a:pt x="2167" y="53780"/>
                      </a:cubicBezTo>
                      <a:cubicBezTo>
                        <a:pt x="2284" y="54190"/>
                        <a:pt x="2519" y="54541"/>
                        <a:pt x="2812" y="54834"/>
                      </a:cubicBezTo>
                      <a:cubicBezTo>
                        <a:pt x="2870" y="54951"/>
                        <a:pt x="2929" y="55127"/>
                        <a:pt x="2987" y="55244"/>
                      </a:cubicBezTo>
                      <a:cubicBezTo>
                        <a:pt x="2929" y="55654"/>
                        <a:pt x="2987" y="56064"/>
                        <a:pt x="3163" y="56474"/>
                      </a:cubicBezTo>
                      <a:cubicBezTo>
                        <a:pt x="3339" y="56884"/>
                        <a:pt x="3573" y="57177"/>
                        <a:pt x="3866" y="57470"/>
                      </a:cubicBezTo>
                      <a:cubicBezTo>
                        <a:pt x="3925" y="57587"/>
                        <a:pt x="3983" y="57704"/>
                        <a:pt x="4042" y="57880"/>
                      </a:cubicBezTo>
                      <a:cubicBezTo>
                        <a:pt x="4042" y="58290"/>
                        <a:pt x="4100" y="58700"/>
                        <a:pt x="4276" y="59109"/>
                      </a:cubicBezTo>
                      <a:cubicBezTo>
                        <a:pt x="4452" y="59461"/>
                        <a:pt x="4745" y="59754"/>
                        <a:pt x="5037" y="60047"/>
                      </a:cubicBezTo>
                      <a:cubicBezTo>
                        <a:pt x="5096" y="60164"/>
                        <a:pt x="5155" y="60339"/>
                        <a:pt x="5272" y="60457"/>
                      </a:cubicBezTo>
                      <a:cubicBezTo>
                        <a:pt x="5272" y="60866"/>
                        <a:pt x="5389" y="61276"/>
                        <a:pt x="5623" y="61628"/>
                      </a:cubicBezTo>
                      <a:cubicBezTo>
                        <a:pt x="5858" y="61979"/>
                        <a:pt x="6150" y="62272"/>
                        <a:pt x="6443" y="62506"/>
                      </a:cubicBezTo>
                      <a:cubicBezTo>
                        <a:pt x="6502" y="62623"/>
                        <a:pt x="6619" y="62741"/>
                        <a:pt x="6678" y="62916"/>
                      </a:cubicBezTo>
                      <a:cubicBezTo>
                        <a:pt x="6736" y="63326"/>
                        <a:pt x="6853" y="63736"/>
                        <a:pt x="7088" y="64029"/>
                      </a:cubicBezTo>
                      <a:cubicBezTo>
                        <a:pt x="7322" y="64380"/>
                        <a:pt x="7615" y="64615"/>
                        <a:pt x="8025" y="64849"/>
                      </a:cubicBezTo>
                      <a:cubicBezTo>
                        <a:pt x="8142" y="64966"/>
                        <a:pt x="8201" y="65083"/>
                        <a:pt x="8318" y="65200"/>
                      </a:cubicBezTo>
                      <a:cubicBezTo>
                        <a:pt x="8376" y="65610"/>
                        <a:pt x="8552" y="65962"/>
                        <a:pt x="8845" y="66313"/>
                      </a:cubicBezTo>
                      <a:cubicBezTo>
                        <a:pt x="9079" y="66606"/>
                        <a:pt x="9431" y="66899"/>
                        <a:pt x="9782" y="67075"/>
                      </a:cubicBezTo>
                      <a:cubicBezTo>
                        <a:pt x="9899" y="67192"/>
                        <a:pt x="9958" y="67309"/>
                        <a:pt x="10075" y="67426"/>
                      </a:cubicBezTo>
                      <a:cubicBezTo>
                        <a:pt x="10192" y="67836"/>
                        <a:pt x="10368" y="68187"/>
                        <a:pt x="10661" y="68480"/>
                      </a:cubicBezTo>
                      <a:cubicBezTo>
                        <a:pt x="10895" y="68773"/>
                        <a:pt x="11188" y="68949"/>
                        <a:pt x="11539" y="69066"/>
                      </a:cubicBezTo>
                      <a:cubicBezTo>
                        <a:pt x="11598" y="69066"/>
                        <a:pt x="11598" y="69124"/>
                        <a:pt x="11657" y="69124"/>
                      </a:cubicBezTo>
                      <a:cubicBezTo>
                        <a:pt x="11774" y="69242"/>
                        <a:pt x="11891" y="69359"/>
                        <a:pt x="12008" y="69476"/>
                      </a:cubicBezTo>
                      <a:cubicBezTo>
                        <a:pt x="12125" y="69827"/>
                        <a:pt x="12359" y="70179"/>
                        <a:pt x="12652" y="70471"/>
                      </a:cubicBezTo>
                      <a:cubicBezTo>
                        <a:pt x="12887" y="70647"/>
                        <a:pt x="13121" y="70823"/>
                        <a:pt x="13414" y="70940"/>
                      </a:cubicBezTo>
                      <a:cubicBezTo>
                        <a:pt x="13531" y="70999"/>
                        <a:pt x="13590" y="70999"/>
                        <a:pt x="13707" y="71057"/>
                      </a:cubicBezTo>
                      <a:cubicBezTo>
                        <a:pt x="13824" y="71174"/>
                        <a:pt x="13941" y="71291"/>
                        <a:pt x="14058" y="71350"/>
                      </a:cubicBezTo>
                      <a:cubicBezTo>
                        <a:pt x="14234" y="71701"/>
                        <a:pt x="14468" y="72053"/>
                        <a:pt x="14761" y="72287"/>
                      </a:cubicBezTo>
                      <a:cubicBezTo>
                        <a:pt x="14937" y="72463"/>
                        <a:pt x="15171" y="72580"/>
                        <a:pt x="15347" y="72638"/>
                      </a:cubicBezTo>
                      <a:cubicBezTo>
                        <a:pt x="15523" y="72697"/>
                        <a:pt x="15640" y="72756"/>
                        <a:pt x="15815" y="72756"/>
                      </a:cubicBezTo>
                      <a:cubicBezTo>
                        <a:pt x="15933" y="72873"/>
                        <a:pt x="16108" y="72931"/>
                        <a:pt x="16225" y="73048"/>
                      </a:cubicBezTo>
                      <a:cubicBezTo>
                        <a:pt x="16401" y="73400"/>
                        <a:pt x="16694" y="73693"/>
                        <a:pt x="16987" y="73927"/>
                      </a:cubicBezTo>
                      <a:cubicBezTo>
                        <a:pt x="17104" y="74044"/>
                        <a:pt x="17280" y="74103"/>
                        <a:pt x="17456" y="74161"/>
                      </a:cubicBezTo>
                      <a:cubicBezTo>
                        <a:pt x="17690" y="74278"/>
                        <a:pt x="17866" y="74337"/>
                        <a:pt x="18100" y="74337"/>
                      </a:cubicBezTo>
                      <a:cubicBezTo>
                        <a:pt x="18217" y="74395"/>
                        <a:pt x="18393" y="74513"/>
                        <a:pt x="18510" y="74571"/>
                      </a:cubicBezTo>
                      <a:cubicBezTo>
                        <a:pt x="18744" y="74922"/>
                        <a:pt x="18979" y="75215"/>
                        <a:pt x="19330" y="75391"/>
                      </a:cubicBezTo>
                      <a:cubicBezTo>
                        <a:pt x="19447" y="75450"/>
                        <a:pt x="19564" y="75508"/>
                        <a:pt x="19623" y="75567"/>
                      </a:cubicBezTo>
                      <a:cubicBezTo>
                        <a:pt x="19916" y="75684"/>
                        <a:pt x="20150" y="75742"/>
                        <a:pt x="20443" y="75742"/>
                      </a:cubicBezTo>
                      <a:cubicBezTo>
                        <a:pt x="20560" y="75801"/>
                        <a:pt x="20736" y="75918"/>
                        <a:pt x="20853" y="75977"/>
                      </a:cubicBezTo>
                      <a:cubicBezTo>
                        <a:pt x="21087" y="76328"/>
                        <a:pt x="21380" y="76562"/>
                        <a:pt x="21732" y="76797"/>
                      </a:cubicBezTo>
                      <a:cubicBezTo>
                        <a:pt x="21790" y="76797"/>
                        <a:pt x="21849" y="76855"/>
                        <a:pt x="21907" y="76855"/>
                      </a:cubicBezTo>
                      <a:cubicBezTo>
                        <a:pt x="22259" y="76972"/>
                        <a:pt x="22552" y="77031"/>
                        <a:pt x="22903" y="77031"/>
                      </a:cubicBezTo>
                      <a:cubicBezTo>
                        <a:pt x="23020" y="77089"/>
                        <a:pt x="23196" y="77148"/>
                        <a:pt x="23313" y="77265"/>
                      </a:cubicBezTo>
                      <a:cubicBezTo>
                        <a:pt x="23547" y="77558"/>
                        <a:pt x="23899" y="77851"/>
                        <a:pt x="24250" y="77968"/>
                      </a:cubicBezTo>
                      <a:lnTo>
                        <a:pt x="24250" y="77968"/>
                      </a:lnTo>
                      <a:cubicBezTo>
                        <a:pt x="24660" y="78144"/>
                        <a:pt x="25012" y="78202"/>
                        <a:pt x="25422" y="78144"/>
                      </a:cubicBezTo>
                      <a:cubicBezTo>
                        <a:pt x="25598" y="78202"/>
                        <a:pt x="25715" y="78261"/>
                        <a:pt x="25890" y="78319"/>
                      </a:cubicBezTo>
                      <a:cubicBezTo>
                        <a:pt x="26125" y="78554"/>
                        <a:pt x="26418" y="78788"/>
                        <a:pt x="26710" y="78905"/>
                      </a:cubicBezTo>
                      <a:cubicBezTo>
                        <a:pt x="26769" y="78905"/>
                        <a:pt x="26828" y="78964"/>
                        <a:pt x="26886" y="78964"/>
                      </a:cubicBezTo>
                      <a:cubicBezTo>
                        <a:pt x="27296" y="79081"/>
                        <a:pt x="27648" y="79139"/>
                        <a:pt x="28058" y="79081"/>
                      </a:cubicBezTo>
                      <a:cubicBezTo>
                        <a:pt x="28233" y="79139"/>
                        <a:pt x="28351" y="79198"/>
                        <a:pt x="28526" y="79198"/>
                      </a:cubicBezTo>
                      <a:cubicBezTo>
                        <a:pt x="28761" y="79374"/>
                        <a:pt x="28936" y="79549"/>
                        <a:pt x="29229" y="79666"/>
                      </a:cubicBezTo>
                      <a:cubicBezTo>
                        <a:pt x="29346" y="79725"/>
                        <a:pt x="29464" y="79784"/>
                        <a:pt x="29581" y="79784"/>
                      </a:cubicBezTo>
                      <a:cubicBezTo>
                        <a:pt x="29991" y="79901"/>
                        <a:pt x="30401" y="79901"/>
                        <a:pt x="30752" y="79784"/>
                      </a:cubicBezTo>
                      <a:cubicBezTo>
                        <a:pt x="30928" y="79842"/>
                        <a:pt x="31045" y="79842"/>
                        <a:pt x="31221" y="79901"/>
                      </a:cubicBezTo>
                      <a:cubicBezTo>
                        <a:pt x="31397" y="80018"/>
                        <a:pt x="31572" y="80135"/>
                        <a:pt x="31807" y="80252"/>
                      </a:cubicBezTo>
                      <a:cubicBezTo>
                        <a:pt x="31982" y="80311"/>
                        <a:pt x="32158" y="80369"/>
                        <a:pt x="32334" y="80428"/>
                      </a:cubicBezTo>
                      <a:cubicBezTo>
                        <a:pt x="32744" y="80486"/>
                        <a:pt x="33154" y="80486"/>
                        <a:pt x="33505" y="80369"/>
                      </a:cubicBezTo>
                      <a:cubicBezTo>
                        <a:pt x="33681" y="80369"/>
                        <a:pt x="33857" y="80428"/>
                        <a:pt x="33974" y="80428"/>
                      </a:cubicBezTo>
                      <a:cubicBezTo>
                        <a:pt x="34091" y="80545"/>
                        <a:pt x="34267" y="80603"/>
                        <a:pt x="34384" y="80662"/>
                      </a:cubicBezTo>
                      <a:cubicBezTo>
                        <a:pt x="34618" y="80779"/>
                        <a:pt x="34853" y="80838"/>
                        <a:pt x="35087" y="80838"/>
                      </a:cubicBezTo>
                      <a:cubicBezTo>
                        <a:pt x="35497" y="80896"/>
                        <a:pt x="35907" y="80838"/>
                        <a:pt x="36258" y="80721"/>
                      </a:cubicBezTo>
                      <a:cubicBezTo>
                        <a:pt x="36434" y="80721"/>
                        <a:pt x="36610" y="80779"/>
                        <a:pt x="36727" y="80779"/>
                      </a:cubicBezTo>
                      <a:cubicBezTo>
                        <a:pt x="36844" y="80838"/>
                        <a:pt x="36903" y="80896"/>
                        <a:pt x="37020" y="80896"/>
                      </a:cubicBezTo>
                      <a:cubicBezTo>
                        <a:pt x="37313" y="81013"/>
                        <a:pt x="37606" y="81072"/>
                        <a:pt x="37898" y="81072"/>
                      </a:cubicBezTo>
                      <a:cubicBezTo>
                        <a:pt x="38308" y="81072"/>
                        <a:pt x="38718" y="81013"/>
                        <a:pt x="39070" y="80838"/>
                      </a:cubicBezTo>
                      <a:cubicBezTo>
                        <a:pt x="39246" y="80838"/>
                        <a:pt x="39421" y="80838"/>
                        <a:pt x="39539" y="80838"/>
                      </a:cubicBezTo>
                      <a:cubicBezTo>
                        <a:pt x="39597" y="80838"/>
                        <a:pt x="39597" y="80896"/>
                        <a:pt x="39656" y="80896"/>
                      </a:cubicBezTo>
                      <a:cubicBezTo>
                        <a:pt x="40007" y="81013"/>
                        <a:pt x="40359" y="81131"/>
                        <a:pt x="40710" y="81131"/>
                      </a:cubicBezTo>
                      <a:cubicBezTo>
                        <a:pt x="41120" y="81131"/>
                        <a:pt x="41530" y="81013"/>
                        <a:pt x="41882" y="80838"/>
                      </a:cubicBezTo>
                      <a:cubicBezTo>
                        <a:pt x="42057" y="80838"/>
                        <a:pt x="42174" y="80838"/>
                        <a:pt x="42350" y="80838"/>
                      </a:cubicBezTo>
                      <a:cubicBezTo>
                        <a:pt x="42760" y="81013"/>
                        <a:pt x="43170" y="81072"/>
                        <a:pt x="43522" y="81013"/>
                      </a:cubicBezTo>
                      <a:cubicBezTo>
                        <a:pt x="43932" y="80955"/>
                        <a:pt x="44283" y="80838"/>
                        <a:pt x="44635" y="80603"/>
                      </a:cubicBezTo>
                      <a:cubicBezTo>
                        <a:pt x="44810" y="80603"/>
                        <a:pt x="44928" y="80545"/>
                        <a:pt x="45103" y="80545"/>
                      </a:cubicBezTo>
                      <a:cubicBezTo>
                        <a:pt x="45513" y="80662"/>
                        <a:pt x="45923" y="80721"/>
                        <a:pt x="46275" y="80662"/>
                      </a:cubicBezTo>
                      <a:cubicBezTo>
                        <a:pt x="46685" y="80603"/>
                        <a:pt x="47036" y="80428"/>
                        <a:pt x="47388" y="80193"/>
                      </a:cubicBezTo>
                      <a:cubicBezTo>
                        <a:pt x="47563" y="80135"/>
                        <a:pt x="47681" y="80135"/>
                        <a:pt x="47856" y="80076"/>
                      </a:cubicBezTo>
                      <a:cubicBezTo>
                        <a:pt x="48266" y="80193"/>
                        <a:pt x="48676" y="80193"/>
                        <a:pt x="49028" y="80076"/>
                      </a:cubicBezTo>
                      <a:cubicBezTo>
                        <a:pt x="49438" y="79959"/>
                        <a:pt x="49789" y="79784"/>
                        <a:pt x="50141" y="79549"/>
                      </a:cubicBezTo>
                      <a:cubicBezTo>
                        <a:pt x="50258" y="79491"/>
                        <a:pt x="50434" y="79491"/>
                        <a:pt x="50551" y="79432"/>
                      </a:cubicBezTo>
                      <a:cubicBezTo>
                        <a:pt x="50961" y="79491"/>
                        <a:pt x="51371" y="79491"/>
                        <a:pt x="51781" y="79374"/>
                      </a:cubicBezTo>
                      <a:cubicBezTo>
                        <a:pt x="52191" y="79256"/>
                        <a:pt x="52542" y="79022"/>
                        <a:pt x="52835" y="78729"/>
                      </a:cubicBezTo>
                      <a:cubicBezTo>
                        <a:pt x="52952" y="78671"/>
                        <a:pt x="53128" y="78612"/>
                        <a:pt x="53245" y="78612"/>
                      </a:cubicBezTo>
                      <a:cubicBezTo>
                        <a:pt x="53655" y="78671"/>
                        <a:pt x="54065" y="78612"/>
                        <a:pt x="54475" y="78495"/>
                      </a:cubicBezTo>
                      <a:cubicBezTo>
                        <a:pt x="54885" y="78319"/>
                        <a:pt x="55178" y="78085"/>
                        <a:pt x="55471" y="77792"/>
                      </a:cubicBezTo>
                      <a:cubicBezTo>
                        <a:pt x="55588" y="77734"/>
                        <a:pt x="55764" y="77675"/>
                        <a:pt x="55881" y="77617"/>
                      </a:cubicBezTo>
                      <a:cubicBezTo>
                        <a:pt x="56291" y="77617"/>
                        <a:pt x="56701" y="77558"/>
                        <a:pt x="57111" y="77382"/>
                      </a:cubicBezTo>
                      <a:cubicBezTo>
                        <a:pt x="57463" y="77207"/>
                        <a:pt x="57814" y="76914"/>
                        <a:pt x="58048" y="76621"/>
                      </a:cubicBezTo>
                      <a:cubicBezTo>
                        <a:pt x="58166" y="76562"/>
                        <a:pt x="58283" y="76504"/>
                        <a:pt x="58400" y="76445"/>
                      </a:cubicBezTo>
                      <a:cubicBezTo>
                        <a:pt x="58810" y="76445"/>
                        <a:pt x="59220" y="76328"/>
                        <a:pt x="59571" y="76152"/>
                      </a:cubicBezTo>
                      <a:cubicBezTo>
                        <a:pt x="59923" y="75977"/>
                        <a:pt x="60216" y="75684"/>
                        <a:pt x="60450" y="75332"/>
                      </a:cubicBezTo>
                      <a:cubicBezTo>
                        <a:pt x="60567" y="75274"/>
                        <a:pt x="60684" y="75215"/>
                        <a:pt x="60802" y="75098"/>
                      </a:cubicBezTo>
                      <a:cubicBezTo>
                        <a:pt x="61212" y="75040"/>
                        <a:pt x="61622" y="74922"/>
                        <a:pt x="61973" y="74688"/>
                      </a:cubicBezTo>
                      <a:cubicBezTo>
                        <a:pt x="62324" y="74454"/>
                        <a:pt x="62617" y="74161"/>
                        <a:pt x="62793" y="73810"/>
                      </a:cubicBezTo>
                      <a:cubicBezTo>
                        <a:pt x="62910" y="73751"/>
                        <a:pt x="63027" y="73634"/>
                        <a:pt x="63145" y="73575"/>
                      </a:cubicBezTo>
                      <a:cubicBezTo>
                        <a:pt x="63555" y="73517"/>
                        <a:pt x="63965" y="73341"/>
                        <a:pt x="64258" y="73107"/>
                      </a:cubicBezTo>
                      <a:cubicBezTo>
                        <a:pt x="64609" y="72873"/>
                        <a:pt x="64843" y="72521"/>
                        <a:pt x="65019" y="72170"/>
                      </a:cubicBezTo>
                      <a:cubicBezTo>
                        <a:pt x="65136" y="72053"/>
                        <a:pt x="65253" y="71994"/>
                        <a:pt x="65370" y="71877"/>
                      </a:cubicBezTo>
                      <a:cubicBezTo>
                        <a:pt x="65780" y="71760"/>
                        <a:pt x="66132" y="71584"/>
                        <a:pt x="66483" y="71291"/>
                      </a:cubicBezTo>
                      <a:cubicBezTo>
                        <a:pt x="66776" y="70999"/>
                        <a:pt x="67011" y="70647"/>
                        <a:pt x="67186" y="70296"/>
                      </a:cubicBezTo>
                      <a:cubicBezTo>
                        <a:pt x="67303" y="70179"/>
                        <a:pt x="67421" y="70120"/>
                        <a:pt x="67479" y="70003"/>
                      </a:cubicBezTo>
                      <a:cubicBezTo>
                        <a:pt x="67889" y="69886"/>
                        <a:pt x="68241" y="69651"/>
                        <a:pt x="68533" y="69359"/>
                      </a:cubicBezTo>
                      <a:cubicBezTo>
                        <a:pt x="68826" y="69066"/>
                        <a:pt x="69061" y="68714"/>
                        <a:pt x="69178" y="68304"/>
                      </a:cubicBezTo>
                      <a:cubicBezTo>
                        <a:pt x="69295" y="68187"/>
                        <a:pt x="69354" y="68070"/>
                        <a:pt x="69471" y="67953"/>
                      </a:cubicBezTo>
                      <a:cubicBezTo>
                        <a:pt x="69822" y="67777"/>
                        <a:pt x="70174" y="67602"/>
                        <a:pt x="70467" y="67250"/>
                      </a:cubicBezTo>
                      <a:cubicBezTo>
                        <a:pt x="70759" y="66899"/>
                        <a:pt x="70935" y="66547"/>
                        <a:pt x="70994" y="66137"/>
                      </a:cubicBezTo>
                      <a:cubicBezTo>
                        <a:pt x="71111" y="66020"/>
                        <a:pt x="71169" y="65903"/>
                        <a:pt x="71287" y="65786"/>
                      </a:cubicBezTo>
                      <a:cubicBezTo>
                        <a:pt x="71638" y="65610"/>
                        <a:pt x="71989" y="65376"/>
                        <a:pt x="72224" y="65025"/>
                      </a:cubicBezTo>
                      <a:cubicBezTo>
                        <a:pt x="72458" y="64673"/>
                        <a:pt x="72634" y="64263"/>
                        <a:pt x="72692" y="63912"/>
                      </a:cubicBezTo>
                      <a:cubicBezTo>
                        <a:pt x="72751" y="63795"/>
                        <a:pt x="72868" y="63678"/>
                        <a:pt x="72927" y="63561"/>
                      </a:cubicBezTo>
                      <a:cubicBezTo>
                        <a:pt x="73278" y="63385"/>
                        <a:pt x="73571" y="63092"/>
                        <a:pt x="73805" y="62741"/>
                      </a:cubicBezTo>
                      <a:cubicBezTo>
                        <a:pt x="74040" y="62389"/>
                        <a:pt x="74157" y="61979"/>
                        <a:pt x="74215" y="61569"/>
                      </a:cubicBezTo>
                      <a:cubicBezTo>
                        <a:pt x="74274" y="61452"/>
                        <a:pt x="74332" y="61335"/>
                        <a:pt x="74391" y="61218"/>
                      </a:cubicBezTo>
                      <a:cubicBezTo>
                        <a:pt x="74742" y="60984"/>
                        <a:pt x="75035" y="60691"/>
                        <a:pt x="75270" y="60281"/>
                      </a:cubicBezTo>
                      <a:cubicBezTo>
                        <a:pt x="75504" y="59929"/>
                        <a:pt x="75563" y="59519"/>
                        <a:pt x="75563" y="59051"/>
                      </a:cubicBezTo>
                      <a:cubicBezTo>
                        <a:pt x="75621" y="58934"/>
                        <a:pt x="75680" y="58817"/>
                        <a:pt x="75738" y="58700"/>
                      </a:cubicBezTo>
                      <a:cubicBezTo>
                        <a:pt x="76207" y="58114"/>
                        <a:pt x="76441" y="57762"/>
                        <a:pt x="76676" y="57352"/>
                      </a:cubicBezTo>
                      <a:close/>
                      <a:moveTo>
                        <a:pt x="76734" y="51496"/>
                      </a:moveTo>
                      <a:lnTo>
                        <a:pt x="76851" y="51554"/>
                      </a:lnTo>
                      <a:lnTo>
                        <a:pt x="76734" y="51496"/>
                      </a:lnTo>
                      <a:cubicBezTo>
                        <a:pt x="76617" y="51964"/>
                        <a:pt x="76031" y="52199"/>
                        <a:pt x="75504" y="52023"/>
                      </a:cubicBezTo>
                      <a:lnTo>
                        <a:pt x="73102" y="51261"/>
                      </a:lnTo>
                      <a:cubicBezTo>
                        <a:pt x="72575" y="51086"/>
                        <a:pt x="72282" y="50617"/>
                        <a:pt x="72399" y="50149"/>
                      </a:cubicBezTo>
                      <a:cubicBezTo>
                        <a:pt x="72517" y="49680"/>
                        <a:pt x="73102" y="49446"/>
                        <a:pt x="73630" y="49622"/>
                      </a:cubicBezTo>
                      <a:lnTo>
                        <a:pt x="76031" y="50383"/>
                      </a:lnTo>
                      <a:cubicBezTo>
                        <a:pt x="76558" y="50559"/>
                        <a:pt x="76851" y="51027"/>
                        <a:pt x="76734" y="51496"/>
                      </a:cubicBezTo>
                      <a:close/>
                      <a:moveTo>
                        <a:pt x="77437" y="48919"/>
                      </a:moveTo>
                      <a:lnTo>
                        <a:pt x="77554" y="48977"/>
                      </a:lnTo>
                      <a:lnTo>
                        <a:pt x="77437" y="48919"/>
                      </a:lnTo>
                      <a:cubicBezTo>
                        <a:pt x="77320" y="49387"/>
                        <a:pt x="76793" y="49680"/>
                        <a:pt x="76266" y="49504"/>
                      </a:cubicBezTo>
                      <a:lnTo>
                        <a:pt x="73805" y="48919"/>
                      </a:lnTo>
                      <a:cubicBezTo>
                        <a:pt x="73278" y="48802"/>
                        <a:pt x="72927" y="48333"/>
                        <a:pt x="73044" y="47865"/>
                      </a:cubicBezTo>
                      <a:cubicBezTo>
                        <a:pt x="73161" y="47396"/>
                        <a:pt x="73688" y="47162"/>
                        <a:pt x="74215" y="47279"/>
                      </a:cubicBezTo>
                      <a:lnTo>
                        <a:pt x="76676" y="47865"/>
                      </a:lnTo>
                      <a:cubicBezTo>
                        <a:pt x="77203" y="47982"/>
                        <a:pt x="77554" y="48450"/>
                        <a:pt x="77437" y="48919"/>
                      </a:cubicBezTo>
                      <a:close/>
                      <a:moveTo>
                        <a:pt x="77964" y="46283"/>
                      </a:moveTo>
                      <a:lnTo>
                        <a:pt x="78081" y="46283"/>
                      </a:lnTo>
                      <a:lnTo>
                        <a:pt x="77964" y="46283"/>
                      </a:lnTo>
                      <a:cubicBezTo>
                        <a:pt x="77906" y="46752"/>
                        <a:pt x="77378" y="47045"/>
                        <a:pt x="76851" y="46986"/>
                      </a:cubicBezTo>
                      <a:lnTo>
                        <a:pt x="74391" y="46576"/>
                      </a:lnTo>
                      <a:cubicBezTo>
                        <a:pt x="73864" y="46459"/>
                        <a:pt x="73454" y="46049"/>
                        <a:pt x="73571" y="45581"/>
                      </a:cubicBezTo>
                      <a:cubicBezTo>
                        <a:pt x="73630" y="45112"/>
                        <a:pt x="74157" y="44819"/>
                        <a:pt x="74684" y="44878"/>
                      </a:cubicBezTo>
                      <a:lnTo>
                        <a:pt x="77144" y="45288"/>
                      </a:lnTo>
                      <a:cubicBezTo>
                        <a:pt x="77671" y="45346"/>
                        <a:pt x="78023" y="45815"/>
                        <a:pt x="77964" y="46283"/>
                      </a:cubicBezTo>
                      <a:close/>
                      <a:moveTo>
                        <a:pt x="78316" y="43589"/>
                      </a:moveTo>
                      <a:lnTo>
                        <a:pt x="78433" y="43589"/>
                      </a:lnTo>
                      <a:lnTo>
                        <a:pt x="78316" y="43589"/>
                      </a:lnTo>
                      <a:cubicBezTo>
                        <a:pt x="78257" y="44058"/>
                        <a:pt x="77788" y="44409"/>
                        <a:pt x="77261" y="44351"/>
                      </a:cubicBezTo>
                      <a:lnTo>
                        <a:pt x="74742" y="44116"/>
                      </a:lnTo>
                      <a:cubicBezTo>
                        <a:pt x="74215" y="44058"/>
                        <a:pt x="73805" y="43648"/>
                        <a:pt x="73805" y="43179"/>
                      </a:cubicBezTo>
                      <a:cubicBezTo>
                        <a:pt x="73864" y="42711"/>
                        <a:pt x="74332" y="42359"/>
                        <a:pt x="74860" y="42418"/>
                      </a:cubicBezTo>
                      <a:lnTo>
                        <a:pt x="77378" y="42652"/>
                      </a:lnTo>
                      <a:cubicBezTo>
                        <a:pt x="77906" y="42711"/>
                        <a:pt x="78374" y="43121"/>
                        <a:pt x="78316" y="43589"/>
                      </a:cubicBezTo>
                      <a:close/>
                      <a:moveTo>
                        <a:pt x="78433" y="40895"/>
                      </a:moveTo>
                      <a:lnTo>
                        <a:pt x="78550" y="40895"/>
                      </a:lnTo>
                      <a:lnTo>
                        <a:pt x="78433" y="40895"/>
                      </a:lnTo>
                      <a:cubicBezTo>
                        <a:pt x="78433" y="41364"/>
                        <a:pt x="77964" y="41774"/>
                        <a:pt x="77437" y="41715"/>
                      </a:cubicBezTo>
                      <a:lnTo>
                        <a:pt x="74918" y="41657"/>
                      </a:lnTo>
                      <a:cubicBezTo>
                        <a:pt x="74391" y="41657"/>
                        <a:pt x="73922" y="41247"/>
                        <a:pt x="73922" y="40778"/>
                      </a:cubicBezTo>
                      <a:cubicBezTo>
                        <a:pt x="73922" y="40310"/>
                        <a:pt x="74391" y="39958"/>
                        <a:pt x="74918" y="39958"/>
                      </a:cubicBezTo>
                      <a:lnTo>
                        <a:pt x="77437" y="40017"/>
                      </a:lnTo>
                      <a:cubicBezTo>
                        <a:pt x="78023" y="40017"/>
                        <a:pt x="78491" y="40427"/>
                        <a:pt x="78433" y="40895"/>
                      </a:cubicBezTo>
                      <a:close/>
                      <a:moveTo>
                        <a:pt x="38367" y="63209"/>
                      </a:moveTo>
                      <a:cubicBezTo>
                        <a:pt x="37957" y="63561"/>
                        <a:pt x="37313" y="63502"/>
                        <a:pt x="36961" y="63092"/>
                      </a:cubicBezTo>
                      <a:lnTo>
                        <a:pt x="35263" y="61042"/>
                      </a:lnTo>
                      <a:cubicBezTo>
                        <a:pt x="35204" y="60925"/>
                        <a:pt x="35145" y="60808"/>
                        <a:pt x="35145" y="60632"/>
                      </a:cubicBezTo>
                      <a:cubicBezTo>
                        <a:pt x="35204" y="60281"/>
                        <a:pt x="35497" y="60047"/>
                        <a:pt x="35790" y="60105"/>
                      </a:cubicBezTo>
                      <a:lnTo>
                        <a:pt x="35790" y="60105"/>
                      </a:lnTo>
                      <a:cubicBezTo>
                        <a:pt x="35848" y="60105"/>
                        <a:pt x="35907" y="60105"/>
                        <a:pt x="35965" y="60164"/>
                      </a:cubicBezTo>
                      <a:cubicBezTo>
                        <a:pt x="36551" y="60457"/>
                        <a:pt x="37196" y="60632"/>
                        <a:pt x="37840" y="60691"/>
                      </a:cubicBezTo>
                      <a:cubicBezTo>
                        <a:pt x="38484" y="60749"/>
                        <a:pt x="39187" y="60691"/>
                        <a:pt x="39773" y="60515"/>
                      </a:cubicBezTo>
                      <a:cubicBezTo>
                        <a:pt x="39890" y="60515"/>
                        <a:pt x="39949" y="60457"/>
                        <a:pt x="40007" y="60515"/>
                      </a:cubicBezTo>
                      <a:lnTo>
                        <a:pt x="40066" y="60515"/>
                      </a:lnTo>
                      <a:cubicBezTo>
                        <a:pt x="40417" y="60515"/>
                        <a:pt x="40652" y="60866"/>
                        <a:pt x="40593" y="61159"/>
                      </a:cubicBezTo>
                      <a:cubicBezTo>
                        <a:pt x="40593" y="61335"/>
                        <a:pt x="40476" y="61511"/>
                        <a:pt x="40359" y="61569"/>
                      </a:cubicBezTo>
                      <a:lnTo>
                        <a:pt x="40359" y="61569"/>
                      </a:lnTo>
                      <a:lnTo>
                        <a:pt x="38367" y="63209"/>
                      </a:lnTo>
                      <a:close/>
                      <a:moveTo>
                        <a:pt x="37840" y="65318"/>
                      </a:moveTo>
                      <a:cubicBezTo>
                        <a:pt x="37430" y="65493"/>
                        <a:pt x="36961" y="65318"/>
                        <a:pt x="36786" y="64908"/>
                      </a:cubicBezTo>
                      <a:cubicBezTo>
                        <a:pt x="36610" y="64498"/>
                        <a:pt x="36786" y="64029"/>
                        <a:pt x="37196" y="63853"/>
                      </a:cubicBezTo>
                      <a:cubicBezTo>
                        <a:pt x="37606" y="63678"/>
                        <a:pt x="38074" y="63853"/>
                        <a:pt x="38250" y="64263"/>
                      </a:cubicBezTo>
                      <a:cubicBezTo>
                        <a:pt x="38426" y="64673"/>
                        <a:pt x="38250" y="65142"/>
                        <a:pt x="37840" y="65318"/>
                      </a:cubicBezTo>
                      <a:close/>
                      <a:moveTo>
                        <a:pt x="34208" y="56591"/>
                      </a:moveTo>
                      <a:cubicBezTo>
                        <a:pt x="33857" y="56825"/>
                        <a:pt x="33154" y="57587"/>
                        <a:pt x="32744" y="57411"/>
                      </a:cubicBezTo>
                      <a:cubicBezTo>
                        <a:pt x="32392" y="57235"/>
                        <a:pt x="32451" y="56123"/>
                        <a:pt x="32392" y="55771"/>
                      </a:cubicBezTo>
                      <a:cubicBezTo>
                        <a:pt x="32217" y="54658"/>
                        <a:pt x="31924" y="53487"/>
                        <a:pt x="31514" y="52491"/>
                      </a:cubicBezTo>
                      <a:cubicBezTo>
                        <a:pt x="31338" y="51964"/>
                        <a:pt x="30869" y="51613"/>
                        <a:pt x="30928" y="50969"/>
                      </a:cubicBezTo>
                      <a:cubicBezTo>
                        <a:pt x="31338" y="51086"/>
                        <a:pt x="31865" y="51144"/>
                        <a:pt x="32217" y="51320"/>
                      </a:cubicBezTo>
                      <a:cubicBezTo>
                        <a:pt x="32920" y="51671"/>
                        <a:pt x="32802" y="52667"/>
                        <a:pt x="32861" y="53311"/>
                      </a:cubicBezTo>
                      <a:cubicBezTo>
                        <a:pt x="33154" y="53136"/>
                        <a:pt x="33447" y="53018"/>
                        <a:pt x="33857" y="52843"/>
                      </a:cubicBezTo>
                      <a:cubicBezTo>
                        <a:pt x="34150" y="52726"/>
                        <a:pt x="34560" y="52433"/>
                        <a:pt x="34853" y="52550"/>
                      </a:cubicBezTo>
                      <a:cubicBezTo>
                        <a:pt x="35438" y="52784"/>
                        <a:pt x="35497" y="54073"/>
                        <a:pt x="35673" y="54541"/>
                      </a:cubicBezTo>
                      <a:cubicBezTo>
                        <a:pt x="36200" y="54131"/>
                        <a:pt x="36668" y="53604"/>
                        <a:pt x="37371" y="53604"/>
                      </a:cubicBezTo>
                      <a:cubicBezTo>
                        <a:pt x="37898" y="53838"/>
                        <a:pt x="38367" y="54073"/>
                        <a:pt x="38777" y="54366"/>
                      </a:cubicBezTo>
                      <a:cubicBezTo>
                        <a:pt x="38367" y="54893"/>
                        <a:pt x="37723" y="54834"/>
                        <a:pt x="37196" y="55010"/>
                      </a:cubicBezTo>
                      <a:cubicBezTo>
                        <a:pt x="36200" y="55361"/>
                        <a:pt x="35204" y="55947"/>
                        <a:pt x="34208" y="56591"/>
                      </a:cubicBezTo>
                      <a:close/>
                      <a:moveTo>
                        <a:pt x="31045" y="64146"/>
                      </a:moveTo>
                      <a:cubicBezTo>
                        <a:pt x="30694" y="64439"/>
                        <a:pt x="30225" y="64380"/>
                        <a:pt x="29932" y="64029"/>
                      </a:cubicBezTo>
                      <a:cubicBezTo>
                        <a:pt x="29639" y="63678"/>
                        <a:pt x="29698" y="63209"/>
                        <a:pt x="30049" y="62916"/>
                      </a:cubicBezTo>
                      <a:cubicBezTo>
                        <a:pt x="30401" y="62623"/>
                        <a:pt x="30869" y="62682"/>
                        <a:pt x="31162" y="63033"/>
                      </a:cubicBezTo>
                      <a:cubicBezTo>
                        <a:pt x="31455" y="63385"/>
                        <a:pt x="31397" y="63853"/>
                        <a:pt x="31045" y="64146"/>
                      </a:cubicBezTo>
                      <a:close/>
                      <a:moveTo>
                        <a:pt x="27765" y="63853"/>
                      </a:moveTo>
                      <a:cubicBezTo>
                        <a:pt x="27706" y="63971"/>
                        <a:pt x="27706" y="64029"/>
                        <a:pt x="27648" y="64029"/>
                      </a:cubicBezTo>
                      <a:lnTo>
                        <a:pt x="27648" y="64029"/>
                      </a:lnTo>
                      <a:cubicBezTo>
                        <a:pt x="27472" y="64322"/>
                        <a:pt x="27062" y="64380"/>
                        <a:pt x="26769" y="64146"/>
                      </a:cubicBezTo>
                      <a:cubicBezTo>
                        <a:pt x="26652" y="64029"/>
                        <a:pt x="26535" y="63912"/>
                        <a:pt x="26535" y="63736"/>
                      </a:cubicBezTo>
                      <a:lnTo>
                        <a:pt x="26125" y="61159"/>
                      </a:lnTo>
                      <a:cubicBezTo>
                        <a:pt x="26066" y="60574"/>
                        <a:pt x="26418" y="60105"/>
                        <a:pt x="27003" y="59988"/>
                      </a:cubicBezTo>
                      <a:lnTo>
                        <a:pt x="29639" y="59578"/>
                      </a:lnTo>
                      <a:cubicBezTo>
                        <a:pt x="29756" y="59578"/>
                        <a:pt x="29932" y="59578"/>
                        <a:pt x="30049" y="59695"/>
                      </a:cubicBezTo>
                      <a:cubicBezTo>
                        <a:pt x="30342" y="59871"/>
                        <a:pt x="30401" y="60281"/>
                        <a:pt x="30166" y="60574"/>
                      </a:cubicBezTo>
                      <a:lnTo>
                        <a:pt x="30166" y="60574"/>
                      </a:lnTo>
                      <a:cubicBezTo>
                        <a:pt x="30166" y="60632"/>
                        <a:pt x="30108" y="60632"/>
                        <a:pt x="29991" y="60691"/>
                      </a:cubicBezTo>
                      <a:cubicBezTo>
                        <a:pt x="29405" y="61042"/>
                        <a:pt x="28936" y="61511"/>
                        <a:pt x="28526" y="62038"/>
                      </a:cubicBezTo>
                      <a:cubicBezTo>
                        <a:pt x="28233" y="62623"/>
                        <a:pt x="27941" y="63209"/>
                        <a:pt x="27765" y="63853"/>
                      </a:cubicBezTo>
                      <a:close/>
                      <a:moveTo>
                        <a:pt x="13824" y="41949"/>
                      </a:moveTo>
                      <a:cubicBezTo>
                        <a:pt x="13707" y="41949"/>
                        <a:pt x="13648" y="42008"/>
                        <a:pt x="13590" y="41949"/>
                      </a:cubicBezTo>
                      <a:lnTo>
                        <a:pt x="13531" y="41949"/>
                      </a:lnTo>
                      <a:cubicBezTo>
                        <a:pt x="13180" y="41949"/>
                        <a:pt x="12945" y="41598"/>
                        <a:pt x="13004" y="41305"/>
                      </a:cubicBezTo>
                      <a:cubicBezTo>
                        <a:pt x="13004" y="41129"/>
                        <a:pt x="13121" y="40954"/>
                        <a:pt x="13238" y="40895"/>
                      </a:cubicBezTo>
                      <a:lnTo>
                        <a:pt x="15230" y="39197"/>
                      </a:lnTo>
                      <a:cubicBezTo>
                        <a:pt x="15640" y="38845"/>
                        <a:pt x="16284" y="38904"/>
                        <a:pt x="16694" y="39314"/>
                      </a:cubicBezTo>
                      <a:lnTo>
                        <a:pt x="18393" y="41364"/>
                      </a:lnTo>
                      <a:cubicBezTo>
                        <a:pt x="18451" y="41481"/>
                        <a:pt x="18510" y="41598"/>
                        <a:pt x="18510" y="41774"/>
                      </a:cubicBezTo>
                      <a:cubicBezTo>
                        <a:pt x="18451" y="42125"/>
                        <a:pt x="18158" y="42359"/>
                        <a:pt x="17866" y="42301"/>
                      </a:cubicBezTo>
                      <a:lnTo>
                        <a:pt x="17866" y="42301"/>
                      </a:lnTo>
                      <a:cubicBezTo>
                        <a:pt x="17807" y="42301"/>
                        <a:pt x="17748" y="42301"/>
                        <a:pt x="17690" y="42242"/>
                      </a:cubicBezTo>
                      <a:cubicBezTo>
                        <a:pt x="17104" y="41949"/>
                        <a:pt x="16460" y="41774"/>
                        <a:pt x="15815" y="41715"/>
                      </a:cubicBezTo>
                      <a:cubicBezTo>
                        <a:pt x="15113" y="41715"/>
                        <a:pt x="14468" y="41774"/>
                        <a:pt x="13824" y="41949"/>
                      </a:cubicBezTo>
                      <a:close/>
                      <a:moveTo>
                        <a:pt x="9724" y="51496"/>
                      </a:moveTo>
                      <a:cubicBezTo>
                        <a:pt x="9958" y="50734"/>
                        <a:pt x="10426" y="50500"/>
                        <a:pt x="11129" y="50969"/>
                      </a:cubicBezTo>
                      <a:cubicBezTo>
                        <a:pt x="11832" y="51964"/>
                        <a:pt x="9841" y="52726"/>
                        <a:pt x="9724" y="51496"/>
                      </a:cubicBezTo>
                      <a:close/>
                      <a:moveTo>
                        <a:pt x="42057" y="17644"/>
                      </a:moveTo>
                      <a:cubicBezTo>
                        <a:pt x="42467" y="17293"/>
                        <a:pt x="43112" y="17351"/>
                        <a:pt x="43463" y="17761"/>
                      </a:cubicBezTo>
                      <a:lnTo>
                        <a:pt x="45162" y="19811"/>
                      </a:lnTo>
                      <a:cubicBezTo>
                        <a:pt x="45220" y="19928"/>
                        <a:pt x="45279" y="20045"/>
                        <a:pt x="45279" y="20221"/>
                      </a:cubicBezTo>
                      <a:cubicBezTo>
                        <a:pt x="45220" y="20573"/>
                        <a:pt x="44928" y="20807"/>
                        <a:pt x="44635" y="20748"/>
                      </a:cubicBezTo>
                      <a:lnTo>
                        <a:pt x="44635" y="20748"/>
                      </a:lnTo>
                      <a:cubicBezTo>
                        <a:pt x="44576" y="20748"/>
                        <a:pt x="44517" y="20748"/>
                        <a:pt x="44459" y="20690"/>
                      </a:cubicBezTo>
                      <a:cubicBezTo>
                        <a:pt x="43873" y="20397"/>
                        <a:pt x="43229" y="20221"/>
                        <a:pt x="42585" y="20163"/>
                      </a:cubicBezTo>
                      <a:cubicBezTo>
                        <a:pt x="41940" y="20104"/>
                        <a:pt x="41237" y="20163"/>
                        <a:pt x="40652" y="20338"/>
                      </a:cubicBezTo>
                      <a:cubicBezTo>
                        <a:pt x="40534" y="20338"/>
                        <a:pt x="40476" y="20338"/>
                        <a:pt x="40417" y="20338"/>
                      </a:cubicBezTo>
                      <a:lnTo>
                        <a:pt x="40359" y="20338"/>
                      </a:lnTo>
                      <a:cubicBezTo>
                        <a:pt x="40007" y="20338"/>
                        <a:pt x="39773" y="19987"/>
                        <a:pt x="39831" y="19694"/>
                      </a:cubicBezTo>
                      <a:cubicBezTo>
                        <a:pt x="39831" y="19518"/>
                        <a:pt x="39949" y="19343"/>
                        <a:pt x="40066" y="19284"/>
                      </a:cubicBezTo>
                      <a:lnTo>
                        <a:pt x="42057" y="17644"/>
                      </a:lnTo>
                      <a:close/>
                      <a:moveTo>
                        <a:pt x="42585" y="15536"/>
                      </a:moveTo>
                      <a:cubicBezTo>
                        <a:pt x="42995" y="15360"/>
                        <a:pt x="43463" y="15536"/>
                        <a:pt x="43639" y="15946"/>
                      </a:cubicBezTo>
                      <a:cubicBezTo>
                        <a:pt x="43815" y="16356"/>
                        <a:pt x="43639" y="16824"/>
                        <a:pt x="43229" y="17000"/>
                      </a:cubicBezTo>
                      <a:cubicBezTo>
                        <a:pt x="42819" y="17176"/>
                        <a:pt x="42350" y="17000"/>
                        <a:pt x="42174" y="16590"/>
                      </a:cubicBezTo>
                      <a:cubicBezTo>
                        <a:pt x="41999" y="16180"/>
                        <a:pt x="42174" y="15711"/>
                        <a:pt x="42585" y="15536"/>
                      </a:cubicBezTo>
                      <a:close/>
                      <a:moveTo>
                        <a:pt x="47798" y="22154"/>
                      </a:moveTo>
                      <a:lnTo>
                        <a:pt x="47915" y="22212"/>
                      </a:lnTo>
                      <a:cubicBezTo>
                        <a:pt x="48325" y="22388"/>
                        <a:pt x="48501" y="22798"/>
                        <a:pt x="48325" y="23208"/>
                      </a:cubicBezTo>
                      <a:lnTo>
                        <a:pt x="47856" y="24321"/>
                      </a:lnTo>
                      <a:lnTo>
                        <a:pt x="51957" y="26078"/>
                      </a:lnTo>
                      <a:cubicBezTo>
                        <a:pt x="52367" y="26254"/>
                        <a:pt x="52542" y="26663"/>
                        <a:pt x="52367" y="27073"/>
                      </a:cubicBezTo>
                      <a:lnTo>
                        <a:pt x="52308" y="27191"/>
                      </a:lnTo>
                      <a:cubicBezTo>
                        <a:pt x="52132" y="27601"/>
                        <a:pt x="51722" y="27776"/>
                        <a:pt x="51312" y="27601"/>
                      </a:cubicBezTo>
                      <a:lnTo>
                        <a:pt x="47212" y="25844"/>
                      </a:lnTo>
                      <a:lnTo>
                        <a:pt x="46685" y="27073"/>
                      </a:lnTo>
                      <a:lnTo>
                        <a:pt x="52952" y="29768"/>
                      </a:lnTo>
                      <a:cubicBezTo>
                        <a:pt x="53304" y="29943"/>
                        <a:pt x="53538" y="30353"/>
                        <a:pt x="53362" y="30763"/>
                      </a:cubicBezTo>
                      <a:lnTo>
                        <a:pt x="53304" y="30880"/>
                      </a:lnTo>
                      <a:cubicBezTo>
                        <a:pt x="53128" y="31290"/>
                        <a:pt x="52718" y="31466"/>
                        <a:pt x="52308" y="31290"/>
                      </a:cubicBezTo>
                      <a:lnTo>
                        <a:pt x="46040" y="28596"/>
                      </a:lnTo>
                      <a:lnTo>
                        <a:pt x="45279" y="30412"/>
                      </a:lnTo>
                      <a:cubicBezTo>
                        <a:pt x="49555" y="32344"/>
                        <a:pt x="53128" y="35156"/>
                        <a:pt x="55413" y="38260"/>
                      </a:cubicBezTo>
                      <a:cubicBezTo>
                        <a:pt x="57931" y="41715"/>
                        <a:pt x="58693" y="45229"/>
                        <a:pt x="57404" y="48099"/>
                      </a:cubicBezTo>
                      <a:cubicBezTo>
                        <a:pt x="56174" y="51027"/>
                        <a:pt x="53128" y="52901"/>
                        <a:pt x="48911" y="53429"/>
                      </a:cubicBezTo>
                      <a:cubicBezTo>
                        <a:pt x="44810" y="53956"/>
                        <a:pt x="40066" y="53136"/>
                        <a:pt x="35438" y="51203"/>
                      </a:cubicBezTo>
                      <a:cubicBezTo>
                        <a:pt x="30869" y="49212"/>
                        <a:pt x="27003" y="46342"/>
                        <a:pt x="24543" y="43004"/>
                      </a:cubicBezTo>
                      <a:cubicBezTo>
                        <a:pt x="22024" y="39548"/>
                        <a:pt x="21263" y="36034"/>
                        <a:pt x="22552" y="33164"/>
                      </a:cubicBezTo>
                      <a:cubicBezTo>
                        <a:pt x="23782" y="30236"/>
                        <a:pt x="26828" y="28362"/>
                        <a:pt x="31104" y="27835"/>
                      </a:cubicBezTo>
                      <a:cubicBezTo>
                        <a:pt x="34970" y="27366"/>
                        <a:pt x="39421" y="28011"/>
                        <a:pt x="43756" y="29768"/>
                      </a:cubicBezTo>
                      <a:lnTo>
                        <a:pt x="44517" y="27952"/>
                      </a:lnTo>
                      <a:lnTo>
                        <a:pt x="38250" y="25258"/>
                      </a:lnTo>
                      <a:cubicBezTo>
                        <a:pt x="37898" y="25082"/>
                        <a:pt x="37664" y="24672"/>
                        <a:pt x="37840" y="24262"/>
                      </a:cubicBezTo>
                      <a:lnTo>
                        <a:pt x="37898" y="24145"/>
                      </a:lnTo>
                      <a:cubicBezTo>
                        <a:pt x="38074" y="23735"/>
                        <a:pt x="38484" y="23559"/>
                        <a:pt x="38894" y="23735"/>
                      </a:cubicBezTo>
                      <a:lnTo>
                        <a:pt x="45162" y="26429"/>
                      </a:lnTo>
                      <a:lnTo>
                        <a:pt x="45689" y="25199"/>
                      </a:lnTo>
                      <a:lnTo>
                        <a:pt x="41589" y="23442"/>
                      </a:lnTo>
                      <a:cubicBezTo>
                        <a:pt x="41179" y="23267"/>
                        <a:pt x="41003" y="22857"/>
                        <a:pt x="41179" y="22447"/>
                      </a:cubicBezTo>
                      <a:lnTo>
                        <a:pt x="41237" y="22330"/>
                      </a:lnTo>
                      <a:cubicBezTo>
                        <a:pt x="41413" y="21920"/>
                        <a:pt x="41823" y="21744"/>
                        <a:pt x="42233" y="21920"/>
                      </a:cubicBezTo>
                      <a:lnTo>
                        <a:pt x="46333" y="23677"/>
                      </a:lnTo>
                      <a:lnTo>
                        <a:pt x="46802" y="22564"/>
                      </a:lnTo>
                      <a:cubicBezTo>
                        <a:pt x="46978" y="22154"/>
                        <a:pt x="47446" y="21978"/>
                        <a:pt x="47798" y="22154"/>
                      </a:cubicBezTo>
                      <a:close/>
                      <a:moveTo>
                        <a:pt x="49614" y="16414"/>
                      </a:moveTo>
                      <a:cubicBezTo>
                        <a:pt x="49965" y="16121"/>
                        <a:pt x="50434" y="16180"/>
                        <a:pt x="50726" y="16531"/>
                      </a:cubicBezTo>
                      <a:cubicBezTo>
                        <a:pt x="51019" y="16883"/>
                        <a:pt x="50961" y="17351"/>
                        <a:pt x="50609" y="17644"/>
                      </a:cubicBezTo>
                      <a:cubicBezTo>
                        <a:pt x="50258" y="17937"/>
                        <a:pt x="49789" y="17878"/>
                        <a:pt x="49496" y="17527"/>
                      </a:cubicBezTo>
                      <a:cubicBezTo>
                        <a:pt x="49204" y="17176"/>
                        <a:pt x="49262" y="16707"/>
                        <a:pt x="49614" y="16414"/>
                      </a:cubicBezTo>
                      <a:close/>
                      <a:moveTo>
                        <a:pt x="52660" y="17000"/>
                      </a:moveTo>
                      <a:cubicBezTo>
                        <a:pt x="52718" y="16883"/>
                        <a:pt x="52718" y="16824"/>
                        <a:pt x="52718" y="16824"/>
                      </a:cubicBezTo>
                      <a:lnTo>
                        <a:pt x="52718" y="16824"/>
                      </a:lnTo>
                      <a:cubicBezTo>
                        <a:pt x="52894" y="16531"/>
                        <a:pt x="53304" y="16473"/>
                        <a:pt x="53597" y="16707"/>
                      </a:cubicBezTo>
                      <a:cubicBezTo>
                        <a:pt x="53714" y="16824"/>
                        <a:pt x="53831" y="16941"/>
                        <a:pt x="53831" y="17117"/>
                      </a:cubicBezTo>
                      <a:lnTo>
                        <a:pt x="54241" y="19694"/>
                      </a:lnTo>
                      <a:cubicBezTo>
                        <a:pt x="54300" y="20280"/>
                        <a:pt x="53948" y="20748"/>
                        <a:pt x="53362" y="20865"/>
                      </a:cubicBezTo>
                      <a:lnTo>
                        <a:pt x="50726" y="21275"/>
                      </a:lnTo>
                      <a:cubicBezTo>
                        <a:pt x="50609" y="21275"/>
                        <a:pt x="50434" y="21275"/>
                        <a:pt x="50316" y="21158"/>
                      </a:cubicBezTo>
                      <a:cubicBezTo>
                        <a:pt x="50024" y="20982"/>
                        <a:pt x="49965" y="20573"/>
                        <a:pt x="50199" y="20280"/>
                      </a:cubicBezTo>
                      <a:lnTo>
                        <a:pt x="50199" y="20280"/>
                      </a:lnTo>
                      <a:cubicBezTo>
                        <a:pt x="50199" y="20221"/>
                        <a:pt x="50258" y="20221"/>
                        <a:pt x="50375" y="20163"/>
                      </a:cubicBezTo>
                      <a:cubicBezTo>
                        <a:pt x="50961" y="19811"/>
                        <a:pt x="51429" y="19343"/>
                        <a:pt x="51839" y="18816"/>
                      </a:cubicBezTo>
                      <a:cubicBezTo>
                        <a:pt x="52191" y="18230"/>
                        <a:pt x="52484" y="17644"/>
                        <a:pt x="52660" y="17000"/>
                      </a:cubicBezTo>
                      <a:close/>
                      <a:moveTo>
                        <a:pt x="57287" y="17878"/>
                      </a:moveTo>
                      <a:cubicBezTo>
                        <a:pt x="57814" y="18288"/>
                        <a:pt x="58400" y="18581"/>
                        <a:pt x="59044" y="18757"/>
                      </a:cubicBezTo>
                      <a:cubicBezTo>
                        <a:pt x="59161" y="18757"/>
                        <a:pt x="59220" y="18816"/>
                        <a:pt x="59220" y="18816"/>
                      </a:cubicBezTo>
                      <a:lnTo>
                        <a:pt x="59220" y="18816"/>
                      </a:lnTo>
                      <a:cubicBezTo>
                        <a:pt x="59513" y="18991"/>
                        <a:pt x="59571" y="19401"/>
                        <a:pt x="59337" y="19694"/>
                      </a:cubicBezTo>
                      <a:cubicBezTo>
                        <a:pt x="59220" y="19811"/>
                        <a:pt x="59103" y="19928"/>
                        <a:pt x="58927" y="19928"/>
                      </a:cubicBezTo>
                      <a:lnTo>
                        <a:pt x="56350" y="20338"/>
                      </a:lnTo>
                      <a:cubicBezTo>
                        <a:pt x="55764" y="20397"/>
                        <a:pt x="55295" y="20045"/>
                        <a:pt x="55178" y="19460"/>
                      </a:cubicBezTo>
                      <a:lnTo>
                        <a:pt x="54768" y="16824"/>
                      </a:lnTo>
                      <a:cubicBezTo>
                        <a:pt x="54768" y="16707"/>
                        <a:pt x="54768" y="16531"/>
                        <a:pt x="54885" y="16414"/>
                      </a:cubicBezTo>
                      <a:cubicBezTo>
                        <a:pt x="55061" y="16121"/>
                        <a:pt x="55471" y="16063"/>
                        <a:pt x="55764" y="16297"/>
                      </a:cubicBezTo>
                      <a:lnTo>
                        <a:pt x="55764" y="16297"/>
                      </a:lnTo>
                      <a:cubicBezTo>
                        <a:pt x="55823" y="16297"/>
                        <a:pt x="55823" y="16356"/>
                        <a:pt x="55881" y="16473"/>
                      </a:cubicBezTo>
                      <a:cubicBezTo>
                        <a:pt x="56350" y="17000"/>
                        <a:pt x="56760" y="17527"/>
                        <a:pt x="57287" y="17878"/>
                      </a:cubicBezTo>
                      <a:close/>
                      <a:moveTo>
                        <a:pt x="59571" y="15302"/>
                      </a:moveTo>
                      <a:cubicBezTo>
                        <a:pt x="60333" y="16707"/>
                        <a:pt x="57931" y="16941"/>
                        <a:pt x="58224" y="15711"/>
                      </a:cubicBezTo>
                      <a:cubicBezTo>
                        <a:pt x="58341" y="15126"/>
                        <a:pt x="58810" y="14833"/>
                        <a:pt x="59571" y="15302"/>
                      </a:cubicBezTo>
                      <a:close/>
                      <a:moveTo>
                        <a:pt x="70759" y="41422"/>
                      </a:moveTo>
                      <a:cubicBezTo>
                        <a:pt x="70174" y="41071"/>
                        <a:pt x="70467" y="39900"/>
                        <a:pt x="70467" y="39021"/>
                      </a:cubicBezTo>
                      <a:cubicBezTo>
                        <a:pt x="70408" y="36678"/>
                        <a:pt x="70174" y="35214"/>
                        <a:pt x="69646" y="33047"/>
                      </a:cubicBezTo>
                      <a:cubicBezTo>
                        <a:pt x="69471" y="32403"/>
                        <a:pt x="69236" y="31466"/>
                        <a:pt x="70115" y="31407"/>
                      </a:cubicBezTo>
                      <a:cubicBezTo>
                        <a:pt x="70174" y="31407"/>
                        <a:pt x="70525" y="31407"/>
                        <a:pt x="70818" y="31642"/>
                      </a:cubicBezTo>
                      <a:cubicBezTo>
                        <a:pt x="71052" y="31817"/>
                        <a:pt x="71287" y="33282"/>
                        <a:pt x="71462" y="33984"/>
                      </a:cubicBezTo>
                      <a:cubicBezTo>
                        <a:pt x="71814" y="35917"/>
                        <a:pt x="72048" y="37967"/>
                        <a:pt x="72048" y="40134"/>
                      </a:cubicBezTo>
                      <a:cubicBezTo>
                        <a:pt x="71931" y="40895"/>
                        <a:pt x="71755" y="42008"/>
                        <a:pt x="70759" y="41422"/>
                      </a:cubicBezTo>
                      <a:close/>
                      <a:moveTo>
                        <a:pt x="71345" y="44116"/>
                      </a:moveTo>
                      <a:cubicBezTo>
                        <a:pt x="71111" y="45171"/>
                        <a:pt x="69588" y="44643"/>
                        <a:pt x="69822" y="43824"/>
                      </a:cubicBezTo>
                      <a:cubicBezTo>
                        <a:pt x="69881" y="43589"/>
                        <a:pt x="69998" y="43296"/>
                        <a:pt x="70584" y="43296"/>
                      </a:cubicBezTo>
                      <a:cubicBezTo>
                        <a:pt x="71111" y="43296"/>
                        <a:pt x="71462" y="43648"/>
                        <a:pt x="71345" y="44116"/>
                      </a:cubicBezTo>
                      <a:close/>
                      <a:moveTo>
                        <a:pt x="62207" y="58641"/>
                      </a:moveTo>
                      <a:cubicBezTo>
                        <a:pt x="62207" y="58758"/>
                        <a:pt x="62149" y="58817"/>
                        <a:pt x="62149" y="58817"/>
                      </a:cubicBezTo>
                      <a:lnTo>
                        <a:pt x="62149" y="58817"/>
                      </a:lnTo>
                      <a:cubicBezTo>
                        <a:pt x="61973" y="59109"/>
                        <a:pt x="61563" y="59168"/>
                        <a:pt x="61329" y="58992"/>
                      </a:cubicBezTo>
                      <a:cubicBezTo>
                        <a:pt x="61212" y="58875"/>
                        <a:pt x="61094" y="58758"/>
                        <a:pt x="61094" y="58582"/>
                      </a:cubicBezTo>
                      <a:lnTo>
                        <a:pt x="60626" y="56005"/>
                      </a:lnTo>
                      <a:cubicBezTo>
                        <a:pt x="60509" y="55478"/>
                        <a:pt x="60919" y="54893"/>
                        <a:pt x="61446" y="54834"/>
                      </a:cubicBezTo>
                      <a:lnTo>
                        <a:pt x="64082" y="54366"/>
                      </a:lnTo>
                      <a:cubicBezTo>
                        <a:pt x="64199" y="54366"/>
                        <a:pt x="64375" y="54366"/>
                        <a:pt x="64492" y="54483"/>
                      </a:cubicBezTo>
                      <a:cubicBezTo>
                        <a:pt x="64785" y="54658"/>
                        <a:pt x="64843" y="55068"/>
                        <a:pt x="64668" y="55303"/>
                      </a:cubicBezTo>
                      <a:lnTo>
                        <a:pt x="64668" y="55303"/>
                      </a:lnTo>
                      <a:cubicBezTo>
                        <a:pt x="64668" y="55361"/>
                        <a:pt x="64609" y="55361"/>
                        <a:pt x="64492" y="55420"/>
                      </a:cubicBezTo>
                      <a:cubicBezTo>
                        <a:pt x="63965" y="55830"/>
                        <a:pt x="63496" y="56298"/>
                        <a:pt x="63086" y="56825"/>
                      </a:cubicBezTo>
                      <a:cubicBezTo>
                        <a:pt x="62676" y="57411"/>
                        <a:pt x="62383" y="57997"/>
                        <a:pt x="62207" y="58641"/>
                      </a:cubicBezTo>
                      <a:close/>
                      <a:moveTo>
                        <a:pt x="60040" y="53018"/>
                      </a:moveTo>
                      <a:lnTo>
                        <a:pt x="59571" y="50383"/>
                      </a:lnTo>
                      <a:cubicBezTo>
                        <a:pt x="59571" y="50266"/>
                        <a:pt x="59571" y="50090"/>
                        <a:pt x="59689" y="49973"/>
                      </a:cubicBezTo>
                      <a:cubicBezTo>
                        <a:pt x="59864" y="49680"/>
                        <a:pt x="60274" y="49622"/>
                        <a:pt x="60509" y="49797"/>
                      </a:cubicBezTo>
                      <a:lnTo>
                        <a:pt x="60509" y="49797"/>
                      </a:lnTo>
                      <a:cubicBezTo>
                        <a:pt x="60567" y="49797"/>
                        <a:pt x="60567" y="49856"/>
                        <a:pt x="60626" y="49973"/>
                      </a:cubicBezTo>
                      <a:cubicBezTo>
                        <a:pt x="60977" y="50500"/>
                        <a:pt x="61446" y="50969"/>
                        <a:pt x="62032" y="51379"/>
                      </a:cubicBezTo>
                      <a:cubicBezTo>
                        <a:pt x="62559" y="51730"/>
                        <a:pt x="63203" y="52023"/>
                        <a:pt x="63847" y="52199"/>
                      </a:cubicBezTo>
                      <a:cubicBezTo>
                        <a:pt x="63965" y="52199"/>
                        <a:pt x="64023" y="52257"/>
                        <a:pt x="64023" y="52257"/>
                      </a:cubicBezTo>
                      <a:lnTo>
                        <a:pt x="64023" y="52257"/>
                      </a:lnTo>
                      <a:cubicBezTo>
                        <a:pt x="64316" y="52433"/>
                        <a:pt x="64375" y="52843"/>
                        <a:pt x="64199" y="53136"/>
                      </a:cubicBezTo>
                      <a:cubicBezTo>
                        <a:pt x="64082" y="53253"/>
                        <a:pt x="63965" y="53370"/>
                        <a:pt x="63789" y="53370"/>
                      </a:cubicBezTo>
                      <a:lnTo>
                        <a:pt x="61212" y="53838"/>
                      </a:lnTo>
                      <a:cubicBezTo>
                        <a:pt x="60626" y="53956"/>
                        <a:pt x="60099" y="53546"/>
                        <a:pt x="60040" y="53018"/>
                      </a:cubicBezTo>
                      <a:close/>
                      <a:moveTo>
                        <a:pt x="59747" y="55420"/>
                      </a:moveTo>
                      <a:cubicBezTo>
                        <a:pt x="59337" y="55361"/>
                        <a:pt x="58986" y="55010"/>
                        <a:pt x="59044" y="54541"/>
                      </a:cubicBezTo>
                      <a:cubicBezTo>
                        <a:pt x="59103" y="54131"/>
                        <a:pt x="59454" y="53780"/>
                        <a:pt x="59923" y="53838"/>
                      </a:cubicBezTo>
                      <a:cubicBezTo>
                        <a:pt x="60333" y="53897"/>
                        <a:pt x="60684" y="54248"/>
                        <a:pt x="60626" y="54717"/>
                      </a:cubicBezTo>
                      <a:cubicBezTo>
                        <a:pt x="60567" y="55127"/>
                        <a:pt x="60157" y="55420"/>
                        <a:pt x="59747" y="55420"/>
                      </a:cubicBezTo>
                      <a:close/>
                      <a:moveTo>
                        <a:pt x="55003" y="62331"/>
                      </a:moveTo>
                      <a:cubicBezTo>
                        <a:pt x="55061" y="62389"/>
                        <a:pt x="55120" y="62448"/>
                        <a:pt x="55120" y="62506"/>
                      </a:cubicBezTo>
                      <a:lnTo>
                        <a:pt x="55120" y="62506"/>
                      </a:lnTo>
                      <a:cubicBezTo>
                        <a:pt x="55295" y="62799"/>
                        <a:pt x="55120" y="63151"/>
                        <a:pt x="54827" y="63326"/>
                      </a:cubicBezTo>
                      <a:cubicBezTo>
                        <a:pt x="54651" y="63385"/>
                        <a:pt x="54475" y="63385"/>
                        <a:pt x="54358" y="63326"/>
                      </a:cubicBezTo>
                      <a:lnTo>
                        <a:pt x="51898" y="62448"/>
                      </a:lnTo>
                      <a:cubicBezTo>
                        <a:pt x="51371" y="62272"/>
                        <a:pt x="51078" y="61686"/>
                        <a:pt x="51254" y="61159"/>
                      </a:cubicBezTo>
                      <a:lnTo>
                        <a:pt x="52132" y="58582"/>
                      </a:lnTo>
                      <a:cubicBezTo>
                        <a:pt x="52191" y="58465"/>
                        <a:pt x="52308" y="58348"/>
                        <a:pt x="52425" y="58290"/>
                      </a:cubicBezTo>
                      <a:cubicBezTo>
                        <a:pt x="52718" y="58114"/>
                        <a:pt x="53070" y="58290"/>
                        <a:pt x="53245" y="58582"/>
                      </a:cubicBezTo>
                      <a:lnTo>
                        <a:pt x="53245" y="58582"/>
                      </a:lnTo>
                      <a:cubicBezTo>
                        <a:pt x="53245" y="58641"/>
                        <a:pt x="53304" y="58700"/>
                        <a:pt x="53304" y="58758"/>
                      </a:cubicBezTo>
                      <a:cubicBezTo>
                        <a:pt x="53362" y="59402"/>
                        <a:pt x="53538" y="60047"/>
                        <a:pt x="53831" y="60632"/>
                      </a:cubicBezTo>
                      <a:cubicBezTo>
                        <a:pt x="54124" y="61335"/>
                        <a:pt x="54534" y="61862"/>
                        <a:pt x="55003" y="62331"/>
                      </a:cubicBezTo>
                      <a:close/>
                      <a:moveTo>
                        <a:pt x="55823" y="59227"/>
                      </a:moveTo>
                      <a:cubicBezTo>
                        <a:pt x="56174" y="58934"/>
                        <a:pt x="56643" y="58992"/>
                        <a:pt x="56936" y="59344"/>
                      </a:cubicBezTo>
                      <a:cubicBezTo>
                        <a:pt x="57228" y="59695"/>
                        <a:pt x="57170" y="60164"/>
                        <a:pt x="56818" y="60457"/>
                      </a:cubicBezTo>
                      <a:cubicBezTo>
                        <a:pt x="56467" y="60749"/>
                        <a:pt x="55998" y="60691"/>
                        <a:pt x="55705" y="60339"/>
                      </a:cubicBezTo>
                      <a:cubicBezTo>
                        <a:pt x="55413" y="60047"/>
                        <a:pt x="55471" y="59519"/>
                        <a:pt x="55823" y="59227"/>
                      </a:cubicBezTo>
                      <a:close/>
                      <a:moveTo>
                        <a:pt x="38543" y="56298"/>
                      </a:moveTo>
                      <a:lnTo>
                        <a:pt x="38543" y="56298"/>
                      </a:lnTo>
                      <a:lnTo>
                        <a:pt x="39304" y="55713"/>
                      </a:lnTo>
                      <a:cubicBezTo>
                        <a:pt x="39539" y="55537"/>
                        <a:pt x="39831" y="55478"/>
                        <a:pt x="40124" y="55478"/>
                      </a:cubicBezTo>
                      <a:cubicBezTo>
                        <a:pt x="40124" y="55478"/>
                        <a:pt x="40124" y="55478"/>
                        <a:pt x="40183" y="55478"/>
                      </a:cubicBezTo>
                      <a:cubicBezTo>
                        <a:pt x="40183" y="55478"/>
                        <a:pt x="40242" y="55478"/>
                        <a:pt x="40242" y="55478"/>
                      </a:cubicBezTo>
                      <a:cubicBezTo>
                        <a:pt x="40534" y="55478"/>
                        <a:pt x="40827" y="55537"/>
                        <a:pt x="41003" y="55713"/>
                      </a:cubicBezTo>
                      <a:lnTo>
                        <a:pt x="41706" y="56298"/>
                      </a:lnTo>
                      <a:lnTo>
                        <a:pt x="41706" y="56298"/>
                      </a:lnTo>
                      <a:lnTo>
                        <a:pt x="42877" y="57294"/>
                      </a:lnTo>
                      <a:lnTo>
                        <a:pt x="42877" y="57294"/>
                      </a:lnTo>
                      <a:cubicBezTo>
                        <a:pt x="42936" y="57352"/>
                        <a:pt x="42995" y="57470"/>
                        <a:pt x="42995" y="57587"/>
                      </a:cubicBezTo>
                      <a:cubicBezTo>
                        <a:pt x="42995" y="57762"/>
                        <a:pt x="42819" y="57938"/>
                        <a:pt x="42643" y="57938"/>
                      </a:cubicBezTo>
                      <a:cubicBezTo>
                        <a:pt x="42643" y="57938"/>
                        <a:pt x="42643" y="57938"/>
                        <a:pt x="42643" y="57938"/>
                      </a:cubicBezTo>
                      <a:lnTo>
                        <a:pt x="42643" y="57938"/>
                      </a:lnTo>
                      <a:cubicBezTo>
                        <a:pt x="42643" y="57938"/>
                        <a:pt x="42643" y="57938"/>
                        <a:pt x="42643" y="57938"/>
                      </a:cubicBezTo>
                      <a:cubicBezTo>
                        <a:pt x="41764" y="57880"/>
                        <a:pt x="40944" y="57821"/>
                        <a:pt x="40124" y="57821"/>
                      </a:cubicBezTo>
                      <a:cubicBezTo>
                        <a:pt x="39304" y="57821"/>
                        <a:pt x="38484" y="57880"/>
                        <a:pt x="37606" y="57938"/>
                      </a:cubicBezTo>
                      <a:cubicBezTo>
                        <a:pt x="37606" y="57938"/>
                        <a:pt x="37606" y="57938"/>
                        <a:pt x="37606" y="57938"/>
                      </a:cubicBezTo>
                      <a:lnTo>
                        <a:pt x="37606" y="57938"/>
                      </a:lnTo>
                      <a:cubicBezTo>
                        <a:pt x="37606" y="57938"/>
                        <a:pt x="37606" y="57938"/>
                        <a:pt x="37606" y="57938"/>
                      </a:cubicBezTo>
                      <a:cubicBezTo>
                        <a:pt x="37371" y="57938"/>
                        <a:pt x="37254" y="57762"/>
                        <a:pt x="37254" y="57587"/>
                      </a:cubicBezTo>
                      <a:cubicBezTo>
                        <a:pt x="37254" y="57470"/>
                        <a:pt x="37313" y="57352"/>
                        <a:pt x="37371" y="57294"/>
                      </a:cubicBezTo>
                      <a:lnTo>
                        <a:pt x="37371" y="57294"/>
                      </a:lnTo>
                      <a:lnTo>
                        <a:pt x="38543" y="56298"/>
                      </a:lnTo>
                      <a:close/>
                      <a:moveTo>
                        <a:pt x="43405" y="55713"/>
                      </a:moveTo>
                      <a:lnTo>
                        <a:pt x="43405" y="55713"/>
                      </a:lnTo>
                      <a:cubicBezTo>
                        <a:pt x="43346" y="55654"/>
                        <a:pt x="43287" y="55537"/>
                        <a:pt x="43287" y="55420"/>
                      </a:cubicBezTo>
                      <a:cubicBezTo>
                        <a:pt x="43287" y="55186"/>
                        <a:pt x="43463" y="55068"/>
                        <a:pt x="43639" y="55068"/>
                      </a:cubicBezTo>
                      <a:cubicBezTo>
                        <a:pt x="43639" y="55068"/>
                        <a:pt x="43639" y="55068"/>
                        <a:pt x="43697" y="55068"/>
                      </a:cubicBezTo>
                      <a:lnTo>
                        <a:pt x="43697" y="55068"/>
                      </a:lnTo>
                      <a:cubicBezTo>
                        <a:pt x="43697" y="55068"/>
                        <a:pt x="43697" y="55068"/>
                        <a:pt x="43697" y="55068"/>
                      </a:cubicBezTo>
                      <a:cubicBezTo>
                        <a:pt x="44576" y="55127"/>
                        <a:pt x="45396" y="55186"/>
                        <a:pt x="46216" y="55186"/>
                      </a:cubicBezTo>
                      <a:cubicBezTo>
                        <a:pt x="47036" y="55186"/>
                        <a:pt x="47856" y="55127"/>
                        <a:pt x="48735" y="55068"/>
                      </a:cubicBezTo>
                      <a:cubicBezTo>
                        <a:pt x="48735" y="55068"/>
                        <a:pt x="48735" y="55068"/>
                        <a:pt x="48735" y="55068"/>
                      </a:cubicBezTo>
                      <a:lnTo>
                        <a:pt x="48735" y="55068"/>
                      </a:lnTo>
                      <a:cubicBezTo>
                        <a:pt x="48735" y="55068"/>
                        <a:pt x="48735" y="55068"/>
                        <a:pt x="48794" y="55068"/>
                      </a:cubicBezTo>
                      <a:cubicBezTo>
                        <a:pt x="49028" y="55068"/>
                        <a:pt x="49145" y="55244"/>
                        <a:pt x="49145" y="55420"/>
                      </a:cubicBezTo>
                      <a:cubicBezTo>
                        <a:pt x="49145" y="55537"/>
                        <a:pt x="49086" y="55654"/>
                        <a:pt x="49028" y="55713"/>
                      </a:cubicBezTo>
                      <a:lnTo>
                        <a:pt x="49028" y="55713"/>
                      </a:lnTo>
                      <a:lnTo>
                        <a:pt x="47856" y="56708"/>
                      </a:lnTo>
                      <a:lnTo>
                        <a:pt x="47856" y="56708"/>
                      </a:lnTo>
                      <a:lnTo>
                        <a:pt x="47095" y="57294"/>
                      </a:lnTo>
                      <a:cubicBezTo>
                        <a:pt x="46861" y="57470"/>
                        <a:pt x="46568" y="57528"/>
                        <a:pt x="46275" y="57528"/>
                      </a:cubicBezTo>
                      <a:cubicBezTo>
                        <a:pt x="46275" y="57528"/>
                        <a:pt x="46216" y="57528"/>
                        <a:pt x="46216" y="57528"/>
                      </a:cubicBezTo>
                      <a:cubicBezTo>
                        <a:pt x="46216" y="57528"/>
                        <a:pt x="46158" y="57528"/>
                        <a:pt x="46158" y="57528"/>
                      </a:cubicBezTo>
                      <a:cubicBezTo>
                        <a:pt x="45865" y="57528"/>
                        <a:pt x="45572" y="57470"/>
                        <a:pt x="45338" y="57294"/>
                      </a:cubicBezTo>
                      <a:lnTo>
                        <a:pt x="44635" y="56650"/>
                      </a:lnTo>
                      <a:cubicBezTo>
                        <a:pt x="44635" y="56650"/>
                        <a:pt x="44635" y="56650"/>
                        <a:pt x="44635" y="56650"/>
                      </a:cubicBezTo>
                      <a:lnTo>
                        <a:pt x="43405" y="55713"/>
                      </a:lnTo>
                      <a:close/>
                      <a:moveTo>
                        <a:pt x="46451" y="59519"/>
                      </a:moveTo>
                      <a:lnTo>
                        <a:pt x="46451" y="59519"/>
                      </a:lnTo>
                      <a:cubicBezTo>
                        <a:pt x="46509" y="59519"/>
                        <a:pt x="46568" y="59461"/>
                        <a:pt x="46685" y="59461"/>
                      </a:cubicBezTo>
                      <a:cubicBezTo>
                        <a:pt x="47329" y="59402"/>
                        <a:pt x="47973" y="59227"/>
                        <a:pt x="48559" y="58934"/>
                      </a:cubicBezTo>
                      <a:cubicBezTo>
                        <a:pt x="49145" y="58641"/>
                        <a:pt x="49672" y="58231"/>
                        <a:pt x="50141" y="57762"/>
                      </a:cubicBezTo>
                      <a:cubicBezTo>
                        <a:pt x="50199" y="57704"/>
                        <a:pt x="50258" y="57645"/>
                        <a:pt x="50316" y="57645"/>
                      </a:cubicBezTo>
                      <a:lnTo>
                        <a:pt x="50316" y="57645"/>
                      </a:lnTo>
                      <a:cubicBezTo>
                        <a:pt x="50609" y="57470"/>
                        <a:pt x="50961" y="57645"/>
                        <a:pt x="51137" y="57938"/>
                      </a:cubicBezTo>
                      <a:cubicBezTo>
                        <a:pt x="51195" y="58114"/>
                        <a:pt x="51195" y="58290"/>
                        <a:pt x="51137" y="58407"/>
                      </a:cubicBezTo>
                      <a:lnTo>
                        <a:pt x="50258" y="60925"/>
                      </a:lnTo>
                      <a:cubicBezTo>
                        <a:pt x="50082" y="61452"/>
                        <a:pt x="49496" y="61745"/>
                        <a:pt x="48969" y="61569"/>
                      </a:cubicBezTo>
                      <a:lnTo>
                        <a:pt x="46451" y="60691"/>
                      </a:lnTo>
                      <a:cubicBezTo>
                        <a:pt x="46333" y="60632"/>
                        <a:pt x="46216" y="60515"/>
                        <a:pt x="46158" y="60398"/>
                      </a:cubicBezTo>
                      <a:cubicBezTo>
                        <a:pt x="46040" y="60047"/>
                        <a:pt x="46158" y="59637"/>
                        <a:pt x="46451" y="59519"/>
                      </a:cubicBezTo>
                      <a:close/>
                      <a:moveTo>
                        <a:pt x="44049" y="65083"/>
                      </a:moveTo>
                      <a:cubicBezTo>
                        <a:pt x="44400" y="64790"/>
                        <a:pt x="44869" y="64849"/>
                        <a:pt x="45162" y="65200"/>
                      </a:cubicBezTo>
                      <a:cubicBezTo>
                        <a:pt x="45455" y="65552"/>
                        <a:pt x="45396" y="66020"/>
                        <a:pt x="45045" y="66313"/>
                      </a:cubicBezTo>
                      <a:cubicBezTo>
                        <a:pt x="44693" y="66606"/>
                        <a:pt x="44225" y="66547"/>
                        <a:pt x="43932" y="66196"/>
                      </a:cubicBezTo>
                      <a:cubicBezTo>
                        <a:pt x="43639" y="65845"/>
                        <a:pt x="43697" y="65318"/>
                        <a:pt x="44049" y="65083"/>
                      </a:cubicBezTo>
                      <a:close/>
                      <a:moveTo>
                        <a:pt x="45572" y="62623"/>
                      </a:moveTo>
                      <a:cubicBezTo>
                        <a:pt x="45513" y="62565"/>
                        <a:pt x="45455" y="62506"/>
                        <a:pt x="45455" y="62448"/>
                      </a:cubicBezTo>
                      <a:lnTo>
                        <a:pt x="45455" y="62448"/>
                      </a:lnTo>
                      <a:cubicBezTo>
                        <a:pt x="45279" y="62155"/>
                        <a:pt x="45455" y="61804"/>
                        <a:pt x="45748" y="61628"/>
                      </a:cubicBezTo>
                      <a:cubicBezTo>
                        <a:pt x="45923" y="61569"/>
                        <a:pt x="46099" y="61569"/>
                        <a:pt x="46216" y="61628"/>
                      </a:cubicBezTo>
                      <a:lnTo>
                        <a:pt x="48676" y="62506"/>
                      </a:lnTo>
                      <a:cubicBezTo>
                        <a:pt x="49204" y="62682"/>
                        <a:pt x="49496" y="63268"/>
                        <a:pt x="49321" y="63795"/>
                      </a:cubicBezTo>
                      <a:lnTo>
                        <a:pt x="48442" y="66372"/>
                      </a:lnTo>
                      <a:cubicBezTo>
                        <a:pt x="48383" y="66489"/>
                        <a:pt x="48266" y="66606"/>
                        <a:pt x="48149" y="66665"/>
                      </a:cubicBezTo>
                      <a:cubicBezTo>
                        <a:pt x="47856" y="66840"/>
                        <a:pt x="47505" y="66665"/>
                        <a:pt x="47329" y="66372"/>
                      </a:cubicBezTo>
                      <a:lnTo>
                        <a:pt x="47329" y="66372"/>
                      </a:lnTo>
                      <a:cubicBezTo>
                        <a:pt x="47329" y="66313"/>
                        <a:pt x="47271" y="66255"/>
                        <a:pt x="47271" y="66196"/>
                      </a:cubicBezTo>
                      <a:cubicBezTo>
                        <a:pt x="47212" y="65552"/>
                        <a:pt x="47036" y="64908"/>
                        <a:pt x="46743" y="64322"/>
                      </a:cubicBezTo>
                      <a:cubicBezTo>
                        <a:pt x="46451" y="63619"/>
                        <a:pt x="46040" y="63092"/>
                        <a:pt x="45572" y="62623"/>
                      </a:cubicBezTo>
                      <a:close/>
                      <a:moveTo>
                        <a:pt x="49614" y="62038"/>
                      </a:moveTo>
                      <a:cubicBezTo>
                        <a:pt x="49848" y="61686"/>
                        <a:pt x="50375" y="61569"/>
                        <a:pt x="50726" y="61804"/>
                      </a:cubicBezTo>
                      <a:cubicBezTo>
                        <a:pt x="51078" y="62038"/>
                        <a:pt x="51195" y="62565"/>
                        <a:pt x="50961" y="62916"/>
                      </a:cubicBezTo>
                      <a:cubicBezTo>
                        <a:pt x="50726" y="63268"/>
                        <a:pt x="50199" y="63385"/>
                        <a:pt x="49848" y="63151"/>
                      </a:cubicBezTo>
                      <a:cubicBezTo>
                        <a:pt x="49496" y="62858"/>
                        <a:pt x="49379" y="62389"/>
                        <a:pt x="49614" y="62038"/>
                      </a:cubicBezTo>
                      <a:close/>
                      <a:moveTo>
                        <a:pt x="55120" y="54775"/>
                      </a:moveTo>
                      <a:cubicBezTo>
                        <a:pt x="54827" y="54600"/>
                        <a:pt x="54768" y="54190"/>
                        <a:pt x="54944" y="53897"/>
                      </a:cubicBezTo>
                      <a:lnTo>
                        <a:pt x="54944" y="53897"/>
                      </a:lnTo>
                      <a:cubicBezTo>
                        <a:pt x="54944" y="53838"/>
                        <a:pt x="55003" y="53838"/>
                        <a:pt x="55120" y="53780"/>
                      </a:cubicBezTo>
                      <a:cubicBezTo>
                        <a:pt x="55647" y="53370"/>
                        <a:pt x="56115" y="52901"/>
                        <a:pt x="56525" y="52374"/>
                      </a:cubicBezTo>
                      <a:cubicBezTo>
                        <a:pt x="56877" y="51847"/>
                        <a:pt x="57170" y="51203"/>
                        <a:pt x="57346" y="50559"/>
                      </a:cubicBezTo>
                      <a:cubicBezTo>
                        <a:pt x="57346" y="50442"/>
                        <a:pt x="57404" y="50383"/>
                        <a:pt x="57404" y="50383"/>
                      </a:cubicBezTo>
                      <a:lnTo>
                        <a:pt x="57404" y="50383"/>
                      </a:lnTo>
                      <a:cubicBezTo>
                        <a:pt x="57580" y="50090"/>
                        <a:pt x="57990" y="50032"/>
                        <a:pt x="58224" y="50207"/>
                      </a:cubicBezTo>
                      <a:cubicBezTo>
                        <a:pt x="58341" y="50324"/>
                        <a:pt x="58459" y="50442"/>
                        <a:pt x="58459" y="50617"/>
                      </a:cubicBezTo>
                      <a:lnTo>
                        <a:pt x="58459" y="50617"/>
                      </a:lnTo>
                      <a:lnTo>
                        <a:pt x="58927" y="53194"/>
                      </a:lnTo>
                      <a:cubicBezTo>
                        <a:pt x="59044" y="53721"/>
                        <a:pt x="58634" y="54307"/>
                        <a:pt x="58107" y="54366"/>
                      </a:cubicBezTo>
                      <a:lnTo>
                        <a:pt x="55471" y="54834"/>
                      </a:lnTo>
                      <a:cubicBezTo>
                        <a:pt x="55413" y="54893"/>
                        <a:pt x="55295" y="54893"/>
                        <a:pt x="55120" y="54775"/>
                      </a:cubicBezTo>
                      <a:close/>
                      <a:moveTo>
                        <a:pt x="58986" y="28186"/>
                      </a:moveTo>
                      <a:lnTo>
                        <a:pt x="58986" y="28186"/>
                      </a:lnTo>
                      <a:cubicBezTo>
                        <a:pt x="59044" y="28186"/>
                        <a:pt x="59103" y="28128"/>
                        <a:pt x="59220" y="28128"/>
                      </a:cubicBezTo>
                      <a:cubicBezTo>
                        <a:pt x="59864" y="28128"/>
                        <a:pt x="60509" y="27952"/>
                        <a:pt x="61153" y="27718"/>
                      </a:cubicBezTo>
                      <a:cubicBezTo>
                        <a:pt x="61739" y="27425"/>
                        <a:pt x="62324" y="27073"/>
                        <a:pt x="62793" y="26605"/>
                      </a:cubicBezTo>
                      <a:cubicBezTo>
                        <a:pt x="62852" y="26546"/>
                        <a:pt x="62910" y="26488"/>
                        <a:pt x="62969" y="26488"/>
                      </a:cubicBezTo>
                      <a:lnTo>
                        <a:pt x="62969" y="26488"/>
                      </a:lnTo>
                      <a:cubicBezTo>
                        <a:pt x="63262" y="26371"/>
                        <a:pt x="63613" y="26488"/>
                        <a:pt x="63789" y="26781"/>
                      </a:cubicBezTo>
                      <a:cubicBezTo>
                        <a:pt x="63847" y="26956"/>
                        <a:pt x="63847" y="27132"/>
                        <a:pt x="63789" y="27249"/>
                      </a:cubicBezTo>
                      <a:lnTo>
                        <a:pt x="62793" y="29709"/>
                      </a:lnTo>
                      <a:cubicBezTo>
                        <a:pt x="62559" y="30236"/>
                        <a:pt x="61973" y="30470"/>
                        <a:pt x="61446" y="30295"/>
                      </a:cubicBezTo>
                      <a:lnTo>
                        <a:pt x="58986" y="29299"/>
                      </a:lnTo>
                      <a:cubicBezTo>
                        <a:pt x="58869" y="29240"/>
                        <a:pt x="58751" y="29123"/>
                        <a:pt x="58693" y="29006"/>
                      </a:cubicBezTo>
                      <a:cubicBezTo>
                        <a:pt x="58517" y="28655"/>
                        <a:pt x="58693" y="28303"/>
                        <a:pt x="58986" y="28186"/>
                      </a:cubicBezTo>
                      <a:close/>
                      <a:moveTo>
                        <a:pt x="60274" y="24497"/>
                      </a:moveTo>
                      <a:cubicBezTo>
                        <a:pt x="60626" y="24204"/>
                        <a:pt x="61094" y="24262"/>
                        <a:pt x="61387" y="24614"/>
                      </a:cubicBezTo>
                      <a:cubicBezTo>
                        <a:pt x="61680" y="24965"/>
                        <a:pt x="61622" y="25434"/>
                        <a:pt x="61270" y="25726"/>
                      </a:cubicBezTo>
                      <a:cubicBezTo>
                        <a:pt x="60919" y="26019"/>
                        <a:pt x="60450" y="25961"/>
                        <a:pt x="60157" y="25609"/>
                      </a:cubicBezTo>
                      <a:cubicBezTo>
                        <a:pt x="59923" y="25316"/>
                        <a:pt x="59981" y="24789"/>
                        <a:pt x="60274" y="24497"/>
                      </a:cubicBezTo>
                      <a:close/>
                      <a:moveTo>
                        <a:pt x="58166" y="30236"/>
                      </a:moveTo>
                      <a:cubicBezTo>
                        <a:pt x="58341" y="30177"/>
                        <a:pt x="58517" y="30177"/>
                        <a:pt x="58634" y="30236"/>
                      </a:cubicBezTo>
                      <a:lnTo>
                        <a:pt x="61094" y="31232"/>
                      </a:lnTo>
                      <a:cubicBezTo>
                        <a:pt x="61622" y="31466"/>
                        <a:pt x="61856" y="32052"/>
                        <a:pt x="61680" y="32579"/>
                      </a:cubicBezTo>
                      <a:lnTo>
                        <a:pt x="60684" y="35097"/>
                      </a:lnTo>
                      <a:cubicBezTo>
                        <a:pt x="60626" y="35214"/>
                        <a:pt x="60509" y="35331"/>
                        <a:pt x="60391" y="35390"/>
                      </a:cubicBezTo>
                      <a:cubicBezTo>
                        <a:pt x="60099" y="35507"/>
                        <a:pt x="59747" y="35390"/>
                        <a:pt x="59571" y="35097"/>
                      </a:cubicBezTo>
                      <a:lnTo>
                        <a:pt x="59571" y="35097"/>
                      </a:lnTo>
                      <a:cubicBezTo>
                        <a:pt x="59571" y="35039"/>
                        <a:pt x="59513" y="34980"/>
                        <a:pt x="59513" y="34921"/>
                      </a:cubicBezTo>
                      <a:cubicBezTo>
                        <a:pt x="59513" y="34277"/>
                        <a:pt x="59337" y="33633"/>
                        <a:pt x="59103" y="32989"/>
                      </a:cubicBezTo>
                      <a:cubicBezTo>
                        <a:pt x="58869" y="32403"/>
                        <a:pt x="58459" y="31817"/>
                        <a:pt x="58048" y="31349"/>
                      </a:cubicBezTo>
                      <a:cubicBezTo>
                        <a:pt x="57990" y="31290"/>
                        <a:pt x="57931" y="31232"/>
                        <a:pt x="57931" y="31173"/>
                      </a:cubicBezTo>
                      <a:lnTo>
                        <a:pt x="57931" y="31173"/>
                      </a:lnTo>
                      <a:cubicBezTo>
                        <a:pt x="57697" y="30705"/>
                        <a:pt x="57873" y="30353"/>
                        <a:pt x="58166" y="30236"/>
                      </a:cubicBezTo>
                      <a:close/>
                      <a:moveTo>
                        <a:pt x="62032" y="30822"/>
                      </a:moveTo>
                      <a:cubicBezTo>
                        <a:pt x="62266" y="30470"/>
                        <a:pt x="62793" y="30412"/>
                        <a:pt x="63145" y="30646"/>
                      </a:cubicBezTo>
                      <a:cubicBezTo>
                        <a:pt x="63496" y="30880"/>
                        <a:pt x="63555" y="31407"/>
                        <a:pt x="63320" y="31759"/>
                      </a:cubicBezTo>
                      <a:cubicBezTo>
                        <a:pt x="63027" y="32110"/>
                        <a:pt x="62559" y="32169"/>
                        <a:pt x="62207" y="31934"/>
                      </a:cubicBezTo>
                      <a:cubicBezTo>
                        <a:pt x="61856" y="31700"/>
                        <a:pt x="61797" y="31173"/>
                        <a:pt x="62032" y="30822"/>
                      </a:cubicBezTo>
                      <a:close/>
                      <a:moveTo>
                        <a:pt x="63906" y="32344"/>
                      </a:moveTo>
                      <a:lnTo>
                        <a:pt x="66366" y="33340"/>
                      </a:lnTo>
                      <a:cubicBezTo>
                        <a:pt x="66483" y="33399"/>
                        <a:pt x="66601" y="33516"/>
                        <a:pt x="66659" y="33633"/>
                      </a:cubicBezTo>
                      <a:cubicBezTo>
                        <a:pt x="66776" y="33926"/>
                        <a:pt x="66659" y="34277"/>
                        <a:pt x="66308" y="34453"/>
                      </a:cubicBezTo>
                      <a:lnTo>
                        <a:pt x="66308" y="34453"/>
                      </a:lnTo>
                      <a:cubicBezTo>
                        <a:pt x="66249" y="34453"/>
                        <a:pt x="66190" y="34511"/>
                        <a:pt x="66132" y="34511"/>
                      </a:cubicBezTo>
                      <a:cubicBezTo>
                        <a:pt x="65488" y="34570"/>
                        <a:pt x="64843" y="34687"/>
                        <a:pt x="64199" y="34980"/>
                      </a:cubicBezTo>
                      <a:cubicBezTo>
                        <a:pt x="63613" y="35273"/>
                        <a:pt x="63027" y="35624"/>
                        <a:pt x="62559" y="36093"/>
                      </a:cubicBezTo>
                      <a:cubicBezTo>
                        <a:pt x="62500" y="36151"/>
                        <a:pt x="62442" y="36210"/>
                        <a:pt x="62383" y="36210"/>
                      </a:cubicBezTo>
                      <a:lnTo>
                        <a:pt x="62383" y="36210"/>
                      </a:lnTo>
                      <a:cubicBezTo>
                        <a:pt x="62090" y="36327"/>
                        <a:pt x="61739" y="36210"/>
                        <a:pt x="61563" y="35917"/>
                      </a:cubicBezTo>
                      <a:cubicBezTo>
                        <a:pt x="61504" y="35741"/>
                        <a:pt x="61504" y="35566"/>
                        <a:pt x="61563" y="35448"/>
                      </a:cubicBezTo>
                      <a:lnTo>
                        <a:pt x="62559" y="32989"/>
                      </a:lnTo>
                      <a:cubicBezTo>
                        <a:pt x="62793" y="32403"/>
                        <a:pt x="63379" y="32169"/>
                        <a:pt x="63906" y="32344"/>
                      </a:cubicBezTo>
                      <a:close/>
                      <a:moveTo>
                        <a:pt x="60802" y="39900"/>
                      </a:moveTo>
                      <a:cubicBezTo>
                        <a:pt x="60977" y="39900"/>
                        <a:pt x="61153" y="40017"/>
                        <a:pt x="61212" y="40134"/>
                      </a:cubicBezTo>
                      <a:lnTo>
                        <a:pt x="62910" y="42125"/>
                      </a:lnTo>
                      <a:cubicBezTo>
                        <a:pt x="63262" y="42535"/>
                        <a:pt x="63203" y="43179"/>
                        <a:pt x="62793" y="43589"/>
                      </a:cubicBezTo>
                      <a:lnTo>
                        <a:pt x="60743" y="45346"/>
                      </a:lnTo>
                      <a:cubicBezTo>
                        <a:pt x="60626" y="45405"/>
                        <a:pt x="60509" y="45463"/>
                        <a:pt x="60333" y="45463"/>
                      </a:cubicBezTo>
                      <a:cubicBezTo>
                        <a:pt x="59981" y="45463"/>
                        <a:pt x="59747" y="45171"/>
                        <a:pt x="59806" y="44819"/>
                      </a:cubicBezTo>
                      <a:lnTo>
                        <a:pt x="59806" y="44819"/>
                      </a:lnTo>
                      <a:cubicBezTo>
                        <a:pt x="59806" y="44761"/>
                        <a:pt x="59806" y="44702"/>
                        <a:pt x="59864" y="44643"/>
                      </a:cubicBezTo>
                      <a:cubicBezTo>
                        <a:pt x="60157" y="44058"/>
                        <a:pt x="60333" y="43414"/>
                        <a:pt x="60391" y="42711"/>
                      </a:cubicBezTo>
                      <a:cubicBezTo>
                        <a:pt x="60450" y="42067"/>
                        <a:pt x="60391" y="41364"/>
                        <a:pt x="60216" y="40719"/>
                      </a:cubicBezTo>
                      <a:cubicBezTo>
                        <a:pt x="60216" y="40602"/>
                        <a:pt x="60216" y="40544"/>
                        <a:pt x="60216" y="40485"/>
                      </a:cubicBezTo>
                      <a:lnTo>
                        <a:pt x="60216" y="40427"/>
                      </a:lnTo>
                      <a:cubicBezTo>
                        <a:pt x="60157" y="40134"/>
                        <a:pt x="60450" y="39900"/>
                        <a:pt x="60802" y="39900"/>
                      </a:cubicBezTo>
                      <a:close/>
                      <a:moveTo>
                        <a:pt x="63379" y="44409"/>
                      </a:moveTo>
                      <a:cubicBezTo>
                        <a:pt x="63789" y="44058"/>
                        <a:pt x="64433" y="44116"/>
                        <a:pt x="64843" y="44526"/>
                      </a:cubicBezTo>
                      <a:lnTo>
                        <a:pt x="66542" y="46576"/>
                      </a:lnTo>
                      <a:cubicBezTo>
                        <a:pt x="66601" y="46693"/>
                        <a:pt x="66659" y="46810"/>
                        <a:pt x="66659" y="46986"/>
                      </a:cubicBezTo>
                      <a:cubicBezTo>
                        <a:pt x="66601" y="47338"/>
                        <a:pt x="66308" y="47572"/>
                        <a:pt x="66015" y="47513"/>
                      </a:cubicBezTo>
                      <a:lnTo>
                        <a:pt x="66015" y="47513"/>
                      </a:lnTo>
                      <a:cubicBezTo>
                        <a:pt x="65956" y="47513"/>
                        <a:pt x="65898" y="47513"/>
                        <a:pt x="65839" y="47455"/>
                      </a:cubicBezTo>
                      <a:cubicBezTo>
                        <a:pt x="65253" y="47162"/>
                        <a:pt x="64609" y="46986"/>
                        <a:pt x="63965" y="46928"/>
                      </a:cubicBezTo>
                      <a:cubicBezTo>
                        <a:pt x="63320" y="46869"/>
                        <a:pt x="62676" y="46928"/>
                        <a:pt x="62032" y="47103"/>
                      </a:cubicBezTo>
                      <a:cubicBezTo>
                        <a:pt x="61914" y="47103"/>
                        <a:pt x="61856" y="47162"/>
                        <a:pt x="61797" y="47103"/>
                      </a:cubicBezTo>
                      <a:lnTo>
                        <a:pt x="61797" y="47103"/>
                      </a:lnTo>
                      <a:cubicBezTo>
                        <a:pt x="61446" y="47045"/>
                        <a:pt x="61212" y="46752"/>
                        <a:pt x="61270" y="46459"/>
                      </a:cubicBezTo>
                      <a:cubicBezTo>
                        <a:pt x="61270" y="46283"/>
                        <a:pt x="61387" y="46108"/>
                        <a:pt x="61504" y="46049"/>
                      </a:cubicBezTo>
                      <a:lnTo>
                        <a:pt x="63379" y="44409"/>
                      </a:lnTo>
                      <a:close/>
                      <a:moveTo>
                        <a:pt x="63906" y="42301"/>
                      </a:moveTo>
                      <a:cubicBezTo>
                        <a:pt x="64316" y="42125"/>
                        <a:pt x="64785" y="42301"/>
                        <a:pt x="64960" y="42711"/>
                      </a:cubicBezTo>
                      <a:cubicBezTo>
                        <a:pt x="65136" y="43121"/>
                        <a:pt x="64960" y="43589"/>
                        <a:pt x="64550" y="43765"/>
                      </a:cubicBezTo>
                      <a:cubicBezTo>
                        <a:pt x="64140" y="43941"/>
                        <a:pt x="63672" y="43765"/>
                        <a:pt x="63496" y="43355"/>
                      </a:cubicBezTo>
                      <a:cubicBezTo>
                        <a:pt x="63379" y="42945"/>
                        <a:pt x="63555" y="42476"/>
                        <a:pt x="63906" y="42301"/>
                      </a:cubicBezTo>
                      <a:close/>
                      <a:moveTo>
                        <a:pt x="68182" y="43355"/>
                      </a:moveTo>
                      <a:cubicBezTo>
                        <a:pt x="68123" y="43999"/>
                        <a:pt x="68182" y="44702"/>
                        <a:pt x="68358" y="45346"/>
                      </a:cubicBezTo>
                      <a:cubicBezTo>
                        <a:pt x="68358" y="45463"/>
                        <a:pt x="68416" y="45522"/>
                        <a:pt x="68358" y="45581"/>
                      </a:cubicBezTo>
                      <a:lnTo>
                        <a:pt x="68358" y="45639"/>
                      </a:lnTo>
                      <a:cubicBezTo>
                        <a:pt x="68358" y="45990"/>
                        <a:pt x="68006" y="46225"/>
                        <a:pt x="67713" y="46225"/>
                      </a:cubicBezTo>
                      <a:cubicBezTo>
                        <a:pt x="67538" y="46225"/>
                        <a:pt x="67362" y="46108"/>
                        <a:pt x="67303" y="45990"/>
                      </a:cubicBezTo>
                      <a:lnTo>
                        <a:pt x="65605" y="43999"/>
                      </a:lnTo>
                      <a:cubicBezTo>
                        <a:pt x="65253" y="43589"/>
                        <a:pt x="65312" y="42945"/>
                        <a:pt x="65722" y="42535"/>
                      </a:cubicBezTo>
                      <a:lnTo>
                        <a:pt x="67772" y="40778"/>
                      </a:lnTo>
                      <a:cubicBezTo>
                        <a:pt x="67889" y="40719"/>
                        <a:pt x="68006" y="40661"/>
                        <a:pt x="68182" y="40661"/>
                      </a:cubicBezTo>
                      <a:cubicBezTo>
                        <a:pt x="68533" y="40719"/>
                        <a:pt x="68768" y="41012"/>
                        <a:pt x="68709" y="41305"/>
                      </a:cubicBezTo>
                      <a:lnTo>
                        <a:pt x="68709" y="41305"/>
                      </a:lnTo>
                      <a:cubicBezTo>
                        <a:pt x="68709" y="41364"/>
                        <a:pt x="68709" y="41422"/>
                        <a:pt x="68651" y="41481"/>
                      </a:cubicBezTo>
                      <a:cubicBezTo>
                        <a:pt x="68416" y="42067"/>
                        <a:pt x="68241" y="42711"/>
                        <a:pt x="68182" y="43355"/>
                      </a:cubicBezTo>
                      <a:close/>
                      <a:moveTo>
                        <a:pt x="63906" y="49973"/>
                      </a:moveTo>
                      <a:cubicBezTo>
                        <a:pt x="63555" y="50266"/>
                        <a:pt x="63086" y="50207"/>
                        <a:pt x="62793" y="49856"/>
                      </a:cubicBezTo>
                      <a:cubicBezTo>
                        <a:pt x="62500" y="49504"/>
                        <a:pt x="62559" y="49036"/>
                        <a:pt x="62910" y="48743"/>
                      </a:cubicBezTo>
                      <a:cubicBezTo>
                        <a:pt x="63262" y="48450"/>
                        <a:pt x="63730" y="48509"/>
                        <a:pt x="64023" y="48860"/>
                      </a:cubicBezTo>
                      <a:cubicBezTo>
                        <a:pt x="64316" y="49153"/>
                        <a:pt x="64258" y="49680"/>
                        <a:pt x="63906" y="49973"/>
                      </a:cubicBezTo>
                      <a:close/>
                      <a:moveTo>
                        <a:pt x="66542" y="38904"/>
                      </a:moveTo>
                      <a:cubicBezTo>
                        <a:pt x="66659" y="38904"/>
                        <a:pt x="66718" y="38904"/>
                        <a:pt x="66776" y="38904"/>
                      </a:cubicBezTo>
                      <a:lnTo>
                        <a:pt x="66835" y="38904"/>
                      </a:lnTo>
                      <a:cubicBezTo>
                        <a:pt x="67186" y="38904"/>
                        <a:pt x="67421" y="39255"/>
                        <a:pt x="67362" y="39548"/>
                      </a:cubicBezTo>
                      <a:cubicBezTo>
                        <a:pt x="67362" y="39724"/>
                        <a:pt x="67245" y="39900"/>
                        <a:pt x="67128" y="39958"/>
                      </a:cubicBezTo>
                      <a:lnTo>
                        <a:pt x="65136" y="41657"/>
                      </a:lnTo>
                      <a:cubicBezTo>
                        <a:pt x="64726" y="42008"/>
                        <a:pt x="64082" y="41949"/>
                        <a:pt x="63672" y="41539"/>
                      </a:cubicBezTo>
                      <a:lnTo>
                        <a:pt x="61973" y="39490"/>
                      </a:lnTo>
                      <a:cubicBezTo>
                        <a:pt x="61914" y="39372"/>
                        <a:pt x="61856" y="39255"/>
                        <a:pt x="61856" y="39080"/>
                      </a:cubicBezTo>
                      <a:cubicBezTo>
                        <a:pt x="61914" y="38728"/>
                        <a:pt x="62207" y="38494"/>
                        <a:pt x="62500" y="38553"/>
                      </a:cubicBezTo>
                      <a:lnTo>
                        <a:pt x="62500" y="38553"/>
                      </a:lnTo>
                      <a:cubicBezTo>
                        <a:pt x="62559" y="38553"/>
                        <a:pt x="62617" y="38553"/>
                        <a:pt x="62676" y="38611"/>
                      </a:cubicBezTo>
                      <a:cubicBezTo>
                        <a:pt x="63262" y="38904"/>
                        <a:pt x="63906" y="39080"/>
                        <a:pt x="64550" y="39138"/>
                      </a:cubicBezTo>
                      <a:cubicBezTo>
                        <a:pt x="65253" y="39138"/>
                        <a:pt x="65898" y="39080"/>
                        <a:pt x="66542" y="38904"/>
                      </a:cubicBezTo>
                      <a:close/>
                      <a:moveTo>
                        <a:pt x="65605" y="37381"/>
                      </a:moveTo>
                      <a:cubicBezTo>
                        <a:pt x="65253" y="37674"/>
                        <a:pt x="64785" y="37615"/>
                        <a:pt x="64492" y="37264"/>
                      </a:cubicBezTo>
                      <a:cubicBezTo>
                        <a:pt x="64199" y="36913"/>
                        <a:pt x="64258" y="36444"/>
                        <a:pt x="64609" y="36151"/>
                      </a:cubicBezTo>
                      <a:cubicBezTo>
                        <a:pt x="64960" y="35858"/>
                        <a:pt x="65429" y="35917"/>
                        <a:pt x="65722" y="36268"/>
                      </a:cubicBezTo>
                      <a:cubicBezTo>
                        <a:pt x="65956" y="36620"/>
                        <a:pt x="65956" y="37088"/>
                        <a:pt x="65605" y="37381"/>
                      </a:cubicBezTo>
                      <a:close/>
                      <a:moveTo>
                        <a:pt x="67772" y="28596"/>
                      </a:moveTo>
                      <a:cubicBezTo>
                        <a:pt x="67831" y="28186"/>
                        <a:pt x="68006" y="27952"/>
                        <a:pt x="68533" y="27952"/>
                      </a:cubicBezTo>
                      <a:cubicBezTo>
                        <a:pt x="69119" y="27952"/>
                        <a:pt x="69471" y="28479"/>
                        <a:pt x="69236" y="28948"/>
                      </a:cubicBezTo>
                      <a:cubicBezTo>
                        <a:pt x="68885" y="29826"/>
                        <a:pt x="67596" y="29358"/>
                        <a:pt x="67772" y="28596"/>
                      </a:cubicBezTo>
                      <a:close/>
                      <a:moveTo>
                        <a:pt x="67362" y="31407"/>
                      </a:moveTo>
                      <a:cubicBezTo>
                        <a:pt x="67421" y="31466"/>
                        <a:pt x="67479" y="31525"/>
                        <a:pt x="67479" y="31583"/>
                      </a:cubicBezTo>
                      <a:lnTo>
                        <a:pt x="67479" y="31583"/>
                      </a:lnTo>
                      <a:cubicBezTo>
                        <a:pt x="67596" y="31876"/>
                        <a:pt x="67479" y="32227"/>
                        <a:pt x="67186" y="32403"/>
                      </a:cubicBezTo>
                      <a:cubicBezTo>
                        <a:pt x="67011" y="32462"/>
                        <a:pt x="66835" y="32462"/>
                        <a:pt x="66718" y="32403"/>
                      </a:cubicBezTo>
                      <a:lnTo>
                        <a:pt x="64258" y="31407"/>
                      </a:lnTo>
                      <a:cubicBezTo>
                        <a:pt x="63730" y="31173"/>
                        <a:pt x="63496" y="30587"/>
                        <a:pt x="63672" y="30060"/>
                      </a:cubicBezTo>
                      <a:lnTo>
                        <a:pt x="64668" y="27542"/>
                      </a:lnTo>
                      <a:cubicBezTo>
                        <a:pt x="64726" y="27425"/>
                        <a:pt x="64843" y="27308"/>
                        <a:pt x="64960" y="27249"/>
                      </a:cubicBezTo>
                      <a:cubicBezTo>
                        <a:pt x="65253" y="27132"/>
                        <a:pt x="65605" y="27249"/>
                        <a:pt x="65780" y="27601"/>
                      </a:cubicBezTo>
                      <a:lnTo>
                        <a:pt x="65780" y="27601"/>
                      </a:lnTo>
                      <a:cubicBezTo>
                        <a:pt x="65780" y="27659"/>
                        <a:pt x="65839" y="27718"/>
                        <a:pt x="65839" y="27776"/>
                      </a:cubicBezTo>
                      <a:cubicBezTo>
                        <a:pt x="65898" y="28420"/>
                        <a:pt x="66015" y="29065"/>
                        <a:pt x="66249" y="29709"/>
                      </a:cubicBezTo>
                      <a:cubicBezTo>
                        <a:pt x="66542" y="30353"/>
                        <a:pt x="66952" y="30880"/>
                        <a:pt x="67362" y="31407"/>
                      </a:cubicBezTo>
                      <a:close/>
                      <a:moveTo>
                        <a:pt x="67069" y="26312"/>
                      </a:moveTo>
                      <a:cubicBezTo>
                        <a:pt x="66542" y="26136"/>
                        <a:pt x="66425" y="25492"/>
                        <a:pt x="66366" y="25316"/>
                      </a:cubicBezTo>
                      <a:cubicBezTo>
                        <a:pt x="65429" y="23677"/>
                        <a:pt x="64258" y="21920"/>
                        <a:pt x="62852" y="20280"/>
                      </a:cubicBezTo>
                      <a:cubicBezTo>
                        <a:pt x="62324" y="19694"/>
                        <a:pt x="61212" y="19050"/>
                        <a:pt x="61387" y="18347"/>
                      </a:cubicBezTo>
                      <a:cubicBezTo>
                        <a:pt x="61504" y="17996"/>
                        <a:pt x="61797" y="17820"/>
                        <a:pt x="62149" y="17820"/>
                      </a:cubicBezTo>
                      <a:cubicBezTo>
                        <a:pt x="62910" y="17820"/>
                        <a:pt x="63672" y="19108"/>
                        <a:pt x="64140" y="19694"/>
                      </a:cubicBezTo>
                      <a:cubicBezTo>
                        <a:pt x="65078" y="20807"/>
                        <a:pt x="66308" y="22330"/>
                        <a:pt x="67128" y="23677"/>
                      </a:cubicBezTo>
                      <a:cubicBezTo>
                        <a:pt x="67655" y="24497"/>
                        <a:pt x="68299" y="25375"/>
                        <a:pt x="68006" y="25902"/>
                      </a:cubicBezTo>
                      <a:cubicBezTo>
                        <a:pt x="67772" y="26136"/>
                        <a:pt x="67362" y="26371"/>
                        <a:pt x="67069" y="26312"/>
                      </a:cubicBezTo>
                      <a:close/>
                      <a:moveTo>
                        <a:pt x="55588" y="33399"/>
                      </a:moveTo>
                      <a:cubicBezTo>
                        <a:pt x="55881" y="33457"/>
                        <a:pt x="56115" y="33574"/>
                        <a:pt x="56350" y="33809"/>
                      </a:cubicBezTo>
                      <a:cubicBezTo>
                        <a:pt x="56350" y="33809"/>
                        <a:pt x="56350" y="33867"/>
                        <a:pt x="56408" y="33867"/>
                      </a:cubicBezTo>
                      <a:cubicBezTo>
                        <a:pt x="56408" y="33867"/>
                        <a:pt x="56408" y="33867"/>
                        <a:pt x="56467" y="33926"/>
                      </a:cubicBezTo>
                      <a:cubicBezTo>
                        <a:pt x="56643" y="34101"/>
                        <a:pt x="56818" y="34394"/>
                        <a:pt x="56818" y="34687"/>
                      </a:cubicBezTo>
                      <a:lnTo>
                        <a:pt x="56877" y="35624"/>
                      </a:lnTo>
                      <a:lnTo>
                        <a:pt x="56877" y="35624"/>
                      </a:lnTo>
                      <a:lnTo>
                        <a:pt x="56994" y="37147"/>
                      </a:lnTo>
                      <a:lnTo>
                        <a:pt x="56994" y="37147"/>
                      </a:lnTo>
                      <a:cubicBezTo>
                        <a:pt x="56994" y="37264"/>
                        <a:pt x="56994" y="37381"/>
                        <a:pt x="56877" y="37440"/>
                      </a:cubicBezTo>
                      <a:cubicBezTo>
                        <a:pt x="56701" y="37557"/>
                        <a:pt x="56467" y="37557"/>
                        <a:pt x="56350" y="37440"/>
                      </a:cubicBezTo>
                      <a:cubicBezTo>
                        <a:pt x="56350" y="37440"/>
                        <a:pt x="56350" y="37440"/>
                        <a:pt x="56350" y="37440"/>
                      </a:cubicBezTo>
                      <a:lnTo>
                        <a:pt x="56350" y="37440"/>
                      </a:lnTo>
                      <a:cubicBezTo>
                        <a:pt x="56350" y="37440"/>
                        <a:pt x="56350" y="37440"/>
                        <a:pt x="56350" y="37440"/>
                      </a:cubicBezTo>
                      <a:cubicBezTo>
                        <a:pt x="55823" y="36796"/>
                        <a:pt x="55295" y="36151"/>
                        <a:pt x="54710" y="35566"/>
                      </a:cubicBezTo>
                      <a:cubicBezTo>
                        <a:pt x="54124" y="34980"/>
                        <a:pt x="53538" y="34394"/>
                        <a:pt x="52894" y="33867"/>
                      </a:cubicBezTo>
                      <a:cubicBezTo>
                        <a:pt x="52894" y="33867"/>
                        <a:pt x="52894" y="33867"/>
                        <a:pt x="52894" y="33867"/>
                      </a:cubicBezTo>
                      <a:cubicBezTo>
                        <a:pt x="52894" y="33867"/>
                        <a:pt x="52894" y="33867"/>
                        <a:pt x="52894" y="33867"/>
                      </a:cubicBezTo>
                      <a:cubicBezTo>
                        <a:pt x="52777" y="33691"/>
                        <a:pt x="52777" y="33457"/>
                        <a:pt x="52894" y="33340"/>
                      </a:cubicBezTo>
                      <a:cubicBezTo>
                        <a:pt x="53011" y="33282"/>
                        <a:pt x="53070" y="33223"/>
                        <a:pt x="53187" y="33223"/>
                      </a:cubicBezTo>
                      <a:lnTo>
                        <a:pt x="53187" y="33223"/>
                      </a:lnTo>
                      <a:lnTo>
                        <a:pt x="54710" y="33399"/>
                      </a:lnTo>
                      <a:cubicBezTo>
                        <a:pt x="54710" y="33399"/>
                        <a:pt x="54710" y="33399"/>
                        <a:pt x="54710" y="33399"/>
                      </a:cubicBezTo>
                      <a:lnTo>
                        <a:pt x="55588" y="33399"/>
                      </a:lnTo>
                      <a:close/>
                      <a:moveTo>
                        <a:pt x="59747" y="21920"/>
                      </a:moveTo>
                      <a:lnTo>
                        <a:pt x="59747" y="21920"/>
                      </a:lnTo>
                      <a:cubicBezTo>
                        <a:pt x="59689" y="21978"/>
                        <a:pt x="59689" y="22037"/>
                        <a:pt x="59571" y="22095"/>
                      </a:cubicBezTo>
                      <a:cubicBezTo>
                        <a:pt x="58986" y="22447"/>
                        <a:pt x="58517" y="22915"/>
                        <a:pt x="58166" y="23442"/>
                      </a:cubicBezTo>
                      <a:cubicBezTo>
                        <a:pt x="57756" y="23969"/>
                        <a:pt x="57463" y="24555"/>
                        <a:pt x="57287" y="25199"/>
                      </a:cubicBezTo>
                      <a:cubicBezTo>
                        <a:pt x="57228" y="25316"/>
                        <a:pt x="57228" y="25375"/>
                        <a:pt x="57228" y="25375"/>
                      </a:cubicBezTo>
                      <a:lnTo>
                        <a:pt x="57228" y="25375"/>
                      </a:lnTo>
                      <a:cubicBezTo>
                        <a:pt x="57053" y="25668"/>
                        <a:pt x="56643" y="25726"/>
                        <a:pt x="56408" y="25492"/>
                      </a:cubicBezTo>
                      <a:cubicBezTo>
                        <a:pt x="56291" y="25375"/>
                        <a:pt x="56174" y="25258"/>
                        <a:pt x="56174" y="25082"/>
                      </a:cubicBezTo>
                      <a:lnTo>
                        <a:pt x="55764" y="22505"/>
                      </a:lnTo>
                      <a:cubicBezTo>
                        <a:pt x="55705" y="21920"/>
                        <a:pt x="56057" y="21451"/>
                        <a:pt x="56643" y="21334"/>
                      </a:cubicBezTo>
                      <a:lnTo>
                        <a:pt x="59279" y="20924"/>
                      </a:lnTo>
                      <a:cubicBezTo>
                        <a:pt x="59396" y="20924"/>
                        <a:pt x="59571" y="20924"/>
                        <a:pt x="59689" y="21041"/>
                      </a:cubicBezTo>
                      <a:cubicBezTo>
                        <a:pt x="59864" y="21275"/>
                        <a:pt x="59923" y="21627"/>
                        <a:pt x="59747" y="21920"/>
                      </a:cubicBezTo>
                      <a:close/>
                      <a:moveTo>
                        <a:pt x="54710" y="22681"/>
                      </a:moveTo>
                      <a:lnTo>
                        <a:pt x="55120" y="25316"/>
                      </a:lnTo>
                      <a:cubicBezTo>
                        <a:pt x="55120" y="25434"/>
                        <a:pt x="55120" y="25609"/>
                        <a:pt x="55003" y="25726"/>
                      </a:cubicBezTo>
                      <a:cubicBezTo>
                        <a:pt x="54827" y="26019"/>
                        <a:pt x="54417" y="26078"/>
                        <a:pt x="54124" y="25844"/>
                      </a:cubicBezTo>
                      <a:lnTo>
                        <a:pt x="54124" y="25844"/>
                      </a:lnTo>
                      <a:cubicBezTo>
                        <a:pt x="54065" y="25844"/>
                        <a:pt x="54065" y="25785"/>
                        <a:pt x="54007" y="25668"/>
                      </a:cubicBezTo>
                      <a:cubicBezTo>
                        <a:pt x="53655" y="25082"/>
                        <a:pt x="53187" y="24614"/>
                        <a:pt x="52660" y="24204"/>
                      </a:cubicBezTo>
                      <a:cubicBezTo>
                        <a:pt x="52132" y="23794"/>
                        <a:pt x="51547" y="23501"/>
                        <a:pt x="50902" y="23325"/>
                      </a:cubicBezTo>
                      <a:cubicBezTo>
                        <a:pt x="50785" y="23325"/>
                        <a:pt x="50726" y="23267"/>
                        <a:pt x="50726" y="23267"/>
                      </a:cubicBezTo>
                      <a:lnTo>
                        <a:pt x="50726" y="23267"/>
                      </a:lnTo>
                      <a:cubicBezTo>
                        <a:pt x="50434" y="23091"/>
                        <a:pt x="50375" y="22681"/>
                        <a:pt x="50609" y="22388"/>
                      </a:cubicBezTo>
                      <a:cubicBezTo>
                        <a:pt x="50726" y="22271"/>
                        <a:pt x="50844" y="22154"/>
                        <a:pt x="51019" y="22154"/>
                      </a:cubicBezTo>
                      <a:lnTo>
                        <a:pt x="53597" y="21744"/>
                      </a:lnTo>
                      <a:cubicBezTo>
                        <a:pt x="54124" y="21744"/>
                        <a:pt x="54593" y="22154"/>
                        <a:pt x="54710" y="22681"/>
                      </a:cubicBezTo>
                      <a:close/>
                      <a:moveTo>
                        <a:pt x="55061" y="20338"/>
                      </a:moveTo>
                      <a:cubicBezTo>
                        <a:pt x="55471" y="20397"/>
                        <a:pt x="55823" y="20748"/>
                        <a:pt x="55764" y="21217"/>
                      </a:cubicBezTo>
                      <a:cubicBezTo>
                        <a:pt x="55705" y="21627"/>
                        <a:pt x="55295" y="21978"/>
                        <a:pt x="54885" y="21920"/>
                      </a:cubicBezTo>
                      <a:cubicBezTo>
                        <a:pt x="54475" y="21861"/>
                        <a:pt x="54124" y="21510"/>
                        <a:pt x="54182" y="21041"/>
                      </a:cubicBezTo>
                      <a:cubicBezTo>
                        <a:pt x="54241" y="20573"/>
                        <a:pt x="54651" y="20280"/>
                        <a:pt x="55061" y="20338"/>
                      </a:cubicBezTo>
                      <a:close/>
                      <a:moveTo>
                        <a:pt x="29581" y="54366"/>
                      </a:moveTo>
                      <a:cubicBezTo>
                        <a:pt x="29405" y="54483"/>
                        <a:pt x="29171" y="54483"/>
                        <a:pt x="29053" y="54366"/>
                      </a:cubicBezTo>
                      <a:cubicBezTo>
                        <a:pt x="29053" y="54366"/>
                        <a:pt x="29053" y="54366"/>
                        <a:pt x="29053" y="54366"/>
                      </a:cubicBezTo>
                      <a:cubicBezTo>
                        <a:pt x="29053" y="54366"/>
                        <a:pt x="29053" y="54366"/>
                        <a:pt x="29053" y="54366"/>
                      </a:cubicBezTo>
                      <a:cubicBezTo>
                        <a:pt x="28526" y="53721"/>
                        <a:pt x="27999" y="53077"/>
                        <a:pt x="27413" y="52491"/>
                      </a:cubicBezTo>
                      <a:cubicBezTo>
                        <a:pt x="26828" y="51906"/>
                        <a:pt x="26242" y="51320"/>
                        <a:pt x="25598" y="50793"/>
                      </a:cubicBezTo>
                      <a:cubicBezTo>
                        <a:pt x="25598" y="50793"/>
                        <a:pt x="25598" y="50793"/>
                        <a:pt x="25598" y="50793"/>
                      </a:cubicBezTo>
                      <a:cubicBezTo>
                        <a:pt x="25598" y="50793"/>
                        <a:pt x="25598" y="50793"/>
                        <a:pt x="25598" y="50793"/>
                      </a:cubicBezTo>
                      <a:cubicBezTo>
                        <a:pt x="25480" y="50617"/>
                        <a:pt x="25480" y="50383"/>
                        <a:pt x="25598" y="50266"/>
                      </a:cubicBezTo>
                      <a:cubicBezTo>
                        <a:pt x="25715" y="50207"/>
                        <a:pt x="25773" y="50149"/>
                        <a:pt x="25890" y="50149"/>
                      </a:cubicBezTo>
                      <a:lnTo>
                        <a:pt x="25890" y="50149"/>
                      </a:lnTo>
                      <a:lnTo>
                        <a:pt x="27413" y="50324"/>
                      </a:lnTo>
                      <a:lnTo>
                        <a:pt x="27413" y="50324"/>
                      </a:lnTo>
                      <a:lnTo>
                        <a:pt x="28351" y="50442"/>
                      </a:lnTo>
                      <a:cubicBezTo>
                        <a:pt x="28643" y="50500"/>
                        <a:pt x="28878" y="50617"/>
                        <a:pt x="29112" y="50852"/>
                      </a:cubicBezTo>
                      <a:cubicBezTo>
                        <a:pt x="29112" y="50852"/>
                        <a:pt x="29112" y="50852"/>
                        <a:pt x="29171" y="50910"/>
                      </a:cubicBezTo>
                      <a:cubicBezTo>
                        <a:pt x="29171" y="50910"/>
                        <a:pt x="29171" y="50910"/>
                        <a:pt x="29229" y="50969"/>
                      </a:cubicBezTo>
                      <a:cubicBezTo>
                        <a:pt x="29405" y="51203"/>
                        <a:pt x="29581" y="51437"/>
                        <a:pt x="29581" y="51730"/>
                      </a:cubicBezTo>
                      <a:lnTo>
                        <a:pt x="29639" y="52667"/>
                      </a:lnTo>
                      <a:lnTo>
                        <a:pt x="29639" y="52667"/>
                      </a:lnTo>
                      <a:lnTo>
                        <a:pt x="29756" y="54190"/>
                      </a:lnTo>
                      <a:lnTo>
                        <a:pt x="29756" y="54190"/>
                      </a:lnTo>
                      <a:cubicBezTo>
                        <a:pt x="29698" y="54131"/>
                        <a:pt x="29698" y="54248"/>
                        <a:pt x="29581" y="54366"/>
                      </a:cubicBezTo>
                      <a:close/>
                      <a:moveTo>
                        <a:pt x="29464" y="58582"/>
                      </a:moveTo>
                      <a:lnTo>
                        <a:pt x="26886" y="58992"/>
                      </a:lnTo>
                      <a:cubicBezTo>
                        <a:pt x="26300" y="59051"/>
                        <a:pt x="25832" y="58700"/>
                        <a:pt x="25715" y="58114"/>
                      </a:cubicBezTo>
                      <a:lnTo>
                        <a:pt x="25305" y="55420"/>
                      </a:lnTo>
                      <a:cubicBezTo>
                        <a:pt x="25305" y="55303"/>
                        <a:pt x="25305" y="55127"/>
                        <a:pt x="25422" y="55010"/>
                      </a:cubicBezTo>
                      <a:cubicBezTo>
                        <a:pt x="25598" y="54717"/>
                        <a:pt x="26008" y="54658"/>
                        <a:pt x="26300" y="54893"/>
                      </a:cubicBezTo>
                      <a:lnTo>
                        <a:pt x="26300" y="54893"/>
                      </a:lnTo>
                      <a:cubicBezTo>
                        <a:pt x="26359" y="54893"/>
                        <a:pt x="26359" y="54951"/>
                        <a:pt x="26418" y="55068"/>
                      </a:cubicBezTo>
                      <a:cubicBezTo>
                        <a:pt x="26769" y="55654"/>
                        <a:pt x="27238" y="56123"/>
                        <a:pt x="27765" y="56474"/>
                      </a:cubicBezTo>
                      <a:cubicBezTo>
                        <a:pt x="28292" y="56884"/>
                        <a:pt x="28878" y="57177"/>
                        <a:pt x="29522" y="57352"/>
                      </a:cubicBezTo>
                      <a:cubicBezTo>
                        <a:pt x="29639" y="57352"/>
                        <a:pt x="29698" y="57411"/>
                        <a:pt x="29698" y="57411"/>
                      </a:cubicBezTo>
                      <a:lnTo>
                        <a:pt x="29698" y="57411"/>
                      </a:lnTo>
                      <a:cubicBezTo>
                        <a:pt x="29991" y="57587"/>
                        <a:pt x="30049" y="57997"/>
                        <a:pt x="29815" y="58290"/>
                      </a:cubicBezTo>
                      <a:cubicBezTo>
                        <a:pt x="29756" y="58524"/>
                        <a:pt x="29639" y="58582"/>
                        <a:pt x="29464" y="58582"/>
                      </a:cubicBezTo>
                      <a:lnTo>
                        <a:pt x="29464" y="58582"/>
                      </a:lnTo>
                      <a:close/>
                      <a:moveTo>
                        <a:pt x="25363" y="60515"/>
                      </a:moveTo>
                      <a:cubicBezTo>
                        <a:pt x="24953" y="60457"/>
                        <a:pt x="24602" y="60105"/>
                        <a:pt x="24660" y="59637"/>
                      </a:cubicBezTo>
                      <a:cubicBezTo>
                        <a:pt x="24719" y="59227"/>
                        <a:pt x="25129" y="58875"/>
                        <a:pt x="25539" y="58934"/>
                      </a:cubicBezTo>
                      <a:cubicBezTo>
                        <a:pt x="25949" y="58992"/>
                        <a:pt x="26300" y="59344"/>
                        <a:pt x="26242" y="59812"/>
                      </a:cubicBezTo>
                      <a:cubicBezTo>
                        <a:pt x="26183" y="60281"/>
                        <a:pt x="25773" y="60574"/>
                        <a:pt x="25363" y="60515"/>
                      </a:cubicBezTo>
                      <a:close/>
                      <a:moveTo>
                        <a:pt x="18920" y="50559"/>
                      </a:moveTo>
                      <a:lnTo>
                        <a:pt x="21380" y="51554"/>
                      </a:lnTo>
                      <a:cubicBezTo>
                        <a:pt x="21497" y="51613"/>
                        <a:pt x="21614" y="51730"/>
                        <a:pt x="21673" y="51847"/>
                      </a:cubicBezTo>
                      <a:cubicBezTo>
                        <a:pt x="21790" y="52140"/>
                        <a:pt x="21673" y="52491"/>
                        <a:pt x="21322" y="52667"/>
                      </a:cubicBezTo>
                      <a:lnTo>
                        <a:pt x="21322" y="52667"/>
                      </a:lnTo>
                      <a:cubicBezTo>
                        <a:pt x="21263" y="52667"/>
                        <a:pt x="21204" y="52726"/>
                        <a:pt x="21146" y="52726"/>
                      </a:cubicBezTo>
                      <a:cubicBezTo>
                        <a:pt x="20501" y="52784"/>
                        <a:pt x="19857" y="52901"/>
                        <a:pt x="19213" y="53136"/>
                      </a:cubicBezTo>
                      <a:cubicBezTo>
                        <a:pt x="18627" y="53370"/>
                        <a:pt x="18041" y="53780"/>
                        <a:pt x="17573" y="54248"/>
                      </a:cubicBezTo>
                      <a:cubicBezTo>
                        <a:pt x="17514" y="54307"/>
                        <a:pt x="17456" y="54366"/>
                        <a:pt x="17397" y="54366"/>
                      </a:cubicBezTo>
                      <a:lnTo>
                        <a:pt x="17338" y="54366"/>
                      </a:lnTo>
                      <a:cubicBezTo>
                        <a:pt x="17045" y="54483"/>
                        <a:pt x="16694" y="54366"/>
                        <a:pt x="16518" y="54073"/>
                      </a:cubicBezTo>
                      <a:cubicBezTo>
                        <a:pt x="16460" y="53897"/>
                        <a:pt x="16460" y="53721"/>
                        <a:pt x="16518" y="53604"/>
                      </a:cubicBezTo>
                      <a:lnTo>
                        <a:pt x="17514" y="51144"/>
                      </a:lnTo>
                      <a:cubicBezTo>
                        <a:pt x="17807" y="50617"/>
                        <a:pt x="18451" y="50383"/>
                        <a:pt x="18920" y="50559"/>
                      </a:cubicBezTo>
                      <a:close/>
                      <a:moveTo>
                        <a:pt x="17280" y="50149"/>
                      </a:moveTo>
                      <a:cubicBezTo>
                        <a:pt x="16928" y="49914"/>
                        <a:pt x="16870" y="49387"/>
                        <a:pt x="17104" y="49036"/>
                      </a:cubicBezTo>
                      <a:cubicBezTo>
                        <a:pt x="17338" y="48685"/>
                        <a:pt x="17866" y="48626"/>
                        <a:pt x="18217" y="48860"/>
                      </a:cubicBezTo>
                      <a:cubicBezTo>
                        <a:pt x="18569" y="49095"/>
                        <a:pt x="18627" y="49622"/>
                        <a:pt x="18393" y="49973"/>
                      </a:cubicBezTo>
                      <a:cubicBezTo>
                        <a:pt x="18100" y="50383"/>
                        <a:pt x="17573" y="50442"/>
                        <a:pt x="17280" y="50149"/>
                      </a:cubicBezTo>
                      <a:close/>
                      <a:moveTo>
                        <a:pt x="22259" y="50617"/>
                      </a:moveTo>
                      <a:cubicBezTo>
                        <a:pt x="22083" y="50676"/>
                        <a:pt x="21907" y="50676"/>
                        <a:pt x="21790" y="50617"/>
                      </a:cubicBezTo>
                      <a:lnTo>
                        <a:pt x="21790" y="50617"/>
                      </a:lnTo>
                      <a:lnTo>
                        <a:pt x="19330" y="49622"/>
                      </a:lnTo>
                      <a:cubicBezTo>
                        <a:pt x="18803" y="49387"/>
                        <a:pt x="18569" y="48802"/>
                        <a:pt x="18744" y="48275"/>
                      </a:cubicBezTo>
                      <a:lnTo>
                        <a:pt x="19740" y="45756"/>
                      </a:lnTo>
                      <a:cubicBezTo>
                        <a:pt x="19799" y="45639"/>
                        <a:pt x="19916" y="45522"/>
                        <a:pt x="20033" y="45463"/>
                      </a:cubicBezTo>
                      <a:cubicBezTo>
                        <a:pt x="20326" y="45346"/>
                        <a:pt x="20677" y="45463"/>
                        <a:pt x="20853" y="45756"/>
                      </a:cubicBezTo>
                      <a:lnTo>
                        <a:pt x="20853" y="45756"/>
                      </a:lnTo>
                      <a:cubicBezTo>
                        <a:pt x="20853" y="45815"/>
                        <a:pt x="20912" y="45873"/>
                        <a:pt x="20912" y="45932"/>
                      </a:cubicBezTo>
                      <a:cubicBezTo>
                        <a:pt x="20912" y="46576"/>
                        <a:pt x="21087" y="47220"/>
                        <a:pt x="21322" y="47865"/>
                      </a:cubicBezTo>
                      <a:cubicBezTo>
                        <a:pt x="21556" y="48450"/>
                        <a:pt x="21966" y="49036"/>
                        <a:pt x="22376" y="49504"/>
                      </a:cubicBezTo>
                      <a:cubicBezTo>
                        <a:pt x="22434" y="49563"/>
                        <a:pt x="22493" y="49622"/>
                        <a:pt x="22493" y="49680"/>
                      </a:cubicBezTo>
                      <a:lnTo>
                        <a:pt x="22493" y="49680"/>
                      </a:lnTo>
                      <a:cubicBezTo>
                        <a:pt x="22669" y="50149"/>
                        <a:pt x="22552" y="50500"/>
                        <a:pt x="22259" y="50617"/>
                      </a:cubicBezTo>
                      <a:close/>
                      <a:moveTo>
                        <a:pt x="16987" y="36444"/>
                      </a:moveTo>
                      <a:cubicBezTo>
                        <a:pt x="16577" y="36796"/>
                        <a:pt x="15933" y="36737"/>
                        <a:pt x="15523" y="36327"/>
                      </a:cubicBezTo>
                      <a:lnTo>
                        <a:pt x="13824" y="34277"/>
                      </a:lnTo>
                      <a:cubicBezTo>
                        <a:pt x="13765" y="34160"/>
                        <a:pt x="13707" y="34043"/>
                        <a:pt x="13707" y="33867"/>
                      </a:cubicBezTo>
                      <a:cubicBezTo>
                        <a:pt x="13765" y="33516"/>
                        <a:pt x="14058" y="33282"/>
                        <a:pt x="14351" y="33340"/>
                      </a:cubicBezTo>
                      <a:lnTo>
                        <a:pt x="14351" y="33340"/>
                      </a:lnTo>
                      <a:cubicBezTo>
                        <a:pt x="14410" y="33340"/>
                        <a:pt x="14468" y="33340"/>
                        <a:pt x="14527" y="33399"/>
                      </a:cubicBezTo>
                      <a:cubicBezTo>
                        <a:pt x="15113" y="33691"/>
                        <a:pt x="15757" y="33867"/>
                        <a:pt x="16401" y="33926"/>
                      </a:cubicBezTo>
                      <a:cubicBezTo>
                        <a:pt x="17045" y="33984"/>
                        <a:pt x="17690" y="33926"/>
                        <a:pt x="18334" y="33750"/>
                      </a:cubicBezTo>
                      <a:cubicBezTo>
                        <a:pt x="18451" y="33750"/>
                        <a:pt x="18510" y="33750"/>
                        <a:pt x="18569" y="33750"/>
                      </a:cubicBezTo>
                      <a:lnTo>
                        <a:pt x="18627" y="33750"/>
                      </a:lnTo>
                      <a:cubicBezTo>
                        <a:pt x="18979" y="33809"/>
                        <a:pt x="19213" y="34101"/>
                        <a:pt x="19154" y="34394"/>
                      </a:cubicBezTo>
                      <a:cubicBezTo>
                        <a:pt x="19154" y="34570"/>
                        <a:pt x="19037" y="34746"/>
                        <a:pt x="18920" y="34804"/>
                      </a:cubicBezTo>
                      <a:lnTo>
                        <a:pt x="16987" y="36444"/>
                      </a:lnTo>
                      <a:close/>
                      <a:moveTo>
                        <a:pt x="16460" y="38553"/>
                      </a:moveTo>
                      <a:cubicBezTo>
                        <a:pt x="16050" y="38728"/>
                        <a:pt x="15581" y="38553"/>
                        <a:pt x="15405" y="38143"/>
                      </a:cubicBezTo>
                      <a:cubicBezTo>
                        <a:pt x="15230" y="37733"/>
                        <a:pt x="15405" y="37264"/>
                        <a:pt x="15815" y="37088"/>
                      </a:cubicBezTo>
                      <a:cubicBezTo>
                        <a:pt x="16225" y="36913"/>
                        <a:pt x="16694" y="37088"/>
                        <a:pt x="16870" y="37498"/>
                      </a:cubicBezTo>
                      <a:cubicBezTo>
                        <a:pt x="17045" y="37908"/>
                        <a:pt x="16870" y="38377"/>
                        <a:pt x="16460" y="38553"/>
                      </a:cubicBezTo>
                      <a:close/>
                      <a:moveTo>
                        <a:pt x="18217" y="22212"/>
                      </a:moveTo>
                      <a:cubicBezTo>
                        <a:pt x="18217" y="22095"/>
                        <a:pt x="18276" y="22037"/>
                        <a:pt x="18276" y="22037"/>
                      </a:cubicBezTo>
                      <a:lnTo>
                        <a:pt x="18276" y="22037"/>
                      </a:lnTo>
                      <a:cubicBezTo>
                        <a:pt x="18451" y="21744"/>
                        <a:pt x="18861" y="21685"/>
                        <a:pt x="19096" y="21861"/>
                      </a:cubicBezTo>
                      <a:cubicBezTo>
                        <a:pt x="19213" y="21978"/>
                        <a:pt x="19330" y="22095"/>
                        <a:pt x="19330" y="22271"/>
                      </a:cubicBezTo>
                      <a:lnTo>
                        <a:pt x="19799" y="24848"/>
                      </a:lnTo>
                      <a:cubicBezTo>
                        <a:pt x="19916" y="25434"/>
                        <a:pt x="19506" y="25961"/>
                        <a:pt x="18979" y="26019"/>
                      </a:cubicBezTo>
                      <a:lnTo>
                        <a:pt x="16343" y="26488"/>
                      </a:lnTo>
                      <a:cubicBezTo>
                        <a:pt x="16225" y="26488"/>
                        <a:pt x="16050" y="26488"/>
                        <a:pt x="15933" y="26371"/>
                      </a:cubicBezTo>
                      <a:cubicBezTo>
                        <a:pt x="15640" y="26195"/>
                        <a:pt x="15581" y="25785"/>
                        <a:pt x="15757" y="25492"/>
                      </a:cubicBezTo>
                      <a:lnTo>
                        <a:pt x="15757" y="25492"/>
                      </a:lnTo>
                      <a:cubicBezTo>
                        <a:pt x="15757" y="25434"/>
                        <a:pt x="15815" y="25434"/>
                        <a:pt x="15933" y="25375"/>
                      </a:cubicBezTo>
                      <a:cubicBezTo>
                        <a:pt x="16460" y="24965"/>
                        <a:pt x="16928" y="24497"/>
                        <a:pt x="17338" y="23969"/>
                      </a:cubicBezTo>
                      <a:cubicBezTo>
                        <a:pt x="17748" y="23442"/>
                        <a:pt x="18041" y="22857"/>
                        <a:pt x="18217" y="22212"/>
                      </a:cubicBezTo>
                      <a:close/>
                      <a:moveTo>
                        <a:pt x="20384" y="27835"/>
                      </a:moveTo>
                      <a:lnTo>
                        <a:pt x="20853" y="30470"/>
                      </a:lnTo>
                      <a:cubicBezTo>
                        <a:pt x="20853" y="30587"/>
                        <a:pt x="20853" y="30763"/>
                        <a:pt x="20736" y="30880"/>
                      </a:cubicBezTo>
                      <a:cubicBezTo>
                        <a:pt x="20560" y="31173"/>
                        <a:pt x="20150" y="31232"/>
                        <a:pt x="19916" y="31056"/>
                      </a:cubicBezTo>
                      <a:lnTo>
                        <a:pt x="19916" y="31056"/>
                      </a:lnTo>
                      <a:cubicBezTo>
                        <a:pt x="19857" y="31056"/>
                        <a:pt x="19857" y="30997"/>
                        <a:pt x="19799" y="30880"/>
                      </a:cubicBezTo>
                      <a:cubicBezTo>
                        <a:pt x="19389" y="30353"/>
                        <a:pt x="18979" y="29885"/>
                        <a:pt x="18393" y="29475"/>
                      </a:cubicBezTo>
                      <a:cubicBezTo>
                        <a:pt x="17866" y="29123"/>
                        <a:pt x="17221" y="28830"/>
                        <a:pt x="16577" y="28655"/>
                      </a:cubicBezTo>
                      <a:cubicBezTo>
                        <a:pt x="16460" y="28655"/>
                        <a:pt x="16401" y="28596"/>
                        <a:pt x="16401" y="28596"/>
                      </a:cubicBezTo>
                      <a:lnTo>
                        <a:pt x="16401" y="28596"/>
                      </a:lnTo>
                      <a:cubicBezTo>
                        <a:pt x="16108" y="28420"/>
                        <a:pt x="16050" y="28011"/>
                        <a:pt x="16225" y="27776"/>
                      </a:cubicBezTo>
                      <a:cubicBezTo>
                        <a:pt x="16343" y="27659"/>
                        <a:pt x="16460" y="27542"/>
                        <a:pt x="16635" y="27542"/>
                      </a:cubicBezTo>
                      <a:lnTo>
                        <a:pt x="19213" y="27073"/>
                      </a:lnTo>
                      <a:cubicBezTo>
                        <a:pt x="19740" y="26898"/>
                        <a:pt x="20267" y="27308"/>
                        <a:pt x="20384" y="27835"/>
                      </a:cubicBezTo>
                      <a:close/>
                      <a:moveTo>
                        <a:pt x="20677" y="25434"/>
                      </a:moveTo>
                      <a:cubicBezTo>
                        <a:pt x="21087" y="25492"/>
                        <a:pt x="21439" y="25844"/>
                        <a:pt x="21380" y="26312"/>
                      </a:cubicBezTo>
                      <a:cubicBezTo>
                        <a:pt x="21322" y="26722"/>
                        <a:pt x="20970" y="27073"/>
                        <a:pt x="20501" y="27015"/>
                      </a:cubicBezTo>
                      <a:cubicBezTo>
                        <a:pt x="20091" y="26956"/>
                        <a:pt x="19740" y="26605"/>
                        <a:pt x="19799" y="26136"/>
                      </a:cubicBezTo>
                      <a:cubicBezTo>
                        <a:pt x="19857" y="25726"/>
                        <a:pt x="20267" y="25434"/>
                        <a:pt x="20677" y="25434"/>
                      </a:cubicBezTo>
                      <a:close/>
                      <a:moveTo>
                        <a:pt x="25422" y="18523"/>
                      </a:moveTo>
                      <a:cubicBezTo>
                        <a:pt x="25363" y="18464"/>
                        <a:pt x="25305" y="18406"/>
                        <a:pt x="25305" y="18347"/>
                      </a:cubicBezTo>
                      <a:lnTo>
                        <a:pt x="25305" y="18288"/>
                      </a:lnTo>
                      <a:cubicBezTo>
                        <a:pt x="25188" y="17996"/>
                        <a:pt x="25305" y="17644"/>
                        <a:pt x="25598" y="17468"/>
                      </a:cubicBezTo>
                      <a:cubicBezTo>
                        <a:pt x="25773" y="17410"/>
                        <a:pt x="25949" y="17410"/>
                        <a:pt x="26066" y="17468"/>
                      </a:cubicBezTo>
                      <a:lnTo>
                        <a:pt x="28526" y="18347"/>
                      </a:lnTo>
                      <a:cubicBezTo>
                        <a:pt x="29053" y="18523"/>
                        <a:pt x="29346" y="19108"/>
                        <a:pt x="29171" y="19635"/>
                      </a:cubicBezTo>
                      <a:lnTo>
                        <a:pt x="28292" y="22212"/>
                      </a:lnTo>
                      <a:cubicBezTo>
                        <a:pt x="28233" y="22330"/>
                        <a:pt x="28116" y="22447"/>
                        <a:pt x="27999" y="22505"/>
                      </a:cubicBezTo>
                      <a:cubicBezTo>
                        <a:pt x="27706" y="22681"/>
                        <a:pt x="27355" y="22505"/>
                        <a:pt x="27179" y="22212"/>
                      </a:cubicBezTo>
                      <a:lnTo>
                        <a:pt x="27179" y="22212"/>
                      </a:lnTo>
                      <a:cubicBezTo>
                        <a:pt x="27179" y="22154"/>
                        <a:pt x="27121" y="22095"/>
                        <a:pt x="27121" y="22037"/>
                      </a:cubicBezTo>
                      <a:cubicBezTo>
                        <a:pt x="27062" y="21392"/>
                        <a:pt x="26886" y="20748"/>
                        <a:pt x="26593" y="20104"/>
                      </a:cubicBezTo>
                      <a:cubicBezTo>
                        <a:pt x="26300" y="19518"/>
                        <a:pt x="25890" y="18991"/>
                        <a:pt x="25422" y="18523"/>
                      </a:cubicBezTo>
                      <a:close/>
                      <a:moveTo>
                        <a:pt x="25480" y="21158"/>
                      </a:moveTo>
                      <a:cubicBezTo>
                        <a:pt x="25129" y="21451"/>
                        <a:pt x="24660" y="21392"/>
                        <a:pt x="24367" y="21041"/>
                      </a:cubicBezTo>
                      <a:cubicBezTo>
                        <a:pt x="24075" y="20690"/>
                        <a:pt x="24133" y="20221"/>
                        <a:pt x="24485" y="19928"/>
                      </a:cubicBezTo>
                      <a:cubicBezTo>
                        <a:pt x="24836" y="19635"/>
                        <a:pt x="25305" y="19694"/>
                        <a:pt x="25598" y="20045"/>
                      </a:cubicBezTo>
                      <a:cubicBezTo>
                        <a:pt x="25890" y="20397"/>
                        <a:pt x="25832" y="20924"/>
                        <a:pt x="25480" y="21158"/>
                      </a:cubicBezTo>
                      <a:close/>
                      <a:moveTo>
                        <a:pt x="36493" y="26254"/>
                      </a:moveTo>
                      <a:cubicBezTo>
                        <a:pt x="36493" y="26488"/>
                        <a:pt x="36317" y="26605"/>
                        <a:pt x="36141" y="26605"/>
                      </a:cubicBezTo>
                      <a:cubicBezTo>
                        <a:pt x="36141" y="26605"/>
                        <a:pt x="36141" y="26605"/>
                        <a:pt x="36141" y="26605"/>
                      </a:cubicBezTo>
                      <a:cubicBezTo>
                        <a:pt x="36141" y="26605"/>
                        <a:pt x="36141" y="26605"/>
                        <a:pt x="36141" y="26605"/>
                      </a:cubicBezTo>
                      <a:cubicBezTo>
                        <a:pt x="35321" y="26546"/>
                        <a:pt x="34442" y="26488"/>
                        <a:pt x="33622" y="26488"/>
                      </a:cubicBezTo>
                      <a:cubicBezTo>
                        <a:pt x="32802" y="26488"/>
                        <a:pt x="31982" y="26546"/>
                        <a:pt x="31104" y="26605"/>
                      </a:cubicBezTo>
                      <a:cubicBezTo>
                        <a:pt x="31104" y="26605"/>
                        <a:pt x="31104" y="26605"/>
                        <a:pt x="31104" y="26605"/>
                      </a:cubicBezTo>
                      <a:lnTo>
                        <a:pt x="31104" y="26605"/>
                      </a:lnTo>
                      <a:cubicBezTo>
                        <a:pt x="31104" y="26605"/>
                        <a:pt x="31104" y="26605"/>
                        <a:pt x="31045" y="26605"/>
                      </a:cubicBezTo>
                      <a:cubicBezTo>
                        <a:pt x="30811" y="26605"/>
                        <a:pt x="30694" y="26429"/>
                        <a:pt x="30694" y="26254"/>
                      </a:cubicBezTo>
                      <a:cubicBezTo>
                        <a:pt x="30694" y="26136"/>
                        <a:pt x="30752" y="26019"/>
                        <a:pt x="30811" y="25961"/>
                      </a:cubicBezTo>
                      <a:lnTo>
                        <a:pt x="31982" y="24965"/>
                      </a:lnTo>
                      <a:lnTo>
                        <a:pt x="31982" y="24965"/>
                      </a:lnTo>
                      <a:lnTo>
                        <a:pt x="32744" y="24379"/>
                      </a:lnTo>
                      <a:cubicBezTo>
                        <a:pt x="32978" y="24204"/>
                        <a:pt x="33271" y="24145"/>
                        <a:pt x="33564" y="24145"/>
                      </a:cubicBezTo>
                      <a:cubicBezTo>
                        <a:pt x="33564" y="24145"/>
                        <a:pt x="33622" y="24145"/>
                        <a:pt x="33622" y="24145"/>
                      </a:cubicBezTo>
                      <a:cubicBezTo>
                        <a:pt x="33622" y="24145"/>
                        <a:pt x="33681" y="24145"/>
                        <a:pt x="33681" y="24145"/>
                      </a:cubicBezTo>
                      <a:cubicBezTo>
                        <a:pt x="33974" y="24145"/>
                        <a:pt x="34267" y="24204"/>
                        <a:pt x="34442" y="24438"/>
                      </a:cubicBezTo>
                      <a:lnTo>
                        <a:pt x="35145" y="25024"/>
                      </a:lnTo>
                      <a:lnTo>
                        <a:pt x="35145" y="25024"/>
                      </a:lnTo>
                      <a:lnTo>
                        <a:pt x="36317" y="26019"/>
                      </a:lnTo>
                      <a:lnTo>
                        <a:pt x="36317" y="26019"/>
                      </a:lnTo>
                      <a:cubicBezTo>
                        <a:pt x="36434" y="26019"/>
                        <a:pt x="36493" y="26136"/>
                        <a:pt x="36493" y="26254"/>
                      </a:cubicBezTo>
                      <a:close/>
                      <a:moveTo>
                        <a:pt x="31865" y="21920"/>
                      </a:moveTo>
                      <a:cubicBezTo>
                        <a:pt x="31279" y="22212"/>
                        <a:pt x="30752" y="22622"/>
                        <a:pt x="30284" y="23091"/>
                      </a:cubicBezTo>
                      <a:cubicBezTo>
                        <a:pt x="30225" y="23149"/>
                        <a:pt x="30166" y="23208"/>
                        <a:pt x="30108" y="23208"/>
                      </a:cubicBezTo>
                      <a:lnTo>
                        <a:pt x="30108" y="23208"/>
                      </a:lnTo>
                      <a:cubicBezTo>
                        <a:pt x="29815" y="23384"/>
                        <a:pt x="29464" y="23208"/>
                        <a:pt x="29288" y="22915"/>
                      </a:cubicBezTo>
                      <a:cubicBezTo>
                        <a:pt x="29229" y="22740"/>
                        <a:pt x="29229" y="22564"/>
                        <a:pt x="29288" y="22447"/>
                      </a:cubicBezTo>
                      <a:lnTo>
                        <a:pt x="30166" y="19928"/>
                      </a:lnTo>
                      <a:cubicBezTo>
                        <a:pt x="30342" y="19401"/>
                        <a:pt x="30928" y="19108"/>
                        <a:pt x="31455" y="19284"/>
                      </a:cubicBezTo>
                      <a:lnTo>
                        <a:pt x="33974" y="20163"/>
                      </a:lnTo>
                      <a:cubicBezTo>
                        <a:pt x="34091" y="20221"/>
                        <a:pt x="34208" y="20338"/>
                        <a:pt x="34267" y="20455"/>
                      </a:cubicBezTo>
                      <a:cubicBezTo>
                        <a:pt x="34384" y="20748"/>
                        <a:pt x="34267" y="21100"/>
                        <a:pt x="33974" y="21275"/>
                      </a:cubicBezTo>
                      <a:lnTo>
                        <a:pt x="33974" y="21275"/>
                      </a:lnTo>
                      <a:cubicBezTo>
                        <a:pt x="33915" y="21275"/>
                        <a:pt x="33857" y="21334"/>
                        <a:pt x="33798" y="21334"/>
                      </a:cubicBezTo>
                      <a:cubicBezTo>
                        <a:pt x="33095" y="21451"/>
                        <a:pt x="32451" y="21627"/>
                        <a:pt x="31865" y="21920"/>
                      </a:cubicBezTo>
                      <a:close/>
                      <a:moveTo>
                        <a:pt x="37781" y="15946"/>
                      </a:moveTo>
                      <a:cubicBezTo>
                        <a:pt x="37430" y="16239"/>
                        <a:pt x="36961" y="16180"/>
                        <a:pt x="36668" y="15829"/>
                      </a:cubicBezTo>
                      <a:cubicBezTo>
                        <a:pt x="36375" y="15477"/>
                        <a:pt x="36434" y="15009"/>
                        <a:pt x="36786" y="14716"/>
                      </a:cubicBezTo>
                      <a:cubicBezTo>
                        <a:pt x="37137" y="14423"/>
                        <a:pt x="37606" y="14482"/>
                        <a:pt x="37898" y="14833"/>
                      </a:cubicBezTo>
                      <a:cubicBezTo>
                        <a:pt x="38191" y="15184"/>
                        <a:pt x="38133" y="15653"/>
                        <a:pt x="37781" y="15946"/>
                      </a:cubicBezTo>
                      <a:close/>
                      <a:moveTo>
                        <a:pt x="34677" y="19225"/>
                      </a:moveTo>
                      <a:cubicBezTo>
                        <a:pt x="34501" y="19284"/>
                        <a:pt x="34325" y="19284"/>
                        <a:pt x="34208" y="19225"/>
                      </a:cubicBezTo>
                      <a:lnTo>
                        <a:pt x="31748" y="18347"/>
                      </a:lnTo>
                      <a:cubicBezTo>
                        <a:pt x="31221" y="18171"/>
                        <a:pt x="30928" y="17586"/>
                        <a:pt x="31104" y="17059"/>
                      </a:cubicBezTo>
                      <a:lnTo>
                        <a:pt x="31982" y="14482"/>
                      </a:lnTo>
                      <a:cubicBezTo>
                        <a:pt x="32041" y="14364"/>
                        <a:pt x="32158" y="14247"/>
                        <a:pt x="32275" y="14189"/>
                      </a:cubicBezTo>
                      <a:cubicBezTo>
                        <a:pt x="32568" y="14013"/>
                        <a:pt x="32920" y="14189"/>
                        <a:pt x="33095" y="14482"/>
                      </a:cubicBezTo>
                      <a:lnTo>
                        <a:pt x="33095" y="14482"/>
                      </a:lnTo>
                      <a:cubicBezTo>
                        <a:pt x="33095" y="14540"/>
                        <a:pt x="33154" y="14599"/>
                        <a:pt x="33154" y="14657"/>
                      </a:cubicBezTo>
                      <a:cubicBezTo>
                        <a:pt x="33212" y="15302"/>
                        <a:pt x="33388" y="15946"/>
                        <a:pt x="33681" y="16590"/>
                      </a:cubicBezTo>
                      <a:cubicBezTo>
                        <a:pt x="33974" y="17176"/>
                        <a:pt x="34384" y="17703"/>
                        <a:pt x="34853" y="18171"/>
                      </a:cubicBezTo>
                      <a:cubicBezTo>
                        <a:pt x="34911" y="18230"/>
                        <a:pt x="34970" y="18288"/>
                        <a:pt x="34970" y="18347"/>
                      </a:cubicBezTo>
                      <a:lnTo>
                        <a:pt x="34970" y="18347"/>
                      </a:lnTo>
                      <a:cubicBezTo>
                        <a:pt x="35087" y="18698"/>
                        <a:pt x="34970" y="19108"/>
                        <a:pt x="34677" y="19225"/>
                      </a:cubicBezTo>
                      <a:close/>
                      <a:moveTo>
                        <a:pt x="30752" y="18816"/>
                      </a:moveTo>
                      <a:cubicBezTo>
                        <a:pt x="30518" y="19167"/>
                        <a:pt x="29991" y="19284"/>
                        <a:pt x="29639" y="19050"/>
                      </a:cubicBezTo>
                      <a:cubicBezTo>
                        <a:pt x="29288" y="18816"/>
                        <a:pt x="29171" y="18288"/>
                        <a:pt x="29405" y="17937"/>
                      </a:cubicBezTo>
                      <a:cubicBezTo>
                        <a:pt x="29639" y="17586"/>
                        <a:pt x="30166" y="17468"/>
                        <a:pt x="30518" y="17703"/>
                      </a:cubicBezTo>
                      <a:cubicBezTo>
                        <a:pt x="30928" y="17996"/>
                        <a:pt x="30987" y="18464"/>
                        <a:pt x="30752" y="18816"/>
                      </a:cubicBezTo>
                      <a:close/>
                      <a:moveTo>
                        <a:pt x="25246" y="26078"/>
                      </a:moveTo>
                      <a:cubicBezTo>
                        <a:pt x="25539" y="26254"/>
                        <a:pt x="25598" y="26663"/>
                        <a:pt x="25422" y="26898"/>
                      </a:cubicBezTo>
                      <a:lnTo>
                        <a:pt x="25422" y="26898"/>
                      </a:lnTo>
                      <a:cubicBezTo>
                        <a:pt x="25422" y="26956"/>
                        <a:pt x="25363" y="26956"/>
                        <a:pt x="25246" y="27015"/>
                      </a:cubicBezTo>
                      <a:cubicBezTo>
                        <a:pt x="24719" y="27425"/>
                        <a:pt x="24250" y="27835"/>
                        <a:pt x="23840" y="28420"/>
                      </a:cubicBezTo>
                      <a:cubicBezTo>
                        <a:pt x="23489" y="28948"/>
                        <a:pt x="23196" y="29592"/>
                        <a:pt x="23020" y="30236"/>
                      </a:cubicBezTo>
                      <a:cubicBezTo>
                        <a:pt x="23020" y="30353"/>
                        <a:pt x="22962" y="30412"/>
                        <a:pt x="22962" y="30412"/>
                      </a:cubicBezTo>
                      <a:lnTo>
                        <a:pt x="22962" y="30412"/>
                      </a:lnTo>
                      <a:cubicBezTo>
                        <a:pt x="22786" y="30705"/>
                        <a:pt x="22376" y="30763"/>
                        <a:pt x="22142" y="30587"/>
                      </a:cubicBezTo>
                      <a:cubicBezTo>
                        <a:pt x="22024" y="30470"/>
                        <a:pt x="21907" y="30353"/>
                        <a:pt x="21907" y="30177"/>
                      </a:cubicBezTo>
                      <a:lnTo>
                        <a:pt x="21907" y="30177"/>
                      </a:lnTo>
                      <a:lnTo>
                        <a:pt x="21439" y="27601"/>
                      </a:lnTo>
                      <a:cubicBezTo>
                        <a:pt x="21322" y="27015"/>
                        <a:pt x="21732" y="26488"/>
                        <a:pt x="22259" y="26429"/>
                      </a:cubicBezTo>
                      <a:lnTo>
                        <a:pt x="24895" y="25961"/>
                      </a:lnTo>
                      <a:cubicBezTo>
                        <a:pt x="25012" y="25961"/>
                        <a:pt x="25129" y="25961"/>
                        <a:pt x="25246" y="26078"/>
                      </a:cubicBezTo>
                      <a:close/>
                      <a:moveTo>
                        <a:pt x="17397" y="31700"/>
                      </a:moveTo>
                      <a:cubicBezTo>
                        <a:pt x="17045" y="31993"/>
                        <a:pt x="16577" y="31934"/>
                        <a:pt x="16284" y="31583"/>
                      </a:cubicBezTo>
                      <a:cubicBezTo>
                        <a:pt x="15991" y="31232"/>
                        <a:pt x="16050" y="30763"/>
                        <a:pt x="16401" y="30470"/>
                      </a:cubicBezTo>
                      <a:cubicBezTo>
                        <a:pt x="16753" y="30177"/>
                        <a:pt x="17221" y="30236"/>
                        <a:pt x="17514" y="30587"/>
                      </a:cubicBezTo>
                      <a:cubicBezTo>
                        <a:pt x="17748" y="30939"/>
                        <a:pt x="17748" y="31466"/>
                        <a:pt x="17397" y="31700"/>
                      </a:cubicBezTo>
                      <a:close/>
                      <a:moveTo>
                        <a:pt x="12711" y="34746"/>
                      </a:moveTo>
                      <a:cubicBezTo>
                        <a:pt x="12887" y="34746"/>
                        <a:pt x="13062" y="34863"/>
                        <a:pt x="13121" y="34980"/>
                      </a:cubicBezTo>
                      <a:lnTo>
                        <a:pt x="14820" y="37030"/>
                      </a:lnTo>
                      <a:cubicBezTo>
                        <a:pt x="15171" y="37440"/>
                        <a:pt x="15113" y="38084"/>
                        <a:pt x="14702" y="38494"/>
                      </a:cubicBezTo>
                      <a:lnTo>
                        <a:pt x="12652" y="40251"/>
                      </a:lnTo>
                      <a:cubicBezTo>
                        <a:pt x="12535" y="40368"/>
                        <a:pt x="12418" y="40368"/>
                        <a:pt x="12242" y="40368"/>
                      </a:cubicBezTo>
                      <a:cubicBezTo>
                        <a:pt x="11891" y="40368"/>
                        <a:pt x="11657" y="40017"/>
                        <a:pt x="11715" y="39724"/>
                      </a:cubicBezTo>
                      <a:lnTo>
                        <a:pt x="11715" y="39724"/>
                      </a:lnTo>
                      <a:cubicBezTo>
                        <a:pt x="11715" y="39665"/>
                        <a:pt x="11715" y="39607"/>
                        <a:pt x="11774" y="39548"/>
                      </a:cubicBezTo>
                      <a:cubicBezTo>
                        <a:pt x="12067" y="38962"/>
                        <a:pt x="12242" y="38318"/>
                        <a:pt x="12301" y="37615"/>
                      </a:cubicBezTo>
                      <a:cubicBezTo>
                        <a:pt x="12359" y="36971"/>
                        <a:pt x="12301" y="36268"/>
                        <a:pt x="12125" y="35624"/>
                      </a:cubicBezTo>
                      <a:cubicBezTo>
                        <a:pt x="12125" y="35507"/>
                        <a:pt x="12125" y="35448"/>
                        <a:pt x="12125" y="35390"/>
                      </a:cubicBezTo>
                      <a:lnTo>
                        <a:pt x="12125" y="35331"/>
                      </a:lnTo>
                      <a:cubicBezTo>
                        <a:pt x="12067" y="34921"/>
                        <a:pt x="12359" y="34687"/>
                        <a:pt x="12711" y="34746"/>
                      </a:cubicBezTo>
                      <a:close/>
                      <a:moveTo>
                        <a:pt x="17631" y="37205"/>
                      </a:moveTo>
                      <a:lnTo>
                        <a:pt x="19681" y="35448"/>
                      </a:lnTo>
                      <a:cubicBezTo>
                        <a:pt x="19799" y="35390"/>
                        <a:pt x="19916" y="35331"/>
                        <a:pt x="20091" y="35331"/>
                      </a:cubicBezTo>
                      <a:cubicBezTo>
                        <a:pt x="20443" y="35331"/>
                        <a:pt x="20677" y="35683"/>
                        <a:pt x="20619" y="35976"/>
                      </a:cubicBezTo>
                      <a:lnTo>
                        <a:pt x="20619" y="35976"/>
                      </a:lnTo>
                      <a:cubicBezTo>
                        <a:pt x="20619" y="36034"/>
                        <a:pt x="20619" y="36093"/>
                        <a:pt x="20560" y="36151"/>
                      </a:cubicBezTo>
                      <a:cubicBezTo>
                        <a:pt x="20267" y="36737"/>
                        <a:pt x="20091" y="37381"/>
                        <a:pt x="20033" y="38084"/>
                      </a:cubicBezTo>
                      <a:cubicBezTo>
                        <a:pt x="19974" y="38728"/>
                        <a:pt x="20033" y="39431"/>
                        <a:pt x="20209" y="40075"/>
                      </a:cubicBezTo>
                      <a:cubicBezTo>
                        <a:pt x="20209" y="40192"/>
                        <a:pt x="20267" y="40251"/>
                        <a:pt x="20209" y="40310"/>
                      </a:cubicBezTo>
                      <a:lnTo>
                        <a:pt x="20209" y="40368"/>
                      </a:lnTo>
                      <a:cubicBezTo>
                        <a:pt x="20150" y="40719"/>
                        <a:pt x="19857" y="40954"/>
                        <a:pt x="19564" y="40954"/>
                      </a:cubicBezTo>
                      <a:cubicBezTo>
                        <a:pt x="19389" y="40954"/>
                        <a:pt x="19213" y="40837"/>
                        <a:pt x="19154" y="40719"/>
                      </a:cubicBezTo>
                      <a:lnTo>
                        <a:pt x="19154" y="40719"/>
                      </a:lnTo>
                      <a:lnTo>
                        <a:pt x="17456" y="38728"/>
                      </a:lnTo>
                      <a:cubicBezTo>
                        <a:pt x="17163" y="38260"/>
                        <a:pt x="17221" y="37615"/>
                        <a:pt x="17631" y="37205"/>
                      </a:cubicBezTo>
                      <a:close/>
                      <a:moveTo>
                        <a:pt x="46333" y="19343"/>
                      </a:moveTo>
                      <a:cubicBezTo>
                        <a:pt x="46158" y="19343"/>
                        <a:pt x="45982" y="19225"/>
                        <a:pt x="45923" y="19108"/>
                      </a:cubicBezTo>
                      <a:lnTo>
                        <a:pt x="44225" y="17117"/>
                      </a:lnTo>
                      <a:cubicBezTo>
                        <a:pt x="43873" y="16707"/>
                        <a:pt x="43932" y="16063"/>
                        <a:pt x="44342" y="15653"/>
                      </a:cubicBezTo>
                      <a:lnTo>
                        <a:pt x="46392" y="13896"/>
                      </a:lnTo>
                      <a:cubicBezTo>
                        <a:pt x="46509" y="13837"/>
                        <a:pt x="46626" y="13779"/>
                        <a:pt x="46802" y="13779"/>
                      </a:cubicBezTo>
                      <a:cubicBezTo>
                        <a:pt x="47153" y="13779"/>
                        <a:pt x="47388" y="14130"/>
                        <a:pt x="47329" y="14423"/>
                      </a:cubicBezTo>
                      <a:lnTo>
                        <a:pt x="47329" y="14423"/>
                      </a:lnTo>
                      <a:cubicBezTo>
                        <a:pt x="47329" y="14482"/>
                        <a:pt x="47329" y="14540"/>
                        <a:pt x="47271" y="14599"/>
                      </a:cubicBezTo>
                      <a:cubicBezTo>
                        <a:pt x="46978" y="15184"/>
                        <a:pt x="46802" y="15829"/>
                        <a:pt x="46743" y="16531"/>
                      </a:cubicBezTo>
                      <a:cubicBezTo>
                        <a:pt x="46685" y="17176"/>
                        <a:pt x="46743" y="17878"/>
                        <a:pt x="46919" y="18523"/>
                      </a:cubicBezTo>
                      <a:cubicBezTo>
                        <a:pt x="46919" y="18640"/>
                        <a:pt x="46919" y="18698"/>
                        <a:pt x="46919" y="18757"/>
                      </a:cubicBezTo>
                      <a:lnTo>
                        <a:pt x="46919" y="18816"/>
                      </a:lnTo>
                      <a:cubicBezTo>
                        <a:pt x="46978" y="19108"/>
                        <a:pt x="46685" y="19401"/>
                        <a:pt x="46333" y="19343"/>
                      </a:cubicBezTo>
                      <a:close/>
                      <a:moveTo>
                        <a:pt x="41413" y="16824"/>
                      </a:moveTo>
                      <a:lnTo>
                        <a:pt x="39363" y="18581"/>
                      </a:lnTo>
                      <a:cubicBezTo>
                        <a:pt x="39246" y="18640"/>
                        <a:pt x="39129" y="18698"/>
                        <a:pt x="38953" y="18698"/>
                      </a:cubicBezTo>
                      <a:cubicBezTo>
                        <a:pt x="38601" y="18698"/>
                        <a:pt x="38367" y="18347"/>
                        <a:pt x="38426" y="18054"/>
                      </a:cubicBezTo>
                      <a:lnTo>
                        <a:pt x="38426" y="18054"/>
                      </a:lnTo>
                      <a:cubicBezTo>
                        <a:pt x="38426" y="17996"/>
                        <a:pt x="38426" y="17937"/>
                        <a:pt x="38484" y="17878"/>
                      </a:cubicBezTo>
                      <a:cubicBezTo>
                        <a:pt x="38777" y="17293"/>
                        <a:pt x="38953" y="16649"/>
                        <a:pt x="39011" y="15946"/>
                      </a:cubicBezTo>
                      <a:cubicBezTo>
                        <a:pt x="39070" y="15302"/>
                        <a:pt x="39011" y="14599"/>
                        <a:pt x="38836" y="13954"/>
                      </a:cubicBezTo>
                      <a:cubicBezTo>
                        <a:pt x="38836" y="13837"/>
                        <a:pt x="38836" y="13779"/>
                        <a:pt x="38836" y="13720"/>
                      </a:cubicBezTo>
                      <a:lnTo>
                        <a:pt x="38836" y="13662"/>
                      </a:lnTo>
                      <a:cubicBezTo>
                        <a:pt x="38894" y="13310"/>
                        <a:pt x="39187" y="13076"/>
                        <a:pt x="39480" y="13076"/>
                      </a:cubicBezTo>
                      <a:cubicBezTo>
                        <a:pt x="39656" y="13076"/>
                        <a:pt x="39831" y="13193"/>
                        <a:pt x="39890" y="13310"/>
                      </a:cubicBezTo>
                      <a:lnTo>
                        <a:pt x="41589" y="15302"/>
                      </a:lnTo>
                      <a:cubicBezTo>
                        <a:pt x="41882" y="15829"/>
                        <a:pt x="41823" y="16473"/>
                        <a:pt x="41413" y="16824"/>
                      </a:cubicBezTo>
                      <a:close/>
                      <a:moveTo>
                        <a:pt x="39187" y="9972"/>
                      </a:moveTo>
                      <a:cubicBezTo>
                        <a:pt x="36903" y="10031"/>
                        <a:pt x="35145" y="10265"/>
                        <a:pt x="33095" y="10792"/>
                      </a:cubicBezTo>
                      <a:cubicBezTo>
                        <a:pt x="32509" y="10909"/>
                        <a:pt x="31279" y="11143"/>
                        <a:pt x="31572" y="10089"/>
                      </a:cubicBezTo>
                      <a:cubicBezTo>
                        <a:pt x="31748" y="9445"/>
                        <a:pt x="33095" y="9269"/>
                        <a:pt x="33798" y="9093"/>
                      </a:cubicBezTo>
                      <a:cubicBezTo>
                        <a:pt x="36141" y="8625"/>
                        <a:pt x="38894" y="8508"/>
                        <a:pt x="41062" y="8391"/>
                      </a:cubicBezTo>
                      <a:cubicBezTo>
                        <a:pt x="41003" y="8391"/>
                        <a:pt x="41589" y="8625"/>
                        <a:pt x="41647" y="8625"/>
                      </a:cubicBezTo>
                      <a:cubicBezTo>
                        <a:pt x="42292" y="10206"/>
                        <a:pt x="40124" y="9972"/>
                        <a:pt x="39187" y="9972"/>
                      </a:cubicBezTo>
                      <a:close/>
                      <a:moveTo>
                        <a:pt x="29991" y="13662"/>
                      </a:moveTo>
                      <a:cubicBezTo>
                        <a:pt x="30049" y="13603"/>
                        <a:pt x="30108" y="13545"/>
                        <a:pt x="30166" y="13545"/>
                      </a:cubicBezTo>
                      <a:lnTo>
                        <a:pt x="30225" y="13545"/>
                      </a:lnTo>
                      <a:cubicBezTo>
                        <a:pt x="30518" y="13369"/>
                        <a:pt x="30869" y="13545"/>
                        <a:pt x="31045" y="13837"/>
                      </a:cubicBezTo>
                      <a:cubicBezTo>
                        <a:pt x="31104" y="14013"/>
                        <a:pt x="31104" y="14189"/>
                        <a:pt x="31045" y="14306"/>
                      </a:cubicBezTo>
                      <a:lnTo>
                        <a:pt x="30166" y="16824"/>
                      </a:lnTo>
                      <a:cubicBezTo>
                        <a:pt x="29991" y="17351"/>
                        <a:pt x="29405" y="17644"/>
                        <a:pt x="28878" y="17468"/>
                      </a:cubicBezTo>
                      <a:lnTo>
                        <a:pt x="26359" y="16590"/>
                      </a:lnTo>
                      <a:cubicBezTo>
                        <a:pt x="26242" y="16531"/>
                        <a:pt x="26125" y="16414"/>
                        <a:pt x="26066" y="16297"/>
                      </a:cubicBezTo>
                      <a:cubicBezTo>
                        <a:pt x="25949" y="16004"/>
                        <a:pt x="26066" y="15653"/>
                        <a:pt x="26359" y="15477"/>
                      </a:cubicBezTo>
                      <a:lnTo>
                        <a:pt x="26359" y="15477"/>
                      </a:lnTo>
                      <a:cubicBezTo>
                        <a:pt x="26418" y="15477"/>
                        <a:pt x="26476" y="15419"/>
                        <a:pt x="26535" y="15419"/>
                      </a:cubicBezTo>
                      <a:cubicBezTo>
                        <a:pt x="27179" y="15360"/>
                        <a:pt x="27823" y="15184"/>
                        <a:pt x="28409" y="14892"/>
                      </a:cubicBezTo>
                      <a:cubicBezTo>
                        <a:pt x="28995" y="14540"/>
                        <a:pt x="29522" y="14130"/>
                        <a:pt x="29991" y="13662"/>
                      </a:cubicBezTo>
                      <a:close/>
                      <a:moveTo>
                        <a:pt x="28175" y="11495"/>
                      </a:moveTo>
                      <a:cubicBezTo>
                        <a:pt x="27706" y="11202"/>
                        <a:pt x="27882" y="10323"/>
                        <a:pt x="28526" y="10089"/>
                      </a:cubicBezTo>
                      <a:cubicBezTo>
                        <a:pt x="30049" y="10206"/>
                        <a:pt x="29112" y="12139"/>
                        <a:pt x="28175" y="11495"/>
                      </a:cubicBezTo>
                      <a:close/>
                      <a:moveTo>
                        <a:pt x="22844" y="22974"/>
                      </a:moveTo>
                      <a:cubicBezTo>
                        <a:pt x="23372" y="23325"/>
                        <a:pt x="24016" y="23618"/>
                        <a:pt x="24660" y="23794"/>
                      </a:cubicBezTo>
                      <a:cubicBezTo>
                        <a:pt x="24778" y="23794"/>
                        <a:pt x="24836" y="23852"/>
                        <a:pt x="24836" y="23852"/>
                      </a:cubicBezTo>
                      <a:lnTo>
                        <a:pt x="24836" y="23852"/>
                      </a:lnTo>
                      <a:cubicBezTo>
                        <a:pt x="25129" y="24028"/>
                        <a:pt x="25188" y="24438"/>
                        <a:pt x="25012" y="24731"/>
                      </a:cubicBezTo>
                      <a:cubicBezTo>
                        <a:pt x="24895" y="24848"/>
                        <a:pt x="24778" y="24965"/>
                        <a:pt x="24602" y="24965"/>
                      </a:cubicBezTo>
                      <a:lnTo>
                        <a:pt x="22024" y="25434"/>
                      </a:lnTo>
                      <a:cubicBezTo>
                        <a:pt x="21497" y="25551"/>
                        <a:pt x="20912" y="25199"/>
                        <a:pt x="20853" y="24614"/>
                      </a:cubicBezTo>
                      <a:lnTo>
                        <a:pt x="20384" y="21978"/>
                      </a:lnTo>
                      <a:cubicBezTo>
                        <a:pt x="20384" y="21861"/>
                        <a:pt x="20384" y="21685"/>
                        <a:pt x="20501" y="21568"/>
                      </a:cubicBezTo>
                      <a:cubicBezTo>
                        <a:pt x="20677" y="21275"/>
                        <a:pt x="21087" y="21217"/>
                        <a:pt x="21322" y="21392"/>
                      </a:cubicBezTo>
                      <a:lnTo>
                        <a:pt x="21322" y="21392"/>
                      </a:lnTo>
                      <a:cubicBezTo>
                        <a:pt x="21380" y="21392"/>
                        <a:pt x="21380" y="21451"/>
                        <a:pt x="21439" y="21568"/>
                      </a:cubicBezTo>
                      <a:cubicBezTo>
                        <a:pt x="21849" y="22154"/>
                        <a:pt x="22317" y="22622"/>
                        <a:pt x="22844" y="22974"/>
                      </a:cubicBezTo>
                      <a:close/>
                      <a:moveTo>
                        <a:pt x="25246" y="13837"/>
                      </a:moveTo>
                      <a:cubicBezTo>
                        <a:pt x="23430" y="14892"/>
                        <a:pt x="21907" y="15770"/>
                        <a:pt x="20150" y="17351"/>
                      </a:cubicBezTo>
                      <a:cubicBezTo>
                        <a:pt x="19506" y="17937"/>
                        <a:pt x="18861" y="19108"/>
                        <a:pt x="18100" y="18698"/>
                      </a:cubicBezTo>
                      <a:cubicBezTo>
                        <a:pt x="16928" y="18113"/>
                        <a:pt x="18744" y="16649"/>
                        <a:pt x="19447" y="16063"/>
                      </a:cubicBezTo>
                      <a:cubicBezTo>
                        <a:pt x="21263" y="14540"/>
                        <a:pt x="23606" y="12842"/>
                        <a:pt x="25305" y="12080"/>
                      </a:cubicBezTo>
                      <a:cubicBezTo>
                        <a:pt x="25890" y="11905"/>
                        <a:pt x="26300" y="12490"/>
                        <a:pt x="26242" y="12900"/>
                      </a:cubicBezTo>
                      <a:cubicBezTo>
                        <a:pt x="26183" y="13369"/>
                        <a:pt x="25598" y="13603"/>
                        <a:pt x="25246" y="13837"/>
                      </a:cubicBezTo>
                      <a:close/>
                      <a:moveTo>
                        <a:pt x="16694" y="20807"/>
                      </a:moveTo>
                      <a:cubicBezTo>
                        <a:pt x="16577" y="21158"/>
                        <a:pt x="16050" y="21451"/>
                        <a:pt x="15757" y="21392"/>
                      </a:cubicBezTo>
                      <a:cubicBezTo>
                        <a:pt x="15054" y="21217"/>
                        <a:pt x="15054" y="19694"/>
                        <a:pt x="16108" y="19870"/>
                      </a:cubicBezTo>
                      <a:cubicBezTo>
                        <a:pt x="16577" y="19928"/>
                        <a:pt x="16811" y="20397"/>
                        <a:pt x="16694" y="20807"/>
                      </a:cubicBezTo>
                      <a:close/>
                      <a:moveTo>
                        <a:pt x="14527" y="23442"/>
                      </a:moveTo>
                      <a:cubicBezTo>
                        <a:pt x="14702" y="23969"/>
                        <a:pt x="14117" y="24497"/>
                        <a:pt x="13882" y="24848"/>
                      </a:cubicBezTo>
                      <a:cubicBezTo>
                        <a:pt x="13121" y="26195"/>
                        <a:pt x="11891" y="28948"/>
                        <a:pt x="11364" y="30412"/>
                      </a:cubicBezTo>
                      <a:cubicBezTo>
                        <a:pt x="11129" y="30997"/>
                        <a:pt x="11012" y="32637"/>
                        <a:pt x="10192" y="32579"/>
                      </a:cubicBezTo>
                      <a:cubicBezTo>
                        <a:pt x="8845" y="32403"/>
                        <a:pt x="10134" y="29592"/>
                        <a:pt x="10661" y="28245"/>
                      </a:cubicBezTo>
                      <a:cubicBezTo>
                        <a:pt x="11071" y="27249"/>
                        <a:pt x="11539" y="26195"/>
                        <a:pt x="11832" y="25609"/>
                      </a:cubicBezTo>
                      <a:cubicBezTo>
                        <a:pt x="12242" y="24789"/>
                        <a:pt x="13004" y="23208"/>
                        <a:pt x="13590" y="23032"/>
                      </a:cubicBezTo>
                      <a:cubicBezTo>
                        <a:pt x="13882" y="22857"/>
                        <a:pt x="14410" y="23208"/>
                        <a:pt x="14527" y="23442"/>
                      </a:cubicBezTo>
                      <a:close/>
                      <a:moveTo>
                        <a:pt x="9255" y="34511"/>
                      </a:moveTo>
                      <a:cubicBezTo>
                        <a:pt x="10485" y="34746"/>
                        <a:pt x="9431" y="36268"/>
                        <a:pt x="8669" y="35800"/>
                      </a:cubicBezTo>
                      <a:cubicBezTo>
                        <a:pt x="8259" y="35507"/>
                        <a:pt x="8259" y="34277"/>
                        <a:pt x="9255" y="34511"/>
                      </a:cubicBezTo>
                      <a:close/>
                      <a:moveTo>
                        <a:pt x="9489" y="40954"/>
                      </a:moveTo>
                      <a:cubicBezTo>
                        <a:pt x="9548" y="43121"/>
                        <a:pt x="9782" y="44936"/>
                        <a:pt x="10192" y="46986"/>
                      </a:cubicBezTo>
                      <a:cubicBezTo>
                        <a:pt x="10309" y="47455"/>
                        <a:pt x="10602" y="48626"/>
                        <a:pt x="9606" y="48509"/>
                      </a:cubicBezTo>
                      <a:cubicBezTo>
                        <a:pt x="8611" y="48392"/>
                        <a:pt x="8669" y="46576"/>
                        <a:pt x="8611" y="46166"/>
                      </a:cubicBezTo>
                      <a:cubicBezTo>
                        <a:pt x="8259" y="44409"/>
                        <a:pt x="8025" y="42886"/>
                        <a:pt x="7908" y="41129"/>
                      </a:cubicBezTo>
                      <a:cubicBezTo>
                        <a:pt x="7849" y="40310"/>
                        <a:pt x="7732" y="39372"/>
                        <a:pt x="8142" y="38377"/>
                      </a:cubicBezTo>
                      <a:cubicBezTo>
                        <a:pt x="9665" y="37733"/>
                        <a:pt x="9489" y="39900"/>
                        <a:pt x="9489" y="40954"/>
                      </a:cubicBezTo>
                      <a:close/>
                      <a:moveTo>
                        <a:pt x="16518" y="44233"/>
                      </a:moveTo>
                      <a:cubicBezTo>
                        <a:pt x="16167" y="44526"/>
                        <a:pt x="15698" y="44468"/>
                        <a:pt x="15405" y="44116"/>
                      </a:cubicBezTo>
                      <a:cubicBezTo>
                        <a:pt x="15113" y="43765"/>
                        <a:pt x="15171" y="43296"/>
                        <a:pt x="15523" y="43004"/>
                      </a:cubicBezTo>
                      <a:cubicBezTo>
                        <a:pt x="15874" y="42711"/>
                        <a:pt x="16343" y="42769"/>
                        <a:pt x="16635" y="43121"/>
                      </a:cubicBezTo>
                      <a:cubicBezTo>
                        <a:pt x="16928" y="43414"/>
                        <a:pt x="16870" y="43941"/>
                        <a:pt x="16518" y="44233"/>
                      </a:cubicBezTo>
                      <a:close/>
                      <a:moveTo>
                        <a:pt x="14058" y="46400"/>
                      </a:moveTo>
                      <a:lnTo>
                        <a:pt x="14058" y="46400"/>
                      </a:lnTo>
                      <a:cubicBezTo>
                        <a:pt x="14117" y="46400"/>
                        <a:pt x="14175" y="46342"/>
                        <a:pt x="14292" y="46342"/>
                      </a:cubicBezTo>
                      <a:cubicBezTo>
                        <a:pt x="14937" y="46283"/>
                        <a:pt x="15581" y="46166"/>
                        <a:pt x="16225" y="45873"/>
                      </a:cubicBezTo>
                      <a:cubicBezTo>
                        <a:pt x="16811" y="45639"/>
                        <a:pt x="17397" y="45229"/>
                        <a:pt x="17866" y="44761"/>
                      </a:cubicBezTo>
                      <a:cubicBezTo>
                        <a:pt x="17924" y="44702"/>
                        <a:pt x="17983" y="44643"/>
                        <a:pt x="18041" y="44643"/>
                      </a:cubicBezTo>
                      <a:lnTo>
                        <a:pt x="18100" y="44643"/>
                      </a:lnTo>
                      <a:cubicBezTo>
                        <a:pt x="18393" y="44526"/>
                        <a:pt x="18744" y="44643"/>
                        <a:pt x="18920" y="44936"/>
                      </a:cubicBezTo>
                      <a:cubicBezTo>
                        <a:pt x="18979" y="45112"/>
                        <a:pt x="18979" y="45288"/>
                        <a:pt x="18920" y="45405"/>
                      </a:cubicBezTo>
                      <a:lnTo>
                        <a:pt x="17924" y="47865"/>
                      </a:lnTo>
                      <a:cubicBezTo>
                        <a:pt x="17690" y="48392"/>
                        <a:pt x="17104" y="48626"/>
                        <a:pt x="16577" y="48450"/>
                      </a:cubicBezTo>
                      <a:lnTo>
                        <a:pt x="14117" y="47455"/>
                      </a:lnTo>
                      <a:cubicBezTo>
                        <a:pt x="14000" y="47396"/>
                        <a:pt x="13882" y="47279"/>
                        <a:pt x="13824" y="47162"/>
                      </a:cubicBezTo>
                      <a:cubicBezTo>
                        <a:pt x="13590" y="46869"/>
                        <a:pt x="13707" y="46518"/>
                        <a:pt x="14058" y="46400"/>
                      </a:cubicBezTo>
                      <a:close/>
                      <a:moveTo>
                        <a:pt x="13238" y="48450"/>
                      </a:moveTo>
                      <a:cubicBezTo>
                        <a:pt x="13414" y="48392"/>
                        <a:pt x="13590" y="48392"/>
                        <a:pt x="13707" y="48450"/>
                      </a:cubicBezTo>
                      <a:lnTo>
                        <a:pt x="13707" y="48450"/>
                      </a:lnTo>
                      <a:lnTo>
                        <a:pt x="16167" y="49446"/>
                      </a:lnTo>
                      <a:cubicBezTo>
                        <a:pt x="16694" y="49680"/>
                        <a:pt x="16928" y="50266"/>
                        <a:pt x="16753" y="50793"/>
                      </a:cubicBezTo>
                      <a:lnTo>
                        <a:pt x="15757" y="53311"/>
                      </a:lnTo>
                      <a:cubicBezTo>
                        <a:pt x="15698" y="53429"/>
                        <a:pt x="15581" y="53546"/>
                        <a:pt x="15464" y="53604"/>
                      </a:cubicBezTo>
                      <a:cubicBezTo>
                        <a:pt x="15171" y="53721"/>
                        <a:pt x="14820" y="53604"/>
                        <a:pt x="14644" y="53311"/>
                      </a:cubicBezTo>
                      <a:lnTo>
                        <a:pt x="14644" y="53311"/>
                      </a:lnTo>
                      <a:cubicBezTo>
                        <a:pt x="14644" y="53253"/>
                        <a:pt x="14585" y="53194"/>
                        <a:pt x="14585" y="53077"/>
                      </a:cubicBezTo>
                      <a:cubicBezTo>
                        <a:pt x="14527" y="52433"/>
                        <a:pt x="14410" y="51789"/>
                        <a:pt x="14175" y="51144"/>
                      </a:cubicBezTo>
                      <a:cubicBezTo>
                        <a:pt x="13941" y="50559"/>
                        <a:pt x="13531" y="49973"/>
                        <a:pt x="13121" y="49504"/>
                      </a:cubicBezTo>
                      <a:cubicBezTo>
                        <a:pt x="13062" y="49446"/>
                        <a:pt x="13004" y="49387"/>
                        <a:pt x="13004" y="49329"/>
                      </a:cubicBezTo>
                      <a:lnTo>
                        <a:pt x="13004" y="49270"/>
                      </a:lnTo>
                      <a:cubicBezTo>
                        <a:pt x="12770" y="48919"/>
                        <a:pt x="12887" y="48567"/>
                        <a:pt x="13238" y="48450"/>
                      </a:cubicBezTo>
                      <a:close/>
                      <a:moveTo>
                        <a:pt x="12711" y="54483"/>
                      </a:moveTo>
                      <a:cubicBezTo>
                        <a:pt x="13648" y="55595"/>
                        <a:pt x="14175" y="57060"/>
                        <a:pt x="15464" y="58641"/>
                      </a:cubicBezTo>
                      <a:cubicBezTo>
                        <a:pt x="15933" y="59227"/>
                        <a:pt x="16460" y="59812"/>
                        <a:pt x="17163" y="60574"/>
                      </a:cubicBezTo>
                      <a:cubicBezTo>
                        <a:pt x="17690" y="61159"/>
                        <a:pt x="18803" y="61979"/>
                        <a:pt x="18158" y="62682"/>
                      </a:cubicBezTo>
                      <a:cubicBezTo>
                        <a:pt x="17514" y="63443"/>
                        <a:pt x="16518" y="61979"/>
                        <a:pt x="15991" y="61394"/>
                      </a:cubicBezTo>
                      <a:cubicBezTo>
                        <a:pt x="14644" y="59812"/>
                        <a:pt x="13765" y="58700"/>
                        <a:pt x="12711" y="57060"/>
                      </a:cubicBezTo>
                      <a:cubicBezTo>
                        <a:pt x="12301" y="56474"/>
                        <a:pt x="11422" y="55361"/>
                        <a:pt x="11715" y="54717"/>
                      </a:cubicBezTo>
                      <a:cubicBezTo>
                        <a:pt x="11949" y="54366"/>
                        <a:pt x="12359" y="54307"/>
                        <a:pt x="12711" y="54483"/>
                      </a:cubicBezTo>
                      <a:close/>
                      <a:moveTo>
                        <a:pt x="20150" y="55888"/>
                      </a:moveTo>
                      <a:cubicBezTo>
                        <a:pt x="19857" y="55537"/>
                        <a:pt x="19916" y="55068"/>
                        <a:pt x="20267" y="54775"/>
                      </a:cubicBezTo>
                      <a:cubicBezTo>
                        <a:pt x="20619" y="54483"/>
                        <a:pt x="21087" y="54541"/>
                        <a:pt x="21380" y="54893"/>
                      </a:cubicBezTo>
                      <a:cubicBezTo>
                        <a:pt x="21673" y="55244"/>
                        <a:pt x="21614" y="55713"/>
                        <a:pt x="21263" y="56005"/>
                      </a:cubicBezTo>
                      <a:cubicBezTo>
                        <a:pt x="20970" y="56240"/>
                        <a:pt x="20443" y="56240"/>
                        <a:pt x="20150" y="55888"/>
                      </a:cubicBezTo>
                      <a:close/>
                      <a:moveTo>
                        <a:pt x="24192" y="48275"/>
                      </a:moveTo>
                      <a:cubicBezTo>
                        <a:pt x="23899" y="48216"/>
                        <a:pt x="23665" y="48099"/>
                        <a:pt x="23430" y="47865"/>
                      </a:cubicBezTo>
                      <a:cubicBezTo>
                        <a:pt x="23430" y="47865"/>
                        <a:pt x="23430" y="47865"/>
                        <a:pt x="23372" y="47806"/>
                      </a:cubicBezTo>
                      <a:cubicBezTo>
                        <a:pt x="23372" y="47806"/>
                        <a:pt x="23372" y="47806"/>
                        <a:pt x="23313" y="47747"/>
                      </a:cubicBezTo>
                      <a:cubicBezTo>
                        <a:pt x="23137" y="47572"/>
                        <a:pt x="22962" y="47279"/>
                        <a:pt x="22962" y="46986"/>
                      </a:cubicBezTo>
                      <a:lnTo>
                        <a:pt x="22903" y="46049"/>
                      </a:lnTo>
                      <a:lnTo>
                        <a:pt x="22903" y="46049"/>
                      </a:lnTo>
                      <a:lnTo>
                        <a:pt x="22786" y="44526"/>
                      </a:lnTo>
                      <a:cubicBezTo>
                        <a:pt x="22786" y="44409"/>
                        <a:pt x="22786" y="44292"/>
                        <a:pt x="22903" y="44233"/>
                      </a:cubicBezTo>
                      <a:cubicBezTo>
                        <a:pt x="23079" y="44116"/>
                        <a:pt x="23313" y="44116"/>
                        <a:pt x="23430" y="44233"/>
                      </a:cubicBezTo>
                      <a:cubicBezTo>
                        <a:pt x="23430" y="44233"/>
                        <a:pt x="23430" y="44233"/>
                        <a:pt x="23430" y="44233"/>
                      </a:cubicBezTo>
                      <a:cubicBezTo>
                        <a:pt x="23430" y="44233"/>
                        <a:pt x="23430" y="44233"/>
                        <a:pt x="23430" y="44233"/>
                      </a:cubicBezTo>
                      <a:cubicBezTo>
                        <a:pt x="23957" y="44878"/>
                        <a:pt x="24485" y="45522"/>
                        <a:pt x="25070" y="46108"/>
                      </a:cubicBezTo>
                      <a:cubicBezTo>
                        <a:pt x="25656" y="46693"/>
                        <a:pt x="26242" y="47279"/>
                        <a:pt x="26886" y="47806"/>
                      </a:cubicBezTo>
                      <a:cubicBezTo>
                        <a:pt x="26886" y="47806"/>
                        <a:pt x="26886" y="47806"/>
                        <a:pt x="26886" y="47806"/>
                      </a:cubicBezTo>
                      <a:cubicBezTo>
                        <a:pt x="26886" y="47806"/>
                        <a:pt x="26886" y="47806"/>
                        <a:pt x="26886" y="47806"/>
                      </a:cubicBezTo>
                      <a:cubicBezTo>
                        <a:pt x="27003" y="47982"/>
                        <a:pt x="27003" y="48216"/>
                        <a:pt x="26886" y="48333"/>
                      </a:cubicBezTo>
                      <a:cubicBezTo>
                        <a:pt x="26828" y="48392"/>
                        <a:pt x="26710" y="48450"/>
                        <a:pt x="26593" y="48450"/>
                      </a:cubicBezTo>
                      <a:lnTo>
                        <a:pt x="26593" y="48450"/>
                      </a:lnTo>
                      <a:lnTo>
                        <a:pt x="25070" y="48275"/>
                      </a:lnTo>
                      <a:lnTo>
                        <a:pt x="25070" y="48275"/>
                      </a:lnTo>
                      <a:lnTo>
                        <a:pt x="24192" y="48275"/>
                      </a:lnTo>
                      <a:close/>
                      <a:moveTo>
                        <a:pt x="20677" y="58934"/>
                      </a:moveTo>
                      <a:lnTo>
                        <a:pt x="20677" y="58934"/>
                      </a:lnTo>
                      <a:cubicBezTo>
                        <a:pt x="20736" y="58875"/>
                        <a:pt x="20736" y="58817"/>
                        <a:pt x="20853" y="58758"/>
                      </a:cubicBezTo>
                      <a:cubicBezTo>
                        <a:pt x="21439" y="58407"/>
                        <a:pt x="21907" y="57938"/>
                        <a:pt x="22259" y="57411"/>
                      </a:cubicBezTo>
                      <a:cubicBezTo>
                        <a:pt x="22669" y="56884"/>
                        <a:pt x="22962" y="56298"/>
                        <a:pt x="23137" y="55654"/>
                      </a:cubicBezTo>
                      <a:cubicBezTo>
                        <a:pt x="23137" y="55537"/>
                        <a:pt x="23196" y="55478"/>
                        <a:pt x="23196" y="55478"/>
                      </a:cubicBezTo>
                      <a:lnTo>
                        <a:pt x="23196" y="55478"/>
                      </a:lnTo>
                      <a:cubicBezTo>
                        <a:pt x="23372" y="55186"/>
                        <a:pt x="23782" y="55127"/>
                        <a:pt x="24075" y="55361"/>
                      </a:cubicBezTo>
                      <a:cubicBezTo>
                        <a:pt x="24192" y="55478"/>
                        <a:pt x="24309" y="55595"/>
                        <a:pt x="24309" y="55771"/>
                      </a:cubicBezTo>
                      <a:lnTo>
                        <a:pt x="24719" y="58348"/>
                      </a:lnTo>
                      <a:cubicBezTo>
                        <a:pt x="24778" y="58875"/>
                        <a:pt x="24426" y="59402"/>
                        <a:pt x="23840" y="59519"/>
                      </a:cubicBezTo>
                      <a:lnTo>
                        <a:pt x="21204" y="59929"/>
                      </a:lnTo>
                      <a:cubicBezTo>
                        <a:pt x="21087" y="59929"/>
                        <a:pt x="20912" y="59929"/>
                        <a:pt x="20794" y="59812"/>
                      </a:cubicBezTo>
                      <a:cubicBezTo>
                        <a:pt x="20501" y="59578"/>
                        <a:pt x="20443" y="59227"/>
                        <a:pt x="20677" y="58934"/>
                      </a:cubicBezTo>
                      <a:close/>
                      <a:moveTo>
                        <a:pt x="21322" y="62096"/>
                      </a:moveTo>
                      <a:cubicBezTo>
                        <a:pt x="21204" y="62096"/>
                        <a:pt x="21146" y="62038"/>
                        <a:pt x="21146" y="62038"/>
                      </a:cubicBezTo>
                      <a:lnTo>
                        <a:pt x="21146" y="62038"/>
                      </a:lnTo>
                      <a:cubicBezTo>
                        <a:pt x="20853" y="61862"/>
                        <a:pt x="20794" y="61452"/>
                        <a:pt x="21029" y="61159"/>
                      </a:cubicBezTo>
                      <a:cubicBezTo>
                        <a:pt x="21146" y="61042"/>
                        <a:pt x="21263" y="60925"/>
                        <a:pt x="21439" y="60925"/>
                      </a:cubicBezTo>
                      <a:lnTo>
                        <a:pt x="24016" y="60515"/>
                      </a:lnTo>
                      <a:cubicBezTo>
                        <a:pt x="24602" y="60398"/>
                        <a:pt x="25070" y="60808"/>
                        <a:pt x="25188" y="61394"/>
                      </a:cubicBezTo>
                      <a:lnTo>
                        <a:pt x="25598" y="64029"/>
                      </a:lnTo>
                      <a:cubicBezTo>
                        <a:pt x="25598" y="64146"/>
                        <a:pt x="25598" y="64322"/>
                        <a:pt x="25480" y="64439"/>
                      </a:cubicBezTo>
                      <a:cubicBezTo>
                        <a:pt x="25305" y="64732"/>
                        <a:pt x="24895" y="64790"/>
                        <a:pt x="24602" y="64556"/>
                      </a:cubicBezTo>
                      <a:lnTo>
                        <a:pt x="24602" y="64556"/>
                      </a:lnTo>
                      <a:cubicBezTo>
                        <a:pt x="24543" y="64556"/>
                        <a:pt x="24543" y="64498"/>
                        <a:pt x="24485" y="64380"/>
                      </a:cubicBezTo>
                      <a:cubicBezTo>
                        <a:pt x="24133" y="63795"/>
                        <a:pt x="23665" y="63326"/>
                        <a:pt x="23137" y="62916"/>
                      </a:cubicBezTo>
                      <a:cubicBezTo>
                        <a:pt x="22552" y="62565"/>
                        <a:pt x="21966" y="62272"/>
                        <a:pt x="21322" y="62096"/>
                      </a:cubicBezTo>
                      <a:close/>
                      <a:moveTo>
                        <a:pt x="19623" y="64029"/>
                      </a:moveTo>
                      <a:cubicBezTo>
                        <a:pt x="19799" y="63561"/>
                        <a:pt x="20326" y="63326"/>
                        <a:pt x="21029" y="63736"/>
                      </a:cubicBezTo>
                      <a:cubicBezTo>
                        <a:pt x="21673" y="65318"/>
                        <a:pt x="19213" y="65318"/>
                        <a:pt x="19623" y="64029"/>
                      </a:cubicBezTo>
                      <a:close/>
                      <a:moveTo>
                        <a:pt x="34032" y="61511"/>
                      </a:moveTo>
                      <a:cubicBezTo>
                        <a:pt x="34208" y="61511"/>
                        <a:pt x="34325" y="61628"/>
                        <a:pt x="34442" y="61745"/>
                      </a:cubicBezTo>
                      <a:lnTo>
                        <a:pt x="36141" y="63736"/>
                      </a:lnTo>
                      <a:cubicBezTo>
                        <a:pt x="36493" y="64146"/>
                        <a:pt x="36434" y="64790"/>
                        <a:pt x="36024" y="65200"/>
                      </a:cubicBezTo>
                      <a:lnTo>
                        <a:pt x="33974" y="66957"/>
                      </a:lnTo>
                      <a:cubicBezTo>
                        <a:pt x="33857" y="67016"/>
                        <a:pt x="33740" y="67075"/>
                        <a:pt x="33564" y="67075"/>
                      </a:cubicBezTo>
                      <a:cubicBezTo>
                        <a:pt x="33212" y="67075"/>
                        <a:pt x="32978" y="66723"/>
                        <a:pt x="33037" y="66430"/>
                      </a:cubicBezTo>
                      <a:lnTo>
                        <a:pt x="33037" y="66430"/>
                      </a:lnTo>
                      <a:cubicBezTo>
                        <a:pt x="33037" y="66372"/>
                        <a:pt x="33037" y="66313"/>
                        <a:pt x="33095" y="66255"/>
                      </a:cubicBezTo>
                      <a:cubicBezTo>
                        <a:pt x="33388" y="65669"/>
                        <a:pt x="33564" y="65025"/>
                        <a:pt x="33622" y="64322"/>
                      </a:cubicBezTo>
                      <a:cubicBezTo>
                        <a:pt x="33681" y="63678"/>
                        <a:pt x="33622" y="62975"/>
                        <a:pt x="33447" y="62331"/>
                      </a:cubicBezTo>
                      <a:cubicBezTo>
                        <a:pt x="33447" y="62214"/>
                        <a:pt x="33447" y="62155"/>
                        <a:pt x="33447" y="62096"/>
                      </a:cubicBezTo>
                      <a:lnTo>
                        <a:pt x="33447" y="62096"/>
                      </a:lnTo>
                      <a:cubicBezTo>
                        <a:pt x="33447" y="61745"/>
                        <a:pt x="33740" y="61452"/>
                        <a:pt x="34032" y="61511"/>
                      </a:cubicBezTo>
                      <a:close/>
                      <a:moveTo>
                        <a:pt x="39011" y="63971"/>
                      </a:moveTo>
                      <a:lnTo>
                        <a:pt x="41062" y="62214"/>
                      </a:lnTo>
                      <a:cubicBezTo>
                        <a:pt x="41179" y="62155"/>
                        <a:pt x="41296" y="62096"/>
                        <a:pt x="41472" y="62096"/>
                      </a:cubicBezTo>
                      <a:cubicBezTo>
                        <a:pt x="41823" y="62155"/>
                        <a:pt x="42057" y="62448"/>
                        <a:pt x="41999" y="62741"/>
                      </a:cubicBezTo>
                      <a:lnTo>
                        <a:pt x="41999" y="62741"/>
                      </a:lnTo>
                      <a:cubicBezTo>
                        <a:pt x="41999" y="62799"/>
                        <a:pt x="41999" y="62858"/>
                        <a:pt x="41940" y="62916"/>
                      </a:cubicBezTo>
                      <a:cubicBezTo>
                        <a:pt x="41647" y="63502"/>
                        <a:pt x="41472" y="64146"/>
                        <a:pt x="41413" y="64849"/>
                      </a:cubicBezTo>
                      <a:cubicBezTo>
                        <a:pt x="41354" y="65493"/>
                        <a:pt x="41413" y="66196"/>
                        <a:pt x="41589" y="66840"/>
                      </a:cubicBezTo>
                      <a:cubicBezTo>
                        <a:pt x="41589" y="66957"/>
                        <a:pt x="41589" y="67016"/>
                        <a:pt x="41589" y="67075"/>
                      </a:cubicBezTo>
                      <a:lnTo>
                        <a:pt x="41589" y="67133"/>
                      </a:lnTo>
                      <a:cubicBezTo>
                        <a:pt x="41530" y="67485"/>
                        <a:pt x="41237" y="67719"/>
                        <a:pt x="40944" y="67719"/>
                      </a:cubicBezTo>
                      <a:cubicBezTo>
                        <a:pt x="40769" y="67719"/>
                        <a:pt x="40652" y="67602"/>
                        <a:pt x="40534" y="67485"/>
                      </a:cubicBezTo>
                      <a:lnTo>
                        <a:pt x="38836" y="65493"/>
                      </a:lnTo>
                      <a:cubicBezTo>
                        <a:pt x="38484" y="65025"/>
                        <a:pt x="38601" y="64380"/>
                        <a:pt x="39011" y="63971"/>
                      </a:cubicBezTo>
                      <a:close/>
                      <a:moveTo>
                        <a:pt x="40827" y="70296"/>
                      </a:moveTo>
                      <a:cubicBezTo>
                        <a:pt x="43287" y="70296"/>
                        <a:pt x="46099" y="69651"/>
                        <a:pt x="47915" y="69242"/>
                      </a:cubicBezTo>
                      <a:cubicBezTo>
                        <a:pt x="48383" y="69124"/>
                        <a:pt x="48676" y="70061"/>
                        <a:pt x="48618" y="70237"/>
                      </a:cubicBezTo>
                      <a:cubicBezTo>
                        <a:pt x="48383" y="70881"/>
                        <a:pt x="46802" y="70999"/>
                        <a:pt x="46158" y="71116"/>
                      </a:cubicBezTo>
                      <a:cubicBezTo>
                        <a:pt x="44400" y="71467"/>
                        <a:pt x="42760" y="71643"/>
                        <a:pt x="40886" y="71701"/>
                      </a:cubicBezTo>
                      <a:cubicBezTo>
                        <a:pt x="40066" y="71760"/>
                        <a:pt x="38894" y="72111"/>
                        <a:pt x="38367" y="71174"/>
                      </a:cubicBezTo>
                      <a:cubicBezTo>
                        <a:pt x="38426" y="70061"/>
                        <a:pt x="39773" y="70296"/>
                        <a:pt x="40827" y="70296"/>
                      </a:cubicBezTo>
                      <a:close/>
                      <a:moveTo>
                        <a:pt x="49438" y="67075"/>
                      </a:moveTo>
                      <a:cubicBezTo>
                        <a:pt x="49379" y="66899"/>
                        <a:pt x="49379" y="66723"/>
                        <a:pt x="49438" y="66606"/>
                      </a:cubicBezTo>
                      <a:lnTo>
                        <a:pt x="49438" y="66606"/>
                      </a:lnTo>
                      <a:lnTo>
                        <a:pt x="50316" y="64088"/>
                      </a:lnTo>
                      <a:cubicBezTo>
                        <a:pt x="50492" y="63561"/>
                        <a:pt x="51078" y="63268"/>
                        <a:pt x="51605" y="63443"/>
                      </a:cubicBezTo>
                      <a:lnTo>
                        <a:pt x="54124" y="64322"/>
                      </a:lnTo>
                      <a:cubicBezTo>
                        <a:pt x="54241" y="64380"/>
                        <a:pt x="54358" y="64498"/>
                        <a:pt x="54417" y="64615"/>
                      </a:cubicBezTo>
                      <a:cubicBezTo>
                        <a:pt x="54593" y="64908"/>
                        <a:pt x="54417" y="65259"/>
                        <a:pt x="54124" y="65435"/>
                      </a:cubicBezTo>
                      <a:lnTo>
                        <a:pt x="54124" y="65435"/>
                      </a:lnTo>
                      <a:cubicBezTo>
                        <a:pt x="54065" y="65435"/>
                        <a:pt x="54007" y="65493"/>
                        <a:pt x="53948" y="65493"/>
                      </a:cubicBezTo>
                      <a:cubicBezTo>
                        <a:pt x="53304" y="65552"/>
                        <a:pt x="52660" y="65728"/>
                        <a:pt x="52074" y="66020"/>
                      </a:cubicBezTo>
                      <a:cubicBezTo>
                        <a:pt x="51488" y="66313"/>
                        <a:pt x="50961" y="66723"/>
                        <a:pt x="50492" y="67192"/>
                      </a:cubicBezTo>
                      <a:cubicBezTo>
                        <a:pt x="50434" y="67250"/>
                        <a:pt x="50375" y="67309"/>
                        <a:pt x="50316" y="67309"/>
                      </a:cubicBezTo>
                      <a:lnTo>
                        <a:pt x="50316" y="67309"/>
                      </a:lnTo>
                      <a:cubicBezTo>
                        <a:pt x="49906" y="67485"/>
                        <a:pt x="49555" y="67367"/>
                        <a:pt x="49438" y="67075"/>
                      </a:cubicBezTo>
                      <a:close/>
                      <a:moveTo>
                        <a:pt x="52425" y="68597"/>
                      </a:moveTo>
                      <a:cubicBezTo>
                        <a:pt x="53597" y="68714"/>
                        <a:pt x="52952" y="70296"/>
                        <a:pt x="52191" y="70061"/>
                      </a:cubicBezTo>
                      <a:cubicBezTo>
                        <a:pt x="51371" y="69827"/>
                        <a:pt x="51429" y="68539"/>
                        <a:pt x="52425" y="68597"/>
                      </a:cubicBezTo>
                      <a:close/>
                      <a:moveTo>
                        <a:pt x="57521" y="57880"/>
                      </a:moveTo>
                      <a:cubicBezTo>
                        <a:pt x="56994" y="57528"/>
                        <a:pt x="56350" y="57235"/>
                        <a:pt x="55705" y="57060"/>
                      </a:cubicBezTo>
                      <a:cubicBezTo>
                        <a:pt x="55588" y="57060"/>
                        <a:pt x="55530" y="57001"/>
                        <a:pt x="55530" y="57001"/>
                      </a:cubicBezTo>
                      <a:lnTo>
                        <a:pt x="55530" y="57001"/>
                      </a:lnTo>
                      <a:cubicBezTo>
                        <a:pt x="55237" y="56825"/>
                        <a:pt x="55178" y="56415"/>
                        <a:pt x="55354" y="56123"/>
                      </a:cubicBezTo>
                      <a:cubicBezTo>
                        <a:pt x="55471" y="56005"/>
                        <a:pt x="55588" y="55888"/>
                        <a:pt x="55764" y="55888"/>
                      </a:cubicBezTo>
                      <a:lnTo>
                        <a:pt x="55764" y="55888"/>
                      </a:lnTo>
                      <a:lnTo>
                        <a:pt x="58341" y="55420"/>
                      </a:lnTo>
                      <a:cubicBezTo>
                        <a:pt x="58869" y="55303"/>
                        <a:pt x="59396" y="55654"/>
                        <a:pt x="59513" y="56240"/>
                      </a:cubicBezTo>
                      <a:lnTo>
                        <a:pt x="59981" y="58875"/>
                      </a:lnTo>
                      <a:cubicBezTo>
                        <a:pt x="59981" y="58992"/>
                        <a:pt x="59981" y="59168"/>
                        <a:pt x="59864" y="59285"/>
                      </a:cubicBezTo>
                      <a:cubicBezTo>
                        <a:pt x="59689" y="59578"/>
                        <a:pt x="59279" y="59637"/>
                        <a:pt x="59044" y="59461"/>
                      </a:cubicBezTo>
                      <a:lnTo>
                        <a:pt x="59044" y="59461"/>
                      </a:lnTo>
                      <a:cubicBezTo>
                        <a:pt x="58986" y="59461"/>
                        <a:pt x="58986" y="59402"/>
                        <a:pt x="58927" y="59285"/>
                      </a:cubicBezTo>
                      <a:cubicBezTo>
                        <a:pt x="58576" y="58700"/>
                        <a:pt x="58107" y="58231"/>
                        <a:pt x="57521" y="57880"/>
                      </a:cubicBezTo>
                      <a:close/>
                      <a:moveTo>
                        <a:pt x="56350" y="66137"/>
                      </a:moveTo>
                      <a:cubicBezTo>
                        <a:pt x="57697" y="65318"/>
                        <a:pt x="59044" y="64380"/>
                        <a:pt x="60216" y="63326"/>
                      </a:cubicBezTo>
                      <a:cubicBezTo>
                        <a:pt x="60919" y="62741"/>
                        <a:pt x="61446" y="61921"/>
                        <a:pt x="62090" y="61745"/>
                      </a:cubicBezTo>
                      <a:cubicBezTo>
                        <a:pt x="64258" y="61921"/>
                        <a:pt x="61739" y="63912"/>
                        <a:pt x="61036" y="64498"/>
                      </a:cubicBezTo>
                      <a:cubicBezTo>
                        <a:pt x="59630" y="65728"/>
                        <a:pt x="58576" y="66372"/>
                        <a:pt x="56877" y="67485"/>
                      </a:cubicBezTo>
                      <a:cubicBezTo>
                        <a:pt x="56291" y="67836"/>
                        <a:pt x="55237" y="68832"/>
                        <a:pt x="54593" y="68246"/>
                      </a:cubicBezTo>
                      <a:cubicBezTo>
                        <a:pt x="54534" y="68187"/>
                        <a:pt x="54358" y="67777"/>
                        <a:pt x="54358" y="67660"/>
                      </a:cubicBezTo>
                      <a:cubicBezTo>
                        <a:pt x="54534" y="67016"/>
                        <a:pt x="55940" y="66430"/>
                        <a:pt x="56350" y="66137"/>
                      </a:cubicBezTo>
                      <a:close/>
                      <a:moveTo>
                        <a:pt x="63847" y="59051"/>
                      </a:moveTo>
                      <a:cubicBezTo>
                        <a:pt x="64082" y="58290"/>
                        <a:pt x="64609" y="58172"/>
                        <a:pt x="65312" y="58641"/>
                      </a:cubicBezTo>
                      <a:cubicBezTo>
                        <a:pt x="65488" y="58934"/>
                        <a:pt x="65312" y="59578"/>
                        <a:pt x="64960" y="59871"/>
                      </a:cubicBezTo>
                      <a:cubicBezTo>
                        <a:pt x="64375" y="59929"/>
                        <a:pt x="63906" y="59519"/>
                        <a:pt x="63847" y="59051"/>
                      </a:cubicBezTo>
                      <a:close/>
                      <a:moveTo>
                        <a:pt x="66776" y="54893"/>
                      </a:moveTo>
                      <a:cubicBezTo>
                        <a:pt x="67948" y="52784"/>
                        <a:pt x="68944" y="49856"/>
                        <a:pt x="69471" y="48040"/>
                      </a:cubicBezTo>
                      <a:cubicBezTo>
                        <a:pt x="69822" y="47806"/>
                        <a:pt x="70525" y="47572"/>
                        <a:pt x="70818" y="48157"/>
                      </a:cubicBezTo>
                      <a:cubicBezTo>
                        <a:pt x="71052" y="48567"/>
                        <a:pt x="70408" y="50207"/>
                        <a:pt x="70174" y="50910"/>
                      </a:cubicBezTo>
                      <a:cubicBezTo>
                        <a:pt x="69705" y="52140"/>
                        <a:pt x="68709" y="54541"/>
                        <a:pt x="68006" y="55830"/>
                      </a:cubicBezTo>
                      <a:cubicBezTo>
                        <a:pt x="67538" y="56708"/>
                        <a:pt x="66952" y="57470"/>
                        <a:pt x="66366" y="57294"/>
                      </a:cubicBezTo>
                      <a:cubicBezTo>
                        <a:pt x="65312" y="56767"/>
                        <a:pt x="66366" y="55595"/>
                        <a:pt x="66776" y="54893"/>
                      </a:cubicBezTo>
                      <a:close/>
                      <a:moveTo>
                        <a:pt x="78433" y="38201"/>
                      </a:moveTo>
                      <a:lnTo>
                        <a:pt x="78550" y="38201"/>
                      </a:lnTo>
                      <a:lnTo>
                        <a:pt x="78433" y="38201"/>
                      </a:lnTo>
                      <a:cubicBezTo>
                        <a:pt x="78433" y="38670"/>
                        <a:pt x="78023" y="39080"/>
                        <a:pt x="77496" y="39138"/>
                      </a:cubicBezTo>
                      <a:lnTo>
                        <a:pt x="74977" y="39255"/>
                      </a:lnTo>
                      <a:cubicBezTo>
                        <a:pt x="74450" y="39255"/>
                        <a:pt x="73981" y="38904"/>
                        <a:pt x="73922" y="38435"/>
                      </a:cubicBezTo>
                      <a:cubicBezTo>
                        <a:pt x="73922" y="37967"/>
                        <a:pt x="74332" y="37557"/>
                        <a:pt x="74860" y="37557"/>
                      </a:cubicBezTo>
                      <a:lnTo>
                        <a:pt x="77378" y="37440"/>
                      </a:lnTo>
                      <a:cubicBezTo>
                        <a:pt x="77964" y="37381"/>
                        <a:pt x="78433" y="37733"/>
                        <a:pt x="78433" y="38201"/>
                      </a:cubicBezTo>
                      <a:close/>
                      <a:moveTo>
                        <a:pt x="78198" y="35566"/>
                      </a:moveTo>
                      <a:lnTo>
                        <a:pt x="78316" y="35566"/>
                      </a:lnTo>
                      <a:lnTo>
                        <a:pt x="78198" y="35566"/>
                      </a:lnTo>
                      <a:cubicBezTo>
                        <a:pt x="78257" y="36034"/>
                        <a:pt x="77847" y="36503"/>
                        <a:pt x="77320" y="36561"/>
                      </a:cubicBezTo>
                      <a:lnTo>
                        <a:pt x="74801" y="36854"/>
                      </a:lnTo>
                      <a:cubicBezTo>
                        <a:pt x="74274" y="36913"/>
                        <a:pt x="73747" y="36620"/>
                        <a:pt x="73688" y="36093"/>
                      </a:cubicBezTo>
                      <a:cubicBezTo>
                        <a:pt x="73630" y="35624"/>
                        <a:pt x="74040" y="35214"/>
                        <a:pt x="74567" y="35097"/>
                      </a:cubicBezTo>
                      <a:lnTo>
                        <a:pt x="77086" y="34804"/>
                      </a:lnTo>
                      <a:cubicBezTo>
                        <a:pt x="77671" y="34746"/>
                        <a:pt x="78140" y="35097"/>
                        <a:pt x="78198" y="35566"/>
                      </a:cubicBezTo>
                      <a:close/>
                      <a:moveTo>
                        <a:pt x="77788" y="32872"/>
                      </a:moveTo>
                      <a:lnTo>
                        <a:pt x="77906" y="32872"/>
                      </a:lnTo>
                      <a:lnTo>
                        <a:pt x="77788" y="32872"/>
                      </a:lnTo>
                      <a:cubicBezTo>
                        <a:pt x="77847" y="33340"/>
                        <a:pt x="77496" y="33809"/>
                        <a:pt x="76968" y="33926"/>
                      </a:cubicBezTo>
                      <a:lnTo>
                        <a:pt x="74508" y="34394"/>
                      </a:lnTo>
                      <a:cubicBezTo>
                        <a:pt x="73981" y="34511"/>
                        <a:pt x="73454" y="34219"/>
                        <a:pt x="73395" y="33750"/>
                      </a:cubicBezTo>
                      <a:cubicBezTo>
                        <a:pt x="73337" y="33282"/>
                        <a:pt x="73688" y="32813"/>
                        <a:pt x="74215" y="32696"/>
                      </a:cubicBezTo>
                      <a:lnTo>
                        <a:pt x="76676" y="32227"/>
                      </a:lnTo>
                      <a:cubicBezTo>
                        <a:pt x="77203" y="32110"/>
                        <a:pt x="77730" y="32403"/>
                        <a:pt x="77788" y="32872"/>
                      </a:cubicBezTo>
                      <a:close/>
                      <a:moveTo>
                        <a:pt x="76031" y="29709"/>
                      </a:moveTo>
                      <a:cubicBezTo>
                        <a:pt x="76558" y="29592"/>
                        <a:pt x="77086" y="29826"/>
                        <a:pt x="77203" y="30295"/>
                      </a:cubicBezTo>
                      <a:lnTo>
                        <a:pt x="77320" y="30295"/>
                      </a:lnTo>
                      <a:lnTo>
                        <a:pt x="77203" y="30353"/>
                      </a:lnTo>
                      <a:cubicBezTo>
                        <a:pt x="77320" y="30822"/>
                        <a:pt x="76968" y="31290"/>
                        <a:pt x="76441" y="31466"/>
                      </a:cubicBezTo>
                      <a:lnTo>
                        <a:pt x="73981" y="32110"/>
                      </a:lnTo>
                      <a:cubicBezTo>
                        <a:pt x="73454" y="32227"/>
                        <a:pt x="72927" y="31993"/>
                        <a:pt x="72810" y="31525"/>
                      </a:cubicBezTo>
                      <a:cubicBezTo>
                        <a:pt x="72692" y="31056"/>
                        <a:pt x="73044" y="30587"/>
                        <a:pt x="73571" y="30412"/>
                      </a:cubicBezTo>
                      <a:lnTo>
                        <a:pt x="76031" y="29709"/>
                      </a:lnTo>
                      <a:close/>
                      <a:moveTo>
                        <a:pt x="75211" y="27249"/>
                      </a:moveTo>
                      <a:cubicBezTo>
                        <a:pt x="75738" y="27073"/>
                        <a:pt x="76266" y="27308"/>
                        <a:pt x="76441" y="27718"/>
                      </a:cubicBezTo>
                      <a:lnTo>
                        <a:pt x="76558" y="27659"/>
                      </a:lnTo>
                      <a:lnTo>
                        <a:pt x="76441" y="27718"/>
                      </a:lnTo>
                      <a:cubicBezTo>
                        <a:pt x="76617" y="28186"/>
                        <a:pt x="76266" y="28655"/>
                        <a:pt x="75738" y="28830"/>
                      </a:cubicBezTo>
                      <a:lnTo>
                        <a:pt x="73337" y="29650"/>
                      </a:lnTo>
                      <a:cubicBezTo>
                        <a:pt x="72810" y="29826"/>
                        <a:pt x="72282" y="29592"/>
                        <a:pt x="72107" y="29182"/>
                      </a:cubicBezTo>
                      <a:cubicBezTo>
                        <a:pt x="71931" y="28713"/>
                        <a:pt x="72282" y="28245"/>
                        <a:pt x="72810" y="28069"/>
                      </a:cubicBezTo>
                      <a:lnTo>
                        <a:pt x="75211" y="27249"/>
                      </a:lnTo>
                      <a:close/>
                      <a:moveTo>
                        <a:pt x="75504" y="25199"/>
                      </a:moveTo>
                      <a:lnTo>
                        <a:pt x="75621" y="25141"/>
                      </a:lnTo>
                      <a:lnTo>
                        <a:pt x="75504" y="25199"/>
                      </a:lnTo>
                      <a:cubicBezTo>
                        <a:pt x="75680" y="25668"/>
                        <a:pt x="75445" y="26195"/>
                        <a:pt x="74918" y="26371"/>
                      </a:cubicBezTo>
                      <a:lnTo>
                        <a:pt x="72575" y="27366"/>
                      </a:lnTo>
                      <a:cubicBezTo>
                        <a:pt x="72048" y="27601"/>
                        <a:pt x="71521" y="27425"/>
                        <a:pt x="71345" y="26956"/>
                      </a:cubicBezTo>
                      <a:cubicBezTo>
                        <a:pt x="71169" y="26546"/>
                        <a:pt x="71404" y="26019"/>
                        <a:pt x="71931" y="25785"/>
                      </a:cubicBezTo>
                      <a:lnTo>
                        <a:pt x="74274" y="24789"/>
                      </a:lnTo>
                      <a:cubicBezTo>
                        <a:pt x="74742" y="24614"/>
                        <a:pt x="75328" y="24789"/>
                        <a:pt x="75504" y="25199"/>
                      </a:cubicBezTo>
                      <a:close/>
                      <a:moveTo>
                        <a:pt x="74391" y="22740"/>
                      </a:moveTo>
                      <a:lnTo>
                        <a:pt x="74508" y="22681"/>
                      </a:lnTo>
                      <a:lnTo>
                        <a:pt x="74391" y="22740"/>
                      </a:lnTo>
                      <a:cubicBezTo>
                        <a:pt x="74625" y="23149"/>
                        <a:pt x="74391" y="23735"/>
                        <a:pt x="73864" y="23969"/>
                      </a:cubicBezTo>
                      <a:lnTo>
                        <a:pt x="71638" y="25141"/>
                      </a:lnTo>
                      <a:cubicBezTo>
                        <a:pt x="71169" y="25375"/>
                        <a:pt x="70584" y="25258"/>
                        <a:pt x="70349" y="24848"/>
                      </a:cubicBezTo>
                      <a:cubicBezTo>
                        <a:pt x="70115" y="24438"/>
                        <a:pt x="70349" y="23852"/>
                        <a:pt x="70877" y="23618"/>
                      </a:cubicBezTo>
                      <a:lnTo>
                        <a:pt x="73102" y="22447"/>
                      </a:lnTo>
                      <a:cubicBezTo>
                        <a:pt x="73630" y="22212"/>
                        <a:pt x="74157" y="22330"/>
                        <a:pt x="74391" y="22740"/>
                      </a:cubicBezTo>
                      <a:close/>
                      <a:moveTo>
                        <a:pt x="73102" y="20397"/>
                      </a:moveTo>
                      <a:lnTo>
                        <a:pt x="73220" y="20338"/>
                      </a:lnTo>
                      <a:lnTo>
                        <a:pt x="73102" y="20397"/>
                      </a:lnTo>
                      <a:cubicBezTo>
                        <a:pt x="73337" y="20807"/>
                        <a:pt x="73161" y="21392"/>
                        <a:pt x="72692" y="21627"/>
                      </a:cubicBezTo>
                      <a:lnTo>
                        <a:pt x="70525" y="22915"/>
                      </a:lnTo>
                      <a:cubicBezTo>
                        <a:pt x="70056" y="23208"/>
                        <a:pt x="69471" y="23091"/>
                        <a:pt x="69236" y="22681"/>
                      </a:cubicBezTo>
                      <a:cubicBezTo>
                        <a:pt x="69002" y="22271"/>
                        <a:pt x="69178" y="21685"/>
                        <a:pt x="69646" y="21451"/>
                      </a:cubicBezTo>
                      <a:lnTo>
                        <a:pt x="71814" y="20163"/>
                      </a:lnTo>
                      <a:cubicBezTo>
                        <a:pt x="72282" y="19928"/>
                        <a:pt x="72868" y="19987"/>
                        <a:pt x="73102" y="20397"/>
                      </a:cubicBezTo>
                      <a:close/>
                      <a:moveTo>
                        <a:pt x="70349" y="18054"/>
                      </a:moveTo>
                      <a:cubicBezTo>
                        <a:pt x="70818" y="17761"/>
                        <a:pt x="71404" y="17820"/>
                        <a:pt x="71638" y="18171"/>
                      </a:cubicBezTo>
                      <a:lnTo>
                        <a:pt x="71755" y="18113"/>
                      </a:lnTo>
                      <a:lnTo>
                        <a:pt x="71638" y="18171"/>
                      </a:lnTo>
                      <a:cubicBezTo>
                        <a:pt x="71931" y="18581"/>
                        <a:pt x="71755" y="19108"/>
                        <a:pt x="71287" y="19460"/>
                      </a:cubicBezTo>
                      <a:lnTo>
                        <a:pt x="69236" y="20924"/>
                      </a:lnTo>
                      <a:cubicBezTo>
                        <a:pt x="68768" y="21217"/>
                        <a:pt x="68182" y="21158"/>
                        <a:pt x="67948" y="20807"/>
                      </a:cubicBezTo>
                      <a:cubicBezTo>
                        <a:pt x="67655" y="20397"/>
                        <a:pt x="67831" y="19870"/>
                        <a:pt x="68299" y="19518"/>
                      </a:cubicBezTo>
                      <a:lnTo>
                        <a:pt x="70349" y="18054"/>
                      </a:lnTo>
                      <a:close/>
                      <a:moveTo>
                        <a:pt x="68768" y="16004"/>
                      </a:moveTo>
                      <a:cubicBezTo>
                        <a:pt x="69178" y="15653"/>
                        <a:pt x="69764" y="15653"/>
                        <a:pt x="70056" y="16063"/>
                      </a:cubicBezTo>
                      <a:lnTo>
                        <a:pt x="70174" y="16004"/>
                      </a:lnTo>
                      <a:lnTo>
                        <a:pt x="70056" y="16063"/>
                      </a:lnTo>
                      <a:cubicBezTo>
                        <a:pt x="70349" y="16414"/>
                        <a:pt x="70232" y="17000"/>
                        <a:pt x="69822" y="17351"/>
                      </a:cubicBezTo>
                      <a:lnTo>
                        <a:pt x="67831" y="18933"/>
                      </a:lnTo>
                      <a:cubicBezTo>
                        <a:pt x="67421" y="19284"/>
                        <a:pt x="66835" y="19284"/>
                        <a:pt x="66542" y="18874"/>
                      </a:cubicBezTo>
                      <a:cubicBezTo>
                        <a:pt x="66249" y="18523"/>
                        <a:pt x="66366" y="17937"/>
                        <a:pt x="66776" y="17586"/>
                      </a:cubicBezTo>
                      <a:lnTo>
                        <a:pt x="68768" y="16004"/>
                      </a:lnTo>
                      <a:close/>
                      <a:moveTo>
                        <a:pt x="67011" y="14013"/>
                      </a:moveTo>
                      <a:cubicBezTo>
                        <a:pt x="67421" y="13662"/>
                        <a:pt x="68006" y="13603"/>
                        <a:pt x="68299" y="13954"/>
                      </a:cubicBezTo>
                      <a:lnTo>
                        <a:pt x="68416" y="13896"/>
                      </a:lnTo>
                      <a:lnTo>
                        <a:pt x="68299" y="14013"/>
                      </a:lnTo>
                      <a:cubicBezTo>
                        <a:pt x="68592" y="14364"/>
                        <a:pt x="68533" y="14950"/>
                        <a:pt x="68123" y="15302"/>
                      </a:cubicBezTo>
                      <a:lnTo>
                        <a:pt x="66249" y="17000"/>
                      </a:lnTo>
                      <a:cubicBezTo>
                        <a:pt x="65839" y="17351"/>
                        <a:pt x="65253" y="17410"/>
                        <a:pt x="64902" y="17059"/>
                      </a:cubicBezTo>
                      <a:cubicBezTo>
                        <a:pt x="64609" y="16707"/>
                        <a:pt x="64668" y="16121"/>
                        <a:pt x="65078" y="15770"/>
                      </a:cubicBezTo>
                      <a:lnTo>
                        <a:pt x="67011" y="14013"/>
                      </a:lnTo>
                      <a:close/>
                      <a:moveTo>
                        <a:pt x="66425" y="12080"/>
                      </a:moveTo>
                      <a:lnTo>
                        <a:pt x="66542" y="11963"/>
                      </a:lnTo>
                      <a:lnTo>
                        <a:pt x="66425" y="12080"/>
                      </a:lnTo>
                      <a:cubicBezTo>
                        <a:pt x="66776" y="12432"/>
                        <a:pt x="66718" y="13017"/>
                        <a:pt x="66366" y="13427"/>
                      </a:cubicBezTo>
                      <a:lnTo>
                        <a:pt x="64668" y="15243"/>
                      </a:lnTo>
                      <a:cubicBezTo>
                        <a:pt x="64316" y="15653"/>
                        <a:pt x="63730" y="15711"/>
                        <a:pt x="63379" y="15360"/>
                      </a:cubicBezTo>
                      <a:cubicBezTo>
                        <a:pt x="63027" y="15067"/>
                        <a:pt x="63086" y="14423"/>
                        <a:pt x="63437" y="14013"/>
                      </a:cubicBezTo>
                      <a:lnTo>
                        <a:pt x="65195" y="12139"/>
                      </a:lnTo>
                      <a:cubicBezTo>
                        <a:pt x="65488" y="11846"/>
                        <a:pt x="66073" y="11788"/>
                        <a:pt x="66425" y="12080"/>
                      </a:cubicBezTo>
                      <a:close/>
                      <a:moveTo>
                        <a:pt x="61563" y="12549"/>
                      </a:moveTo>
                      <a:lnTo>
                        <a:pt x="63145" y="10558"/>
                      </a:lnTo>
                      <a:cubicBezTo>
                        <a:pt x="63496" y="10148"/>
                        <a:pt x="64082" y="10031"/>
                        <a:pt x="64433" y="10323"/>
                      </a:cubicBezTo>
                      <a:lnTo>
                        <a:pt x="64492" y="10206"/>
                      </a:lnTo>
                      <a:lnTo>
                        <a:pt x="64433" y="10323"/>
                      </a:lnTo>
                      <a:cubicBezTo>
                        <a:pt x="64785" y="10616"/>
                        <a:pt x="64785" y="11202"/>
                        <a:pt x="64433" y="11670"/>
                      </a:cubicBezTo>
                      <a:lnTo>
                        <a:pt x="62852" y="13662"/>
                      </a:lnTo>
                      <a:cubicBezTo>
                        <a:pt x="62500" y="14072"/>
                        <a:pt x="61914" y="14189"/>
                        <a:pt x="61563" y="13896"/>
                      </a:cubicBezTo>
                      <a:cubicBezTo>
                        <a:pt x="61212" y="13545"/>
                        <a:pt x="61212" y="12959"/>
                        <a:pt x="61563" y="12549"/>
                      </a:cubicBezTo>
                      <a:close/>
                      <a:moveTo>
                        <a:pt x="59571" y="11085"/>
                      </a:moveTo>
                      <a:lnTo>
                        <a:pt x="61036" y="9035"/>
                      </a:lnTo>
                      <a:cubicBezTo>
                        <a:pt x="61329" y="8566"/>
                        <a:pt x="61914" y="8449"/>
                        <a:pt x="62324" y="8683"/>
                      </a:cubicBezTo>
                      <a:lnTo>
                        <a:pt x="62383" y="8566"/>
                      </a:lnTo>
                      <a:lnTo>
                        <a:pt x="62324" y="8683"/>
                      </a:lnTo>
                      <a:cubicBezTo>
                        <a:pt x="62734" y="8976"/>
                        <a:pt x="62734" y="9562"/>
                        <a:pt x="62442" y="9972"/>
                      </a:cubicBezTo>
                      <a:lnTo>
                        <a:pt x="60977" y="12022"/>
                      </a:lnTo>
                      <a:cubicBezTo>
                        <a:pt x="60684" y="12490"/>
                        <a:pt x="60099" y="12607"/>
                        <a:pt x="59689" y="12373"/>
                      </a:cubicBezTo>
                      <a:cubicBezTo>
                        <a:pt x="59337" y="12139"/>
                        <a:pt x="59279" y="11553"/>
                        <a:pt x="59571" y="11085"/>
                      </a:cubicBezTo>
                      <a:close/>
                      <a:moveTo>
                        <a:pt x="57521" y="9796"/>
                      </a:moveTo>
                      <a:lnTo>
                        <a:pt x="58810" y="7629"/>
                      </a:lnTo>
                      <a:cubicBezTo>
                        <a:pt x="59103" y="7161"/>
                        <a:pt x="59630" y="6985"/>
                        <a:pt x="60040" y="7219"/>
                      </a:cubicBezTo>
                      <a:lnTo>
                        <a:pt x="60099" y="7102"/>
                      </a:lnTo>
                      <a:lnTo>
                        <a:pt x="60040" y="7219"/>
                      </a:lnTo>
                      <a:cubicBezTo>
                        <a:pt x="60450" y="7454"/>
                        <a:pt x="60509" y="8039"/>
                        <a:pt x="60274" y="8508"/>
                      </a:cubicBezTo>
                      <a:lnTo>
                        <a:pt x="58986" y="10675"/>
                      </a:lnTo>
                      <a:cubicBezTo>
                        <a:pt x="58693" y="11143"/>
                        <a:pt x="58166" y="11319"/>
                        <a:pt x="57756" y="11085"/>
                      </a:cubicBezTo>
                      <a:cubicBezTo>
                        <a:pt x="57346" y="10909"/>
                        <a:pt x="57228" y="10323"/>
                        <a:pt x="57521" y="9796"/>
                      </a:cubicBezTo>
                      <a:close/>
                      <a:moveTo>
                        <a:pt x="56525" y="6458"/>
                      </a:moveTo>
                      <a:cubicBezTo>
                        <a:pt x="56760" y="5989"/>
                        <a:pt x="57346" y="5755"/>
                        <a:pt x="57756" y="5931"/>
                      </a:cubicBezTo>
                      <a:lnTo>
                        <a:pt x="57814" y="5814"/>
                      </a:lnTo>
                      <a:lnTo>
                        <a:pt x="57756" y="5931"/>
                      </a:lnTo>
                      <a:cubicBezTo>
                        <a:pt x="58166" y="6165"/>
                        <a:pt x="58283" y="6692"/>
                        <a:pt x="58048" y="7219"/>
                      </a:cubicBezTo>
                      <a:lnTo>
                        <a:pt x="56877" y="9445"/>
                      </a:lnTo>
                      <a:cubicBezTo>
                        <a:pt x="56643" y="9913"/>
                        <a:pt x="56057" y="10148"/>
                        <a:pt x="55647" y="9972"/>
                      </a:cubicBezTo>
                      <a:cubicBezTo>
                        <a:pt x="55237" y="9738"/>
                        <a:pt x="55120" y="9211"/>
                        <a:pt x="55354" y="8683"/>
                      </a:cubicBezTo>
                      <a:lnTo>
                        <a:pt x="56525" y="6458"/>
                      </a:lnTo>
                      <a:close/>
                      <a:moveTo>
                        <a:pt x="54124" y="5404"/>
                      </a:moveTo>
                      <a:cubicBezTo>
                        <a:pt x="54358" y="4877"/>
                        <a:pt x="54885" y="4642"/>
                        <a:pt x="55295" y="4818"/>
                      </a:cubicBezTo>
                      <a:lnTo>
                        <a:pt x="55354" y="4701"/>
                      </a:lnTo>
                      <a:lnTo>
                        <a:pt x="55295" y="4818"/>
                      </a:lnTo>
                      <a:cubicBezTo>
                        <a:pt x="55705" y="4994"/>
                        <a:pt x="55881" y="5579"/>
                        <a:pt x="55705" y="6107"/>
                      </a:cubicBezTo>
                      <a:lnTo>
                        <a:pt x="54710" y="8449"/>
                      </a:lnTo>
                      <a:cubicBezTo>
                        <a:pt x="54475" y="8976"/>
                        <a:pt x="53948" y="9211"/>
                        <a:pt x="53538" y="9035"/>
                      </a:cubicBezTo>
                      <a:cubicBezTo>
                        <a:pt x="53128" y="8859"/>
                        <a:pt x="52952" y="8274"/>
                        <a:pt x="53128" y="7805"/>
                      </a:cubicBezTo>
                      <a:lnTo>
                        <a:pt x="54124" y="5404"/>
                      </a:lnTo>
                      <a:close/>
                      <a:moveTo>
                        <a:pt x="52835" y="3822"/>
                      </a:moveTo>
                      <a:lnTo>
                        <a:pt x="52894" y="3705"/>
                      </a:lnTo>
                      <a:lnTo>
                        <a:pt x="52835" y="3822"/>
                      </a:lnTo>
                      <a:cubicBezTo>
                        <a:pt x="53304" y="3998"/>
                        <a:pt x="53480" y="4525"/>
                        <a:pt x="53304" y="5052"/>
                      </a:cubicBezTo>
                      <a:lnTo>
                        <a:pt x="52484" y="7454"/>
                      </a:lnTo>
                      <a:cubicBezTo>
                        <a:pt x="52308" y="7981"/>
                        <a:pt x="51781" y="8274"/>
                        <a:pt x="51312" y="8098"/>
                      </a:cubicBezTo>
                      <a:cubicBezTo>
                        <a:pt x="50844" y="7922"/>
                        <a:pt x="50668" y="7395"/>
                        <a:pt x="50844" y="6868"/>
                      </a:cubicBezTo>
                      <a:lnTo>
                        <a:pt x="51664" y="4467"/>
                      </a:lnTo>
                      <a:cubicBezTo>
                        <a:pt x="51898" y="3998"/>
                        <a:pt x="52367" y="3705"/>
                        <a:pt x="52835" y="3822"/>
                      </a:cubicBezTo>
                      <a:close/>
                      <a:moveTo>
                        <a:pt x="52191" y="11202"/>
                      </a:moveTo>
                      <a:cubicBezTo>
                        <a:pt x="52894" y="11495"/>
                        <a:pt x="54651" y="12197"/>
                        <a:pt x="55530" y="12666"/>
                      </a:cubicBezTo>
                      <a:cubicBezTo>
                        <a:pt x="56115" y="12959"/>
                        <a:pt x="57170" y="13603"/>
                        <a:pt x="56877" y="14247"/>
                      </a:cubicBezTo>
                      <a:cubicBezTo>
                        <a:pt x="56408" y="15302"/>
                        <a:pt x="54827" y="13896"/>
                        <a:pt x="54007" y="13427"/>
                      </a:cubicBezTo>
                      <a:cubicBezTo>
                        <a:pt x="52718" y="12725"/>
                        <a:pt x="50316" y="11788"/>
                        <a:pt x="48969" y="11378"/>
                      </a:cubicBezTo>
                      <a:cubicBezTo>
                        <a:pt x="48091" y="11085"/>
                        <a:pt x="47212" y="10909"/>
                        <a:pt x="47446" y="10206"/>
                      </a:cubicBezTo>
                      <a:cubicBezTo>
                        <a:pt x="47856" y="9093"/>
                        <a:pt x="50785" y="10616"/>
                        <a:pt x="52191" y="11202"/>
                      </a:cubicBezTo>
                      <a:close/>
                      <a:moveTo>
                        <a:pt x="50258" y="3061"/>
                      </a:moveTo>
                      <a:lnTo>
                        <a:pt x="50316" y="2944"/>
                      </a:lnTo>
                      <a:lnTo>
                        <a:pt x="50258" y="3061"/>
                      </a:lnTo>
                      <a:cubicBezTo>
                        <a:pt x="50726" y="3178"/>
                        <a:pt x="50961" y="3705"/>
                        <a:pt x="50844" y="4232"/>
                      </a:cubicBezTo>
                      <a:lnTo>
                        <a:pt x="50199" y="6692"/>
                      </a:lnTo>
                      <a:cubicBezTo>
                        <a:pt x="50024" y="7219"/>
                        <a:pt x="49555" y="7571"/>
                        <a:pt x="49086" y="7454"/>
                      </a:cubicBezTo>
                      <a:cubicBezTo>
                        <a:pt x="48618" y="7336"/>
                        <a:pt x="48383" y="6809"/>
                        <a:pt x="48501" y="6282"/>
                      </a:cubicBezTo>
                      <a:lnTo>
                        <a:pt x="49145" y="3822"/>
                      </a:lnTo>
                      <a:cubicBezTo>
                        <a:pt x="49321" y="3237"/>
                        <a:pt x="49848" y="2944"/>
                        <a:pt x="50258" y="3061"/>
                      </a:cubicBezTo>
                      <a:close/>
                      <a:moveTo>
                        <a:pt x="45455" y="12080"/>
                      </a:moveTo>
                      <a:cubicBezTo>
                        <a:pt x="45806" y="12080"/>
                        <a:pt x="46040" y="12432"/>
                        <a:pt x="45982" y="12725"/>
                      </a:cubicBezTo>
                      <a:cubicBezTo>
                        <a:pt x="45982" y="12900"/>
                        <a:pt x="45865" y="13076"/>
                        <a:pt x="45748" y="13135"/>
                      </a:cubicBezTo>
                      <a:lnTo>
                        <a:pt x="43756" y="14833"/>
                      </a:lnTo>
                      <a:cubicBezTo>
                        <a:pt x="43346" y="15184"/>
                        <a:pt x="42702" y="15126"/>
                        <a:pt x="42350" y="14716"/>
                      </a:cubicBezTo>
                      <a:lnTo>
                        <a:pt x="40652" y="12666"/>
                      </a:lnTo>
                      <a:cubicBezTo>
                        <a:pt x="40593" y="12549"/>
                        <a:pt x="40534" y="12432"/>
                        <a:pt x="40534" y="12256"/>
                      </a:cubicBezTo>
                      <a:cubicBezTo>
                        <a:pt x="40593" y="11905"/>
                        <a:pt x="40886" y="11670"/>
                        <a:pt x="41179" y="11729"/>
                      </a:cubicBezTo>
                      <a:lnTo>
                        <a:pt x="41179" y="11729"/>
                      </a:lnTo>
                      <a:cubicBezTo>
                        <a:pt x="41237" y="11729"/>
                        <a:pt x="41296" y="11729"/>
                        <a:pt x="41354" y="11788"/>
                      </a:cubicBezTo>
                      <a:cubicBezTo>
                        <a:pt x="41940" y="12080"/>
                        <a:pt x="42585" y="12256"/>
                        <a:pt x="43229" y="12315"/>
                      </a:cubicBezTo>
                      <a:cubicBezTo>
                        <a:pt x="43873" y="12373"/>
                        <a:pt x="44576" y="12315"/>
                        <a:pt x="45162" y="12139"/>
                      </a:cubicBezTo>
                      <a:cubicBezTo>
                        <a:pt x="45279" y="12080"/>
                        <a:pt x="45396" y="12080"/>
                        <a:pt x="45455" y="12080"/>
                      </a:cubicBezTo>
                      <a:lnTo>
                        <a:pt x="45455" y="12080"/>
                      </a:lnTo>
                      <a:close/>
                      <a:moveTo>
                        <a:pt x="45279" y="9679"/>
                      </a:moveTo>
                      <a:cubicBezTo>
                        <a:pt x="45103" y="10499"/>
                        <a:pt x="43990" y="10558"/>
                        <a:pt x="43697" y="9679"/>
                      </a:cubicBezTo>
                      <a:cubicBezTo>
                        <a:pt x="43990" y="8332"/>
                        <a:pt x="45396" y="8918"/>
                        <a:pt x="45279" y="9679"/>
                      </a:cubicBezTo>
                      <a:close/>
                      <a:moveTo>
                        <a:pt x="47681" y="2417"/>
                      </a:moveTo>
                      <a:lnTo>
                        <a:pt x="47739" y="2300"/>
                      </a:lnTo>
                      <a:lnTo>
                        <a:pt x="47681" y="2417"/>
                      </a:lnTo>
                      <a:cubicBezTo>
                        <a:pt x="48149" y="2534"/>
                        <a:pt x="48442" y="3003"/>
                        <a:pt x="48325" y="3588"/>
                      </a:cubicBezTo>
                      <a:lnTo>
                        <a:pt x="47856" y="6048"/>
                      </a:lnTo>
                      <a:cubicBezTo>
                        <a:pt x="47739" y="6575"/>
                        <a:pt x="47271" y="6985"/>
                        <a:pt x="46802" y="6868"/>
                      </a:cubicBezTo>
                      <a:cubicBezTo>
                        <a:pt x="46333" y="6751"/>
                        <a:pt x="46040" y="6282"/>
                        <a:pt x="46158" y="5697"/>
                      </a:cubicBezTo>
                      <a:lnTo>
                        <a:pt x="46626" y="3237"/>
                      </a:lnTo>
                      <a:cubicBezTo>
                        <a:pt x="46743" y="2710"/>
                        <a:pt x="47212" y="2358"/>
                        <a:pt x="47681" y="2417"/>
                      </a:cubicBezTo>
                      <a:close/>
                      <a:moveTo>
                        <a:pt x="45045" y="2007"/>
                      </a:moveTo>
                      <a:lnTo>
                        <a:pt x="45045" y="1890"/>
                      </a:lnTo>
                      <a:lnTo>
                        <a:pt x="45045" y="2007"/>
                      </a:lnTo>
                      <a:cubicBezTo>
                        <a:pt x="45513" y="2065"/>
                        <a:pt x="45806" y="2534"/>
                        <a:pt x="45748" y="3120"/>
                      </a:cubicBezTo>
                      <a:lnTo>
                        <a:pt x="45455" y="5638"/>
                      </a:lnTo>
                      <a:cubicBezTo>
                        <a:pt x="45396" y="6165"/>
                        <a:pt x="44928" y="6575"/>
                        <a:pt x="44459" y="6517"/>
                      </a:cubicBezTo>
                      <a:cubicBezTo>
                        <a:pt x="43990" y="6458"/>
                        <a:pt x="43697" y="5989"/>
                        <a:pt x="43756" y="5404"/>
                      </a:cubicBezTo>
                      <a:lnTo>
                        <a:pt x="44107" y="2885"/>
                      </a:lnTo>
                      <a:cubicBezTo>
                        <a:pt x="44107" y="2358"/>
                        <a:pt x="44576" y="1948"/>
                        <a:pt x="45045" y="2007"/>
                      </a:cubicBezTo>
                      <a:close/>
                      <a:moveTo>
                        <a:pt x="42350" y="1773"/>
                      </a:moveTo>
                      <a:lnTo>
                        <a:pt x="42350" y="1655"/>
                      </a:lnTo>
                      <a:lnTo>
                        <a:pt x="42350" y="1773"/>
                      </a:lnTo>
                      <a:cubicBezTo>
                        <a:pt x="42819" y="1773"/>
                        <a:pt x="43170" y="2241"/>
                        <a:pt x="43170" y="2827"/>
                      </a:cubicBezTo>
                      <a:lnTo>
                        <a:pt x="43053" y="5345"/>
                      </a:lnTo>
                      <a:cubicBezTo>
                        <a:pt x="42995" y="5872"/>
                        <a:pt x="42585" y="6341"/>
                        <a:pt x="42116" y="6282"/>
                      </a:cubicBezTo>
                      <a:cubicBezTo>
                        <a:pt x="41647" y="6282"/>
                        <a:pt x="41296" y="5814"/>
                        <a:pt x="41296" y="5228"/>
                      </a:cubicBezTo>
                      <a:lnTo>
                        <a:pt x="41413" y="2710"/>
                      </a:lnTo>
                      <a:cubicBezTo>
                        <a:pt x="41472" y="2183"/>
                        <a:pt x="41882" y="1773"/>
                        <a:pt x="42350" y="1773"/>
                      </a:cubicBezTo>
                      <a:close/>
                      <a:moveTo>
                        <a:pt x="39714" y="1714"/>
                      </a:moveTo>
                      <a:lnTo>
                        <a:pt x="39714" y="1597"/>
                      </a:lnTo>
                      <a:lnTo>
                        <a:pt x="39714" y="1714"/>
                      </a:lnTo>
                      <a:cubicBezTo>
                        <a:pt x="40183" y="1714"/>
                        <a:pt x="40593" y="2124"/>
                        <a:pt x="40593" y="2710"/>
                      </a:cubicBezTo>
                      <a:lnTo>
                        <a:pt x="40652" y="5228"/>
                      </a:lnTo>
                      <a:cubicBezTo>
                        <a:pt x="40652" y="5755"/>
                        <a:pt x="40300" y="6224"/>
                        <a:pt x="39773" y="6224"/>
                      </a:cubicBezTo>
                      <a:cubicBezTo>
                        <a:pt x="39304" y="6224"/>
                        <a:pt x="38894" y="5814"/>
                        <a:pt x="38894" y="5228"/>
                      </a:cubicBezTo>
                      <a:lnTo>
                        <a:pt x="38894" y="2710"/>
                      </a:lnTo>
                      <a:cubicBezTo>
                        <a:pt x="38836" y="2183"/>
                        <a:pt x="39246" y="1714"/>
                        <a:pt x="39714" y="1714"/>
                      </a:cubicBezTo>
                      <a:close/>
                      <a:moveTo>
                        <a:pt x="37020" y="1890"/>
                      </a:moveTo>
                      <a:lnTo>
                        <a:pt x="37020" y="1773"/>
                      </a:lnTo>
                      <a:lnTo>
                        <a:pt x="37020" y="1890"/>
                      </a:lnTo>
                      <a:cubicBezTo>
                        <a:pt x="37488" y="1831"/>
                        <a:pt x="37898" y="2241"/>
                        <a:pt x="37957" y="2827"/>
                      </a:cubicBezTo>
                      <a:lnTo>
                        <a:pt x="38191" y="5345"/>
                      </a:lnTo>
                      <a:cubicBezTo>
                        <a:pt x="38250" y="5872"/>
                        <a:pt x="37898" y="6399"/>
                        <a:pt x="37430" y="6399"/>
                      </a:cubicBezTo>
                      <a:cubicBezTo>
                        <a:pt x="36961" y="6458"/>
                        <a:pt x="36551" y="6048"/>
                        <a:pt x="36493" y="5462"/>
                      </a:cubicBezTo>
                      <a:lnTo>
                        <a:pt x="36317" y="2944"/>
                      </a:lnTo>
                      <a:cubicBezTo>
                        <a:pt x="36200" y="2417"/>
                        <a:pt x="36551" y="1890"/>
                        <a:pt x="37020" y="1890"/>
                      </a:cubicBezTo>
                      <a:close/>
                      <a:moveTo>
                        <a:pt x="34384" y="2183"/>
                      </a:moveTo>
                      <a:lnTo>
                        <a:pt x="34384" y="2065"/>
                      </a:lnTo>
                      <a:lnTo>
                        <a:pt x="34384" y="2183"/>
                      </a:lnTo>
                      <a:cubicBezTo>
                        <a:pt x="34853" y="2124"/>
                        <a:pt x="35321" y="2475"/>
                        <a:pt x="35380" y="3061"/>
                      </a:cubicBezTo>
                      <a:lnTo>
                        <a:pt x="35790" y="5579"/>
                      </a:lnTo>
                      <a:cubicBezTo>
                        <a:pt x="35848" y="6107"/>
                        <a:pt x="35555" y="6634"/>
                        <a:pt x="35087" y="6692"/>
                      </a:cubicBezTo>
                      <a:cubicBezTo>
                        <a:pt x="34618" y="6751"/>
                        <a:pt x="34150" y="6399"/>
                        <a:pt x="34091" y="5814"/>
                      </a:cubicBezTo>
                      <a:lnTo>
                        <a:pt x="33740" y="3295"/>
                      </a:lnTo>
                      <a:cubicBezTo>
                        <a:pt x="33622" y="2768"/>
                        <a:pt x="33915" y="2241"/>
                        <a:pt x="34384" y="2183"/>
                      </a:cubicBezTo>
                      <a:close/>
                      <a:moveTo>
                        <a:pt x="31748" y="2710"/>
                      </a:moveTo>
                      <a:lnTo>
                        <a:pt x="31748" y="2593"/>
                      </a:lnTo>
                      <a:lnTo>
                        <a:pt x="31748" y="2710"/>
                      </a:lnTo>
                      <a:cubicBezTo>
                        <a:pt x="32217" y="2593"/>
                        <a:pt x="32685" y="2944"/>
                        <a:pt x="32802" y="3471"/>
                      </a:cubicBezTo>
                      <a:lnTo>
                        <a:pt x="33330" y="5931"/>
                      </a:lnTo>
                      <a:cubicBezTo>
                        <a:pt x="33447" y="6458"/>
                        <a:pt x="33154" y="6985"/>
                        <a:pt x="32685" y="7102"/>
                      </a:cubicBezTo>
                      <a:cubicBezTo>
                        <a:pt x="32217" y="7219"/>
                        <a:pt x="31748" y="6868"/>
                        <a:pt x="31631" y="6341"/>
                      </a:cubicBezTo>
                      <a:lnTo>
                        <a:pt x="31104" y="3881"/>
                      </a:lnTo>
                      <a:cubicBezTo>
                        <a:pt x="30987" y="3354"/>
                        <a:pt x="31279" y="2827"/>
                        <a:pt x="31748" y="2710"/>
                      </a:cubicBezTo>
                      <a:close/>
                      <a:moveTo>
                        <a:pt x="29171" y="3412"/>
                      </a:moveTo>
                      <a:lnTo>
                        <a:pt x="29112" y="3295"/>
                      </a:lnTo>
                      <a:lnTo>
                        <a:pt x="29171" y="3412"/>
                      </a:lnTo>
                      <a:cubicBezTo>
                        <a:pt x="29639" y="3295"/>
                        <a:pt x="30108" y="3588"/>
                        <a:pt x="30284" y="4115"/>
                      </a:cubicBezTo>
                      <a:lnTo>
                        <a:pt x="30987" y="6517"/>
                      </a:lnTo>
                      <a:cubicBezTo>
                        <a:pt x="31162" y="7044"/>
                        <a:pt x="30928" y="7571"/>
                        <a:pt x="30459" y="7746"/>
                      </a:cubicBezTo>
                      <a:cubicBezTo>
                        <a:pt x="29991" y="7864"/>
                        <a:pt x="29522" y="7571"/>
                        <a:pt x="29346" y="7044"/>
                      </a:cubicBezTo>
                      <a:lnTo>
                        <a:pt x="28643" y="4642"/>
                      </a:lnTo>
                      <a:cubicBezTo>
                        <a:pt x="28468" y="4057"/>
                        <a:pt x="28702" y="3530"/>
                        <a:pt x="29171" y="3412"/>
                      </a:cubicBezTo>
                      <a:close/>
                      <a:moveTo>
                        <a:pt x="26593" y="4115"/>
                      </a:moveTo>
                      <a:lnTo>
                        <a:pt x="26652" y="4232"/>
                      </a:lnTo>
                      <a:cubicBezTo>
                        <a:pt x="27062" y="4057"/>
                        <a:pt x="27589" y="4350"/>
                        <a:pt x="27823" y="4877"/>
                      </a:cubicBezTo>
                      <a:lnTo>
                        <a:pt x="28702" y="7219"/>
                      </a:lnTo>
                      <a:cubicBezTo>
                        <a:pt x="28878" y="7746"/>
                        <a:pt x="28702" y="8274"/>
                        <a:pt x="28233" y="8449"/>
                      </a:cubicBezTo>
                      <a:cubicBezTo>
                        <a:pt x="27765" y="8625"/>
                        <a:pt x="27296" y="8332"/>
                        <a:pt x="27062" y="7805"/>
                      </a:cubicBezTo>
                      <a:lnTo>
                        <a:pt x="26183" y="5462"/>
                      </a:lnTo>
                      <a:cubicBezTo>
                        <a:pt x="26008" y="4935"/>
                        <a:pt x="26183" y="4408"/>
                        <a:pt x="26652" y="4232"/>
                      </a:cubicBezTo>
                      <a:lnTo>
                        <a:pt x="26593" y="4115"/>
                      </a:lnTo>
                      <a:close/>
                      <a:moveTo>
                        <a:pt x="24133" y="5169"/>
                      </a:moveTo>
                      <a:lnTo>
                        <a:pt x="24192" y="5287"/>
                      </a:lnTo>
                      <a:cubicBezTo>
                        <a:pt x="24602" y="5111"/>
                        <a:pt x="25129" y="5345"/>
                        <a:pt x="25363" y="5814"/>
                      </a:cubicBezTo>
                      <a:lnTo>
                        <a:pt x="26418" y="8098"/>
                      </a:lnTo>
                      <a:cubicBezTo>
                        <a:pt x="26652" y="8625"/>
                        <a:pt x="26476" y="9152"/>
                        <a:pt x="26066" y="9386"/>
                      </a:cubicBezTo>
                      <a:cubicBezTo>
                        <a:pt x="25656" y="9562"/>
                        <a:pt x="25129" y="9328"/>
                        <a:pt x="24895" y="8859"/>
                      </a:cubicBezTo>
                      <a:lnTo>
                        <a:pt x="23840" y="6575"/>
                      </a:lnTo>
                      <a:cubicBezTo>
                        <a:pt x="23606" y="6048"/>
                        <a:pt x="23782" y="5521"/>
                        <a:pt x="24192" y="5287"/>
                      </a:cubicBezTo>
                      <a:lnTo>
                        <a:pt x="24133" y="5169"/>
                      </a:lnTo>
                      <a:close/>
                      <a:moveTo>
                        <a:pt x="21732" y="6399"/>
                      </a:moveTo>
                      <a:lnTo>
                        <a:pt x="21790" y="6517"/>
                      </a:lnTo>
                      <a:cubicBezTo>
                        <a:pt x="22200" y="6282"/>
                        <a:pt x="22727" y="6517"/>
                        <a:pt x="23020" y="6985"/>
                      </a:cubicBezTo>
                      <a:lnTo>
                        <a:pt x="24250" y="9211"/>
                      </a:lnTo>
                      <a:cubicBezTo>
                        <a:pt x="24485" y="9679"/>
                        <a:pt x="24367" y="10265"/>
                        <a:pt x="23957" y="10499"/>
                      </a:cubicBezTo>
                      <a:cubicBezTo>
                        <a:pt x="23547" y="10733"/>
                        <a:pt x="23020" y="10499"/>
                        <a:pt x="22727" y="10031"/>
                      </a:cubicBezTo>
                      <a:lnTo>
                        <a:pt x="21497" y="7805"/>
                      </a:lnTo>
                      <a:cubicBezTo>
                        <a:pt x="21263" y="7336"/>
                        <a:pt x="21380" y="6751"/>
                        <a:pt x="21790" y="6517"/>
                      </a:cubicBezTo>
                      <a:lnTo>
                        <a:pt x="21732" y="6399"/>
                      </a:lnTo>
                      <a:close/>
                      <a:moveTo>
                        <a:pt x="19389" y="7805"/>
                      </a:moveTo>
                      <a:lnTo>
                        <a:pt x="19447" y="7922"/>
                      </a:lnTo>
                      <a:cubicBezTo>
                        <a:pt x="19857" y="7688"/>
                        <a:pt x="20384" y="7864"/>
                        <a:pt x="20677" y="8274"/>
                      </a:cubicBezTo>
                      <a:lnTo>
                        <a:pt x="22024" y="10382"/>
                      </a:lnTo>
                      <a:cubicBezTo>
                        <a:pt x="22317" y="10850"/>
                        <a:pt x="22259" y="11436"/>
                        <a:pt x="21849" y="11670"/>
                      </a:cubicBezTo>
                      <a:cubicBezTo>
                        <a:pt x="21439" y="11905"/>
                        <a:pt x="20912" y="11788"/>
                        <a:pt x="20619" y="11319"/>
                      </a:cubicBezTo>
                      <a:lnTo>
                        <a:pt x="19271" y="9211"/>
                      </a:lnTo>
                      <a:cubicBezTo>
                        <a:pt x="18979" y="8742"/>
                        <a:pt x="19037" y="8156"/>
                        <a:pt x="19447" y="7922"/>
                      </a:cubicBezTo>
                      <a:lnTo>
                        <a:pt x="19389" y="7805"/>
                      </a:lnTo>
                      <a:close/>
                      <a:moveTo>
                        <a:pt x="17280" y="9445"/>
                      </a:moveTo>
                      <a:cubicBezTo>
                        <a:pt x="17631" y="9152"/>
                        <a:pt x="18217" y="9269"/>
                        <a:pt x="18569" y="9738"/>
                      </a:cubicBezTo>
                      <a:lnTo>
                        <a:pt x="20091" y="11788"/>
                      </a:lnTo>
                      <a:cubicBezTo>
                        <a:pt x="20443" y="12256"/>
                        <a:pt x="20384" y="12842"/>
                        <a:pt x="19974" y="13135"/>
                      </a:cubicBezTo>
                      <a:cubicBezTo>
                        <a:pt x="19623" y="13427"/>
                        <a:pt x="19037" y="13310"/>
                        <a:pt x="18686" y="12842"/>
                      </a:cubicBezTo>
                      <a:lnTo>
                        <a:pt x="17163" y="10792"/>
                      </a:lnTo>
                      <a:cubicBezTo>
                        <a:pt x="16870" y="10323"/>
                        <a:pt x="16870" y="9738"/>
                        <a:pt x="17280" y="9445"/>
                      </a:cubicBezTo>
                      <a:lnTo>
                        <a:pt x="17221" y="9328"/>
                      </a:lnTo>
                      <a:lnTo>
                        <a:pt x="17280" y="9445"/>
                      </a:lnTo>
                      <a:close/>
                      <a:moveTo>
                        <a:pt x="15171" y="11143"/>
                      </a:moveTo>
                      <a:cubicBezTo>
                        <a:pt x="15523" y="10850"/>
                        <a:pt x="16108" y="10909"/>
                        <a:pt x="16460" y="11319"/>
                      </a:cubicBezTo>
                      <a:lnTo>
                        <a:pt x="18100" y="13252"/>
                      </a:lnTo>
                      <a:cubicBezTo>
                        <a:pt x="18451" y="13662"/>
                        <a:pt x="18451" y="14247"/>
                        <a:pt x="18100" y="14599"/>
                      </a:cubicBezTo>
                      <a:cubicBezTo>
                        <a:pt x="17748" y="14892"/>
                        <a:pt x="17163" y="14833"/>
                        <a:pt x="16811" y="14423"/>
                      </a:cubicBezTo>
                      <a:lnTo>
                        <a:pt x="15171" y="12490"/>
                      </a:lnTo>
                      <a:cubicBezTo>
                        <a:pt x="14820" y="12022"/>
                        <a:pt x="14820" y="11436"/>
                        <a:pt x="15171" y="11143"/>
                      </a:cubicBezTo>
                      <a:lnTo>
                        <a:pt x="15113" y="11026"/>
                      </a:lnTo>
                      <a:lnTo>
                        <a:pt x="15171" y="11143"/>
                      </a:lnTo>
                      <a:close/>
                      <a:moveTo>
                        <a:pt x="13238" y="12959"/>
                      </a:moveTo>
                      <a:cubicBezTo>
                        <a:pt x="13590" y="12607"/>
                        <a:pt x="14175" y="12666"/>
                        <a:pt x="14527" y="13076"/>
                      </a:cubicBezTo>
                      <a:lnTo>
                        <a:pt x="16284" y="14892"/>
                      </a:lnTo>
                      <a:cubicBezTo>
                        <a:pt x="16694" y="15302"/>
                        <a:pt x="16694" y="15887"/>
                        <a:pt x="16401" y="16239"/>
                      </a:cubicBezTo>
                      <a:cubicBezTo>
                        <a:pt x="16050" y="16590"/>
                        <a:pt x="15464" y="16531"/>
                        <a:pt x="15113" y="16121"/>
                      </a:cubicBezTo>
                      <a:lnTo>
                        <a:pt x="13355" y="14306"/>
                      </a:lnTo>
                      <a:cubicBezTo>
                        <a:pt x="12945" y="13896"/>
                        <a:pt x="12887" y="13310"/>
                        <a:pt x="13238" y="12959"/>
                      </a:cubicBezTo>
                      <a:lnTo>
                        <a:pt x="13121" y="12842"/>
                      </a:lnTo>
                      <a:lnTo>
                        <a:pt x="13238" y="12959"/>
                      </a:lnTo>
                      <a:close/>
                      <a:moveTo>
                        <a:pt x="11364" y="14950"/>
                      </a:moveTo>
                      <a:cubicBezTo>
                        <a:pt x="11657" y="14599"/>
                        <a:pt x="12242" y="14599"/>
                        <a:pt x="12652" y="14950"/>
                      </a:cubicBezTo>
                      <a:lnTo>
                        <a:pt x="14527" y="16590"/>
                      </a:lnTo>
                      <a:cubicBezTo>
                        <a:pt x="14937" y="16941"/>
                        <a:pt x="14995" y="17527"/>
                        <a:pt x="14702" y="17878"/>
                      </a:cubicBezTo>
                      <a:cubicBezTo>
                        <a:pt x="14410" y="18230"/>
                        <a:pt x="13824" y="18230"/>
                        <a:pt x="13414" y="17878"/>
                      </a:cubicBezTo>
                      <a:lnTo>
                        <a:pt x="11539" y="16239"/>
                      </a:lnTo>
                      <a:cubicBezTo>
                        <a:pt x="11129" y="15887"/>
                        <a:pt x="11071" y="15302"/>
                        <a:pt x="11364" y="14950"/>
                      </a:cubicBezTo>
                      <a:lnTo>
                        <a:pt x="11247" y="14892"/>
                      </a:lnTo>
                      <a:lnTo>
                        <a:pt x="11364" y="14950"/>
                      </a:lnTo>
                      <a:close/>
                      <a:moveTo>
                        <a:pt x="9665" y="17000"/>
                      </a:moveTo>
                      <a:cubicBezTo>
                        <a:pt x="9958" y="16649"/>
                        <a:pt x="10544" y="16590"/>
                        <a:pt x="10954" y="16941"/>
                      </a:cubicBezTo>
                      <a:lnTo>
                        <a:pt x="12945" y="18464"/>
                      </a:lnTo>
                      <a:cubicBezTo>
                        <a:pt x="13355" y="18816"/>
                        <a:pt x="13531" y="19401"/>
                        <a:pt x="13238" y="19753"/>
                      </a:cubicBezTo>
                      <a:cubicBezTo>
                        <a:pt x="12945" y="20104"/>
                        <a:pt x="12359" y="20163"/>
                        <a:pt x="11949" y="19811"/>
                      </a:cubicBezTo>
                      <a:lnTo>
                        <a:pt x="9958" y="18288"/>
                      </a:lnTo>
                      <a:cubicBezTo>
                        <a:pt x="9548" y="17996"/>
                        <a:pt x="9431" y="17410"/>
                        <a:pt x="9665" y="17000"/>
                      </a:cubicBezTo>
                      <a:lnTo>
                        <a:pt x="9548" y="16941"/>
                      </a:lnTo>
                      <a:lnTo>
                        <a:pt x="9665" y="17000"/>
                      </a:lnTo>
                      <a:close/>
                      <a:moveTo>
                        <a:pt x="8142" y="19225"/>
                      </a:moveTo>
                      <a:cubicBezTo>
                        <a:pt x="8376" y="18816"/>
                        <a:pt x="8962" y="18757"/>
                        <a:pt x="9431" y="19050"/>
                      </a:cubicBezTo>
                      <a:lnTo>
                        <a:pt x="11539" y="20455"/>
                      </a:lnTo>
                      <a:cubicBezTo>
                        <a:pt x="12008" y="20748"/>
                        <a:pt x="12184" y="21334"/>
                        <a:pt x="11891" y="21744"/>
                      </a:cubicBezTo>
                      <a:cubicBezTo>
                        <a:pt x="11657" y="22154"/>
                        <a:pt x="11071" y="22212"/>
                        <a:pt x="10602" y="21920"/>
                      </a:cubicBezTo>
                      <a:lnTo>
                        <a:pt x="8493" y="20514"/>
                      </a:lnTo>
                      <a:cubicBezTo>
                        <a:pt x="8025" y="20163"/>
                        <a:pt x="7908" y="19635"/>
                        <a:pt x="8142" y="19225"/>
                      </a:cubicBezTo>
                      <a:lnTo>
                        <a:pt x="8025" y="19167"/>
                      </a:lnTo>
                      <a:lnTo>
                        <a:pt x="8142" y="19225"/>
                      </a:lnTo>
                      <a:close/>
                      <a:moveTo>
                        <a:pt x="6736" y="21510"/>
                      </a:moveTo>
                      <a:cubicBezTo>
                        <a:pt x="6971" y="21100"/>
                        <a:pt x="7556" y="20982"/>
                        <a:pt x="8025" y="21275"/>
                      </a:cubicBezTo>
                      <a:lnTo>
                        <a:pt x="10192" y="22505"/>
                      </a:lnTo>
                      <a:cubicBezTo>
                        <a:pt x="10661" y="22798"/>
                        <a:pt x="10895" y="23325"/>
                        <a:pt x="10661" y="23735"/>
                      </a:cubicBezTo>
                      <a:cubicBezTo>
                        <a:pt x="10426" y="24145"/>
                        <a:pt x="9841" y="24262"/>
                        <a:pt x="9372" y="23969"/>
                      </a:cubicBezTo>
                      <a:lnTo>
                        <a:pt x="7205" y="22740"/>
                      </a:lnTo>
                      <a:cubicBezTo>
                        <a:pt x="6736" y="22505"/>
                        <a:pt x="6502" y="21920"/>
                        <a:pt x="6736" y="21510"/>
                      </a:cubicBezTo>
                      <a:lnTo>
                        <a:pt x="6619" y="21451"/>
                      </a:lnTo>
                      <a:lnTo>
                        <a:pt x="6736" y="21510"/>
                      </a:lnTo>
                      <a:close/>
                      <a:moveTo>
                        <a:pt x="5506" y="23911"/>
                      </a:moveTo>
                      <a:cubicBezTo>
                        <a:pt x="5682" y="23501"/>
                        <a:pt x="6268" y="23325"/>
                        <a:pt x="6795" y="23559"/>
                      </a:cubicBezTo>
                      <a:lnTo>
                        <a:pt x="9079" y="24614"/>
                      </a:lnTo>
                      <a:cubicBezTo>
                        <a:pt x="9548" y="24848"/>
                        <a:pt x="9841" y="25375"/>
                        <a:pt x="9606" y="25844"/>
                      </a:cubicBezTo>
                      <a:cubicBezTo>
                        <a:pt x="9431" y="26254"/>
                        <a:pt x="8845" y="26429"/>
                        <a:pt x="8318" y="26195"/>
                      </a:cubicBezTo>
                      <a:lnTo>
                        <a:pt x="6033" y="25141"/>
                      </a:lnTo>
                      <a:cubicBezTo>
                        <a:pt x="5565" y="24906"/>
                        <a:pt x="5330" y="24321"/>
                        <a:pt x="5506" y="23911"/>
                      </a:cubicBezTo>
                      <a:lnTo>
                        <a:pt x="5389" y="23852"/>
                      </a:lnTo>
                      <a:lnTo>
                        <a:pt x="5506" y="23911"/>
                      </a:lnTo>
                      <a:close/>
                      <a:moveTo>
                        <a:pt x="4335" y="26312"/>
                      </a:moveTo>
                      <a:lnTo>
                        <a:pt x="4452" y="26371"/>
                      </a:lnTo>
                      <a:cubicBezTo>
                        <a:pt x="4627" y="25961"/>
                        <a:pt x="5155" y="25726"/>
                        <a:pt x="5682" y="25961"/>
                      </a:cubicBezTo>
                      <a:lnTo>
                        <a:pt x="8025" y="26839"/>
                      </a:lnTo>
                      <a:cubicBezTo>
                        <a:pt x="8552" y="27015"/>
                        <a:pt x="8845" y="27542"/>
                        <a:pt x="8669" y="28011"/>
                      </a:cubicBezTo>
                      <a:cubicBezTo>
                        <a:pt x="8493" y="28479"/>
                        <a:pt x="7966" y="28655"/>
                        <a:pt x="7439" y="28479"/>
                      </a:cubicBezTo>
                      <a:lnTo>
                        <a:pt x="5096" y="27542"/>
                      </a:lnTo>
                      <a:cubicBezTo>
                        <a:pt x="4569" y="27366"/>
                        <a:pt x="4276" y="26839"/>
                        <a:pt x="4452" y="26371"/>
                      </a:cubicBezTo>
                      <a:lnTo>
                        <a:pt x="4335" y="26312"/>
                      </a:lnTo>
                      <a:close/>
                      <a:moveTo>
                        <a:pt x="3573" y="28948"/>
                      </a:moveTo>
                      <a:lnTo>
                        <a:pt x="3456" y="28889"/>
                      </a:lnTo>
                      <a:lnTo>
                        <a:pt x="3573" y="28948"/>
                      </a:lnTo>
                      <a:cubicBezTo>
                        <a:pt x="3690" y="28479"/>
                        <a:pt x="4276" y="28245"/>
                        <a:pt x="4803" y="28420"/>
                      </a:cubicBezTo>
                      <a:lnTo>
                        <a:pt x="7205" y="29182"/>
                      </a:lnTo>
                      <a:cubicBezTo>
                        <a:pt x="7732" y="29358"/>
                        <a:pt x="8025" y="29826"/>
                        <a:pt x="7908" y="30295"/>
                      </a:cubicBezTo>
                      <a:cubicBezTo>
                        <a:pt x="7791" y="30763"/>
                        <a:pt x="7205" y="30997"/>
                        <a:pt x="6678" y="30822"/>
                      </a:cubicBezTo>
                      <a:lnTo>
                        <a:pt x="4276" y="30060"/>
                      </a:lnTo>
                      <a:cubicBezTo>
                        <a:pt x="3749" y="29885"/>
                        <a:pt x="3456" y="29358"/>
                        <a:pt x="3573" y="28948"/>
                      </a:cubicBezTo>
                      <a:close/>
                      <a:moveTo>
                        <a:pt x="2870" y="31525"/>
                      </a:moveTo>
                      <a:lnTo>
                        <a:pt x="2753" y="31466"/>
                      </a:lnTo>
                      <a:lnTo>
                        <a:pt x="2870" y="31525"/>
                      </a:lnTo>
                      <a:cubicBezTo>
                        <a:pt x="2987" y="31056"/>
                        <a:pt x="3515" y="30763"/>
                        <a:pt x="4042" y="30939"/>
                      </a:cubicBezTo>
                      <a:lnTo>
                        <a:pt x="6502" y="31525"/>
                      </a:lnTo>
                      <a:cubicBezTo>
                        <a:pt x="7029" y="31642"/>
                        <a:pt x="7381" y="32110"/>
                        <a:pt x="7263" y="32579"/>
                      </a:cubicBezTo>
                      <a:cubicBezTo>
                        <a:pt x="7146" y="33047"/>
                        <a:pt x="6619" y="33340"/>
                        <a:pt x="6092" y="33164"/>
                      </a:cubicBezTo>
                      <a:lnTo>
                        <a:pt x="3632" y="32579"/>
                      </a:lnTo>
                      <a:cubicBezTo>
                        <a:pt x="3105" y="32462"/>
                        <a:pt x="2753" y="31993"/>
                        <a:pt x="2870" y="31525"/>
                      </a:cubicBezTo>
                      <a:close/>
                      <a:moveTo>
                        <a:pt x="2343" y="34160"/>
                      </a:moveTo>
                      <a:lnTo>
                        <a:pt x="2226" y="34160"/>
                      </a:lnTo>
                      <a:lnTo>
                        <a:pt x="2343" y="34160"/>
                      </a:lnTo>
                      <a:cubicBezTo>
                        <a:pt x="2402" y="33691"/>
                        <a:pt x="2929" y="33399"/>
                        <a:pt x="3456" y="33457"/>
                      </a:cubicBezTo>
                      <a:lnTo>
                        <a:pt x="5916" y="33867"/>
                      </a:lnTo>
                      <a:cubicBezTo>
                        <a:pt x="6443" y="33926"/>
                        <a:pt x="6853" y="34394"/>
                        <a:pt x="6736" y="34863"/>
                      </a:cubicBezTo>
                      <a:cubicBezTo>
                        <a:pt x="6678" y="35331"/>
                        <a:pt x="6150" y="35624"/>
                        <a:pt x="5623" y="35566"/>
                      </a:cubicBezTo>
                      <a:lnTo>
                        <a:pt x="3163" y="35156"/>
                      </a:lnTo>
                      <a:cubicBezTo>
                        <a:pt x="2636" y="35097"/>
                        <a:pt x="2284" y="34629"/>
                        <a:pt x="2343" y="34160"/>
                      </a:cubicBezTo>
                      <a:close/>
                      <a:moveTo>
                        <a:pt x="1992" y="36796"/>
                      </a:moveTo>
                      <a:lnTo>
                        <a:pt x="1874" y="36796"/>
                      </a:lnTo>
                      <a:lnTo>
                        <a:pt x="1992" y="36796"/>
                      </a:lnTo>
                      <a:cubicBezTo>
                        <a:pt x="2050" y="36327"/>
                        <a:pt x="2519" y="35976"/>
                        <a:pt x="3046" y="36034"/>
                      </a:cubicBezTo>
                      <a:lnTo>
                        <a:pt x="5565" y="36268"/>
                      </a:lnTo>
                      <a:cubicBezTo>
                        <a:pt x="6092" y="36327"/>
                        <a:pt x="6502" y="36737"/>
                        <a:pt x="6502" y="37205"/>
                      </a:cubicBezTo>
                      <a:cubicBezTo>
                        <a:pt x="6443" y="37674"/>
                        <a:pt x="5975" y="38025"/>
                        <a:pt x="5448" y="37967"/>
                      </a:cubicBezTo>
                      <a:lnTo>
                        <a:pt x="2929" y="37733"/>
                      </a:lnTo>
                      <a:cubicBezTo>
                        <a:pt x="2402" y="37733"/>
                        <a:pt x="1933" y="37264"/>
                        <a:pt x="1992" y="36796"/>
                      </a:cubicBezTo>
                      <a:close/>
                      <a:moveTo>
                        <a:pt x="1874" y="39490"/>
                      </a:moveTo>
                      <a:lnTo>
                        <a:pt x="1757" y="39490"/>
                      </a:lnTo>
                      <a:lnTo>
                        <a:pt x="1874" y="39490"/>
                      </a:lnTo>
                      <a:cubicBezTo>
                        <a:pt x="1874" y="39021"/>
                        <a:pt x="2343" y="38611"/>
                        <a:pt x="2870" y="38670"/>
                      </a:cubicBezTo>
                      <a:lnTo>
                        <a:pt x="5389" y="38728"/>
                      </a:lnTo>
                      <a:cubicBezTo>
                        <a:pt x="5916" y="38728"/>
                        <a:pt x="6385" y="39138"/>
                        <a:pt x="6385" y="39607"/>
                      </a:cubicBezTo>
                      <a:cubicBezTo>
                        <a:pt x="6385" y="40075"/>
                        <a:pt x="5916" y="40427"/>
                        <a:pt x="5389" y="40427"/>
                      </a:cubicBezTo>
                      <a:lnTo>
                        <a:pt x="2870" y="40368"/>
                      </a:lnTo>
                      <a:cubicBezTo>
                        <a:pt x="2284" y="40368"/>
                        <a:pt x="1816" y="39958"/>
                        <a:pt x="1874" y="39490"/>
                      </a:cubicBezTo>
                      <a:close/>
                      <a:moveTo>
                        <a:pt x="1874" y="42184"/>
                      </a:moveTo>
                      <a:lnTo>
                        <a:pt x="1757" y="42184"/>
                      </a:lnTo>
                      <a:lnTo>
                        <a:pt x="1874" y="42184"/>
                      </a:lnTo>
                      <a:cubicBezTo>
                        <a:pt x="1874" y="41715"/>
                        <a:pt x="2284" y="41305"/>
                        <a:pt x="2812" y="41247"/>
                      </a:cubicBezTo>
                      <a:lnTo>
                        <a:pt x="5330" y="41129"/>
                      </a:lnTo>
                      <a:cubicBezTo>
                        <a:pt x="5858" y="41129"/>
                        <a:pt x="6326" y="41481"/>
                        <a:pt x="6385" y="41949"/>
                      </a:cubicBezTo>
                      <a:cubicBezTo>
                        <a:pt x="6385" y="42418"/>
                        <a:pt x="5975" y="42828"/>
                        <a:pt x="5448" y="42828"/>
                      </a:cubicBezTo>
                      <a:lnTo>
                        <a:pt x="2929" y="42945"/>
                      </a:lnTo>
                      <a:cubicBezTo>
                        <a:pt x="2343" y="43004"/>
                        <a:pt x="1933" y="42652"/>
                        <a:pt x="1874" y="42184"/>
                      </a:cubicBezTo>
                      <a:close/>
                      <a:moveTo>
                        <a:pt x="2109" y="44878"/>
                      </a:moveTo>
                      <a:lnTo>
                        <a:pt x="1992" y="44878"/>
                      </a:lnTo>
                      <a:lnTo>
                        <a:pt x="2109" y="44878"/>
                      </a:lnTo>
                      <a:cubicBezTo>
                        <a:pt x="2050" y="44409"/>
                        <a:pt x="2460" y="43941"/>
                        <a:pt x="2987" y="43882"/>
                      </a:cubicBezTo>
                      <a:lnTo>
                        <a:pt x="5506" y="43589"/>
                      </a:lnTo>
                      <a:cubicBezTo>
                        <a:pt x="6033" y="43531"/>
                        <a:pt x="6561" y="43824"/>
                        <a:pt x="6619" y="44351"/>
                      </a:cubicBezTo>
                      <a:cubicBezTo>
                        <a:pt x="6678" y="44819"/>
                        <a:pt x="6268" y="45229"/>
                        <a:pt x="5740" y="45346"/>
                      </a:cubicBezTo>
                      <a:lnTo>
                        <a:pt x="3222" y="45639"/>
                      </a:lnTo>
                      <a:cubicBezTo>
                        <a:pt x="2636" y="45639"/>
                        <a:pt x="2167" y="45346"/>
                        <a:pt x="2109" y="44878"/>
                      </a:cubicBezTo>
                      <a:close/>
                      <a:moveTo>
                        <a:pt x="2519" y="47513"/>
                      </a:moveTo>
                      <a:lnTo>
                        <a:pt x="2402" y="47513"/>
                      </a:lnTo>
                      <a:lnTo>
                        <a:pt x="2519" y="47513"/>
                      </a:lnTo>
                      <a:cubicBezTo>
                        <a:pt x="2402" y="47045"/>
                        <a:pt x="2812" y="46576"/>
                        <a:pt x="3339" y="46459"/>
                      </a:cubicBezTo>
                      <a:lnTo>
                        <a:pt x="5799" y="45990"/>
                      </a:lnTo>
                      <a:cubicBezTo>
                        <a:pt x="6326" y="45873"/>
                        <a:pt x="6853" y="46166"/>
                        <a:pt x="6971" y="46635"/>
                      </a:cubicBezTo>
                      <a:cubicBezTo>
                        <a:pt x="7029" y="47103"/>
                        <a:pt x="6678" y="47572"/>
                        <a:pt x="6150" y="47689"/>
                      </a:cubicBezTo>
                      <a:lnTo>
                        <a:pt x="3690" y="48157"/>
                      </a:lnTo>
                      <a:cubicBezTo>
                        <a:pt x="3105" y="48275"/>
                        <a:pt x="2577" y="47982"/>
                        <a:pt x="2519" y="47513"/>
                      </a:cubicBezTo>
                      <a:close/>
                      <a:moveTo>
                        <a:pt x="4276" y="50676"/>
                      </a:moveTo>
                      <a:cubicBezTo>
                        <a:pt x="3749" y="50793"/>
                        <a:pt x="3222" y="50559"/>
                        <a:pt x="3105" y="50090"/>
                      </a:cubicBezTo>
                      <a:lnTo>
                        <a:pt x="2987" y="50090"/>
                      </a:lnTo>
                      <a:lnTo>
                        <a:pt x="3105" y="50032"/>
                      </a:lnTo>
                      <a:cubicBezTo>
                        <a:pt x="2987" y="49563"/>
                        <a:pt x="3339" y="49095"/>
                        <a:pt x="3866" y="48977"/>
                      </a:cubicBezTo>
                      <a:lnTo>
                        <a:pt x="6326" y="48333"/>
                      </a:lnTo>
                      <a:cubicBezTo>
                        <a:pt x="6853" y="48216"/>
                        <a:pt x="7381" y="48450"/>
                        <a:pt x="7498" y="48919"/>
                      </a:cubicBezTo>
                      <a:cubicBezTo>
                        <a:pt x="7615" y="49387"/>
                        <a:pt x="7263" y="49856"/>
                        <a:pt x="6736" y="50032"/>
                      </a:cubicBezTo>
                      <a:lnTo>
                        <a:pt x="4276" y="50676"/>
                      </a:lnTo>
                      <a:close/>
                      <a:moveTo>
                        <a:pt x="5096" y="53194"/>
                      </a:moveTo>
                      <a:cubicBezTo>
                        <a:pt x="4569" y="53370"/>
                        <a:pt x="4042" y="53136"/>
                        <a:pt x="3866" y="52726"/>
                      </a:cubicBezTo>
                      <a:lnTo>
                        <a:pt x="3749" y="52784"/>
                      </a:lnTo>
                      <a:lnTo>
                        <a:pt x="3866" y="52726"/>
                      </a:lnTo>
                      <a:cubicBezTo>
                        <a:pt x="3690" y="52257"/>
                        <a:pt x="4042" y="51789"/>
                        <a:pt x="4569" y="51613"/>
                      </a:cubicBezTo>
                      <a:lnTo>
                        <a:pt x="6971" y="50793"/>
                      </a:lnTo>
                      <a:cubicBezTo>
                        <a:pt x="7498" y="50617"/>
                        <a:pt x="8025" y="50852"/>
                        <a:pt x="8201" y="51261"/>
                      </a:cubicBezTo>
                      <a:cubicBezTo>
                        <a:pt x="8376" y="51730"/>
                        <a:pt x="8025" y="52199"/>
                        <a:pt x="7556" y="52374"/>
                      </a:cubicBezTo>
                      <a:lnTo>
                        <a:pt x="5096" y="53194"/>
                      </a:lnTo>
                      <a:close/>
                      <a:moveTo>
                        <a:pt x="4803" y="55186"/>
                      </a:moveTo>
                      <a:lnTo>
                        <a:pt x="4686" y="55244"/>
                      </a:lnTo>
                      <a:lnTo>
                        <a:pt x="4803" y="55186"/>
                      </a:lnTo>
                      <a:cubicBezTo>
                        <a:pt x="4627" y="54775"/>
                        <a:pt x="4862" y="54190"/>
                        <a:pt x="5389" y="54014"/>
                      </a:cubicBezTo>
                      <a:lnTo>
                        <a:pt x="7732" y="53018"/>
                      </a:lnTo>
                      <a:cubicBezTo>
                        <a:pt x="8259" y="52784"/>
                        <a:pt x="8786" y="52960"/>
                        <a:pt x="8962" y="53429"/>
                      </a:cubicBezTo>
                      <a:cubicBezTo>
                        <a:pt x="9138" y="53838"/>
                        <a:pt x="8904" y="54366"/>
                        <a:pt x="8376" y="54600"/>
                      </a:cubicBezTo>
                      <a:lnTo>
                        <a:pt x="6033" y="55595"/>
                      </a:lnTo>
                      <a:cubicBezTo>
                        <a:pt x="5565" y="55830"/>
                        <a:pt x="4979" y="55654"/>
                        <a:pt x="4803" y="55186"/>
                      </a:cubicBezTo>
                      <a:close/>
                      <a:moveTo>
                        <a:pt x="5916" y="57645"/>
                      </a:moveTo>
                      <a:lnTo>
                        <a:pt x="5799" y="57704"/>
                      </a:lnTo>
                      <a:lnTo>
                        <a:pt x="5916" y="57645"/>
                      </a:lnTo>
                      <a:cubicBezTo>
                        <a:pt x="5682" y="57235"/>
                        <a:pt x="5916" y="56650"/>
                        <a:pt x="6443" y="56415"/>
                      </a:cubicBezTo>
                      <a:lnTo>
                        <a:pt x="8669" y="55244"/>
                      </a:lnTo>
                      <a:cubicBezTo>
                        <a:pt x="9138" y="55010"/>
                        <a:pt x="9724" y="55127"/>
                        <a:pt x="9958" y="55537"/>
                      </a:cubicBezTo>
                      <a:cubicBezTo>
                        <a:pt x="10192" y="55947"/>
                        <a:pt x="9958" y="56532"/>
                        <a:pt x="9431" y="56767"/>
                      </a:cubicBezTo>
                      <a:lnTo>
                        <a:pt x="7205" y="57938"/>
                      </a:lnTo>
                      <a:cubicBezTo>
                        <a:pt x="6678" y="58231"/>
                        <a:pt x="6150" y="58055"/>
                        <a:pt x="5916" y="57645"/>
                      </a:cubicBezTo>
                      <a:close/>
                      <a:moveTo>
                        <a:pt x="7205" y="59988"/>
                      </a:moveTo>
                      <a:lnTo>
                        <a:pt x="7088" y="60047"/>
                      </a:lnTo>
                      <a:lnTo>
                        <a:pt x="7205" y="59988"/>
                      </a:lnTo>
                      <a:cubicBezTo>
                        <a:pt x="6971" y="59578"/>
                        <a:pt x="7146" y="58992"/>
                        <a:pt x="7615" y="58758"/>
                      </a:cubicBezTo>
                      <a:lnTo>
                        <a:pt x="9782" y="57470"/>
                      </a:lnTo>
                      <a:cubicBezTo>
                        <a:pt x="10251" y="57177"/>
                        <a:pt x="10836" y="57294"/>
                        <a:pt x="11071" y="57704"/>
                      </a:cubicBezTo>
                      <a:cubicBezTo>
                        <a:pt x="11305" y="58114"/>
                        <a:pt x="11129" y="58700"/>
                        <a:pt x="10661" y="58934"/>
                      </a:cubicBezTo>
                      <a:lnTo>
                        <a:pt x="8493" y="60222"/>
                      </a:lnTo>
                      <a:cubicBezTo>
                        <a:pt x="8025" y="60515"/>
                        <a:pt x="7439" y="60398"/>
                        <a:pt x="7205" y="59988"/>
                      </a:cubicBezTo>
                      <a:close/>
                      <a:moveTo>
                        <a:pt x="9958" y="62389"/>
                      </a:moveTo>
                      <a:cubicBezTo>
                        <a:pt x="9489" y="62682"/>
                        <a:pt x="8904" y="62623"/>
                        <a:pt x="8669" y="62272"/>
                      </a:cubicBezTo>
                      <a:lnTo>
                        <a:pt x="8552" y="62331"/>
                      </a:lnTo>
                      <a:lnTo>
                        <a:pt x="8669" y="62272"/>
                      </a:lnTo>
                      <a:cubicBezTo>
                        <a:pt x="8376" y="61862"/>
                        <a:pt x="8552" y="61335"/>
                        <a:pt x="9021" y="60984"/>
                      </a:cubicBezTo>
                      <a:lnTo>
                        <a:pt x="11071" y="59519"/>
                      </a:lnTo>
                      <a:cubicBezTo>
                        <a:pt x="11539" y="59227"/>
                        <a:pt x="12125" y="59285"/>
                        <a:pt x="12359" y="59637"/>
                      </a:cubicBezTo>
                      <a:cubicBezTo>
                        <a:pt x="12652" y="60047"/>
                        <a:pt x="12477" y="60574"/>
                        <a:pt x="12008" y="60925"/>
                      </a:cubicBezTo>
                      <a:lnTo>
                        <a:pt x="9958" y="62389"/>
                      </a:lnTo>
                      <a:close/>
                      <a:moveTo>
                        <a:pt x="11539" y="64439"/>
                      </a:moveTo>
                      <a:cubicBezTo>
                        <a:pt x="11129" y="64790"/>
                        <a:pt x="10544" y="64790"/>
                        <a:pt x="10251" y="64380"/>
                      </a:cubicBezTo>
                      <a:lnTo>
                        <a:pt x="10134" y="64439"/>
                      </a:lnTo>
                      <a:lnTo>
                        <a:pt x="10251" y="64380"/>
                      </a:lnTo>
                      <a:cubicBezTo>
                        <a:pt x="9958" y="64029"/>
                        <a:pt x="10075" y="63443"/>
                        <a:pt x="10485" y="63092"/>
                      </a:cubicBezTo>
                      <a:lnTo>
                        <a:pt x="12418" y="61511"/>
                      </a:lnTo>
                      <a:cubicBezTo>
                        <a:pt x="12828" y="61159"/>
                        <a:pt x="13414" y="61159"/>
                        <a:pt x="13765" y="61569"/>
                      </a:cubicBezTo>
                      <a:cubicBezTo>
                        <a:pt x="14058" y="61921"/>
                        <a:pt x="13941" y="62506"/>
                        <a:pt x="13531" y="62858"/>
                      </a:cubicBezTo>
                      <a:lnTo>
                        <a:pt x="11539" y="64439"/>
                      </a:lnTo>
                      <a:close/>
                      <a:moveTo>
                        <a:pt x="13297" y="66372"/>
                      </a:moveTo>
                      <a:cubicBezTo>
                        <a:pt x="12887" y="66723"/>
                        <a:pt x="12301" y="66782"/>
                        <a:pt x="12008" y="66430"/>
                      </a:cubicBezTo>
                      <a:lnTo>
                        <a:pt x="11891" y="66489"/>
                      </a:lnTo>
                      <a:lnTo>
                        <a:pt x="12008" y="66372"/>
                      </a:lnTo>
                      <a:cubicBezTo>
                        <a:pt x="11715" y="66020"/>
                        <a:pt x="11774" y="65435"/>
                        <a:pt x="12184" y="65083"/>
                      </a:cubicBezTo>
                      <a:lnTo>
                        <a:pt x="14058" y="63385"/>
                      </a:lnTo>
                      <a:cubicBezTo>
                        <a:pt x="14468" y="63033"/>
                        <a:pt x="15054" y="62975"/>
                        <a:pt x="15405" y="63326"/>
                      </a:cubicBezTo>
                      <a:cubicBezTo>
                        <a:pt x="15698" y="63678"/>
                        <a:pt x="15640" y="64263"/>
                        <a:pt x="15230" y="64615"/>
                      </a:cubicBezTo>
                      <a:lnTo>
                        <a:pt x="13297" y="66372"/>
                      </a:lnTo>
                      <a:close/>
                      <a:moveTo>
                        <a:pt x="13882" y="68304"/>
                      </a:moveTo>
                      <a:lnTo>
                        <a:pt x="13765" y="68422"/>
                      </a:lnTo>
                      <a:lnTo>
                        <a:pt x="13882" y="68304"/>
                      </a:lnTo>
                      <a:cubicBezTo>
                        <a:pt x="13531" y="67953"/>
                        <a:pt x="13590" y="67367"/>
                        <a:pt x="13941" y="66957"/>
                      </a:cubicBezTo>
                      <a:lnTo>
                        <a:pt x="15640" y="65142"/>
                      </a:lnTo>
                      <a:cubicBezTo>
                        <a:pt x="15991" y="64732"/>
                        <a:pt x="16577" y="64673"/>
                        <a:pt x="16928" y="65025"/>
                      </a:cubicBezTo>
                      <a:cubicBezTo>
                        <a:pt x="17280" y="65376"/>
                        <a:pt x="17221" y="65962"/>
                        <a:pt x="16870" y="66372"/>
                      </a:cubicBezTo>
                      <a:lnTo>
                        <a:pt x="15171" y="68246"/>
                      </a:lnTo>
                      <a:cubicBezTo>
                        <a:pt x="14820" y="68597"/>
                        <a:pt x="14234" y="68656"/>
                        <a:pt x="13882" y="68304"/>
                      </a:cubicBezTo>
                      <a:close/>
                      <a:moveTo>
                        <a:pt x="18744" y="67894"/>
                      </a:moveTo>
                      <a:lnTo>
                        <a:pt x="17163" y="69886"/>
                      </a:lnTo>
                      <a:cubicBezTo>
                        <a:pt x="16811" y="70296"/>
                        <a:pt x="16225" y="70413"/>
                        <a:pt x="15874" y="70120"/>
                      </a:cubicBezTo>
                      <a:lnTo>
                        <a:pt x="15815" y="70237"/>
                      </a:lnTo>
                      <a:lnTo>
                        <a:pt x="15874" y="70120"/>
                      </a:lnTo>
                      <a:cubicBezTo>
                        <a:pt x="15523" y="69827"/>
                        <a:pt x="15523" y="69242"/>
                        <a:pt x="15874" y="68832"/>
                      </a:cubicBezTo>
                      <a:lnTo>
                        <a:pt x="17456" y="66840"/>
                      </a:lnTo>
                      <a:cubicBezTo>
                        <a:pt x="17807" y="66430"/>
                        <a:pt x="18393" y="66313"/>
                        <a:pt x="18744" y="66606"/>
                      </a:cubicBezTo>
                      <a:cubicBezTo>
                        <a:pt x="19096" y="66840"/>
                        <a:pt x="19096" y="67426"/>
                        <a:pt x="18744" y="67894"/>
                      </a:cubicBezTo>
                      <a:close/>
                      <a:moveTo>
                        <a:pt x="20736" y="69300"/>
                      </a:moveTo>
                      <a:lnTo>
                        <a:pt x="19271" y="71350"/>
                      </a:lnTo>
                      <a:cubicBezTo>
                        <a:pt x="18979" y="71818"/>
                        <a:pt x="18393" y="71936"/>
                        <a:pt x="17983" y="71701"/>
                      </a:cubicBezTo>
                      <a:lnTo>
                        <a:pt x="17924" y="71818"/>
                      </a:lnTo>
                      <a:lnTo>
                        <a:pt x="17983" y="71701"/>
                      </a:lnTo>
                      <a:cubicBezTo>
                        <a:pt x="17573" y="71408"/>
                        <a:pt x="17573" y="70823"/>
                        <a:pt x="17866" y="70413"/>
                      </a:cubicBezTo>
                      <a:lnTo>
                        <a:pt x="19330" y="68363"/>
                      </a:lnTo>
                      <a:cubicBezTo>
                        <a:pt x="19623" y="67894"/>
                        <a:pt x="20209" y="67777"/>
                        <a:pt x="20619" y="68012"/>
                      </a:cubicBezTo>
                      <a:cubicBezTo>
                        <a:pt x="20970" y="68246"/>
                        <a:pt x="21029" y="68832"/>
                        <a:pt x="20736" y="69300"/>
                      </a:cubicBezTo>
                      <a:close/>
                      <a:moveTo>
                        <a:pt x="22786" y="70589"/>
                      </a:moveTo>
                      <a:lnTo>
                        <a:pt x="21497" y="72756"/>
                      </a:lnTo>
                      <a:cubicBezTo>
                        <a:pt x="21204" y="73224"/>
                        <a:pt x="20677" y="73400"/>
                        <a:pt x="20267" y="73165"/>
                      </a:cubicBezTo>
                      <a:lnTo>
                        <a:pt x="20209" y="73283"/>
                      </a:lnTo>
                      <a:lnTo>
                        <a:pt x="20267" y="73165"/>
                      </a:lnTo>
                      <a:cubicBezTo>
                        <a:pt x="19857" y="72931"/>
                        <a:pt x="19799" y="72346"/>
                        <a:pt x="20091" y="71877"/>
                      </a:cubicBezTo>
                      <a:lnTo>
                        <a:pt x="21380" y="69710"/>
                      </a:lnTo>
                      <a:cubicBezTo>
                        <a:pt x="21673" y="69242"/>
                        <a:pt x="22259" y="69066"/>
                        <a:pt x="22610" y="69300"/>
                      </a:cubicBezTo>
                      <a:cubicBezTo>
                        <a:pt x="22962" y="69534"/>
                        <a:pt x="23079" y="70120"/>
                        <a:pt x="22786" y="70589"/>
                      </a:cubicBezTo>
                      <a:close/>
                      <a:moveTo>
                        <a:pt x="23782" y="73985"/>
                      </a:moveTo>
                      <a:cubicBezTo>
                        <a:pt x="23547" y="74454"/>
                        <a:pt x="22962" y="74688"/>
                        <a:pt x="22552" y="74513"/>
                      </a:cubicBezTo>
                      <a:lnTo>
                        <a:pt x="22493" y="74630"/>
                      </a:lnTo>
                      <a:lnTo>
                        <a:pt x="22552" y="74513"/>
                      </a:lnTo>
                      <a:cubicBezTo>
                        <a:pt x="22142" y="74278"/>
                        <a:pt x="22024" y="73751"/>
                        <a:pt x="22259" y="73224"/>
                      </a:cubicBezTo>
                      <a:lnTo>
                        <a:pt x="23430" y="70999"/>
                      </a:lnTo>
                      <a:cubicBezTo>
                        <a:pt x="23665" y="70530"/>
                        <a:pt x="24250" y="70296"/>
                        <a:pt x="24660" y="70471"/>
                      </a:cubicBezTo>
                      <a:cubicBezTo>
                        <a:pt x="25070" y="70706"/>
                        <a:pt x="25188" y="71233"/>
                        <a:pt x="24953" y="71760"/>
                      </a:cubicBezTo>
                      <a:lnTo>
                        <a:pt x="23782" y="73985"/>
                      </a:lnTo>
                      <a:close/>
                      <a:moveTo>
                        <a:pt x="26183" y="75040"/>
                      </a:moveTo>
                      <a:cubicBezTo>
                        <a:pt x="25949" y="75567"/>
                        <a:pt x="25422" y="75801"/>
                        <a:pt x="25012" y="75625"/>
                      </a:cubicBezTo>
                      <a:lnTo>
                        <a:pt x="24953" y="75742"/>
                      </a:lnTo>
                      <a:lnTo>
                        <a:pt x="25012" y="75625"/>
                      </a:lnTo>
                      <a:cubicBezTo>
                        <a:pt x="24602" y="75450"/>
                        <a:pt x="24426" y="74864"/>
                        <a:pt x="24602" y="74395"/>
                      </a:cubicBezTo>
                      <a:lnTo>
                        <a:pt x="25598" y="72053"/>
                      </a:lnTo>
                      <a:cubicBezTo>
                        <a:pt x="25832" y="71526"/>
                        <a:pt x="26359" y="71291"/>
                        <a:pt x="26769" y="71467"/>
                      </a:cubicBezTo>
                      <a:cubicBezTo>
                        <a:pt x="27179" y="71643"/>
                        <a:pt x="27355" y="72228"/>
                        <a:pt x="27179" y="72756"/>
                      </a:cubicBezTo>
                      <a:lnTo>
                        <a:pt x="26183" y="75040"/>
                      </a:lnTo>
                      <a:close/>
                      <a:moveTo>
                        <a:pt x="27472" y="76562"/>
                      </a:moveTo>
                      <a:lnTo>
                        <a:pt x="27413" y="76679"/>
                      </a:lnTo>
                      <a:lnTo>
                        <a:pt x="27472" y="76562"/>
                      </a:lnTo>
                      <a:cubicBezTo>
                        <a:pt x="27003" y="76387"/>
                        <a:pt x="26828" y="75860"/>
                        <a:pt x="27003" y="75332"/>
                      </a:cubicBezTo>
                      <a:lnTo>
                        <a:pt x="27823" y="72931"/>
                      </a:lnTo>
                      <a:cubicBezTo>
                        <a:pt x="27999" y="72404"/>
                        <a:pt x="28526" y="72111"/>
                        <a:pt x="28936" y="72287"/>
                      </a:cubicBezTo>
                      <a:cubicBezTo>
                        <a:pt x="29405" y="72463"/>
                        <a:pt x="29581" y="72990"/>
                        <a:pt x="29405" y="73517"/>
                      </a:cubicBezTo>
                      <a:lnTo>
                        <a:pt x="28585" y="75918"/>
                      </a:lnTo>
                      <a:cubicBezTo>
                        <a:pt x="28409" y="76445"/>
                        <a:pt x="27941" y="76738"/>
                        <a:pt x="27472" y="76562"/>
                      </a:cubicBezTo>
                      <a:close/>
                      <a:moveTo>
                        <a:pt x="30225" y="70061"/>
                      </a:moveTo>
                      <a:cubicBezTo>
                        <a:pt x="28936" y="69593"/>
                        <a:pt x="27296" y="68832"/>
                        <a:pt x="26008" y="68187"/>
                      </a:cubicBezTo>
                      <a:cubicBezTo>
                        <a:pt x="24953" y="67660"/>
                        <a:pt x="23255" y="67133"/>
                        <a:pt x="23430" y="66255"/>
                      </a:cubicBezTo>
                      <a:cubicBezTo>
                        <a:pt x="23723" y="64849"/>
                        <a:pt x="25539" y="66489"/>
                        <a:pt x="26476" y="66899"/>
                      </a:cubicBezTo>
                      <a:cubicBezTo>
                        <a:pt x="28233" y="67836"/>
                        <a:pt x="30694" y="68480"/>
                        <a:pt x="32041" y="69066"/>
                      </a:cubicBezTo>
                      <a:lnTo>
                        <a:pt x="32217" y="69124"/>
                      </a:lnTo>
                      <a:cubicBezTo>
                        <a:pt x="32685" y="69359"/>
                        <a:pt x="33212" y="69476"/>
                        <a:pt x="32802" y="70179"/>
                      </a:cubicBezTo>
                      <a:cubicBezTo>
                        <a:pt x="32392" y="70881"/>
                        <a:pt x="31104" y="70354"/>
                        <a:pt x="30225" y="70061"/>
                      </a:cubicBezTo>
                      <a:close/>
                      <a:moveTo>
                        <a:pt x="30049" y="77382"/>
                      </a:moveTo>
                      <a:lnTo>
                        <a:pt x="29991" y="77499"/>
                      </a:lnTo>
                      <a:lnTo>
                        <a:pt x="30049" y="77382"/>
                      </a:lnTo>
                      <a:cubicBezTo>
                        <a:pt x="29581" y="77265"/>
                        <a:pt x="29346" y="76738"/>
                        <a:pt x="29464" y="76211"/>
                      </a:cubicBezTo>
                      <a:lnTo>
                        <a:pt x="30108" y="73751"/>
                      </a:lnTo>
                      <a:cubicBezTo>
                        <a:pt x="30225" y="73224"/>
                        <a:pt x="30752" y="72873"/>
                        <a:pt x="31221" y="72990"/>
                      </a:cubicBezTo>
                      <a:cubicBezTo>
                        <a:pt x="31689" y="73107"/>
                        <a:pt x="31924" y="73634"/>
                        <a:pt x="31807" y="74161"/>
                      </a:cubicBezTo>
                      <a:lnTo>
                        <a:pt x="31162" y="76621"/>
                      </a:lnTo>
                      <a:cubicBezTo>
                        <a:pt x="30987" y="77148"/>
                        <a:pt x="30459" y="77499"/>
                        <a:pt x="30049" y="77382"/>
                      </a:cubicBezTo>
                      <a:close/>
                      <a:moveTo>
                        <a:pt x="34442" y="68070"/>
                      </a:moveTo>
                      <a:cubicBezTo>
                        <a:pt x="34442" y="67894"/>
                        <a:pt x="34560" y="67719"/>
                        <a:pt x="34677" y="67660"/>
                      </a:cubicBezTo>
                      <a:lnTo>
                        <a:pt x="34677" y="67660"/>
                      </a:lnTo>
                      <a:lnTo>
                        <a:pt x="36668" y="65962"/>
                      </a:lnTo>
                      <a:cubicBezTo>
                        <a:pt x="37078" y="65610"/>
                        <a:pt x="37723" y="65669"/>
                        <a:pt x="38133" y="66079"/>
                      </a:cubicBezTo>
                      <a:lnTo>
                        <a:pt x="39831" y="68129"/>
                      </a:lnTo>
                      <a:cubicBezTo>
                        <a:pt x="39890" y="68246"/>
                        <a:pt x="39949" y="68363"/>
                        <a:pt x="39949" y="68539"/>
                      </a:cubicBezTo>
                      <a:cubicBezTo>
                        <a:pt x="39890" y="68890"/>
                        <a:pt x="39597" y="69124"/>
                        <a:pt x="39304" y="69066"/>
                      </a:cubicBezTo>
                      <a:lnTo>
                        <a:pt x="39304" y="69066"/>
                      </a:lnTo>
                      <a:cubicBezTo>
                        <a:pt x="39246" y="69066"/>
                        <a:pt x="39187" y="69066"/>
                        <a:pt x="39129" y="69007"/>
                      </a:cubicBezTo>
                      <a:cubicBezTo>
                        <a:pt x="38543" y="68714"/>
                        <a:pt x="37898" y="68539"/>
                        <a:pt x="37254" y="68480"/>
                      </a:cubicBezTo>
                      <a:cubicBezTo>
                        <a:pt x="36610" y="68422"/>
                        <a:pt x="35965" y="68480"/>
                        <a:pt x="35321" y="68656"/>
                      </a:cubicBezTo>
                      <a:cubicBezTo>
                        <a:pt x="35204" y="68656"/>
                        <a:pt x="35145" y="68714"/>
                        <a:pt x="35087" y="68656"/>
                      </a:cubicBezTo>
                      <a:lnTo>
                        <a:pt x="35087" y="68656"/>
                      </a:lnTo>
                      <a:cubicBezTo>
                        <a:pt x="34618" y="68714"/>
                        <a:pt x="34384" y="68422"/>
                        <a:pt x="34442" y="68070"/>
                      </a:cubicBezTo>
                      <a:close/>
                      <a:moveTo>
                        <a:pt x="35204" y="70647"/>
                      </a:moveTo>
                      <a:cubicBezTo>
                        <a:pt x="35321" y="70120"/>
                        <a:pt x="36083" y="69769"/>
                        <a:pt x="36668" y="70413"/>
                      </a:cubicBezTo>
                      <a:cubicBezTo>
                        <a:pt x="37137" y="71877"/>
                        <a:pt x="34911" y="71818"/>
                        <a:pt x="35204" y="70647"/>
                      </a:cubicBezTo>
                      <a:close/>
                      <a:moveTo>
                        <a:pt x="32627" y="77968"/>
                      </a:moveTo>
                      <a:lnTo>
                        <a:pt x="32568" y="78085"/>
                      </a:lnTo>
                      <a:lnTo>
                        <a:pt x="32627" y="77968"/>
                      </a:lnTo>
                      <a:cubicBezTo>
                        <a:pt x="32158" y="77851"/>
                        <a:pt x="31865" y="77382"/>
                        <a:pt x="31982" y="76797"/>
                      </a:cubicBezTo>
                      <a:lnTo>
                        <a:pt x="32451" y="74337"/>
                      </a:lnTo>
                      <a:cubicBezTo>
                        <a:pt x="32568" y="73810"/>
                        <a:pt x="33037" y="73400"/>
                        <a:pt x="33505" y="73517"/>
                      </a:cubicBezTo>
                      <a:cubicBezTo>
                        <a:pt x="33974" y="73634"/>
                        <a:pt x="34267" y="74103"/>
                        <a:pt x="34150" y="74688"/>
                      </a:cubicBezTo>
                      <a:lnTo>
                        <a:pt x="33681" y="77148"/>
                      </a:lnTo>
                      <a:cubicBezTo>
                        <a:pt x="33564" y="77675"/>
                        <a:pt x="33095" y="78085"/>
                        <a:pt x="32627" y="77968"/>
                      </a:cubicBezTo>
                      <a:close/>
                      <a:moveTo>
                        <a:pt x="35263" y="78378"/>
                      </a:moveTo>
                      <a:lnTo>
                        <a:pt x="35263" y="78495"/>
                      </a:lnTo>
                      <a:lnTo>
                        <a:pt x="35263" y="78378"/>
                      </a:lnTo>
                      <a:cubicBezTo>
                        <a:pt x="34794" y="78319"/>
                        <a:pt x="34442" y="77851"/>
                        <a:pt x="34560" y="77265"/>
                      </a:cubicBezTo>
                      <a:lnTo>
                        <a:pt x="34853" y="74747"/>
                      </a:lnTo>
                      <a:cubicBezTo>
                        <a:pt x="34911" y="74220"/>
                        <a:pt x="35380" y="73810"/>
                        <a:pt x="35848" y="73868"/>
                      </a:cubicBezTo>
                      <a:cubicBezTo>
                        <a:pt x="36317" y="73927"/>
                        <a:pt x="36610" y="74395"/>
                        <a:pt x="36551" y="74981"/>
                      </a:cubicBezTo>
                      <a:lnTo>
                        <a:pt x="36258" y="77499"/>
                      </a:lnTo>
                      <a:cubicBezTo>
                        <a:pt x="36200" y="78027"/>
                        <a:pt x="35731" y="78436"/>
                        <a:pt x="35263" y="78378"/>
                      </a:cubicBezTo>
                      <a:close/>
                      <a:moveTo>
                        <a:pt x="37957" y="78612"/>
                      </a:moveTo>
                      <a:lnTo>
                        <a:pt x="37957" y="78729"/>
                      </a:lnTo>
                      <a:lnTo>
                        <a:pt x="37957" y="78612"/>
                      </a:lnTo>
                      <a:cubicBezTo>
                        <a:pt x="37488" y="78612"/>
                        <a:pt x="37137" y="78144"/>
                        <a:pt x="37137" y="77558"/>
                      </a:cubicBezTo>
                      <a:lnTo>
                        <a:pt x="37254" y="75040"/>
                      </a:lnTo>
                      <a:cubicBezTo>
                        <a:pt x="37313" y="74513"/>
                        <a:pt x="37723" y="74044"/>
                        <a:pt x="38191" y="74103"/>
                      </a:cubicBezTo>
                      <a:cubicBezTo>
                        <a:pt x="38660" y="74103"/>
                        <a:pt x="39011" y="74571"/>
                        <a:pt x="39011" y="75157"/>
                      </a:cubicBezTo>
                      <a:lnTo>
                        <a:pt x="38836" y="77675"/>
                      </a:lnTo>
                      <a:cubicBezTo>
                        <a:pt x="38836" y="78202"/>
                        <a:pt x="38426" y="78671"/>
                        <a:pt x="37957" y="78612"/>
                      </a:cubicBezTo>
                      <a:close/>
                      <a:moveTo>
                        <a:pt x="40593" y="78671"/>
                      </a:moveTo>
                      <a:lnTo>
                        <a:pt x="40593" y="78788"/>
                      </a:lnTo>
                      <a:lnTo>
                        <a:pt x="40593" y="78671"/>
                      </a:lnTo>
                      <a:cubicBezTo>
                        <a:pt x="40124" y="78671"/>
                        <a:pt x="39714" y="78261"/>
                        <a:pt x="39714" y="77675"/>
                      </a:cubicBezTo>
                      <a:lnTo>
                        <a:pt x="39714" y="75157"/>
                      </a:lnTo>
                      <a:cubicBezTo>
                        <a:pt x="39714" y="74630"/>
                        <a:pt x="40066" y="74161"/>
                        <a:pt x="40593" y="74161"/>
                      </a:cubicBezTo>
                      <a:cubicBezTo>
                        <a:pt x="41062" y="74161"/>
                        <a:pt x="41472" y="74571"/>
                        <a:pt x="41472" y="75157"/>
                      </a:cubicBezTo>
                      <a:lnTo>
                        <a:pt x="41472" y="77675"/>
                      </a:lnTo>
                      <a:cubicBezTo>
                        <a:pt x="41472" y="78202"/>
                        <a:pt x="41062" y="78671"/>
                        <a:pt x="40593" y="78671"/>
                      </a:cubicBezTo>
                      <a:close/>
                      <a:moveTo>
                        <a:pt x="43287" y="78554"/>
                      </a:moveTo>
                      <a:lnTo>
                        <a:pt x="43287" y="78671"/>
                      </a:lnTo>
                      <a:lnTo>
                        <a:pt x="43287" y="78554"/>
                      </a:lnTo>
                      <a:cubicBezTo>
                        <a:pt x="42819" y="78612"/>
                        <a:pt x="42409" y="78202"/>
                        <a:pt x="42350" y="77617"/>
                      </a:cubicBezTo>
                      <a:lnTo>
                        <a:pt x="42116" y="75098"/>
                      </a:lnTo>
                      <a:cubicBezTo>
                        <a:pt x="42057" y="74571"/>
                        <a:pt x="42409" y="74044"/>
                        <a:pt x="42877" y="74044"/>
                      </a:cubicBezTo>
                      <a:cubicBezTo>
                        <a:pt x="43346" y="73985"/>
                        <a:pt x="43756" y="74395"/>
                        <a:pt x="43815" y="74981"/>
                      </a:cubicBezTo>
                      <a:lnTo>
                        <a:pt x="43990" y="77499"/>
                      </a:lnTo>
                      <a:cubicBezTo>
                        <a:pt x="44107" y="78027"/>
                        <a:pt x="43756" y="78495"/>
                        <a:pt x="43287" y="78554"/>
                      </a:cubicBezTo>
                      <a:close/>
                      <a:moveTo>
                        <a:pt x="45923" y="78202"/>
                      </a:moveTo>
                      <a:lnTo>
                        <a:pt x="45923" y="78319"/>
                      </a:lnTo>
                      <a:lnTo>
                        <a:pt x="45923" y="78202"/>
                      </a:lnTo>
                      <a:cubicBezTo>
                        <a:pt x="45455" y="78261"/>
                        <a:pt x="44986" y="77909"/>
                        <a:pt x="44928" y="77324"/>
                      </a:cubicBezTo>
                      <a:lnTo>
                        <a:pt x="44576" y="74805"/>
                      </a:lnTo>
                      <a:cubicBezTo>
                        <a:pt x="44517" y="74278"/>
                        <a:pt x="44810" y="73751"/>
                        <a:pt x="45279" y="73693"/>
                      </a:cubicBezTo>
                      <a:cubicBezTo>
                        <a:pt x="45748" y="73634"/>
                        <a:pt x="46216" y="73985"/>
                        <a:pt x="46275" y="74571"/>
                      </a:cubicBezTo>
                      <a:lnTo>
                        <a:pt x="46626" y="77089"/>
                      </a:lnTo>
                      <a:cubicBezTo>
                        <a:pt x="46685" y="77617"/>
                        <a:pt x="46392" y="78144"/>
                        <a:pt x="45923" y="78202"/>
                      </a:cubicBezTo>
                      <a:close/>
                      <a:moveTo>
                        <a:pt x="48559" y="77734"/>
                      </a:moveTo>
                      <a:lnTo>
                        <a:pt x="48559" y="77851"/>
                      </a:lnTo>
                      <a:lnTo>
                        <a:pt x="48559" y="77734"/>
                      </a:lnTo>
                      <a:cubicBezTo>
                        <a:pt x="48091" y="77851"/>
                        <a:pt x="47622" y="77499"/>
                        <a:pt x="47505" y="76972"/>
                      </a:cubicBezTo>
                      <a:lnTo>
                        <a:pt x="46978" y="74513"/>
                      </a:lnTo>
                      <a:cubicBezTo>
                        <a:pt x="46861" y="73985"/>
                        <a:pt x="47153" y="73458"/>
                        <a:pt x="47622" y="73341"/>
                      </a:cubicBezTo>
                      <a:cubicBezTo>
                        <a:pt x="48091" y="73224"/>
                        <a:pt x="48559" y="73575"/>
                        <a:pt x="48676" y="74103"/>
                      </a:cubicBezTo>
                      <a:lnTo>
                        <a:pt x="49204" y="76562"/>
                      </a:lnTo>
                      <a:cubicBezTo>
                        <a:pt x="49321" y="77089"/>
                        <a:pt x="49028" y="77617"/>
                        <a:pt x="48559" y="77734"/>
                      </a:cubicBezTo>
                      <a:close/>
                      <a:moveTo>
                        <a:pt x="51137" y="77031"/>
                      </a:moveTo>
                      <a:lnTo>
                        <a:pt x="51195" y="77148"/>
                      </a:lnTo>
                      <a:lnTo>
                        <a:pt x="51137" y="77031"/>
                      </a:lnTo>
                      <a:cubicBezTo>
                        <a:pt x="50668" y="77148"/>
                        <a:pt x="50199" y="76855"/>
                        <a:pt x="50024" y="76328"/>
                      </a:cubicBezTo>
                      <a:lnTo>
                        <a:pt x="49321" y="73927"/>
                      </a:lnTo>
                      <a:cubicBezTo>
                        <a:pt x="49145" y="73400"/>
                        <a:pt x="49379" y="72873"/>
                        <a:pt x="49848" y="72697"/>
                      </a:cubicBezTo>
                      <a:cubicBezTo>
                        <a:pt x="50316" y="72580"/>
                        <a:pt x="50785" y="72873"/>
                        <a:pt x="50961" y="73400"/>
                      </a:cubicBezTo>
                      <a:lnTo>
                        <a:pt x="51664" y="75801"/>
                      </a:lnTo>
                      <a:cubicBezTo>
                        <a:pt x="51839" y="76328"/>
                        <a:pt x="51605" y="76855"/>
                        <a:pt x="51137" y="77031"/>
                      </a:cubicBezTo>
                      <a:close/>
                      <a:moveTo>
                        <a:pt x="53714" y="76270"/>
                      </a:moveTo>
                      <a:lnTo>
                        <a:pt x="53655" y="76152"/>
                      </a:lnTo>
                      <a:cubicBezTo>
                        <a:pt x="53187" y="76328"/>
                        <a:pt x="52718" y="76035"/>
                        <a:pt x="52484" y="75508"/>
                      </a:cubicBezTo>
                      <a:lnTo>
                        <a:pt x="51605" y="73165"/>
                      </a:lnTo>
                      <a:cubicBezTo>
                        <a:pt x="51429" y="72638"/>
                        <a:pt x="51605" y="72111"/>
                        <a:pt x="52074" y="71936"/>
                      </a:cubicBezTo>
                      <a:cubicBezTo>
                        <a:pt x="52542" y="71760"/>
                        <a:pt x="53011" y="72053"/>
                        <a:pt x="53245" y="72580"/>
                      </a:cubicBezTo>
                      <a:lnTo>
                        <a:pt x="54124" y="74922"/>
                      </a:lnTo>
                      <a:cubicBezTo>
                        <a:pt x="54300" y="75450"/>
                        <a:pt x="54124" y="75977"/>
                        <a:pt x="53655" y="76152"/>
                      </a:cubicBezTo>
                      <a:lnTo>
                        <a:pt x="53714" y="76270"/>
                      </a:lnTo>
                      <a:close/>
                      <a:moveTo>
                        <a:pt x="56174" y="75215"/>
                      </a:moveTo>
                      <a:lnTo>
                        <a:pt x="56115" y="75098"/>
                      </a:lnTo>
                      <a:cubicBezTo>
                        <a:pt x="55705" y="75274"/>
                        <a:pt x="55178" y="75040"/>
                        <a:pt x="54944" y="74571"/>
                      </a:cubicBezTo>
                      <a:lnTo>
                        <a:pt x="53890" y="72287"/>
                      </a:lnTo>
                      <a:cubicBezTo>
                        <a:pt x="53655" y="71760"/>
                        <a:pt x="53831" y="71233"/>
                        <a:pt x="54241" y="70999"/>
                      </a:cubicBezTo>
                      <a:cubicBezTo>
                        <a:pt x="54651" y="70823"/>
                        <a:pt x="55178" y="71057"/>
                        <a:pt x="55413" y="71526"/>
                      </a:cubicBezTo>
                      <a:lnTo>
                        <a:pt x="56467" y="73810"/>
                      </a:lnTo>
                      <a:cubicBezTo>
                        <a:pt x="56701" y="74337"/>
                        <a:pt x="56525" y="74864"/>
                        <a:pt x="56115" y="75098"/>
                      </a:cubicBezTo>
                      <a:lnTo>
                        <a:pt x="56174" y="75215"/>
                      </a:lnTo>
                      <a:close/>
                      <a:moveTo>
                        <a:pt x="58576" y="73985"/>
                      </a:moveTo>
                      <a:lnTo>
                        <a:pt x="58517" y="73868"/>
                      </a:lnTo>
                      <a:cubicBezTo>
                        <a:pt x="58107" y="74103"/>
                        <a:pt x="57580" y="73868"/>
                        <a:pt x="57287" y="73400"/>
                      </a:cubicBezTo>
                      <a:lnTo>
                        <a:pt x="56057" y="71174"/>
                      </a:lnTo>
                      <a:cubicBezTo>
                        <a:pt x="55764" y="70706"/>
                        <a:pt x="55940" y="70120"/>
                        <a:pt x="56350" y="69886"/>
                      </a:cubicBezTo>
                      <a:cubicBezTo>
                        <a:pt x="56760" y="69651"/>
                        <a:pt x="57287" y="69886"/>
                        <a:pt x="57580" y="70354"/>
                      </a:cubicBezTo>
                      <a:lnTo>
                        <a:pt x="58810" y="72580"/>
                      </a:lnTo>
                      <a:cubicBezTo>
                        <a:pt x="59103" y="73048"/>
                        <a:pt x="58927" y="73634"/>
                        <a:pt x="58517" y="73868"/>
                      </a:cubicBezTo>
                      <a:lnTo>
                        <a:pt x="58576" y="73985"/>
                      </a:lnTo>
                      <a:close/>
                      <a:moveTo>
                        <a:pt x="60919" y="72580"/>
                      </a:moveTo>
                      <a:lnTo>
                        <a:pt x="60860" y="72463"/>
                      </a:lnTo>
                      <a:cubicBezTo>
                        <a:pt x="60450" y="72697"/>
                        <a:pt x="59923" y="72521"/>
                        <a:pt x="59630" y="72053"/>
                      </a:cubicBezTo>
                      <a:lnTo>
                        <a:pt x="58283" y="69944"/>
                      </a:lnTo>
                      <a:cubicBezTo>
                        <a:pt x="57990" y="69476"/>
                        <a:pt x="58048" y="68890"/>
                        <a:pt x="58459" y="68656"/>
                      </a:cubicBezTo>
                      <a:cubicBezTo>
                        <a:pt x="58869" y="68422"/>
                        <a:pt x="59396" y="68539"/>
                        <a:pt x="59689" y="69007"/>
                      </a:cubicBezTo>
                      <a:lnTo>
                        <a:pt x="61036" y="71116"/>
                      </a:lnTo>
                      <a:cubicBezTo>
                        <a:pt x="61329" y="71584"/>
                        <a:pt x="61270" y="72170"/>
                        <a:pt x="60860" y="72404"/>
                      </a:cubicBezTo>
                      <a:lnTo>
                        <a:pt x="60919" y="72580"/>
                      </a:lnTo>
                      <a:close/>
                      <a:moveTo>
                        <a:pt x="63027" y="70940"/>
                      </a:moveTo>
                      <a:cubicBezTo>
                        <a:pt x="62676" y="71233"/>
                        <a:pt x="62090" y="71116"/>
                        <a:pt x="61739" y="70647"/>
                      </a:cubicBezTo>
                      <a:lnTo>
                        <a:pt x="60216" y="68656"/>
                      </a:lnTo>
                      <a:cubicBezTo>
                        <a:pt x="59864" y="68187"/>
                        <a:pt x="59923" y="67602"/>
                        <a:pt x="60333" y="67309"/>
                      </a:cubicBezTo>
                      <a:cubicBezTo>
                        <a:pt x="60684" y="67016"/>
                        <a:pt x="61270" y="67133"/>
                        <a:pt x="61622" y="67602"/>
                      </a:cubicBezTo>
                      <a:lnTo>
                        <a:pt x="63145" y="69593"/>
                      </a:lnTo>
                      <a:cubicBezTo>
                        <a:pt x="63437" y="70061"/>
                        <a:pt x="63437" y="70647"/>
                        <a:pt x="63027" y="70940"/>
                      </a:cubicBezTo>
                      <a:lnTo>
                        <a:pt x="63086" y="71057"/>
                      </a:lnTo>
                      <a:lnTo>
                        <a:pt x="63027" y="70940"/>
                      </a:lnTo>
                      <a:close/>
                      <a:moveTo>
                        <a:pt x="65136" y="69300"/>
                      </a:moveTo>
                      <a:cubicBezTo>
                        <a:pt x="64785" y="69593"/>
                        <a:pt x="64199" y="69534"/>
                        <a:pt x="63847" y="69124"/>
                      </a:cubicBezTo>
                      <a:lnTo>
                        <a:pt x="62207" y="67192"/>
                      </a:lnTo>
                      <a:cubicBezTo>
                        <a:pt x="61856" y="66782"/>
                        <a:pt x="61856" y="66196"/>
                        <a:pt x="62207" y="65845"/>
                      </a:cubicBezTo>
                      <a:cubicBezTo>
                        <a:pt x="62559" y="65552"/>
                        <a:pt x="63145" y="65610"/>
                        <a:pt x="63496" y="66020"/>
                      </a:cubicBezTo>
                      <a:lnTo>
                        <a:pt x="65136" y="67953"/>
                      </a:lnTo>
                      <a:cubicBezTo>
                        <a:pt x="65488" y="68363"/>
                        <a:pt x="65488" y="68949"/>
                        <a:pt x="65136" y="69300"/>
                      </a:cubicBezTo>
                      <a:lnTo>
                        <a:pt x="65195" y="69417"/>
                      </a:lnTo>
                      <a:lnTo>
                        <a:pt x="65136" y="69300"/>
                      </a:lnTo>
                      <a:close/>
                      <a:moveTo>
                        <a:pt x="67069" y="67426"/>
                      </a:moveTo>
                      <a:cubicBezTo>
                        <a:pt x="66718" y="67777"/>
                        <a:pt x="66132" y="67719"/>
                        <a:pt x="65780" y="67309"/>
                      </a:cubicBezTo>
                      <a:lnTo>
                        <a:pt x="64023" y="65493"/>
                      </a:lnTo>
                      <a:cubicBezTo>
                        <a:pt x="63613" y="65083"/>
                        <a:pt x="63613" y="64498"/>
                        <a:pt x="63906" y="64146"/>
                      </a:cubicBezTo>
                      <a:cubicBezTo>
                        <a:pt x="64258" y="63795"/>
                        <a:pt x="64843" y="63853"/>
                        <a:pt x="65195" y="64263"/>
                      </a:cubicBezTo>
                      <a:lnTo>
                        <a:pt x="66952" y="66079"/>
                      </a:lnTo>
                      <a:cubicBezTo>
                        <a:pt x="67362" y="66489"/>
                        <a:pt x="67421" y="67075"/>
                        <a:pt x="67069" y="67426"/>
                      </a:cubicBezTo>
                      <a:lnTo>
                        <a:pt x="67186" y="67543"/>
                      </a:lnTo>
                      <a:lnTo>
                        <a:pt x="67069" y="67426"/>
                      </a:lnTo>
                      <a:close/>
                      <a:moveTo>
                        <a:pt x="68944" y="65493"/>
                      </a:moveTo>
                      <a:cubicBezTo>
                        <a:pt x="68651" y="65845"/>
                        <a:pt x="68065" y="65845"/>
                        <a:pt x="67655" y="65493"/>
                      </a:cubicBezTo>
                      <a:lnTo>
                        <a:pt x="65780" y="63853"/>
                      </a:lnTo>
                      <a:cubicBezTo>
                        <a:pt x="65370" y="63502"/>
                        <a:pt x="65253" y="62916"/>
                        <a:pt x="65605" y="62565"/>
                      </a:cubicBezTo>
                      <a:cubicBezTo>
                        <a:pt x="65898" y="62214"/>
                        <a:pt x="66483" y="62214"/>
                        <a:pt x="66893" y="62565"/>
                      </a:cubicBezTo>
                      <a:lnTo>
                        <a:pt x="68768" y="64205"/>
                      </a:lnTo>
                      <a:cubicBezTo>
                        <a:pt x="69178" y="64556"/>
                        <a:pt x="69236" y="65142"/>
                        <a:pt x="68944" y="65493"/>
                      </a:cubicBezTo>
                      <a:lnTo>
                        <a:pt x="69061" y="65552"/>
                      </a:lnTo>
                      <a:lnTo>
                        <a:pt x="68944" y="65493"/>
                      </a:lnTo>
                      <a:close/>
                      <a:moveTo>
                        <a:pt x="70642" y="63385"/>
                      </a:moveTo>
                      <a:cubicBezTo>
                        <a:pt x="70349" y="63736"/>
                        <a:pt x="69764" y="63795"/>
                        <a:pt x="69354" y="63443"/>
                      </a:cubicBezTo>
                      <a:lnTo>
                        <a:pt x="67362" y="61921"/>
                      </a:lnTo>
                      <a:cubicBezTo>
                        <a:pt x="66952" y="61569"/>
                        <a:pt x="66776" y="60984"/>
                        <a:pt x="67069" y="60632"/>
                      </a:cubicBezTo>
                      <a:cubicBezTo>
                        <a:pt x="67362" y="60281"/>
                        <a:pt x="67948" y="60222"/>
                        <a:pt x="68358" y="60574"/>
                      </a:cubicBezTo>
                      <a:lnTo>
                        <a:pt x="70349" y="62096"/>
                      </a:lnTo>
                      <a:cubicBezTo>
                        <a:pt x="70759" y="62448"/>
                        <a:pt x="70935" y="63033"/>
                        <a:pt x="70642" y="63385"/>
                      </a:cubicBezTo>
                      <a:lnTo>
                        <a:pt x="70759" y="63443"/>
                      </a:lnTo>
                      <a:lnTo>
                        <a:pt x="70642" y="63385"/>
                      </a:lnTo>
                      <a:close/>
                      <a:moveTo>
                        <a:pt x="72165" y="61218"/>
                      </a:moveTo>
                      <a:cubicBezTo>
                        <a:pt x="71931" y="61628"/>
                        <a:pt x="71345" y="61686"/>
                        <a:pt x="70877" y="61394"/>
                      </a:cubicBezTo>
                      <a:lnTo>
                        <a:pt x="68768" y="59988"/>
                      </a:lnTo>
                      <a:cubicBezTo>
                        <a:pt x="68299" y="59695"/>
                        <a:pt x="68123" y="59109"/>
                        <a:pt x="68416" y="58700"/>
                      </a:cubicBezTo>
                      <a:cubicBezTo>
                        <a:pt x="68651" y="58290"/>
                        <a:pt x="69236" y="58231"/>
                        <a:pt x="69705" y="58524"/>
                      </a:cubicBezTo>
                      <a:lnTo>
                        <a:pt x="71814" y="59929"/>
                      </a:lnTo>
                      <a:cubicBezTo>
                        <a:pt x="72282" y="60222"/>
                        <a:pt x="72458" y="60808"/>
                        <a:pt x="72165" y="61218"/>
                      </a:cubicBezTo>
                      <a:lnTo>
                        <a:pt x="72282" y="61276"/>
                      </a:lnTo>
                      <a:lnTo>
                        <a:pt x="72165" y="61218"/>
                      </a:lnTo>
                      <a:close/>
                      <a:moveTo>
                        <a:pt x="73571" y="58875"/>
                      </a:moveTo>
                      <a:cubicBezTo>
                        <a:pt x="73337" y="59285"/>
                        <a:pt x="72751" y="59402"/>
                        <a:pt x="72282" y="59109"/>
                      </a:cubicBezTo>
                      <a:lnTo>
                        <a:pt x="70115" y="57880"/>
                      </a:lnTo>
                      <a:cubicBezTo>
                        <a:pt x="69646" y="57587"/>
                        <a:pt x="69412" y="57060"/>
                        <a:pt x="69646" y="56650"/>
                      </a:cubicBezTo>
                      <a:cubicBezTo>
                        <a:pt x="69881" y="56240"/>
                        <a:pt x="70467" y="56123"/>
                        <a:pt x="70935" y="56415"/>
                      </a:cubicBezTo>
                      <a:lnTo>
                        <a:pt x="73102" y="57645"/>
                      </a:lnTo>
                      <a:cubicBezTo>
                        <a:pt x="73571" y="57938"/>
                        <a:pt x="73805" y="58465"/>
                        <a:pt x="73571" y="58875"/>
                      </a:cubicBezTo>
                      <a:lnTo>
                        <a:pt x="73688" y="58934"/>
                      </a:lnTo>
                      <a:lnTo>
                        <a:pt x="73571" y="58875"/>
                      </a:lnTo>
                      <a:close/>
                      <a:moveTo>
                        <a:pt x="74801" y="56532"/>
                      </a:moveTo>
                      <a:cubicBezTo>
                        <a:pt x="74625" y="56943"/>
                        <a:pt x="74040" y="57118"/>
                        <a:pt x="73512" y="56884"/>
                      </a:cubicBezTo>
                      <a:lnTo>
                        <a:pt x="71228" y="55830"/>
                      </a:lnTo>
                      <a:cubicBezTo>
                        <a:pt x="70759" y="55595"/>
                        <a:pt x="70467" y="55068"/>
                        <a:pt x="70701" y="54600"/>
                      </a:cubicBezTo>
                      <a:cubicBezTo>
                        <a:pt x="70877" y="54190"/>
                        <a:pt x="71462" y="54014"/>
                        <a:pt x="71989" y="54248"/>
                      </a:cubicBezTo>
                      <a:lnTo>
                        <a:pt x="74274" y="55303"/>
                      </a:lnTo>
                      <a:cubicBezTo>
                        <a:pt x="74742" y="55537"/>
                        <a:pt x="74977" y="56064"/>
                        <a:pt x="74801" y="56532"/>
                      </a:cubicBezTo>
                      <a:lnTo>
                        <a:pt x="74918" y="56591"/>
                      </a:lnTo>
                      <a:lnTo>
                        <a:pt x="74801" y="56532"/>
                      </a:lnTo>
                      <a:close/>
                      <a:moveTo>
                        <a:pt x="75855" y="54014"/>
                      </a:moveTo>
                      <a:cubicBezTo>
                        <a:pt x="75680" y="54483"/>
                        <a:pt x="75153" y="54658"/>
                        <a:pt x="74625" y="54424"/>
                      </a:cubicBezTo>
                      <a:lnTo>
                        <a:pt x="72282" y="53546"/>
                      </a:lnTo>
                      <a:cubicBezTo>
                        <a:pt x="71755" y="53370"/>
                        <a:pt x="71462" y="52843"/>
                        <a:pt x="71638" y="52374"/>
                      </a:cubicBezTo>
                      <a:cubicBezTo>
                        <a:pt x="71814" y="51964"/>
                        <a:pt x="72341" y="51730"/>
                        <a:pt x="72868" y="51964"/>
                      </a:cubicBezTo>
                      <a:lnTo>
                        <a:pt x="75211" y="52901"/>
                      </a:lnTo>
                      <a:cubicBezTo>
                        <a:pt x="75738" y="53077"/>
                        <a:pt x="76031" y="53604"/>
                        <a:pt x="75855" y="54014"/>
                      </a:cubicBezTo>
                      <a:lnTo>
                        <a:pt x="75973" y="54073"/>
                      </a:lnTo>
                      <a:lnTo>
                        <a:pt x="75855" y="54014"/>
                      </a:lnTo>
                      <a:close/>
                    </a:path>
                  </a:pathLst>
                </a:custGeom>
                <a:solidFill>
                  <a:srgbClr val="311F12"/>
                </a:solidFill>
                <a:ln w="58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46" name="Freeform 1145">
                  <a:extLst>
                    <a:ext uri="{FF2B5EF4-FFF2-40B4-BE49-F238E27FC236}">
                      <a16:creationId xmlns:a16="http://schemas.microsoft.com/office/drawing/2014/main" id="{632163CC-843E-3955-E00E-D506935DC788}"/>
                    </a:ext>
                  </a:extLst>
                </p:cNvPr>
                <p:cNvSpPr/>
                <p:nvPr/>
              </p:nvSpPr>
              <p:spPr>
                <a:xfrm>
                  <a:off x="832013" y="2407079"/>
                  <a:ext cx="4089" cy="7000"/>
                </a:xfrm>
                <a:custGeom>
                  <a:avLst/>
                  <a:gdLst>
                    <a:gd name="connsiteX0" fmla="*/ 3509 w 4089"/>
                    <a:gd name="connsiteY0" fmla="*/ 97 h 7000"/>
                    <a:gd name="connsiteX1" fmla="*/ 1459 w 4089"/>
                    <a:gd name="connsiteY1" fmla="*/ 2030 h 7000"/>
                    <a:gd name="connsiteX2" fmla="*/ 639 w 4089"/>
                    <a:gd name="connsiteY2" fmla="*/ 3904 h 7000"/>
                    <a:gd name="connsiteX3" fmla="*/ 639 w 4089"/>
                    <a:gd name="connsiteY3" fmla="*/ 6891 h 7000"/>
                    <a:gd name="connsiteX4" fmla="*/ 2747 w 4089"/>
                    <a:gd name="connsiteY4" fmla="*/ 4841 h 7000"/>
                    <a:gd name="connsiteX5" fmla="*/ 3567 w 4089"/>
                    <a:gd name="connsiteY5" fmla="*/ 2967 h 7000"/>
                    <a:gd name="connsiteX6" fmla="*/ 3509 w 4089"/>
                    <a:gd name="connsiteY6" fmla="*/ 97 h 70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4089" h="7000">
                      <a:moveTo>
                        <a:pt x="3509" y="97"/>
                      </a:moveTo>
                      <a:cubicBezTo>
                        <a:pt x="2806" y="-196"/>
                        <a:pt x="2279" y="97"/>
                        <a:pt x="1459" y="2030"/>
                      </a:cubicBezTo>
                      <a:lnTo>
                        <a:pt x="639" y="3904"/>
                      </a:lnTo>
                      <a:cubicBezTo>
                        <a:pt x="-298" y="6130"/>
                        <a:pt x="-123" y="6540"/>
                        <a:pt x="639" y="6891"/>
                      </a:cubicBezTo>
                      <a:cubicBezTo>
                        <a:pt x="1342" y="7184"/>
                        <a:pt x="1810" y="7008"/>
                        <a:pt x="2747" y="4841"/>
                      </a:cubicBezTo>
                      <a:lnTo>
                        <a:pt x="3567" y="2967"/>
                      </a:lnTo>
                      <a:cubicBezTo>
                        <a:pt x="4329" y="976"/>
                        <a:pt x="4212" y="390"/>
                        <a:pt x="3509" y="97"/>
                      </a:cubicBezTo>
                      <a:close/>
                    </a:path>
                  </a:pathLst>
                </a:custGeom>
                <a:solidFill>
                  <a:srgbClr val="311F12"/>
                </a:solidFill>
                <a:ln w="58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</p:grpSp>
        </p:grpSp>
        <p:grpSp>
          <p:nvGrpSpPr>
            <p:cNvPr id="99" name="Graphic 2">
              <a:extLst>
                <a:ext uri="{FF2B5EF4-FFF2-40B4-BE49-F238E27FC236}">
                  <a16:creationId xmlns:a16="http://schemas.microsoft.com/office/drawing/2014/main" id="{4FDB3F9B-0013-D5BF-B7CB-05DB3A4ECA05}"/>
                </a:ext>
              </a:extLst>
            </p:cNvPr>
            <p:cNvGrpSpPr/>
            <p:nvPr/>
          </p:nvGrpSpPr>
          <p:grpSpPr>
            <a:xfrm>
              <a:off x="970290" y="2401320"/>
              <a:ext cx="80747" cy="81173"/>
              <a:chOff x="970290" y="2401320"/>
              <a:chExt cx="80747" cy="81173"/>
            </a:xfrm>
          </p:grpSpPr>
          <p:sp>
            <p:nvSpPr>
              <p:cNvPr id="131" name="Freeform 1147">
                <a:extLst>
                  <a:ext uri="{FF2B5EF4-FFF2-40B4-BE49-F238E27FC236}">
                    <a16:creationId xmlns:a16="http://schemas.microsoft.com/office/drawing/2014/main" id="{127D16B7-5580-C562-97AC-8EA7BF4BB80C}"/>
                  </a:ext>
                </a:extLst>
              </p:cNvPr>
              <p:cNvSpPr/>
              <p:nvPr/>
            </p:nvSpPr>
            <p:spPr>
              <a:xfrm>
                <a:off x="970290" y="2401320"/>
                <a:ext cx="80747" cy="81173"/>
              </a:xfrm>
              <a:custGeom>
                <a:avLst/>
                <a:gdLst>
                  <a:gd name="connsiteX0" fmla="*/ 76456 w 80747"/>
                  <a:gd name="connsiteY0" fmla="*/ 23075 h 81173"/>
                  <a:gd name="connsiteX1" fmla="*/ 75636 w 80747"/>
                  <a:gd name="connsiteY1" fmla="*/ 22138 h 81173"/>
                  <a:gd name="connsiteX2" fmla="*/ 75578 w 80747"/>
                  <a:gd name="connsiteY2" fmla="*/ 21963 h 81173"/>
                  <a:gd name="connsiteX3" fmla="*/ 75461 w 80747"/>
                  <a:gd name="connsiteY3" fmla="*/ 21787 h 81173"/>
                  <a:gd name="connsiteX4" fmla="*/ 75109 w 80747"/>
                  <a:gd name="connsiteY4" fmla="*/ 20557 h 81173"/>
                  <a:gd name="connsiteX5" fmla="*/ 74231 w 80747"/>
                  <a:gd name="connsiteY5" fmla="*/ 19678 h 81173"/>
                  <a:gd name="connsiteX6" fmla="*/ 74055 w 80747"/>
                  <a:gd name="connsiteY6" fmla="*/ 19327 h 81173"/>
                  <a:gd name="connsiteX7" fmla="*/ 73645 w 80747"/>
                  <a:gd name="connsiteY7" fmla="*/ 18156 h 81173"/>
                  <a:gd name="connsiteX8" fmla="*/ 72708 w 80747"/>
                  <a:gd name="connsiteY8" fmla="*/ 17336 h 81173"/>
                  <a:gd name="connsiteX9" fmla="*/ 72473 w 80747"/>
                  <a:gd name="connsiteY9" fmla="*/ 16984 h 81173"/>
                  <a:gd name="connsiteX10" fmla="*/ 72005 w 80747"/>
                  <a:gd name="connsiteY10" fmla="*/ 15813 h 81173"/>
                  <a:gd name="connsiteX11" fmla="*/ 71068 w 80747"/>
                  <a:gd name="connsiteY11" fmla="*/ 15052 h 81173"/>
                  <a:gd name="connsiteX12" fmla="*/ 70775 w 80747"/>
                  <a:gd name="connsiteY12" fmla="*/ 14700 h 81173"/>
                  <a:gd name="connsiteX13" fmla="*/ 70189 w 80747"/>
                  <a:gd name="connsiteY13" fmla="*/ 13588 h 81173"/>
                  <a:gd name="connsiteX14" fmla="*/ 69193 w 80747"/>
                  <a:gd name="connsiteY14" fmla="*/ 12885 h 81173"/>
                  <a:gd name="connsiteX15" fmla="*/ 68900 w 80747"/>
                  <a:gd name="connsiteY15" fmla="*/ 12592 h 81173"/>
                  <a:gd name="connsiteX16" fmla="*/ 68256 w 80747"/>
                  <a:gd name="connsiteY16" fmla="*/ 11538 h 81173"/>
                  <a:gd name="connsiteX17" fmla="*/ 67201 w 80747"/>
                  <a:gd name="connsiteY17" fmla="*/ 10952 h 81173"/>
                  <a:gd name="connsiteX18" fmla="*/ 66850 w 80747"/>
                  <a:gd name="connsiteY18" fmla="*/ 10659 h 81173"/>
                  <a:gd name="connsiteX19" fmla="*/ 66147 w 80747"/>
                  <a:gd name="connsiteY19" fmla="*/ 9664 h 81173"/>
                  <a:gd name="connsiteX20" fmla="*/ 65034 w 80747"/>
                  <a:gd name="connsiteY20" fmla="*/ 9136 h 81173"/>
                  <a:gd name="connsiteX21" fmla="*/ 64683 w 80747"/>
                  <a:gd name="connsiteY21" fmla="*/ 8844 h 81173"/>
                  <a:gd name="connsiteX22" fmla="*/ 63921 w 80747"/>
                  <a:gd name="connsiteY22" fmla="*/ 7907 h 81173"/>
                  <a:gd name="connsiteX23" fmla="*/ 62808 w 80747"/>
                  <a:gd name="connsiteY23" fmla="*/ 7438 h 81173"/>
                  <a:gd name="connsiteX24" fmla="*/ 62457 w 80747"/>
                  <a:gd name="connsiteY24" fmla="*/ 7204 h 81173"/>
                  <a:gd name="connsiteX25" fmla="*/ 61637 w 80747"/>
                  <a:gd name="connsiteY25" fmla="*/ 6325 h 81173"/>
                  <a:gd name="connsiteX26" fmla="*/ 60465 w 80747"/>
                  <a:gd name="connsiteY26" fmla="*/ 5915 h 81173"/>
                  <a:gd name="connsiteX27" fmla="*/ 60114 w 80747"/>
                  <a:gd name="connsiteY27" fmla="*/ 5681 h 81173"/>
                  <a:gd name="connsiteX28" fmla="*/ 59235 w 80747"/>
                  <a:gd name="connsiteY28" fmla="*/ 4861 h 81173"/>
                  <a:gd name="connsiteX29" fmla="*/ 58064 w 80747"/>
                  <a:gd name="connsiteY29" fmla="*/ 4568 h 81173"/>
                  <a:gd name="connsiteX30" fmla="*/ 57654 w 80747"/>
                  <a:gd name="connsiteY30" fmla="*/ 4393 h 81173"/>
                  <a:gd name="connsiteX31" fmla="*/ 56716 w 80747"/>
                  <a:gd name="connsiteY31" fmla="*/ 3631 h 81173"/>
                  <a:gd name="connsiteX32" fmla="*/ 55486 w 80747"/>
                  <a:gd name="connsiteY32" fmla="*/ 3397 h 81173"/>
                  <a:gd name="connsiteX33" fmla="*/ 55076 w 80747"/>
                  <a:gd name="connsiteY33" fmla="*/ 3221 h 81173"/>
                  <a:gd name="connsiteX34" fmla="*/ 54081 w 80747"/>
                  <a:gd name="connsiteY34" fmla="*/ 2518 h 81173"/>
                  <a:gd name="connsiteX35" fmla="*/ 52850 w 80747"/>
                  <a:gd name="connsiteY35" fmla="*/ 2401 h 81173"/>
                  <a:gd name="connsiteX36" fmla="*/ 52440 w 80747"/>
                  <a:gd name="connsiteY36" fmla="*/ 2284 h 81173"/>
                  <a:gd name="connsiteX37" fmla="*/ 51386 w 80747"/>
                  <a:gd name="connsiteY37" fmla="*/ 1640 h 81173"/>
                  <a:gd name="connsiteX38" fmla="*/ 50156 w 80747"/>
                  <a:gd name="connsiteY38" fmla="*/ 1581 h 81173"/>
                  <a:gd name="connsiteX39" fmla="*/ 49746 w 80747"/>
                  <a:gd name="connsiteY39" fmla="*/ 1464 h 81173"/>
                  <a:gd name="connsiteX40" fmla="*/ 48633 w 80747"/>
                  <a:gd name="connsiteY40" fmla="*/ 937 h 81173"/>
                  <a:gd name="connsiteX41" fmla="*/ 47461 w 80747"/>
                  <a:gd name="connsiteY41" fmla="*/ 996 h 81173"/>
                  <a:gd name="connsiteX42" fmla="*/ 46993 w 80747"/>
                  <a:gd name="connsiteY42" fmla="*/ 937 h 81173"/>
                  <a:gd name="connsiteX43" fmla="*/ 45880 w 80747"/>
                  <a:gd name="connsiteY43" fmla="*/ 469 h 81173"/>
                  <a:gd name="connsiteX44" fmla="*/ 44708 w 80747"/>
                  <a:gd name="connsiteY44" fmla="*/ 586 h 81173"/>
                  <a:gd name="connsiteX45" fmla="*/ 44240 w 80747"/>
                  <a:gd name="connsiteY45" fmla="*/ 527 h 81173"/>
                  <a:gd name="connsiteX46" fmla="*/ 43127 w 80747"/>
                  <a:gd name="connsiteY46" fmla="*/ 117 h 81173"/>
                  <a:gd name="connsiteX47" fmla="*/ 41955 w 80747"/>
                  <a:gd name="connsiteY47" fmla="*/ 293 h 81173"/>
                  <a:gd name="connsiteX48" fmla="*/ 41487 w 80747"/>
                  <a:gd name="connsiteY48" fmla="*/ 293 h 81173"/>
                  <a:gd name="connsiteX49" fmla="*/ 40315 w 80747"/>
                  <a:gd name="connsiteY49" fmla="*/ 0 h 81173"/>
                  <a:gd name="connsiteX50" fmla="*/ 39144 w 80747"/>
                  <a:gd name="connsiteY50" fmla="*/ 293 h 81173"/>
                  <a:gd name="connsiteX51" fmla="*/ 38675 w 80747"/>
                  <a:gd name="connsiteY51" fmla="*/ 293 h 81173"/>
                  <a:gd name="connsiteX52" fmla="*/ 37504 w 80747"/>
                  <a:gd name="connsiteY52" fmla="*/ 59 h 81173"/>
                  <a:gd name="connsiteX53" fmla="*/ 36508 w 80747"/>
                  <a:gd name="connsiteY53" fmla="*/ 351 h 81173"/>
                  <a:gd name="connsiteX54" fmla="*/ 36391 w 80747"/>
                  <a:gd name="connsiteY54" fmla="*/ 410 h 81173"/>
                  <a:gd name="connsiteX55" fmla="*/ 35922 w 80747"/>
                  <a:gd name="connsiteY55" fmla="*/ 469 h 81173"/>
                  <a:gd name="connsiteX56" fmla="*/ 34751 w 80747"/>
                  <a:gd name="connsiteY56" fmla="*/ 351 h 81173"/>
                  <a:gd name="connsiteX57" fmla="*/ 33931 w 80747"/>
                  <a:gd name="connsiteY57" fmla="*/ 644 h 81173"/>
                  <a:gd name="connsiteX58" fmla="*/ 33696 w 80747"/>
                  <a:gd name="connsiteY58" fmla="*/ 820 h 81173"/>
                  <a:gd name="connsiteX59" fmla="*/ 33228 w 80747"/>
                  <a:gd name="connsiteY59" fmla="*/ 879 h 81173"/>
                  <a:gd name="connsiteX60" fmla="*/ 32056 w 80747"/>
                  <a:gd name="connsiteY60" fmla="*/ 820 h 81173"/>
                  <a:gd name="connsiteX61" fmla="*/ 31412 w 80747"/>
                  <a:gd name="connsiteY61" fmla="*/ 1054 h 81173"/>
                  <a:gd name="connsiteX62" fmla="*/ 31002 w 80747"/>
                  <a:gd name="connsiteY62" fmla="*/ 1347 h 81173"/>
                  <a:gd name="connsiteX63" fmla="*/ 30533 w 80747"/>
                  <a:gd name="connsiteY63" fmla="*/ 1464 h 81173"/>
                  <a:gd name="connsiteX64" fmla="*/ 29362 w 80747"/>
                  <a:gd name="connsiteY64" fmla="*/ 1523 h 81173"/>
                  <a:gd name="connsiteX65" fmla="*/ 28893 w 80747"/>
                  <a:gd name="connsiteY65" fmla="*/ 1698 h 81173"/>
                  <a:gd name="connsiteX66" fmla="*/ 28366 w 80747"/>
                  <a:gd name="connsiteY66" fmla="*/ 2108 h 81173"/>
                  <a:gd name="connsiteX67" fmla="*/ 27897 w 80747"/>
                  <a:gd name="connsiteY67" fmla="*/ 2284 h 81173"/>
                  <a:gd name="connsiteX68" fmla="*/ 26726 w 80747"/>
                  <a:gd name="connsiteY68" fmla="*/ 2401 h 81173"/>
                  <a:gd name="connsiteX69" fmla="*/ 25730 w 80747"/>
                  <a:gd name="connsiteY69" fmla="*/ 3046 h 81173"/>
                  <a:gd name="connsiteX70" fmla="*/ 25261 w 80747"/>
                  <a:gd name="connsiteY70" fmla="*/ 3221 h 81173"/>
                  <a:gd name="connsiteX71" fmla="*/ 24090 w 80747"/>
                  <a:gd name="connsiteY71" fmla="*/ 3397 h 81173"/>
                  <a:gd name="connsiteX72" fmla="*/ 23153 w 80747"/>
                  <a:gd name="connsiteY72" fmla="*/ 4100 h 81173"/>
                  <a:gd name="connsiteX73" fmla="*/ 22743 w 80747"/>
                  <a:gd name="connsiteY73" fmla="*/ 4334 h 81173"/>
                  <a:gd name="connsiteX74" fmla="*/ 21571 w 80747"/>
                  <a:gd name="connsiteY74" fmla="*/ 4627 h 81173"/>
                  <a:gd name="connsiteX75" fmla="*/ 20692 w 80747"/>
                  <a:gd name="connsiteY75" fmla="*/ 5447 h 81173"/>
                  <a:gd name="connsiteX76" fmla="*/ 20282 w 80747"/>
                  <a:gd name="connsiteY76" fmla="*/ 5681 h 81173"/>
                  <a:gd name="connsiteX77" fmla="*/ 19287 w 80747"/>
                  <a:gd name="connsiteY77" fmla="*/ 5974 h 81173"/>
                  <a:gd name="connsiteX78" fmla="*/ 19111 w 80747"/>
                  <a:gd name="connsiteY78" fmla="*/ 6091 h 81173"/>
                  <a:gd name="connsiteX79" fmla="*/ 18291 w 80747"/>
                  <a:gd name="connsiteY79" fmla="*/ 6969 h 81173"/>
                  <a:gd name="connsiteX80" fmla="*/ 17881 w 80747"/>
                  <a:gd name="connsiteY80" fmla="*/ 7262 h 81173"/>
                  <a:gd name="connsiteX81" fmla="*/ 17061 w 80747"/>
                  <a:gd name="connsiteY81" fmla="*/ 7497 h 81173"/>
                  <a:gd name="connsiteX82" fmla="*/ 16768 w 80747"/>
                  <a:gd name="connsiteY82" fmla="*/ 7672 h 81173"/>
                  <a:gd name="connsiteX83" fmla="*/ 16006 w 80747"/>
                  <a:gd name="connsiteY83" fmla="*/ 8551 h 81173"/>
                  <a:gd name="connsiteX84" fmla="*/ 15596 w 80747"/>
                  <a:gd name="connsiteY84" fmla="*/ 8844 h 81173"/>
                  <a:gd name="connsiteX85" fmla="*/ 14952 w 80747"/>
                  <a:gd name="connsiteY85" fmla="*/ 9078 h 81173"/>
                  <a:gd name="connsiteX86" fmla="*/ 14483 w 80747"/>
                  <a:gd name="connsiteY86" fmla="*/ 9371 h 81173"/>
                  <a:gd name="connsiteX87" fmla="*/ 13781 w 80747"/>
                  <a:gd name="connsiteY87" fmla="*/ 10308 h 81173"/>
                  <a:gd name="connsiteX88" fmla="*/ 13429 w 80747"/>
                  <a:gd name="connsiteY88" fmla="*/ 10659 h 81173"/>
                  <a:gd name="connsiteX89" fmla="*/ 12960 w 80747"/>
                  <a:gd name="connsiteY89" fmla="*/ 10835 h 81173"/>
                  <a:gd name="connsiteX90" fmla="*/ 12375 w 80747"/>
                  <a:gd name="connsiteY90" fmla="*/ 11245 h 81173"/>
                  <a:gd name="connsiteX91" fmla="*/ 11730 w 80747"/>
                  <a:gd name="connsiteY91" fmla="*/ 12240 h 81173"/>
                  <a:gd name="connsiteX92" fmla="*/ 11379 w 80747"/>
                  <a:gd name="connsiteY92" fmla="*/ 12592 h 81173"/>
                  <a:gd name="connsiteX93" fmla="*/ 11086 w 80747"/>
                  <a:gd name="connsiteY93" fmla="*/ 12709 h 81173"/>
                  <a:gd name="connsiteX94" fmla="*/ 10383 w 80747"/>
                  <a:gd name="connsiteY94" fmla="*/ 13236 h 81173"/>
                  <a:gd name="connsiteX95" fmla="*/ 9797 w 80747"/>
                  <a:gd name="connsiteY95" fmla="*/ 14290 h 81173"/>
                  <a:gd name="connsiteX96" fmla="*/ 9504 w 80747"/>
                  <a:gd name="connsiteY96" fmla="*/ 14642 h 81173"/>
                  <a:gd name="connsiteX97" fmla="*/ 9387 w 80747"/>
                  <a:gd name="connsiteY97" fmla="*/ 14700 h 81173"/>
                  <a:gd name="connsiteX98" fmla="*/ 8567 w 80747"/>
                  <a:gd name="connsiteY98" fmla="*/ 15403 h 81173"/>
                  <a:gd name="connsiteX99" fmla="*/ 8099 w 80747"/>
                  <a:gd name="connsiteY99" fmla="*/ 16457 h 81173"/>
                  <a:gd name="connsiteX100" fmla="*/ 7806 w 80747"/>
                  <a:gd name="connsiteY100" fmla="*/ 16867 h 81173"/>
                  <a:gd name="connsiteX101" fmla="*/ 6927 w 80747"/>
                  <a:gd name="connsiteY101" fmla="*/ 17687 h 81173"/>
                  <a:gd name="connsiteX102" fmla="*/ 6517 w 80747"/>
                  <a:gd name="connsiteY102" fmla="*/ 18800 h 81173"/>
                  <a:gd name="connsiteX103" fmla="*/ 6283 w 80747"/>
                  <a:gd name="connsiteY103" fmla="*/ 19210 h 81173"/>
                  <a:gd name="connsiteX104" fmla="*/ 5463 w 80747"/>
                  <a:gd name="connsiteY104" fmla="*/ 20088 h 81173"/>
                  <a:gd name="connsiteX105" fmla="*/ 5111 w 80747"/>
                  <a:gd name="connsiteY105" fmla="*/ 21260 h 81173"/>
                  <a:gd name="connsiteX106" fmla="*/ 4877 w 80747"/>
                  <a:gd name="connsiteY106" fmla="*/ 21670 h 81173"/>
                  <a:gd name="connsiteX107" fmla="*/ 4116 w 80747"/>
                  <a:gd name="connsiteY107" fmla="*/ 22607 h 81173"/>
                  <a:gd name="connsiteX108" fmla="*/ 3881 w 80747"/>
                  <a:gd name="connsiteY108" fmla="*/ 23778 h 81173"/>
                  <a:gd name="connsiteX109" fmla="*/ 3706 w 80747"/>
                  <a:gd name="connsiteY109" fmla="*/ 24188 h 81173"/>
                  <a:gd name="connsiteX110" fmla="*/ 3003 w 80747"/>
                  <a:gd name="connsiteY110" fmla="*/ 25184 h 81173"/>
                  <a:gd name="connsiteX111" fmla="*/ 2827 w 80747"/>
                  <a:gd name="connsiteY111" fmla="*/ 26414 h 81173"/>
                  <a:gd name="connsiteX112" fmla="*/ 2651 w 80747"/>
                  <a:gd name="connsiteY112" fmla="*/ 26824 h 81173"/>
                  <a:gd name="connsiteX113" fmla="*/ 2007 w 80747"/>
                  <a:gd name="connsiteY113" fmla="*/ 27878 h 81173"/>
                  <a:gd name="connsiteX114" fmla="*/ 1948 w 80747"/>
                  <a:gd name="connsiteY114" fmla="*/ 29108 h 81173"/>
                  <a:gd name="connsiteX115" fmla="*/ 1831 w 80747"/>
                  <a:gd name="connsiteY115" fmla="*/ 29518 h 81173"/>
                  <a:gd name="connsiteX116" fmla="*/ 1245 w 80747"/>
                  <a:gd name="connsiteY116" fmla="*/ 30572 h 81173"/>
                  <a:gd name="connsiteX117" fmla="*/ 1245 w 80747"/>
                  <a:gd name="connsiteY117" fmla="*/ 31802 h 81173"/>
                  <a:gd name="connsiteX118" fmla="*/ 1128 w 80747"/>
                  <a:gd name="connsiteY118" fmla="*/ 32212 h 81173"/>
                  <a:gd name="connsiteX119" fmla="*/ 601 w 80747"/>
                  <a:gd name="connsiteY119" fmla="*/ 33325 h 81173"/>
                  <a:gd name="connsiteX120" fmla="*/ 718 w 80747"/>
                  <a:gd name="connsiteY120" fmla="*/ 34554 h 81173"/>
                  <a:gd name="connsiteX121" fmla="*/ 660 w 80747"/>
                  <a:gd name="connsiteY121" fmla="*/ 34964 h 81173"/>
                  <a:gd name="connsiteX122" fmla="*/ 250 w 80747"/>
                  <a:gd name="connsiteY122" fmla="*/ 36136 h 81173"/>
                  <a:gd name="connsiteX123" fmla="*/ 425 w 80747"/>
                  <a:gd name="connsiteY123" fmla="*/ 37366 h 81173"/>
                  <a:gd name="connsiteX124" fmla="*/ 367 w 80747"/>
                  <a:gd name="connsiteY124" fmla="*/ 37776 h 81173"/>
                  <a:gd name="connsiteX125" fmla="*/ 15 w 80747"/>
                  <a:gd name="connsiteY125" fmla="*/ 38947 h 81173"/>
                  <a:gd name="connsiteX126" fmla="*/ 250 w 80747"/>
                  <a:gd name="connsiteY126" fmla="*/ 40118 h 81173"/>
                  <a:gd name="connsiteX127" fmla="*/ 250 w 80747"/>
                  <a:gd name="connsiteY127" fmla="*/ 40528 h 81173"/>
                  <a:gd name="connsiteX128" fmla="*/ 15 w 80747"/>
                  <a:gd name="connsiteY128" fmla="*/ 41758 h 81173"/>
                  <a:gd name="connsiteX129" fmla="*/ 367 w 80747"/>
                  <a:gd name="connsiteY129" fmla="*/ 42929 h 81173"/>
                  <a:gd name="connsiteX130" fmla="*/ 425 w 80747"/>
                  <a:gd name="connsiteY130" fmla="*/ 43398 h 81173"/>
                  <a:gd name="connsiteX131" fmla="*/ 250 w 80747"/>
                  <a:gd name="connsiteY131" fmla="*/ 44628 h 81173"/>
                  <a:gd name="connsiteX132" fmla="*/ 660 w 80747"/>
                  <a:gd name="connsiteY132" fmla="*/ 45799 h 81173"/>
                  <a:gd name="connsiteX133" fmla="*/ 718 w 80747"/>
                  <a:gd name="connsiteY133" fmla="*/ 46268 h 81173"/>
                  <a:gd name="connsiteX134" fmla="*/ 601 w 80747"/>
                  <a:gd name="connsiteY134" fmla="*/ 47498 h 81173"/>
                  <a:gd name="connsiteX135" fmla="*/ 1128 w 80747"/>
                  <a:gd name="connsiteY135" fmla="*/ 48610 h 81173"/>
                  <a:gd name="connsiteX136" fmla="*/ 1245 w 80747"/>
                  <a:gd name="connsiteY136" fmla="*/ 49020 h 81173"/>
                  <a:gd name="connsiteX137" fmla="*/ 1245 w 80747"/>
                  <a:gd name="connsiteY137" fmla="*/ 50250 h 81173"/>
                  <a:gd name="connsiteX138" fmla="*/ 1831 w 80747"/>
                  <a:gd name="connsiteY138" fmla="*/ 51363 h 81173"/>
                  <a:gd name="connsiteX139" fmla="*/ 1948 w 80747"/>
                  <a:gd name="connsiteY139" fmla="*/ 51773 h 81173"/>
                  <a:gd name="connsiteX140" fmla="*/ 2007 w 80747"/>
                  <a:gd name="connsiteY140" fmla="*/ 53003 h 81173"/>
                  <a:gd name="connsiteX141" fmla="*/ 2651 w 80747"/>
                  <a:gd name="connsiteY141" fmla="*/ 54057 h 81173"/>
                  <a:gd name="connsiteX142" fmla="*/ 2768 w 80747"/>
                  <a:gd name="connsiteY142" fmla="*/ 54409 h 81173"/>
                  <a:gd name="connsiteX143" fmla="*/ 2944 w 80747"/>
                  <a:gd name="connsiteY143" fmla="*/ 55638 h 81173"/>
                  <a:gd name="connsiteX144" fmla="*/ 3706 w 80747"/>
                  <a:gd name="connsiteY144" fmla="*/ 56634 h 81173"/>
                  <a:gd name="connsiteX145" fmla="*/ 3881 w 80747"/>
                  <a:gd name="connsiteY145" fmla="*/ 56985 h 81173"/>
                  <a:gd name="connsiteX146" fmla="*/ 4116 w 80747"/>
                  <a:gd name="connsiteY146" fmla="*/ 58215 h 81173"/>
                  <a:gd name="connsiteX147" fmla="*/ 4936 w 80747"/>
                  <a:gd name="connsiteY147" fmla="*/ 59152 h 81173"/>
                  <a:gd name="connsiteX148" fmla="*/ 4994 w 80747"/>
                  <a:gd name="connsiteY148" fmla="*/ 59328 h 81173"/>
                  <a:gd name="connsiteX149" fmla="*/ 5111 w 80747"/>
                  <a:gd name="connsiteY149" fmla="*/ 59504 h 81173"/>
                  <a:gd name="connsiteX150" fmla="*/ 5463 w 80747"/>
                  <a:gd name="connsiteY150" fmla="*/ 60734 h 81173"/>
                  <a:gd name="connsiteX151" fmla="*/ 6341 w 80747"/>
                  <a:gd name="connsiteY151" fmla="*/ 61612 h 81173"/>
                  <a:gd name="connsiteX152" fmla="*/ 6576 w 80747"/>
                  <a:gd name="connsiteY152" fmla="*/ 61964 h 81173"/>
                  <a:gd name="connsiteX153" fmla="*/ 6986 w 80747"/>
                  <a:gd name="connsiteY153" fmla="*/ 63135 h 81173"/>
                  <a:gd name="connsiteX154" fmla="*/ 7923 w 80747"/>
                  <a:gd name="connsiteY154" fmla="*/ 63955 h 81173"/>
                  <a:gd name="connsiteX155" fmla="*/ 8157 w 80747"/>
                  <a:gd name="connsiteY155" fmla="*/ 64248 h 81173"/>
                  <a:gd name="connsiteX156" fmla="*/ 8626 w 80747"/>
                  <a:gd name="connsiteY156" fmla="*/ 65360 h 81173"/>
                  <a:gd name="connsiteX157" fmla="*/ 9563 w 80747"/>
                  <a:gd name="connsiteY157" fmla="*/ 66122 h 81173"/>
                  <a:gd name="connsiteX158" fmla="*/ 9856 w 80747"/>
                  <a:gd name="connsiteY158" fmla="*/ 66473 h 81173"/>
                  <a:gd name="connsiteX159" fmla="*/ 10442 w 80747"/>
                  <a:gd name="connsiteY159" fmla="*/ 67586 h 81173"/>
                  <a:gd name="connsiteX160" fmla="*/ 11437 w 80747"/>
                  <a:gd name="connsiteY160" fmla="*/ 68289 h 81173"/>
                  <a:gd name="connsiteX161" fmla="*/ 11730 w 80747"/>
                  <a:gd name="connsiteY161" fmla="*/ 68582 h 81173"/>
                  <a:gd name="connsiteX162" fmla="*/ 12375 w 80747"/>
                  <a:gd name="connsiteY162" fmla="*/ 69636 h 81173"/>
                  <a:gd name="connsiteX163" fmla="*/ 13429 w 80747"/>
                  <a:gd name="connsiteY163" fmla="*/ 70222 h 81173"/>
                  <a:gd name="connsiteX164" fmla="*/ 13781 w 80747"/>
                  <a:gd name="connsiteY164" fmla="*/ 70514 h 81173"/>
                  <a:gd name="connsiteX165" fmla="*/ 14483 w 80747"/>
                  <a:gd name="connsiteY165" fmla="*/ 71510 h 81173"/>
                  <a:gd name="connsiteX166" fmla="*/ 15596 w 80747"/>
                  <a:gd name="connsiteY166" fmla="*/ 72037 h 81173"/>
                  <a:gd name="connsiteX167" fmla="*/ 15948 w 80747"/>
                  <a:gd name="connsiteY167" fmla="*/ 72330 h 81173"/>
                  <a:gd name="connsiteX168" fmla="*/ 16709 w 80747"/>
                  <a:gd name="connsiteY168" fmla="*/ 73267 h 81173"/>
                  <a:gd name="connsiteX169" fmla="*/ 17881 w 80747"/>
                  <a:gd name="connsiteY169" fmla="*/ 73736 h 81173"/>
                  <a:gd name="connsiteX170" fmla="*/ 18232 w 80747"/>
                  <a:gd name="connsiteY170" fmla="*/ 73970 h 81173"/>
                  <a:gd name="connsiteX171" fmla="*/ 19052 w 80747"/>
                  <a:gd name="connsiteY171" fmla="*/ 74848 h 81173"/>
                  <a:gd name="connsiteX172" fmla="*/ 20224 w 80747"/>
                  <a:gd name="connsiteY172" fmla="*/ 75258 h 81173"/>
                  <a:gd name="connsiteX173" fmla="*/ 20575 w 80747"/>
                  <a:gd name="connsiteY173" fmla="*/ 75493 h 81173"/>
                  <a:gd name="connsiteX174" fmla="*/ 21512 w 80747"/>
                  <a:gd name="connsiteY174" fmla="*/ 76313 h 81173"/>
                  <a:gd name="connsiteX175" fmla="*/ 22684 w 80747"/>
                  <a:gd name="connsiteY175" fmla="*/ 76605 h 81173"/>
                  <a:gd name="connsiteX176" fmla="*/ 23035 w 80747"/>
                  <a:gd name="connsiteY176" fmla="*/ 76781 h 81173"/>
                  <a:gd name="connsiteX177" fmla="*/ 23973 w 80747"/>
                  <a:gd name="connsiteY177" fmla="*/ 77542 h 81173"/>
                  <a:gd name="connsiteX178" fmla="*/ 25203 w 80747"/>
                  <a:gd name="connsiteY178" fmla="*/ 77777 h 81173"/>
                  <a:gd name="connsiteX179" fmla="*/ 25613 w 80747"/>
                  <a:gd name="connsiteY179" fmla="*/ 77952 h 81173"/>
                  <a:gd name="connsiteX180" fmla="*/ 26609 w 80747"/>
                  <a:gd name="connsiteY180" fmla="*/ 78655 h 81173"/>
                  <a:gd name="connsiteX181" fmla="*/ 27839 w 80747"/>
                  <a:gd name="connsiteY181" fmla="*/ 78772 h 81173"/>
                  <a:gd name="connsiteX182" fmla="*/ 28249 w 80747"/>
                  <a:gd name="connsiteY182" fmla="*/ 78889 h 81173"/>
                  <a:gd name="connsiteX183" fmla="*/ 29303 w 80747"/>
                  <a:gd name="connsiteY183" fmla="*/ 79534 h 81173"/>
                  <a:gd name="connsiteX184" fmla="*/ 30533 w 80747"/>
                  <a:gd name="connsiteY184" fmla="*/ 79592 h 81173"/>
                  <a:gd name="connsiteX185" fmla="*/ 30943 w 80747"/>
                  <a:gd name="connsiteY185" fmla="*/ 79709 h 81173"/>
                  <a:gd name="connsiteX186" fmla="*/ 32056 w 80747"/>
                  <a:gd name="connsiteY186" fmla="*/ 80236 h 81173"/>
                  <a:gd name="connsiteX187" fmla="*/ 33286 w 80747"/>
                  <a:gd name="connsiteY187" fmla="*/ 80178 h 81173"/>
                  <a:gd name="connsiteX188" fmla="*/ 33755 w 80747"/>
                  <a:gd name="connsiteY188" fmla="*/ 80236 h 81173"/>
                  <a:gd name="connsiteX189" fmla="*/ 34868 w 80747"/>
                  <a:gd name="connsiteY189" fmla="*/ 80705 h 81173"/>
                  <a:gd name="connsiteX190" fmla="*/ 36039 w 80747"/>
                  <a:gd name="connsiteY190" fmla="*/ 80588 h 81173"/>
                  <a:gd name="connsiteX191" fmla="*/ 36508 w 80747"/>
                  <a:gd name="connsiteY191" fmla="*/ 80646 h 81173"/>
                  <a:gd name="connsiteX192" fmla="*/ 37679 w 80747"/>
                  <a:gd name="connsiteY192" fmla="*/ 81056 h 81173"/>
                  <a:gd name="connsiteX193" fmla="*/ 38851 w 80747"/>
                  <a:gd name="connsiteY193" fmla="*/ 80881 h 81173"/>
                  <a:gd name="connsiteX194" fmla="*/ 39319 w 80747"/>
                  <a:gd name="connsiteY194" fmla="*/ 80881 h 81173"/>
                  <a:gd name="connsiteX195" fmla="*/ 40491 w 80747"/>
                  <a:gd name="connsiteY195" fmla="*/ 81174 h 81173"/>
                  <a:gd name="connsiteX196" fmla="*/ 41662 w 80747"/>
                  <a:gd name="connsiteY196" fmla="*/ 80881 h 81173"/>
                  <a:gd name="connsiteX197" fmla="*/ 42131 w 80747"/>
                  <a:gd name="connsiteY197" fmla="*/ 80881 h 81173"/>
                  <a:gd name="connsiteX198" fmla="*/ 43303 w 80747"/>
                  <a:gd name="connsiteY198" fmla="*/ 81115 h 81173"/>
                  <a:gd name="connsiteX199" fmla="*/ 44357 w 80747"/>
                  <a:gd name="connsiteY199" fmla="*/ 80822 h 81173"/>
                  <a:gd name="connsiteX200" fmla="*/ 44474 w 80747"/>
                  <a:gd name="connsiteY200" fmla="*/ 80764 h 81173"/>
                  <a:gd name="connsiteX201" fmla="*/ 44943 w 80747"/>
                  <a:gd name="connsiteY201" fmla="*/ 80705 h 81173"/>
                  <a:gd name="connsiteX202" fmla="*/ 46114 w 80747"/>
                  <a:gd name="connsiteY202" fmla="*/ 80822 h 81173"/>
                  <a:gd name="connsiteX203" fmla="*/ 46934 w 80747"/>
                  <a:gd name="connsiteY203" fmla="*/ 80529 h 81173"/>
                  <a:gd name="connsiteX204" fmla="*/ 47169 w 80747"/>
                  <a:gd name="connsiteY204" fmla="*/ 80354 h 81173"/>
                  <a:gd name="connsiteX205" fmla="*/ 47637 w 80747"/>
                  <a:gd name="connsiteY205" fmla="*/ 80295 h 81173"/>
                  <a:gd name="connsiteX206" fmla="*/ 48809 w 80747"/>
                  <a:gd name="connsiteY206" fmla="*/ 80354 h 81173"/>
                  <a:gd name="connsiteX207" fmla="*/ 49453 w 80747"/>
                  <a:gd name="connsiteY207" fmla="*/ 80119 h 81173"/>
                  <a:gd name="connsiteX208" fmla="*/ 49863 w 80747"/>
                  <a:gd name="connsiteY208" fmla="*/ 79827 h 81173"/>
                  <a:gd name="connsiteX209" fmla="*/ 50332 w 80747"/>
                  <a:gd name="connsiteY209" fmla="*/ 79709 h 81173"/>
                  <a:gd name="connsiteX210" fmla="*/ 51503 w 80747"/>
                  <a:gd name="connsiteY210" fmla="*/ 79651 h 81173"/>
                  <a:gd name="connsiteX211" fmla="*/ 51972 w 80747"/>
                  <a:gd name="connsiteY211" fmla="*/ 79475 h 81173"/>
                  <a:gd name="connsiteX212" fmla="*/ 52499 w 80747"/>
                  <a:gd name="connsiteY212" fmla="*/ 79065 h 81173"/>
                  <a:gd name="connsiteX213" fmla="*/ 52968 w 80747"/>
                  <a:gd name="connsiteY213" fmla="*/ 78889 h 81173"/>
                  <a:gd name="connsiteX214" fmla="*/ 54139 w 80747"/>
                  <a:gd name="connsiteY214" fmla="*/ 78772 h 81173"/>
                  <a:gd name="connsiteX215" fmla="*/ 54491 w 80747"/>
                  <a:gd name="connsiteY215" fmla="*/ 78655 h 81173"/>
                  <a:gd name="connsiteX216" fmla="*/ 55135 w 80747"/>
                  <a:gd name="connsiteY216" fmla="*/ 78128 h 81173"/>
                  <a:gd name="connsiteX217" fmla="*/ 55604 w 80747"/>
                  <a:gd name="connsiteY217" fmla="*/ 77952 h 81173"/>
                  <a:gd name="connsiteX218" fmla="*/ 56775 w 80747"/>
                  <a:gd name="connsiteY218" fmla="*/ 77777 h 81173"/>
                  <a:gd name="connsiteX219" fmla="*/ 56951 w 80747"/>
                  <a:gd name="connsiteY219" fmla="*/ 77718 h 81173"/>
                  <a:gd name="connsiteX220" fmla="*/ 57712 w 80747"/>
                  <a:gd name="connsiteY220" fmla="*/ 77074 h 81173"/>
                  <a:gd name="connsiteX221" fmla="*/ 58122 w 80747"/>
                  <a:gd name="connsiteY221" fmla="*/ 76840 h 81173"/>
                  <a:gd name="connsiteX222" fmla="*/ 59294 w 80747"/>
                  <a:gd name="connsiteY222" fmla="*/ 76547 h 81173"/>
                  <a:gd name="connsiteX223" fmla="*/ 59294 w 80747"/>
                  <a:gd name="connsiteY223" fmla="*/ 76547 h 81173"/>
                  <a:gd name="connsiteX224" fmla="*/ 60172 w 80747"/>
                  <a:gd name="connsiteY224" fmla="*/ 75727 h 81173"/>
                  <a:gd name="connsiteX225" fmla="*/ 60582 w 80747"/>
                  <a:gd name="connsiteY225" fmla="*/ 75493 h 81173"/>
                  <a:gd name="connsiteX226" fmla="*/ 61578 w 80747"/>
                  <a:gd name="connsiteY226" fmla="*/ 75200 h 81173"/>
                  <a:gd name="connsiteX227" fmla="*/ 61754 w 80747"/>
                  <a:gd name="connsiteY227" fmla="*/ 75083 h 81173"/>
                  <a:gd name="connsiteX228" fmla="*/ 62574 w 80747"/>
                  <a:gd name="connsiteY228" fmla="*/ 74204 h 81173"/>
                  <a:gd name="connsiteX229" fmla="*/ 62984 w 80747"/>
                  <a:gd name="connsiteY229" fmla="*/ 73911 h 81173"/>
                  <a:gd name="connsiteX230" fmla="*/ 63804 w 80747"/>
                  <a:gd name="connsiteY230" fmla="*/ 73677 h 81173"/>
                  <a:gd name="connsiteX231" fmla="*/ 64097 w 80747"/>
                  <a:gd name="connsiteY231" fmla="*/ 73501 h 81173"/>
                  <a:gd name="connsiteX232" fmla="*/ 64858 w 80747"/>
                  <a:gd name="connsiteY232" fmla="*/ 72623 h 81173"/>
                  <a:gd name="connsiteX233" fmla="*/ 65210 w 80747"/>
                  <a:gd name="connsiteY233" fmla="*/ 72330 h 81173"/>
                  <a:gd name="connsiteX234" fmla="*/ 65854 w 80747"/>
                  <a:gd name="connsiteY234" fmla="*/ 72096 h 81173"/>
                  <a:gd name="connsiteX235" fmla="*/ 66323 w 80747"/>
                  <a:gd name="connsiteY235" fmla="*/ 71803 h 81173"/>
                  <a:gd name="connsiteX236" fmla="*/ 67026 w 80747"/>
                  <a:gd name="connsiteY236" fmla="*/ 70866 h 81173"/>
                  <a:gd name="connsiteX237" fmla="*/ 67377 w 80747"/>
                  <a:gd name="connsiteY237" fmla="*/ 70514 h 81173"/>
                  <a:gd name="connsiteX238" fmla="*/ 67846 w 80747"/>
                  <a:gd name="connsiteY238" fmla="*/ 70339 h 81173"/>
                  <a:gd name="connsiteX239" fmla="*/ 68432 w 80747"/>
                  <a:gd name="connsiteY239" fmla="*/ 69929 h 81173"/>
                  <a:gd name="connsiteX240" fmla="*/ 69076 w 80747"/>
                  <a:gd name="connsiteY240" fmla="*/ 68933 h 81173"/>
                  <a:gd name="connsiteX241" fmla="*/ 69427 w 80747"/>
                  <a:gd name="connsiteY241" fmla="*/ 68582 h 81173"/>
                  <a:gd name="connsiteX242" fmla="*/ 69720 w 80747"/>
                  <a:gd name="connsiteY242" fmla="*/ 68465 h 81173"/>
                  <a:gd name="connsiteX243" fmla="*/ 70423 w 80747"/>
                  <a:gd name="connsiteY243" fmla="*/ 67937 h 81173"/>
                  <a:gd name="connsiteX244" fmla="*/ 71009 w 80747"/>
                  <a:gd name="connsiteY244" fmla="*/ 66883 h 81173"/>
                  <a:gd name="connsiteX245" fmla="*/ 71302 w 80747"/>
                  <a:gd name="connsiteY245" fmla="*/ 66532 h 81173"/>
                  <a:gd name="connsiteX246" fmla="*/ 71419 w 80747"/>
                  <a:gd name="connsiteY246" fmla="*/ 66473 h 81173"/>
                  <a:gd name="connsiteX247" fmla="*/ 72239 w 80747"/>
                  <a:gd name="connsiteY247" fmla="*/ 65771 h 81173"/>
                  <a:gd name="connsiteX248" fmla="*/ 72708 w 80747"/>
                  <a:gd name="connsiteY248" fmla="*/ 64716 h 81173"/>
                  <a:gd name="connsiteX249" fmla="*/ 73000 w 80747"/>
                  <a:gd name="connsiteY249" fmla="*/ 64306 h 81173"/>
                  <a:gd name="connsiteX250" fmla="*/ 73879 w 80747"/>
                  <a:gd name="connsiteY250" fmla="*/ 63486 h 81173"/>
                  <a:gd name="connsiteX251" fmla="*/ 74289 w 80747"/>
                  <a:gd name="connsiteY251" fmla="*/ 62374 h 81173"/>
                  <a:gd name="connsiteX252" fmla="*/ 74523 w 80747"/>
                  <a:gd name="connsiteY252" fmla="*/ 61964 h 81173"/>
                  <a:gd name="connsiteX253" fmla="*/ 75343 w 80747"/>
                  <a:gd name="connsiteY253" fmla="*/ 61085 h 81173"/>
                  <a:gd name="connsiteX254" fmla="*/ 75695 w 80747"/>
                  <a:gd name="connsiteY254" fmla="*/ 59914 h 81173"/>
                  <a:gd name="connsiteX255" fmla="*/ 75929 w 80747"/>
                  <a:gd name="connsiteY255" fmla="*/ 59504 h 81173"/>
                  <a:gd name="connsiteX256" fmla="*/ 76691 w 80747"/>
                  <a:gd name="connsiteY256" fmla="*/ 58567 h 81173"/>
                  <a:gd name="connsiteX257" fmla="*/ 76925 w 80747"/>
                  <a:gd name="connsiteY257" fmla="*/ 57395 h 81173"/>
                  <a:gd name="connsiteX258" fmla="*/ 77101 w 80747"/>
                  <a:gd name="connsiteY258" fmla="*/ 56985 h 81173"/>
                  <a:gd name="connsiteX259" fmla="*/ 77804 w 80747"/>
                  <a:gd name="connsiteY259" fmla="*/ 55990 h 81173"/>
                  <a:gd name="connsiteX260" fmla="*/ 77979 w 80747"/>
                  <a:gd name="connsiteY260" fmla="*/ 54818 h 81173"/>
                  <a:gd name="connsiteX261" fmla="*/ 78155 w 80747"/>
                  <a:gd name="connsiteY261" fmla="*/ 54409 h 81173"/>
                  <a:gd name="connsiteX262" fmla="*/ 78799 w 80747"/>
                  <a:gd name="connsiteY262" fmla="*/ 53354 h 81173"/>
                  <a:gd name="connsiteX263" fmla="*/ 78858 w 80747"/>
                  <a:gd name="connsiteY263" fmla="*/ 52124 h 81173"/>
                  <a:gd name="connsiteX264" fmla="*/ 78975 w 80747"/>
                  <a:gd name="connsiteY264" fmla="*/ 51714 h 81173"/>
                  <a:gd name="connsiteX265" fmla="*/ 79561 w 80747"/>
                  <a:gd name="connsiteY265" fmla="*/ 50660 h 81173"/>
                  <a:gd name="connsiteX266" fmla="*/ 79561 w 80747"/>
                  <a:gd name="connsiteY266" fmla="*/ 49430 h 81173"/>
                  <a:gd name="connsiteX267" fmla="*/ 79678 w 80747"/>
                  <a:gd name="connsiteY267" fmla="*/ 49020 h 81173"/>
                  <a:gd name="connsiteX268" fmla="*/ 80205 w 80747"/>
                  <a:gd name="connsiteY268" fmla="*/ 47908 h 81173"/>
                  <a:gd name="connsiteX269" fmla="*/ 80088 w 80747"/>
                  <a:gd name="connsiteY269" fmla="*/ 46678 h 81173"/>
                  <a:gd name="connsiteX270" fmla="*/ 80147 w 80747"/>
                  <a:gd name="connsiteY270" fmla="*/ 46268 h 81173"/>
                  <a:gd name="connsiteX271" fmla="*/ 80557 w 80747"/>
                  <a:gd name="connsiteY271" fmla="*/ 45096 h 81173"/>
                  <a:gd name="connsiteX272" fmla="*/ 80381 w 80747"/>
                  <a:gd name="connsiteY272" fmla="*/ 43867 h 81173"/>
                  <a:gd name="connsiteX273" fmla="*/ 80381 w 80747"/>
                  <a:gd name="connsiteY273" fmla="*/ 43457 h 81173"/>
                  <a:gd name="connsiteX274" fmla="*/ 80732 w 80747"/>
                  <a:gd name="connsiteY274" fmla="*/ 42285 h 81173"/>
                  <a:gd name="connsiteX275" fmla="*/ 80498 w 80747"/>
                  <a:gd name="connsiteY275" fmla="*/ 41114 h 81173"/>
                  <a:gd name="connsiteX276" fmla="*/ 80498 w 80747"/>
                  <a:gd name="connsiteY276" fmla="*/ 40704 h 81173"/>
                  <a:gd name="connsiteX277" fmla="*/ 80732 w 80747"/>
                  <a:gd name="connsiteY277" fmla="*/ 39474 h 81173"/>
                  <a:gd name="connsiteX278" fmla="*/ 80381 w 80747"/>
                  <a:gd name="connsiteY278" fmla="*/ 38303 h 81173"/>
                  <a:gd name="connsiteX279" fmla="*/ 80322 w 80747"/>
                  <a:gd name="connsiteY279" fmla="*/ 37834 h 81173"/>
                  <a:gd name="connsiteX280" fmla="*/ 80498 w 80747"/>
                  <a:gd name="connsiteY280" fmla="*/ 36604 h 81173"/>
                  <a:gd name="connsiteX281" fmla="*/ 80088 w 80747"/>
                  <a:gd name="connsiteY281" fmla="*/ 35433 h 81173"/>
                  <a:gd name="connsiteX282" fmla="*/ 80030 w 80747"/>
                  <a:gd name="connsiteY282" fmla="*/ 34964 h 81173"/>
                  <a:gd name="connsiteX283" fmla="*/ 80147 w 80747"/>
                  <a:gd name="connsiteY283" fmla="*/ 33734 h 81173"/>
                  <a:gd name="connsiteX284" fmla="*/ 79620 w 80747"/>
                  <a:gd name="connsiteY284" fmla="*/ 32622 h 81173"/>
                  <a:gd name="connsiteX285" fmla="*/ 79502 w 80747"/>
                  <a:gd name="connsiteY285" fmla="*/ 32212 h 81173"/>
                  <a:gd name="connsiteX286" fmla="*/ 79502 w 80747"/>
                  <a:gd name="connsiteY286" fmla="*/ 30982 h 81173"/>
                  <a:gd name="connsiteX287" fmla="*/ 78917 w 80747"/>
                  <a:gd name="connsiteY287" fmla="*/ 29869 h 81173"/>
                  <a:gd name="connsiteX288" fmla="*/ 78799 w 80747"/>
                  <a:gd name="connsiteY288" fmla="*/ 29459 h 81173"/>
                  <a:gd name="connsiteX289" fmla="*/ 78741 w 80747"/>
                  <a:gd name="connsiteY289" fmla="*/ 28229 h 81173"/>
                  <a:gd name="connsiteX290" fmla="*/ 78097 w 80747"/>
                  <a:gd name="connsiteY290" fmla="*/ 27175 h 81173"/>
                  <a:gd name="connsiteX291" fmla="*/ 77979 w 80747"/>
                  <a:gd name="connsiteY291" fmla="*/ 26824 h 81173"/>
                  <a:gd name="connsiteX292" fmla="*/ 77804 w 80747"/>
                  <a:gd name="connsiteY292" fmla="*/ 25594 h 81173"/>
                  <a:gd name="connsiteX293" fmla="*/ 77042 w 80747"/>
                  <a:gd name="connsiteY293" fmla="*/ 24598 h 81173"/>
                  <a:gd name="connsiteX294" fmla="*/ 76866 w 80747"/>
                  <a:gd name="connsiteY294" fmla="*/ 24247 h 81173"/>
                  <a:gd name="connsiteX295" fmla="*/ 76456 w 80747"/>
                  <a:gd name="connsiteY295" fmla="*/ 23075 h 811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</a:cxnLst>
                <a:rect l="l" t="t" r="r" b="b"/>
                <a:pathLst>
                  <a:path w="80747" h="81173">
                    <a:moveTo>
                      <a:pt x="76456" y="23075"/>
                    </a:moveTo>
                    <a:cubicBezTo>
                      <a:pt x="76281" y="22665"/>
                      <a:pt x="75988" y="22373"/>
                      <a:pt x="75636" y="22138"/>
                    </a:cubicBezTo>
                    <a:cubicBezTo>
                      <a:pt x="75636" y="22080"/>
                      <a:pt x="75578" y="22021"/>
                      <a:pt x="75578" y="21963"/>
                    </a:cubicBezTo>
                    <a:cubicBezTo>
                      <a:pt x="75578" y="21904"/>
                      <a:pt x="75519" y="21845"/>
                      <a:pt x="75461" y="21787"/>
                    </a:cubicBezTo>
                    <a:cubicBezTo>
                      <a:pt x="75461" y="21377"/>
                      <a:pt x="75343" y="20967"/>
                      <a:pt x="75109" y="20557"/>
                    </a:cubicBezTo>
                    <a:cubicBezTo>
                      <a:pt x="74875" y="20206"/>
                      <a:pt x="74582" y="19854"/>
                      <a:pt x="74231" y="19678"/>
                    </a:cubicBezTo>
                    <a:cubicBezTo>
                      <a:pt x="74172" y="19561"/>
                      <a:pt x="74113" y="19444"/>
                      <a:pt x="74055" y="19327"/>
                    </a:cubicBezTo>
                    <a:cubicBezTo>
                      <a:pt x="73996" y="18917"/>
                      <a:pt x="73879" y="18507"/>
                      <a:pt x="73645" y="18156"/>
                    </a:cubicBezTo>
                    <a:cubicBezTo>
                      <a:pt x="73411" y="17804"/>
                      <a:pt x="73059" y="17511"/>
                      <a:pt x="72708" y="17336"/>
                    </a:cubicBezTo>
                    <a:cubicBezTo>
                      <a:pt x="72649" y="17219"/>
                      <a:pt x="72532" y="17102"/>
                      <a:pt x="72473" y="16984"/>
                    </a:cubicBezTo>
                    <a:cubicBezTo>
                      <a:pt x="72415" y="16574"/>
                      <a:pt x="72239" y="16164"/>
                      <a:pt x="72005" y="15813"/>
                    </a:cubicBezTo>
                    <a:cubicBezTo>
                      <a:pt x="71770" y="15462"/>
                      <a:pt x="71419" y="15227"/>
                      <a:pt x="71068" y="15052"/>
                    </a:cubicBezTo>
                    <a:cubicBezTo>
                      <a:pt x="70950" y="14935"/>
                      <a:pt x="70892" y="14817"/>
                      <a:pt x="70775" y="14700"/>
                    </a:cubicBezTo>
                    <a:cubicBezTo>
                      <a:pt x="70657" y="14290"/>
                      <a:pt x="70482" y="13939"/>
                      <a:pt x="70189" y="13588"/>
                    </a:cubicBezTo>
                    <a:cubicBezTo>
                      <a:pt x="69896" y="13295"/>
                      <a:pt x="69544" y="13060"/>
                      <a:pt x="69193" y="12885"/>
                    </a:cubicBezTo>
                    <a:cubicBezTo>
                      <a:pt x="69076" y="12768"/>
                      <a:pt x="69017" y="12650"/>
                      <a:pt x="68900" y="12592"/>
                    </a:cubicBezTo>
                    <a:cubicBezTo>
                      <a:pt x="68783" y="12182"/>
                      <a:pt x="68549" y="11831"/>
                      <a:pt x="68256" y="11538"/>
                    </a:cubicBezTo>
                    <a:cubicBezTo>
                      <a:pt x="67963" y="11245"/>
                      <a:pt x="67612" y="11069"/>
                      <a:pt x="67201" y="10952"/>
                    </a:cubicBezTo>
                    <a:cubicBezTo>
                      <a:pt x="67084" y="10835"/>
                      <a:pt x="66967" y="10776"/>
                      <a:pt x="66850" y="10659"/>
                    </a:cubicBezTo>
                    <a:cubicBezTo>
                      <a:pt x="66674" y="10249"/>
                      <a:pt x="66440" y="9956"/>
                      <a:pt x="66147" y="9664"/>
                    </a:cubicBezTo>
                    <a:cubicBezTo>
                      <a:pt x="65854" y="9371"/>
                      <a:pt x="65444" y="9195"/>
                      <a:pt x="65034" y="9136"/>
                    </a:cubicBezTo>
                    <a:cubicBezTo>
                      <a:pt x="64917" y="9019"/>
                      <a:pt x="64800" y="8961"/>
                      <a:pt x="64683" y="8844"/>
                    </a:cubicBezTo>
                    <a:cubicBezTo>
                      <a:pt x="64507" y="8492"/>
                      <a:pt x="64214" y="8141"/>
                      <a:pt x="63921" y="7907"/>
                    </a:cubicBezTo>
                    <a:cubicBezTo>
                      <a:pt x="63570" y="7672"/>
                      <a:pt x="63160" y="7497"/>
                      <a:pt x="62808" y="7438"/>
                    </a:cubicBezTo>
                    <a:cubicBezTo>
                      <a:pt x="62691" y="7379"/>
                      <a:pt x="62574" y="7262"/>
                      <a:pt x="62457" y="7204"/>
                    </a:cubicBezTo>
                    <a:cubicBezTo>
                      <a:pt x="62223" y="6852"/>
                      <a:pt x="61988" y="6560"/>
                      <a:pt x="61637" y="6325"/>
                    </a:cubicBezTo>
                    <a:cubicBezTo>
                      <a:pt x="61285" y="6091"/>
                      <a:pt x="60875" y="5974"/>
                      <a:pt x="60465" y="5915"/>
                    </a:cubicBezTo>
                    <a:cubicBezTo>
                      <a:pt x="60348" y="5857"/>
                      <a:pt x="60231" y="5798"/>
                      <a:pt x="60114" y="5681"/>
                    </a:cubicBezTo>
                    <a:cubicBezTo>
                      <a:pt x="59879" y="5330"/>
                      <a:pt x="59587" y="5037"/>
                      <a:pt x="59235" y="4861"/>
                    </a:cubicBezTo>
                    <a:cubicBezTo>
                      <a:pt x="58884" y="4685"/>
                      <a:pt x="58474" y="4568"/>
                      <a:pt x="58064" y="4568"/>
                    </a:cubicBezTo>
                    <a:cubicBezTo>
                      <a:pt x="57947" y="4510"/>
                      <a:pt x="57829" y="4451"/>
                      <a:pt x="57654" y="4393"/>
                    </a:cubicBezTo>
                    <a:cubicBezTo>
                      <a:pt x="57419" y="4041"/>
                      <a:pt x="57068" y="3807"/>
                      <a:pt x="56716" y="3631"/>
                    </a:cubicBezTo>
                    <a:cubicBezTo>
                      <a:pt x="56306" y="3455"/>
                      <a:pt x="55896" y="3397"/>
                      <a:pt x="55486" y="3397"/>
                    </a:cubicBezTo>
                    <a:cubicBezTo>
                      <a:pt x="55369" y="3338"/>
                      <a:pt x="55252" y="3280"/>
                      <a:pt x="55076" y="3221"/>
                    </a:cubicBezTo>
                    <a:cubicBezTo>
                      <a:pt x="54783" y="2928"/>
                      <a:pt x="54432" y="2694"/>
                      <a:pt x="54081" y="2518"/>
                    </a:cubicBezTo>
                    <a:cubicBezTo>
                      <a:pt x="53670" y="2401"/>
                      <a:pt x="53260" y="2343"/>
                      <a:pt x="52850" y="2401"/>
                    </a:cubicBezTo>
                    <a:cubicBezTo>
                      <a:pt x="52733" y="2343"/>
                      <a:pt x="52558" y="2284"/>
                      <a:pt x="52440" y="2284"/>
                    </a:cubicBezTo>
                    <a:cubicBezTo>
                      <a:pt x="52148" y="1991"/>
                      <a:pt x="51796" y="1757"/>
                      <a:pt x="51386" y="1640"/>
                    </a:cubicBezTo>
                    <a:cubicBezTo>
                      <a:pt x="50976" y="1523"/>
                      <a:pt x="50566" y="1523"/>
                      <a:pt x="50156" y="1581"/>
                    </a:cubicBezTo>
                    <a:cubicBezTo>
                      <a:pt x="50039" y="1523"/>
                      <a:pt x="49863" y="1523"/>
                      <a:pt x="49746" y="1464"/>
                    </a:cubicBezTo>
                    <a:cubicBezTo>
                      <a:pt x="49453" y="1171"/>
                      <a:pt x="49043" y="996"/>
                      <a:pt x="48633" y="937"/>
                    </a:cubicBezTo>
                    <a:cubicBezTo>
                      <a:pt x="48223" y="879"/>
                      <a:pt x="47813" y="879"/>
                      <a:pt x="47461" y="996"/>
                    </a:cubicBezTo>
                    <a:cubicBezTo>
                      <a:pt x="47286" y="996"/>
                      <a:pt x="47169" y="937"/>
                      <a:pt x="46993" y="937"/>
                    </a:cubicBezTo>
                    <a:cubicBezTo>
                      <a:pt x="46641" y="703"/>
                      <a:pt x="46290" y="527"/>
                      <a:pt x="45880" y="469"/>
                    </a:cubicBezTo>
                    <a:cubicBezTo>
                      <a:pt x="45470" y="410"/>
                      <a:pt x="45060" y="469"/>
                      <a:pt x="44708" y="586"/>
                    </a:cubicBezTo>
                    <a:cubicBezTo>
                      <a:pt x="44533" y="586"/>
                      <a:pt x="44416" y="527"/>
                      <a:pt x="44240" y="527"/>
                    </a:cubicBezTo>
                    <a:cubicBezTo>
                      <a:pt x="43888" y="293"/>
                      <a:pt x="43537" y="176"/>
                      <a:pt x="43127" y="117"/>
                    </a:cubicBezTo>
                    <a:cubicBezTo>
                      <a:pt x="42717" y="59"/>
                      <a:pt x="42307" y="176"/>
                      <a:pt x="41955" y="293"/>
                    </a:cubicBezTo>
                    <a:cubicBezTo>
                      <a:pt x="41780" y="293"/>
                      <a:pt x="41662" y="293"/>
                      <a:pt x="41487" y="293"/>
                    </a:cubicBezTo>
                    <a:cubicBezTo>
                      <a:pt x="41135" y="117"/>
                      <a:pt x="40725" y="0"/>
                      <a:pt x="40315" y="0"/>
                    </a:cubicBezTo>
                    <a:cubicBezTo>
                      <a:pt x="39905" y="0"/>
                      <a:pt x="39495" y="117"/>
                      <a:pt x="39144" y="293"/>
                    </a:cubicBezTo>
                    <a:cubicBezTo>
                      <a:pt x="38968" y="293"/>
                      <a:pt x="38792" y="293"/>
                      <a:pt x="38675" y="293"/>
                    </a:cubicBezTo>
                    <a:cubicBezTo>
                      <a:pt x="38324" y="117"/>
                      <a:pt x="37914" y="59"/>
                      <a:pt x="37504" y="59"/>
                    </a:cubicBezTo>
                    <a:cubicBezTo>
                      <a:pt x="37152" y="59"/>
                      <a:pt x="36801" y="176"/>
                      <a:pt x="36508" y="351"/>
                    </a:cubicBezTo>
                    <a:cubicBezTo>
                      <a:pt x="36449" y="351"/>
                      <a:pt x="36449" y="410"/>
                      <a:pt x="36391" y="410"/>
                    </a:cubicBezTo>
                    <a:cubicBezTo>
                      <a:pt x="36215" y="410"/>
                      <a:pt x="36039" y="410"/>
                      <a:pt x="35922" y="469"/>
                    </a:cubicBezTo>
                    <a:cubicBezTo>
                      <a:pt x="35571" y="351"/>
                      <a:pt x="35161" y="293"/>
                      <a:pt x="34751" y="351"/>
                    </a:cubicBezTo>
                    <a:cubicBezTo>
                      <a:pt x="34458" y="410"/>
                      <a:pt x="34165" y="469"/>
                      <a:pt x="33931" y="644"/>
                    </a:cubicBezTo>
                    <a:cubicBezTo>
                      <a:pt x="33813" y="703"/>
                      <a:pt x="33755" y="761"/>
                      <a:pt x="33696" y="820"/>
                    </a:cubicBezTo>
                    <a:cubicBezTo>
                      <a:pt x="33520" y="820"/>
                      <a:pt x="33345" y="879"/>
                      <a:pt x="33228" y="879"/>
                    </a:cubicBezTo>
                    <a:cubicBezTo>
                      <a:pt x="32818" y="761"/>
                      <a:pt x="32466" y="761"/>
                      <a:pt x="32056" y="820"/>
                    </a:cubicBezTo>
                    <a:cubicBezTo>
                      <a:pt x="31822" y="879"/>
                      <a:pt x="31588" y="937"/>
                      <a:pt x="31412" y="1054"/>
                    </a:cubicBezTo>
                    <a:cubicBezTo>
                      <a:pt x="31295" y="1113"/>
                      <a:pt x="31119" y="1230"/>
                      <a:pt x="31002" y="1347"/>
                    </a:cubicBezTo>
                    <a:cubicBezTo>
                      <a:pt x="30826" y="1406"/>
                      <a:pt x="30650" y="1406"/>
                      <a:pt x="30533" y="1464"/>
                    </a:cubicBezTo>
                    <a:cubicBezTo>
                      <a:pt x="30123" y="1406"/>
                      <a:pt x="29713" y="1406"/>
                      <a:pt x="29362" y="1523"/>
                    </a:cubicBezTo>
                    <a:cubicBezTo>
                      <a:pt x="29186" y="1581"/>
                      <a:pt x="29010" y="1640"/>
                      <a:pt x="28893" y="1698"/>
                    </a:cubicBezTo>
                    <a:cubicBezTo>
                      <a:pt x="28717" y="1816"/>
                      <a:pt x="28483" y="1933"/>
                      <a:pt x="28366" y="2108"/>
                    </a:cubicBezTo>
                    <a:cubicBezTo>
                      <a:pt x="28190" y="2167"/>
                      <a:pt x="28073" y="2226"/>
                      <a:pt x="27897" y="2284"/>
                    </a:cubicBezTo>
                    <a:cubicBezTo>
                      <a:pt x="27487" y="2226"/>
                      <a:pt x="27077" y="2284"/>
                      <a:pt x="26726" y="2401"/>
                    </a:cubicBezTo>
                    <a:cubicBezTo>
                      <a:pt x="26316" y="2518"/>
                      <a:pt x="26023" y="2753"/>
                      <a:pt x="25730" y="3046"/>
                    </a:cubicBezTo>
                    <a:cubicBezTo>
                      <a:pt x="25554" y="3104"/>
                      <a:pt x="25437" y="3163"/>
                      <a:pt x="25261" y="3221"/>
                    </a:cubicBezTo>
                    <a:cubicBezTo>
                      <a:pt x="24851" y="3221"/>
                      <a:pt x="24441" y="3280"/>
                      <a:pt x="24090" y="3397"/>
                    </a:cubicBezTo>
                    <a:cubicBezTo>
                      <a:pt x="23738" y="3573"/>
                      <a:pt x="23387" y="3807"/>
                      <a:pt x="23153" y="4100"/>
                    </a:cubicBezTo>
                    <a:cubicBezTo>
                      <a:pt x="23035" y="4158"/>
                      <a:pt x="22860" y="4217"/>
                      <a:pt x="22743" y="4334"/>
                    </a:cubicBezTo>
                    <a:cubicBezTo>
                      <a:pt x="22333" y="4334"/>
                      <a:pt x="21923" y="4451"/>
                      <a:pt x="21571" y="4627"/>
                    </a:cubicBezTo>
                    <a:cubicBezTo>
                      <a:pt x="21220" y="4803"/>
                      <a:pt x="20927" y="5095"/>
                      <a:pt x="20692" y="5447"/>
                    </a:cubicBezTo>
                    <a:cubicBezTo>
                      <a:pt x="20575" y="5505"/>
                      <a:pt x="20400" y="5622"/>
                      <a:pt x="20282" y="5681"/>
                    </a:cubicBezTo>
                    <a:cubicBezTo>
                      <a:pt x="19931" y="5681"/>
                      <a:pt x="19638" y="5798"/>
                      <a:pt x="19287" y="5974"/>
                    </a:cubicBezTo>
                    <a:cubicBezTo>
                      <a:pt x="19228" y="6032"/>
                      <a:pt x="19169" y="6032"/>
                      <a:pt x="19111" y="6091"/>
                    </a:cubicBezTo>
                    <a:cubicBezTo>
                      <a:pt x="18759" y="6325"/>
                      <a:pt x="18467" y="6618"/>
                      <a:pt x="18291" y="6969"/>
                    </a:cubicBezTo>
                    <a:cubicBezTo>
                      <a:pt x="18174" y="7087"/>
                      <a:pt x="17998" y="7145"/>
                      <a:pt x="17881" y="7262"/>
                    </a:cubicBezTo>
                    <a:cubicBezTo>
                      <a:pt x="17588" y="7321"/>
                      <a:pt x="17354" y="7379"/>
                      <a:pt x="17061" y="7497"/>
                    </a:cubicBezTo>
                    <a:cubicBezTo>
                      <a:pt x="16944" y="7555"/>
                      <a:pt x="16826" y="7614"/>
                      <a:pt x="16768" y="7672"/>
                    </a:cubicBezTo>
                    <a:cubicBezTo>
                      <a:pt x="16416" y="7907"/>
                      <a:pt x="16182" y="8199"/>
                      <a:pt x="16006" y="8551"/>
                    </a:cubicBezTo>
                    <a:cubicBezTo>
                      <a:pt x="15889" y="8668"/>
                      <a:pt x="15772" y="8726"/>
                      <a:pt x="15596" y="8844"/>
                    </a:cubicBezTo>
                    <a:cubicBezTo>
                      <a:pt x="15362" y="8902"/>
                      <a:pt x="15186" y="8961"/>
                      <a:pt x="14952" y="9078"/>
                    </a:cubicBezTo>
                    <a:cubicBezTo>
                      <a:pt x="14776" y="9136"/>
                      <a:pt x="14659" y="9254"/>
                      <a:pt x="14483" y="9371"/>
                    </a:cubicBezTo>
                    <a:cubicBezTo>
                      <a:pt x="14191" y="9605"/>
                      <a:pt x="13956" y="9956"/>
                      <a:pt x="13781" y="10308"/>
                    </a:cubicBezTo>
                    <a:cubicBezTo>
                      <a:pt x="13663" y="10425"/>
                      <a:pt x="13546" y="10542"/>
                      <a:pt x="13429" y="10659"/>
                    </a:cubicBezTo>
                    <a:cubicBezTo>
                      <a:pt x="13253" y="10718"/>
                      <a:pt x="13136" y="10776"/>
                      <a:pt x="12960" y="10835"/>
                    </a:cubicBezTo>
                    <a:cubicBezTo>
                      <a:pt x="12726" y="10952"/>
                      <a:pt x="12550" y="11069"/>
                      <a:pt x="12375" y="11245"/>
                    </a:cubicBezTo>
                    <a:cubicBezTo>
                      <a:pt x="12082" y="11538"/>
                      <a:pt x="11847" y="11889"/>
                      <a:pt x="11730" y="12240"/>
                    </a:cubicBezTo>
                    <a:cubicBezTo>
                      <a:pt x="11613" y="12358"/>
                      <a:pt x="11496" y="12475"/>
                      <a:pt x="11379" y="12592"/>
                    </a:cubicBezTo>
                    <a:cubicBezTo>
                      <a:pt x="11262" y="12650"/>
                      <a:pt x="11203" y="12650"/>
                      <a:pt x="11086" y="12709"/>
                    </a:cubicBezTo>
                    <a:cubicBezTo>
                      <a:pt x="10793" y="12826"/>
                      <a:pt x="10559" y="13060"/>
                      <a:pt x="10383" y="13236"/>
                    </a:cubicBezTo>
                    <a:cubicBezTo>
                      <a:pt x="10090" y="13529"/>
                      <a:pt x="9915" y="13880"/>
                      <a:pt x="9797" y="14290"/>
                    </a:cubicBezTo>
                    <a:cubicBezTo>
                      <a:pt x="9680" y="14407"/>
                      <a:pt x="9563" y="14525"/>
                      <a:pt x="9504" y="14642"/>
                    </a:cubicBezTo>
                    <a:cubicBezTo>
                      <a:pt x="9446" y="14642"/>
                      <a:pt x="9446" y="14700"/>
                      <a:pt x="9387" y="14700"/>
                    </a:cubicBezTo>
                    <a:cubicBezTo>
                      <a:pt x="9036" y="14876"/>
                      <a:pt x="8802" y="15110"/>
                      <a:pt x="8567" y="15403"/>
                    </a:cubicBezTo>
                    <a:cubicBezTo>
                      <a:pt x="8333" y="15696"/>
                      <a:pt x="8157" y="16106"/>
                      <a:pt x="8099" y="16457"/>
                    </a:cubicBezTo>
                    <a:cubicBezTo>
                      <a:pt x="7982" y="16574"/>
                      <a:pt x="7923" y="16750"/>
                      <a:pt x="7806" y="16867"/>
                    </a:cubicBezTo>
                    <a:cubicBezTo>
                      <a:pt x="7454" y="17043"/>
                      <a:pt x="7161" y="17336"/>
                      <a:pt x="6927" y="17687"/>
                    </a:cubicBezTo>
                    <a:cubicBezTo>
                      <a:pt x="6693" y="18039"/>
                      <a:pt x="6576" y="18390"/>
                      <a:pt x="6517" y="18800"/>
                    </a:cubicBezTo>
                    <a:cubicBezTo>
                      <a:pt x="6459" y="18917"/>
                      <a:pt x="6341" y="19093"/>
                      <a:pt x="6283" y="19210"/>
                    </a:cubicBezTo>
                    <a:cubicBezTo>
                      <a:pt x="5931" y="19444"/>
                      <a:pt x="5638" y="19737"/>
                      <a:pt x="5463" y="20088"/>
                    </a:cubicBezTo>
                    <a:cubicBezTo>
                      <a:pt x="5228" y="20440"/>
                      <a:pt x="5170" y="20850"/>
                      <a:pt x="5111" y="21260"/>
                    </a:cubicBezTo>
                    <a:cubicBezTo>
                      <a:pt x="5053" y="21377"/>
                      <a:pt x="4936" y="21553"/>
                      <a:pt x="4877" y="21670"/>
                    </a:cubicBezTo>
                    <a:cubicBezTo>
                      <a:pt x="4526" y="21904"/>
                      <a:pt x="4291" y="22197"/>
                      <a:pt x="4116" y="22607"/>
                    </a:cubicBezTo>
                    <a:cubicBezTo>
                      <a:pt x="3940" y="22958"/>
                      <a:pt x="3881" y="23368"/>
                      <a:pt x="3881" y="23778"/>
                    </a:cubicBezTo>
                    <a:cubicBezTo>
                      <a:pt x="3823" y="23895"/>
                      <a:pt x="3764" y="24071"/>
                      <a:pt x="3706" y="24188"/>
                    </a:cubicBezTo>
                    <a:cubicBezTo>
                      <a:pt x="3413" y="24481"/>
                      <a:pt x="3120" y="24774"/>
                      <a:pt x="3003" y="25184"/>
                    </a:cubicBezTo>
                    <a:cubicBezTo>
                      <a:pt x="2827" y="25594"/>
                      <a:pt x="2768" y="26004"/>
                      <a:pt x="2827" y="26414"/>
                    </a:cubicBezTo>
                    <a:cubicBezTo>
                      <a:pt x="2768" y="26531"/>
                      <a:pt x="2710" y="26706"/>
                      <a:pt x="2651" y="26824"/>
                    </a:cubicBezTo>
                    <a:cubicBezTo>
                      <a:pt x="2358" y="27116"/>
                      <a:pt x="2124" y="27468"/>
                      <a:pt x="2007" y="27878"/>
                    </a:cubicBezTo>
                    <a:cubicBezTo>
                      <a:pt x="1890" y="28288"/>
                      <a:pt x="1831" y="28698"/>
                      <a:pt x="1948" y="29108"/>
                    </a:cubicBezTo>
                    <a:cubicBezTo>
                      <a:pt x="1890" y="29225"/>
                      <a:pt x="1890" y="29401"/>
                      <a:pt x="1831" y="29518"/>
                    </a:cubicBezTo>
                    <a:cubicBezTo>
                      <a:pt x="1538" y="29810"/>
                      <a:pt x="1363" y="30162"/>
                      <a:pt x="1245" y="30572"/>
                    </a:cubicBezTo>
                    <a:cubicBezTo>
                      <a:pt x="1128" y="30982"/>
                      <a:pt x="1128" y="31392"/>
                      <a:pt x="1245" y="31802"/>
                    </a:cubicBezTo>
                    <a:cubicBezTo>
                      <a:pt x="1245" y="31919"/>
                      <a:pt x="1187" y="32095"/>
                      <a:pt x="1128" y="32212"/>
                    </a:cubicBezTo>
                    <a:cubicBezTo>
                      <a:pt x="894" y="32563"/>
                      <a:pt x="718" y="32915"/>
                      <a:pt x="601" y="33325"/>
                    </a:cubicBezTo>
                    <a:cubicBezTo>
                      <a:pt x="542" y="33734"/>
                      <a:pt x="542" y="34144"/>
                      <a:pt x="718" y="34554"/>
                    </a:cubicBezTo>
                    <a:cubicBezTo>
                      <a:pt x="718" y="34672"/>
                      <a:pt x="660" y="34847"/>
                      <a:pt x="660" y="34964"/>
                    </a:cubicBezTo>
                    <a:cubicBezTo>
                      <a:pt x="425" y="35316"/>
                      <a:pt x="250" y="35726"/>
                      <a:pt x="250" y="36136"/>
                    </a:cubicBezTo>
                    <a:cubicBezTo>
                      <a:pt x="191" y="36546"/>
                      <a:pt x="250" y="36956"/>
                      <a:pt x="425" y="37366"/>
                    </a:cubicBezTo>
                    <a:cubicBezTo>
                      <a:pt x="425" y="37483"/>
                      <a:pt x="425" y="37658"/>
                      <a:pt x="367" y="37776"/>
                    </a:cubicBezTo>
                    <a:cubicBezTo>
                      <a:pt x="132" y="38127"/>
                      <a:pt x="15" y="38537"/>
                      <a:pt x="15" y="38947"/>
                    </a:cubicBezTo>
                    <a:cubicBezTo>
                      <a:pt x="15" y="39357"/>
                      <a:pt x="74" y="39767"/>
                      <a:pt x="250" y="40118"/>
                    </a:cubicBezTo>
                    <a:cubicBezTo>
                      <a:pt x="250" y="40235"/>
                      <a:pt x="250" y="40411"/>
                      <a:pt x="250" y="40528"/>
                    </a:cubicBezTo>
                    <a:cubicBezTo>
                      <a:pt x="74" y="40880"/>
                      <a:pt x="-43" y="41290"/>
                      <a:pt x="15" y="41758"/>
                    </a:cubicBezTo>
                    <a:cubicBezTo>
                      <a:pt x="15" y="42168"/>
                      <a:pt x="132" y="42578"/>
                      <a:pt x="367" y="42929"/>
                    </a:cubicBezTo>
                    <a:cubicBezTo>
                      <a:pt x="367" y="43105"/>
                      <a:pt x="367" y="43222"/>
                      <a:pt x="425" y="43398"/>
                    </a:cubicBezTo>
                    <a:cubicBezTo>
                      <a:pt x="250" y="43808"/>
                      <a:pt x="191" y="44218"/>
                      <a:pt x="250" y="44628"/>
                    </a:cubicBezTo>
                    <a:cubicBezTo>
                      <a:pt x="308" y="45038"/>
                      <a:pt x="425" y="45448"/>
                      <a:pt x="660" y="45799"/>
                    </a:cubicBezTo>
                    <a:cubicBezTo>
                      <a:pt x="660" y="45975"/>
                      <a:pt x="718" y="46092"/>
                      <a:pt x="718" y="46268"/>
                    </a:cubicBezTo>
                    <a:cubicBezTo>
                      <a:pt x="601" y="46678"/>
                      <a:pt x="542" y="47088"/>
                      <a:pt x="601" y="47498"/>
                    </a:cubicBezTo>
                    <a:cubicBezTo>
                      <a:pt x="660" y="47908"/>
                      <a:pt x="835" y="48318"/>
                      <a:pt x="1128" y="48610"/>
                    </a:cubicBezTo>
                    <a:cubicBezTo>
                      <a:pt x="1128" y="48728"/>
                      <a:pt x="1187" y="48903"/>
                      <a:pt x="1245" y="49020"/>
                    </a:cubicBezTo>
                    <a:cubicBezTo>
                      <a:pt x="1128" y="49430"/>
                      <a:pt x="1128" y="49840"/>
                      <a:pt x="1245" y="50250"/>
                    </a:cubicBezTo>
                    <a:cubicBezTo>
                      <a:pt x="1363" y="50660"/>
                      <a:pt x="1538" y="51012"/>
                      <a:pt x="1831" y="51363"/>
                    </a:cubicBezTo>
                    <a:cubicBezTo>
                      <a:pt x="1890" y="51480"/>
                      <a:pt x="1890" y="51656"/>
                      <a:pt x="1948" y="51773"/>
                    </a:cubicBezTo>
                    <a:cubicBezTo>
                      <a:pt x="1890" y="52183"/>
                      <a:pt x="1890" y="52593"/>
                      <a:pt x="2007" y="53003"/>
                    </a:cubicBezTo>
                    <a:cubicBezTo>
                      <a:pt x="2124" y="53413"/>
                      <a:pt x="2358" y="53764"/>
                      <a:pt x="2651" y="54057"/>
                    </a:cubicBezTo>
                    <a:cubicBezTo>
                      <a:pt x="2710" y="54174"/>
                      <a:pt x="2710" y="54291"/>
                      <a:pt x="2768" y="54409"/>
                    </a:cubicBezTo>
                    <a:cubicBezTo>
                      <a:pt x="2710" y="54818"/>
                      <a:pt x="2768" y="55228"/>
                      <a:pt x="2944" y="55638"/>
                    </a:cubicBezTo>
                    <a:cubicBezTo>
                      <a:pt x="3120" y="56048"/>
                      <a:pt x="3354" y="56341"/>
                      <a:pt x="3706" y="56634"/>
                    </a:cubicBezTo>
                    <a:cubicBezTo>
                      <a:pt x="3764" y="56751"/>
                      <a:pt x="3823" y="56868"/>
                      <a:pt x="3881" y="56985"/>
                    </a:cubicBezTo>
                    <a:cubicBezTo>
                      <a:pt x="3881" y="57395"/>
                      <a:pt x="3940" y="57805"/>
                      <a:pt x="4116" y="58215"/>
                    </a:cubicBezTo>
                    <a:cubicBezTo>
                      <a:pt x="4291" y="58625"/>
                      <a:pt x="4584" y="58918"/>
                      <a:pt x="4936" y="59152"/>
                    </a:cubicBezTo>
                    <a:cubicBezTo>
                      <a:pt x="4994" y="59211"/>
                      <a:pt x="4994" y="59270"/>
                      <a:pt x="4994" y="59328"/>
                    </a:cubicBezTo>
                    <a:cubicBezTo>
                      <a:pt x="5053" y="59387"/>
                      <a:pt x="5053" y="59445"/>
                      <a:pt x="5111" y="59504"/>
                    </a:cubicBezTo>
                    <a:cubicBezTo>
                      <a:pt x="5111" y="59914"/>
                      <a:pt x="5228" y="60324"/>
                      <a:pt x="5463" y="60734"/>
                    </a:cubicBezTo>
                    <a:cubicBezTo>
                      <a:pt x="5697" y="61085"/>
                      <a:pt x="5990" y="61437"/>
                      <a:pt x="6341" y="61612"/>
                    </a:cubicBezTo>
                    <a:cubicBezTo>
                      <a:pt x="6400" y="61729"/>
                      <a:pt x="6459" y="61846"/>
                      <a:pt x="6576" y="61964"/>
                    </a:cubicBezTo>
                    <a:cubicBezTo>
                      <a:pt x="6634" y="62374"/>
                      <a:pt x="6751" y="62784"/>
                      <a:pt x="6986" y="63135"/>
                    </a:cubicBezTo>
                    <a:cubicBezTo>
                      <a:pt x="7220" y="63486"/>
                      <a:pt x="7572" y="63779"/>
                      <a:pt x="7923" y="63955"/>
                    </a:cubicBezTo>
                    <a:cubicBezTo>
                      <a:pt x="7982" y="64072"/>
                      <a:pt x="8099" y="64189"/>
                      <a:pt x="8157" y="64248"/>
                    </a:cubicBezTo>
                    <a:cubicBezTo>
                      <a:pt x="8216" y="64658"/>
                      <a:pt x="8392" y="65068"/>
                      <a:pt x="8626" y="65360"/>
                    </a:cubicBezTo>
                    <a:cubicBezTo>
                      <a:pt x="8860" y="65712"/>
                      <a:pt x="9212" y="65946"/>
                      <a:pt x="9563" y="66122"/>
                    </a:cubicBezTo>
                    <a:cubicBezTo>
                      <a:pt x="9680" y="66239"/>
                      <a:pt x="9739" y="66356"/>
                      <a:pt x="9856" y="66473"/>
                    </a:cubicBezTo>
                    <a:cubicBezTo>
                      <a:pt x="9973" y="66883"/>
                      <a:pt x="10149" y="67235"/>
                      <a:pt x="10442" y="67586"/>
                    </a:cubicBezTo>
                    <a:cubicBezTo>
                      <a:pt x="10735" y="67879"/>
                      <a:pt x="11086" y="68113"/>
                      <a:pt x="11437" y="68289"/>
                    </a:cubicBezTo>
                    <a:cubicBezTo>
                      <a:pt x="11555" y="68406"/>
                      <a:pt x="11613" y="68523"/>
                      <a:pt x="11730" y="68582"/>
                    </a:cubicBezTo>
                    <a:cubicBezTo>
                      <a:pt x="11847" y="68992"/>
                      <a:pt x="12082" y="69343"/>
                      <a:pt x="12375" y="69636"/>
                    </a:cubicBezTo>
                    <a:cubicBezTo>
                      <a:pt x="12668" y="69929"/>
                      <a:pt x="13019" y="70104"/>
                      <a:pt x="13429" y="70222"/>
                    </a:cubicBezTo>
                    <a:cubicBezTo>
                      <a:pt x="13546" y="70339"/>
                      <a:pt x="13663" y="70397"/>
                      <a:pt x="13781" y="70514"/>
                    </a:cubicBezTo>
                    <a:cubicBezTo>
                      <a:pt x="13956" y="70924"/>
                      <a:pt x="14191" y="71217"/>
                      <a:pt x="14483" y="71510"/>
                    </a:cubicBezTo>
                    <a:cubicBezTo>
                      <a:pt x="14835" y="71803"/>
                      <a:pt x="15186" y="71979"/>
                      <a:pt x="15596" y="72037"/>
                    </a:cubicBezTo>
                    <a:cubicBezTo>
                      <a:pt x="15714" y="72154"/>
                      <a:pt x="15831" y="72213"/>
                      <a:pt x="15948" y="72330"/>
                    </a:cubicBezTo>
                    <a:cubicBezTo>
                      <a:pt x="16124" y="72681"/>
                      <a:pt x="16416" y="73033"/>
                      <a:pt x="16709" y="73267"/>
                    </a:cubicBezTo>
                    <a:cubicBezTo>
                      <a:pt x="17061" y="73501"/>
                      <a:pt x="17471" y="73677"/>
                      <a:pt x="17881" y="73736"/>
                    </a:cubicBezTo>
                    <a:cubicBezTo>
                      <a:pt x="17998" y="73794"/>
                      <a:pt x="18115" y="73911"/>
                      <a:pt x="18232" y="73970"/>
                    </a:cubicBezTo>
                    <a:cubicBezTo>
                      <a:pt x="18467" y="74321"/>
                      <a:pt x="18701" y="74614"/>
                      <a:pt x="19052" y="74848"/>
                    </a:cubicBezTo>
                    <a:cubicBezTo>
                      <a:pt x="19404" y="75083"/>
                      <a:pt x="19814" y="75200"/>
                      <a:pt x="20224" y="75258"/>
                    </a:cubicBezTo>
                    <a:cubicBezTo>
                      <a:pt x="20341" y="75317"/>
                      <a:pt x="20458" y="75375"/>
                      <a:pt x="20575" y="75493"/>
                    </a:cubicBezTo>
                    <a:cubicBezTo>
                      <a:pt x="20810" y="75844"/>
                      <a:pt x="21102" y="76137"/>
                      <a:pt x="21512" y="76313"/>
                    </a:cubicBezTo>
                    <a:cubicBezTo>
                      <a:pt x="21864" y="76488"/>
                      <a:pt x="22274" y="76605"/>
                      <a:pt x="22684" y="76605"/>
                    </a:cubicBezTo>
                    <a:cubicBezTo>
                      <a:pt x="22801" y="76664"/>
                      <a:pt x="22918" y="76722"/>
                      <a:pt x="23035" y="76781"/>
                    </a:cubicBezTo>
                    <a:cubicBezTo>
                      <a:pt x="23270" y="77132"/>
                      <a:pt x="23621" y="77367"/>
                      <a:pt x="23973" y="77542"/>
                    </a:cubicBezTo>
                    <a:cubicBezTo>
                      <a:pt x="24383" y="77718"/>
                      <a:pt x="24793" y="77777"/>
                      <a:pt x="25203" y="77777"/>
                    </a:cubicBezTo>
                    <a:cubicBezTo>
                      <a:pt x="25320" y="77835"/>
                      <a:pt x="25437" y="77894"/>
                      <a:pt x="25613" y="77952"/>
                    </a:cubicBezTo>
                    <a:cubicBezTo>
                      <a:pt x="25906" y="78245"/>
                      <a:pt x="26257" y="78538"/>
                      <a:pt x="26609" y="78655"/>
                    </a:cubicBezTo>
                    <a:cubicBezTo>
                      <a:pt x="27019" y="78772"/>
                      <a:pt x="27429" y="78831"/>
                      <a:pt x="27839" y="78772"/>
                    </a:cubicBezTo>
                    <a:cubicBezTo>
                      <a:pt x="27956" y="78831"/>
                      <a:pt x="28132" y="78889"/>
                      <a:pt x="28249" y="78889"/>
                    </a:cubicBezTo>
                    <a:cubicBezTo>
                      <a:pt x="28542" y="79182"/>
                      <a:pt x="28893" y="79417"/>
                      <a:pt x="29303" y="79534"/>
                    </a:cubicBezTo>
                    <a:cubicBezTo>
                      <a:pt x="29713" y="79651"/>
                      <a:pt x="30123" y="79651"/>
                      <a:pt x="30533" y="79592"/>
                    </a:cubicBezTo>
                    <a:cubicBezTo>
                      <a:pt x="30650" y="79651"/>
                      <a:pt x="30826" y="79651"/>
                      <a:pt x="30943" y="79709"/>
                    </a:cubicBezTo>
                    <a:cubicBezTo>
                      <a:pt x="31236" y="80002"/>
                      <a:pt x="31646" y="80178"/>
                      <a:pt x="32056" y="80236"/>
                    </a:cubicBezTo>
                    <a:cubicBezTo>
                      <a:pt x="32466" y="80295"/>
                      <a:pt x="32876" y="80295"/>
                      <a:pt x="33286" y="80178"/>
                    </a:cubicBezTo>
                    <a:cubicBezTo>
                      <a:pt x="33462" y="80178"/>
                      <a:pt x="33579" y="80236"/>
                      <a:pt x="33755" y="80236"/>
                    </a:cubicBezTo>
                    <a:cubicBezTo>
                      <a:pt x="34106" y="80471"/>
                      <a:pt x="34458" y="80646"/>
                      <a:pt x="34868" y="80705"/>
                    </a:cubicBezTo>
                    <a:cubicBezTo>
                      <a:pt x="35278" y="80764"/>
                      <a:pt x="35688" y="80705"/>
                      <a:pt x="36039" y="80588"/>
                    </a:cubicBezTo>
                    <a:cubicBezTo>
                      <a:pt x="36215" y="80588"/>
                      <a:pt x="36332" y="80646"/>
                      <a:pt x="36508" y="80646"/>
                    </a:cubicBezTo>
                    <a:cubicBezTo>
                      <a:pt x="36859" y="80881"/>
                      <a:pt x="37269" y="80998"/>
                      <a:pt x="37679" y="81056"/>
                    </a:cubicBezTo>
                    <a:cubicBezTo>
                      <a:pt x="38089" y="81115"/>
                      <a:pt x="38499" y="80998"/>
                      <a:pt x="38851" y="80881"/>
                    </a:cubicBezTo>
                    <a:cubicBezTo>
                      <a:pt x="39027" y="80881"/>
                      <a:pt x="39144" y="80881"/>
                      <a:pt x="39319" y="80881"/>
                    </a:cubicBezTo>
                    <a:cubicBezTo>
                      <a:pt x="39671" y="81056"/>
                      <a:pt x="40081" y="81174"/>
                      <a:pt x="40491" y="81174"/>
                    </a:cubicBezTo>
                    <a:cubicBezTo>
                      <a:pt x="40901" y="81174"/>
                      <a:pt x="41311" y="81056"/>
                      <a:pt x="41662" y="80881"/>
                    </a:cubicBezTo>
                    <a:cubicBezTo>
                      <a:pt x="41838" y="80881"/>
                      <a:pt x="41955" y="80881"/>
                      <a:pt x="42131" y="80881"/>
                    </a:cubicBezTo>
                    <a:cubicBezTo>
                      <a:pt x="42483" y="81056"/>
                      <a:pt x="42893" y="81115"/>
                      <a:pt x="43303" y="81115"/>
                    </a:cubicBezTo>
                    <a:cubicBezTo>
                      <a:pt x="43654" y="81115"/>
                      <a:pt x="44006" y="80998"/>
                      <a:pt x="44357" y="80822"/>
                    </a:cubicBezTo>
                    <a:cubicBezTo>
                      <a:pt x="44416" y="80822"/>
                      <a:pt x="44416" y="80764"/>
                      <a:pt x="44474" y="80764"/>
                    </a:cubicBezTo>
                    <a:cubicBezTo>
                      <a:pt x="44650" y="80764"/>
                      <a:pt x="44767" y="80705"/>
                      <a:pt x="44943" y="80705"/>
                    </a:cubicBezTo>
                    <a:cubicBezTo>
                      <a:pt x="45294" y="80822"/>
                      <a:pt x="45704" y="80881"/>
                      <a:pt x="46114" y="80822"/>
                    </a:cubicBezTo>
                    <a:cubicBezTo>
                      <a:pt x="46407" y="80764"/>
                      <a:pt x="46700" y="80705"/>
                      <a:pt x="46934" y="80529"/>
                    </a:cubicBezTo>
                    <a:cubicBezTo>
                      <a:pt x="47051" y="80471"/>
                      <a:pt x="47110" y="80412"/>
                      <a:pt x="47169" y="80354"/>
                    </a:cubicBezTo>
                    <a:cubicBezTo>
                      <a:pt x="47344" y="80354"/>
                      <a:pt x="47461" y="80295"/>
                      <a:pt x="47637" y="80295"/>
                    </a:cubicBezTo>
                    <a:cubicBezTo>
                      <a:pt x="48047" y="80412"/>
                      <a:pt x="48457" y="80412"/>
                      <a:pt x="48809" y="80354"/>
                    </a:cubicBezTo>
                    <a:cubicBezTo>
                      <a:pt x="49043" y="80295"/>
                      <a:pt x="49277" y="80236"/>
                      <a:pt x="49453" y="80119"/>
                    </a:cubicBezTo>
                    <a:cubicBezTo>
                      <a:pt x="49570" y="80061"/>
                      <a:pt x="49746" y="79944"/>
                      <a:pt x="49863" y="79827"/>
                    </a:cubicBezTo>
                    <a:cubicBezTo>
                      <a:pt x="50039" y="79768"/>
                      <a:pt x="50156" y="79768"/>
                      <a:pt x="50332" y="79709"/>
                    </a:cubicBezTo>
                    <a:cubicBezTo>
                      <a:pt x="50742" y="79768"/>
                      <a:pt x="51152" y="79768"/>
                      <a:pt x="51503" y="79651"/>
                    </a:cubicBezTo>
                    <a:cubicBezTo>
                      <a:pt x="51679" y="79592"/>
                      <a:pt x="51855" y="79534"/>
                      <a:pt x="51972" y="79475"/>
                    </a:cubicBezTo>
                    <a:cubicBezTo>
                      <a:pt x="52148" y="79358"/>
                      <a:pt x="52382" y="79241"/>
                      <a:pt x="52499" y="79065"/>
                    </a:cubicBezTo>
                    <a:cubicBezTo>
                      <a:pt x="52675" y="79007"/>
                      <a:pt x="52792" y="78948"/>
                      <a:pt x="52968" y="78889"/>
                    </a:cubicBezTo>
                    <a:cubicBezTo>
                      <a:pt x="53378" y="78948"/>
                      <a:pt x="53788" y="78889"/>
                      <a:pt x="54139" y="78772"/>
                    </a:cubicBezTo>
                    <a:cubicBezTo>
                      <a:pt x="54256" y="78714"/>
                      <a:pt x="54373" y="78714"/>
                      <a:pt x="54491" y="78655"/>
                    </a:cubicBezTo>
                    <a:cubicBezTo>
                      <a:pt x="54725" y="78538"/>
                      <a:pt x="54959" y="78362"/>
                      <a:pt x="55135" y="78128"/>
                    </a:cubicBezTo>
                    <a:cubicBezTo>
                      <a:pt x="55311" y="78070"/>
                      <a:pt x="55428" y="78011"/>
                      <a:pt x="55604" y="77952"/>
                    </a:cubicBezTo>
                    <a:cubicBezTo>
                      <a:pt x="56014" y="77952"/>
                      <a:pt x="56424" y="77894"/>
                      <a:pt x="56775" y="77777"/>
                    </a:cubicBezTo>
                    <a:cubicBezTo>
                      <a:pt x="56834" y="77777"/>
                      <a:pt x="56892" y="77718"/>
                      <a:pt x="56951" y="77718"/>
                    </a:cubicBezTo>
                    <a:cubicBezTo>
                      <a:pt x="57244" y="77542"/>
                      <a:pt x="57536" y="77308"/>
                      <a:pt x="57712" y="77074"/>
                    </a:cubicBezTo>
                    <a:cubicBezTo>
                      <a:pt x="57888" y="77015"/>
                      <a:pt x="58005" y="76957"/>
                      <a:pt x="58122" y="76840"/>
                    </a:cubicBezTo>
                    <a:cubicBezTo>
                      <a:pt x="58532" y="76840"/>
                      <a:pt x="58884" y="76722"/>
                      <a:pt x="59294" y="76547"/>
                    </a:cubicBezTo>
                    <a:lnTo>
                      <a:pt x="59294" y="76547"/>
                    </a:lnTo>
                    <a:cubicBezTo>
                      <a:pt x="59645" y="76371"/>
                      <a:pt x="59938" y="76078"/>
                      <a:pt x="60172" y="75727"/>
                    </a:cubicBezTo>
                    <a:cubicBezTo>
                      <a:pt x="60290" y="75668"/>
                      <a:pt x="60465" y="75551"/>
                      <a:pt x="60582" y="75493"/>
                    </a:cubicBezTo>
                    <a:cubicBezTo>
                      <a:pt x="60934" y="75493"/>
                      <a:pt x="61227" y="75375"/>
                      <a:pt x="61578" y="75200"/>
                    </a:cubicBezTo>
                    <a:cubicBezTo>
                      <a:pt x="61637" y="75141"/>
                      <a:pt x="61695" y="75141"/>
                      <a:pt x="61754" y="75083"/>
                    </a:cubicBezTo>
                    <a:cubicBezTo>
                      <a:pt x="62105" y="74848"/>
                      <a:pt x="62398" y="74556"/>
                      <a:pt x="62574" y="74204"/>
                    </a:cubicBezTo>
                    <a:cubicBezTo>
                      <a:pt x="62691" y="74146"/>
                      <a:pt x="62867" y="74028"/>
                      <a:pt x="62984" y="73911"/>
                    </a:cubicBezTo>
                    <a:cubicBezTo>
                      <a:pt x="63277" y="73853"/>
                      <a:pt x="63511" y="73794"/>
                      <a:pt x="63804" y="73677"/>
                    </a:cubicBezTo>
                    <a:cubicBezTo>
                      <a:pt x="63921" y="73618"/>
                      <a:pt x="64038" y="73560"/>
                      <a:pt x="64097" y="73501"/>
                    </a:cubicBezTo>
                    <a:cubicBezTo>
                      <a:pt x="64448" y="73267"/>
                      <a:pt x="64683" y="72974"/>
                      <a:pt x="64858" y="72623"/>
                    </a:cubicBezTo>
                    <a:cubicBezTo>
                      <a:pt x="64976" y="72506"/>
                      <a:pt x="65093" y="72447"/>
                      <a:pt x="65210" y="72330"/>
                    </a:cubicBezTo>
                    <a:cubicBezTo>
                      <a:pt x="65444" y="72271"/>
                      <a:pt x="65620" y="72213"/>
                      <a:pt x="65854" y="72096"/>
                    </a:cubicBezTo>
                    <a:cubicBezTo>
                      <a:pt x="66030" y="72037"/>
                      <a:pt x="66147" y="71920"/>
                      <a:pt x="66323" y="71803"/>
                    </a:cubicBezTo>
                    <a:cubicBezTo>
                      <a:pt x="66616" y="71569"/>
                      <a:pt x="66850" y="71217"/>
                      <a:pt x="67026" y="70866"/>
                    </a:cubicBezTo>
                    <a:cubicBezTo>
                      <a:pt x="67143" y="70749"/>
                      <a:pt x="67260" y="70632"/>
                      <a:pt x="67377" y="70514"/>
                    </a:cubicBezTo>
                    <a:cubicBezTo>
                      <a:pt x="67553" y="70456"/>
                      <a:pt x="67670" y="70397"/>
                      <a:pt x="67846" y="70339"/>
                    </a:cubicBezTo>
                    <a:cubicBezTo>
                      <a:pt x="68080" y="70222"/>
                      <a:pt x="68256" y="70104"/>
                      <a:pt x="68432" y="69929"/>
                    </a:cubicBezTo>
                    <a:cubicBezTo>
                      <a:pt x="68724" y="69636"/>
                      <a:pt x="68959" y="69285"/>
                      <a:pt x="69076" y="68933"/>
                    </a:cubicBezTo>
                    <a:cubicBezTo>
                      <a:pt x="69193" y="68816"/>
                      <a:pt x="69310" y="68699"/>
                      <a:pt x="69427" y="68582"/>
                    </a:cubicBezTo>
                    <a:cubicBezTo>
                      <a:pt x="69544" y="68523"/>
                      <a:pt x="69603" y="68523"/>
                      <a:pt x="69720" y="68465"/>
                    </a:cubicBezTo>
                    <a:cubicBezTo>
                      <a:pt x="70013" y="68347"/>
                      <a:pt x="70247" y="68113"/>
                      <a:pt x="70423" y="67937"/>
                    </a:cubicBezTo>
                    <a:cubicBezTo>
                      <a:pt x="70716" y="67645"/>
                      <a:pt x="70892" y="67293"/>
                      <a:pt x="71009" y="66883"/>
                    </a:cubicBezTo>
                    <a:cubicBezTo>
                      <a:pt x="71126" y="66766"/>
                      <a:pt x="71243" y="66649"/>
                      <a:pt x="71302" y="66532"/>
                    </a:cubicBezTo>
                    <a:cubicBezTo>
                      <a:pt x="71360" y="66532"/>
                      <a:pt x="71360" y="66473"/>
                      <a:pt x="71419" y="66473"/>
                    </a:cubicBezTo>
                    <a:cubicBezTo>
                      <a:pt x="71770" y="66298"/>
                      <a:pt x="72005" y="66063"/>
                      <a:pt x="72239" y="65771"/>
                    </a:cubicBezTo>
                    <a:cubicBezTo>
                      <a:pt x="72473" y="65419"/>
                      <a:pt x="72649" y="65068"/>
                      <a:pt x="72708" y="64716"/>
                    </a:cubicBezTo>
                    <a:cubicBezTo>
                      <a:pt x="72825" y="64599"/>
                      <a:pt x="72883" y="64482"/>
                      <a:pt x="73000" y="64306"/>
                    </a:cubicBezTo>
                    <a:cubicBezTo>
                      <a:pt x="73352" y="64131"/>
                      <a:pt x="73645" y="63838"/>
                      <a:pt x="73879" y="63486"/>
                    </a:cubicBezTo>
                    <a:cubicBezTo>
                      <a:pt x="74113" y="63135"/>
                      <a:pt x="74231" y="62784"/>
                      <a:pt x="74289" y="62374"/>
                    </a:cubicBezTo>
                    <a:cubicBezTo>
                      <a:pt x="74348" y="62257"/>
                      <a:pt x="74465" y="62081"/>
                      <a:pt x="74523" y="61964"/>
                    </a:cubicBezTo>
                    <a:cubicBezTo>
                      <a:pt x="74875" y="61729"/>
                      <a:pt x="75168" y="61437"/>
                      <a:pt x="75343" y="61085"/>
                    </a:cubicBezTo>
                    <a:cubicBezTo>
                      <a:pt x="75578" y="60734"/>
                      <a:pt x="75636" y="60324"/>
                      <a:pt x="75695" y="59914"/>
                    </a:cubicBezTo>
                    <a:cubicBezTo>
                      <a:pt x="75754" y="59797"/>
                      <a:pt x="75812" y="59621"/>
                      <a:pt x="75929" y="59504"/>
                    </a:cubicBezTo>
                    <a:cubicBezTo>
                      <a:pt x="76281" y="59270"/>
                      <a:pt x="76515" y="58977"/>
                      <a:pt x="76691" y="58567"/>
                    </a:cubicBezTo>
                    <a:cubicBezTo>
                      <a:pt x="76866" y="58215"/>
                      <a:pt x="76925" y="57805"/>
                      <a:pt x="76925" y="57395"/>
                    </a:cubicBezTo>
                    <a:cubicBezTo>
                      <a:pt x="76984" y="57278"/>
                      <a:pt x="77042" y="57103"/>
                      <a:pt x="77101" y="56985"/>
                    </a:cubicBezTo>
                    <a:cubicBezTo>
                      <a:pt x="77394" y="56693"/>
                      <a:pt x="77687" y="56400"/>
                      <a:pt x="77804" y="55990"/>
                    </a:cubicBezTo>
                    <a:cubicBezTo>
                      <a:pt x="77979" y="55580"/>
                      <a:pt x="77979" y="55170"/>
                      <a:pt x="77979" y="54818"/>
                    </a:cubicBezTo>
                    <a:cubicBezTo>
                      <a:pt x="78038" y="54701"/>
                      <a:pt x="78097" y="54526"/>
                      <a:pt x="78155" y="54409"/>
                    </a:cubicBezTo>
                    <a:cubicBezTo>
                      <a:pt x="78448" y="54116"/>
                      <a:pt x="78682" y="53764"/>
                      <a:pt x="78799" y="53354"/>
                    </a:cubicBezTo>
                    <a:cubicBezTo>
                      <a:pt x="78917" y="52944"/>
                      <a:pt x="78975" y="52534"/>
                      <a:pt x="78858" y="52124"/>
                    </a:cubicBezTo>
                    <a:cubicBezTo>
                      <a:pt x="78917" y="52007"/>
                      <a:pt x="78917" y="51832"/>
                      <a:pt x="78975" y="51714"/>
                    </a:cubicBezTo>
                    <a:cubicBezTo>
                      <a:pt x="79268" y="51422"/>
                      <a:pt x="79444" y="51070"/>
                      <a:pt x="79561" y="50660"/>
                    </a:cubicBezTo>
                    <a:cubicBezTo>
                      <a:pt x="79678" y="50250"/>
                      <a:pt x="79678" y="49840"/>
                      <a:pt x="79561" y="49430"/>
                    </a:cubicBezTo>
                    <a:cubicBezTo>
                      <a:pt x="79561" y="49313"/>
                      <a:pt x="79620" y="49138"/>
                      <a:pt x="79678" y="49020"/>
                    </a:cubicBezTo>
                    <a:cubicBezTo>
                      <a:pt x="79912" y="48669"/>
                      <a:pt x="80088" y="48318"/>
                      <a:pt x="80205" y="47908"/>
                    </a:cubicBezTo>
                    <a:cubicBezTo>
                      <a:pt x="80264" y="47498"/>
                      <a:pt x="80264" y="47088"/>
                      <a:pt x="80088" y="46678"/>
                    </a:cubicBezTo>
                    <a:cubicBezTo>
                      <a:pt x="80088" y="46561"/>
                      <a:pt x="80147" y="46385"/>
                      <a:pt x="80147" y="46268"/>
                    </a:cubicBezTo>
                    <a:cubicBezTo>
                      <a:pt x="80381" y="45916"/>
                      <a:pt x="80557" y="45565"/>
                      <a:pt x="80557" y="45096"/>
                    </a:cubicBezTo>
                    <a:cubicBezTo>
                      <a:pt x="80615" y="44686"/>
                      <a:pt x="80557" y="44276"/>
                      <a:pt x="80381" y="43867"/>
                    </a:cubicBezTo>
                    <a:cubicBezTo>
                      <a:pt x="80381" y="43749"/>
                      <a:pt x="80381" y="43574"/>
                      <a:pt x="80381" y="43457"/>
                    </a:cubicBezTo>
                    <a:cubicBezTo>
                      <a:pt x="80615" y="43105"/>
                      <a:pt x="80732" y="42695"/>
                      <a:pt x="80732" y="42285"/>
                    </a:cubicBezTo>
                    <a:cubicBezTo>
                      <a:pt x="80732" y="41875"/>
                      <a:pt x="80674" y="41465"/>
                      <a:pt x="80498" y="41114"/>
                    </a:cubicBezTo>
                    <a:cubicBezTo>
                      <a:pt x="80498" y="40997"/>
                      <a:pt x="80498" y="40821"/>
                      <a:pt x="80498" y="40704"/>
                    </a:cubicBezTo>
                    <a:cubicBezTo>
                      <a:pt x="80674" y="40353"/>
                      <a:pt x="80791" y="39943"/>
                      <a:pt x="80732" y="39474"/>
                    </a:cubicBezTo>
                    <a:cubicBezTo>
                      <a:pt x="80732" y="39064"/>
                      <a:pt x="80615" y="38654"/>
                      <a:pt x="80381" y="38303"/>
                    </a:cubicBezTo>
                    <a:cubicBezTo>
                      <a:pt x="80381" y="38127"/>
                      <a:pt x="80381" y="38010"/>
                      <a:pt x="80322" y="37834"/>
                    </a:cubicBezTo>
                    <a:cubicBezTo>
                      <a:pt x="80498" y="37424"/>
                      <a:pt x="80557" y="37014"/>
                      <a:pt x="80498" y="36604"/>
                    </a:cubicBezTo>
                    <a:cubicBezTo>
                      <a:pt x="80440" y="36194"/>
                      <a:pt x="80322" y="35784"/>
                      <a:pt x="80088" y="35433"/>
                    </a:cubicBezTo>
                    <a:cubicBezTo>
                      <a:pt x="80088" y="35257"/>
                      <a:pt x="80030" y="35140"/>
                      <a:pt x="80030" y="34964"/>
                    </a:cubicBezTo>
                    <a:cubicBezTo>
                      <a:pt x="80147" y="34554"/>
                      <a:pt x="80205" y="34144"/>
                      <a:pt x="80147" y="33734"/>
                    </a:cubicBezTo>
                    <a:cubicBezTo>
                      <a:pt x="80088" y="33325"/>
                      <a:pt x="79912" y="32915"/>
                      <a:pt x="79620" y="32622"/>
                    </a:cubicBezTo>
                    <a:cubicBezTo>
                      <a:pt x="79561" y="32505"/>
                      <a:pt x="79561" y="32329"/>
                      <a:pt x="79502" y="32212"/>
                    </a:cubicBezTo>
                    <a:cubicBezTo>
                      <a:pt x="79620" y="31802"/>
                      <a:pt x="79620" y="31392"/>
                      <a:pt x="79502" y="30982"/>
                    </a:cubicBezTo>
                    <a:cubicBezTo>
                      <a:pt x="79385" y="30572"/>
                      <a:pt x="79209" y="30220"/>
                      <a:pt x="78917" y="29869"/>
                    </a:cubicBezTo>
                    <a:cubicBezTo>
                      <a:pt x="78858" y="29752"/>
                      <a:pt x="78858" y="29576"/>
                      <a:pt x="78799" y="29459"/>
                    </a:cubicBezTo>
                    <a:cubicBezTo>
                      <a:pt x="78858" y="29049"/>
                      <a:pt x="78858" y="28639"/>
                      <a:pt x="78741" y="28229"/>
                    </a:cubicBezTo>
                    <a:cubicBezTo>
                      <a:pt x="78624" y="27819"/>
                      <a:pt x="78389" y="27468"/>
                      <a:pt x="78097" y="27175"/>
                    </a:cubicBezTo>
                    <a:cubicBezTo>
                      <a:pt x="78038" y="27058"/>
                      <a:pt x="78038" y="26941"/>
                      <a:pt x="77979" y="26824"/>
                    </a:cubicBezTo>
                    <a:cubicBezTo>
                      <a:pt x="78038" y="26414"/>
                      <a:pt x="77979" y="26004"/>
                      <a:pt x="77804" y="25594"/>
                    </a:cubicBezTo>
                    <a:cubicBezTo>
                      <a:pt x="77628" y="25184"/>
                      <a:pt x="77394" y="24891"/>
                      <a:pt x="77042" y="24598"/>
                    </a:cubicBezTo>
                    <a:cubicBezTo>
                      <a:pt x="76984" y="24481"/>
                      <a:pt x="76925" y="24364"/>
                      <a:pt x="76866" y="24247"/>
                    </a:cubicBezTo>
                    <a:cubicBezTo>
                      <a:pt x="76749" y="23895"/>
                      <a:pt x="76691" y="23485"/>
                      <a:pt x="76456" y="23075"/>
                    </a:cubicBezTo>
                    <a:close/>
                  </a:path>
                </a:pathLst>
              </a:custGeom>
              <a:solidFill>
                <a:srgbClr val="BEADA0"/>
              </a:solidFill>
              <a:ln w="5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grpSp>
            <p:nvGrpSpPr>
              <p:cNvPr id="132" name="Graphic 2">
                <a:extLst>
                  <a:ext uri="{FF2B5EF4-FFF2-40B4-BE49-F238E27FC236}">
                    <a16:creationId xmlns:a16="http://schemas.microsoft.com/office/drawing/2014/main" id="{C07EC1AD-5947-5D73-3005-CB11B42581F4}"/>
                  </a:ext>
                </a:extLst>
              </p:cNvPr>
              <p:cNvGrpSpPr/>
              <p:nvPr/>
            </p:nvGrpSpPr>
            <p:grpSpPr>
              <a:xfrm>
                <a:off x="970290" y="2401320"/>
                <a:ext cx="80747" cy="81173"/>
                <a:chOff x="970290" y="2401320"/>
                <a:chExt cx="80747" cy="81173"/>
              </a:xfrm>
            </p:grpSpPr>
            <p:sp>
              <p:nvSpPr>
                <p:cNvPr id="133" name="Freeform 1149">
                  <a:extLst>
                    <a:ext uri="{FF2B5EF4-FFF2-40B4-BE49-F238E27FC236}">
                      <a16:creationId xmlns:a16="http://schemas.microsoft.com/office/drawing/2014/main" id="{28069B71-2269-AC67-8EAB-5BEC019C4D24}"/>
                    </a:ext>
                  </a:extLst>
                </p:cNvPr>
                <p:cNvSpPr/>
                <p:nvPr/>
              </p:nvSpPr>
              <p:spPr>
                <a:xfrm>
                  <a:off x="1004982" y="2440935"/>
                  <a:ext cx="2687" cy="3080"/>
                </a:xfrm>
                <a:custGeom>
                  <a:avLst/>
                  <a:gdLst>
                    <a:gd name="connsiteX0" fmla="*/ 2460 w 2687"/>
                    <a:gd name="connsiteY0" fmla="*/ 855 h 3080"/>
                    <a:gd name="connsiteX1" fmla="*/ 703 w 2687"/>
                    <a:gd name="connsiteY1" fmla="*/ 210 h 3080"/>
                    <a:gd name="connsiteX2" fmla="*/ 0 w 2687"/>
                    <a:gd name="connsiteY2" fmla="*/ 620 h 3080"/>
                    <a:gd name="connsiteX3" fmla="*/ 1289 w 2687"/>
                    <a:gd name="connsiteY3" fmla="*/ 3080 h 3080"/>
                    <a:gd name="connsiteX4" fmla="*/ 1933 w 2687"/>
                    <a:gd name="connsiteY4" fmla="*/ 2729 h 3080"/>
                    <a:gd name="connsiteX5" fmla="*/ 2460 w 2687"/>
                    <a:gd name="connsiteY5" fmla="*/ 855 h 30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2687" h="3080">
                      <a:moveTo>
                        <a:pt x="2460" y="855"/>
                      </a:moveTo>
                      <a:cubicBezTo>
                        <a:pt x="1992" y="-24"/>
                        <a:pt x="1523" y="-199"/>
                        <a:pt x="703" y="210"/>
                      </a:cubicBezTo>
                      <a:lnTo>
                        <a:pt x="0" y="620"/>
                      </a:lnTo>
                      <a:lnTo>
                        <a:pt x="1289" y="3080"/>
                      </a:lnTo>
                      <a:lnTo>
                        <a:pt x="1933" y="2729"/>
                      </a:lnTo>
                      <a:cubicBezTo>
                        <a:pt x="2636" y="2319"/>
                        <a:pt x="2929" y="1792"/>
                        <a:pt x="2460" y="855"/>
                      </a:cubicBezTo>
                      <a:close/>
                    </a:path>
                  </a:pathLst>
                </a:custGeom>
                <a:solidFill>
                  <a:srgbClr val="311F12"/>
                </a:solidFill>
                <a:ln w="58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34" name="Freeform 1150">
                  <a:extLst>
                    <a:ext uri="{FF2B5EF4-FFF2-40B4-BE49-F238E27FC236}">
                      <a16:creationId xmlns:a16="http://schemas.microsoft.com/office/drawing/2014/main" id="{DDC06CBD-E45D-EA04-D78F-4793DE029BB4}"/>
                    </a:ext>
                  </a:extLst>
                </p:cNvPr>
                <p:cNvSpPr/>
                <p:nvPr/>
              </p:nvSpPr>
              <p:spPr>
                <a:xfrm>
                  <a:off x="1018102" y="2434039"/>
                  <a:ext cx="4519" cy="6790"/>
                </a:xfrm>
                <a:custGeom>
                  <a:avLst/>
                  <a:gdLst>
                    <a:gd name="connsiteX0" fmla="*/ 3983 w 4519"/>
                    <a:gd name="connsiteY0" fmla="*/ 6638 h 6790"/>
                    <a:gd name="connsiteX1" fmla="*/ 3690 w 4519"/>
                    <a:gd name="connsiteY1" fmla="*/ 3710 h 6790"/>
                    <a:gd name="connsiteX2" fmla="*/ 2753 w 4519"/>
                    <a:gd name="connsiteY2" fmla="*/ 1894 h 6790"/>
                    <a:gd name="connsiteX3" fmla="*/ 527 w 4519"/>
                    <a:gd name="connsiteY3" fmla="*/ 137 h 6790"/>
                    <a:gd name="connsiteX4" fmla="*/ 703 w 4519"/>
                    <a:gd name="connsiteY4" fmla="*/ 2949 h 6790"/>
                    <a:gd name="connsiteX5" fmla="*/ 1640 w 4519"/>
                    <a:gd name="connsiteY5" fmla="*/ 4764 h 6790"/>
                    <a:gd name="connsiteX6" fmla="*/ 3983 w 4519"/>
                    <a:gd name="connsiteY6" fmla="*/ 6638 h 67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4519" h="6790">
                      <a:moveTo>
                        <a:pt x="3983" y="6638"/>
                      </a:moveTo>
                      <a:cubicBezTo>
                        <a:pt x="4686" y="6287"/>
                        <a:pt x="4803" y="5818"/>
                        <a:pt x="3690" y="3710"/>
                      </a:cubicBezTo>
                      <a:lnTo>
                        <a:pt x="2753" y="1894"/>
                      </a:lnTo>
                      <a:cubicBezTo>
                        <a:pt x="1757" y="20"/>
                        <a:pt x="1230" y="-214"/>
                        <a:pt x="527" y="137"/>
                      </a:cubicBezTo>
                      <a:cubicBezTo>
                        <a:pt x="-117" y="489"/>
                        <a:pt x="-293" y="1074"/>
                        <a:pt x="703" y="2949"/>
                      </a:cubicBezTo>
                      <a:lnTo>
                        <a:pt x="1640" y="4764"/>
                      </a:lnTo>
                      <a:cubicBezTo>
                        <a:pt x="2812" y="6872"/>
                        <a:pt x="3280" y="6990"/>
                        <a:pt x="3983" y="6638"/>
                      </a:cubicBezTo>
                      <a:close/>
                    </a:path>
                  </a:pathLst>
                </a:custGeom>
                <a:solidFill>
                  <a:srgbClr val="311F12"/>
                </a:solidFill>
                <a:ln w="58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35" name="Freeform 1151">
                  <a:extLst>
                    <a:ext uri="{FF2B5EF4-FFF2-40B4-BE49-F238E27FC236}">
                      <a16:creationId xmlns:a16="http://schemas.microsoft.com/office/drawing/2014/main" id="{B54EF9E9-DA1E-3545-47F1-BED75D23FBCC}"/>
                    </a:ext>
                  </a:extLst>
                </p:cNvPr>
                <p:cNvSpPr/>
                <p:nvPr/>
              </p:nvSpPr>
              <p:spPr>
                <a:xfrm>
                  <a:off x="994647" y="2430433"/>
                  <a:ext cx="31996" cy="23708"/>
                </a:xfrm>
                <a:custGeom>
                  <a:avLst/>
                  <a:gdLst>
                    <a:gd name="connsiteX0" fmla="*/ 670 w 31996"/>
                    <a:gd name="connsiteY0" fmla="*/ 19907 h 23708"/>
                    <a:gd name="connsiteX1" fmla="*/ 20586 w 31996"/>
                    <a:gd name="connsiteY1" fmla="*/ 20551 h 23708"/>
                    <a:gd name="connsiteX2" fmla="*/ 31305 w 31996"/>
                    <a:gd name="connsiteY2" fmla="*/ 3801 h 23708"/>
                    <a:gd name="connsiteX3" fmla="*/ 11389 w 31996"/>
                    <a:gd name="connsiteY3" fmla="*/ 3157 h 23708"/>
                    <a:gd name="connsiteX4" fmla="*/ 670 w 31996"/>
                    <a:gd name="connsiteY4" fmla="*/ 19907 h 23708"/>
                    <a:gd name="connsiteX5" fmla="*/ 9515 w 31996"/>
                    <a:gd name="connsiteY5" fmla="*/ 16569 h 23708"/>
                    <a:gd name="connsiteX6" fmla="*/ 8695 w 31996"/>
                    <a:gd name="connsiteY6" fmla="*/ 21723 h 23708"/>
                    <a:gd name="connsiteX7" fmla="*/ 3950 w 31996"/>
                    <a:gd name="connsiteY7" fmla="*/ 19497 h 23708"/>
                    <a:gd name="connsiteX8" fmla="*/ 3013 w 31996"/>
                    <a:gd name="connsiteY8" fmla="*/ 17681 h 23708"/>
                    <a:gd name="connsiteX9" fmla="*/ 3892 w 31996"/>
                    <a:gd name="connsiteY9" fmla="*/ 12703 h 23708"/>
                    <a:gd name="connsiteX10" fmla="*/ 8519 w 31996"/>
                    <a:gd name="connsiteY10" fmla="*/ 14812 h 23708"/>
                    <a:gd name="connsiteX11" fmla="*/ 9515 w 31996"/>
                    <a:gd name="connsiteY11" fmla="*/ 16569 h 23708"/>
                    <a:gd name="connsiteX12" fmla="*/ 12268 w 31996"/>
                    <a:gd name="connsiteY12" fmla="*/ 14753 h 23708"/>
                    <a:gd name="connsiteX13" fmla="*/ 13908 w 31996"/>
                    <a:gd name="connsiteY13" fmla="*/ 17857 h 23708"/>
                    <a:gd name="connsiteX14" fmla="*/ 13498 w 31996"/>
                    <a:gd name="connsiteY14" fmla="*/ 19146 h 23708"/>
                    <a:gd name="connsiteX15" fmla="*/ 12209 w 31996"/>
                    <a:gd name="connsiteY15" fmla="*/ 18736 h 23708"/>
                    <a:gd name="connsiteX16" fmla="*/ 8461 w 31996"/>
                    <a:gd name="connsiteY16" fmla="*/ 11590 h 23708"/>
                    <a:gd name="connsiteX17" fmla="*/ 8929 w 31996"/>
                    <a:gd name="connsiteY17" fmla="*/ 10243 h 23708"/>
                    <a:gd name="connsiteX18" fmla="*/ 11272 w 31996"/>
                    <a:gd name="connsiteY18" fmla="*/ 9014 h 23708"/>
                    <a:gd name="connsiteX19" fmla="*/ 14494 w 31996"/>
                    <a:gd name="connsiteY19" fmla="*/ 10185 h 23708"/>
                    <a:gd name="connsiteX20" fmla="*/ 14787 w 31996"/>
                    <a:gd name="connsiteY20" fmla="*/ 12118 h 23708"/>
                    <a:gd name="connsiteX21" fmla="*/ 14552 w 31996"/>
                    <a:gd name="connsiteY21" fmla="*/ 12528 h 23708"/>
                    <a:gd name="connsiteX22" fmla="*/ 14260 w 31996"/>
                    <a:gd name="connsiteY22" fmla="*/ 12996 h 23708"/>
                    <a:gd name="connsiteX23" fmla="*/ 17188 w 31996"/>
                    <a:gd name="connsiteY23" fmla="*/ 15690 h 23708"/>
                    <a:gd name="connsiteX24" fmla="*/ 17305 w 31996"/>
                    <a:gd name="connsiteY24" fmla="*/ 16920 h 23708"/>
                    <a:gd name="connsiteX25" fmla="*/ 16017 w 31996"/>
                    <a:gd name="connsiteY25" fmla="*/ 16861 h 23708"/>
                    <a:gd name="connsiteX26" fmla="*/ 13088 w 31996"/>
                    <a:gd name="connsiteY26" fmla="*/ 14226 h 23708"/>
                    <a:gd name="connsiteX27" fmla="*/ 12971 w 31996"/>
                    <a:gd name="connsiteY27" fmla="*/ 14285 h 23708"/>
                    <a:gd name="connsiteX28" fmla="*/ 12268 w 31996"/>
                    <a:gd name="connsiteY28" fmla="*/ 14753 h 23708"/>
                    <a:gd name="connsiteX29" fmla="*/ 22519 w 31996"/>
                    <a:gd name="connsiteY29" fmla="*/ 16627 h 23708"/>
                    <a:gd name="connsiteX30" fmla="*/ 22519 w 31996"/>
                    <a:gd name="connsiteY30" fmla="*/ 16627 h 23708"/>
                    <a:gd name="connsiteX31" fmla="*/ 20879 w 31996"/>
                    <a:gd name="connsiteY31" fmla="*/ 18794 h 23708"/>
                    <a:gd name="connsiteX32" fmla="*/ 20117 w 31996"/>
                    <a:gd name="connsiteY32" fmla="*/ 19673 h 23708"/>
                    <a:gd name="connsiteX33" fmla="*/ 18946 w 31996"/>
                    <a:gd name="connsiteY33" fmla="*/ 19790 h 23708"/>
                    <a:gd name="connsiteX34" fmla="*/ 16251 w 31996"/>
                    <a:gd name="connsiteY34" fmla="*/ 19907 h 23708"/>
                    <a:gd name="connsiteX35" fmla="*/ 15900 w 31996"/>
                    <a:gd name="connsiteY35" fmla="*/ 19731 h 23708"/>
                    <a:gd name="connsiteX36" fmla="*/ 16017 w 31996"/>
                    <a:gd name="connsiteY36" fmla="*/ 19263 h 23708"/>
                    <a:gd name="connsiteX37" fmla="*/ 16017 w 31996"/>
                    <a:gd name="connsiteY37" fmla="*/ 19263 h 23708"/>
                    <a:gd name="connsiteX38" fmla="*/ 21991 w 31996"/>
                    <a:gd name="connsiteY38" fmla="*/ 16100 h 23708"/>
                    <a:gd name="connsiteX39" fmla="*/ 21991 w 31996"/>
                    <a:gd name="connsiteY39" fmla="*/ 16100 h 23708"/>
                    <a:gd name="connsiteX40" fmla="*/ 22460 w 31996"/>
                    <a:gd name="connsiteY40" fmla="*/ 16217 h 23708"/>
                    <a:gd name="connsiteX41" fmla="*/ 22519 w 31996"/>
                    <a:gd name="connsiteY41" fmla="*/ 16627 h 23708"/>
                    <a:gd name="connsiteX42" fmla="*/ 22402 w 31996"/>
                    <a:gd name="connsiteY42" fmla="*/ 7432 h 23708"/>
                    <a:gd name="connsiteX43" fmla="*/ 23280 w 31996"/>
                    <a:gd name="connsiteY43" fmla="*/ 2396 h 23708"/>
                    <a:gd name="connsiteX44" fmla="*/ 27908 w 31996"/>
                    <a:gd name="connsiteY44" fmla="*/ 4504 h 23708"/>
                    <a:gd name="connsiteX45" fmla="*/ 28845 w 31996"/>
                    <a:gd name="connsiteY45" fmla="*/ 6319 h 23708"/>
                    <a:gd name="connsiteX46" fmla="*/ 28025 w 31996"/>
                    <a:gd name="connsiteY46" fmla="*/ 11473 h 23708"/>
                    <a:gd name="connsiteX47" fmla="*/ 23280 w 31996"/>
                    <a:gd name="connsiteY47" fmla="*/ 9248 h 23708"/>
                    <a:gd name="connsiteX48" fmla="*/ 22402 w 31996"/>
                    <a:gd name="connsiteY48" fmla="*/ 7432 h 23708"/>
                    <a:gd name="connsiteX49" fmla="*/ 20000 w 31996"/>
                    <a:gd name="connsiteY49" fmla="*/ 5382 h 23708"/>
                    <a:gd name="connsiteX50" fmla="*/ 19473 w 31996"/>
                    <a:gd name="connsiteY50" fmla="*/ 6554 h 23708"/>
                    <a:gd name="connsiteX51" fmla="*/ 16954 w 31996"/>
                    <a:gd name="connsiteY51" fmla="*/ 7901 h 23708"/>
                    <a:gd name="connsiteX52" fmla="*/ 18008 w 31996"/>
                    <a:gd name="connsiteY52" fmla="*/ 9892 h 23708"/>
                    <a:gd name="connsiteX53" fmla="*/ 20351 w 31996"/>
                    <a:gd name="connsiteY53" fmla="*/ 8662 h 23708"/>
                    <a:gd name="connsiteX54" fmla="*/ 21640 w 31996"/>
                    <a:gd name="connsiteY54" fmla="*/ 8896 h 23708"/>
                    <a:gd name="connsiteX55" fmla="*/ 21113 w 31996"/>
                    <a:gd name="connsiteY55" fmla="*/ 10068 h 23708"/>
                    <a:gd name="connsiteX56" fmla="*/ 18770 w 31996"/>
                    <a:gd name="connsiteY56" fmla="*/ 11298 h 23708"/>
                    <a:gd name="connsiteX57" fmla="*/ 20000 w 31996"/>
                    <a:gd name="connsiteY57" fmla="*/ 13640 h 23708"/>
                    <a:gd name="connsiteX58" fmla="*/ 22577 w 31996"/>
                    <a:gd name="connsiteY58" fmla="*/ 12293 h 23708"/>
                    <a:gd name="connsiteX59" fmla="*/ 23866 w 31996"/>
                    <a:gd name="connsiteY59" fmla="*/ 12528 h 23708"/>
                    <a:gd name="connsiteX60" fmla="*/ 23339 w 31996"/>
                    <a:gd name="connsiteY60" fmla="*/ 13699 h 23708"/>
                    <a:gd name="connsiteX61" fmla="*/ 19941 w 31996"/>
                    <a:gd name="connsiteY61" fmla="*/ 15456 h 23708"/>
                    <a:gd name="connsiteX62" fmla="*/ 18594 w 31996"/>
                    <a:gd name="connsiteY62" fmla="*/ 15046 h 23708"/>
                    <a:gd name="connsiteX63" fmla="*/ 14962 w 31996"/>
                    <a:gd name="connsiteY63" fmla="*/ 8135 h 23708"/>
                    <a:gd name="connsiteX64" fmla="*/ 15431 w 31996"/>
                    <a:gd name="connsiteY64" fmla="*/ 6788 h 23708"/>
                    <a:gd name="connsiteX65" fmla="*/ 18711 w 31996"/>
                    <a:gd name="connsiteY65" fmla="*/ 5031 h 23708"/>
                    <a:gd name="connsiteX66" fmla="*/ 20000 w 31996"/>
                    <a:gd name="connsiteY66" fmla="*/ 5382 h 23708"/>
                    <a:gd name="connsiteX67" fmla="*/ 15665 w 31996"/>
                    <a:gd name="connsiteY67" fmla="*/ 3625 h 23708"/>
                    <a:gd name="connsiteX68" fmla="*/ 16017 w 31996"/>
                    <a:gd name="connsiteY68" fmla="*/ 3801 h 23708"/>
                    <a:gd name="connsiteX69" fmla="*/ 15900 w 31996"/>
                    <a:gd name="connsiteY69" fmla="*/ 4270 h 23708"/>
                    <a:gd name="connsiteX70" fmla="*/ 15900 w 31996"/>
                    <a:gd name="connsiteY70" fmla="*/ 4270 h 23708"/>
                    <a:gd name="connsiteX71" fmla="*/ 9925 w 31996"/>
                    <a:gd name="connsiteY71" fmla="*/ 7432 h 23708"/>
                    <a:gd name="connsiteX72" fmla="*/ 9925 w 31996"/>
                    <a:gd name="connsiteY72" fmla="*/ 7432 h 23708"/>
                    <a:gd name="connsiteX73" fmla="*/ 9456 w 31996"/>
                    <a:gd name="connsiteY73" fmla="*/ 7315 h 23708"/>
                    <a:gd name="connsiteX74" fmla="*/ 9456 w 31996"/>
                    <a:gd name="connsiteY74" fmla="*/ 6964 h 23708"/>
                    <a:gd name="connsiteX75" fmla="*/ 9456 w 31996"/>
                    <a:gd name="connsiteY75" fmla="*/ 6905 h 23708"/>
                    <a:gd name="connsiteX76" fmla="*/ 11038 w 31996"/>
                    <a:gd name="connsiteY76" fmla="*/ 4797 h 23708"/>
                    <a:gd name="connsiteX77" fmla="*/ 11799 w 31996"/>
                    <a:gd name="connsiteY77" fmla="*/ 3918 h 23708"/>
                    <a:gd name="connsiteX78" fmla="*/ 12971 w 31996"/>
                    <a:gd name="connsiteY78" fmla="*/ 3801 h 23708"/>
                    <a:gd name="connsiteX79" fmla="*/ 15665 w 31996"/>
                    <a:gd name="connsiteY79" fmla="*/ 3625 h 2370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</a:cxnLst>
                  <a:rect l="l" t="t" r="r" b="b"/>
                  <a:pathLst>
                    <a:path w="31996" h="23708">
                      <a:moveTo>
                        <a:pt x="670" y="19907"/>
                      </a:moveTo>
                      <a:cubicBezTo>
                        <a:pt x="3189" y="24709"/>
                        <a:pt x="12151" y="25002"/>
                        <a:pt x="20586" y="20551"/>
                      </a:cubicBezTo>
                      <a:cubicBezTo>
                        <a:pt x="29021" y="16100"/>
                        <a:pt x="33882" y="8604"/>
                        <a:pt x="31305" y="3801"/>
                      </a:cubicBezTo>
                      <a:cubicBezTo>
                        <a:pt x="28786" y="-1001"/>
                        <a:pt x="19824" y="-1294"/>
                        <a:pt x="11389" y="3157"/>
                      </a:cubicBezTo>
                      <a:cubicBezTo>
                        <a:pt x="2954" y="7608"/>
                        <a:pt x="-1849" y="15104"/>
                        <a:pt x="670" y="19907"/>
                      </a:cubicBezTo>
                      <a:close/>
                      <a:moveTo>
                        <a:pt x="9515" y="16569"/>
                      </a:moveTo>
                      <a:cubicBezTo>
                        <a:pt x="11214" y="19848"/>
                        <a:pt x="10276" y="20903"/>
                        <a:pt x="8695" y="21723"/>
                      </a:cubicBezTo>
                      <a:cubicBezTo>
                        <a:pt x="7113" y="22542"/>
                        <a:pt x="5707" y="22777"/>
                        <a:pt x="3950" y="19497"/>
                      </a:cubicBezTo>
                      <a:lnTo>
                        <a:pt x="3013" y="17681"/>
                      </a:lnTo>
                      <a:cubicBezTo>
                        <a:pt x="1314" y="14519"/>
                        <a:pt x="2486" y="13406"/>
                        <a:pt x="3892" y="12703"/>
                      </a:cubicBezTo>
                      <a:cubicBezTo>
                        <a:pt x="5297" y="11942"/>
                        <a:pt x="6879" y="11590"/>
                        <a:pt x="8519" y="14812"/>
                      </a:cubicBezTo>
                      <a:lnTo>
                        <a:pt x="9515" y="16569"/>
                      </a:lnTo>
                      <a:close/>
                      <a:moveTo>
                        <a:pt x="12268" y="14753"/>
                      </a:moveTo>
                      <a:lnTo>
                        <a:pt x="13908" y="17857"/>
                      </a:lnTo>
                      <a:cubicBezTo>
                        <a:pt x="14201" y="18384"/>
                        <a:pt x="13967" y="18911"/>
                        <a:pt x="13498" y="19146"/>
                      </a:cubicBezTo>
                      <a:cubicBezTo>
                        <a:pt x="13029" y="19380"/>
                        <a:pt x="12502" y="19263"/>
                        <a:pt x="12209" y="18736"/>
                      </a:cubicBezTo>
                      <a:lnTo>
                        <a:pt x="8461" y="11590"/>
                      </a:lnTo>
                      <a:cubicBezTo>
                        <a:pt x="8168" y="11005"/>
                        <a:pt x="8285" y="10595"/>
                        <a:pt x="8929" y="10243"/>
                      </a:cubicBezTo>
                      <a:lnTo>
                        <a:pt x="11272" y="9014"/>
                      </a:lnTo>
                      <a:cubicBezTo>
                        <a:pt x="12795" y="8194"/>
                        <a:pt x="13849" y="8955"/>
                        <a:pt x="14494" y="10185"/>
                      </a:cubicBezTo>
                      <a:cubicBezTo>
                        <a:pt x="14904" y="11005"/>
                        <a:pt x="15021" y="11590"/>
                        <a:pt x="14787" y="12118"/>
                      </a:cubicBezTo>
                      <a:cubicBezTo>
                        <a:pt x="14728" y="12235"/>
                        <a:pt x="14670" y="12410"/>
                        <a:pt x="14552" y="12528"/>
                      </a:cubicBezTo>
                      <a:cubicBezTo>
                        <a:pt x="14494" y="12586"/>
                        <a:pt x="14377" y="12879"/>
                        <a:pt x="14260" y="12996"/>
                      </a:cubicBezTo>
                      <a:lnTo>
                        <a:pt x="17188" y="15690"/>
                      </a:lnTo>
                      <a:cubicBezTo>
                        <a:pt x="17716" y="16159"/>
                        <a:pt x="17657" y="16627"/>
                        <a:pt x="17305" y="16920"/>
                      </a:cubicBezTo>
                      <a:cubicBezTo>
                        <a:pt x="16954" y="17213"/>
                        <a:pt x="16485" y="17330"/>
                        <a:pt x="16017" y="16861"/>
                      </a:cubicBezTo>
                      <a:lnTo>
                        <a:pt x="13088" y="14226"/>
                      </a:lnTo>
                      <a:cubicBezTo>
                        <a:pt x="13029" y="14285"/>
                        <a:pt x="12971" y="14285"/>
                        <a:pt x="12971" y="14285"/>
                      </a:cubicBezTo>
                      <a:lnTo>
                        <a:pt x="12268" y="14753"/>
                      </a:lnTo>
                      <a:close/>
                      <a:moveTo>
                        <a:pt x="22519" y="16627"/>
                      </a:moveTo>
                      <a:cubicBezTo>
                        <a:pt x="22519" y="16627"/>
                        <a:pt x="22519" y="16627"/>
                        <a:pt x="22519" y="16627"/>
                      </a:cubicBezTo>
                      <a:lnTo>
                        <a:pt x="20879" y="18794"/>
                      </a:lnTo>
                      <a:cubicBezTo>
                        <a:pt x="20879" y="18794"/>
                        <a:pt x="20351" y="19556"/>
                        <a:pt x="20117" y="19673"/>
                      </a:cubicBezTo>
                      <a:cubicBezTo>
                        <a:pt x="19883" y="19790"/>
                        <a:pt x="18946" y="19790"/>
                        <a:pt x="18946" y="19790"/>
                      </a:cubicBezTo>
                      <a:lnTo>
                        <a:pt x="16251" y="19907"/>
                      </a:lnTo>
                      <a:cubicBezTo>
                        <a:pt x="16134" y="19907"/>
                        <a:pt x="16017" y="19848"/>
                        <a:pt x="15900" y="19731"/>
                      </a:cubicBezTo>
                      <a:cubicBezTo>
                        <a:pt x="15841" y="19556"/>
                        <a:pt x="15900" y="19380"/>
                        <a:pt x="16017" y="19263"/>
                      </a:cubicBezTo>
                      <a:lnTo>
                        <a:pt x="16017" y="19263"/>
                      </a:lnTo>
                      <a:lnTo>
                        <a:pt x="21991" y="16100"/>
                      </a:lnTo>
                      <a:lnTo>
                        <a:pt x="21991" y="16100"/>
                      </a:lnTo>
                      <a:cubicBezTo>
                        <a:pt x="22167" y="16042"/>
                        <a:pt x="22343" y="16100"/>
                        <a:pt x="22460" y="16217"/>
                      </a:cubicBezTo>
                      <a:cubicBezTo>
                        <a:pt x="22577" y="16393"/>
                        <a:pt x="22577" y="16510"/>
                        <a:pt x="22519" y="16627"/>
                      </a:cubicBezTo>
                      <a:close/>
                      <a:moveTo>
                        <a:pt x="22402" y="7432"/>
                      </a:moveTo>
                      <a:cubicBezTo>
                        <a:pt x="20703" y="4270"/>
                        <a:pt x="21874" y="3157"/>
                        <a:pt x="23280" y="2396"/>
                      </a:cubicBezTo>
                      <a:cubicBezTo>
                        <a:pt x="24686" y="1634"/>
                        <a:pt x="26268" y="1283"/>
                        <a:pt x="27908" y="4504"/>
                      </a:cubicBezTo>
                      <a:lnTo>
                        <a:pt x="28845" y="6319"/>
                      </a:lnTo>
                      <a:cubicBezTo>
                        <a:pt x="30544" y="9599"/>
                        <a:pt x="29606" y="10653"/>
                        <a:pt x="28025" y="11473"/>
                      </a:cubicBezTo>
                      <a:cubicBezTo>
                        <a:pt x="26443" y="12293"/>
                        <a:pt x="25037" y="12528"/>
                        <a:pt x="23280" y="9248"/>
                      </a:cubicBezTo>
                      <a:lnTo>
                        <a:pt x="22402" y="7432"/>
                      </a:lnTo>
                      <a:close/>
                      <a:moveTo>
                        <a:pt x="20000" y="5382"/>
                      </a:moveTo>
                      <a:cubicBezTo>
                        <a:pt x="20234" y="5792"/>
                        <a:pt x="20117" y="6261"/>
                        <a:pt x="19473" y="6554"/>
                      </a:cubicBezTo>
                      <a:lnTo>
                        <a:pt x="16954" y="7901"/>
                      </a:lnTo>
                      <a:lnTo>
                        <a:pt x="18008" y="9892"/>
                      </a:lnTo>
                      <a:lnTo>
                        <a:pt x="20351" y="8662"/>
                      </a:lnTo>
                      <a:cubicBezTo>
                        <a:pt x="20996" y="8311"/>
                        <a:pt x="21406" y="8486"/>
                        <a:pt x="21640" y="8896"/>
                      </a:cubicBezTo>
                      <a:cubicBezTo>
                        <a:pt x="21874" y="9306"/>
                        <a:pt x="21757" y="9775"/>
                        <a:pt x="21113" y="10068"/>
                      </a:cubicBezTo>
                      <a:lnTo>
                        <a:pt x="18770" y="11298"/>
                      </a:lnTo>
                      <a:lnTo>
                        <a:pt x="20000" y="13640"/>
                      </a:lnTo>
                      <a:lnTo>
                        <a:pt x="22577" y="12293"/>
                      </a:lnTo>
                      <a:cubicBezTo>
                        <a:pt x="23222" y="11942"/>
                        <a:pt x="23632" y="12118"/>
                        <a:pt x="23866" y="12528"/>
                      </a:cubicBezTo>
                      <a:cubicBezTo>
                        <a:pt x="24100" y="12938"/>
                        <a:pt x="23983" y="13406"/>
                        <a:pt x="23339" y="13699"/>
                      </a:cubicBezTo>
                      <a:lnTo>
                        <a:pt x="19941" y="15456"/>
                      </a:lnTo>
                      <a:cubicBezTo>
                        <a:pt x="19297" y="15807"/>
                        <a:pt x="18887" y="15690"/>
                        <a:pt x="18594" y="15046"/>
                      </a:cubicBezTo>
                      <a:lnTo>
                        <a:pt x="14962" y="8135"/>
                      </a:lnTo>
                      <a:cubicBezTo>
                        <a:pt x="14670" y="7549"/>
                        <a:pt x="14787" y="7139"/>
                        <a:pt x="15431" y="6788"/>
                      </a:cubicBezTo>
                      <a:lnTo>
                        <a:pt x="18711" y="5031"/>
                      </a:lnTo>
                      <a:cubicBezTo>
                        <a:pt x="19356" y="4797"/>
                        <a:pt x="19766" y="4972"/>
                        <a:pt x="20000" y="5382"/>
                      </a:cubicBezTo>
                      <a:close/>
                      <a:moveTo>
                        <a:pt x="15665" y="3625"/>
                      </a:moveTo>
                      <a:cubicBezTo>
                        <a:pt x="15782" y="3625"/>
                        <a:pt x="15900" y="3684"/>
                        <a:pt x="16017" y="3801"/>
                      </a:cubicBezTo>
                      <a:cubicBezTo>
                        <a:pt x="16134" y="3977"/>
                        <a:pt x="16017" y="4153"/>
                        <a:pt x="15900" y="4270"/>
                      </a:cubicBezTo>
                      <a:lnTo>
                        <a:pt x="15900" y="4270"/>
                      </a:lnTo>
                      <a:lnTo>
                        <a:pt x="9925" y="7432"/>
                      </a:lnTo>
                      <a:lnTo>
                        <a:pt x="9925" y="7432"/>
                      </a:lnTo>
                      <a:cubicBezTo>
                        <a:pt x="9749" y="7491"/>
                        <a:pt x="9573" y="7432"/>
                        <a:pt x="9456" y="7315"/>
                      </a:cubicBezTo>
                      <a:cubicBezTo>
                        <a:pt x="9398" y="7198"/>
                        <a:pt x="9398" y="7081"/>
                        <a:pt x="9456" y="6964"/>
                      </a:cubicBezTo>
                      <a:cubicBezTo>
                        <a:pt x="9456" y="6964"/>
                        <a:pt x="9456" y="6964"/>
                        <a:pt x="9456" y="6905"/>
                      </a:cubicBezTo>
                      <a:lnTo>
                        <a:pt x="11038" y="4797"/>
                      </a:lnTo>
                      <a:cubicBezTo>
                        <a:pt x="11038" y="4797"/>
                        <a:pt x="11565" y="4035"/>
                        <a:pt x="11799" y="3918"/>
                      </a:cubicBezTo>
                      <a:cubicBezTo>
                        <a:pt x="12034" y="3801"/>
                        <a:pt x="12971" y="3801"/>
                        <a:pt x="12971" y="3801"/>
                      </a:cubicBezTo>
                      <a:lnTo>
                        <a:pt x="15665" y="3625"/>
                      </a:lnTo>
                      <a:close/>
                    </a:path>
                  </a:pathLst>
                </a:custGeom>
                <a:solidFill>
                  <a:srgbClr val="311F12"/>
                </a:solidFill>
                <a:ln w="58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36" name="Freeform 1152">
                  <a:extLst>
                    <a:ext uri="{FF2B5EF4-FFF2-40B4-BE49-F238E27FC236}">
                      <a16:creationId xmlns:a16="http://schemas.microsoft.com/office/drawing/2014/main" id="{B292DF5C-9756-14A5-0094-B7A56C640B4B}"/>
                    </a:ext>
                  </a:extLst>
                </p:cNvPr>
                <p:cNvSpPr/>
                <p:nvPr/>
              </p:nvSpPr>
              <p:spPr>
                <a:xfrm>
                  <a:off x="1016859" y="2454264"/>
                  <a:ext cx="1199" cy="1991"/>
                </a:xfrm>
                <a:custGeom>
                  <a:avLst/>
                  <a:gdLst>
                    <a:gd name="connsiteX0" fmla="*/ 14 w 1199"/>
                    <a:gd name="connsiteY0" fmla="*/ 0 h 1991"/>
                    <a:gd name="connsiteX1" fmla="*/ 1185 w 1199"/>
                    <a:gd name="connsiteY1" fmla="*/ 1991 h 1991"/>
                    <a:gd name="connsiteX2" fmla="*/ 14 w 1199"/>
                    <a:gd name="connsiteY2" fmla="*/ 0 h 199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199" h="1991">
                      <a:moveTo>
                        <a:pt x="14" y="0"/>
                      </a:moveTo>
                      <a:cubicBezTo>
                        <a:pt x="-103" y="644"/>
                        <a:pt x="541" y="1874"/>
                        <a:pt x="1185" y="1991"/>
                      </a:cubicBezTo>
                      <a:cubicBezTo>
                        <a:pt x="1303" y="1464"/>
                        <a:pt x="658" y="0"/>
                        <a:pt x="14" y="0"/>
                      </a:cubicBezTo>
                      <a:close/>
                    </a:path>
                  </a:pathLst>
                </a:custGeom>
                <a:solidFill>
                  <a:srgbClr val="623E23"/>
                </a:solidFill>
                <a:ln w="58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37" name="Freeform 1153">
                  <a:extLst>
                    <a:ext uri="{FF2B5EF4-FFF2-40B4-BE49-F238E27FC236}">
                      <a16:creationId xmlns:a16="http://schemas.microsoft.com/office/drawing/2014/main" id="{4B23437B-3D69-3CB3-ADAE-B0826572417B}"/>
                    </a:ext>
                  </a:extLst>
                </p:cNvPr>
                <p:cNvSpPr/>
                <p:nvPr/>
              </p:nvSpPr>
              <p:spPr>
                <a:xfrm>
                  <a:off x="970290" y="2401320"/>
                  <a:ext cx="80747" cy="81173"/>
                </a:xfrm>
                <a:custGeom>
                  <a:avLst/>
                  <a:gdLst>
                    <a:gd name="connsiteX0" fmla="*/ 76456 w 80747"/>
                    <a:gd name="connsiteY0" fmla="*/ 23075 h 81173"/>
                    <a:gd name="connsiteX1" fmla="*/ 75636 w 80747"/>
                    <a:gd name="connsiteY1" fmla="*/ 22138 h 81173"/>
                    <a:gd name="connsiteX2" fmla="*/ 75578 w 80747"/>
                    <a:gd name="connsiteY2" fmla="*/ 21963 h 81173"/>
                    <a:gd name="connsiteX3" fmla="*/ 75461 w 80747"/>
                    <a:gd name="connsiteY3" fmla="*/ 21787 h 81173"/>
                    <a:gd name="connsiteX4" fmla="*/ 75109 w 80747"/>
                    <a:gd name="connsiteY4" fmla="*/ 20557 h 81173"/>
                    <a:gd name="connsiteX5" fmla="*/ 74231 w 80747"/>
                    <a:gd name="connsiteY5" fmla="*/ 19678 h 81173"/>
                    <a:gd name="connsiteX6" fmla="*/ 74055 w 80747"/>
                    <a:gd name="connsiteY6" fmla="*/ 19327 h 81173"/>
                    <a:gd name="connsiteX7" fmla="*/ 73645 w 80747"/>
                    <a:gd name="connsiteY7" fmla="*/ 18156 h 81173"/>
                    <a:gd name="connsiteX8" fmla="*/ 72708 w 80747"/>
                    <a:gd name="connsiteY8" fmla="*/ 17336 h 81173"/>
                    <a:gd name="connsiteX9" fmla="*/ 72473 w 80747"/>
                    <a:gd name="connsiteY9" fmla="*/ 16984 h 81173"/>
                    <a:gd name="connsiteX10" fmla="*/ 72005 w 80747"/>
                    <a:gd name="connsiteY10" fmla="*/ 15813 h 81173"/>
                    <a:gd name="connsiteX11" fmla="*/ 71068 w 80747"/>
                    <a:gd name="connsiteY11" fmla="*/ 15052 h 81173"/>
                    <a:gd name="connsiteX12" fmla="*/ 70775 w 80747"/>
                    <a:gd name="connsiteY12" fmla="*/ 14700 h 81173"/>
                    <a:gd name="connsiteX13" fmla="*/ 70189 w 80747"/>
                    <a:gd name="connsiteY13" fmla="*/ 13588 h 81173"/>
                    <a:gd name="connsiteX14" fmla="*/ 69193 w 80747"/>
                    <a:gd name="connsiteY14" fmla="*/ 12885 h 81173"/>
                    <a:gd name="connsiteX15" fmla="*/ 68900 w 80747"/>
                    <a:gd name="connsiteY15" fmla="*/ 12592 h 81173"/>
                    <a:gd name="connsiteX16" fmla="*/ 68256 w 80747"/>
                    <a:gd name="connsiteY16" fmla="*/ 11538 h 81173"/>
                    <a:gd name="connsiteX17" fmla="*/ 67201 w 80747"/>
                    <a:gd name="connsiteY17" fmla="*/ 10952 h 81173"/>
                    <a:gd name="connsiteX18" fmla="*/ 66850 w 80747"/>
                    <a:gd name="connsiteY18" fmla="*/ 10659 h 81173"/>
                    <a:gd name="connsiteX19" fmla="*/ 66147 w 80747"/>
                    <a:gd name="connsiteY19" fmla="*/ 9664 h 81173"/>
                    <a:gd name="connsiteX20" fmla="*/ 65034 w 80747"/>
                    <a:gd name="connsiteY20" fmla="*/ 9136 h 81173"/>
                    <a:gd name="connsiteX21" fmla="*/ 64683 w 80747"/>
                    <a:gd name="connsiteY21" fmla="*/ 8844 h 81173"/>
                    <a:gd name="connsiteX22" fmla="*/ 63921 w 80747"/>
                    <a:gd name="connsiteY22" fmla="*/ 7907 h 81173"/>
                    <a:gd name="connsiteX23" fmla="*/ 62808 w 80747"/>
                    <a:gd name="connsiteY23" fmla="*/ 7438 h 81173"/>
                    <a:gd name="connsiteX24" fmla="*/ 62457 w 80747"/>
                    <a:gd name="connsiteY24" fmla="*/ 7204 h 81173"/>
                    <a:gd name="connsiteX25" fmla="*/ 61637 w 80747"/>
                    <a:gd name="connsiteY25" fmla="*/ 6325 h 81173"/>
                    <a:gd name="connsiteX26" fmla="*/ 60465 w 80747"/>
                    <a:gd name="connsiteY26" fmla="*/ 5915 h 81173"/>
                    <a:gd name="connsiteX27" fmla="*/ 60114 w 80747"/>
                    <a:gd name="connsiteY27" fmla="*/ 5681 h 81173"/>
                    <a:gd name="connsiteX28" fmla="*/ 59235 w 80747"/>
                    <a:gd name="connsiteY28" fmla="*/ 4861 h 81173"/>
                    <a:gd name="connsiteX29" fmla="*/ 58064 w 80747"/>
                    <a:gd name="connsiteY29" fmla="*/ 4568 h 81173"/>
                    <a:gd name="connsiteX30" fmla="*/ 57654 w 80747"/>
                    <a:gd name="connsiteY30" fmla="*/ 4393 h 81173"/>
                    <a:gd name="connsiteX31" fmla="*/ 56716 w 80747"/>
                    <a:gd name="connsiteY31" fmla="*/ 3631 h 81173"/>
                    <a:gd name="connsiteX32" fmla="*/ 55486 w 80747"/>
                    <a:gd name="connsiteY32" fmla="*/ 3397 h 81173"/>
                    <a:gd name="connsiteX33" fmla="*/ 55076 w 80747"/>
                    <a:gd name="connsiteY33" fmla="*/ 3221 h 81173"/>
                    <a:gd name="connsiteX34" fmla="*/ 54081 w 80747"/>
                    <a:gd name="connsiteY34" fmla="*/ 2518 h 81173"/>
                    <a:gd name="connsiteX35" fmla="*/ 52850 w 80747"/>
                    <a:gd name="connsiteY35" fmla="*/ 2401 h 81173"/>
                    <a:gd name="connsiteX36" fmla="*/ 52440 w 80747"/>
                    <a:gd name="connsiteY36" fmla="*/ 2284 h 81173"/>
                    <a:gd name="connsiteX37" fmla="*/ 51386 w 80747"/>
                    <a:gd name="connsiteY37" fmla="*/ 1640 h 81173"/>
                    <a:gd name="connsiteX38" fmla="*/ 50156 w 80747"/>
                    <a:gd name="connsiteY38" fmla="*/ 1581 h 81173"/>
                    <a:gd name="connsiteX39" fmla="*/ 49746 w 80747"/>
                    <a:gd name="connsiteY39" fmla="*/ 1464 h 81173"/>
                    <a:gd name="connsiteX40" fmla="*/ 48633 w 80747"/>
                    <a:gd name="connsiteY40" fmla="*/ 937 h 81173"/>
                    <a:gd name="connsiteX41" fmla="*/ 47461 w 80747"/>
                    <a:gd name="connsiteY41" fmla="*/ 996 h 81173"/>
                    <a:gd name="connsiteX42" fmla="*/ 46993 w 80747"/>
                    <a:gd name="connsiteY42" fmla="*/ 937 h 81173"/>
                    <a:gd name="connsiteX43" fmla="*/ 45880 w 80747"/>
                    <a:gd name="connsiteY43" fmla="*/ 469 h 81173"/>
                    <a:gd name="connsiteX44" fmla="*/ 44708 w 80747"/>
                    <a:gd name="connsiteY44" fmla="*/ 586 h 81173"/>
                    <a:gd name="connsiteX45" fmla="*/ 44240 w 80747"/>
                    <a:gd name="connsiteY45" fmla="*/ 527 h 81173"/>
                    <a:gd name="connsiteX46" fmla="*/ 43127 w 80747"/>
                    <a:gd name="connsiteY46" fmla="*/ 117 h 81173"/>
                    <a:gd name="connsiteX47" fmla="*/ 41955 w 80747"/>
                    <a:gd name="connsiteY47" fmla="*/ 293 h 81173"/>
                    <a:gd name="connsiteX48" fmla="*/ 41487 w 80747"/>
                    <a:gd name="connsiteY48" fmla="*/ 293 h 81173"/>
                    <a:gd name="connsiteX49" fmla="*/ 40315 w 80747"/>
                    <a:gd name="connsiteY49" fmla="*/ 0 h 81173"/>
                    <a:gd name="connsiteX50" fmla="*/ 39144 w 80747"/>
                    <a:gd name="connsiteY50" fmla="*/ 293 h 81173"/>
                    <a:gd name="connsiteX51" fmla="*/ 38675 w 80747"/>
                    <a:gd name="connsiteY51" fmla="*/ 293 h 81173"/>
                    <a:gd name="connsiteX52" fmla="*/ 37504 w 80747"/>
                    <a:gd name="connsiteY52" fmla="*/ 59 h 81173"/>
                    <a:gd name="connsiteX53" fmla="*/ 36508 w 80747"/>
                    <a:gd name="connsiteY53" fmla="*/ 351 h 81173"/>
                    <a:gd name="connsiteX54" fmla="*/ 36391 w 80747"/>
                    <a:gd name="connsiteY54" fmla="*/ 410 h 81173"/>
                    <a:gd name="connsiteX55" fmla="*/ 35922 w 80747"/>
                    <a:gd name="connsiteY55" fmla="*/ 469 h 81173"/>
                    <a:gd name="connsiteX56" fmla="*/ 34751 w 80747"/>
                    <a:gd name="connsiteY56" fmla="*/ 351 h 81173"/>
                    <a:gd name="connsiteX57" fmla="*/ 33931 w 80747"/>
                    <a:gd name="connsiteY57" fmla="*/ 644 h 81173"/>
                    <a:gd name="connsiteX58" fmla="*/ 33696 w 80747"/>
                    <a:gd name="connsiteY58" fmla="*/ 820 h 81173"/>
                    <a:gd name="connsiteX59" fmla="*/ 33228 w 80747"/>
                    <a:gd name="connsiteY59" fmla="*/ 879 h 81173"/>
                    <a:gd name="connsiteX60" fmla="*/ 32056 w 80747"/>
                    <a:gd name="connsiteY60" fmla="*/ 820 h 81173"/>
                    <a:gd name="connsiteX61" fmla="*/ 31412 w 80747"/>
                    <a:gd name="connsiteY61" fmla="*/ 1054 h 81173"/>
                    <a:gd name="connsiteX62" fmla="*/ 31002 w 80747"/>
                    <a:gd name="connsiteY62" fmla="*/ 1347 h 81173"/>
                    <a:gd name="connsiteX63" fmla="*/ 30533 w 80747"/>
                    <a:gd name="connsiteY63" fmla="*/ 1464 h 81173"/>
                    <a:gd name="connsiteX64" fmla="*/ 29362 w 80747"/>
                    <a:gd name="connsiteY64" fmla="*/ 1523 h 81173"/>
                    <a:gd name="connsiteX65" fmla="*/ 28893 w 80747"/>
                    <a:gd name="connsiteY65" fmla="*/ 1698 h 81173"/>
                    <a:gd name="connsiteX66" fmla="*/ 28366 w 80747"/>
                    <a:gd name="connsiteY66" fmla="*/ 2108 h 81173"/>
                    <a:gd name="connsiteX67" fmla="*/ 27897 w 80747"/>
                    <a:gd name="connsiteY67" fmla="*/ 2284 h 81173"/>
                    <a:gd name="connsiteX68" fmla="*/ 26726 w 80747"/>
                    <a:gd name="connsiteY68" fmla="*/ 2401 h 81173"/>
                    <a:gd name="connsiteX69" fmla="*/ 25730 w 80747"/>
                    <a:gd name="connsiteY69" fmla="*/ 3046 h 81173"/>
                    <a:gd name="connsiteX70" fmla="*/ 25261 w 80747"/>
                    <a:gd name="connsiteY70" fmla="*/ 3221 h 81173"/>
                    <a:gd name="connsiteX71" fmla="*/ 24090 w 80747"/>
                    <a:gd name="connsiteY71" fmla="*/ 3397 h 81173"/>
                    <a:gd name="connsiteX72" fmla="*/ 23153 w 80747"/>
                    <a:gd name="connsiteY72" fmla="*/ 4100 h 81173"/>
                    <a:gd name="connsiteX73" fmla="*/ 22743 w 80747"/>
                    <a:gd name="connsiteY73" fmla="*/ 4334 h 81173"/>
                    <a:gd name="connsiteX74" fmla="*/ 21571 w 80747"/>
                    <a:gd name="connsiteY74" fmla="*/ 4627 h 81173"/>
                    <a:gd name="connsiteX75" fmla="*/ 20692 w 80747"/>
                    <a:gd name="connsiteY75" fmla="*/ 5447 h 81173"/>
                    <a:gd name="connsiteX76" fmla="*/ 20282 w 80747"/>
                    <a:gd name="connsiteY76" fmla="*/ 5681 h 81173"/>
                    <a:gd name="connsiteX77" fmla="*/ 19287 w 80747"/>
                    <a:gd name="connsiteY77" fmla="*/ 5974 h 81173"/>
                    <a:gd name="connsiteX78" fmla="*/ 19111 w 80747"/>
                    <a:gd name="connsiteY78" fmla="*/ 6091 h 81173"/>
                    <a:gd name="connsiteX79" fmla="*/ 18291 w 80747"/>
                    <a:gd name="connsiteY79" fmla="*/ 6969 h 81173"/>
                    <a:gd name="connsiteX80" fmla="*/ 17881 w 80747"/>
                    <a:gd name="connsiteY80" fmla="*/ 7262 h 81173"/>
                    <a:gd name="connsiteX81" fmla="*/ 17061 w 80747"/>
                    <a:gd name="connsiteY81" fmla="*/ 7497 h 81173"/>
                    <a:gd name="connsiteX82" fmla="*/ 16768 w 80747"/>
                    <a:gd name="connsiteY82" fmla="*/ 7672 h 81173"/>
                    <a:gd name="connsiteX83" fmla="*/ 16006 w 80747"/>
                    <a:gd name="connsiteY83" fmla="*/ 8551 h 81173"/>
                    <a:gd name="connsiteX84" fmla="*/ 15596 w 80747"/>
                    <a:gd name="connsiteY84" fmla="*/ 8844 h 81173"/>
                    <a:gd name="connsiteX85" fmla="*/ 14952 w 80747"/>
                    <a:gd name="connsiteY85" fmla="*/ 9078 h 81173"/>
                    <a:gd name="connsiteX86" fmla="*/ 14483 w 80747"/>
                    <a:gd name="connsiteY86" fmla="*/ 9371 h 81173"/>
                    <a:gd name="connsiteX87" fmla="*/ 13781 w 80747"/>
                    <a:gd name="connsiteY87" fmla="*/ 10308 h 81173"/>
                    <a:gd name="connsiteX88" fmla="*/ 13429 w 80747"/>
                    <a:gd name="connsiteY88" fmla="*/ 10659 h 81173"/>
                    <a:gd name="connsiteX89" fmla="*/ 12960 w 80747"/>
                    <a:gd name="connsiteY89" fmla="*/ 10835 h 81173"/>
                    <a:gd name="connsiteX90" fmla="*/ 12375 w 80747"/>
                    <a:gd name="connsiteY90" fmla="*/ 11245 h 81173"/>
                    <a:gd name="connsiteX91" fmla="*/ 11730 w 80747"/>
                    <a:gd name="connsiteY91" fmla="*/ 12240 h 81173"/>
                    <a:gd name="connsiteX92" fmla="*/ 11379 w 80747"/>
                    <a:gd name="connsiteY92" fmla="*/ 12592 h 81173"/>
                    <a:gd name="connsiteX93" fmla="*/ 11086 w 80747"/>
                    <a:gd name="connsiteY93" fmla="*/ 12709 h 81173"/>
                    <a:gd name="connsiteX94" fmla="*/ 10383 w 80747"/>
                    <a:gd name="connsiteY94" fmla="*/ 13236 h 81173"/>
                    <a:gd name="connsiteX95" fmla="*/ 9797 w 80747"/>
                    <a:gd name="connsiteY95" fmla="*/ 14290 h 81173"/>
                    <a:gd name="connsiteX96" fmla="*/ 9504 w 80747"/>
                    <a:gd name="connsiteY96" fmla="*/ 14642 h 81173"/>
                    <a:gd name="connsiteX97" fmla="*/ 9387 w 80747"/>
                    <a:gd name="connsiteY97" fmla="*/ 14700 h 81173"/>
                    <a:gd name="connsiteX98" fmla="*/ 8567 w 80747"/>
                    <a:gd name="connsiteY98" fmla="*/ 15403 h 81173"/>
                    <a:gd name="connsiteX99" fmla="*/ 8099 w 80747"/>
                    <a:gd name="connsiteY99" fmla="*/ 16457 h 81173"/>
                    <a:gd name="connsiteX100" fmla="*/ 7806 w 80747"/>
                    <a:gd name="connsiteY100" fmla="*/ 16867 h 81173"/>
                    <a:gd name="connsiteX101" fmla="*/ 6927 w 80747"/>
                    <a:gd name="connsiteY101" fmla="*/ 17687 h 81173"/>
                    <a:gd name="connsiteX102" fmla="*/ 6517 w 80747"/>
                    <a:gd name="connsiteY102" fmla="*/ 18800 h 81173"/>
                    <a:gd name="connsiteX103" fmla="*/ 6283 w 80747"/>
                    <a:gd name="connsiteY103" fmla="*/ 19210 h 81173"/>
                    <a:gd name="connsiteX104" fmla="*/ 5463 w 80747"/>
                    <a:gd name="connsiteY104" fmla="*/ 20088 h 81173"/>
                    <a:gd name="connsiteX105" fmla="*/ 5111 w 80747"/>
                    <a:gd name="connsiteY105" fmla="*/ 21260 h 81173"/>
                    <a:gd name="connsiteX106" fmla="*/ 4877 w 80747"/>
                    <a:gd name="connsiteY106" fmla="*/ 21670 h 81173"/>
                    <a:gd name="connsiteX107" fmla="*/ 4116 w 80747"/>
                    <a:gd name="connsiteY107" fmla="*/ 22607 h 81173"/>
                    <a:gd name="connsiteX108" fmla="*/ 3881 w 80747"/>
                    <a:gd name="connsiteY108" fmla="*/ 23778 h 81173"/>
                    <a:gd name="connsiteX109" fmla="*/ 3706 w 80747"/>
                    <a:gd name="connsiteY109" fmla="*/ 24188 h 81173"/>
                    <a:gd name="connsiteX110" fmla="*/ 3003 w 80747"/>
                    <a:gd name="connsiteY110" fmla="*/ 25184 h 81173"/>
                    <a:gd name="connsiteX111" fmla="*/ 2827 w 80747"/>
                    <a:gd name="connsiteY111" fmla="*/ 26414 h 81173"/>
                    <a:gd name="connsiteX112" fmla="*/ 2651 w 80747"/>
                    <a:gd name="connsiteY112" fmla="*/ 26824 h 81173"/>
                    <a:gd name="connsiteX113" fmla="*/ 2007 w 80747"/>
                    <a:gd name="connsiteY113" fmla="*/ 27878 h 81173"/>
                    <a:gd name="connsiteX114" fmla="*/ 1948 w 80747"/>
                    <a:gd name="connsiteY114" fmla="*/ 29108 h 81173"/>
                    <a:gd name="connsiteX115" fmla="*/ 1831 w 80747"/>
                    <a:gd name="connsiteY115" fmla="*/ 29518 h 81173"/>
                    <a:gd name="connsiteX116" fmla="*/ 1245 w 80747"/>
                    <a:gd name="connsiteY116" fmla="*/ 30572 h 81173"/>
                    <a:gd name="connsiteX117" fmla="*/ 1245 w 80747"/>
                    <a:gd name="connsiteY117" fmla="*/ 31802 h 81173"/>
                    <a:gd name="connsiteX118" fmla="*/ 1128 w 80747"/>
                    <a:gd name="connsiteY118" fmla="*/ 32212 h 81173"/>
                    <a:gd name="connsiteX119" fmla="*/ 601 w 80747"/>
                    <a:gd name="connsiteY119" fmla="*/ 33325 h 81173"/>
                    <a:gd name="connsiteX120" fmla="*/ 718 w 80747"/>
                    <a:gd name="connsiteY120" fmla="*/ 34554 h 81173"/>
                    <a:gd name="connsiteX121" fmla="*/ 660 w 80747"/>
                    <a:gd name="connsiteY121" fmla="*/ 34964 h 81173"/>
                    <a:gd name="connsiteX122" fmla="*/ 250 w 80747"/>
                    <a:gd name="connsiteY122" fmla="*/ 36136 h 81173"/>
                    <a:gd name="connsiteX123" fmla="*/ 425 w 80747"/>
                    <a:gd name="connsiteY123" fmla="*/ 37366 h 81173"/>
                    <a:gd name="connsiteX124" fmla="*/ 367 w 80747"/>
                    <a:gd name="connsiteY124" fmla="*/ 37776 h 81173"/>
                    <a:gd name="connsiteX125" fmla="*/ 15 w 80747"/>
                    <a:gd name="connsiteY125" fmla="*/ 38947 h 81173"/>
                    <a:gd name="connsiteX126" fmla="*/ 250 w 80747"/>
                    <a:gd name="connsiteY126" fmla="*/ 40118 h 81173"/>
                    <a:gd name="connsiteX127" fmla="*/ 250 w 80747"/>
                    <a:gd name="connsiteY127" fmla="*/ 40528 h 81173"/>
                    <a:gd name="connsiteX128" fmla="*/ 15 w 80747"/>
                    <a:gd name="connsiteY128" fmla="*/ 41758 h 81173"/>
                    <a:gd name="connsiteX129" fmla="*/ 367 w 80747"/>
                    <a:gd name="connsiteY129" fmla="*/ 42929 h 81173"/>
                    <a:gd name="connsiteX130" fmla="*/ 425 w 80747"/>
                    <a:gd name="connsiteY130" fmla="*/ 43398 h 81173"/>
                    <a:gd name="connsiteX131" fmla="*/ 250 w 80747"/>
                    <a:gd name="connsiteY131" fmla="*/ 44628 h 81173"/>
                    <a:gd name="connsiteX132" fmla="*/ 660 w 80747"/>
                    <a:gd name="connsiteY132" fmla="*/ 45799 h 81173"/>
                    <a:gd name="connsiteX133" fmla="*/ 718 w 80747"/>
                    <a:gd name="connsiteY133" fmla="*/ 46268 h 81173"/>
                    <a:gd name="connsiteX134" fmla="*/ 601 w 80747"/>
                    <a:gd name="connsiteY134" fmla="*/ 47498 h 81173"/>
                    <a:gd name="connsiteX135" fmla="*/ 1128 w 80747"/>
                    <a:gd name="connsiteY135" fmla="*/ 48610 h 81173"/>
                    <a:gd name="connsiteX136" fmla="*/ 1245 w 80747"/>
                    <a:gd name="connsiteY136" fmla="*/ 49020 h 81173"/>
                    <a:gd name="connsiteX137" fmla="*/ 1245 w 80747"/>
                    <a:gd name="connsiteY137" fmla="*/ 50250 h 81173"/>
                    <a:gd name="connsiteX138" fmla="*/ 1831 w 80747"/>
                    <a:gd name="connsiteY138" fmla="*/ 51363 h 81173"/>
                    <a:gd name="connsiteX139" fmla="*/ 1948 w 80747"/>
                    <a:gd name="connsiteY139" fmla="*/ 51773 h 81173"/>
                    <a:gd name="connsiteX140" fmla="*/ 2007 w 80747"/>
                    <a:gd name="connsiteY140" fmla="*/ 53003 h 81173"/>
                    <a:gd name="connsiteX141" fmla="*/ 2651 w 80747"/>
                    <a:gd name="connsiteY141" fmla="*/ 54057 h 81173"/>
                    <a:gd name="connsiteX142" fmla="*/ 2768 w 80747"/>
                    <a:gd name="connsiteY142" fmla="*/ 54409 h 81173"/>
                    <a:gd name="connsiteX143" fmla="*/ 2944 w 80747"/>
                    <a:gd name="connsiteY143" fmla="*/ 55638 h 81173"/>
                    <a:gd name="connsiteX144" fmla="*/ 3706 w 80747"/>
                    <a:gd name="connsiteY144" fmla="*/ 56634 h 81173"/>
                    <a:gd name="connsiteX145" fmla="*/ 3881 w 80747"/>
                    <a:gd name="connsiteY145" fmla="*/ 56985 h 81173"/>
                    <a:gd name="connsiteX146" fmla="*/ 4116 w 80747"/>
                    <a:gd name="connsiteY146" fmla="*/ 58215 h 81173"/>
                    <a:gd name="connsiteX147" fmla="*/ 4936 w 80747"/>
                    <a:gd name="connsiteY147" fmla="*/ 59152 h 81173"/>
                    <a:gd name="connsiteX148" fmla="*/ 4994 w 80747"/>
                    <a:gd name="connsiteY148" fmla="*/ 59328 h 81173"/>
                    <a:gd name="connsiteX149" fmla="*/ 5111 w 80747"/>
                    <a:gd name="connsiteY149" fmla="*/ 59504 h 81173"/>
                    <a:gd name="connsiteX150" fmla="*/ 5463 w 80747"/>
                    <a:gd name="connsiteY150" fmla="*/ 60734 h 81173"/>
                    <a:gd name="connsiteX151" fmla="*/ 6341 w 80747"/>
                    <a:gd name="connsiteY151" fmla="*/ 61612 h 81173"/>
                    <a:gd name="connsiteX152" fmla="*/ 6576 w 80747"/>
                    <a:gd name="connsiteY152" fmla="*/ 61964 h 81173"/>
                    <a:gd name="connsiteX153" fmla="*/ 6986 w 80747"/>
                    <a:gd name="connsiteY153" fmla="*/ 63135 h 81173"/>
                    <a:gd name="connsiteX154" fmla="*/ 7923 w 80747"/>
                    <a:gd name="connsiteY154" fmla="*/ 63955 h 81173"/>
                    <a:gd name="connsiteX155" fmla="*/ 8157 w 80747"/>
                    <a:gd name="connsiteY155" fmla="*/ 64248 h 81173"/>
                    <a:gd name="connsiteX156" fmla="*/ 8626 w 80747"/>
                    <a:gd name="connsiteY156" fmla="*/ 65360 h 81173"/>
                    <a:gd name="connsiteX157" fmla="*/ 9563 w 80747"/>
                    <a:gd name="connsiteY157" fmla="*/ 66122 h 81173"/>
                    <a:gd name="connsiteX158" fmla="*/ 9856 w 80747"/>
                    <a:gd name="connsiteY158" fmla="*/ 66473 h 81173"/>
                    <a:gd name="connsiteX159" fmla="*/ 10442 w 80747"/>
                    <a:gd name="connsiteY159" fmla="*/ 67586 h 81173"/>
                    <a:gd name="connsiteX160" fmla="*/ 11437 w 80747"/>
                    <a:gd name="connsiteY160" fmla="*/ 68289 h 81173"/>
                    <a:gd name="connsiteX161" fmla="*/ 11730 w 80747"/>
                    <a:gd name="connsiteY161" fmla="*/ 68582 h 81173"/>
                    <a:gd name="connsiteX162" fmla="*/ 12375 w 80747"/>
                    <a:gd name="connsiteY162" fmla="*/ 69636 h 81173"/>
                    <a:gd name="connsiteX163" fmla="*/ 13429 w 80747"/>
                    <a:gd name="connsiteY163" fmla="*/ 70222 h 81173"/>
                    <a:gd name="connsiteX164" fmla="*/ 13781 w 80747"/>
                    <a:gd name="connsiteY164" fmla="*/ 70514 h 81173"/>
                    <a:gd name="connsiteX165" fmla="*/ 14483 w 80747"/>
                    <a:gd name="connsiteY165" fmla="*/ 71510 h 81173"/>
                    <a:gd name="connsiteX166" fmla="*/ 15596 w 80747"/>
                    <a:gd name="connsiteY166" fmla="*/ 72037 h 81173"/>
                    <a:gd name="connsiteX167" fmla="*/ 15948 w 80747"/>
                    <a:gd name="connsiteY167" fmla="*/ 72330 h 81173"/>
                    <a:gd name="connsiteX168" fmla="*/ 16709 w 80747"/>
                    <a:gd name="connsiteY168" fmla="*/ 73267 h 81173"/>
                    <a:gd name="connsiteX169" fmla="*/ 17881 w 80747"/>
                    <a:gd name="connsiteY169" fmla="*/ 73736 h 81173"/>
                    <a:gd name="connsiteX170" fmla="*/ 18232 w 80747"/>
                    <a:gd name="connsiteY170" fmla="*/ 73970 h 81173"/>
                    <a:gd name="connsiteX171" fmla="*/ 19052 w 80747"/>
                    <a:gd name="connsiteY171" fmla="*/ 74848 h 81173"/>
                    <a:gd name="connsiteX172" fmla="*/ 20224 w 80747"/>
                    <a:gd name="connsiteY172" fmla="*/ 75258 h 81173"/>
                    <a:gd name="connsiteX173" fmla="*/ 20575 w 80747"/>
                    <a:gd name="connsiteY173" fmla="*/ 75493 h 81173"/>
                    <a:gd name="connsiteX174" fmla="*/ 21512 w 80747"/>
                    <a:gd name="connsiteY174" fmla="*/ 76313 h 81173"/>
                    <a:gd name="connsiteX175" fmla="*/ 22684 w 80747"/>
                    <a:gd name="connsiteY175" fmla="*/ 76605 h 81173"/>
                    <a:gd name="connsiteX176" fmla="*/ 23035 w 80747"/>
                    <a:gd name="connsiteY176" fmla="*/ 76781 h 81173"/>
                    <a:gd name="connsiteX177" fmla="*/ 23973 w 80747"/>
                    <a:gd name="connsiteY177" fmla="*/ 77542 h 81173"/>
                    <a:gd name="connsiteX178" fmla="*/ 25203 w 80747"/>
                    <a:gd name="connsiteY178" fmla="*/ 77777 h 81173"/>
                    <a:gd name="connsiteX179" fmla="*/ 25613 w 80747"/>
                    <a:gd name="connsiteY179" fmla="*/ 77952 h 81173"/>
                    <a:gd name="connsiteX180" fmla="*/ 26609 w 80747"/>
                    <a:gd name="connsiteY180" fmla="*/ 78655 h 81173"/>
                    <a:gd name="connsiteX181" fmla="*/ 27839 w 80747"/>
                    <a:gd name="connsiteY181" fmla="*/ 78772 h 81173"/>
                    <a:gd name="connsiteX182" fmla="*/ 28249 w 80747"/>
                    <a:gd name="connsiteY182" fmla="*/ 78889 h 81173"/>
                    <a:gd name="connsiteX183" fmla="*/ 29303 w 80747"/>
                    <a:gd name="connsiteY183" fmla="*/ 79534 h 81173"/>
                    <a:gd name="connsiteX184" fmla="*/ 30533 w 80747"/>
                    <a:gd name="connsiteY184" fmla="*/ 79592 h 81173"/>
                    <a:gd name="connsiteX185" fmla="*/ 30943 w 80747"/>
                    <a:gd name="connsiteY185" fmla="*/ 79709 h 81173"/>
                    <a:gd name="connsiteX186" fmla="*/ 32056 w 80747"/>
                    <a:gd name="connsiteY186" fmla="*/ 80236 h 81173"/>
                    <a:gd name="connsiteX187" fmla="*/ 33286 w 80747"/>
                    <a:gd name="connsiteY187" fmla="*/ 80178 h 81173"/>
                    <a:gd name="connsiteX188" fmla="*/ 33755 w 80747"/>
                    <a:gd name="connsiteY188" fmla="*/ 80236 h 81173"/>
                    <a:gd name="connsiteX189" fmla="*/ 34868 w 80747"/>
                    <a:gd name="connsiteY189" fmla="*/ 80705 h 81173"/>
                    <a:gd name="connsiteX190" fmla="*/ 36039 w 80747"/>
                    <a:gd name="connsiteY190" fmla="*/ 80588 h 81173"/>
                    <a:gd name="connsiteX191" fmla="*/ 36508 w 80747"/>
                    <a:gd name="connsiteY191" fmla="*/ 80646 h 81173"/>
                    <a:gd name="connsiteX192" fmla="*/ 37679 w 80747"/>
                    <a:gd name="connsiteY192" fmla="*/ 81056 h 81173"/>
                    <a:gd name="connsiteX193" fmla="*/ 38851 w 80747"/>
                    <a:gd name="connsiteY193" fmla="*/ 80881 h 81173"/>
                    <a:gd name="connsiteX194" fmla="*/ 39319 w 80747"/>
                    <a:gd name="connsiteY194" fmla="*/ 80881 h 81173"/>
                    <a:gd name="connsiteX195" fmla="*/ 40491 w 80747"/>
                    <a:gd name="connsiteY195" fmla="*/ 81174 h 81173"/>
                    <a:gd name="connsiteX196" fmla="*/ 41662 w 80747"/>
                    <a:gd name="connsiteY196" fmla="*/ 80881 h 81173"/>
                    <a:gd name="connsiteX197" fmla="*/ 42131 w 80747"/>
                    <a:gd name="connsiteY197" fmla="*/ 80881 h 81173"/>
                    <a:gd name="connsiteX198" fmla="*/ 43303 w 80747"/>
                    <a:gd name="connsiteY198" fmla="*/ 81115 h 81173"/>
                    <a:gd name="connsiteX199" fmla="*/ 44357 w 80747"/>
                    <a:gd name="connsiteY199" fmla="*/ 80822 h 81173"/>
                    <a:gd name="connsiteX200" fmla="*/ 44474 w 80747"/>
                    <a:gd name="connsiteY200" fmla="*/ 80764 h 81173"/>
                    <a:gd name="connsiteX201" fmla="*/ 44943 w 80747"/>
                    <a:gd name="connsiteY201" fmla="*/ 80705 h 81173"/>
                    <a:gd name="connsiteX202" fmla="*/ 46114 w 80747"/>
                    <a:gd name="connsiteY202" fmla="*/ 80822 h 81173"/>
                    <a:gd name="connsiteX203" fmla="*/ 46934 w 80747"/>
                    <a:gd name="connsiteY203" fmla="*/ 80529 h 81173"/>
                    <a:gd name="connsiteX204" fmla="*/ 47169 w 80747"/>
                    <a:gd name="connsiteY204" fmla="*/ 80354 h 81173"/>
                    <a:gd name="connsiteX205" fmla="*/ 47637 w 80747"/>
                    <a:gd name="connsiteY205" fmla="*/ 80295 h 81173"/>
                    <a:gd name="connsiteX206" fmla="*/ 48809 w 80747"/>
                    <a:gd name="connsiteY206" fmla="*/ 80354 h 81173"/>
                    <a:gd name="connsiteX207" fmla="*/ 49453 w 80747"/>
                    <a:gd name="connsiteY207" fmla="*/ 80119 h 81173"/>
                    <a:gd name="connsiteX208" fmla="*/ 49863 w 80747"/>
                    <a:gd name="connsiteY208" fmla="*/ 79827 h 81173"/>
                    <a:gd name="connsiteX209" fmla="*/ 50332 w 80747"/>
                    <a:gd name="connsiteY209" fmla="*/ 79709 h 81173"/>
                    <a:gd name="connsiteX210" fmla="*/ 51503 w 80747"/>
                    <a:gd name="connsiteY210" fmla="*/ 79651 h 81173"/>
                    <a:gd name="connsiteX211" fmla="*/ 51972 w 80747"/>
                    <a:gd name="connsiteY211" fmla="*/ 79475 h 81173"/>
                    <a:gd name="connsiteX212" fmla="*/ 52499 w 80747"/>
                    <a:gd name="connsiteY212" fmla="*/ 79065 h 81173"/>
                    <a:gd name="connsiteX213" fmla="*/ 52968 w 80747"/>
                    <a:gd name="connsiteY213" fmla="*/ 78889 h 81173"/>
                    <a:gd name="connsiteX214" fmla="*/ 54139 w 80747"/>
                    <a:gd name="connsiteY214" fmla="*/ 78772 h 81173"/>
                    <a:gd name="connsiteX215" fmla="*/ 54491 w 80747"/>
                    <a:gd name="connsiteY215" fmla="*/ 78655 h 81173"/>
                    <a:gd name="connsiteX216" fmla="*/ 55135 w 80747"/>
                    <a:gd name="connsiteY216" fmla="*/ 78128 h 81173"/>
                    <a:gd name="connsiteX217" fmla="*/ 55604 w 80747"/>
                    <a:gd name="connsiteY217" fmla="*/ 77952 h 81173"/>
                    <a:gd name="connsiteX218" fmla="*/ 56775 w 80747"/>
                    <a:gd name="connsiteY218" fmla="*/ 77777 h 81173"/>
                    <a:gd name="connsiteX219" fmla="*/ 56951 w 80747"/>
                    <a:gd name="connsiteY219" fmla="*/ 77718 h 81173"/>
                    <a:gd name="connsiteX220" fmla="*/ 57712 w 80747"/>
                    <a:gd name="connsiteY220" fmla="*/ 77074 h 81173"/>
                    <a:gd name="connsiteX221" fmla="*/ 58122 w 80747"/>
                    <a:gd name="connsiteY221" fmla="*/ 76840 h 81173"/>
                    <a:gd name="connsiteX222" fmla="*/ 59294 w 80747"/>
                    <a:gd name="connsiteY222" fmla="*/ 76547 h 81173"/>
                    <a:gd name="connsiteX223" fmla="*/ 59294 w 80747"/>
                    <a:gd name="connsiteY223" fmla="*/ 76547 h 81173"/>
                    <a:gd name="connsiteX224" fmla="*/ 60172 w 80747"/>
                    <a:gd name="connsiteY224" fmla="*/ 75727 h 81173"/>
                    <a:gd name="connsiteX225" fmla="*/ 60582 w 80747"/>
                    <a:gd name="connsiteY225" fmla="*/ 75493 h 81173"/>
                    <a:gd name="connsiteX226" fmla="*/ 61578 w 80747"/>
                    <a:gd name="connsiteY226" fmla="*/ 75200 h 81173"/>
                    <a:gd name="connsiteX227" fmla="*/ 61754 w 80747"/>
                    <a:gd name="connsiteY227" fmla="*/ 75083 h 81173"/>
                    <a:gd name="connsiteX228" fmla="*/ 62574 w 80747"/>
                    <a:gd name="connsiteY228" fmla="*/ 74204 h 81173"/>
                    <a:gd name="connsiteX229" fmla="*/ 62984 w 80747"/>
                    <a:gd name="connsiteY229" fmla="*/ 73911 h 81173"/>
                    <a:gd name="connsiteX230" fmla="*/ 63804 w 80747"/>
                    <a:gd name="connsiteY230" fmla="*/ 73677 h 81173"/>
                    <a:gd name="connsiteX231" fmla="*/ 64097 w 80747"/>
                    <a:gd name="connsiteY231" fmla="*/ 73501 h 81173"/>
                    <a:gd name="connsiteX232" fmla="*/ 64858 w 80747"/>
                    <a:gd name="connsiteY232" fmla="*/ 72623 h 81173"/>
                    <a:gd name="connsiteX233" fmla="*/ 65210 w 80747"/>
                    <a:gd name="connsiteY233" fmla="*/ 72330 h 81173"/>
                    <a:gd name="connsiteX234" fmla="*/ 65854 w 80747"/>
                    <a:gd name="connsiteY234" fmla="*/ 72096 h 81173"/>
                    <a:gd name="connsiteX235" fmla="*/ 66323 w 80747"/>
                    <a:gd name="connsiteY235" fmla="*/ 71803 h 81173"/>
                    <a:gd name="connsiteX236" fmla="*/ 67026 w 80747"/>
                    <a:gd name="connsiteY236" fmla="*/ 70866 h 81173"/>
                    <a:gd name="connsiteX237" fmla="*/ 67377 w 80747"/>
                    <a:gd name="connsiteY237" fmla="*/ 70514 h 81173"/>
                    <a:gd name="connsiteX238" fmla="*/ 67846 w 80747"/>
                    <a:gd name="connsiteY238" fmla="*/ 70339 h 81173"/>
                    <a:gd name="connsiteX239" fmla="*/ 68432 w 80747"/>
                    <a:gd name="connsiteY239" fmla="*/ 69929 h 81173"/>
                    <a:gd name="connsiteX240" fmla="*/ 69076 w 80747"/>
                    <a:gd name="connsiteY240" fmla="*/ 68933 h 81173"/>
                    <a:gd name="connsiteX241" fmla="*/ 69427 w 80747"/>
                    <a:gd name="connsiteY241" fmla="*/ 68582 h 81173"/>
                    <a:gd name="connsiteX242" fmla="*/ 69720 w 80747"/>
                    <a:gd name="connsiteY242" fmla="*/ 68465 h 81173"/>
                    <a:gd name="connsiteX243" fmla="*/ 70423 w 80747"/>
                    <a:gd name="connsiteY243" fmla="*/ 67937 h 81173"/>
                    <a:gd name="connsiteX244" fmla="*/ 71009 w 80747"/>
                    <a:gd name="connsiteY244" fmla="*/ 66883 h 81173"/>
                    <a:gd name="connsiteX245" fmla="*/ 71302 w 80747"/>
                    <a:gd name="connsiteY245" fmla="*/ 66532 h 81173"/>
                    <a:gd name="connsiteX246" fmla="*/ 71419 w 80747"/>
                    <a:gd name="connsiteY246" fmla="*/ 66473 h 81173"/>
                    <a:gd name="connsiteX247" fmla="*/ 72239 w 80747"/>
                    <a:gd name="connsiteY247" fmla="*/ 65771 h 81173"/>
                    <a:gd name="connsiteX248" fmla="*/ 72708 w 80747"/>
                    <a:gd name="connsiteY248" fmla="*/ 64716 h 81173"/>
                    <a:gd name="connsiteX249" fmla="*/ 73000 w 80747"/>
                    <a:gd name="connsiteY249" fmla="*/ 64306 h 81173"/>
                    <a:gd name="connsiteX250" fmla="*/ 73879 w 80747"/>
                    <a:gd name="connsiteY250" fmla="*/ 63486 h 81173"/>
                    <a:gd name="connsiteX251" fmla="*/ 74289 w 80747"/>
                    <a:gd name="connsiteY251" fmla="*/ 62374 h 81173"/>
                    <a:gd name="connsiteX252" fmla="*/ 74523 w 80747"/>
                    <a:gd name="connsiteY252" fmla="*/ 61964 h 81173"/>
                    <a:gd name="connsiteX253" fmla="*/ 75343 w 80747"/>
                    <a:gd name="connsiteY253" fmla="*/ 61085 h 81173"/>
                    <a:gd name="connsiteX254" fmla="*/ 75695 w 80747"/>
                    <a:gd name="connsiteY254" fmla="*/ 59914 h 81173"/>
                    <a:gd name="connsiteX255" fmla="*/ 75929 w 80747"/>
                    <a:gd name="connsiteY255" fmla="*/ 59504 h 81173"/>
                    <a:gd name="connsiteX256" fmla="*/ 76691 w 80747"/>
                    <a:gd name="connsiteY256" fmla="*/ 58567 h 81173"/>
                    <a:gd name="connsiteX257" fmla="*/ 76925 w 80747"/>
                    <a:gd name="connsiteY257" fmla="*/ 57395 h 81173"/>
                    <a:gd name="connsiteX258" fmla="*/ 77101 w 80747"/>
                    <a:gd name="connsiteY258" fmla="*/ 56985 h 81173"/>
                    <a:gd name="connsiteX259" fmla="*/ 77804 w 80747"/>
                    <a:gd name="connsiteY259" fmla="*/ 55990 h 81173"/>
                    <a:gd name="connsiteX260" fmla="*/ 77979 w 80747"/>
                    <a:gd name="connsiteY260" fmla="*/ 54818 h 81173"/>
                    <a:gd name="connsiteX261" fmla="*/ 78155 w 80747"/>
                    <a:gd name="connsiteY261" fmla="*/ 54409 h 81173"/>
                    <a:gd name="connsiteX262" fmla="*/ 78799 w 80747"/>
                    <a:gd name="connsiteY262" fmla="*/ 53354 h 81173"/>
                    <a:gd name="connsiteX263" fmla="*/ 78858 w 80747"/>
                    <a:gd name="connsiteY263" fmla="*/ 52124 h 81173"/>
                    <a:gd name="connsiteX264" fmla="*/ 78975 w 80747"/>
                    <a:gd name="connsiteY264" fmla="*/ 51714 h 81173"/>
                    <a:gd name="connsiteX265" fmla="*/ 79561 w 80747"/>
                    <a:gd name="connsiteY265" fmla="*/ 50660 h 81173"/>
                    <a:gd name="connsiteX266" fmla="*/ 79561 w 80747"/>
                    <a:gd name="connsiteY266" fmla="*/ 49430 h 81173"/>
                    <a:gd name="connsiteX267" fmla="*/ 79678 w 80747"/>
                    <a:gd name="connsiteY267" fmla="*/ 49020 h 81173"/>
                    <a:gd name="connsiteX268" fmla="*/ 80205 w 80747"/>
                    <a:gd name="connsiteY268" fmla="*/ 47908 h 81173"/>
                    <a:gd name="connsiteX269" fmla="*/ 80088 w 80747"/>
                    <a:gd name="connsiteY269" fmla="*/ 46678 h 81173"/>
                    <a:gd name="connsiteX270" fmla="*/ 80147 w 80747"/>
                    <a:gd name="connsiteY270" fmla="*/ 46268 h 81173"/>
                    <a:gd name="connsiteX271" fmla="*/ 80557 w 80747"/>
                    <a:gd name="connsiteY271" fmla="*/ 45096 h 81173"/>
                    <a:gd name="connsiteX272" fmla="*/ 80381 w 80747"/>
                    <a:gd name="connsiteY272" fmla="*/ 43867 h 81173"/>
                    <a:gd name="connsiteX273" fmla="*/ 80381 w 80747"/>
                    <a:gd name="connsiteY273" fmla="*/ 43457 h 81173"/>
                    <a:gd name="connsiteX274" fmla="*/ 80732 w 80747"/>
                    <a:gd name="connsiteY274" fmla="*/ 42285 h 81173"/>
                    <a:gd name="connsiteX275" fmla="*/ 80498 w 80747"/>
                    <a:gd name="connsiteY275" fmla="*/ 41114 h 81173"/>
                    <a:gd name="connsiteX276" fmla="*/ 80498 w 80747"/>
                    <a:gd name="connsiteY276" fmla="*/ 40704 h 81173"/>
                    <a:gd name="connsiteX277" fmla="*/ 80732 w 80747"/>
                    <a:gd name="connsiteY277" fmla="*/ 39474 h 81173"/>
                    <a:gd name="connsiteX278" fmla="*/ 80381 w 80747"/>
                    <a:gd name="connsiteY278" fmla="*/ 38303 h 81173"/>
                    <a:gd name="connsiteX279" fmla="*/ 80322 w 80747"/>
                    <a:gd name="connsiteY279" fmla="*/ 37834 h 81173"/>
                    <a:gd name="connsiteX280" fmla="*/ 80498 w 80747"/>
                    <a:gd name="connsiteY280" fmla="*/ 36604 h 81173"/>
                    <a:gd name="connsiteX281" fmla="*/ 80088 w 80747"/>
                    <a:gd name="connsiteY281" fmla="*/ 35433 h 81173"/>
                    <a:gd name="connsiteX282" fmla="*/ 80030 w 80747"/>
                    <a:gd name="connsiteY282" fmla="*/ 34964 h 81173"/>
                    <a:gd name="connsiteX283" fmla="*/ 80147 w 80747"/>
                    <a:gd name="connsiteY283" fmla="*/ 33734 h 81173"/>
                    <a:gd name="connsiteX284" fmla="*/ 79620 w 80747"/>
                    <a:gd name="connsiteY284" fmla="*/ 32622 h 81173"/>
                    <a:gd name="connsiteX285" fmla="*/ 79502 w 80747"/>
                    <a:gd name="connsiteY285" fmla="*/ 32212 h 81173"/>
                    <a:gd name="connsiteX286" fmla="*/ 79502 w 80747"/>
                    <a:gd name="connsiteY286" fmla="*/ 30982 h 81173"/>
                    <a:gd name="connsiteX287" fmla="*/ 78917 w 80747"/>
                    <a:gd name="connsiteY287" fmla="*/ 29869 h 81173"/>
                    <a:gd name="connsiteX288" fmla="*/ 78799 w 80747"/>
                    <a:gd name="connsiteY288" fmla="*/ 29459 h 81173"/>
                    <a:gd name="connsiteX289" fmla="*/ 78741 w 80747"/>
                    <a:gd name="connsiteY289" fmla="*/ 28229 h 81173"/>
                    <a:gd name="connsiteX290" fmla="*/ 78097 w 80747"/>
                    <a:gd name="connsiteY290" fmla="*/ 27175 h 81173"/>
                    <a:gd name="connsiteX291" fmla="*/ 77979 w 80747"/>
                    <a:gd name="connsiteY291" fmla="*/ 26824 h 81173"/>
                    <a:gd name="connsiteX292" fmla="*/ 77804 w 80747"/>
                    <a:gd name="connsiteY292" fmla="*/ 25594 h 81173"/>
                    <a:gd name="connsiteX293" fmla="*/ 77042 w 80747"/>
                    <a:gd name="connsiteY293" fmla="*/ 24598 h 81173"/>
                    <a:gd name="connsiteX294" fmla="*/ 76866 w 80747"/>
                    <a:gd name="connsiteY294" fmla="*/ 24247 h 81173"/>
                    <a:gd name="connsiteX295" fmla="*/ 76456 w 80747"/>
                    <a:gd name="connsiteY295" fmla="*/ 23075 h 81173"/>
                    <a:gd name="connsiteX296" fmla="*/ 71946 w 80747"/>
                    <a:gd name="connsiteY296" fmla="*/ 19327 h 81173"/>
                    <a:gd name="connsiteX297" fmla="*/ 72063 w 80747"/>
                    <a:gd name="connsiteY297" fmla="*/ 19268 h 81173"/>
                    <a:gd name="connsiteX298" fmla="*/ 71946 w 80747"/>
                    <a:gd name="connsiteY298" fmla="*/ 19327 h 81173"/>
                    <a:gd name="connsiteX299" fmla="*/ 71595 w 80747"/>
                    <a:gd name="connsiteY299" fmla="*/ 20616 h 81173"/>
                    <a:gd name="connsiteX300" fmla="*/ 69486 w 80747"/>
                    <a:gd name="connsiteY300" fmla="*/ 22021 h 81173"/>
                    <a:gd name="connsiteX301" fmla="*/ 68197 w 80747"/>
                    <a:gd name="connsiteY301" fmla="*/ 21845 h 81173"/>
                    <a:gd name="connsiteX302" fmla="*/ 68549 w 80747"/>
                    <a:gd name="connsiteY302" fmla="*/ 20557 h 81173"/>
                    <a:gd name="connsiteX303" fmla="*/ 70657 w 80747"/>
                    <a:gd name="connsiteY303" fmla="*/ 19151 h 81173"/>
                    <a:gd name="connsiteX304" fmla="*/ 71946 w 80747"/>
                    <a:gd name="connsiteY304" fmla="*/ 19327 h 81173"/>
                    <a:gd name="connsiteX305" fmla="*/ 70365 w 80747"/>
                    <a:gd name="connsiteY305" fmla="*/ 17102 h 81173"/>
                    <a:gd name="connsiteX306" fmla="*/ 70482 w 80747"/>
                    <a:gd name="connsiteY306" fmla="*/ 17043 h 81173"/>
                    <a:gd name="connsiteX307" fmla="*/ 70365 w 80747"/>
                    <a:gd name="connsiteY307" fmla="*/ 17102 h 81173"/>
                    <a:gd name="connsiteX308" fmla="*/ 70130 w 80747"/>
                    <a:gd name="connsiteY308" fmla="*/ 18390 h 81173"/>
                    <a:gd name="connsiteX309" fmla="*/ 68139 w 80747"/>
                    <a:gd name="connsiteY309" fmla="*/ 19913 h 81173"/>
                    <a:gd name="connsiteX310" fmla="*/ 66791 w 80747"/>
                    <a:gd name="connsiteY310" fmla="*/ 19854 h 81173"/>
                    <a:gd name="connsiteX311" fmla="*/ 67026 w 80747"/>
                    <a:gd name="connsiteY311" fmla="*/ 18566 h 81173"/>
                    <a:gd name="connsiteX312" fmla="*/ 69017 w 80747"/>
                    <a:gd name="connsiteY312" fmla="*/ 17043 h 81173"/>
                    <a:gd name="connsiteX313" fmla="*/ 70365 w 80747"/>
                    <a:gd name="connsiteY313" fmla="*/ 17102 h 81173"/>
                    <a:gd name="connsiteX314" fmla="*/ 68666 w 80747"/>
                    <a:gd name="connsiteY314" fmla="*/ 15052 h 81173"/>
                    <a:gd name="connsiteX315" fmla="*/ 68783 w 80747"/>
                    <a:gd name="connsiteY315" fmla="*/ 14993 h 81173"/>
                    <a:gd name="connsiteX316" fmla="*/ 68666 w 80747"/>
                    <a:gd name="connsiteY316" fmla="*/ 15052 h 81173"/>
                    <a:gd name="connsiteX317" fmla="*/ 68490 w 80747"/>
                    <a:gd name="connsiteY317" fmla="*/ 16340 h 81173"/>
                    <a:gd name="connsiteX318" fmla="*/ 66616 w 80747"/>
                    <a:gd name="connsiteY318" fmla="*/ 18039 h 81173"/>
                    <a:gd name="connsiteX319" fmla="*/ 65268 w 80747"/>
                    <a:gd name="connsiteY319" fmla="*/ 18039 h 81173"/>
                    <a:gd name="connsiteX320" fmla="*/ 65444 w 80747"/>
                    <a:gd name="connsiteY320" fmla="*/ 16750 h 81173"/>
                    <a:gd name="connsiteX321" fmla="*/ 67319 w 80747"/>
                    <a:gd name="connsiteY321" fmla="*/ 15052 h 81173"/>
                    <a:gd name="connsiteX322" fmla="*/ 68666 w 80747"/>
                    <a:gd name="connsiteY322" fmla="*/ 15052 h 81173"/>
                    <a:gd name="connsiteX323" fmla="*/ 66791 w 80747"/>
                    <a:gd name="connsiteY323" fmla="*/ 13119 h 81173"/>
                    <a:gd name="connsiteX324" fmla="*/ 66909 w 80747"/>
                    <a:gd name="connsiteY324" fmla="*/ 13002 h 81173"/>
                    <a:gd name="connsiteX325" fmla="*/ 66791 w 80747"/>
                    <a:gd name="connsiteY325" fmla="*/ 13119 h 81173"/>
                    <a:gd name="connsiteX326" fmla="*/ 66733 w 80747"/>
                    <a:gd name="connsiteY326" fmla="*/ 14466 h 81173"/>
                    <a:gd name="connsiteX327" fmla="*/ 64976 w 80747"/>
                    <a:gd name="connsiteY327" fmla="*/ 16282 h 81173"/>
                    <a:gd name="connsiteX328" fmla="*/ 63687 w 80747"/>
                    <a:gd name="connsiteY328" fmla="*/ 16399 h 81173"/>
                    <a:gd name="connsiteX329" fmla="*/ 63746 w 80747"/>
                    <a:gd name="connsiteY329" fmla="*/ 15110 h 81173"/>
                    <a:gd name="connsiteX330" fmla="*/ 65503 w 80747"/>
                    <a:gd name="connsiteY330" fmla="*/ 13295 h 81173"/>
                    <a:gd name="connsiteX331" fmla="*/ 66791 w 80747"/>
                    <a:gd name="connsiteY331" fmla="*/ 13119 h 81173"/>
                    <a:gd name="connsiteX332" fmla="*/ 64858 w 80747"/>
                    <a:gd name="connsiteY332" fmla="*/ 11303 h 81173"/>
                    <a:gd name="connsiteX333" fmla="*/ 64976 w 80747"/>
                    <a:gd name="connsiteY333" fmla="*/ 11186 h 81173"/>
                    <a:gd name="connsiteX334" fmla="*/ 64858 w 80747"/>
                    <a:gd name="connsiteY334" fmla="*/ 11303 h 81173"/>
                    <a:gd name="connsiteX335" fmla="*/ 64858 w 80747"/>
                    <a:gd name="connsiteY335" fmla="*/ 12650 h 81173"/>
                    <a:gd name="connsiteX336" fmla="*/ 63218 w 80747"/>
                    <a:gd name="connsiteY336" fmla="*/ 14583 h 81173"/>
                    <a:gd name="connsiteX337" fmla="*/ 61930 w 80747"/>
                    <a:gd name="connsiteY337" fmla="*/ 14759 h 81173"/>
                    <a:gd name="connsiteX338" fmla="*/ 61930 w 80747"/>
                    <a:gd name="connsiteY338" fmla="*/ 13412 h 81173"/>
                    <a:gd name="connsiteX339" fmla="*/ 63570 w 80747"/>
                    <a:gd name="connsiteY339" fmla="*/ 11479 h 81173"/>
                    <a:gd name="connsiteX340" fmla="*/ 64858 w 80747"/>
                    <a:gd name="connsiteY340" fmla="*/ 11303 h 81173"/>
                    <a:gd name="connsiteX341" fmla="*/ 56892 w 80747"/>
                    <a:gd name="connsiteY341" fmla="*/ 56517 h 81173"/>
                    <a:gd name="connsiteX342" fmla="*/ 55896 w 80747"/>
                    <a:gd name="connsiteY342" fmla="*/ 57571 h 81173"/>
                    <a:gd name="connsiteX343" fmla="*/ 53202 w 80747"/>
                    <a:gd name="connsiteY343" fmla="*/ 57630 h 81173"/>
                    <a:gd name="connsiteX344" fmla="*/ 52792 w 80747"/>
                    <a:gd name="connsiteY344" fmla="*/ 57454 h 81173"/>
                    <a:gd name="connsiteX345" fmla="*/ 52792 w 80747"/>
                    <a:gd name="connsiteY345" fmla="*/ 56575 h 81173"/>
                    <a:gd name="connsiteX346" fmla="*/ 52792 w 80747"/>
                    <a:gd name="connsiteY346" fmla="*/ 56575 h 81173"/>
                    <a:gd name="connsiteX347" fmla="*/ 52968 w 80747"/>
                    <a:gd name="connsiteY347" fmla="*/ 56458 h 81173"/>
                    <a:gd name="connsiteX348" fmla="*/ 54549 w 80747"/>
                    <a:gd name="connsiteY348" fmla="*/ 55287 h 81173"/>
                    <a:gd name="connsiteX349" fmla="*/ 55662 w 80747"/>
                    <a:gd name="connsiteY349" fmla="*/ 53647 h 81173"/>
                    <a:gd name="connsiteX350" fmla="*/ 55779 w 80747"/>
                    <a:gd name="connsiteY350" fmla="*/ 53471 h 81173"/>
                    <a:gd name="connsiteX351" fmla="*/ 55779 w 80747"/>
                    <a:gd name="connsiteY351" fmla="*/ 53471 h 81173"/>
                    <a:gd name="connsiteX352" fmla="*/ 56658 w 80747"/>
                    <a:gd name="connsiteY352" fmla="*/ 53471 h 81173"/>
                    <a:gd name="connsiteX353" fmla="*/ 56834 w 80747"/>
                    <a:gd name="connsiteY353" fmla="*/ 53940 h 81173"/>
                    <a:gd name="connsiteX354" fmla="*/ 56834 w 80747"/>
                    <a:gd name="connsiteY354" fmla="*/ 53940 h 81173"/>
                    <a:gd name="connsiteX355" fmla="*/ 56892 w 80747"/>
                    <a:gd name="connsiteY355" fmla="*/ 56517 h 81173"/>
                    <a:gd name="connsiteX356" fmla="*/ 58181 w 80747"/>
                    <a:gd name="connsiteY356" fmla="*/ 58215 h 81173"/>
                    <a:gd name="connsiteX357" fmla="*/ 57244 w 80747"/>
                    <a:gd name="connsiteY357" fmla="*/ 58801 h 81173"/>
                    <a:gd name="connsiteX358" fmla="*/ 56658 w 80747"/>
                    <a:gd name="connsiteY358" fmla="*/ 57864 h 81173"/>
                    <a:gd name="connsiteX359" fmla="*/ 57595 w 80747"/>
                    <a:gd name="connsiteY359" fmla="*/ 57278 h 81173"/>
                    <a:gd name="connsiteX360" fmla="*/ 58181 w 80747"/>
                    <a:gd name="connsiteY360" fmla="*/ 58215 h 81173"/>
                    <a:gd name="connsiteX361" fmla="*/ 49160 w 80747"/>
                    <a:gd name="connsiteY361" fmla="*/ 55580 h 81173"/>
                    <a:gd name="connsiteX362" fmla="*/ 48867 w 80747"/>
                    <a:gd name="connsiteY362" fmla="*/ 57278 h 81173"/>
                    <a:gd name="connsiteX363" fmla="*/ 47344 w 80747"/>
                    <a:gd name="connsiteY363" fmla="*/ 56517 h 81173"/>
                    <a:gd name="connsiteX364" fmla="*/ 44240 w 80747"/>
                    <a:gd name="connsiteY364" fmla="*/ 55111 h 81173"/>
                    <a:gd name="connsiteX365" fmla="*/ 42658 w 80747"/>
                    <a:gd name="connsiteY365" fmla="*/ 54584 h 81173"/>
                    <a:gd name="connsiteX366" fmla="*/ 43771 w 80747"/>
                    <a:gd name="connsiteY366" fmla="*/ 53823 h 81173"/>
                    <a:gd name="connsiteX367" fmla="*/ 45704 w 80747"/>
                    <a:gd name="connsiteY367" fmla="*/ 54584 h 81173"/>
                    <a:gd name="connsiteX368" fmla="*/ 45939 w 80747"/>
                    <a:gd name="connsiteY368" fmla="*/ 53530 h 81173"/>
                    <a:gd name="connsiteX369" fmla="*/ 46349 w 80747"/>
                    <a:gd name="connsiteY369" fmla="*/ 52534 h 81173"/>
                    <a:gd name="connsiteX370" fmla="*/ 48399 w 80747"/>
                    <a:gd name="connsiteY370" fmla="*/ 53120 h 81173"/>
                    <a:gd name="connsiteX371" fmla="*/ 48750 w 80747"/>
                    <a:gd name="connsiteY371" fmla="*/ 51187 h 81173"/>
                    <a:gd name="connsiteX372" fmla="*/ 50215 w 80747"/>
                    <a:gd name="connsiteY372" fmla="*/ 50602 h 81173"/>
                    <a:gd name="connsiteX373" fmla="*/ 49746 w 80747"/>
                    <a:gd name="connsiteY373" fmla="*/ 52242 h 81173"/>
                    <a:gd name="connsiteX374" fmla="*/ 49160 w 80747"/>
                    <a:gd name="connsiteY374" fmla="*/ 55580 h 81173"/>
                    <a:gd name="connsiteX375" fmla="*/ 53026 w 80747"/>
                    <a:gd name="connsiteY375" fmla="*/ 62784 h 81173"/>
                    <a:gd name="connsiteX376" fmla="*/ 52265 w 80747"/>
                    <a:gd name="connsiteY376" fmla="*/ 63603 h 81173"/>
                    <a:gd name="connsiteX377" fmla="*/ 51445 w 80747"/>
                    <a:gd name="connsiteY377" fmla="*/ 62842 h 81173"/>
                    <a:gd name="connsiteX378" fmla="*/ 52206 w 80747"/>
                    <a:gd name="connsiteY378" fmla="*/ 62022 h 81173"/>
                    <a:gd name="connsiteX379" fmla="*/ 53026 w 80747"/>
                    <a:gd name="connsiteY379" fmla="*/ 62784 h 81173"/>
                    <a:gd name="connsiteX380" fmla="*/ 50683 w 80747"/>
                    <a:gd name="connsiteY380" fmla="*/ 65126 h 81173"/>
                    <a:gd name="connsiteX381" fmla="*/ 50800 w 80747"/>
                    <a:gd name="connsiteY381" fmla="*/ 65302 h 81173"/>
                    <a:gd name="connsiteX382" fmla="*/ 50800 w 80747"/>
                    <a:gd name="connsiteY382" fmla="*/ 65302 h 81173"/>
                    <a:gd name="connsiteX383" fmla="*/ 50390 w 80747"/>
                    <a:gd name="connsiteY383" fmla="*/ 66063 h 81173"/>
                    <a:gd name="connsiteX384" fmla="*/ 49922 w 80747"/>
                    <a:gd name="connsiteY384" fmla="*/ 66005 h 81173"/>
                    <a:gd name="connsiteX385" fmla="*/ 47637 w 80747"/>
                    <a:gd name="connsiteY385" fmla="*/ 64658 h 81173"/>
                    <a:gd name="connsiteX386" fmla="*/ 47286 w 80747"/>
                    <a:gd name="connsiteY386" fmla="*/ 63252 h 81173"/>
                    <a:gd name="connsiteX387" fmla="*/ 48633 w 80747"/>
                    <a:gd name="connsiteY387" fmla="*/ 60909 h 81173"/>
                    <a:gd name="connsiteX388" fmla="*/ 48984 w 80747"/>
                    <a:gd name="connsiteY388" fmla="*/ 60675 h 81173"/>
                    <a:gd name="connsiteX389" fmla="*/ 49746 w 80747"/>
                    <a:gd name="connsiteY389" fmla="*/ 61085 h 81173"/>
                    <a:gd name="connsiteX390" fmla="*/ 49746 w 80747"/>
                    <a:gd name="connsiteY390" fmla="*/ 61085 h 81173"/>
                    <a:gd name="connsiteX391" fmla="*/ 49746 w 80747"/>
                    <a:gd name="connsiteY391" fmla="*/ 61319 h 81173"/>
                    <a:gd name="connsiteX392" fmla="*/ 49922 w 80747"/>
                    <a:gd name="connsiteY392" fmla="*/ 63311 h 81173"/>
                    <a:gd name="connsiteX393" fmla="*/ 50683 w 80747"/>
                    <a:gd name="connsiteY393" fmla="*/ 65126 h 81173"/>
                    <a:gd name="connsiteX394" fmla="*/ 24968 w 80747"/>
                    <a:gd name="connsiteY394" fmla="*/ 62139 h 81173"/>
                    <a:gd name="connsiteX395" fmla="*/ 24851 w 80747"/>
                    <a:gd name="connsiteY395" fmla="*/ 62315 h 81173"/>
                    <a:gd name="connsiteX396" fmla="*/ 24851 w 80747"/>
                    <a:gd name="connsiteY396" fmla="*/ 62315 h 81173"/>
                    <a:gd name="connsiteX397" fmla="*/ 23973 w 80747"/>
                    <a:gd name="connsiteY397" fmla="*/ 62315 h 81173"/>
                    <a:gd name="connsiteX398" fmla="*/ 23797 w 80747"/>
                    <a:gd name="connsiteY398" fmla="*/ 61846 h 81173"/>
                    <a:gd name="connsiteX399" fmla="*/ 23738 w 80747"/>
                    <a:gd name="connsiteY399" fmla="*/ 59211 h 81173"/>
                    <a:gd name="connsiteX400" fmla="*/ 24734 w 80747"/>
                    <a:gd name="connsiteY400" fmla="*/ 58157 h 81173"/>
                    <a:gd name="connsiteX401" fmla="*/ 27429 w 80747"/>
                    <a:gd name="connsiteY401" fmla="*/ 58098 h 81173"/>
                    <a:gd name="connsiteX402" fmla="*/ 27839 w 80747"/>
                    <a:gd name="connsiteY402" fmla="*/ 58274 h 81173"/>
                    <a:gd name="connsiteX403" fmla="*/ 27839 w 80747"/>
                    <a:gd name="connsiteY403" fmla="*/ 59152 h 81173"/>
                    <a:gd name="connsiteX404" fmla="*/ 27839 w 80747"/>
                    <a:gd name="connsiteY404" fmla="*/ 59152 h 81173"/>
                    <a:gd name="connsiteX405" fmla="*/ 27663 w 80747"/>
                    <a:gd name="connsiteY405" fmla="*/ 59270 h 81173"/>
                    <a:gd name="connsiteX406" fmla="*/ 26081 w 80747"/>
                    <a:gd name="connsiteY406" fmla="*/ 60441 h 81173"/>
                    <a:gd name="connsiteX407" fmla="*/ 24968 w 80747"/>
                    <a:gd name="connsiteY407" fmla="*/ 62139 h 81173"/>
                    <a:gd name="connsiteX408" fmla="*/ 29713 w 80747"/>
                    <a:gd name="connsiteY408" fmla="*/ 71334 h 81173"/>
                    <a:gd name="connsiteX409" fmla="*/ 30182 w 80747"/>
                    <a:gd name="connsiteY409" fmla="*/ 69870 h 81173"/>
                    <a:gd name="connsiteX410" fmla="*/ 29713 w 80747"/>
                    <a:gd name="connsiteY410" fmla="*/ 71334 h 81173"/>
                    <a:gd name="connsiteX411" fmla="*/ 23797 w 80747"/>
                    <a:gd name="connsiteY411" fmla="*/ 24949 h 81173"/>
                    <a:gd name="connsiteX412" fmla="*/ 24793 w 80747"/>
                    <a:gd name="connsiteY412" fmla="*/ 23895 h 81173"/>
                    <a:gd name="connsiteX413" fmla="*/ 27487 w 80747"/>
                    <a:gd name="connsiteY413" fmla="*/ 23837 h 81173"/>
                    <a:gd name="connsiteX414" fmla="*/ 27897 w 80747"/>
                    <a:gd name="connsiteY414" fmla="*/ 24012 h 81173"/>
                    <a:gd name="connsiteX415" fmla="*/ 27897 w 80747"/>
                    <a:gd name="connsiteY415" fmla="*/ 24891 h 81173"/>
                    <a:gd name="connsiteX416" fmla="*/ 27897 w 80747"/>
                    <a:gd name="connsiteY416" fmla="*/ 24891 h 81173"/>
                    <a:gd name="connsiteX417" fmla="*/ 27722 w 80747"/>
                    <a:gd name="connsiteY417" fmla="*/ 25008 h 81173"/>
                    <a:gd name="connsiteX418" fmla="*/ 26140 w 80747"/>
                    <a:gd name="connsiteY418" fmla="*/ 26179 h 81173"/>
                    <a:gd name="connsiteX419" fmla="*/ 25027 w 80747"/>
                    <a:gd name="connsiteY419" fmla="*/ 27819 h 81173"/>
                    <a:gd name="connsiteX420" fmla="*/ 24910 w 80747"/>
                    <a:gd name="connsiteY420" fmla="*/ 27995 h 81173"/>
                    <a:gd name="connsiteX421" fmla="*/ 24910 w 80747"/>
                    <a:gd name="connsiteY421" fmla="*/ 27995 h 81173"/>
                    <a:gd name="connsiteX422" fmla="*/ 24031 w 80747"/>
                    <a:gd name="connsiteY422" fmla="*/ 27995 h 81173"/>
                    <a:gd name="connsiteX423" fmla="*/ 23855 w 80747"/>
                    <a:gd name="connsiteY423" fmla="*/ 27526 h 81173"/>
                    <a:gd name="connsiteX424" fmla="*/ 23797 w 80747"/>
                    <a:gd name="connsiteY424" fmla="*/ 24949 h 81173"/>
                    <a:gd name="connsiteX425" fmla="*/ 22508 w 80747"/>
                    <a:gd name="connsiteY425" fmla="*/ 23192 h 81173"/>
                    <a:gd name="connsiteX426" fmla="*/ 23445 w 80747"/>
                    <a:gd name="connsiteY426" fmla="*/ 22607 h 81173"/>
                    <a:gd name="connsiteX427" fmla="*/ 24031 w 80747"/>
                    <a:gd name="connsiteY427" fmla="*/ 23544 h 81173"/>
                    <a:gd name="connsiteX428" fmla="*/ 23094 w 80747"/>
                    <a:gd name="connsiteY428" fmla="*/ 24130 h 81173"/>
                    <a:gd name="connsiteX429" fmla="*/ 22508 w 80747"/>
                    <a:gd name="connsiteY429" fmla="*/ 23192 h 81173"/>
                    <a:gd name="connsiteX430" fmla="*/ 30943 w 80747"/>
                    <a:gd name="connsiteY430" fmla="*/ 23251 h 81173"/>
                    <a:gd name="connsiteX431" fmla="*/ 31060 w 80747"/>
                    <a:gd name="connsiteY431" fmla="*/ 23192 h 81173"/>
                    <a:gd name="connsiteX432" fmla="*/ 32056 w 80747"/>
                    <a:gd name="connsiteY432" fmla="*/ 23485 h 81173"/>
                    <a:gd name="connsiteX433" fmla="*/ 32583 w 80747"/>
                    <a:gd name="connsiteY433" fmla="*/ 24539 h 81173"/>
                    <a:gd name="connsiteX434" fmla="*/ 36508 w 80747"/>
                    <a:gd name="connsiteY434" fmla="*/ 22490 h 81173"/>
                    <a:gd name="connsiteX435" fmla="*/ 37504 w 80747"/>
                    <a:gd name="connsiteY435" fmla="*/ 22782 h 81173"/>
                    <a:gd name="connsiteX436" fmla="*/ 37562 w 80747"/>
                    <a:gd name="connsiteY436" fmla="*/ 22900 h 81173"/>
                    <a:gd name="connsiteX437" fmla="*/ 37269 w 80747"/>
                    <a:gd name="connsiteY437" fmla="*/ 23895 h 81173"/>
                    <a:gd name="connsiteX438" fmla="*/ 33345 w 80747"/>
                    <a:gd name="connsiteY438" fmla="*/ 25945 h 81173"/>
                    <a:gd name="connsiteX439" fmla="*/ 33989 w 80747"/>
                    <a:gd name="connsiteY439" fmla="*/ 27116 h 81173"/>
                    <a:gd name="connsiteX440" fmla="*/ 40022 w 80747"/>
                    <a:gd name="connsiteY440" fmla="*/ 23954 h 81173"/>
                    <a:gd name="connsiteX441" fmla="*/ 41018 w 80747"/>
                    <a:gd name="connsiteY441" fmla="*/ 24247 h 81173"/>
                    <a:gd name="connsiteX442" fmla="*/ 41077 w 80747"/>
                    <a:gd name="connsiteY442" fmla="*/ 24364 h 81173"/>
                    <a:gd name="connsiteX443" fmla="*/ 40784 w 80747"/>
                    <a:gd name="connsiteY443" fmla="*/ 25359 h 81173"/>
                    <a:gd name="connsiteX444" fmla="*/ 34751 w 80747"/>
                    <a:gd name="connsiteY444" fmla="*/ 28522 h 81173"/>
                    <a:gd name="connsiteX445" fmla="*/ 35629 w 80747"/>
                    <a:gd name="connsiteY445" fmla="*/ 30220 h 81173"/>
                    <a:gd name="connsiteX446" fmla="*/ 48106 w 80747"/>
                    <a:gd name="connsiteY446" fmla="*/ 27292 h 81173"/>
                    <a:gd name="connsiteX447" fmla="*/ 57009 w 80747"/>
                    <a:gd name="connsiteY447" fmla="*/ 31919 h 81173"/>
                    <a:gd name="connsiteX448" fmla="*/ 55779 w 80747"/>
                    <a:gd name="connsiteY448" fmla="*/ 41875 h 81173"/>
                    <a:gd name="connsiteX449" fmla="*/ 45587 w 80747"/>
                    <a:gd name="connsiteY449" fmla="*/ 50895 h 81173"/>
                    <a:gd name="connsiteX450" fmla="*/ 32349 w 80747"/>
                    <a:gd name="connsiteY450" fmla="*/ 54174 h 81173"/>
                    <a:gd name="connsiteX451" fmla="*/ 23445 w 80747"/>
                    <a:gd name="connsiteY451" fmla="*/ 49547 h 81173"/>
                    <a:gd name="connsiteX452" fmla="*/ 24676 w 80747"/>
                    <a:gd name="connsiteY452" fmla="*/ 39533 h 81173"/>
                    <a:gd name="connsiteX453" fmla="*/ 34165 w 80747"/>
                    <a:gd name="connsiteY453" fmla="*/ 30923 h 81173"/>
                    <a:gd name="connsiteX454" fmla="*/ 33286 w 80747"/>
                    <a:gd name="connsiteY454" fmla="*/ 29225 h 81173"/>
                    <a:gd name="connsiteX455" fmla="*/ 27253 w 80747"/>
                    <a:gd name="connsiteY455" fmla="*/ 32387 h 81173"/>
                    <a:gd name="connsiteX456" fmla="*/ 26257 w 80747"/>
                    <a:gd name="connsiteY456" fmla="*/ 32095 h 81173"/>
                    <a:gd name="connsiteX457" fmla="*/ 26199 w 80747"/>
                    <a:gd name="connsiteY457" fmla="*/ 31977 h 81173"/>
                    <a:gd name="connsiteX458" fmla="*/ 26491 w 80747"/>
                    <a:gd name="connsiteY458" fmla="*/ 30982 h 81173"/>
                    <a:gd name="connsiteX459" fmla="*/ 32525 w 80747"/>
                    <a:gd name="connsiteY459" fmla="*/ 27819 h 81173"/>
                    <a:gd name="connsiteX460" fmla="*/ 31880 w 80747"/>
                    <a:gd name="connsiteY460" fmla="*/ 26648 h 81173"/>
                    <a:gd name="connsiteX461" fmla="*/ 27956 w 80747"/>
                    <a:gd name="connsiteY461" fmla="*/ 28698 h 81173"/>
                    <a:gd name="connsiteX462" fmla="*/ 26960 w 80747"/>
                    <a:gd name="connsiteY462" fmla="*/ 28405 h 81173"/>
                    <a:gd name="connsiteX463" fmla="*/ 26901 w 80747"/>
                    <a:gd name="connsiteY463" fmla="*/ 28288 h 81173"/>
                    <a:gd name="connsiteX464" fmla="*/ 27194 w 80747"/>
                    <a:gd name="connsiteY464" fmla="*/ 27292 h 81173"/>
                    <a:gd name="connsiteX465" fmla="*/ 31119 w 80747"/>
                    <a:gd name="connsiteY465" fmla="*/ 25242 h 81173"/>
                    <a:gd name="connsiteX466" fmla="*/ 30592 w 80747"/>
                    <a:gd name="connsiteY466" fmla="*/ 24188 h 81173"/>
                    <a:gd name="connsiteX467" fmla="*/ 30943 w 80747"/>
                    <a:gd name="connsiteY467" fmla="*/ 23251 h 81173"/>
                    <a:gd name="connsiteX468" fmla="*/ 27604 w 80747"/>
                    <a:gd name="connsiteY468" fmla="*/ 18273 h 81173"/>
                    <a:gd name="connsiteX469" fmla="*/ 28366 w 80747"/>
                    <a:gd name="connsiteY469" fmla="*/ 17453 h 81173"/>
                    <a:gd name="connsiteX470" fmla="*/ 29186 w 80747"/>
                    <a:gd name="connsiteY470" fmla="*/ 18214 h 81173"/>
                    <a:gd name="connsiteX471" fmla="*/ 28424 w 80747"/>
                    <a:gd name="connsiteY471" fmla="*/ 19034 h 81173"/>
                    <a:gd name="connsiteX472" fmla="*/ 27604 w 80747"/>
                    <a:gd name="connsiteY472" fmla="*/ 18273 h 81173"/>
                    <a:gd name="connsiteX473" fmla="*/ 30006 w 80747"/>
                    <a:gd name="connsiteY473" fmla="*/ 16282 h 81173"/>
                    <a:gd name="connsiteX474" fmla="*/ 29889 w 80747"/>
                    <a:gd name="connsiteY474" fmla="*/ 16106 h 81173"/>
                    <a:gd name="connsiteX475" fmla="*/ 29889 w 80747"/>
                    <a:gd name="connsiteY475" fmla="*/ 16047 h 81173"/>
                    <a:gd name="connsiteX476" fmla="*/ 30299 w 80747"/>
                    <a:gd name="connsiteY476" fmla="*/ 15286 h 81173"/>
                    <a:gd name="connsiteX477" fmla="*/ 30767 w 80747"/>
                    <a:gd name="connsiteY477" fmla="*/ 15345 h 81173"/>
                    <a:gd name="connsiteX478" fmla="*/ 33052 w 80747"/>
                    <a:gd name="connsiteY478" fmla="*/ 16692 h 81173"/>
                    <a:gd name="connsiteX479" fmla="*/ 33403 w 80747"/>
                    <a:gd name="connsiteY479" fmla="*/ 18097 h 81173"/>
                    <a:gd name="connsiteX480" fmla="*/ 32056 w 80747"/>
                    <a:gd name="connsiteY480" fmla="*/ 20440 h 81173"/>
                    <a:gd name="connsiteX481" fmla="*/ 31705 w 80747"/>
                    <a:gd name="connsiteY481" fmla="*/ 20674 h 81173"/>
                    <a:gd name="connsiteX482" fmla="*/ 30943 w 80747"/>
                    <a:gd name="connsiteY482" fmla="*/ 20264 h 81173"/>
                    <a:gd name="connsiteX483" fmla="*/ 30943 w 80747"/>
                    <a:gd name="connsiteY483" fmla="*/ 20264 h 81173"/>
                    <a:gd name="connsiteX484" fmla="*/ 30943 w 80747"/>
                    <a:gd name="connsiteY484" fmla="*/ 20030 h 81173"/>
                    <a:gd name="connsiteX485" fmla="*/ 30767 w 80747"/>
                    <a:gd name="connsiteY485" fmla="*/ 18039 h 81173"/>
                    <a:gd name="connsiteX486" fmla="*/ 30006 w 80747"/>
                    <a:gd name="connsiteY486" fmla="*/ 16282 h 81173"/>
                    <a:gd name="connsiteX487" fmla="*/ 33638 w 80747"/>
                    <a:gd name="connsiteY487" fmla="*/ 13236 h 81173"/>
                    <a:gd name="connsiteX488" fmla="*/ 35395 w 80747"/>
                    <a:gd name="connsiteY488" fmla="*/ 12416 h 81173"/>
                    <a:gd name="connsiteX489" fmla="*/ 35571 w 80747"/>
                    <a:gd name="connsiteY489" fmla="*/ 12299 h 81173"/>
                    <a:gd name="connsiteX490" fmla="*/ 35571 w 80747"/>
                    <a:gd name="connsiteY490" fmla="*/ 12299 h 81173"/>
                    <a:gd name="connsiteX491" fmla="*/ 36332 w 80747"/>
                    <a:gd name="connsiteY491" fmla="*/ 12709 h 81173"/>
                    <a:gd name="connsiteX492" fmla="*/ 36274 w 80747"/>
                    <a:gd name="connsiteY492" fmla="*/ 13178 h 81173"/>
                    <a:gd name="connsiteX493" fmla="*/ 34926 w 80747"/>
                    <a:gd name="connsiteY493" fmla="*/ 15462 h 81173"/>
                    <a:gd name="connsiteX494" fmla="*/ 33520 w 80747"/>
                    <a:gd name="connsiteY494" fmla="*/ 15813 h 81173"/>
                    <a:gd name="connsiteX495" fmla="*/ 31177 w 80747"/>
                    <a:gd name="connsiteY495" fmla="*/ 14466 h 81173"/>
                    <a:gd name="connsiteX496" fmla="*/ 30943 w 80747"/>
                    <a:gd name="connsiteY496" fmla="*/ 14115 h 81173"/>
                    <a:gd name="connsiteX497" fmla="*/ 31353 w 80747"/>
                    <a:gd name="connsiteY497" fmla="*/ 13353 h 81173"/>
                    <a:gd name="connsiteX498" fmla="*/ 31353 w 80747"/>
                    <a:gd name="connsiteY498" fmla="*/ 13353 h 81173"/>
                    <a:gd name="connsiteX499" fmla="*/ 31588 w 80747"/>
                    <a:gd name="connsiteY499" fmla="*/ 13353 h 81173"/>
                    <a:gd name="connsiteX500" fmla="*/ 33638 w 80747"/>
                    <a:gd name="connsiteY500" fmla="*/ 13236 h 81173"/>
                    <a:gd name="connsiteX501" fmla="*/ 32993 w 80747"/>
                    <a:gd name="connsiteY501" fmla="*/ 9839 h 81173"/>
                    <a:gd name="connsiteX502" fmla="*/ 32466 w 80747"/>
                    <a:gd name="connsiteY502" fmla="*/ 11128 h 81173"/>
                    <a:gd name="connsiteX503" fmla="*/ 32993 w 80747"/>
                    <a:gd name="connsiteY503" fmla="*/ 9839 h 81173"/>
                    <a:gd name="connsiteX504" fmla="*/ 60348 w 80747"/>
                    <a:gd name="connsiteY504" fmla="*/ 17629 h 81173"/>
                    <a:gd name="connsiteX505" fmla="*/ 58298 w 80747"/>
                    <a:gd name="connsiteY505" fmla="*/ 16340 h 81173"/>
                    <a:gd name="connsiteX506" fmla="*/ 53143 w 80747"/>
                    <a:gd name="connsiteY506" fmla="*/ 13236 h 81173"/>
                    <a:gd name="connsiteX507" fmla="*/ 52148 w 80747"/>
                    <a:gd name="connsiteY507" fmla="*/ 11831 h 81173"/>
                    <a:gd name="connsiteX508" fmla="*/ 52733 w 80747"/>
                    <a:gd name="connsiteY508" fmla="*/ 11421 h 81173"/>
                    <a:gd name="connsiteX509" fmla="*/ 54959 w 80747"/>
                    <a:gd name="connsiteY509" fmla="*/ 12416 h 81173"/>
                    <a:gd name="connsiteX510" fmla="*/ 60114 w 80747"/>
                    <a:gd name="connsiteY510" fmla="*/ 15872 h 81173"/>
                    <a:gd name="connsiteX511" fmla="*/ 60348 w 80747"/>
                    <a:gd name="connsiteY511" fmla="*/ 17629 h 81173"/>
                    <a:gd name="connsiteX512" fmla="*/ 62867 w 80747"/>
                    <a:gd name="connsiteY512" fmla="*/ 18859 h 81173"/>
                    <a:gd name="connsiteX513" fmla="*/ 61695 w 80747"/>
                    <a:gd name="connsiteY513" fmla="*/ 19854 h 81173"/>
                    <a:gd name="connsiteX514" fmla="*/ 61754 w 80747"/>
                    <a:gd name="connsiteY514" fmla="*/ 18917 h 81173"/>
                    <a:gd name="connsiteX515" fmla="*/ 62867 w 80747"/>
                    <a:gd name="connsiteY515" fmla="*/ 18859 h 81173"/>
                    <a:gd name="connsiteX516" fmla="*/ 68373 w 80747"/>
                    <a:gd name="connsiteY516" fmla="*/ 35082 h 81173"/>
                    <a:gd name="connsiteX517" fmla="*/ 68490 w 80747"/>
                    <a:gd name="connsiteY517" fmla="*/ 35257 h 81173"/>
                    <a:gd name="connsiteX518" fmla="*/ 68490 w 80747"/>
                    <a:gd name="connsiteY518" fmla="*/ 35257 h 81173"/>
                    <a:gd name="connsiteX519" fmla="*/ 68080 w 80747"/>
                    <a:gd name="connsiteY519" fmla="*/ 36019 h 81173"/>
                    <a:gd name="connsiteX520" fmla="*/ 67612 w 80747"/>
                    <a:gd name="connsiteY520" fmla="*/ 35960 h 81173"/>
                    <a:gd name="connsiteX521" fmla="*/ 65327 w 80747"/>
                    <a:gd name="connsiteY521" fmla="*/ 34672 h 81173"/>
                    <a:gd name="connsiteX522" fmla="*/ 64917 w 80747"/>
                    <a:gd name="connsiteY522" fmla="*/ 33266 h 81173"/>
                    <a:gd name="connsiteX523" fmla="*/ 66206 w 80747"/>
                    <a:gd name="connsiteY523" fmla="*/ 30923 h 81173"/>
                    <a:gd name="connsiteX524" fmla="*/ 66557 w 80747"/>
                    <a:gd name="connsiteY524" fmla="*/ 30689 h 81173"/>
                    <a:gd name="connsiteX525" fmla="*/ 67319 w 80747"/>
                    <a:gd name="connsiteY525" fmla="*/ 31099 h 81173"/>
                    <a:gd name="connsiteX526" fmla="*/ 67319 w 80747"/>
                    <a:gd name="connsiteY526" fmla="*/ 31099 h 81173"/>
                    <a:gd name="connsiteX527" fmla="*/ 67319 w 80747"/>
                    <a:gd name="connsiteY527" fmla="*/ 31333 h 81173"/>
                    <a:gd name="connsiteX528" fmla="*/ 67553 w 80747"/>
                    <a:gd name="connsiteY528" fmla="*/ 33325 h 81173"/>
                    <a:gd name="connsiteX529" fmla="*/ 68373 w 80747"/>
                    <a:gd name="connsiteY529" fmla="*/ 35082 h 81173"/>
                    <a:gd name="connsiteX530" fmla="*/ 62633 w 80747"/>
                    <a:gd name="connsiteY530" fmla="*/ 33266 h 81173"/>
                    <a:gd name="connsiteX531" fmla="*/ 60290 w 80747"/>
                    <a:gd name="connsiteY531" fmla="*/ 31977 h 81173"/>
                    <a:gd name="connsiteX532" fmla="*/ 60055 w 80747"/>
                    <a:gd name="connsiteY532" fmla="*/ 31626 h 81173"/>
                    <a:gd name="connsiteX533" fmla="*/ 60465 w 80747"/>
                    <a:gd name="connsiteY533" fmla="*/ 30865 h 81173"/>
                    <a:gd name="connsiteX534" fmla="*/ 60465 w 80747"/>
                    <a:gd name="connsiteY534" fmla="*/ 30865 h 81173"/>
                    <a:gd name="connsiteX535" fmla="*/ 60700 w 80747"/>
                    <a:gd name="connsiteY535" fmla="*/ 30865 h 81173"/>
                    <a:gd name="connsiteX536" fmla="*/ 62633 w 80747"/>
                    <a:gd name="connsiteY536" fmla="*/ 30689 h 81173"/>
                    <a:gd name="connsiteX537" fmla="*/ 64390 w 80747"/>
                    <a:gd name="connsiteY537" fmla="*/ 29810 h 81173"/>
                    <a:gd name="connsiteX538" fmla="*/ 64566 w 80747"/>
                    <a:gd name="connsiteY538" fmla="*/ 29693 h 81173"/>
                    <a:gd name="connsiteX539" fmla="*/ 64624 w 80747"/>
                    <a:gd name="connsiteY539" fmla="*/ 29693 h 81173"/>
                    <a:gd name="connsiteX540" fmla="*/ 65386 w 80747"/>
                    <a:gd name="connsiteY540" fmla="*/ 30103 h 81173"/>
                    <a:gd name="connsiteX541" fmla="*/ 65327 w 80747"/>
                    <a:gd name="connsiteY541" fmla="*/ 30572 h 81173"/>
                    <a:gd name="connsiteX542" fmla="*/ 64097 w 80747"/>
                    <a:gd name="connsiteY542" fmla="*/ 32856 h 81173"/>
                    <a:gd name="connsiteX543" fmla="*/ 62633 w 80747"/>
                    <a:gd name="connsiteY543" fmla="*/ 33266 h 81173"/>
                    <a:gd name="connsiteX544" fmla="*/ 64273 w 80747"/>
                    <a:gd name="connsiteY544" fmla="*/ 34964 h 81173"/>
                    <a:gd name="connsiteX545" fmla="*/ 63160 w 80747"/>
                    <a:gd name="connsiteY545" fmla="*/ 34964 h 81173"/>
                    <a:gd name="connsiteX546" fmla="*/ 63160 w 80747"/>
                    <a:gd name="connsiteY546" fmla="*/ 33852 h 81173"/>
                    <a:gd name="connsiteX547" fmla="*/ 64273 w 80747"/>
                    <a:gd name="connsiteY547" fmla="*/ 33852 h 81173"/>
                    <a:gd name="connsiteX548" fmla="*/ 64273 w 80747"/>
                    <a:gd name="connsiteY548" fmla="*/ 34964 h 81173"/>
                    <a:gd name="connsiteX549" fmla="*/ 66674 w 80747"/>
                    <a:gd name="connsiteY549" fmla="*/ 42988 h 81173"/>
                    <a:gd name="connsiteX550" fmla="*/ 66909 w 80747"/>
                    <a:gd name="connsiteY550" fmla="*/ 42988 h 81173"/>
                    <a:gd name="connsiteX551" fmla="*/ 66909 w 80747"/>
                    <a:gd name="connsiteY551" fmla="*/ 42988 h 81173"/>
                    <a:gd name="connsiteX552" fmla="*/ 67377 w 80747"/>
                    <a:gd name="connsiteY552" fmla="*/ 43749 h 81173"/>
                    <a:gd name="connsiteX553" fmla="*/ 67084 w 80747"/>
                    <a:gd name="connsiteY553" fmla="*/ 44159 h 81173"/>
                    <a:gd name="connsiteX554" fmla="*/ 64858 w 80747"/>
                    <a:gd name="connsiteY554" fmla="*/ 45565 h 81173"/>
                    <a:gd name="connsiteX555" fmla="*/ 63453 w 80747"/>
                    <a:gd name="connsiteY555" fmla="*/ 45214 h 81173"/>
                    <a:gd name="connsiteX556" fmla="*/ 62047 w 80747"/>
                    <a:gd name="connsiteY556" fmla="*/ 42929 h 81173"/>
                    <a:gd name="connsiteX557" fmla="*/ 61988 w 80747"/>
                    <a:gd name="connsiteY557" fmla="*/ 42519 h 81173"/>
                    <a:gd name="connsiteX558" fmla="*/ 62691 w 80747"/>
                    <a:gd name="connsiteY558" fmla="*/ 42051 h 81173"/>
                    <a:gd name="connsiteX559" fmla="*/ 62691 w 80747"/>
                    <a:gd name="connsiteY559" fmla="*/ 42051 h 81173"/>
                    <a:gd name="connsiteX560" fmla="*/ 62867 w 80747"/>
                    <a:gd name="connsiteY560" fmla="*/ 42168 h 81173"/>
                    <a:gd name="connsiteX561" fmla="*/ 64683 w 80747"/>
                    <a:gd name="connsiteY561" fmla="*/ 42988 h 81173"/>
                    <a:gd name="connsiteX562" fmla="*/ 66674 w 80747"/>
                    <a:gd name="connsiteY562" fmla="*/ 42988 h 81173"/>
                    <a:gd name="connsiteX563" fmla="*/ 64800 w 80747"/>
                    <a:gd name="connsiteY563" fmla="*/ 40470 h 81173"/>
                    <a:gd name="connsiteX564" fmla="*/ 65561 w 80747"/>
                    <a:gd name="connsiteY564" fmla="*/ 39650 h 81173"/>
                    <a:gd name="connsiteX565" fmla="*/ 66381 w 80747"/>
                    <a:gd name="connsiteY565" fmla="*/ 40411 h 81173"/>
                    <a:gd name="connsiteX566" fmla="*/ 65620 w 80747"/>
                    <a:gd name="connsiteY566" fmla="*/ 41231 h 81173"/>
                    <a:gd name="connsiteX567" fmla="*/ 64800 w 80747"/>
                    <a:gd name="connsiteY567" fmla="*/ 40470 h 81173"/>
                    <a:gd name="connsiteX568" fmla="*/ 51679 w 80747"/>
                    <a:gd name="connsiteY568" fmla="*/ 52007 h 81173"/>
                    <a:gd name="connsiteX569" fmla="*/ 51679 w 80747"/>
                    <a:gd name="connsiteY569" fmla="*/ 52007 h 81173"/>
                    <a:gd name="connsiteX570" fmla="*/ 51679 w 80747"/>
                    <a:gd name="connsiteY570" fmla="*/ 51070 h 81173"/>
                    <a:gd name="connsiteX571" fmla="*/ 51972 w 80747"/>
                    <a:gd name="connsiteY571" fmla="*/ 50309 h 81173"/>
                    <a:gd name="connsiteX572" fmla="*/ 52030 w 80747"/>
                    <a:gd name="connsiteY572" fmla="*/ 50250 h 81173"/>
                    <a:gd name="connsiteX573" fmla="*/ 52089 w 80747"/>
                    <a:gd name="connsiteY573" fmla="*/ 50192 h 81173"/>
                    <a:gd name="connsiteX574" fmla="*/ 52792 w 80747"/>
                    <a:gd name="connsiteY574" fmla="*/ 49723 h 81173"/>
                    <a:gd name="connsiteX575" fmla="*/ 53729 w 80747"/>
                    <a:gd name="connsiteY575" fmla="*/ 49547 h 81173"/>
                    <a:gd name="connsiteX576" fmla="*/ 53729 w 80747"/>
                    <a:gd name="connsiteY576" fmla="*/ 49547 h 81173"/>
                    <a:gd name="connsiteX577" fmla="*/ 55252 w 80747"/>
                    <a:gd name="connsiteY577" fmla="*/ 49255 h 81173"/>
                    <a:gd name="connsiteX578" fmla="*/ 55252 w 80747"/>
                    <a:gd name="connsiteY578" fmla="*/ 49255 h 81173"/>
                    <a:gd name="connsiteX579" fmla="*/ 55545 w 80747"/>
                    <a:gd name="connsiteY579" fmla="*/ 49313 h 81173"/>
                    <a:gd name="connsiteX580" fmla="*/ 55604 w 80747"/>
                    <a:gd name="connsiteY580" fmla="*/ 49840 h 81173"/>
                    <a:gd name="connsiteX581" fmla="*/ 55604 w 80747"/>
                    <a:gd name="connsiteY581" fmla="*/ 49840 h 81173"/>
                    <a:gd name="connsiteX582" fmla="*/ 55604 w 80747"/>
                    <a:gd name="connsiteY582" fmla="*/ 49840 h 81173"/>
                    <a:gd name="connsiteX583" fmla="*/ 55604 w 80747"/>
                    <a:gd name="connsiteY583" fmla="*/ 49840 h 81173"/>
                    <a:gd name="connsiteX584" fmla="*/ 53905 w 80747"/>
                    <a:gd name="connsiteY584" fmla="*/ 51714 h 81173"/>
                    <a:gd name="connsiteX585" fmla="*/ 52440 w 80747"/>
                    <a:gd name="connsiteY585" fmla="*/ 53706 h 81173"/>
                    <a:gd name="connsiteX586" fmla="*/ 52440 w 80747"/>
                    <a:gd name="connsiteY586" fmla="*/ 53706 h 81173"/>
                    <a:gd name="connsiteX587" fmla="*/ 52440 w 80747"/>
                    <a:gd name="connsiteY587" fmla="*/ 53706 h 81173"/>
                    <a:gd name="connsiteX588" fmla="*/ 52440 w 80747"/>
                    <a:gd name="connsiteY588" fmla="*/ 53706 h 81173"/>
                    <a:gd name="connsiteX589" fmla="*/ 51913 w 80747"/>
                    <a:gd name="connsiteY589" fmla="*/ 53764 h 81173"/>
                    <a:gd name="connsiteX590" fmla="*/ 51796 w 80747"/>
                    <a:gd name="connsiteY590" fmla="*/ 53471 h 81173"/>
                    <a:gd name="connsiteX591" fmla="*/ 51796 w 80747"/>
                    <a:gd name="connsiteY591" fmla="*/ 53471 h 81173"/>
                    <a:gd name="connsiteX592" fmla="*/ 51679 w 80747"/>
                    <a:gd name="connsiteY592" fmla="*/ 52007 h 81173"/>
                    <a:gd name="connsiteX593" fmla="*/ 54256 w 80747"/>
                    <a:gd name="connsiteY593" fmla="*/ 47849 h 81173"/>
                    <a:gd name="connsiteX594" fmla="*/ 54256 w 80747"/>
                    <a:gd name="connsiteY594" fmla="*/ 47849 h 81173"/>
                    <a:gd name="connsiteX595" fmla="*/ 53963 w 80747"/>
                    <a:gd name="connsiteY595" fmla="*/ 47790 h 81173"/>
                    <a:gd name="connsiteX596" fmla="*/ 53905 w 80747"/>
                    <a:gd name="connsiteY596" fmla="*/ 47263 h 81173"/>
                    <a:gd name="connsiteX597" fmla="*/ 53905 w 80747"/>
                    <a:gd name="connsiteY597" fmla="*/ 47263 h 81173"/>
                    <a:gd name="connsiteX598" fmla="*/ 53905 w 80747"/>
                    <a:gd name="connsiteY598" fmla="*/ 47263 h 81173"/>
                    <a:gd name="connsiteX599" fmla="*/ 53905 w 80747"/>
                    <a:gd name="connsiteY599" fmla="*/ 47263 h 81173"/>
                    <a:gd name="connsiteX600" fmla="*/ 55604 w 80747"/>
                    <a:gd name="connsiteY600" fmla="*/ 45389 h 81173"/>
                    <a:gd name="connsiteX601" fmla="*/ 57068 w 80747"/>
                    <a:gd name="connsiteY601" fmla="*/ 43398 h 81173"/>
                    <a:gd name="connsiteX602" fmla="*/ 57068 w 80747"/>
                    <a:gd name="connsiteY602" fmla="*/ 43398 h 81173"/>
                    <a:gd name="connsiteX603" fmla="*/ 57068 w 80747"/>
                    <a:gd name="connsiteY603" fmla="*/ 43398 h 81173"/>
                    <a:gd name="connsiteX604" fmla="*/ 57068 w 80747"/>
                    <a:gd name="connsiteY604" fmla="*/ 43398 h 81173"/>
                    <a:gd name="connsiteX605" fmla="*/ 57595 w 80747"/>
                    <a:gd name="connsiteY605" fmla="*/ 43339 h 81173"/>
                    <a:gd name="connsiteX606" fmla="*/ 57712 w 80747"/>
                    <a:gd name="connsiteY606" fmla="*/ 43632 h 81173"/>
                    <a:gd name="connsiteX607" fmla="*/ 57712 w 80747"/>
                    <a:gd name="connsiteY607" fmla="*/ 43632 h 81173"/>
                    <a:gd name="connsiteX608" fmla="*/ 57712 w 80747"/>
                    <a:gd name="connsiteY608" fmla="*/ 45155 h 81173"/>
                    <a:gd name="connsiteX609" fmla="*/ 57712 w 80747"/>
                    <a:gd name="connsiteY609" fmla="*/ 45155 h 81173"/>
                    <a:gd name="connsiteX610" fmla="*/ 57712 w 80747"/>
                    <a:gd name="connsiteY610" fmla="*/ 46092 h 81173"/>
                    <a:gd name="connsiteX611" fmla="*/ 57419 w 80747"/>
                    <a:gd name="connsiteY611" fmla="*/ 46853 h 81173"/>
                    <a:gd name="connsiteX612" fmla="*/ 57361 w 80747"/>
                    <a:gd name="connsiteY612" fmla="*/ 46912 h 81173"/>
                    <a:gd name="connsiteX613" fmla="*/ 57302 w 80747"/>
                    <a:gd name="connsiteY613" fmla="*/ 46971 h 81173"/>
                    <a:gd name="connsiteX614" fmla="*/ 56599 w 80747"/>
                    <a:gd name="connsiteY614" fmla="*/ 47439 h 81173"/>
                    <a:gd name="connsiteX615" fmla="*/ 55662 w 80747"/>
                    <a:gd name="connsiteY615" fmla="*/ 47615 h 81173"/>
                    <a:gd name="connsiteX616" fmla="*/ 55662 w 80747"/>
                    <a:gd name="connsiteY616" fmla="*/ 47615 h 81173"/>
                    <a:gd name="connsiteX617" fmla="*/ 54256 w 80747"/>
                    <a:gd name="connsiteY617" fmla="*/ 47849 h 81173"/>
                    <a:gd name="connsiteX618" fmla="*/ 59118 w 80747"/>
                    <a:gd name="connsiteY618" fmla="*/ 47849 h 81173"/>
                    <a:gd name="connsiteX619" fmla="*/ 59118 w 80747"/>
                    <a:gd name="connsiteY619" fmla="*/ 47849 h 81173"/>
                    <a:gd name="connsiteX620" fmla="*/ 59235 w 80747"/>
                    <a:gd name="connsiteY620" fmla="*/ 47673 h 81173"/>
                    <a:gd name="connsiteX621" fmla="*/ 59997 w 80747"/>
                    <a:gd name="connsiteY621" fmla="*/ 45858 h 81173"/>
                    <a:gd name="connsiteX622" fmla="*/ 60114 w 80747"/>
                    <a:gd name="connsiteY622" fmla="*/ 43867 h 81173"/>
                    <a:gd name="connsiteX623" fmla="*/ 60114 w 80747"/>
                    <a:gd name="connsiteY623" fmla="*/ 43632 h 81173"/>
                    <a:gd name="connsiteX624" fmla="*/ 60114 w 80747"/>
                    <a:gd name="connsiteY624" fmla="*/ 43632 h 81173"/>
                    <a:gd name="connsiteX625" fmla="*/ 60817 w 80747"/>
                    <a:gd name="connsiteY625" fmla="*/ 43164 h 81173"/>
                    <a:gd name="connsiteX626" fmla="*/ 61227 w 80747"/>
                    <a:gd name="connsiteY626" fmla="*/ 43457 h 81173"/>
                    <a:gd name="connsiteX627" fmla="*/ 62633 w 80747"/>
                    <a:gd name="connsiteY627" fmla="*/ 45682 h 81173"/>
                    <a:gd name="connsiteX628" fmla="*/ 62281 w 80747"/>
                    <a:gd name="connsiteY628" fmla="*/ 47088 h 81173"/>
                    <a:gd name="connsiteX629" fmla="*/ 59997 w 80747"/>
                    <a:gd name="connsiteY629" fmla="*/ 48493 h 81173"/>
                    <a:gd name="connsiteX630" fmla="*/ 59587 w 80747"/>
                    <a:gd name="connsiteY630" fmla="*/ 48552 h 81173"/>
                    <a:gd name="connsiteX631" fmla="*/ 59118 w 80747"/>
                    <a:gd name="connsiteY631" fmla="*/ 47849 h 81173"/>
                    <a:gd name="connsiteX632" fmla="*/ 61930 w 80747"/>
                    <a:gd name="connsiteY632" fmla="*/ 53237 h 81173"/>
                    <a:gd name="connsiteX633" fmla="*/ 62691 w 80747"/>
                    <a:gd name="connsiteY633" fmla="*/ 52417 h 81173"/>
                    <a:gd name="connsiteX634" fmla="*/ 63511 w 80747"/>
                    <a:gd name="connsiteY634" fmla="*/ 53179 h 81173"/>
                    <a:gd name="connsiteX635" fmla="*/ 62750 w 80747"/>
                    <a:gd name="connsiteY635" fmla="*/ 53999 h 81173"/>
                    <a:gd name="connsiteX636" fmla="*/ 61930 w 80747"/>
                    <a:gd name="connsiteY636" fmla="*/ 53237 h 81173"/>
                    <a:gd name="connsiteX637" fmla="*/ 60992 w 80747"/>
                    <a:gd name="connsiteY637" fmla="*/ 50543 h 81173"/>
                    <a:gd name="connsiteX638" fmla="*/ 60758 w 80747"/>
                    <a:gd name="connsiteY638" fmla="*/ 50543 h 81173"/>
                    <a:gd name="connsiteX639" fmla="*/ 60758 w 80747"/>
                    <a:gd name="connsiteY639" fmla="*/ 50543 h 81173"/>
                    <a:gd name="connsiteX640" fmla="*/ 60290 w 80747"/>
                    <a:gd name="connsiteY640" fmla="*/ 49782 h 81173"/>
                    <a:gd name="connsiteX641" fmla="*/ 60582 w 80747"/>
                    <a:gd name="connsiteY641" fmla="*/ 49372 h 81173"/>
                    <a:gd name="connsiteX642" fmla="*/ 62808 w 80747"/>
                    <a:gd name="connsiteY642" fmla="*/ 47966 h 81173"/>
                    <a:gd name="connsiteX643" fmla="*/ 64214 w 80747"/>
                    <a:gd name="connsiteY643" fmla="*/ 48318 h 81173"/>
                    <a:gd name="connsiteX644" fmla="*/ 65620 w 80747"/>
                    <a:gd name="connsiteY644" fmla="*/ 50602 h 81173"/>
                    <a:gd name="connsiteX645" fmla="*/ 65679 w 80747"/>
                    <a:gd name="connsiteY645" fmla="*/ 51012 h 81173"/>
                    <a:gd name="connsiteX646" fmla="*/ 64976 w 80747"/>
                    <a:gd name="connsiteY646" fmla="*/ 51480 h 81173"/>
                    <a:gd name="connsiteX647" fmla="*/ 64976 w 80747"/>
                    <a:gd name="connsiteY647" fmla="*/ 51480 h 81173"/>
                    <a:gd name="connsiteX648" fmla="*/ 64800 w 80747"/>
                    <a:gd name="connsiteY648" fmla="*/ 51363 h 81173"/>
                    <a:gd name="connsiteX649" fmla="*/ 62984 w 80747"/>
                    <a:gd name="connsiteY649" fmla="*/ 50602 h 81173"/>
                    <a:gd name="connsiteX650" fmla="*/ 60992 w 80747"/>
                    <a:gd name="connsiteY650" fmla="*/ 50543 h 81173"/>
                    <a:gd name="connsiteX651" fmla="*/ 63101 w 80747"/>
                    <a:gd name="connsiteY651" fmla="*/ 46971 h 81173"/>
                    <a:gd name="connsiteX652" fmla="*/ 63628 w 80747"/>
                    <a:gd name="connsiteY652" fmla="*/ 45975 h 81173"/>
                    <a:gd name="connsiteX653" fmla="*/ 64624 w 80747"/>
                    <a:gd name="connsiteY653" fmla="*/ 46502 h 81173"/>
                    <a:gd name="connsiteX654" fmla="*/ 64097 w 80747"/>
                    <a:gd name="connsiteY654" fmla="*/ 47498 h 81173"/>
                    <a:gd name="connsiteX655" fmla="*/ 63101 w 80747"/>
                    <a:gd name="connsiteY655" fmla="*/ 46971 h 81173"/>
                    <a:gd name="connsiteX656" fmla="*/ 60934 w 80747"/>
                    <a:gd name="connsiteY656" fmla="*/ 38127 h 81173"/>
                    <a:gd name="connsiteX657" fmla="*/ 60172 w 80747"/>
                    <a:gd name="connsiteY657" fmla="*/ 37717 h 81173"/>
                    <a:gd name="connsiteX658" fmla="*/ 60172 w 80747"/>
                    <a:gd name="connsiteY658" fmla="*/ 37717 h 81173"/>
                    <a:gd name="connsiteX659" fmla="*/ 60172 w 80747"/>
                    <a:gd name="connsiteY659" fmla="*/ 37483 h 81173"/>
                    <a:gd name="connsiteX660" fmla="*/ 59938 w 80747"/>
                    <a:gd name="connsiteY660" fmla="*/ 35491 h 81173"/>
                    <a:gd name="connsiteX661" fmla="*/ 59059 w 80747"/>
                    <a:gd name="connsiteY661" fmla="*/ 33734 h 81173"/>
                    <a:gd name="connsiteX662" fmla="*/ 58942 w 80747"/>
                    <a:gd name="connsiteY662" fmla="*/ 33559 h 81173"/>
                    <a:gd name="connsiteX663" fmla="*/ 58942 w 80747"/>
                    <a:gd name="connsiteY663" fmla="*/ 33500 h 81173"/>
                    <a:gd name="connsiteX664" fmla="*/ 59352 w 80747"/>
                    <a:gd name="connsiteY664" fmla="*/ 32739 h 81173"/>
                    <a:gd name="connsiteX665" fmla="*/ 59821 w 80747"/>
                    <a:gd name="connsiteY665" fmla="*/ 32797 h 81173"/>
                    <a:gd name="connsiteX666" fmla="*/ 59821 w 80747"/>
                    <a:gd name="connsiteY666" fmla="*/ 32797 h 81173"/>
                    <a:gd name="connsiteX667" fmla="*/ 62105 w 80747"/>
                    <a:gd name="connsiteY667" fmla="*/ 34086 h 81173"/>
                    <a:gd name="connsiteX668" fmla="*/ 62515 w 80747"/>
                    <a:gd name="connsiteY668" fmla="*/ 35491 h 81173"/>
                    <a:gd name="connsiteX669" fmla="*/ 61227 w 80747"/>
                    <a:gd name="connsiteY669" fmla="*/ 37834 h 81173"/>
                    <a:gd name="connsiteX670" fmla="*/ 60934 w 80747"/>
                    <a:gd name="connsiteY670" fmla="*/ 38127 h 81173"/>
                    <a:gd name="connsiteX671" fmla="*/ 42658 w 80747"/>
                    <a:gd name="connsiteY671" fmla="*/ 18390 h 81173"/>
                    <a:gd name="connsiteX672" fmla="*/ 42658 w 80747"/>
                    <a:gd name="connsiteY672" fmla="*/ 18390 h 81173"/>
                    <a:gd name="connsiteX673" fmla="*/ 42775 w 80747"/>
                    <a:gd name="connsiteY673" fmla="*/ 18214 h 81173"/>
                    <a:gd name="connsiteX674" fmla="*/ 43654 w 80747"/>
                    <a:gd name="connsiteY674" fmla="*/ 16457 h 81173"/>
                    <a:gd name="connsiteX675" fmla="*/ 43830 w 80747"/>
                    <a:gd name="connsiteY675" fmla="*/ 14466 h 81173"/>
                    <a:gd name="connsiteX676" fmla="*/ 43830 w 80747"/>
                    <a:gd name="connsiteY676" fmla="*/ 14232 h 81173"/>
                    <a:gd name="connsiteX677" fmla="*/ 43830 w 80747"/>
                    <a:gd name="connsiteY677" fmla="*/ 14173 h 81173"/>
                    <a:gd name="connsiteX678" fmla="*/ 44591 w 80747"/>
                    <a:gd name="connsiteY678" fmla="*/ 13763 h 81173"/>
                    <a:gd name="connsiteX679" fmla="*/ 44943 w 80747"/>
                    <a:gd name="connsiteY679" fmla="*/ 14056 h 81173"/>
                    <a:gd name="connsiteX680" fmla="*/ 46231 w 80747"/>
                    <a:gd name="connsiteY680" fmla="*/ 16340 h 81173"/>
                    <a:gd name="connsiteX681" fmla="*/ 45821 w 80747"/>
                    <a:gd name="connsiteY681" fmla="*/ 17746 h 81173"/>
                    <a:gd name="connsiteX682" fmla="*/ 43478 w 80747"/>
                    <a:gd name="connsiteY682" fmla="*/ 19034 h 81173"/>
                    <a:gd name="connsiteX683" fmla="*/ 43068 w 80747"/>
                    <a:gd name="connsiteY683" fmla="*/ 19093 h 81173"/>
                    <a:gd name="connsiteX684" fmla="*/ 42658 w 80747"/>
                    <a:gd name="connsiteY684" fmla="*/ 18390 h 81173"/>
                    <a:gd name="connsiteX685" fmla="*/ 40667 w 80747"/>
                    <a:gd name="connsiteY685" fmla="*/ 15110 h 81173"/>
                    <a:gd name="connsiteX686" fmla="*/ 41428 w 80747"/>
                    <a:gd name="connsiteY686" fmla="*/ 14290 h 81173"/>
                    <a:gd name="connsiteX687" fmla="*/ 42248 w 80747"/>
                    <a:gd name="connsiteY687" fmla="*/ 15052 h 81173"/>
                    <a:gd name="connsiteX688" fmla="*/ 41487 w 80747"/>
                    <a:gd name="connsiteY688" fmla="*/ 15872 h 81173"/>
                    <a:gd name="connsiteX689" fmla="*/ 40667 w 80747"/>
                    <a:gd name="connsiteY689" fmla="*/ 15110 h 81173"/>
                    <a:gd name="connsiteX690" fmla="*/ 43771 w 80747"/>
                    <a:gd name="connsiteY690" fmla="*/ 20323 h 81173"/>
                    <a:gd name="connsiteX691" fmla="*/ 44064 w 80747"/>
                    <a:gd name="connsiteY691" fmla="*/ 19971 h 81173"/>
                    <a:gd name="connsiteX692" fmla="*/ 46349 w 80747"/>
                    <a:gd name="connsiteY692" fmla="*/ 18683 h 81173"/>
                    <a:gd name="connsiteX693" fmla="*/ 47754 w 80747"/>
                    <a:gd name="connsiteY693" fmla="*/ 19093 h 81173"/>
                    <a:gd name="connsiteX694" fmla="*/ 49043 w 80747"/>
                    <a:gd name="connsiteY694" fmla="*/ 21435 h 81173"/>
                    <a:gd name="connsiteX695" fmla="*/ 49102 w 80747"/>
                    <a:gd name="connsiteY695" fmla="*/ 21845 h 81173"/>
                    <a:gd name="connsiteX696" fmla="*/ 48340 w 80747"/>
                    <a:gd name="connsiteY696" fmla="*/ 22255 h 81173"/>
                    <a:gd name="connsiteX697" fmla="*/ 48340 w 80747"/>
                    <a:gd name="connsiteY697" fmla="*/ 22255 h 81173"/>
                    <a:gd name="connsiteX698" fmla="*/ 48164 w 80747"/>
                    <a:gd name="connsiteY698" fmla="*/ 22138 h 81173"/>
                    <a:gd name="connsiteX699" fmla="*/ 46407 w 80747"/>
                    <a:gd name="connsiteY699" fmla="*/ 21260 h 81173"/>
                    <a:gd name="connsiteX700" fmla="*/ 44474 w 80747"/>
                    <a:gd name="connsiteY700" fmla="*/ 21084 h 81173"/>
                    <a:gd name="connsiteX701" fmla="*/ 44240 w 80747"/>
                    <a:gd name="connsiteY701" fmla="*/ 21084 h 81173"/>
                    <a:gd name="connsiteX702" fmla="*/ 44240 w 80747"/>
                    <a:gd name="connsiteY702" fmla="*/ 21084 h 81173"/>
                    <a:gd name="connsiteX703" fmla="*/ 43771 w 80747"/>
                    <a:gd name="connsiteY703" fmla="*/ 20323 h 81173"/>
                    <a:gd name="connsiteX704" fmla="*/ 46641 w 80747"/>
                    <a:gd name="connsiteY704" fmla="*/ 17687 h 81173"/>
                    <a:gd name="connsiteX705" fmla="*/ 47227 w 80747"/>
                    <a:gd name="connsiteY705" fmla="*/ 16750 h 81173"/>
                    <a:gd name="connsiteX706" fmla="*/ 48164 w 80747"/>
                    <a:gd name="connsiteY706" fmla="*/ 17336 h 81173"/>
                    <a:gd name="connsiteX707" fmla="*/ 47579 w 80747"/>
                    <a:gd name="connsiteY707" fmla="*/ 18273 h 81173"/>
                    <a:gd name="connsiteX708" fmla="*/ 46641 w 80747"/>
                    <a:gd name="connsiteY708" fmla="*/ 17687 h 81173"/>
                    <a:gd name="connsiteX709" fmla="*/ 48984 w 80747"/>
                    <a:gd name="connsiteY709" fmla="*/ 17219 h 81173"/>
                    <a:gd name="connsiteX710" fmla="*/ 51327 w 80747"/>
                    <a:gd name="connsiteY710" fmla="*/ 15930 h 81173"/>
                    <a:gd name="connsiteX711" fmla="*/ 51738 w 80747"/>
                    <a:gd name="connsiteY711" fmla="*/ 15872 h 81173"/>
                    <a:gd name="connsiteX712" fmla="*/ 52148 w 80747"/>
                    <a:gd name="connsiteY712" fmla="*/ 16633 h 81173"/>
                    <a:gd name="connsiteX713" fmla="*/ 52148 w 80747"/>
                    <a:gd name="connsiteY713" fmla="*/ 16633 h 81173"/>
                    <a:gd name="connsiteX714" fmla="*/ 52030 w 80747"/>
                    <a:gd name="connsiteY714" fmla="*/ 16809 h 81173"/>
                    <a:gd name="connsiteX715" fmla="*/ 51152 w 80747"/>
                    <a:gd name="connsiteY715" fmla="*/ 18566 h 81173"/>
                    <a:gd name="connsiteX716" fmla="*/ 50976 w 80747"/>
                    <a:gd name="connsiteY716" fmla="*/ 20557 h 81173"/>
                    <a:gd name="connsiteX717" fmla="*/ 50976 w 80747"/>
                    <a:gd name="connsiteY717" fmla="*/ 20791 h 81173"/>
                    <a:gd name="connsiteX718" fmla="*/ 50976 w 80747"/>
                    <a:gd name="connsiteY718" fmla="*/ 20791 h 81173"/>
                    <a:gd name="connsiteX719" fmla="*/ 50215 w 80747"/>
                    <a:gd name="connsiteY719" fmla="*/ 21201 h 81173"/>
                    <a:gd name="connsiteX720" fmla="*/ 49863 w 80747"/>
                    <a:gd name="connsiteY720" fmla="*/ 20908 h 81173"/>
                    <a:gd name="connsiteX721" fmla="*/ 48574 w 80747"/>
                    <a:gd name="connsiteY721" fmla="*/ 18624 h 81173"/>
                    <a:gd name="connsiteX722" fmla="*/ 48984 w 80747"/>
                    <a:gd name="connsiteY722" fmla="*/ 17219 h 81173"/>
                    <a:gd name="connsiteX723" fmla="*/ 52909 w 80747"/>
                    <a:gd name="connsiteY723" fmla="*/ 24422 h 81173"/>
                    <a:gd name="connsiteX724" fmla="*/ 53378 w 80747"/>
                    <a:gd name="connsiteY724" fmla="*/ 24247 h 81173"/>
                    <a:gd name="connsiteX725" fmla="*/ 56014 w 80747"/>
                    <a:gd name="connsiteY725" fmla="*/ 24188 h 81173"/>
                    <a:gd name="connsiteX726" fmla="*/ 57068 w 80747"/>
                    <a:gd name="connsiteY726" fmla="*/ 25184 h 81173"/>
                    <a:gd name="connsiteX727" fmla="*/ 57126 w 80747"/>
                    <a:gd name="connsiteY727" fmla="*/ 27878 h 81173"/>
                    <a:gd name="connsiteX728" fmla="*/ 56951 w 80747"/>
                    <a:gd name="connsiteY728" fmla="*/ 28288 h 81173"/>
                    <a:gd name="connsiteX729" fmla="*/ 56072 w 80747"/>
                    <a:gd name="connsiteY729" fmla="*/ 28288 h 81173"/>
                    <a:gd name="connsiteX730" fmla="*/ 56072 w 80747"/>
                    <a:gd name="connsiteY730" fmla="*/ 28288 h 81173"/>
                    <a:gd name="connsiteX731" fmla="*/ 55955 w 80747"/>
                    <a:gd name="connsiteY731" fmla="*/ 28112 h 81173"/>
                    <a:gd name="connsiteX732" fmla="*/ 54783 w 80747"/>
                    <a:gd name="connsiteY732" fmla="*/ 26472 h 81173"/>
                    <a:gd name="connsiteX733" fmla="*/ 53143 w 80747"/>
                    <a:gd name="connsiteY733" fmla="*/ 25359 h 81173"/>
                    <a:gd name="connsiteX734" fmla="*/ 52968 w 80747"/>
                    <a:gd name="connsiteY734" fmla="*/ 25242 h 81173"/>
                    <a:gd name="connsiteX735" fmla="*/ 52968 w 80747"/>
                    <a:gd name="connsiteY735" fmla="*/ 25242 h 81173"/>
                    <a:gd name="connsiteX736" fmla="*/ 52909 w 80747"/>
                    <a:gd name="connsiteY736" fmla="*/ 24422 h 81173"/>
                    <a:gd name="connsiteX737" fmla="*/ 58064 w 80747"/>
                    <a:gd name="connsiteY737" fmla="*/ 25184 h 81173"/>
                    <a:gd name="connsiteX738" fmla="*/ 59059 w 80747"/>
                    <a:gd name="connsiteY738" fmla="*/ 24130 h 81173"/>
                    <a:gd name="connsiteX739" fmla="*/ 61754 w 80747"/>
                    <a:gd name="connsiteY739" fmla="*/ 24071 h 81173"/>
                    <a:gd name="connsiteX740" fmla="*/ 62164 w 80747"/>
                    <a:gd name="connsiteY740" fmla="*/ 24247 h 81173"/>
                    <a:gd name="connsiteX741" fmla="*/ 62164 w 80747"/>
                    <a:gd name="connsiteY741" fmla="*/ 25125 h 81173"/>
                    <a:gd name="connsiteX742" fmla="*/ 62164 w 80747"/>
                    <a:gd name="connsiteY742" fmla="*/ 25125 h 81173"/>
                    <a:gd name="connsiteX743" fmla="*/ 61988 w 80747"/>
                    <a:gd name="connsiteY743" fmla="*/ 25242 h 81173"/>
                    <a:gd name="connsiteX744" fmla="*/ 60407 w 80747"/>
                    <a:gd name="connsiteY744" fmla="*/ 26414 h 81173"/>
                    <a:gd name="connsiteX745" fmla="*/ 59294 w 80747"/>
                    <a:gd name="connsiteY745" fmla="*/ 28053 h 81173"/>
                    <a:gd name="connsiteX746" fmla="*/ 59177 w 80747"/>
                    <a:gd name="connsiteY746" fmla="*/ 28229 h 81173"/>
                    <a:gd name="connsiteX747" fmla="*/ 59177 w 80747"/>
                    <a:gd name="connsiteY747" fmla="*/ 28229 h 81173"/>
                    <a:gd name="connsiteX748" fmla="*/ 58298 w 80747"/>
                    <a:gd name="connsiteY748" fmla="*/ 28229 h 81173"/>
                    <a:gd name="connsiteX749" fmla="*/ 58122 w 80747"/>
                    <a:gd name="connsiteY749" fmla="*/ 27761 h 81173"/>
                    <a:gd name="connsiteX750" fmla="*/ 58064 w 80747"/>
                    <a:gd name="connsiteY750" fmla="*/ 25184 h 81173"/>
                    <a:gd name="connsiteX751" fmla="*/ 56775 w 80747"/>
                    <a:gd name="connsiteY751" fmla="*/ 23485 h 81173"/>
                    <a:gd name="connsiteX752" fmla="*/ 57712 w 80747"/>
                    <a:gd name="connsiteY752" fmla="*/ 22900 h 81173"/>
                    <a:gd name="connsiteX753" fmla="*/ 58298 w 80747"/>
                    <a:gd name="connsiteY753" fmla="*/ 23837 h 81173"/>
                    <a:gd name="connsiteX754" fmla="*/ 57361 w 80747"/>
                    <a:gd name="connsiteY754" fmla="*/ 24422 h 81173"/>
                    <a:gd name="connsiteX755" fmla="*/ 56775 w 80747"/>
                    <a:gd name="connsiteY755" fmla="*/ 23485 h 81173"/>
                    <a:gd name="connsiteX756" fmla="*/ 60231 w 80747"/>
                    <a:gd name="connsiteY756" fmla="*/ 20850 h 81173"/>
                    <a:gd name="connsiteX757" fmla="*/ 61871 w 80747"/>
                    <a:gd name="connsiteY757" fmla="*/ 21963 h 81173"/>
                    <a:gd name="connsiteX758" fmla="*/ 62047 w 80747"/>
                    <a:gd name="connsiteY758" fmla="*/ 22080 h 81173"/>
                    <a:gd name="connsiteX759" fmla="*/ 62047 w 80747"/>
                    <a:gd name="connsiteY759" fmla="*/ 22080 h 81173"/>
                    <a:gd name="connsiteX760" fmla="*/ 62047 w 80747"/>
                    <a:gd name="connsiteY760" fmla="*/ 22958 h 81173"/>
                    <a:gd name="connsiteX761" fmla="*/ 61578 w 80747"/>
                    <a:gd name="connsiteY761" fmla="*/ 23134 h 81173"/>
                    <a:gd name="connsiteX762" fmla="*/ 58942 w 80747"/>
                    <a:gd name="connsiteY762" fmla="*/ 23192 h 81173"/>
                    <a:gd name="connsiteX763" fmla="*/ 57888 w 80747"/>
                    <a:gd name="connsiteY763" fmla="*/ 22197 h 81173"/>
                    <a:gd name="connsiteX764" fmla="*/ 57829 w 80747"/>
                    <a:gd name="connsiteY764" fmla="*/ 19503 h 81173"/>
                    <a:gd name="connsiteX765" fmla="*/ 58005 w 80747"/>
                    <a:gd name="connsiteY765" fmla="*/ 19093 h 81173"/>
                    <a:gd name="connsiteX766" fmla="*/ 58884 w 80747"/>
                    <a:gd name="connsiteY766" fmla="*/ 19093 h 81173"/>
                    <a:gd name="connsiteX767" fmla="*/ 58884 w 80747"/>
                    <a:gd name="connsiteY767" fmla="*/ 19093 h 81173"/>
                    <a:gd name="connsiteX768" fmla="*/ 59001 w 80747"/>
                    <a:gd name="connsiteY768" fmla="*/ 19268 h 81173"/>
                    <a:gd name="connsiteX769" fmla="*/ 60231 w 80747"/>
                    <a:gd name="connsiteY769" fmla="*/ 20850 h 81173"/>
                    <a:gd name="connsiteX770" fmla="*/ 62691 w 80747"/>
                    <a:gd name="connsiteY770" fmla="*/ 28288 h 81173"/>
                    <a:gd name="connsiteX771" fmla="*/ 61930 w 80747"/>
                    <a:gd name="connsiteY771" fmla="*/ 29108 h 81173"/>
                    <a:gd name="connsiteX772" fmla="*/ 61110 w 80747"/>
                    <a:gd name="connsiteY772" fmla="*/ 28346 h 81173"/>
                    <a:gd name="connsiteX773" fmla="*/ 61871 w 80747"/>
                    <a:gd name="connsiteY773" fmla="*/ 27526 h 81173"/>
                    <a:gd name="connsiteX774" fmla="*/ 62691 w 80747"/>
                    <a:gd name="connsiteY774" fmla="*/ 28288 h 81173"/>
                    <a:gd name="connsiteX775" fmla="*/ 55779 w 80747"/>
                    <a:gd name="connsiteY775" fmla="*/ 19268 h 81173"/>
                    <a:gd name="connsiteX776" fmla="*/ 55896 w 80747"/>
                    <a:gd name="connsiteY776" fmla="*/ 19093 h 81173"/>
                    <a:gd name="connsiteX777" fmla="*/ 55896 w 80747"/>
                    <a:gd name="connsiteY777" fmla="*/ 19093 h 81173"/>
                    <a:gd name="connsiteX778" fmla="*/ 56775 w 80747"/>
                    <a:gd name="connsiteY778" fmla="*/ 19093 h 81173"/>
                    <a:gd name="connsiteX779" fmla="*/ 56951 w 80747"/>
                    <a:gd name="connsiteY779" fmla="*/ 19561 h 81173"/>
                    <a:gd name="connsiteX780" fmla="*/ 57009 w 80747"/>
                    <a:gd name="connsiteY780" fmla="*/ 22197 h 81173"/>
                    <a:gd name="connsiteX781" fmla="*/ 56014 w 80747"/>
                    <a:gd name="connsiteY781" fmla="*/ 23251 h 81173"/>
                    <a:gd name="connsiteX782" fmla="*/ 53319 w 80747"/>
                    <a:gd name="connsiteY782" fmla="*/ 23310 h 81173"/>
                    <a:gd name="connsiteX783" fmla="*/ 52909 w 80747"/>
                    <a:gd name="connsiteY783" fmla="*/ 23134 h 81173"/>
                    <a:gd name="connsiteX784" fmla="*/ 52909 w 80747"/>
                    <a:gd name="connsiteY784" fmla="*/ 22255 h 81173"/>
                    <a:gd name="connsiteX785" fmla="*/ 52909 w 80747"/>
                    <a:gd name="connsiteY785" fmla="*/ 22255 h 81173"/>
                    <a:gd name="connsiteX786" fmla="*/ 53085 w 80747"/>
                    <a:gd name="connsiteY786" fmla="*/ 22138 h 81173"/>
                    <a:gd name="connsiteX787" fmla="*/ 54666 w 80747"/>
                    <a:gd name="connsiteY787" fmla="*/ 20967 h 81173"/>
                    <a:gd name="connsiteX788" fmla="*/ 55779 w 80747"/>
                    <a:gd name="connsiteY788" fmla="*/ 19268 h 81173"/>
                    <a:gd name="connsiteX789" fmla="*/ 54022 w 80747"/>
                    <a:gd name="connsiteY789" fmla="*/ 19093 h 81173"/>
                    <a:gd name="connsiteX790" fmla="*/ 53260 w 80747"/>
                    <a:gd name="connsiteY790" fmla="*/ 19913 h 81173"/>
                    <a:gd name="connsiteX791" fmla="*/ 52440 w 80747"/>
                    <a:gd name="connsiteY791" fmla="*/ 19151 h 81173"/>
                    <a:gd name="connsiteX792" fmla="*/ 53202 w 80747"/>
                    <a:gd name="connsiteY792" fmla="*/ 18331 h 81173"/>
                    <a:gd name="connsiteX793" fmla="*/ 54022 w 80747"/>
                    <a:gd name="connsiteY793" fmla="*/ 19093 h 81173"/>
                    <a:gd name="connsiteX794" fmla="*/ 48516 w 80747"/>
                    <a:gd name="connsiteY794" fmla="*/ 11831 h 81173"/>
                    <a:gd name="connsiteX795" fmla="*/ 48516 w 80747"/>
                    <a:gd name="connsiteY795" fmla="*/ 10835 h 81173"/>
                    <a:gd name="connsiteX796" fmla="*/ 49746 w 80747"/>
                    <a:gd name="connsiteY796" fmla="*/ 10893 h 81173"/>
                    <a:gd name="connsiteX797" fmla="*/ 48516 w 80747"/>
                    <a:gd name="connsiteY797" fmla="*/ 11831 h 81173"/>
                    <a:gd name="connsiteX798" fmla="*/ 50449 w 80747"/>
                    <a:gd name="connsiteY798" fmla="*/ 13939 h 81173"/>
                    <a:gd name="connsiteX799" fmla="*/ 50683 w 80747"/>
                    <a:gd name="connsiteY799" fmla="*/ 13939 h 81173"/>
                    <a:gd name="connsiteX800" fmla="*/ 50742 w 80747"/>
                    <a:gd name="connsiteY800" fmla="*/ 13939 h 81173"/>
                    <a:gd name="connsiteX801" fmla="*/ 51152 w 80747"/>
                    <a:gd name="connsiteY801" fmla="*/ 14700 h 81173"/>
                    <a:gd name="connsiteX802" fmla="*/ 50859 w 80747"/>
                    <a:gd name="connsiteY802" fmla="*/ 15052 h 81173"/>
                    <a:gd name="connsiteX803" fmla="*/ 48574 w 80747"/>
                    <a:gd name="connsiteY803" fmla="*/ 16340 h 81173"/>
                    <a:gd name="connsiteX804" fmla="*/ 47169 w 80747"/>
                    <a:gd name="connsiteY804" fmla="*/ 15930 h 81173"/>
                    <a:gd name="connsiteX805" fmla="*/ 45880 w 80747"/>
                    <a:gd name="connsiteY805" fmla="*/ 13588 h 81173"/>
                    <a:gd name="connsiteX806" fmla="*/ 45821 w 80747"/>
                    <a:gd name="connsiteY806" fmla="*/ 13178 h 81173"/>
                    <a:gd name="connsiteX807" fmla="*/ 46583 w 80747"/>
                    <a:gd name="connsiteY807" fmla="*/ 12768 h 81173"/>
                    <a:gd name="connsiteX808" fmla="*/ 46583 w 80747"/>
                    <a:gd name="connsiteY808" fmla="*/ 12768 h 81173"/>
                    <a:gd name="connsiteX809" fmla="*/ 46759 w 80747"/>
                    <a:gd name="connsiteY809" fmla="*/ 12885 h 81173"/>
                    <a:gd name="connsiteX810" fmla="*/ 48516 w 80747"/>
                    <a:gd name="connsiteY810" fmla="*/ 13763 h 81173"/>
                    <a:gd name="connsiteX811" fmla="*/ 50449 w 80747"/>
                    <a:gd name="connsiteY811" fmla="*/ 13939 h 81173"/>
                    <a:gd name="connsiteX812" fmla="*/ 46290 w 80747"/>
                    <a:gd name="connsiteY812" fmla="*/ 10952 h 81173"/>
                    <a:gd name="connsiteX813" fmla="*/ 45060 w 80747"/>
                    <a:gd name="connsiteY813" fmla="*/ 10893 h 81173"/>
                    <a:gd name="connsiteX814" fmla="*/ 38968 w 80747"/>
                    <a:gd name="connsiteY814" fmla="*/ 10483 h 81173"/>
                    <a:gd name="connsiteX815" fmla="*/ 36508 w 80747"/>
                    <a:gd name="connsiteY815" fmla="*/ 10425 h 81173"/>
                    <a:gd name="connsiteX816" fmla="*/ 36566 w 80747"/>
                    <a:gd name="connsiteY816" fmla="*/ 9488 h 81173"/>
                    <a:gd name="connsiteX817" fmla="*/ 39261 w 80747"/>
                    <a:gd name="connsiteY817" fmla="*/ 9136 h 81173"/>
                    <a:gd name="connsiteX818" fmla="*/ 44240 w 80747"/>
                    <a:gd name="connsiteY818" fmla="*/ 9312 h 81173"/>
                    <a:gd name="connsiteX819" fmla="*/ 46524 w 80747"/>
                    <a:gd name="connsiteY819" fmla="*/ 10074 h 81173"/>
                    <a:gd name="connsiteX820" fmla="*/ 46290 w 80747"/>
                    <a:gd name="connsiteY820" fmla="*/ 10952 h 81173"/>
                    <a:gd name="connsiteX821" fmla="*/ 44591 w 80747"/>
                    <a:gd name="connsiteY821" fmla="*/ 24364 h 81173"/>
                    <a:gd name="connsiteX822" fmla="*/ 45353 w 80747"/>
                    <a:gd name="connsiteY822" fmla="*/ 24012 h 81173"/>
                    <a:gd name="connsiteX823" fmla="*/ 45411 w 80747"/>
                    <a:gd name="connsiteY823" fmla="*/ 24012 h 81173"/>
                    <a:gd name="connsiteX824" fmla="*/ 45470 w 80747"/>
                    <a:gd name="connsiteY824" fmla="*/ 24012 h 81173"/>
                    <a:gd name="connsiteX825" fmla="*/ 46290 w 80747"/>
                    <a:gd name="connsiteY825" fmla="*/ 24188 h 81173"/>
                    <a:gd name="connsiteX826" fmla="*/ 47051 w 80747"/>
                    <a:gd name="connsiteY826" fmla="*/ 24715 h 81173"/>
                    <a:gd name="connsiteX827" fmla="*/ 47051 w 80747"/>
                    <a:gd name="connsiteY827" fmla="*/ 24715 h 81173"/>
                    <a:gd name="connsiteX828" fmla="*/ 48340 w 80747"/>
                    <a:gd name="connsiteY828" fmla="*/ 25594 h 81173"/>
                    <a:gd name="connsiteX829" fmla="*/ 48340 w 80747"/>
                    <a:gd name="connsiteY829" fmla="*/ 25594 h 81173"/>
                    <a:gd name="connsiteX830" fmla="*/ 48516 w 80747"/>
                    <a:gd name="connsiteY830" fmla="*/ 25887 h 81173"/>
                    <a:gd name="connsiteX831" fmla="*/ 48164 w 80747"/>
                    <a:gd name="connsiteY831" fmla="*/ 26296 h 81173"/>
                    <a:gd name="connsiteX832" fmla="*/ 48106 w 80747"/>
                    <a:gd name="connsiteY832" fmla="*/ 26296 h 81173"/>
                    <a:gd name="connsiteX833" fmla="*/ 48106 w 80747"/>
                    <a:gd name="connsiteY833" fmla="*/ 26296 h 81173"/>
                    <a:gd name="connsiteX834" fmla="*/ 48106 w 80747"/>
                    <a:gd name="connsiteY834" fmla="*/ 26296 h 81173"/>
                    <a:gd name="connsiteX835" fmla="*/ 45587 w 80747"/>
                    <a:gd name="connsiteY835" fmla="*/ 26355 h 81173"/>
                    <a:gd name="connsiteX836" fmla="*/ 43127 w 80747"/>
                    <a:gd name="connsiteY836" fmla="*/ 26706 h 81173"/>
                    <a:gd name="connsiteX837" fmla="*/ 43127 w 80747"/>
                    <a:gd name="connsiteY837" fmla="*/ 26706 h 81173"/>
                    <a:gd name="connsiteX838" fmla="*/ 43068 w 80747"/>
                    <a:gd name="connsiteY838" fmla="*/ 26706 h 81173"/>
                    <a:gd name="connsiteX839" fmla="*/ 42658 w 80747"/>
                    <a:gd name="connsiteY839" fmla="*/ 26355 h 81173"/>
                    <a:gd name="connsiteX840" fmla="*/ 42775 w 80747"/>
                    <a:gd name="connsiteY840" fmla="*/ 26062 h 81173"/>
                    <a:gd name="connsiteX841" fmla="*/ 42775 w 80747"/>
                    <a:gd name="connsiteY841" fmla="*/ 26062 h 81173"/>
                    <a:gd name="connsiteX842" fmla="*/ 43888 w 80747"/>
                    <a:gd name="connsiteY842" fmla="*/ 25008 h 81173"/>
                    <a:gd name="connsiteX843" fmla="*/ 43888 w 80747"/>
                    <a:gd name="connsiteY843" fmla="*/ 25008 h 81173"/>
                    <a:gd name="connsiteX844" fmla="*/ 44591 w 80747"/>
                    <a:gd name="connsiteY844" fmla="*/ 24364 h 81173"/>
                    <a:gd name="connsiteX845" fmla="*/ 38265 w 80747"/>
                    <a:gd name="connsiteY845" fmla="*/ 13880 h 81173"/>
                    <a:gd name="connsiteX846" fmla="*/ 38265 w 80747"/>
                    <a:gd name="connsiteY846" fmla="*/ 13880 h 81173"/>
                    <a:gd name="connsiteX847" fmla="*/ 38265 w 80747"/>
                    <a:gd name="connsiteY847" fmla="*/ 14115 h 81173"/>
                    <a:gd name="connsiteX848" fmla="*/ 38441 w 80747"/>
                    <a:gd name="connsiteY848" fmla="*/ 16106 h 81173"/>
                    <a:gd name="connsiteX849" fmla="*/ 39261 w 80747"/>
                    <a:gd name="connsiteY849" fmla="*/ 17921 h 81173"/>
                    <a:gd name="connsiteX850" fmla="*/ 39378 w 80747"/>
                    <a:gd name="connsiteY850" fmla="*/ 18097 h 81173"/>
                    <a:gd name="connsiteX851" fmla="*/ 39378 w 80747"/>
                    <a:gd name="connsiteY851" fmla="*/ 18156 h 81173"/>
                    <a:gd name="connsiteX852" fmla="*/ 38968 w 80747"/>
                    <a:gd name="connsiteY852" fmla="*/ 18917 h 81173"/>
                    <a:gd name="connsiteX853" fmla="*/ 38499 w 80747"/>
                    <a:gd name="connsiteY853" fmla="*/ 18859 h 81173"/>
                    <a:gd name="connsiteX854" fmla="*/ 36215 w 80747"/>
                    <a:gd name="connsiteY854" fmla="*/ 17511 h 81173"/>
                    <a:gd name="connsiteX855" fmla="*/ 35863 w 80747"/>
                    <a:gd name="connsiteY855" fmla="*/ 16106 h 81173"/>
                    <a:gd name="connsiteX856" fmla="*/ 37211 w 80747"/>
                    <a:gd name="connsiteY856" fmla="*/ 13763 h 81173"/>
                    <a:gd name="connsiteX857" fmla="*/ 37562 w 80747"/>
                    <a:gd name="connsiteY857" fmla="*/ 13529 h 81173"/>
                    <a:gd name="connsiteX858" fmla="*/ 38265 w 80747"/>
                    <a:gd name="connsiteY858" fmla="*/ 13880 h 81173"/>
                    <a:gd name="connsiteX859" fmla="*/ 35688 w 80747"/>
                    <a:gd name="connsiteY859" fmla="*/ 18273 h 81173"/>
                    <a:gd name="connsiteX860" fmla="*/ 38031 w 80747"/>
                    <a:gd name="connsiteY860" fmla="*/ 19620 h 81173"/>
                    <a:gd name="connsiteX861" fmla="*/ 38265 w 80747"/>
                    <a:gd name="connsiteY861" fmla="*/ 19971 h 81173"/>
                    <a:gd name="connsiteX862" fmla="*/ 37855 w 80747"/>
                    <a:gd name="connsiteY862" fmla="*/ 20733 h 81173"/>
                    <a:gd name="connsiteX863" fmla="*/ 37855 w 80747"/>
                    <a:gd name="connsiteY863" fmla="*/ 20733 h 81173"/>
                    <a:gd name="connsiteX864" fmla="*/ 37621 w 80747"/>
                    <a:gd name="connsiteY864" fmla="*/ 20733 h 81173"/>
                    <a:gd name="connsiteX865" fmla="*/ 35629 w 80747"/>
                    <a:gd name="connsiteY865" fmla="*/ 20850 h 81173"/>
                    <a:gd name="connsiteX866" fmla="*/ 33872 w 80747"/>
                    <a:gd name="connsiteY866" fmla="*/ 21670 h 81173"/>
                    <a:gd name="connsiteX867" fmla="*/ 33696 w 80747"/>
                    <a:gd name="connsiteY867" fmla="*/ 21787 h 81173"/>
                    <a:gd name="connsiteX868" fmla="*/ 33696 w 80747"/>
                    <a:gd name="connsiteY868" fmla="*/ 21787 h 81173"/>
                    <a:gd name="connsiteX869" fmla="*/ 32935 w 80747"/>
                    <a:gd name="connsiteY869" fmla="*/ 21318 h 81173"/>
                    <a:gd name="connsiteX870" fmla="*/ 32993 w 80747"/>
                    <a:gd name="connsiteY870" fmla="*/ 20850 h 81173"/>
                    <a:gd name="connsiteX871" fmla="*/ 34341 w 80747"/>
                    <a:gd name="connsiteY871" fmla="*/ 18566 h 81173"/>
                    <a:gd name="connsiteX872" fmla="*/ 35688 w 80747"/>
                    <a:gd name="connsiteY872" fmla="*/ 18273 h 81173"/>
                    <a:gd name="connsiteX873" fmla="*/ 34106 w 80747"/>
                    <a:gd name="connsiteY873" fmla="*/ 16516 h 81173"/>
                    <a:gd name="connsiteX874" fmla="*/ 35219 w 80747"/>
                    <a:gd name="connsiteY874" fmla="*/ 16516 h 81173"/>
                    <a:gd name="connsiteX875" fmla="*/ 35219 w 80747"/>
                    <a:gd name="connsiteY875" fmla="*/ 17629 h 81173"/>
                    <a:gd name="connsiteX876" fmla="*/ 34106 w 80747"/>
                    <a:gd name="connsiteY876" fmla="*/ 17629 h 81173"/>
                    <a:gd name="connsiteX877" fmla="*/ 34106 w 80747"/>
                    <a:gd name="connsiteY877" fmla="*/ 16516 h 81173"/>
                    <a:gd name="connsiteX878" fmla="*/ 44474 w 80747"/>
                    <a:gd name="connsiteY878" fmla="*/ 57688 h 81173"/>
                    <a:gd name="connsiteX879" fmla="*/ 44123 w 80747"/>
                    <a:gd name="connsiteY879" fmla="*/ 58098 h 81173"/>
                    <a:gd name="connsiteX880" fmla="*/ 44123 w 80747"/>
                    <a:gd name="connsiteY880" fmla="*/ 58098 h 81173"/>
                    <a:gd name="connsiteX881" fmla="*/ 44123 w 80747"/>
                    <a:gd name="connsiteY881" fmla="*/ 58098 h 81173"/>
                    <a:gd name="connsiteX882" fmla="*/ 41604 w 80747"/>
                    <a:gd name="connsiteY882" fmla="*/ 58157 h 81173"/>
                    <a:gd name="connsiteX883" fmla="*/ 39144 w 80747"/>
                    <a:gd name="connsiteY883" fmla="*/ 58508 h 81173"/>
                    <a:gd name="connsiteX884" fmla="*/ 39144 w 80747"/>
                    <a:gd name="connsiteY884" fmla="*/ 58508 h 81173"/>
                    <a:gd name="connsiteX885" fmla="*/ 39144 w 80747"/>
                    <a:gd name="connsiteY885" fmla="*/ 58508 h 81173"/>
                    <a:gd name="connsiteX886" fmla="*/ 38734 w 80747"/>
                    <a:gd name="connsiteY886" fmla="*/ 58157 h 81173"/>
                    <a:gd name="connsiteX887" fmla="*/ 38851 w 80747"/>
                    <a:gd name="connsiteY887" fmla="*/ 57864 h 81173"/>
                    <a:gd name="connsiteX888" fmla="*/ 38851 w 80747"/>
                    <a:gd name="connsiteY888" fmla="*/ 57864 h 81173"/>
                    <a:gd name="connsiteX889" fmla="*/ 39964 w 80747"/>
                    <a:gd name="connsiteY889" fmla="*/ 56810 h 81173"/>
                    <a:gd name="connsiteX890" fmla="*/ 39964 w 80747"/>
                    <a:gd name="connsiteY890" fmla="*/ 56810 h 81173"/>
                    <a:gd name="connsiteX891" fmla="*/ 40667 w 80747"/>
                    <a:gd name="connsiteY891" fmla="*/ 56166 h 81173"/>
                    <a:gd name="connsiteX892" fmla="*/ 41428 w 80747"/>
                    <a:gd name="connsiteY892" fmla="*/ 55814 h 81173"/>
                    <a:gd name="connsiteX893" fmla="*/ 41487 w 80747"/>
                    <a:gd name="connsiteY893" fmla="*/ 55814 h 81173"/>
                    <a:gd name="connsiteX894" fmla="*/ 41545 w 80747"/>
                    <a:gd name="connsiteY894" fmla="*/ 55814 h 81173"/>
                    <a:gd name="connsiteX895" fmla="*/ 42365 w 80747"/>
                    <a:gd name="connsiteY895" fmla="*/ 55990 h 81173"/>
                    <a:gd name="connsiteX896" fmla="*/ 43127 w 80747"/>
                    <a:gd name="connsiteY896" fmla="*/ 56517 h 81173"/>
                    <a:gd name="connsiteX897" fmla="*/ 43127 w 80747"/>
                    <a:gd name="connsiteY897" fmla="*/ 56517 h 81173"/>
                    <a:gd name="connsiteX898" fmla="*/ 44416 w 80747"/>
                    <a:gd name="connsiteY898" fmla="*/ 57395 h 81173"/>
                    <a:gd name="connsiteX899" fmla="*/ 44416 w 80747"/>
                    <a:gd name="connsiteY899" fmla="*/ 57395 h 81173"/>
                    <a:gd name="connsiteX900" fmla="*/ 44474 w 80747"/>
                    <a:gd name="connsiteY900" fmla="*/ 57688 h 81173"/>
                    <a:gd name="connsiteX901" fmla="*/ 47696 w 80747"/>
                    <a:gd name="connsiteY901" fmla="*/ 60499 h 81173"/>
                    <a:gd name="connsiteX902" fmla="*/ 46349 w 80747"/>
                    <a:gd name="connsiteY902" fmla="*/ 62784 h 81173"/>
                    <a:gd name="connsiteX903" fmla="*/ 44943 w 80747"/>
                    <a:gd name="connsiteY903" fmla="*/ 63135 h 81173"/>
                    <a:gd name="connsiteX904" fmla="*/ 42600 w 80747"/>
                    <a:gd name="connsiteY904" fmla="*/ 61788 h 81173"/>
                    <a:gd name="connsiteX905" fmla="*/ 42365 w 80747"/>
                    <a:gd name="connsiteY905" fmla="*/ 61437 h 81173"/>
                    <a:gd name="connsiteX906" fmla="*/ 42775 w 80747"/>
                    <a:gd name="connsiteY906" fmla="*/ 60675 h 81173"/>
                    <a:gd name="connsiteX907" fmla="*/ 42775 w 80747"/>
                    <a:gd name="connsiteY907" fmla="*/ 60675 h 81173"/>
                    <a:gd name="connsiteX908" fmla="*/ 43010 w 80747"/>
                    <a:gd name="connsiteY908" fmla="*/ 60675 h 81173"/>
                    <a:gd name="connsiteX909" fmla="*/ 45001 w 80747"/>
                    <a:gd name="connsiteY909" fmla="*/ 60558 h 81173"/>
                    <a:gd name="connsiteX910" fmla="*/ 46759 w 80747"/>
                    <a:gd name="connsiteY910" fmla="*/ 59738 h 81173"/>
                    <a:gd name="connsiteX911" fmla="*/ 46934 w 80747"/>
                    <a:gd name="connsiteY911" fmla="*/ 59621 h 81173"/>
                    <a:gd name="connsiteX912" fmla="*/ 46934 w 80747"/>
                    <a:gd name="connsiteY912" fmla="*/ 59621 h 81173"/>
                    <a:gd name="connsiteX913" fmla="*/ 47696 w 80747"/>
                    <a:gd name="connsiteY913" fmla="*/ 60031 h 81173"/>
                    <a:gd name="connsiteX914" fmla="*/ 47696 w 80747"/>
                    <a:gd name="connsiteY914" fmla="*/ 60499 h 81173"/>
                    <a:gd name="connsiteX915" fmla="*/ 47696 w 80747"/>
                    <a:gd name="connsiteY915" fmla="*/ 60499 h 81173"/>
                    <a:gd name="connsiteX916" fmla="*/ 46641 w 80747"/>
                    <a:gd name="connsiteY916" fmla="*/ 64892 h 81173"/>
                    <a:gd name="connsiteX917" fmla="*/ 45528 w 80747"/>
                    <a:gd name="connsiteY917" fmla="*/ 64892 h 81173"/>
                    <a:gd name="connsiteX918" fmla="*/ 45528 w 80747"/>
                    <a:gd name="connsiteY918" fmla="*/ 63779 h 81173"/>
                    <a:gd name="connsiteX919" fmla="*/ 46641 w 80747"/>
                    <a:gd name="connsiteY919" fmla="*/ 63779 h 81173"/>
                    <a:gd name="connsiteX920" fmla="*/ 46641 w 80747"/>
                    <a:gd name="connsiteY920" fmla="*/ 64892 h 81173"/>
                    <a:gd name="connsiteX921" fmla="*/ 34868 w 80747"/>
                    <a:gd name="connsiteY921" fmla="*/ 63603 h 81173"/>
                    <a:gd name="connsiteX922" fmla="*/ 37211 w 80747"/>
                    <a:gd name="connsiteY922" fmla="*/ 62315 h 81173"/>
                    <a:gd name="connsiteX923" fmla="*/ 37621 w 80747"/>
                    <a:gd name="connsiteY923" fmla="*/ 62257 h 81173"/>
                    <a:gd name="connsiteX924" fmla="*/ 38031 w 80747"/>
                    <a:gd name="connsiteY924" fmla="*/ 63018 h 81173"/>
                    <a:gd name="connsiteX925" fmla="*/ 38031 w 80747"/>
                    <a:gd name="connsiteY925" fmla="*/ 63018 h 81173"/>
                    <a:gd name="connsiteX926" fmla="*/ 37914 w 80747"/>
                    <a:gd name="connsiteY926" fmla="*/ 63194 h 81173"/>
                    <a:gd name="connsiteX927" fmla="*/ 37035 w 80747"/>
                    <a:gd name="connsiteY927" fmla="*/ 64951 h 81173"/>
                    <a:gd name="connsiteX928" fmla="*/ 36859 w 80747"/>
                    <a:gd name="connsiteY928" fmla="*/ 66942 h 81173"/>
                    <a:gd name="connsiteX929" fmla="*/ 36859 w 80747"/>
                    <a:gd name="connsiteY929" fmla="*/ 67176 h 81173"/>
                    <a:gd name="connsiteX930" fmla="*/ 36859 w 80747"/>
                    <a:gd name="connsiteY930" fmla="*/ 67235 h 81173"/>
                    <a:gd name="connsiteX931" fmla="*/ 36098 w 80747"/>
                    <a:gd name="connsiteY931" fmla="*/ 67645 h 81173"/>
                    <a:gd name="connsiteX932" fmla="*/ 35746 w 80747"/>
                    <a:gd name="connsiteY932" fmla="*/ 67352 h 81173"/>
                    <a:gd name="connsiteX933" fmla="*/ 34458 w 80747"/>
                    <a:gd name="connsiteY933" fmla="*/ 65068 h 81173"/>
                    <a:gd name="connsiteX934" fmla="*/ 34868 w 80747"/>
                    <a:gd name="connsiteY934" fmla="*/ 63603 h 81173"/>
                    <a:gd name="connsiteX935" fmla="*/ 33462 w 80747"/>
                    <a:gd name="connsiteY935" fmla="*/ 64658 h 81173"/>
                    <a:gd name="connsiteX936" fmla="*/ 32525 w 80747"/>
                    <a:gd name="connsiteY936" fmla="*/ 64072 h 81173"/>
                    <a:gd name="connsiteX937" fmla="*/ 33110 w 80747"/>
                    <a:gd name="connsiteY937" fmla="*/ 63135 h 81173"/>
                    <a:gd name="connsiteX938" fmla="*/ 34048 w 80747"/>
                    <a:gd name="connsiteY938" fmla="*/ 63721 h 81173"/>
                    <a:gd name="connsiteX939" fmla="*/ 33462 w 80747"/>
                    <a:gd name="connsiteY939" fmla="*/ 64658 h 81173"/>
                    <a:gd name="connsiteX940" fmla="*/ 36976 w 80747"/>
                    <a:gd name="connsiteY940" fmla="*/ 61085 h 81173"/>
                    <a:gd name="connsiteX941" fmla="*/ 36684 w 80747"/>
                    <a:gd name="connsiteY941" fmla="*/ 61437 h 81173"/>
                    <a:gd name="connsiteX942" fmla="*/ 36684 w 80747"/>
                    <a:gd name="connsiteY942" fmla="*/ 61437 h 81173"/>
                    <a:gd name="connsiteX943" fmla="*/ 34399 w 80747"/>
                    <a:gd name="connsiteY943" fmla="*/ 62725 h 81173"/>
                    <a:gd name="connsiteX944" fmla="*/ 32993 w 80747"/>
                    <a:gd name="connsiteY944" fmla="*/ 62315 h 81173"/>
                    <a:gd name="connsiteX945" fmla="*/ 31705 w 80747"/>
                    <a:gd name="connsiteY945" fmla="*/ 59972 h 81173"/>
                    <a:gd name="connsiteX946" fmla="*/ 31646 w 80747"/>
                    <a:gd name="connsiteY946" fmla="*/ 59562 h 81173"/>
                    <a:gd name="connsiteX947" fmla="*/ 32408 w 80747"/>
                    <a:gd name="connsiteY947" fmla="*/ 59152 h 81173"/>
                    <a:gd name="connsiteX948" fmla="*/ 32408 w 80747"/>
                    <a:gd name="connsiteY948" fmla="*/ 59152 h 81173"/>
                    <a:gd name="connsiteX949" fmla="*/ 32583 w 80747"/>
                    <a:gd name="connsiteY949" fmla="*/ 59270 h 81173"/>
                    <a:gd name="connsiteX950" fmla="*/ 34341 w 80747"/>
                    <a:gd name="connsiteY950" fmla="*/ 60148 h 81173"/>
                    <a:gd name="connsiteX951" fmla="*/ 36274 w 80747"/>
                    <a:gd name="connsiteY951" fmla="*/ 60324 h 81173"/>
                    <a:gd name="connsiteX952" fmla="*/ 36508 w 80747"/>
                    <a:gd name="connsiteY952" fmla="*/ 60324 h 81173"/>
                    <a:gd name="connsiteX953" fmla="*/ 36508 w 80747"/>
                    <a:gd name="connsiteY953" fmla="*/ 60324 h 81173"/>
                    <a:gd name="connsiteX954" fmla="*/ 36976 w 80747"/>
                    <a:gd name="connsiteY954" fmla="*/ 61085 h 81173"/>
                    <a:gd name="connsiteX955" fmla="*/ 22684 w 80747"/>
                    <a:gd name="connsiteY955" fmla="*/ 56224 h 81173"/>
                    <a:gd name="connsiteX956" fmla="*/ 21688 w 80747"/>
                    <a:gd name="connsiteY956" fmla="*/ 57278 h 81173"/>
                    <a:gd name="connsiteX957" fmla="*/ 18994 w 80747"/>
                    <a:gd name="connsiteY957" fmla="*/ 57337 h 81173"/>
                    <a:gd name="connsiteX958" fmla="*/ 18584 w 80747"/>
                    <a:gd name="connsiteY958" fmla="*/ 57161 h 81173"/>
                    <a:gd name="connsiteX959" fmla="*/ 18584 w 80747"/>
                    <a:gd name="connsiteY959" fmla="*/ 56283 h 81173"/>
                    <a:gd name="connsiteX960" fmla="*/ 18584 w 80747"/>
                    <a:gd name="connsiteY960" fmla="*/ 56283 h 81173"/>
                    <a:gd name="connsiteX961" fmla="*/ 18759 w 80747"/>
                    <a:gd name="connsiteY961" fmla="*/ 56166 h 81173"/>
                    <a:gd name="connsiteX962" fmla="*/ 20341 w 80747"/>
                    <a:gd name="connsiteY962" fmla="*/ 54994 h 81173"/>
                    <a:gd name="connsiteX963" fmla="*/ 21454 w 80747"/>
                    <a:gd name="connsiteY963" fmla="*/ 53354 h 81173"/>
                    <a:gd name="connsiteX964" fmla="*/ 21571 w 80747"/>
                    <a:gd name="connsiteY964" fmla="*/ 53179 h 81173"/>
                    <a:gd name="connsiteX965" fmla="*/ 21571 w 80747"/>
                    <a:gd name="connsiteY965" fmla="*/ 53179 h 81173"/>
                    <a:gd name="connsiteX966" fmla="*/ 22450 w 80747"/>
                    <a:gd name="connsiteY966" fmla="*/ 53179 h 81173"/>
                    <a:gd name="connsiteX967" fmla="*/ 22625 w 80747"/>
                    <a:gd name="connsiteY967" fmla="*/ 53647 h 81173"/>
                    <a:gd name="connsiteX968" fmla="*/ 22684 w 80747"/>
                    <a:gd name="connsiteY968" fmla="*/ 56224 h 81173"/>
                    <a:gd name="connsiteX969" fmla="*/ 23973 w 80747"/>
                    <a:gd name="connsiteY969" fmla="*/ 57923 h 81173"/>
                    <a:gd name="connsiteX970" fmla="*/ 23035 w 80747"/>
                    <a:gd name="connsiteY970" fmla="*/ 58508 h 81173"/>
                    <a:gd name="connsiteX971" fmla="*/ 22450 w 80747"/>
                    <a:gd name="connsiteY971" fmla="*/ 57571 h 81173"/>
                    <a:gd name="connsiteX972" fmla="*/ 23387 w 80747"/>
                    <a:gd name="connsiteY972" fmla="*/ 56985 h 81173"/>
                    <a:gd name="connsiteX973" fmla="*/ 23973 w 80747"/>
                    <a:gd name="connsiteY973" fmla="*/ 57923 h 81173"/>
                    <a:gd name="connsiteX974" fmla="*/ 12316 w 80747"/>
                    <a:gd name="connsiteY974" fmla="*/ 46326 h 81173"/>
                    <a:gd name="connsiteX975" fmla="*/ 12199 w 80747"/>
                    <a:gd name="connsiteY975" fmla="*/ 46151 h 81173"/>
                    <a:gd name="connsiteX976" fmla="*/ 12199 w 80747"/>
                    <a:gd name="connsiteY976" fmla="*/ 46092 h 81173"/>
                    <a:gd name="connsiteX977" fmla="*/ 12609 w 80747"/>
                    <a:gd name="connsiteY977" fmla="*/ 45331 h 81173"/>
                    <a:gd name="connsiteX978" fmla="*/ 13078 w 80747"/>
                    <a:gd name="connsiteY978" fmla="*/ 45389 h 81173"/>
                    <a:gd name="connsiteX979" fmla="*/ 15362 w 80747"/>
                    <a:gd name="connsiteY979" fmla="*/ 46678 h 81173"/>
                    <a:gd name="connsiteX980" fmla="*/ 15772 w 80747"/>
                    <a:gd name="connsiteY980" fmla="*/ 48083 h 81173"/>
                    <a:gd name="connsiteX981" fmla="*/ 14483 w 80747"/>
                    <a:gd name="connsiteY981" fmla="*/ 50426 h 81173"/>
                    <a:gd name="connsiteX982" fmla="*/ 14132 w 80747"/>
                    <a:gd name="connsiteY982" fmla="*/ 50719 h 81173"/>
                    <a:gd name="connsiteX983" fmla="*/ 13371 w 80747"/>
                    <a:gd name="connsiteY983" fmla="*/ 50309 h 81173"/>
                    <a:gd name="connsiteX984" fmla="*/ 13371 w 80747"/>
                    <a:gd name="connsiteY984" fmla="*/ 50309 h 81173"/>
                    <a:gd name="connsiteX985" fmla="*/ 13371 w 80747"/>
                    <a:gd name="connsiteY985" fmla="*/ 50075 h 81173"/>
                    <a:gd name="connsiteX986" fmla="*/ 13136 w 80747"/>
                    <a:gd name="connsiteY986" fmla="*/ 48083 h 81173"/>
                    <a:gd name="connsiteX987" fmla="*/ 12316 w 80747"/>
                    <a:gd name="connsiteY987" fmla="*/ 46326 h 81173"/>
                    <a:gd name="connsiteX988" fmla="*/ 18115 w 80747"/>
                    <a:gd name="connsiteY988" fmla="*/ 48142 h 81173"/>
                    <a:gd name="connsiteX989" fmla="*/ 20458 w 80747"/>
                    <a:gd name="connsiteY989" fmla="*/ 49430 h 81173"/>
                    <a:gd name="connsiteX990" fmla="*/ 20751 w 80747"/>
                    <a:gd name="connsiteY990" fmla="*/ 49782 h 81173"/>
                    <a:gd name="connsiteX991" fmla="*/ 20341 w 80747"/>
                    <a:gd name="connsiteY991" fmla="*/ 50543 h 81173"/>
                    <a:gd name="connsiteX992" fmla="*/ 20341 w 80747"/>
                    <a:gd name="connsiteY992" fmla="*/ 50543 h 81173"/>
                    <a:gd name="connsiteX993" fmla="*/ 20165 w 80747"/>
                    <a:gd name="connsiteY993" fmla="*/ 50543 h 81173"/>
                    <a:gd name="connsiteX994" fmla="*/ 18232 w 80747"/>
                    <a:gd name="connsiteY994" fmla="*/ 50719 h 81173"/>
                    <a:gd name="connsiteX995" fmla="*/ 16475 w 80747"/>
                    <a:gd name="connsiteY995" fmla="*/ 51597 h 81173"/>
                    <a:gd name="connsiteX996" fmla="*/ 16299 w 80747"/>
                    <a:gd name="connsiteY996" fmla="*/ 51714 h 81173"/>
                    <a:gd name="connsiteX997" fmla="*/ 16241 w 80747"/>
                    <a:gd name="connsiteY997" fmla="*/ 51714 h 81173"/>
                    <a:gd name="connsiteX998" fmla="*/ 15479 w 80747"/>
                    <a:gd name="connsiteY998" fmla="*/ 51304 h 81173"/>
                    <a:gd name="connsiteX999" fmla="*/ 15538 w 80747"/>
                    <a:gd name="connsiteY999" fmla="*/ 50836 h 81173"/>
                    <a:gd name="connsiteX1000" fmla="*/ 16768 w 80747"/>
                    <a:gd name="connsiteY1000" fmla="*/ 48552 h 81173"/>
                    <a:gd name="connsiteX1001" fmla="*/ 18115 w 80747"/>
                    <a:gd name="connsiteY1001" fmla="*/ 48142 h 81173"/>
                    <a:gd name="connsiteX1002" fmla="*/ 16416 w 80747"/>
                    <a:gd name="connsiteY1002" fmla="*/ 46443 h 81173"/>
                    <a:gd name="connsiteX1003" fmla="*/ 17529 w 80747"/>
                    <a:gd name="connsiteY1003" fmla="*/ 46443 h 81173"/>
                    <a:gd name="connsiteX1004" fmla="*/ 17529 w 80747"/>
                    <a:gd name="connsiteY1004" fmla="*/ 47556 h 81173"/>
                    <a:gd name="connsiteX1005" fmla="*/ 16416 w 80747"/>
                    <a:gd name="connsiteY1005" fmla="*/ 47556 h 81173"/>
                    <a:gd name="connsiteX1006" fmla="*/ 16416 w 80747"/>
                    <a:gd name="connsiteY1006" fmla="*/ 46443 h 81173"/>
                    <a:gd name="connsiteX1007" fmla="*/ 14015 w 80747"/>
                    <a:gd name="connsiteY1007" fmla="*/ 38420 h 81173"/>
                    <a:gd name="connsiteX1008" fmla="*/ 13781 w 80747"/>
                    <a:gd name="connsiteY1008" fmla="*/ 38420 h 81173"/>
                    <a:gd name="connsiteX1009" fmla="*/ 13722 w 80747"/>
                    <a:gd name="connsiteY1009" fmla="*/ 38420 h 81173"/>
                    <a:gd name="connsiteX1010" fmla="*/ 13253 w 80747"/>
                    <a:gd name="connsiteY1010" fmla="*/ 37658 h 81173"/>
                    <a:gd name="connsiteX1011" fmla="*/ 13546 w 80747"/>
                    <a:gd name="connsiteY1011" fmla="*/ 37248 h 81173"/>
                    <a:gd name="connsiteX1012" fmla="*/ 15772 w 80747"/>
                    <a:gd name="connsiteY1012" fmla="*/ 35843 h 81173"/>
                    <a:gd name="connsiteX1013" fmla="*/ 17178 w 80747"/>
                    <a:gd name="connsiteY1013" fmla="*/ 36194 h 81173"/>
                    <a:gd name="connsiteX1014" fmla="*/ 18584 w 80747"/>
                    <a:gd name="connsiteY1014" fmla="*/ 38478 h 81173"/>
                    <a:gd name="connsiteX1015" fmla="*/ 18642 w 80747"/>
                    <a:gd name="connsiteY1015" fmla="*/ 38888 h 81173"/>
                    <a:gd name="connsiteX1016" fmla="*/ 17939 w 80747"/>
                    <a:gd name="connsiteY1016" fmla="*/ 39357 h 81173"/>
                    <a:gd name="connsiteX1017" fmla="*/ 17939 w 80747"/>
                    <a:gd name="connsiteY1017" fmla="*/ 39357 h 81173"/>
                    <a:gd name="connsiteX1018" fmla="*/ 17764 w 80747"/>
                    <a:gd name="connsiteY1018" fmla="*/ 39298 h 81173"/>
                    <a:gd name="connsiteX1019" fmla="*/ 15948 w 80747"/>
                    <a:gd name="connsiteY1019" fmla="*/ 38478 h 81173"/>
                    <a:gd name="connsiteX1020" fmla="*/ 14015 w 80747"/>
                    <a:gd name="connsiteY1020" fmla="*/ 38420 h 81173"/>
                    <a:gd name="connsiteX1021" fmla="*/ 16124 w 80747"/>
                    <a:gd name="connsiteY1021" fmla="*/ 40001 h 81173"/>
                    <a:gd name="connsiteX1022" fmla="*/ 15362 w 80747"/>
                    <a:gd name="connsiteY1022" fmla="*/ 40821 h 81173"/>
                    <a:gd name="connsiteX1023" fmla="*/ 14542 w 80747"/>
                    <a:gd name="connsiteY1023" fmla="*/ 40060 h 81173"/>
                    <a:gd name="connsiteX1024" fmla="*/ 15303 w 80747"/>
                    <a:gd name="connsiteY1024" fmla="*/ 39240 h 81173"/>
                    <a:gd name="connsiteX1025" fmla="*/ 16124 w 80747"/>
                    <a:gd name="connsiteY1025" fmla="*/ 40001 h 81173"/>
                    <a:gd name="connsiteX1026" fmla="*/ 27019 w 80747"/>
                    <a:gd name="connsiteY1026" fmla="*/ 34672 h 81173"/>
                    <a:gd name="connsiteX1027" fmla="*/ 27077 w 80747"/>
                    <a:gd name="connsiteY1027" fmla="*/ 35199 h 81173"/>
                    <a:gd name="connsiteX1028" fmla="*/ 27077 w 80747"/>
                    <a:gd name="connsiteY1028" fmla="*/ 35199 h 81173"/>
                    <a:gd name="connsiteX1029" fmla="*/ 27077 w 80747"/>
                    <a:gd name="connsiteY1029" fmla="*/ 35199 h 81173"/>
                    <a:gd name="connsiteX1030" fmla="*/ 25379 w 80747"/>
                    <a:gd name="connsiteY1030" fmla="*/ 37073 h 81173"/>
                    <a:gd name="connsiteX1031" fmla="*/ 23914 w 80747"/>
                    <a:gd name="connsiteY1031" fmla="*/ 39064 h 81173"/>
                    <a:gd name="connsiteX1032" fmla="*/ 23914 w 80747"/>
                    <a:gd name="connsiteY1032" fmla="*/ 39064 h 81173"/>
                    <a:gd name="connsiteX1033" fmla="*/ 23914 w 80747"/>
                    <a:gd name="connsiteY1033" fmla="*/ 39064 h 81173"/>
                    <a:gd name="connsiteX1034" fmla="*/ 23914 w 80747"/>
                    <a:gd name="connsiteY1034" fmla="*/ 39064 h 81173"/>
                    <a:gd name="connsiteX1035" fmla="*/ 23387 w 80747"/>
                    <a:gd name="connsiteY1035" fmla="*/ 39123 h 81173"/>
                    <a:gd name="connsiteX1036" fmla="*/ 23270 w 80747"/>
                    <a:gd name="connsiteY1036" fmla="*/ 38830 h 81173"/>
                    <a:gd name="connsiteX1037" fmla="*/ 23270 w 80747"/>
                    <a:gd name="connsiteY1037" fmla="*/ 37307 h 81173"/>
                    <a:gd name="connsiteX1038" fmla="*/ 23270 w 80747"/>
                    <a:gd name="connsiteY1038" fmla="*/ 37307 h 81173"/>
                    <a:gd name="connsiteX1039" fmla="*/ 23270 w 80747"/>
                    <a:gd name="connsiteY1039" fmla="*/ 36370 h 81173"/>
                    <a:gd name="connsiteX1040" fmla="*/ 23563 w 80747"/>
                    <a:gd name="connsiteY1040" fmla="*/ 35609 h 81173"/>
                    <a:gd name="connsiteX1041" fmla="*/ 23621 w 80747"/>
                    <a:gd name="connsiteY1041" fmla="*/ 35550 h 81173"/>
                    <a:gd name="connsiteX1042" fmla="*/ 23680 w 80747"/>
                    <a:gd name="connsiteY1042" fmla="*/ 35491 h 81173"/>
                    <a:gd name="connsiteX1043" fmla="*/ 24383 w 80747"/>
                    <a:gd name="connsiteY1043" fmla="*/ 35023 h 81173"/>
                    <a:gd name="connsiteX1044" fmla="*/ 25320 w 80747"/>
                    <a:gd name="connsiteY1044" fmla="*/ 34847 h 81173"/>
                    <a:gd name="connsiteX1045" fmla="*/ 25320 w 80747"/>
                    <a:gd name="connsiteY1045" fmla="*/ 34847 h 81173"/>
                    <a:gd name="connsiteX1046" fmla="*/ 26843 w 80747"/>
                    <a:gd name="connsiteY1046" fmla="*/ 34554 h 81173"/>
                    <a:gd name="connsiteX1047" fmla="*/ 26843 w 80747"/>
                    <a:gd name="connsiteY1047" fmla="*/ 34554 h 81173"/>
                    <a:gd name="connsiteX1048" fmla="*/ 27019 w 80747"/>
                    <a:gd name="connsiteY1048" fmla="*/ 34672 h 81173"/>
                    <a:gd name="connsiteX1049" fmla="*/ 20751 w 80747"/>
                    <a:gd name="connsiteY1049" fmla="*/ 35550 h 81173"/>
                    <a:gd name="connsiteX1050" fmla="*/ 20634 w 80747"/>
                    <a:gd name="connsiteY1050" fmla="*/ 37541 h 81173"/>
                    <a:gd name="connsiteX1051" fmla="*/ 20634 w 80747"/>
                    <a:gd name="connsiteY1051" fmla="*/ 37776 h 81173"/>
                    <a:gd name="connsiteX1052" fmla="*/ 20634 w 80747"/>
                    <a:gd name="connsiteY1052" fmla="*/ 37776 h 81173"/>
                    <a:gd name="connsiteX1053" fmla="*/ 19931 w 80747"/>
                    <a:gd name="connsiteY1053" fmla="*/ 38244 h 81173"/>
                    <a:gd name="connsiteX1054" fmla="*/ 19521 w 80747"/>
                    <a:gd name="connsiteY1054" fmla="*/ 37951 h 81173"/>
                    <a:gd name="connsiteX1055" fmla="*/ 18115 w 80747"/>
                    <a:gd name="connsiteY1055" fmla="*/ 35726 h 81173"/>
                    <a:gd name="connsiteX1056" fmla="*/ 18467 w 80747"/>
                    <a:gd name="connsiteY1056" fmla="*/ 34320 h 81173"/>
                    <a:gd name="connsiteX1057" fmla="*/ 20751 w 80747"/>
                    <a:gd name="connsiteY1057" fmla="*/ 32915 h 81173"/>
                    <a:gd name="connsiteX1058" fmla="*/ 21161 w 80747"/>
                    <a:gd name="connsiteY1058" fmla="*/ 32856 h 81173"/>
                    <a:gd name="connsiteX1059" fmla="*/ 21630 w 80747"/>
                    <a:gd name="connsiteY1059" fmla="*/ 33617 h 81173"/>
                    <a:gd name="connsiteX1060" fmla="*/ 21630 w 80747"/>
                    <a:gd name="connsiteY1060" fmla="*/ 33617 h 81173"/>
                    <a:gd name="connsiteX1061" fmla="*/ 21571 w 80747"/>
                    <a:gd name="connsiteY1061" fmla="*/ 33793 h 81173"/>
                    <a:gd name="connsiteX1062" fmla="*/ 20751 w 80747"/>
                    <a:gd name="connsiteY1062" fmla="*/ 35550 h 81173"/>
                    <a:gd name="connsiteX1063" fmla="*/ 19814 w 80747"/>
                    <a:gd name="connsiteY1063" fmla="*/ 27175 h 81173"/>
                    <a:gd name="connsiteX1064" fmla="*/ 19052 w 80747"/>
                    <a:gd name="connsiteY1064" fmla="*/ 27995 h 81173"/>
                    <a:gd name="connsiteX1065" fmla="*/ 18232 w 80747"/>
                    <a:gd name="connsiteY1065" fmla="*/ 27234 h 81173"/>
                    <a:gd name="connsiteX1066" fmla="*/ 18994 w 80747"/>
                    <a:gd name="connsiteY1066" fmla="*/ 26414 h 81173"/>
                    <a:gd name="connsiteX1067" fmla="*/ 19814 w 80747"/>
                    <a:gd name="connsiteY1067" fmla="*/ 27175 h 81173"/>
                    <a:gd name="connsiteX1068" fmla="*/ 20400 w 80747"/>
                    <a:gd name="connsiteY1068" fmla="*/ 31626 h 81173"/>
                    <a:gd name="connsiteX1069" fmla="*/ 20107 w 80747"/>
                    <a:gd name="connsiteY1069" fmla="*/ 32036 h 81173"/>
                    <a:gd name="connsiteX1070" fmla="*/ 17881 w 80747"/>
                    <a:gd name="connsiteY1070" fmla="*/ 33442 h 81173"/>
                    <a:gd name="connsiteX1071" fmla="*/ 16475 w 80747"/>
                    <a:gd name="connsiteY1071" fmla="*/ 33090 h 81173"/>
                    <a:gd name="connsiteX1072" fmla="*/ 15069 w 80747"/>
                    <a:gd name="connsiteY1072" fmla="*/ 30806 h 81173"/>
                    <a:gd name="connsiteX1073" fmla="*/ 15011 w 80747"/>
                    <a:gd name="connsiteY1073" fmla="*/ 30396 h 81173"/>
                    <a:gd name="connsiteX1074" fmla="*/ 15714 w 80747"/>
                    <a:gd name="connsiteY1074" fmla="*/ 29928 h 81173"/>
                    <a:gd name="connsiteX1075" fmla="*/ 15714 w 80747"/>
                    <a:gd name="connsiteY1075" fmla="*/ 29928 h 81173"/>
                    <a:gd name="connsiteX1076" fmla="*/ 15889 w 80747"/>
                    <a:gd name="connsiteY1076" fmla="*/ 29986 h 81173"/>
                    <a:gd name="connsiteX1077" fmla="*/ 17705 w 80747"/>
                    <a:gd name="connsiteY1077" fmla="*/ 30806 h 81173"/>
                    <a:gd name="connsiteX1078" fmla="*/ 19697 w 80747"/>
                    <a:gd name="connsiteY1078" fmla="*/ 30923 h 81173"/>
                    <a:gd name="connsiteX1079" fmla="*/ 19931 w 80747"/>
                    <a:gd name="connsiteY1079" fmla="*/ 30923 h 81173"/>
                    <a:gd name="connsiteX1080" fmla="*/ 19931 w 80747"/>
                    <a:gd name="connsiteY1080" fmla="*/ 30923 h 81173"/>
                    <a:gd name="connsiteX1081" fmla="*/ 20400 w 80747"/>
                    <a:gd name="connsiteY1081" fmla="*/ 31626 h 81173"/>
                    <a:gd name="connsiteX1082" fmla="*/ 17646 w 80747"/>
                    <a:gd name="connsiteY1082" fmla="*/ 34437 h 81173"/>
                    <a:gd name="connsiteX1083" fmla="*/ 17119 w 80747"/>
                    <a:gd name="connsiteY1083" fmla="*/ 35433 h 81173"/>
                    <a:gd name="connsiteX1084" fmla="*/ 16124 w 80747"/>
                    <a:gd name="connsiteY1084" fmla="*/ 34906 h 81173"/>
                    <a:gd name="connsiteX1085" fmla="*/ 16651 w 80747"/>
                    <a:gd name="connsiteY1085" fmla="*/ 33910 h 81173"/>
                    <a:gd name="connsiteX1086" fmla="*/ 17646 w 80747"/>
                    <a:gd name="connsiteY1086" fmla="*/ 34437 h 81173"/>
                    <a:gd name="connsiteX1087" fmla="*/ 19814 w 80747"/>
                    <a:gd name="connsiteY1087" fmla="*/ 43281 h 81173"/>
                    <a:gd name="connsiteX1088" fmla="*/ 20575 w 80747"/>
                    <a:gd name="connsiteY1088" fmla="*/ 43691 h 81173"/>
                    <a:gd name="connsiteX1089" fmla="*/ 20575 w 80747"/>
                    <a:gd name="connsiteY1089" fmla="*/ 43691 h 81173"/>
                    <a:gd name="connsiteX1090" fmla="*/ 20575 w 80747"/>
                    <a:gd name="connsiteY1090" fmla="*/ 43925 h 81173"/>
                    <a:gd name="connsiteX1091" fmla="*/ 20810 w 80747"/>
                    <a:gd name="connsiteY1091" fmla="*/ 45916 h 81173"/>
                    <a:gd name="connsiteX1092" fmla="*/ 21688 w 80747"/>
                    <a:gd name="connsiteY1092" fmla="*/ 47673 h 81173"/>
                    <a:gd name="connsiteX1093" fmla="*/ 21805 w 80747"/>
                    <a:gd name="connsiteY1093" fmla="*/ 47849 h 81173"/>
                    <a:gd name="connsiteX1094" fmla="*/ 21805 w 80747"/>
                    <a:gd name="connsiteY1094" fmla="*/ 47849 h 81173"/>
                    <a:gd name="connsiteX1095" fmla="*/ 21395 w 80747"/>
                    <a:gd name="connsiteY1095" fmla="*/ 48610 h 81173"/>
                    <a:gd name="connsiteX1096" fmla="*/ 20927 w 80747"/>
                    <a:gd name="connsiteY1096" fmla="*/ 48552 h 81173"/>
                    <a:gd name="connsiteX1097" fmla="*/ 20927 w 80747"/>
                    <a:gd name="connsiteY1097" fmla="*/ 48552 h 81173"/>
                    <a:gd name="connsiteX1098" fmla="*/ 18642 w 80747"/>
                    <a:gd name="connsiteY1098" fmla="*/ 47263 h 81173"/>
                    <a:gd name="connsiteX1099" fmla="*/ 18232 w 80747"/>
                    <a:gd name="connsiteY1099" fmla="*/ 45858 h 81173"/>
                    <a:gd name="connsiteX1100" fmla="*/ 19521 w 80747"/>
                    <a:gd name="connsiteY1100" fmla="*/ 43515 h 81173"/>
                    <a:gd name="connsiteX1101" fmla="*/ 19814 w 80747"/>
                    <a:gd name="connsiteY1101" fmla="*/ 43281 h 81173"/>
                    <a:gd name="connsiteX1102" fmla="*/ 19228 w 80747"/>
                    <a:gd name="connsiteY1102" fmla="*/ 52944 h 81173"/>
                    <a:gd name="connsiteX1103" fmla="*/ 18467 w 80747"/>
                    <a:gd name="connsiteY1103" fmla="*/ 53764 h 81173"/>
                    <a:gd name="connsiteX1104" fmla="*/ 17646 w 80747"/>
                    <a:gd name="connsiteY1104" fmla="*/ 53003 h 81173"/>
                    <a:gd name="connsiteX1105" fmla="*/ 18408 w 80747"/>
                    <a:gd name="connsiteY1105" fmla="*/ 52183 h 81173"/>
                    <a:gd name="connsiteX1106" fmla="*/ 19228 w 80747"/>
                    <a:gd name="connsiteY1106" fmla="*/ 52944 h 81173"/>
                    <a:gd name="connsiteX1107" fmla="*/ 18584 w 80747"/>
                    <a:gd name="connsiteY1107" fmla="*/ 58508 h 81173"/>
                    <a:gd name="connsiteX1108" fmla="*/ 19052 w 80747"/>
                    <a:gd name="connsiteY1108" fmla="*/ 58332 h 81173"/>
                    <a:gd name="connsiteX1109" fmla="*/ 21688 w 80747"/>
                    <a:gd name="connsiteY1109" fmla="*/ 58274 h 81173"/>
                    <a:gd name="connsiteX1110" fmla="*/ 22743 w 80747"/>
                    <a:gd name="connsiteY1110" fmla="*/ 59270 h 81173"/>
                    <a:gd name="connsiteX1111" fmla="*/ 22801 w 80747"/>
                    <a:gd name="connsiteY1111" fmla="*/ 61964 h 81173"/>
                    <a:gd name="connsiteX1112" fmla="*/ 22625 w 80747"/>
                    <a:gd name="connsiteY1112" fmla="*/ 62374 h 81173"/>
                    <a:gd name="connsiteX1113" fmla="*/ 21747 w 80747"/>
                    <a:gd name="connsiteY1113" fmla="*/ 62374 h 81173"/>
                    <a:gd name="connsiteX1114" fmla="*/ 21747 w 80747"/>
                    <a:gd name="connsiteY1114" fmla="*/ 62374 h 81173"/>
                    <a:gd name="connsiteX1115" fmla="*/ 21630 w 80747"/>
                    <a:gd name="connsiteY1115" fmla="*/ 62198 h 81173"/>
                    <a:gd name="connsiteX1116" fmla="*/ 20458 w 80747"/>
                    <a:gd name="connsiteY1116" fmla="*/ 60617 h 81173"/>
                    <a:gd name="connsiteX1117" fmla="*/ 18818 w 80747"/>
                    <a:gd name="connsiteY1117" fmla="*/ 59504 h 81173"/>
                    <a:gd name="connsiteX1118" fmla="*/ 18642 w 80747"/>
                    <a:gd name="connsiteY1118" fmla="*/ 59387 h 81173"/>
                    <a:gd name="connsiteX1119" fmla="*/ 18642 w 80747"/>
                    <a:gd name="connsiteY1119" fmla="*/ 59387 h 81173"/>
                    <a:gd name="connsiteX1120" fmla="*/ 18584 w 80747"/>
                    <a:gd name="connsiteY1120" fmla="*/ 58508 h 81173"/>
                    <a:gd name="connsiteX1121" fmla="*/ 23680 w 80747"/>
                    <a:gd name="connsiteY1121" fmla="*/ 56224 h 81173"/>
                    <a:gd name="connsiteX1122" fmla="*/ 23621 w 80747"/>
                    <a:gd name="connsiteY1122" fmla="*/ 53530 h 81173"/>
                    <a:gd name="connsiteX1123" fmla="*/ 23797 w 80747"/>
                    <a:gd name="connsiteY1123" fmla="*/ 53120 h 81173"/>
                    <a:gd name="connsiteX1124" fmla="*/ 24676 w 80747"/>
                    <a:gd name="connsiteY1124" fmla="*/ 53120 h 81173"/>
                    <a:gd name="connsiteX1125" fmla="*/ 24676 w 80747"/>
                    <a:gd name="connsiteY1125" fmla="*/ 53120 h 81173"/>
                    <a:gd name="connsiteX1126" fmla="*/ 24793 w 80747"/>
                    <a:gd name="connsiteY1126" fmla="*/ 53296 h 81173"/>
                    <a:gd name="connsiteX1127" fmla="*/ 25964 w 80747"/>
                    <a:gd name="connsiteY1127" fmla="*/ 54936 h 81173"/>
                    <a:gd name="connsiteX1128" fmla="*/ 27604 w 80747"/>
                    <a:gd name="connsiteY1128" fmla="*/ 56048 h 81173"/>
                    <a:gd name="connsiteX1129" fmla="*/ 27780 w 80747"/>
                    <a:gd name="connsiteY1129" fmla="*/ 56166 h 81173"/>
                    <a:gd name="connsiteX1130" fmla="*/ 27780 w 80747"/>
                    <a:gd name="connsiteY1130" fmla="*/ 56166 h 81173"/>
                    <a:gd name="connsiteX1131" fmla="*/ 27780 w 80747"/>
                    <a:gd name="connsiteY1131" fmla="*/ 57044 h 81173"/>
                    <a:gd name="connsiteX1132" fmla="*/ 27311 w 80747"/>
                    <a:gd name="connsiteY1132" fmla="*/ 57220 h 81173"/>
                    <a:gd name="connsiteX1133" fmla="*/ 27311 w 80747"/>
                    <a:gd name="connsiteY1133" fmla="*/ 57220 h 81173"/>
                    <a:gd name="connsiteX1134" fmla="*/ 24676 w 80747"/>
                    <a:gd name="connsiteY1134" fmla="*/ 57278 h 81173"/>
                    <a:gd name="connsiteX1135" fmla="*/ 23680 w 80747"/>
                    <a:gd name="connsiteY1135" fmla="*/ 56224 h 81173"/>
                    <a:gd name="connsiteX1136" fmla="*/ 27839 w 80747"/>
                    <a:gd name="connsiteY1136" fmla="*/ 22665 h 81173"/>
                    <a:gd name="connsiteX1137" fmla="*/ 27370 w 80747"/>
                    <a:gd name="connsiteY1137" fmla="*/ 22841 h 81173"/>
                    <a:gd name="connsiteX1138" fmla="*/ 24734 w 80747"/>
                    <a:gd name="connsiteY1138" fmla="*/ 22900 h 81173"/>
                    <a:gd name="connsiteX1139" fmla="*/ 23680 w 80747"/>
                    <a:gd name="connsiteY1139" fmla="*/ 21904 h 81173"/>
                    <a:gd name="connsiteX1140" fmla="*/ 23621 w 80747"/>
                    <a:gd name="connsiteY1140" fmla="*/ 19210 h 81173"/>
                    <a:gd name="connsiteX1141" fmla="*/ 23797 w 80747"/>
                    <a:gd name="connsiteY1141" fmla="*/ 18800 h 81173"/>
                    <a:gd name="connsiteX1142" fmla="*/ 24676 w 80747"/>
                    <a:gd name="connsiteY1142" fmla="*/ 18800 h 81173"/>
                    <a:gd name="connsiteX1143" fmla="*/ 24676 w 80747"/>
                    <a:gd name="connsiteY1143" fmla="*/ 18800 h 81173"/>
                    <a:gd name="connsiteX1144" fmla="*/ 24793 w 80747"/>
                    <a:gd name="connsiteY1144" fmla="*/ 18976 h 81173"/>
                    <a:gd name="connsiteX1145" fmla="*/ 25964 w 80747"/>
                    <a:gd name="connsiteY1145" fmla="*/ 20616 h 81173"/>
                    <a:gd name="connsiteX1146" fmla="*/ 27604 w 80747"/>
                    <a:gd name="connsiteY1146" fmla="*/ 21728 h 81173"/>
                    <a:gd name="connsiteX1147" fmla="*/ 27780 w 80747"/>
                    <a:gd name="connsiteY1147" fmla="*/ 21845 h 81173"/>
                    <a:gd name="connsiteX1148" fmla="*/ 27780 w 80747"/>
                    <a:gd name="connsiteY1148" fmla="*/ 21845 h 81173"/>
                    <a:gd name="connsiteX1149" fmla="*/ 27839 w 80747"/>
                    <a:gd name="connsiteY1149" fmla="*/ 22665 h 81173"/>
                    <a:gd name="connsiteX1150" fmla="*/ 22801 w 80747"/>
                    <a:gd name="connsiteY1150" fmla="*/ 24949 h 81173"/>
                    <a:gd name="connsiteX1151" fmla="*/ 22860 w 80747"/>
                    <a:gd name="connsiteY1151" fmla="*/ 27644 h 81173"/>
                    <a:gd name="connsiteX1152" fmla="*/ 22684 w 80747"/>
                    <a:gd name="connsiteY1152" fmla="*/ 28053 h 81173"/>
                    <a:gd name="connsiteX1153" fmla="*/ 21805 w 80747"/>
                    <a:gd name="connsiteY1153" fmla="*/ 28053 h 81173"/>
                    <a:gd name="connsiteX1154" fmla="*/ 21805 w 80747"/>
                    <a:gd name="connsiteY1154" fmla="*/ 28053 h 81173"/>
                    <a:gd name="connsiteX1155" fmla="*/ 21688 w 80747"/>
                    <a:gd name="connsiteY1155" fmla="*/ 27878 h 81173"/>
                    <a:gd name="connsiteX1156" fmla="*/ 20517 w 80747"/>
                    <a:gd name="connsiteY1156" fmla="*/ 26238 h 81173"/>
                    <a:gd name="connsiteX1157" fmla="*/ 18877 w 80747"/>
                    <a:gd name="connsiteY1157" fmla="*/ 25125 h 81173"/>
                    <a:gd name="connsiteX1158" fmla="*/ 18701 w 80747"/>
                    <a:gd name="connsiteY1158" fmla="*/ 25008 h 81173"/>
                    <a:gd name="connsiteX1159" fmla="*/ 18701 w 80747"/>
                    <a:gd name="connsiteY1159" fmla="*/ 25008 h 81173"/>
                    <a:gd name="connsiteX1160" fmla="*/ 18701 w 80747"/>
                    <a:gd name="connsiteY1160" fmla="*/ 24130 h 81173"/>
                    <a:gd name="connsiteX1161" fmla="*/ 19169 w 80747"/>
                    <a:gd name="connsiteY1161" fmla="*/ 23954 h 81173"/>
                    <a:gd name="connsiteX1162" fmla="*/ 21805 w 80747"/>
                    <a:gd name="connsiteY1162" fmla="*/ 23895 h 81173"/>
                    <a:gd name="connsiteX1163" fmla="*/ 22801 w 80747"/>
                    <a:gd name="connsiteY1163" fmla="*/ 24949 h 81173"/>
                    <a:gd name="connsiteX1164" fmla="*/ 16065 w 80747"/>
                    <a:gd name="connsiteY1164" fmla="*/ 22373 h 81173"/>
                    <a:gd name="connsiteX1165" fmla="*/ 12843 w 80747"/>
                    <a:gd name="connsiteY1165" fmla="*/ 27644 h 81173"/>
                    <a:gd name="connsiteX1166" fmla="*/ 11320 w 80747"/>
                    <a:gd name="connsiteY1166" fmla="*/ 28405 h 81173"/>
                    <a:gd name="connsiteX1167" fmla="*/ 11965 w 80747"/>
                    <a:gd name="connsiteY1167" fmla="*/ 26062 h 81173"/>
                    <a:gd name="connsiteX1168" fmla="*/ 16006 w 80747"/>
                    <a:gd name="connsiteY1168" fmla="*/ 19971 h 81173"/>
                    <a:gd name="connsiteX1169" fmla="*/ 16534 w 80747"/>
                    <a:gd name="connsiteY1169" fmla="*/ 19678 h 81173"/>
                    <a:gd name="connsiteX1170" fmla="*/ 16065 w 80747"/>
                    <a:gd name="connsiteY1170" fmla="*/ 22373 h 81173"/>
                    <a:gd name="connsiteX1171" fmla="*/ 13136 w 80747"/>
                    <a:gd name="connsiteY1171" fmla="*/ 31802 h 81173"/>
                    <a:gd name="connsiteX1172" fmla="*/ 13136 w 80747"/>
                    <a:gd name="connsiteY1172" fmla="*/ 31568 h 81173"/>
                    <a:gd name="connsiteX1173" fmla="*/ 13136 w 80747"/>
                    <a:gd name="connsiteY1173" fmla="*/ 31509 h 81173"/>
                    <a:gd name="connsiteX1174" fmla="*/ 13839 w 80747"/>
                    <a:gd name="connsiteY1174" fmla="*/ 31040 h 81173"/>
                    <a:gd name="connsiteX1175" fmla="*/ 14249 w 80747"/>
                    <a:gd name="connsiteY1175" fmla="*/ 31333 h 81173"/>
                    <a:gd name="connsiteX1176" fmla="*/ 15655 w 80747"/>
                    <a:gd name="connsiteY1176" fmla="*/ 33559 h 81173"/>
                    <a:gd name="connsiteX1177" fmla="*/ 15303 w 80747"/>
                    <a:gd name="connsiteY1177" fmla="*/ 34964 h 81173"/>
                    <a:gd name="connsiteX1178" fmla="*/ 13019 w 80747"/>
                    <a:gd name="connsiteY1178" fmla="*/ 36370 h 81173"/>
                    <a:gd name="connsiteX1179" fmla="*/ 12609 w 80747"/>
                    <a:gd name="connsiteY1179" fmla="*/ 36429 h 81173"/>
                    <a:gd name="connsiteX1180" fmla="*/ 12140 w 80747"/>
                    <a:gd name="connsiteY1180" fmla="*/ 35726 h 81173"/>
                    <a:gd name="connsiteX1181" fmla="*/ 12140 w 80747"/>
                    <a:gd name="connsiteY1181" fmla="*/ 35726 h 81173"/>
                    <a:gd name="connsiteX1182" fmla="*/ 12258 w 80747"/>
                    <a:gd name="connsiteY1182" fmla="*/ 35550 h 81173"/>
                    <a:gd name="connsiteX1183" fmla="*/ 13019 w 80747"/>
                    <a:gd name="connsiteY1183" fmla="*/ 33734 h 81173"/>
                    <a:gd name="connsiteX1184" fmla="*/ 13136 w 80747"/>
                    <a:gd name="connsiteY1184" fmla="*/ 31802 h 81173"/>
                    <a:gd name="connsiteX1185" fmla="*/ 10266 w 80747"/>
                    <a:gd name="connsiteY1185" fmla="*/ 31802 h 81173"/>
                    <a:gd name="connsiteX1186" fmla="*/ 9387 w 80747"/>
                    <a:gd name="connsiteY1186" fmla="*/ 30630 h 81173"/>
                    <a:gd name="connsiteX1187" fmla="*/ 10266 w 80747"/>
                    <a:gd name="connsiteY1187" fmla="*/ 31802 h 81173"/>
                    <a:gd name="connsiteX1188" fmla="*/ 15889 w 80747"/>
                    <a:gd name="connsiteY1188" fmla="*/ 43164 h 81173"/>
                    <a:gd name="connsiteX1189" fmla="*/ 17646 w 80747"/>
                    <a:gd name="connsiteY1189" fmla="*/ 42285 h 81173"/>
                    <a:gd name="connsiteX1190" fmla="*/ 17822 w 80747"/>
                    <a:gd name="connsiteY1190" fmla="*/ 42168 h 81173"/>
                    <a:gd name="connsiteX1191" fmla="*/ 17881 w 80747"/>
                    <a:gd name="connsiteY1191" fmla="*/ 42168 h 81173"/>
                    <a:gd name="connsiteX1192" fmla="*/ 18642 w 80747"/>
                    <a:gd name="connsiteY1192" fmla="*/ 42578 h 81173"/>
                    <a:gd name="connsiteX1193" fmla="*/ 18584 w 80747"/>
                    <a:gd name="connsiteY1193" fmla="*/ 43047 h 81173"/>
                    <a:gd name="connsiteX1194" fmla="*/ 17354 w 80747"/>
                    <a:gd name="connsiteY1194" fmla="*/ 45331 h 81173"/>
                    <a:gd name="connsiteX1195" fmla="*/ 15948 w 80747"/>
                    <a:gd name="connsiteY1195" fmla="*/ 45741 h 81173"/>
                    <a:gd name="connsiteX1196" fmla="*/ 13605 w 80747"/>
                    <a:gd name="connsiteY1196" fmla="*/ 44452 h 81173"/>
                    <a:gd name="connsiteX1197" fmla="*/ 13371 w 80747"/>
                    <a:gd name="connsiteY1197" fmla="*/ 44101 h 81173"/>
                    <a:gd name="connsiteX1198" fmla="*/ 13781 w 80747"/>
                    <a:gd name="connsiteY1198" fmla="*/ 43339 h 81173"/>
                    <a:gd name="connsiteX1199" fmla="*/ 13781 w 80747"/>
                    <a:gd name="connsiteY1199" fmla="*/ 43339 h 81173"/>
                    <a:gd name="connsiteX1200" fmla="*/ 14015 w 80747"/>
                    <a:gd name="connsiteY1200" fmla="*/ 43339 h 81173"/>
                    <a:gd name="connsiteX1201" fmla="*/ 15889 w 80747"/>
                    <a:gd name="connsiteY1201" fmla="*/ 43164 h 81173"/>
                    <a:gd name="connsiteX1202" fmla="*/ 10266 w 80747"/>
                    <a:gd name="connsiteY1202" fmla="*/ 35550 h 81173"/>
                    <a:gd name="connsiteX1203" fmla="*/ 9797 w 80747"/>
                    <a:gd name="connsiteY1203" fmla="*/ 41700 h 81173"/>
                    <a:gd name="connsiteX1204" fmla="*/ 9563 w 80747"/>
                    <a:gd name="connsiteY1204" fmla="*/ 44159 h 81173"/>
                    <a:gd name="connsiteX1205" fmla="*/ 8392 w 80747"/>
                    <a:gd name="connsiteY1205" fmla="*/ 41465 h 81173"/>
                    <a:gd name="connsiteX1206" fmla="*/ 9036 w 80747"/>
                    <a:gd name="connsiteY1206" fmla="*/ 34437 h 81173"/>
                    <a:gd name="connsiteX1207" fmla="*/ 10207 w 80747"/>
                    <a:gd name="connsiteY1207" fmla="*/ 34262 h 81173"/>
                    <a:gd name="connsiteX1208" fmla="*/ 10266 w 80747"/>
                    <a:gd name="connsiteY1208" fmla="*/ 35550 h 81173"/>
                    <a:gd name="connsiteX1209" fmla="*/ 10266 w 80747"/>
                    <a:gd name="connsiteY1209" fmla="*/ 46619 h 81173"/>
                    <a:gd name="connsiteX1210" fmla="*/ 10090 w 80747"/>
                    <a:gd name="connsiteY1210" fmla="*/ 47673 h 81173"/>
                    <a:gd name="connsiteX1211" fmla="*/ 9153 w 80747"/>
                    <a:gd name="connsiteY1211" fmla="*/ 46443 h 81173"/>
                    <a:gd name="connsiteX1212" fmla="*/ 10266 w 80747"/>
                    <a:gd name="connsiteY1212" fmla="*/ 46619 h 81173"/>
                    <a:gd name="connsiteX1213" fmla="*/ 10969 w 80747"/>
                    <a:gd name="connsiteY1213" fmla="*/ 49957 h 81173"/>
                    <a:gd name="connsiteX1214" fmla="*/ 11672 w 80747"/>
                    <a:gd name="connsiteY1214" fmla="*/ 51304 h 81173"/>
                    <a:gd name="connsiteX1215" fmla="*/ 14425 w 80747"/>
                    <a:gd name="connsiteY1215" fmla="*/ 56751 h 81173"/>
                    <a:gd name="connsiteX1216" fmla="*/ 15362 w 80747"/>
                    <a:gd name="connsiteY1216" fmla="*/ 58977 h 81173"/>
                    <a:gd name="connsiteX1217" fmla="*/ 12316 w 80747"/>
                    <a:gd name="connsiteY1217" fmla="*/ 55873 h 81173"/>
                    <a:gd name="connsiteX1218" fmla="*/ 11027 w 80747"/>
                    <a:gd name="connsiteY1218" fmla="*/ 53296 h 81173"/>
                    <a:gd name="connsiteX1219" fmla="*/ 10149 w 80747"/>
                    <a:gd name="connsiteY1219" fmla="*/ 50309 h 81173"/>
                    <a:gd name="connsiteX1220" fmla="*/ 10969 w 80747"/>
                    <a:gd name="connsiteY1220" fmla="*/ 49957 h 81173"/>
                    <a:gd name="connsiteX1221" fmla="*/ 16241 w 80747"/>
                    <a:gd name="connsiteY1221" fmla="*/ 60968 h 81173"/>
                    <a:gd name="connsiteX1222" fmla="*/ 16885 w 80747"/>
                    <a:gd name="connsiteY1222" fmla="*/ 62257 h 81173"/>
                    <a:gd name="connsiteX1223" fmla="*/ 16241 w 80747"/>
                    <a:gd name="connsiteY1223" fmla="*/ 60968 h 81173"/>
                    <a:gd name="connsiteX1224" fmla="*/ 21454 w 80747"/>
                    <a:gd name="connsiteY1224" fmla="*/ 64892 h 81173"/>
                    <a:gd name="connsiteX1225" fmla="*/ 26609 w 80747"/>
                    <a:gd name="connsiteY1225" fmla="*/ 68113 h 81173"/>
                    <a:gd name="connsiteX1226" fmla="*/ 27429 w 80747"/>
                    <a:gd name="connsiteY1226" fmla="*/ 69519 h 81173"/>
                    <a:gd name="connsiteX1227" fmla="*/ 24968 w 80747"/>
                    <a:gd name="connsiteY1227" fmla="*/ 68875 h 81173"/>
                    <a:gd name="connsiteX1228" fmla="*/ 20634 w 80747"/>
                    <a:gd name="connsiteY1228" fmla="*/ 66239 h 81173"/>
                    <a:gd name="connsiteX1229" fmla="*/ 18642 w 80747"/>
                    <a:gd name="connsiteY1229" fmla="*/ 64306 h 81173"/>
                    <a:gd name="connsiteX1230" fmla="*/ 21454 w 80747"/>
                    <a:gd name="connsiteY1230" fmla="*/ 64892 h 81173"/>
                    <a:gd name="connsiteX1231" fmla="*/ 28424 w 80747"/>
                    <a:gd name="connsiteY1231" fmla="*/ 61495 h 81173"/>
                    <a:gd name="connsiteX1232" fmla="*/ 27663 w 80747"/>
                    <a:gd name="connsiteY1232" fmla="*/ 62315 h 81173"/>
                    <a:gd name="connsiteX1233" fmla="*/ 26843 w 80747"/>
                    <a:gd name="connsiteY1233" fmla="*/ 61554 h 81173"/>
                    <a:gd name="connsiteX1234" fmla="*/ 27604 w 80747"/>
                    <a:gd name="connsiteY1234" fmla="*/ 60734 h 81173"/>
                    <a:gd name="connsiteX1235" fmla="*/ 28424 w 80747"/>
                    <a:gd name="connsiteY1235" fmla="*/ 61495 h 81173"/>
                    <a:gd name="connsiteX1236" fmla="*/ 28483 w 80747"/>
                    <a:gd name="connsiteY1236" fmla="*/ 64775 h 81173"/>
                    <a:gd name="connsiteX1237" fmla="*/ 28483 w 80747"/>
                    <a:gd name="connsiteY1237" fmla="*/ 64775 h 81173"/>
                    <a:gd name="connsiteX1238" fmla="*/ 28600 w 80747"/>
                    <a:gd name="connsiteY1238" fmla="*/ 64599 h 81173"/>
                    <a:gd name="connsiteX1239" fmla="*/ 29479 w 80747"/>
                    <a:gd name="connsiteY1239" fmla="*/ 62842 h 81173"/>
                    <a:gd name="connsiteX1240" fmla="*/ 29654 w 80747"/>
                    <a:gd name="connsiteY1240" fmla="*/ 60909 h 81173"/>
                    <a:gd name="connsiteX1241" fmla="*/ 29654 w 80747"/>
                    <a:gd name="connsiteY1241" fmla="*/ 60675 h 81173"/>
                    <a:gd name="connsiteX1242" fmla="*/ 29654 w 80747"/>
                    <a:gd name="connsiteY1242" fmla="*/ 60617 h 81173"/>
                    <a:gd name="connsiteX1243" fmla="*/ 30416 w 80747"/>
                    <a:gd name="connsiteY1243" fmla="*/ 60207 h 81173"/>
                    <a:gd name="connsiteX1244" fmla="*/ 30767 w 80747"/>
                    <a:gd name="connsiteY1244" fmla="*/ 60499 h 81173"/>
                    <a:gd name="connsiteX1245" fmla="*/ 32056 w 80747"/>
                    <a:gd name="connsiteY1245" fmla="*/ 62784 h 81173"/>
                    <a:gd name="connsiteX1246" fmla="*/ 31646 w 80747"/>
                    <a:gd name="connsiteY1246" fmla="*/ 64189 h 81173"/>
                    <a:gd name="connsiteX1247" fmla="*/ 29303 w 80747"/>
                    <a:gd name="connsiteY1247" fmla="*/ 65478 h 81173"/>
                    <a:gd name="connsiteX1248" fmla="*/ 28893 w 80747"/>
                    <a:gd name="connsiteY1248" fmla="*/ 65536 h 81173"/>
                    <a:gd name="connsiteX1249" fmla="*/ 28483 w 80747"/>
                    <a:gd name="connsiteY1249" fmla="*/ 64775 h 81173"/>
                    <a:gd name="connsiteX1250" fmla="*/ 29596 w 80747"/>
                    <a:gd name="connsiteY1250" fmla="*/ 66708 h 81173"/>
                    <a:gd name="connsiteX1251" fmla="*/ 29889 w 80747"/>
                    <a:gd name="connsiteY1251" fmla="*/ 66356 h 81173"/>
                    <a:gd name="connsiteX1252" fmla="*/ 29889 w 80747"/>
                    <a:gd name="connsiteY1252" fmla="*/ 66356 h 81173"/>
                    <a:gd name="connsiteX1253" fmla="*/ 32173 w 80747"/>
                    <a:gd name="connsiteY1253" fmla="*/ 65068 h 81173"/>
                    <a:gd name="connsiteX1254" fmla="*/ 33579 w 80747"/>
                    <a:gd name="connsiteY1254" fmla="*/ 65478 h 81173"/>
                    <a:gd name="connsiteX1255" fmla="*/ 34868 w 80747"/>
                    <a:gd name="connsiteY1255" fmla="*/ 67820 h 81173"/>
                    <a:gd name="connsiteX1256" fmla="*/ 34926 w 80747"/>
                    <a:gd name="connsiteY1256" fmla="*/ 68230 h 81173"/>
                    <a:gd name="connsiteX1257" fmla="*/ 34165 w 80747"/>
                    <a:gd name="connsiteY1257" fmla="*/ 68640 h 81173"/>
                    <a:gd name="connsiteX1258" fmla="*/ 34165 w 80747"/>
                    <a:gd name="connsiteY1258" fmla="*/ 68640 h 81173"/>
                    <a:gd name="connsiteX1259" fmla="*/ 33989 w 80747"/>
                    <a:gd name="connsiteY1259" fmla="*/ 68523 h 81173"/>
                    <a:gd name="connsiteX1260" fmla="*/ 32232 w 80747"/>
                    <a:gd name="connsiteY1260" fmla="*/ 67645 h 81173"/>
                    <a:gd name="connsiteX1261" fmla="*/ 30299 w 80747"/>
                    <a:gd name="connsiteY1261" fmla="*/ 67469 h 81173"/>
                    <a:gd name="connsiteX1262" fmla="*/ 30065 w 80747"/>
                    <a:gd name="connsiteY1262" fmla="*/ 67469 h 81173"/>
                    <a:gd name="connsiteX1263" fmla="*/ 30006 w 80747"/>
                    <a:gd name="connsiteY1263" fmla="*/ 67469 h 81173"/>
                    <a:gd name="connsiteX1264" fmla="*/ 29596 w 80747"/>
                    <a:gd name="connsiteY1264" fmla="*/ 66708 h 81173"/>
                    <a:gd name="connsiteX1265" fmla="*/ 33989 w 80747"/>
                    <a:gd name="connsiteY1265" fmla="*/ 70924 h 81173"/>
                    <a:gd name="connsiteX1266" fmla="*/ 38968 w 80747"/>
                    <a:gd name="connsiteY1266" fmla="*/ 71451 h 81173"/>
                    <a:gd name="connsiteX1267" fmla="*/ 41545 w 80747"/>
                    <a:gd name="connsiteY1267" fmla="*/ 71393 h 81173"/>
                    <a:gd name="connsiteX1268" fmla="*/ 43830 w 80747"/>
                    <a:gd name="connsiteY1268" fmla="*/ 71920 h 81173"/>
                    <a:gd name="connsiteX1269" fmla="*/ 41487 w 80747"/>
                    <a:gd name="connsiteY1269" fmla="*/ 72799 h 81173"/>
                    <a:gd name="connsiteX1270" fmla="*/ 36098 w 80747"/>
                    <a:gd name="connsiteY1270" fmla="*/ 72623 h 81173"/>
                    <a:gd name="connsiteX1271" fmla="*/ 33638 w 80747"/>
                    <a:gd name="connsiteY1271" fmla="*/ 71920 h 81173"/>
                    <a:gd name="connsiteX1272" fmla="*/ 33989 w 80747"/>
                    <a:gd name="connsiteY1272" fmla="*/ 70924 h 81173"/>
                    <a:gd name="connsiteX1273" fmla="*/ 39730 w 80747"/>
                    <a:gd name="connsiteY1273" fmla="*/ 66005 h 81173"/>
                    <a:gd name="connsiteX1274" fmla="*/ 38909 w 80747"/>
                    <a:gd name="connsiteY1274" fmla="*/ 65243 h 81173"/>
                    <a:gd name="connsiteX1275" fmla="*/ 39671 w 80747"/>
                    <a:gd name="connsiteY1275" fmla="*/ 64423 h 81173"/>
                    <a:gd name="connsiteX1276" fmla="*/ 40491 w 80747"/>
                    <a:gd name="connsiteY1276" fmla="*/ 65185 h 81173"/>
                    <a:gd name="connsiteX1277" fmla="*/ 39730 w 80747"/>
                    <a:gd name="connsiteY1277" fmla="*/ 66005 h 81173"/>
                    <a:gd name="connsiteX1278" fmla="*/ 36391 w 80747"/>
                    <a:gd name="connsiteY1278" fmla="*/ 58098 h 81173"/>
                    <a:gd name="connsiteX1279" fmla="*/ 35629 w 80747"/>
                    <a:gd name="connsiteY1279" fmla="*/ 58450 h 81173"/>
                    <a:gd name="connsiteX1280" fmla="*/ 35571 w 80747"/>
                    <a:gd name="connsiteY1280" fmla="*/ 58450 h 81173"/>
                    <a:gd name="connsiteX1281" fmla="*/ 35512 w 80747"/>
                    <a:gd name="connsiteY1281" fmla="*/ 58450 h 81173"/>
                    <a:gd name="connsiteX1282" fmla="*/ 34692 w 80747"/>
                    <a:gd name="connsiteY1282" fmla="*/ 58274 h 81173"/>
                    <a:gd name="connsiteX1283" fmla="*/ 33931 w 80747"/>
                    <a:gd name="connsiteY1283" fmla="*/ 57747 h 81173"/>
                    <a:gd name="connsiteX1284" fmla="*/ 33931 w 80747"/>
                    <a:gd name="connsiteY1284" fmla="*/ 57747 h 81173"/>
                    <a:gd name="connsiteX1285" fmla="*/ 32642 w 80747"/>
                    <a:gd name="connsiteY1285" fmla="*/ 56868 h 81173"/>
                    <a:gd name="connsiteX1286" fmla="*/ 32466 w 80747"/>
                    <a:gd name="connsiteY1286" fmla="*/ 56575 h 81173"/>
                    <a:gd name="connsiteX1287" fmla="*/ 32818 w 80747"/>
                    <a:gd name="connsiteY1287" fmla="*/ 56166 h 81173"/>
                    <a:gd name="connsiteX1288" fmla="*/ 32876 w 80747"/>
                    <a:gd name="connsiteY1288" fmla="*/ 56166 h 81173"/>
                    <a:gd name="connsiteX1289" fmla="*/ 32876 w 80747"/>
                    <a:gd name="connsiteY1289" fmla="*/ 56166 h 81173"/>
                    <a:gd name="connsiteX1290" fmla="*/ 35395 w 80747"/>
                    <a:gd name="connsiteY1290" fmla="*/ 56107 h 81173"/>
                    <a:gd name="connsiteX1291" fmla="*/ 37855 w 80747"/>
                    <a:gd name="connsiteY1291" fmla="*/ 55756 h 81173"/>
                    <a:gd name="connsiteX1292" fmla="*/ 37855 w 80747"/>
                    <a:gd name="connsiteY1292" fmla="*/ 55756 h 81173"/>
                    <a:gd name="connsiteX1293" fmla="*/ 37914 w 80747"/>
                    <a:gd name="connsiteY1293" fmla="*/ 55756 h 81173"/>
                    <a:gd name="connsiteX1294" fmla="*/ 38324 w 80747"/>
                    <a:gd name="connsiteY1294" fmla="*/ 56107 h 81173"/>
                    <a:gd name="connsiteX1295" fmla="*/ 38207 w 80747"/>
                    <a:gd name="connsiteY1295" fmla="*/ 56400 h 81173"/>
                    <a:gd name="connsiteX1296" fmla="*/ 38207 w 80747"/>
                    <a:gd name="connsiteY1296" fmla="*/ 56400 h 81173"/>
                    <a:gd name="connsiteX1297" fmla="*/ 37094 w 80747"/>
                    <a:gd name="connsiteY1297" fmla="*/ 57454 h 81173"/>
                    <a:gd name="connsiteX1298" fmla="*/ 37094 w 80747"/>
                    <a:gd name="connsiteY1298" fmla="*/ 57454 h 81173"/>
                    <a:gd name="connsiteX1299" fmla="*/ 36391 w 80747"/>
                    <a:gd name="connsiteY1299" fmla="*/ 58098 h 81173"/>
                    <a:gd name="connsiteX1300" fmla="*/ 42424 w 80747"/>
                    <a:gd name="connsiteY1300" fmla="*/ 67528 h 81173"/>
                    <a:gd name="connsiteX1301" fmla="*/ 42424 w 80747"/>
                    <a:gd name="connsiteY1301" fmla="*/ 67528 h 81173"/>
                    <a:gd name="connsiteX1302" fmla="*/ 42424 w 80747"/>
                    <a:gd name="connsiteY1302" fmla="*/ 67293 h 81173"/>
                    <a:gd name="connsiteX1303" fmla="*/ 42248 w 80747"/>
                    <a:gd name="connsiteY1303" fmla="*/ 65302 h 81173"/>
                    <a:gd name="connsiteX1304" fmla="*/ 41428 w 80747"/>
                    <a:gd name="connsiteY1304" fmla="*/ 63486 h 81173"/>
                    <a:gd name="connsiteX1305" fmla="*/ 41311 w 80747"/>
                    <a:gd name="connsiteY1305" fmla="*/ 63311 h 81173"/>
                    <a:gd name="connsiteX1306" fmla="*/ 41311 w 80747"/>
                    <a:gd name="connsiteY1306" fmla="*/ 63252 h 81173"/>
                    <a:gd name="connsiteX1307" fmla="*/ 41721 w 80747"/>
                    <a:gd name="connsiteY1307" fmla="*/ 62491 h 81173"/>
                    <a:gd name="connsiteX1308" fmla="*/ 42190 w 80747"/>
                    <a:gd name="connsiteY1308" fmla="*/ 62549 h 81173"/>
                    <a:gd name="connsiteX1309" fmla="*/ 44474 w 80747"/>
                    <a:gd name="connsiteY1309" fmla="*/ 63896 h 81173"/>
                    <a:gd name="connsiteX1310" fmla="*/ 44826 w 80747"/>
                    <a:gd name="connsiteY1310" fmla="*/ 65302 h 81173"/>
                    <a:gd name="connsiteX1311" fmla="*/ 43478 w 80747"/>
                    <a:gd name="connsiteY1311" fmla="*/ 67645 h 81173"/>
                    <a:gd name="connsiteX1312" fmla="*/ 43127 w 80747"/>
                    <a:gd name="connsiteY1312" fmla="*/ 67879 h 81173"/>
                    <a:gd name="connsiteX1313" fmla="*/ 42424 w 80747"/>
                    <a:gd name="connsiteY1313" fmla="*/ 67528 h 81173"/>
                    <a:gd name="connsiteX1314" fmla="*/ 45294 w 80747"/>
                    <a:gd name="connsiteY1314" fmla="*/ 68992 h 81173"/>
                    <a:gd name="connsiteX1315" fmla="*/ 45118 w 80747"/>
                    <a:gd name="connsiteY1315" fmla="*/ 69109 h 81173"/>
                    <a:gd name="connsiteX1316" fmla="*/ 45060 w 80747"/>
                    <a:gd name="connsiteY1316" fmla="*/ 69109 h 81173"/>
                    <a:gd name="connsiteX1317" fmla="*/ 44298 w 80747"/>
                    <a:gd name="connsiteY1317" fmla="*/ 68699 h 81173"/>
                    <a:gd name="connsiteX1318" fmla="*/ 44357 w 80747"/>
                    <a:gd name="connsiteY1318" fmla="*/ 68230 h 81173"/>
                    <a:gd name="connsiteX1319" fmla="*/ 45704 w 80747"/>
                    <a:gd name="connsiteY1319" fmla="*/ 65946 h 81173"/>
                    <a:gd name="connsiteX1320" fmla="*/ 47110 w 80747"/>
                    <a:gd name="connsiteY1320" fmla="*/ 65595 h 81173"/>
                    <a:gd name="connsiteX1321" fmla="*/ 49453 w 80747"/>
                    <a:gd name="connsiteY1321" fmla="*/ 66942 h 81173"/>
                    <a:gd name="connsiteX1322" fmla="*/ 49687 w 80747"/>
                    <a:gd name="connsiteY1322" fmla="*/ 67293 h 81173"/>
                    <a:gd name="connsiteX1323" fmla="*/ 49277 w 80747"/>
                    <a:gd name="connsiteY1323" fmla="*/ 68055 h 81173"/>
                    <a:gd name="connsiteX1324" fmla="*/ 49277 w 80747"/>
                    <a:gd name="connsiteY1324" fmla="*/ 68055 h 81173"/>
                    <a:gd name="connsiteX1325" fmla="*/ 49043 w 80747"/>
                    <a:gd name="connsiteY1325" fmla="*/ 68055 h 81173"/>
                    <a:gd name="connsiteX1326" fmla="*/ 47051 w 80747"/>
                    <a:gd name="connsiteY1326" fmla="*/ 68172 h 81173"/>
                    <a:gd name="connsiteX1327" fmla="*/ 45294 w 80747"/>
                    <a:gd name="connsiteY1327" fmla="*/ 68992 h 81173"/>
                    <a:gd name="connsiteX1328" fmla="*/ 45763 w 80747"/>
                    <a:gd name="connsiteY1328" fmla="*/ 71569 h 81173"/>
                    <a:gd name="connsiteX1329" fmla="*/ 46407 w 80747"/>
                    <a:gd name="connsiteY1329" fmla="*/ 70339 h 81173"/>
                    <a:gd name="connsiteX1330" fmla="*/ 45763 w 80747"/>
                    <a:gd name="connsiteY1330" fmla="*/ 71569 h 81173"/>
                    <a:gd name="connsiteX1331" fmla="*/ 52850 w 80747"/>
                    <a:gd name="connsiteY1331" fmla="*/ 58742 h 81173"/>
                    <a:gd name="connsiteX1332" fmla="*/ 53319 w 80747"/>
                    <a:gd name="connsiteY1332" fmla="*/ 58567 h 81173"/>
                    <a:gd name="connsiteX1333" fmla="*/ 55955 w 80747"/>
                    <a:gd name="connsiteY1333" fmla="*/ 58508 h 81173"/>
                    <a:gd name="connsiteX1334" fmla="*/ 57009 w 80747"/>
                    <a:gd name="connsiteY1334" fmla="*/ 59504 h 81173"/>
                    <a:gd name="connsiteX1335" fmla="*/ 57068 w 80747"/>
                    <a:gd name="connsiteY1335" fmla="*/ 62198 h 81173"/>
                    <a:gd name="connsiteX1336" fmla="*/ 56892 w 80747"/>
                    <a:gd name="connsiteY1336" fmla="*/ 62608 h 81173"/>
                    <a:gd name="connsiteX1337" fmla="*/ 56014 w 80747"/>
                    <a:gd name="connsiteY1337" fmla="*/ 62608 h 81173"/>
                    <a:gd name="connsiteX1338" fmla="*/ 56014 w 80747"/>
                    <a:gd name="connsiteY1338" fmla="*/ 62608 h 81173"/>
                    <a:gd name="connsiteX1339" fmla="*/ 55896 w 80747"/>
                    <a:gd name="connsiteY1339" fmla="*/ 62432 h 81173"/>
                    <a:gd name="connsiteX1340" fmla="*/ 54725 w 80747"/>
                    <a:gd name="connsiteY1340" fmla="*/ 60792 h 81173"/>
                    <a:gd name="connsiteX1341" fmla="*/ 53085 w 80747"/>
                    <a:gd name="connsiteY1341" fmla="*/ 59680 h 81173"/>
                    <a:gd name="connsiteX1342" fmla="*/ 52909 w 80747"/>
                    <a:gd name="connsiteY1342" fmla="*/ 59562 h 81173"/>
                    <a:gd name="connsiteX1343" fmla="*/ 52909 w 80747"/>
                    <a:gd name="connsiteY1343" fmla="*/ 59562 h 81173"/>
                    <a:gd name="connsiteX1344" fmla="*/ 52850 w 80747"/>
                    <a:gd name="connsiteY1344" fmla="*/ 58742 h 81173"/>
                    <a:gd name="connsiteX1345" fmla="*/ 57888 w 80747"/>
                    <a:gd name="connsiteY1345" fmla="*/ 56517 h 81173"/>
                    <a:gd name="connsiteX1346" fmla="*/ 57829 w 80747"/>
                    <a:gd name="connsiteY1346" fmla="*/ 53823 h 81173"/>
                    <a:gd name="connsiteX1347" fmla="*/ 58005 w 80747"/>
                    <a:gd name="connsiteY1347" fmla="*/ 53413 h 81173"/>
                    <a:gd name="connsiteX1348" fmla="*/ 58884 w 80747"/>
                    <a:gd name="connsiteY1348" fmla="*/ 53413 h 81173"/>
                    <a:gd name="connsiteX1349" fmla="*/ 58884 w 80747"/>
                    <a:gd name="connsiteY1349" fmla="*/ 53413 h 81173"/>
                    <a:gd name="connsiteX1350" fmla="*/ 59001 w 80747"/>
                    <a:gd name="connsiteY1350" fmla="*/ 53589 h 81173"/>
                    <a:gd name="connsiteX1351" fmla="*/ 60172 w 80747"/>
                    <a:gd name="connsiteY1351" fmla="*/ 55228 h 81173"/>
                    <a:gd name="connsiteX1352" fmla="*/ 61813 w 80747"/>
                    <a:gd name="connsiteY1352" fmla="*/ 56341 h 81173"/>
                    <a:gd name="connsiteX1353" fmla="*/ 61988 w 80747"/>
                    <a:gd name="connsiteY1353" fmla="*/ 56458 h 81173"/>
                    <a:gd name="connsiteX1354" fmla="*/ 61988 w 80747"/>
                    <a:gd name="connsiteY1354" fmla="*/ 56458 h 81173"/>
                    <a:gd name="connsiteX1355" fmla="*/ 61988 w 80747"/>
                    <a:gd name="connsiteY1355" fmla="*/ 57337 h 81173"/>
                    <a:gd name="connsiteX1356" fmla="*/ 61520 w 80747"/>
                    <a:gd name="connsiteY1356" fmla="*/ 57513 h 81173"/>
                    <a:gd name="connsiteX1357" fmla="*/ 58884 w 80747"/>
                    <a:gd name="connsiteY1357" fmla="*/ 57571 h 81173"/>
                    <a:gd name="connsiteX1358" fmla="*/ 57888 w 80747"/>
                    <a:gd name="connsiteY1358" fmla="*/ 56517 h 81173"/>
                    <a:gd name="connsiteX1359" fmla="*/ 63980 w 80747"/>
                    <a:gd name="connsiteY1359" fmla="*/ 59035 h 81173"/>
                    <a:gd name="connsiteX1360" fmla="*/ 67612 w 80747"/>
                    <a:gd name="connsiteY1360" fmla="*/ 52827 h 81173"/>
                    <a:gd name="connsiteX1361" fmla="*/ 68842 w 80747"/>
                    <a:gd name="connsiteY1361" fmla="*/ 52886 h 81173"/>
                    <a:gd name="connsiteX1362" fmla="*/ 67963 w 80747"/>
                    <a:gd name="connsiteY1362" fmla="*/ 55346 h 81173"/>
                    <a:gd name="connsiteX1363" fmla="*/ 65151 w 80747"/>
                    <a:gd name="connsiteY1363" fmla="*/ 59797 h 81173"/>
                    <a:gd name="connsiteX1364" fmla="*/ 63160 w 80747"/>
                    <a:gd name="connsiteY1364" fmla="*/ 61378 h 81173"/>
                    <a:gd name="connsiteX1365" fmla="*/ 63980 w 80747"/>
                    <a:gd name="connsiteY1365" fmla="*/ 59035 h 81173"/>
                    <a:gd name="connsiteX1366" fmla="*/ 66850 w 80747"/>
                    <a:gd name="connsiteY1366" fmla="*/ 50309 h 81173"/>
                    <a:gd name="connsiteX1367" fmla="*/ 66440 w 80747"/>
                    <a:gd name="connsiteY1367" fmla="*/ 50016 h 81173"/>
                    <a:gd name="connsiteX1368" fmla="*/ 66440 w 80747"/>
                    <a:gd name="connsiteY1368" fmla="*/ 50016 h 81173"/>
                    <a:gd name="connsiteX1369" fmla="*/ 65034 w 80747"/>
                    <a:gd name="connsiteY1369" fmla="*/ 47790 h 81173"/>
                    <a:gd name="connsiteX1370" fmla="*/ 65386 w 80747"/>
                    <a:gd name="connsiteY1370" fmla="*/ 46385 h 81173"/>
                    <a:gd name="connsiteX1371" fmla="*/ 67670 w 80747"/>
                    <a:gd name="connsiteY1371" fmla="*/ 44979 h 81173"/>
                    <a:gd name="connsiteX1372" fmla="*/ 68080 w 80747"/>
                    <a:gd name="connsiteY1372" fmla="*/ 44921 h 81173"/>
                    <a:gd name="connsiteX1373" fmla="*/ 68549 w 80747"/>
                    <a:gd name="connsiteY1373" fmla="*/ 45682 h 81173"/>
                    <a:gd name="connsiteX1374" fmla="*/ 68549 w 80747"/>
                    <a:gd name="connsiteY1374" fmla="*/ 45682 h 81173"/>
                    <a:gd name="connsiteX1375" fmla="*/ 68490 w 80747"/>
                    <a:gd name="connsiteY1375" fmla="*/ 45858 h 81173"/>
                    <a:gd name="connsiteX1376" fmla="*/ 67729 w 80747"/>
                    <a:gd name="connsiteY1376" fmla="*/ 47673 h 81173"/>
                    <a:gd name="connsiteX1377" fmla="*/ 67612 w 80747"/>
                    <a:gd name="connsiteY1377" fmla="*/ 49665 h 81173"/>
                    <a:gd name="connsiteX1378" fmla="*/ 67612 w 80747"/>
                    <a:gd name="connsiteY1378" fmla="*/ 49899 h 81173"/>
                    <a:gd name="connsiteX1379" fmla="*/ 67612 w 80747"/>
                    <a:gd name="connsiteY1379" fmla="*/ 49899 h 81173"/>
                    <a:gd name="connsiteX1380" fmla="*/ 66850 w 80747"/>
                    <a:gd name="connsiteY1380" fmla="*/ 50309 h 81173"/>
                    <a:gd name="connsiteX1381" fmla="*/ 69955 w 80747"/>
                    <a:gd name="connsiteY1381" fmla="*/ 48962 h 81173"/>
                    <a:gd name="connsiteX1382" fmla="*/ 70892 w 80747"/>
                    <a:gd name="connsiteY1382" fmla="*/ 50075 h 81173"/>
                    <a:gd name="connsiteX1383" fmla="*/ 69955 w 80747"/>
                    <a:gd name="connsiteY1383" fmla="*/ 48962 h 81173"/>
                    <a:gd name="connsiteX1384" fmla="*/ 64858 w 80747"/>
                    <a:gd name="connsiteY1384" fmla="*/ 38244 h 81173"/>
                    <a:gd name="connsiteX1385" fmla="*/ 63101 w 80747"/>
                    <a:gd name="connsiteY1385" fmla="*/ 39123 h 81173"/>
                    <a:gd name="connsiteX1386" fmla="*/ 62925 w 80747"/>
                    <a:gd name="connsiteY1386" fmla="*/ 39240 h 81173"/>
                    <a:gd name="connsiteX1387" fmla="*/ 62867 w 80747"/>
                    <a:gd name="connsiteY1387" fmla="*/ 39240 h 81173"/>
                    <a:gd name="connsiteX1388" fmla="*/ 62105 w 80747"/>
                    <a:gd name="connsiteY1388" fmla="*/ 38830 h 81173"/>
                    <a:gd name="connsiteX1389" fmla="*/ 62164 w 80747"/>
                    <a:gd name="connsiteY1389" fmla="*/ 38361 h 81173"/>
                    <a:gd name="connsiteX1390" fmla="*/ 62164 w 80747"/>
                    <a:gd name="connsiteY1390" fmla="*/ 38361 h 81173"/>
                    <a:gd name="connsiteX1391" fmla="*/ 63394 w 80747"/>
                    <a:gd name="connsiteY1391" fmla="*/ 36077 h 81173"/>
                    <a:gd name="connsiteX1392" fmla="*/ 64800 w 80747"/>
                    <a:gd name="connsiteY1392" fmla="*/ 35667 h 81173"/>
                    <a:gd name="connsiteX1393" fmla="*/ 67143 w 80747"/>
                    <a:gd name="connsiteY1393" fmla="*/ 36956 h 81173"/>
                    <a:gd name="connsiteX1394" fmla="*/ 67377 w 80747"/>
                    <a:gd name="connsiteY1394" fmla="*/ 37307 h 81173"/>
                    <a:gd name="connsiteX1395" fmla="*/ 66967 w 80747"/>
                    <a:gd name="connsiteY1395" fmla="*/ 38068 h 81173"/>
                    <a:gd name="connsiteX1396" fmla="*/ 66967 w 80747"/>
                    <a:gd name="connsiteY1396" fmla="*/ 38068 h 81173"/>
                    <a:gd name="connsiteX1397" fmla="*/ 66791 w 80747"/>
                    <a:gd name="connsiteY1397" fmla="*/ 38068 h 81173"/>
                    <a:gd name="connsiteX1398" fmla="*/ 64858 w 80747"/>
                    <a:gd name="connsiteY1398" fmla="*/ 38244 h 81173"/>
                    <a:gd name="connsiteX1399" fmla="*/ 70540 w 80747"/>
                    <a:gd name="connsiteY1399" fmla="*/ 44335 h 81173"/>
                    <a:gd name="connsiteX1400" fmla="*/ 70833 w 80747"/>
                    <a:gd name="connsiteY1400" fmla="*/ 39591 h 81173"/>
                    <a:gd name="connsiteX1401" fmla="*/ 70775 w 80747"/>
                    <a:gd name="connsiteY1401" fmla="*/ 37131 h 81173"/>
                    <a:gd name="connsiteX1402" fmla="*/ 72298 w 80747"/>
                    <a:gd name="connsiteY1402" fmla="*/ 39708 h 81173"/>
                    <a:gd name="connsiteX1403" fmla="*/ 72005 w 80747"/>
                    <a:gd name="connsiteY1403" fmla="*/ 44804 h 81173"/>
                    <a:gd name="connsiteX1404" fmla="*/ 71126 w 80747"/>
                    <a:gd name="connsiteY1404" fmla="*/ 47029 h 81173"/>
                    <a:gd name="connsiteX1405" fmla="*/ 70540 w 80747"/>
                    <a:gd name="connsiteY1405" fmla="*/ 46853 h 81173"/>
                    <a:gd name="connsiteX1406" fmla="*/ 70540 w 80747"/>
                    <a:gd name="connsiteY1406" fmla="*/ 44335 h 81173"/>
                    <a:gd name="connsiteX1407" fmla="*/ 69720 w 80747"/>
                    <a:gd name="connsiteY1407" fmla="*/ 34086 h 81173"/>
                    <a:gd name="connsiteX1408" fmla="*/ 70306 w 80747"/>
                    <a:gd name="connsiteY1408" fmla="*/ 32680 h 81173"/>
                    <a:gd name="connsiteX1409" fmla="*/ 71009 w 80747"/>
                    <a:gd name="connsiteY1409" fmla="*/ 33734 h 81173"/>
                    <a:gd name="connsiteX1410" fmla="*/ 69720 w 80747"/>
                    <a:gd name="connsiteY1410" fmla="*/ 34086 h 81173"/>
                    <a:gd name="connsiteX1411" fmla="*/ 68314 w 80747"/>
                    <a:gd name="connsiteY1411" fmla="*/ 29166 h 81173"/>
                    <a:gd name="connsiteX1412" fmla="*/ 64683 w 80747"/>
                    <a:gd name="connsiteY1412" fmla="*/ 22782 h 81173"/>
                    <a:gd name="connsiteX1413" fmla="*/ 65620 w 80747"/>
                    <a:gd name="connsiteY1413" fmla="*/ 21845 h 81173"/>
                    <a:gd name="connsiteX1414" fmla="*/ 67377 w 80747"/>
                    <a:gd name="connsiteY1414" fmla="*/ 24071 h 81173"/>
                    <a:gd name="connsiteX1415" fmla="*/ 69837 w 80747"/>
                    <a:gd name="connsiteY1415" fmla="*/ 28873 h 81173"/>
                    <a:gd name="connsiteX1416" fmla="*/ 69955 w 80747"/>
                    <a:gd name="connsiteY1416" fmla="*/ 31040 h 81173"/>
                    <a:gd name="connsiteX1417" fmla="*/ 68314 w 80747"/>
                    <a:gd name="connsiteY1417" fmla="*/ 29166 h 81173"/>
                    <a:gd name="connsiteX1418" fmla="*/ 62750 w 80747"/>
                    <a:gd name="connsiteY1418" fmla="*/ 9664 h 81173"/>
                    <a:gd name="connsiteX1419" fmla="*/ 62808 w 80747"/>
                    <a:gd name="connsiteY1419" fmla="*/ 9546 h 81173"/>
                    <a:gd name="connsiteX1420" fmla="*/ 62750 w 80747"/>
                    <a:gd name="connsiteY1420" fmla="*/ 9664 h 81173"/>
                    <a:gd name="connsiteX1421" fmla="*/ 62867 w 80747"/>
                    <a:gd name="connsiteY1421" fmla="*/ 11011 h 81173"/>
                    <a:gd name="connsiteX1422" fmla="*/ 61403 w 80747"/>
                    <a:gd name="connsiteY1422" fmla="*/ 13060 h 81173"/>
                    <a:gd name="connsiteX1423" fmla="*/ 60114 w 80747"/>
                    <a:gd name="connsiteY1423" fmla="*/ 13353 h 81173"/>
                    <a:gd name="connsiteX1424" fmla="*/ 59997 w 80747"/>
                    <a:gd name="connsiteY1424" fmla="*/ 12065 h 81173"/>
                    <a:gd name="connsiteX1425" fmla="*/ 61461 w 80747"/>
                    <a:gd name="connsiteY1425" fmla="*/ 10015 h 81173"/>
                    <a:gd name="connsiteX1426" fmla="*/ 62750 w 80747"/>
                    <a:gd name="connsiteY1426" fmla="*/ 9664 h 81173"/>
                    <a:gd name="connsiteX1427" fmla="*/ 60524 w 80747"/>
                    <a:gd name="connsiteY1427" fmla="*/ 8141 h 81173"/>
                    <a:gd name="connsiteX1428" fmla="*/ 60582 w 80747"/>
                    <a:gd name="connsiteY1428" fmla="*/ 8024 h 81173"/>
                    <a:gd name="connsiteX1429" fmla="*/ 60524 w 80747"/>
                    <a:gd name="connsiteY1429" fmla="*/ 8141 h 81173"/>
                    <a:gd name="connsiteX1430" fmla="*/ 60700 w 80747"/>
                    <a:gd name="connsiteY1430" fmla="*/ 9429 h 81173"/>
                    <a:gd name="connsiteX1431" fmla="*/ 59352 w 80747"/>
                    <a:gd name="connsiteY1431" fmla="*/ 11538 h 81173"/>
                    <a:gd name="connsiteX1432" fmla="*/ 58064 w 80747"/>
                    <a:gd name="connsiteY1432" fmla="*/ 11948 h 81173"/>
                    <a:gd name="connsiteX1433" fmla="*/ 57888 w 80747"/>
                    <a:gd name="connsiteY1433" fmla="*/ 10659 h 81173"/>
                    <a:gd name="connsiteX1434" fmla="*/ 59235 w 80747"/>
                    <a:gd name="connsiteY1434" fmla="*/ 8551 h 81173"/>
                    <a:gd name="connsiteX1435" fmla="*/ 60524 w 80747"/>
                    <a:gd name="connsiteY1435" fmla="*/ 8141 h 81173"/>
                    <a:gd name="connsiteX1436" fmla="*/ 58181 w 80747"/>
                    <a:gd name="connsiteY1436" fmla="*/ 6794 h 81173"/>
                    <a:gd name="connsiteX1437" fmla="*/ 58239 w 80747"/>
                    <a:gd name="connsiteY1437" fmla="*/ 6677 h 81173"/>
                    <a:gd name="connsiteX1438" fmla="*/ 58181 w 80747"/>
                    <a:gd name="connsiteY1438" fmla="*/ 6794 h 81173"/>
                    <a:gd name="connsiteX1439" fmla="*/ 58474 w 80747"/>
                    <a:gd name="connsiteY1439" fmla="*/ 8082 h 81173"/>
                    <a:gd name="connsiteX1440" fmla="*/ 57302 w 80747"/>
                    <a:gd name="connsiteY1440" fmla="*/ 10308 h 81173"/>
                    <a:gd name="connsiteX1441" fmla="*/ 56072 w 80747"/>
                    <a:gd name="connsiteY1441" fmla="*/ 10776 h 81173"/>
                    <a:gd name="connsiteX1442" fmla="*/ 55779 w 80747"/>
                    <a:gd name="connsiteY1442" fmla="*/ 9488 h 81173"/>
                    <a:gd name="connsiteX1443" fmla="*/ 56951 w 80747"/>
                    <a:gd name="connsiteY1443" fmla="*/ 7262 h 81173"/>
                    <a:gd name="connsiteX1444" fmla="*/ 58181 w 80747"/>
                    <a:gd name="connsiteY1444" fmla="*/ 6794 h 81173"/>
                    <a:gd name="connsiteX1445" fmla="*/ 54608 w 80747"/>
                    <a:gd name="connsiteY1445" fmla="*/ 6150 h 81173"/>
                    <a:gd name="connsiteX1446" fmla="*/ 55779 w 80747"/>
                    <a:gd name="connsiteY1446" fmla="*/ 5564 h 81173"/>
                    <a:gd name="connsiteX1447" fmla="*/ 55838 w 80747"/>
                    <a:gd name="connsiteY1447" fmla="*/ 5447 h 81173"/>
                    <a:gd name="connsiteX1448" fmla="*/ 55779 w 80747"/>
                    <a:gd name="connsiteY1448" fmla="*/ 5564 h 81173"/>
                    <a:gd name="connsiteX1449" fmla="*/ 56131 w 80747"/>
                    <a:gd name="connsiteY1449" fmla="*/ 6852 h 81173"/>
                    <a:gd name="connsiteX1450" fmla="*/ 55076 w 80747"/>
                    <a:gd name="connsiteY1450" fmla="*/ 9136 h 81173"/>
                    <a:gd name="connsiteX1451" fmla="*/ 53905 w 80747"/>
                    <a:gd name="connsiteY1451" fmla="*/ 9664 h 81173"/>
                    <a:gd name="connsiteX1452" fmla="*/ 53553 w 80747"/>
                    <a:gd name="connsiteY1452" fmla="*/ 8375 h 81173"/>
                    <a:gd name="connsiteX1453" fmla="*/ 54608 w 80747"/>
                    <a:gd name="connsiteY1453" fmla="*/ 6150 h 81173"/>
                    <a:gd name="connsiteX1454" fmla="*/ 52148 w 80747"/>
                    <a:gd name="connsiteY1454" fmla="*/ 5212 h 81173"/>
                    <a:gd name="connsiteX1455" fmla="*/ 53319 w 80747"/>
                    <a:gd name="connsiteY1455" fmla="*/ 4568 h 81173"/>
                    <a:gd name="connsiteX1456" fmla="*/ 53378 w 80747"/>
                    <a:gd name="connsiteY1456" fmla="*/ 4451 h 81173"/>
                    <a:gd name="connsiteX1457" fmla="*/ 53319 w 80747"/>
                    <a:gd name="connsiteY1457" fmla="*/ 4568 h 81173"/>
                    <a:gd name="connsiteX1458" fmla="*/ 53788 w 80747"/>
                    <a:gd name="connsiteY1458" fmla="*/ 5798 h 81173"/>
                    <a:gd name="connsiteX1459" fmla="*/ 52909 w 80747"/>
                    <a:gd name="connsiteY1459" fmla="*/ 8141 h 81173"/>
                    <a:gd name="connsiteX1460" fmla="*/ 51738 w 80747"/>
                    <a:gd name="connsiteY1460" fmla="*/ 8785 h 81173"/>
                    <a:gd name="connsiteX1461" fmla="*/ 51269 w 80747"/>
                    <a:gd name="connsiteY1461" fmla="*/ 7555 h 81173"/>
                    <a:gd name="connsiteX1462" fmla="*/ 52148 w 80747"/>
                    <a:gd name="connsiteY1462" fmla="*/ 5212 h 81173"/>
                    <a:gd name="connsiteX1463" fmla="*/ 50742 w 80747"/>
                    <a:gd name="connsiteY1463" fmla="*/ 3690 h 81173"/>
                    <a:gd name="connsiteX1464" fmla="*/ 50800 w 80747"/>
                    <a:gd name="connsiteY1464" fmla="*/ 3573 h 81173"/>
                    <a:gd name="connsiteX1465" fmla="*/ 50742 w 80747"/>
                    <a:gd name="connsiteY1465" fmla="*/ 3690 h 81173"/>
                    <a:gd name="connsiteX1466" fmla="*/ 51269 w 80747"/>
                    <a:gd name="connsiteY1466" fmla="*/ 4920 h 81173"/>
                    <a:gd name="connsiteX1467" fmla="*/ 50566 w 80747"/>
                    <a:gd name="connsiteY1467" fmla="*/ 7321 h 81173"/>
                    <a:gd name="connsiteX1468" fmla="*/ 49453 w 80747"/>
                    <a:gd name="connsiteY1468" fmla="*/ 8024 h 81173"/>
                    <a:gd name="connsiteX1469" fmla="*/ 48926 w 80747"/>
                    <a:gd name="connsiteY1469" fmla="*/ 6794 h 81173"/>
                    <a:gd name="connsiteX1470" fmla="*/ 49629 w 80747"/>
                    <a:gd name="connsiteY1470" fmla="*/ 4393 h 81173"/>
                    <a:gd name="connsiteX1471" fmla="*/ 50742 w 80747"/>
                    <a:gd name="connsiteY1471" fmla="*/ 3690 h 81173"/>
                    <a:gd name="connsiteX1472" fmla="*/ 48164 w 80747"/>
                    <a:gd name="connsiteY1472" fmla="*/ 3046 h 81173"/>
                    <a:gd name="connsiteX1473" fmla="*/ 48223 w 80747"/>
                    <a:gd name="connsiteY1473" fmla="*/ 2928 h 81173"/>
                    <a:gd name="connsiteX1474" fmla="*/ 48164 w 80747"/>
                    <a:gd name="connsiteY1474" fmla="*/ 3046 h 81173"/>
                    <a:gd name="connsiteX1475" fmla="*/ 48809 w 80747"/>
                    <a:gd name="connsiteY1475" fmla="*/ 4217 h 81173"/>
                    <a:gd name="connsiteX1476" fmla="*/ 48282 w 80747"/>
                    <a:gd name="connsiteY1476" fmla="*/ 6677 h 81173"/>
                    <a:gd name="connsiteX1477" fmla="*/ 47227 w 80747"/>
                    <a:gd name="connsiteY1477" fmla="*/ 7497 h 81173"/>
                    <a:gd name="connsiteX1478" fmla="*/ 46583 w 80747"/>
                    <a:gd name="connsiteY1478" fmla="*/ 6325 h 81173"/>
                    <a:gd name="connsiteX1479" fmla="*/ 47110 w 80747"/>
                    <a:gd name="connsiteY1479" fmla="*/ 3865 h 81173"/>
                    <a:gd name="connsiteX1480" fmla="*/ 48164 w 80747"/>
                    <a:gd name="connsiteY1480" fmla="*/ 3046 h 81173"/>
                    <a:gd name="connsiteX1481" fmla="*/ 45528 w 80747"/>
                    <a:gd name="connsiteY1481" fmla="*/ 2577 h 81173"/>
                    <a:gd name="connsiteX1482" fmla="*/ 45528 w 80747"/>
                    <a:gd name="connsiteY1482" fmla="*/ 2460 h 81173"/>
                    <a:gd name="connsiteX1483" fmla="*/ 45528 w 80747"/>
                    <a:gd name="connsiteY1483" fmla="*/ 2577 h 81173"/>
                    <a:gd name="connsiteX1484" fmla="*/ 46231 w 80747"/>
                    <a:gd name="connsiteY1484" fmla="*/ 3690 h 81173"/>
                    <a:gd name="connsiteX1485" fmla="*/ 45880 w 80747"/>
                    <a:gd name="connsiteY1485" fmla="*/ 6208 h 81173"/>
                    <a:gd name="connsiteX1486" fmla="*/ 44884 w 80747"/>
                    <a:gd name="connsiteY1486" fmla="*/ 7087 h 81173"/>
                    <a:gd name="connsiteX1487" fmla="*/ 44181 w 80747"/>
                    <a:gd name="connsiteY1487" fmla="*/ 5974 h 81173"/>
                    <a:gd name="connsiteX1488" fmla="*/ 44533 w 80747"/>
                    <a:gd name="connsiteY1488" fmla="*/ 3455 h 81173"/>
                    <a:gd name="connsiteX1489" fmla="*/ 45528 w 80747"/>
                    <a:gd name="connsiteY1489" fmla="*/ 2577 h 81173"/>
                    <a:gd name="connsiteX1490" fmla="*/ 41955 w 80747"/>
                    <a:gd name="connsiteY1490" fmla="*/ 3221 h 81173"/>
                    <a:gd name="connsiteX1491" fmla="*/ 42893 w 80747"/>
                    <a:gd name="connsiteY1491" fmla="*/ 2284 h 81173"/>
                    <a:gd name="connsiteX1492" fmla="*/ 42893 w 80747"/>
                    <a:gd name="connsiteY1492" fmla="*/ 2167 h 81173"/>
                    <a:gd name="connsiteX1493" fmla="*/ 42893 w 80747"/>
                    <a:gd name="connsiteY1493" fmla="*/ 2284 h 81173"/>
                    <a:gd name="connsiteX1494" fmla="*/ 43654 w 80747"/>
                    <a:gd name="connsiteY1494" fmla="*/ 3338 h 81173"/>
                    <a:gd name="connsiteX1495" fmla="*/ 43478 w 80747"/>
                    <a:gd name="connsiteY1495" fmla="*/ 5857 h 81173"/>
                    <a:gd name="connsiteX1496" fmla="*/ 42541 w 80747"/>
                    <a:gd name="connsiteY1496" fmla="*/ 6794 h 81173"/>
                    <a:gd name="connsiteX1497" fmla="*/ 41780 w 80747"/>
                    <a:gd name="connsiteY1497" fmla="*/ 5740 h 81173"/>
                    <a:gd name="connsiteX1498" fmla="*/ 41955 w 80747"/>
                    <a:gd name="connsiteY1498" fmla="*/ 3221 h 81173"/>
                    <a:gd name="connsiteX1499" fmla="*/ 39319 w 80747"/>
                    <a:gd name="connsiteY1499" fmla="*/ 3163 h 81173"/>
                    <a:gd name="connsiteX1500" fmla="*/ 40198 w 80747"/>
                    <a:gd name="connsiteY1500" fmla="*/ 2167 h 81173"/>
                    <a:gd name="connsiteX1501" fmla="*/ 40198 w 80747"/>
                    <a:gd name="connsiteY1501" fmla="*/ 2050 h 81173"/>
                    <a:gd name="connsiteX1502" fmla="*/ 40198 w 80747"/>
                    <a:gd name="connsiteY1502" fmla="*/ 2167 h 81173"/>
                    <a:gd name="connsiteX1503" fmla="*/ 41018 w 80747"/>
                    <a:gd name="connsiteY1503" fmla="*/ 3163 h 81173"/>
                    <a:gd name="connsiteX1504" fmla="*/ 41018 w 80747"/>
                    <a:gd name="connsiteY1504" fmla="*/ 5681 h 81173"/>
                    <a:gd name="connsiteX1505" fmla="*/ 40140 w 80747"/>
                    <a:gd name="connsiteY1505" fmla="*/ 6677 h 81173"/>
                    <a:gd name="connsiteX1506" fmla="*/ 39261 w 80747"/>
                    <a:gd name="connsiteY1506" fmla="*/ 5681 h 81173"/>
                    <a:gd name="connsiteX1507" fmla="*/ 39319 w 80747"/>
                    <a:gd name="connsiteY1507" fmla="*/ 3163 h 81173"/>
                    <a:gd name="connsiteX1508" fmla="*/ 36742 w 80747"/>
                    <a:gd name="connsiteY1508" fmla="*/ 3280 h 81173"/>
                    <a:gd name="connsiteX1509" fmla="*/ 37504 w 80747"/>
                    <a:gd name="connsiteY1509" fmla="*/ 2226 h 81173"/>
                    <a:gd name="connsiteX1510" fmla="*/ 37504 w 80747"/>
                    <a:gd name="connsiteY1510" fmla="*/ 2108 h 81173"/>
                    <a:gd name="connsiteX1511" fmla="*/ 37504 w 80747"/>
                    <a:gd name="connsiteY1511" fmla="*/ 2226 h 81173"/>
                    <a:gd name="connsiteX1512" fmla="*/ 38441 w 80747"/>
                    <a:gd name="connsiteY1512" fmla="*/ 3163 h 81173"/>
                    <a:gd name="connsiteX1513" fmla="*/ 38617 w 80747"/>
                    <a:gd name="connsiteY1513" fmla="*/ 5681 h 81173"/>
                    <a:gd name="connsiteX1514" fmla="*/ 37855 w 80747"/>
                    <a:gd name="connsiteY1514" fmla="*/ 6735 h 81173"/>
                    <a:gd name="connsiteX1515" fmla="*/ 36918 w 80747"/>
                    <a:gd name="connsiteY1515" fmla="*/ 5798 h 81173"/>
                    <a:gd name="connsiteX1516" fmla="*/ 36742 w 80747"/>
                    <a:gd name="connsiteY1516" fmla="*/ 3280 h 81173"/>
                    <a:gd name="connsiteX1517" fmla="*/ 34868 w 80747"/>
                    <a:gd name="connsiteY1517" fmla="*/ 2460 h 81173"/>
                    <a:gd name="connsiteX1518" fmla="*/ 34868 w 80747"/>
                    <a:gd name="connsiteY1518" fmla="*/ 2343 h 81173"/>
                    <a:gd name="connsiteX1519" fmla="*/ 34868 w 80747"/>
                    <a:gd name="connsiteY1519" fmla="*/ 2460 h 81173"/>
                    <a:gd name="connsiteX1520" fmla="*/ 35863 w 80747"/>
                    <a:gd name="connsiteY1520" fmla="*/ 3338 h 81173"/>
                    <a:gd name="connsiteX1521" fmla="*/ 36215 w 80747"/>
                    <a:gd name="connsiteY1521" fmla="*/ 5857 h 81173"/>
                    <a:gd name="connsiteX1522" fmla="*/ 35512 w 80747"/>
                    <a:gd name="connsiteY1522" fmla="*/ 6969 h 81173"/>
                    <a:gd name="connsiteX1523" fmla="*/ 34516 w 80747"/>
                    <a:gd name="connsiteY1523" fmla="*/ 6091 h 81173"/>
                    <a:gd name="connsiteX1524" fmla="*/ 34165 w 80747"/>
                    <a:gd name="connsiteY1524" fmla="*/ 3573 h 81173"/>
                    <a:gd name="connsiteX1525" fmla="*/ 34868 w 80747"/>
                    <a:gd name="connsiteY1525" fmla="*/ 2460 h 81173"/>
                    <a:gd name="connsiteX1526" fmla="*/ 32115 w 80747"/>
                    <a:gd name="connsiteY1526" fmla="*/ 6560 h 81173"/>
                    <a:gd name="connsiteX1527" fmla="*/ 31588 w 80747"/>
                    <a:gd name="connsiteY1527" fmla="*/ 4100 h 81173"/>
                    <a:gd name="connsiteX1528" fmla="*/ 32232 w 80747"/>
                    <a:gd name="connsiteY1528" fmla="*/ 2928 h 81173"/>
                    <a:gd name="connsiteX1529" fmla="*/ 32232 w 80747"/>
                    <a:gd name="connsiteY1529" fmla="*/ 2811 h 81173"/>
                    <a:gd name="connsiteX1530" fmla="*/ 32232 w 80747"/>
                    <a:gd name="connsiteY1530" fmla="*/ 2928 h 81173"/>
                    <a:gd name="connsiteX1531" fmla="*/ 33286 w 80747"/>
                    <a:gd name="connsiteY1531" fmla="*/ 3748 h 81173"/>
                    <a:gd name="connsiteX1532" fmla="*/ 33813 w 80747"/>
                    <a:gd name="connsiteY1532" fmla="*/ 6208 h 81173"/>
                    <a:gd name="connsiteX1533" fmla="*/ 33169 w 80747"/>
                    <a:gd name="connsiteY1533" fmla="*/ 7379 h 81173"/>
                    <a:gd name="connsiteX1534" fmla="*/ 32115 w 80747"/>
                    <a:gd name="connsiteY1534" fmla="*/ 6560 h 81173"/>
                    <a:gd name="connsiteX1535" fmla="*/ 29772 w 80747"/>
                    <a:gd name="connsiteY1535" fmla="*/ 7204 h 81173"/>
                    <a:gd name="connsiteX1536" fmla="*/ 29069 w 80747"/>
                    <a:gd name="connsiteY1536" fmla="*/ 4744 h 81173"/>
                    <a:gd name="connsiteX1537" fmla="*/ 29596 w 80747"/>
                    <a:gd name="connsiteY1537" fmla="*/ 3573 h 81173"/>
                    <a:gd name="connsiteX1538" fmla="*/ 29596 w 80747"/>
                    <a:gd name="connsiteY1538" fmla="*/ 3455 h 81173"/>
                    <a:gd name="connsiteX1539" fmla="*/ 29654 w 80747"/>
                    <a:gd name="connsiteY1539" fmla="*/ 3573 h 81173"/>
                    <a:gd name="connsiteX1540" fmla="*/ 30767 w 80747"/>
                    <a:gd name="connsiteY1540" fmla="*/ 4334 h 81173"/>
                    <a:gd name="connsiteX1541" fmla="*/ 31470 w 80747"/>
                    <a:gd name="connsiteY1541" fmla="*/ 6794 h 81173"/>
                    <a:gd name="connsiteX1542" fmla="*/ 30943 w 80747"/>
                    <a:gd name="connsiteY1542" fmla="*/ 7965 h 81173"/>
                    <a:gd name="connsiteX1543" fmla="*/ 29772 w 80747"/>
                    <a:gd name="connsiteY1543" fmla="*/ 7204 h 81173"/>
                    <a:gd name="connsiteX1544" fmla="*/ 27487 w 80747"/>
                    <a:gd name="connsiteY1544" fmla="*/ 7965 h 81173"/>
                    <a:gd name="connsiteX1545" fmla="*/ 26609 w 80747"/>
                    <a:gd name="connsiteY1545" fmla="*/ 5564 h 81173"/>
                    <a:gd name="connsiteX1546" fmla="*/ 27077 w 80747"/>
                    <a:gd name="connsiteY1546" fmla="*/ 4334 h 81173"/>
                    <a:gd name="connsiteX1547" fmla="*/ 27019 w 80747"/>
                    <a:gd name="connsiteY1547" fmla="*/ 4217 h 81173"/>
                    <a:gd name="connsiteX1548" fmla="*/ 27077 w 80747"/>
                    <a:gd name="connsiteY1548" fmla="*/ 4334 h 81173"/>
                    <a:gd name="connsiteX1549" fmla="*/ 28190 w 80747"/>
                    <a:gd name="connsiteY1549" fmla="*/ 4978 h 81173"/>
                    <a:gd name="connsiteX1550" fmla="*/ 29069 w 80747"/>
                    <a:gd name="connsiteY1550" fmla="*/ 7379 h 81173"/>
                    <a:gd name="connsiteX1551" fmla="*/ 28600 w 80747"/>
                    <a:gd name="connsiteY1551" fmla="*/ 8609 h 81173"/>
                    <a:gd name="connsiteX1552" fmla="*/ 27487 w 80747"/>
                    <a:gd name="connsiteY1552" fmla="*/ 7965 h 81173"/>
                    <a:gd name="connsiteX1553" fmla="*/ 24207 w 80747"/>
                    <a:gd name="connsiteY1553" fmla="*/ 6618 h 81173"/>
                    <a:gd name="connsiteX1554" fmla="*/ 24558 w 80747"/>
                    <a:gd name="connsiteY1554" fmla="*/ 5330 h 81173"/>
                    <a:gd name="connsiteX1555" fmla="*/ 24500 w 80747"/>
                    <a:gd name="connsiteY1555" fmla="*/ 5212 h 81173"/>
                    <a:gd name="connsiteX1556" fmla="*/ 24558 w 80747"/>
                    <a:gd name="connsiteY1556" fmla="*/ 5330 h 81173"/>
                    <a:gd name="connsiteX1557" fmla="*/ 25730 w 80747"/>
                    <a:gd name="connsiteY1557" fmla="*/ 5915 h 81173"/>
                    <a:gd name="connsiteX1558" fmla="*/ 26726 w 80747"/>
                    <a:gd name="connsiteY1558" fmla="*/ 8199 h 81173"/>
                    <a:gd name="connsiteX1559" fmla="*/ 26316 w 80747"/>
                    <a:gd name="connsiteY1559" fmla="*/ 9488 h 81173"/>
                    <a:gd name="connsiteX1560" fmla="*/ 25144 w 80747"/>
                    <a:gd name="connsiteY1560" fmla="*/ 8902 h 81173"/>
                    <a:gd name="connsiteX1561" fmla="*/ 24207 w 80747"/>
                    <a:gd name="connsiteY1561" fmla="*/ 6618 h 81173"/>
                    <a:gd name="connsiteX1562" fmla="*/ 21923 w 80747"/>
                    <a:gd name="connsiteY1562" fmla="*/ 7789 h 81173"/>
                    <a:gd name="connsiteX1563" fmla="*/ 22215 w 80747"/>
                    <a:gd name="connsiteY1563" fmla="*/ 6501 h 81173"/>
                    <a:gd name="connsiteX1564" fmla="*/ 22157 w 80747"/>
                    <a:gd name="connsiteY1564" fmla="*/ 6384 h 81173"/>
                    <a:gd name="connsiteX1565" fmla="*/ 22215 w 80747"/>
                    <a:gd name="connsiteY1565" fmla="*/ 6501 h 81173"/>
                    <a:gd name="connsiteX1566" fmla="*/ 23445 w 80747"/>
                    <a:gd name="connsiteY1566" fmla="*/ 6969 h 81173"/>
                    <a:gd name="connsiteX1567" fmla="*/ 24617 w 80747"/>
                    <a:gd name="connsiteY1567" fmla="*/ 9195 h 81173"/>
                    <a:gd name="connsiteX1568" fmla="*/ 24324 w 80747"/>
                    <a:gd name="connsiteY1568" fmla="*/ 10483 h 81173"/>
                    <a:gd name="connsiteX1569" fmla="*/ 23094 w 80747"/>
                    <a:gd name="connsiteY1569" fmla="*/ 10015 h 81173"/>
                    <a:gd name="connsiteX1570" fmla="*/ 21923 w 80747"/>
                    <a:gd name="connsiteY1570" fmla="*/ 7789 h 81173"/>
                    <a:gd name="connsiteX1571" fmla="*/ 19872 w 80747"/>
                    <a:gd name="connsiteY1571" fmla="*/ 7848 h 81173"/>
                    <a:gd name="connsiteX1572" fmla="*/ 19814 w 80747"/>
                    <a:gd name="connsiteY1572" fmla="*/ 7731 h 81173"/>
                    <a:gd name="connsiteX1573" fmla="*/ 19872 w 80747"/>
                    <a:gd name="connsiteY1573" fmla="*/ 7848 h 81173"/>
                    <a:gd name="connsiteX1574" fmla="*/ 21102 w 80747"/>
                    <a:gd name="connsiteY1574" fmla="*/ 8258 h 81173"/>
                    <a:gd name="connsiteX1575" fmla="*/ 22450 w 80747"/>
                    <a:gd name="connsiteY1575" fmla="*/ 10425 h 81173"/>
                    <a:gd name="connsiteX1576" fmla="*/ 22274 w 80747"/>
                    <a:gd name="connsiteY1576" fmla="*/ 11713 h 81173"/>
                    <a:gd name="connsiteX1577" fmla="*/ 21044 w 80747"/>
                    <a:gd name="connsiteY1577" fmla="*/ 11303 h 81173"/>
                    <a:gd name="connsiteX1578" fmla="*/ 19697 w 80747"/>
                    <a:gd name="connsiteY1578" fmla="*/ 9136 h 81173"/>
                    <a:gd name="connsiteX1579" fmla="*/ 19872 w 80747"/>
                    <a:gd name="connsiteY1579" fmla="*/ 7848 h 81173"/>
                    <a:gd name="connsiteX1580" fmla="*/ 25203 w 80747"/>
                    <a:gd name="connsiteY1580" fmla="*/ 13002 h 81173"/>
                    <a:gd name="connsiteX1581" fmla="*/ 28483 w 80747"/>
                    <a:gd name="connsiteY1581" fmla="*/ 11362 h 81173"/>
                    <a:gd name="connsiteX1582" fmla="*/ 30533 w 80747"/>
                    <a:gd name="connsiteY1582" fmla="*/ 11303 h 81173"/>
                    <a:gd name="connsiteX1583" fmla="*/ 28132 w 80747"/>
                    <a:gd name="connsiteY1583" fmla="*/ 13060 h 81173"/>
                    <a:gd name="connsiteX1584" fmla="*/ 23387 w 80747"/>
                    <a:gd name="connsiteY1584" fmla="*/ 15696 h 81173"/>
                    <a:gd name="connsiteX1585" fmla="*/ 21512 w 80747"/>
                    <a:gd name="connsiteY1585" fmla="*/ 16164 h 81173"/>
                    <a:gd name="connsiteX1586" fmla="*/ 25203 w 80747"/>
                    <a:gd name="connsiteY1586" fmla="*/ 13002 h 81173"/>
                    <a:gd name="connsiteX1587" fmla="*/ 17646 w 80747"/>
                    <a:gd name="connsiteY1587" fmla="*/ 9312 h 81173"/>
                    <a:gd name="connsiteX1588" fmla="*/ 17588 w 80747"/>
                    <a:gd name="connsiteY1588" fmla="*/ 9195 h 81173"/>
                    <a:gd name="connsiteX1589" fmla="*/ 17646 w 80747"/>
                    <a:gd name="connsiteY1589" fmla="*/ 9312 h 81173"/>
                    <a:gd name="connsiteX1590" fmla="*/ 18935 w 80747"/>
                    <a:gd name="connsiteY1590" fmla="*/ 9605 h 81173"/>
                    <a:gd name="connsiteX1591" fmla="*/ 20400 w 80747"/>
                    <a:gd name="connsiteY1591" fmla="*/ 11655 h 81173"/>
                    <a:gd name="connsiteX1592" fmla="*/ 20282 w 80747"/>
                    <a:gd name="connsiteY1592" fmla="*/ 13002 h 81173"/>
                    <a:gd name="connsiteX1593" fmla="*/ 18994 w 80747"/>
                    <a:gd name="connsiteY1593" fmla="*/ 12709 h 81173"/>
                    <a:gd name="connsiteX1594" fmla="*/ 17529 w 80747"/>
                    <a:gd name="connsiteY1594" fmla="*/ 10659 h 81173"/>
                    <a:gd name="connsiteX1595" fmla="*/ 17646 w 80747"/>
                    <a:gd name="connsiteY1595" fmla="*/ 9312 h 81173"/>
                    <a:gd name="connsiteX1596" fmla="*/ 21630 w 80747"/>
                    <a:gd name="connsiteY1596" fmla="*/ 18800 h 81173"/>
                    <a:gd name="connsiteX1597" fmla="*/ 22508 w 80747"/>
                    <a:gd name="connsiteY1597" fmla="*/ 18800 h 81173"/>
                    <a:gd name="connsiteX1598" fmla="*/ 22684 w 80747"/>
                    <a:gd name="connsiteY1598" fmla="*/ 19268 h 81173"/>
                    <a:gd name="connsiteX1599" fmla="*/ 22743 w 80747"/>
                    <a:gd name="connsiteY1599" fmla="*/ 21904 h 81173"/>
                    <a:gd name="connsiteX1600" fmla="*/ 21747 w 80747"/>
                    <a:gd name="connsiteY1600" fmla="*/ 22958 h 81173"/>
                    <a:gd name="connsiteX1601" fmla="*/ 19052 w 80747"/>
                    <a:gd name="connsiteY1601" fmla="*/ 23017 h 81173"/>
                    <a:gd name="connsiteX1602" fmla="*/ 18642 w 80747"/>
                    <a:gd name="connsiteY1602" fmla="*/ 22841 h 81173"/>
                    <a:gd name="connsiteX1603" fmla="*/ 18642 w 80747"/>
                    <a:gd name="connsiteY1603" fmla="*/ 21963 h 81173"/>
                    <a:gd name="connsiteX1604" fmla="*/ 18642 w 80747"/>
                    <a:gd name="connsiteY1604" fmla="*/ 21963 h 81173"/>
                    <a:gd name="connsiteX1605" fmla="*/ 18818 w 80747"/>
                    <a:gd name="connsiteY1605" fmla="*/ 21845 h 81173"/>
                    <a:gd name="connsiteX1606" fmla="*/ 20400 w 80747"/>
                    <a:gd name="connsiteY1606" fmla="*/ 20674 h 81173"/>
                    <a:gd name="connsiteX1607" fmla="*/ 21512 w 80747"/>
                    <a:gd name="connsiteY1607" fmla="*/ 19034 h 81173"/>
                    <a:gd name="connsiteX1608" fmla="*/ 21630 w 80747"/>
                    <a:gd name="connsiteY1608" fmla="*/ 18800 h 81173"/>
                    <a:gd name="connsiteX1609" fmla="*/ 21630 w 80747"/>
                    <a:gd name="connsiteY1609" fmla="*/ 18800 h 81173"/>
                    <a:gd name="connsiteX1610" fmla="*/ 19638 w 80747"/>
                    <a:gd name="connsiteY1610" fmla="*/ 17394 h 81173"/>
                    <a:gd name="connsiteX1611" fmla="*/ 18642 w 80747"/>
                    <a:gd name="connsiteY1611" fmla="*/ 18624 h 81173"/>
                    <a:gd name="connsiteX1612" fmla="*/ 19638 w 80747"/>
                    <a:gd name="connsiteY1612" fmla="*/ 17394 h 81173"/>
                    <a:gd name="connsiteX1613" fmla="*/ 15538 w 80747"/>
                    <a:gd name="connsiteY1613" fmla="*/ 10952 h 81173"/>
                    <a:gd name="connsiteX1614" fmla="*/ 15479 w 80747"/>
                    <a:gd name="connsiteY1614" fmla="*/ 10835 h 81173"/>
                    <a:gd name="connsiteX1615" fmla="*/ 15538 w 80747"/>
                    <a:gd name="connsiteY1615" fmla="*/ 10952 h 81173"/>
                    <a:gd name="connsiteX1616" fmla="*/ 16826 w 80747"/>
                    <a:gd name="connsiteY1616" fmla="*/ 11186 h 81173"/>
                    <a:gd name="connsiteX1617" fmla="*/ 18467 w 80747"/>
                    <a:gd name="connsiteY1617" fmla="*/ 13119 h 81173"/>
                    <a:gd name="connsiteX1618" fmla="*/ 18467 w 80747"/>
                    <a:gd name="connsiteY1618" fmla="*/ 14466 h 81173"/>
                    <a:gd name="connsiteX1619" fmla="*/ 17178 w 80747"/>
                    <a:gd name="connsiteY1619" fmla="*/ 14232 h 81173"/>
                    <a:gd name="connsiteX1620" fmla="*/ 15538 w 80747"/>
                    <a:gd name="connsiteY1620" fmla="*/ 12299 h 81173"/>
                    <a:gd name="connsiteX1621" fmla="*/ 15538 w 80747"/>
                    <a:gd name="connsiteY1621" fmla="*/ 10952 h 81173"/>
                    <a:gd name="connsiteX1622" fmla="*/ 13546 w 80747"/>
                    <a:gd name="connsiteY1622" fmla="*/ 12768 h 81173"/>
                    <a:gd name="connsiteX1623" fmla="*/ 13488 w 80747"/>
                    <a:gd name="connsiteY1623" fmla="*/ 12650 h 81173"/>
                    <a:gd name="connsiteX1624" fmla="*/ 13546 w 80747"/>
                    <a:gd name="connsiteY1624" fmla="*/ 12768 h 81173"/>
                    <a:gd name="connsiteX1625" fmla="*/ 14835 w 80747"/>
                    <a:gd name="connsiteY1625" fmla="*/ 12885 h 81173"/>
                    <a:gd name="connsiteX1626" fmla="*/ 16592 w 80747"/>
                    <a:gd name="connsiteY1626" fmla="*/ 14700 h 81173"/>
                    <a:gd name="connsiteX1627" fmla="*/ 16651 w 80747"/>
                    <a:gd name="connsiteY1627" fmla="*/ 16047 h 81173"/>
                    <a:gd name="connsiteX1628" fmla="*/ 15362 w 80747"/>
                    <a:gd name="connsiteY1628" fmla="*/ 15930 h 81173"/>
                    <a:gd name="connsiteX1629" fmla="*/ 13605 w 80747"/>
                    <a:gd name="connsiteY1629" fmla="*/ 14115 h 81173"/>
                    <a:gd name="connsiteX1630" fmla="*/ 13546 w 80747"/>
                    <a:gd name="connsiteY1630" fmla="*/ 12768 h 81173"/>
                    <a:gd name="connsiteX1631" fmla="*/ 11730 w 80747"/>
                    <a:gd name="connsiteY1631" fmla="*/ 14700 h 81173"/>
                    <a:gd name="connsiteX1632" fmla="*/ 11613 w 80747"/>
                    <a:gd name="connsiteY1632" fmla="*/ 14583 h 81173"/>
                    <a:gd name="connsiteX1633" fmla="*/ 11730 w 80747"/>
                    <a:gd name="connsiteY1633" fmla="*/ 14700 h 81173"/>
                    <a:gd name="connsiteX1634" fmla="*/ 13078 w 80747"/>
                    <a:gd name="connsiteY1634" fmla="*/ 14759 h 81173"/>
                    <a:gd name="connsiteX1635" fmla="*/ 14952 w 80747"/>
                    <a:gd name="connsiteY1635" fmla="*/ 16457 h 81173"/>
                    <a:gd name="connsiteX1636" fmla="*/ 15128 w 80747"/>
                    <a:gd name="connsiteY1636" fmla="*/ 17746 h 81173"/>
                    <a:gd name="connsiteX1637" fmla="*/ 13839 w 80747"/>
                    <a:gd name="connsiteY1637" fmla="*/ 17687 h 81173"/>
                    <a:gd name="connsiteX1638" fmla="*/ 11965 w 80747"/>
                    <a:gd name="connsiteY1638" fmla="*/ 15989 h 81173"/>
                    <a:gd name="connsiteX1639" fmla="*/ 11730 w 80747"/>
                    <a:gd name="connsiteY1639" fmla="*/ 14700 h 81173"/>
                    <a:gd name="connsiteX1640" fmla="*/ 9973 w 80747"/>
                    <a:gd name="connsiteY1640" fmla="*/ 16750 h 81173"/>
                    <a:gd name="connsiteX1641" fmla="*/ 9856 w 80747"/>
                    <a:gd name="connsiteY1641" fmla="*/ 16692 h 81173"/>
                    <a:gd name="connsiteX1642" fmla="*/ 9973 w 80747"/>
                    <a:gd name="connsiteY1642" fmla="*/ 16750 h 81173"/>
                    <a:gd name="connsiteX1643" fmla="*/ 11262 w 80747"/>
                    <a:gd name="connsiteY1643" fmla="*/ 16692 h 81173"/>
                    <a:gd name="connsiteX1644" fmla="*/ 13253 w 80747"/>
                    <a:gd name="connsiteY1644" fmla="*/ 18273 h 81173"/>
                    <a:gd name="connsiteX1645" fmla="*/ 13488 w 80747"/>
                    <a:gd name="connsiteY1645" fmla="*/ 19561 h 81173"/>
                    <a:gd name="connsiteX1646" fmla="*/ 12199 w 80747"/>
                    <a:gd name="connsiteY1646" fmla="*/ 19620 h 81173"/>
                    <a:gd name="connsiteX1647" fmla="*/ 10207 w 80747"/>
                    <a:gd name="connsiteY1647" fmla="*/ 18039 h 81173"/>
                    <a:gd name="connsiteX1648" fmla="*/ 9973 w 80747"/>
                    <a:gd name="connsiteY1648" fmla="*/ 16750 h 81173"/>
                    <a:gd name="connsiteX1649" fmla="*/ 8392 w 80747"/>
                    <a:gd name="connsiteY1649" fmla="*/ 18859 h 81173"/>
                    <a:gd name="connsiteX1650" fmla="*/ 8274 w 80747"/>
                    <a:gd name="connsiteY1650" fmla="*/ 18800 h 81173"/>
                    <a:gd name="connsiteX1651" fmla="*/ 8392 w 80747"/>
                    <a:gd name="connsiteY1651" fmla="*/ 18859 h 81173"/>
                    <a:gd name="connsiteX1652" fmla="*/ 9680 w 80747"/>
                    <a:gd name="connsiteY1652" fmla="*/ 18741 h 81173"/>
                    <a:gd name="connsiteX1653" fmla="*/ 11789 w 80747"/>
                    <a:gd name="connsiteY1653" fmla="*/ 20147 h 81173"/>
                    <a:gd name="connsiteX1654" fmla="*/ 12140 w 80747"/>
                    <a:gd name="connsiteY1654" fmla="*/ 21435 h 81173"/>
                    <a:gd name="connsiteX1655" fmla="*/ 10852 w 80747"/>
                    <a:gd name="connsiteY1655" fmla="*/ 21553 h 81173"/>
                    <a:gd name="connsiteX1656" fmla="*/ 8743 w 80747"/>
                    <a:gd name="connsiteY1656" fmla="*/ 20147 h 81173"/>
                    <a:gd name="connsiteX1657" fmla="*/ 8392 w 80747"/>
                    <a:gd name="connsiteY1657" fmla="*/ 18859 h 81173"/>
                    <a:gd name="connsiteX1658" fmla="*/ 6986 w 80747"/>
                    <a:gd name="connsiteY1658" fmla="*/ 21143 h 81173"/>
                    <a:gd name="connsiteX1659" fmla="*/ 6869 w 80747"/>
                    <a:gd name="connsiteY1659" fmla="*/ 21084 h 81173"/>
                    <a:gd name="connsiteX1660" fmla="*/ 6986 w 80747"/>
                    <a:gd name="connsiteY1660" fmla="*/ 21143 h 81173"/>
                    <a:gd name="connsiteX1661" fmla="*/ 8274 w 80747"/>
                    <a:gd name="connsiteY1661" fmla="*/ 20908 h 81173"/>
                    <a:gd name="connsiteX1662" fmla="*/ 10442 w 80747"/>
                    <a:gd name="connsiteY1662" fmla="*/ 22197 h 81173"/>
                    <a:gd name="connsiteX1663" fmla="*/ 10852 w 80747"/>
                    <a:gd name="connsiteY1663" fmla="*/ 23427 h 81173"/>
                    <a:gd name="connsiteX1664" fmla="*/ 9563 w 80747"/>
                    <a:gd name="connsiteY1664" fmla="*/ 23661 h 81173"/>
                    <a:gd name="connsiteX1665" fmla="*/ 7396 w 80747"/>
                    <a:gd name="connsiteY1665" fmla="*/ 22373 h 81173"/>
                    <a:gd name="connsiteX1666" fmla="*/ 6986 w 80747"/>
                    <a:gd name="connsiteY1666" fmla="*/ 21143 h 81173"/>
                    <a:gd name="connsiteX1667" fmla="*/ 5697 w 80747"/>
                    <a:gd name="connsiteY1667" fmla="*/ 23544 h 81173"/>
                    <a:gd name="connsiteX1668" fmla="*/ 5580 w 80747"/>
                    <a:gd name="connsiteY1668" fmla="*/ 23485 h 81173"/>
                    <a:gd name="connsiteX1669" fmla="*/ 5697 w 80747"/>
                    <a:gd name="connsiteY1669" fmla="*/ 23544 h 81173"/>
                    <a:gd name="connsiteX1670" fmla="*/ 6986 w 80747"/>
                    <a:gd name="connsiteY1670" fmla="*/ 23192 h 81173"/>
                    <a:gd name="connsiteX1671" fmla="*/ 9270 w 80747"/>
                    <a:gd name="connsiteY1671" fmla="*/ 24305 h 81173"/>
                    <a:gd name="connsiteX1672" fmla="*/ 9797 w 80747"/>
                    <a:gd name="connsiteY1672" fmla="*/ 25535 h 81173"/>
                    <a:gd name="connsiteX1673" fmla="*/ 8509 w 80747"/>
                    <a:gd name="connsiteY1673" fmla="*/ 25887 h 81173"/>
                    <a:gd name="connsiteX1674" fmla="*/ 6224 w 80747"/>
                    <a:gd name="connsiteY1674" fmla="*/ 24774 h 81173"/>
                    <a:gd name="connsiteX1675" fmla="*/ 5697 w 80747"/>
                    <a:gd name="connsiteY1675" fmla="*/ 23544 h 81173"/>
                    <a:gd name="connsiteX1676" fmla="*/ 4643 w 80747"/>
                    <a:gd name="connsiteY1676" fmla="*/ 25945 h 81173"/>
                    <a:gd name="connsiteX1677" fmla="*/ 4526 w 80747"/>
                    <a:gd name="connsiteY1677" fmla="*/ 25887 h 81173"/>
                    <a:gd name="connsiteX1678" fmla="*/ 4643 w 80747"/>
                    <a:gd name="connsiteY1678" fmla="*/ 25945 h 81173"/>
                    <a:gd name="connsiteX1679" fmla="*/ 5873 w 80747"/>
                    <a:gd name="connsiteY1679" fmla="*/ 25535 h 81173"/>
                    <a:gd name="connsiteX1680" fmla="*/ 8216 w 80747"/>
                    <a:gd name="connsiteY1680" fmla="*/ 26472 h 81173"/>
                    <a:gd name="connsiteX1681" fmla="*/ 8802 w 80747"/>
                    <a:gd name="connsiteY1681" fmla="*/ 27644 h 81173"/>
                    <a:gd name="connsiteX1682" fmla="*/ 7572 w 80747"/>
                    <a:gd name="connsiteY1682" fmla="*/ 28053 h 81173"/>
                    <a:gd name="connsiteX1683" fmla="*/ 5228 w 80747"/>
                    <a:gd name="connsiteY1683" fmla="*/ 27116 h 81173"/>
                    <a:gd name="connsiteX1684" fmla="*/ 4643 w 80747"/>
                    <a:gd name="connsiteY1684" fmla="*/ 25945 h 81173"/>
                    <a:gd name="connsiteX1685" fmla="*/ 3588 w 80747"/>
                    <a:gd name="connsiteY1685" fmla="*/ 28405 h 81173"/>
                    <a:gd name="connsiteX1686" fmla="*/ 3706 w 80747"/>
                    <a:gd name="connsiteY1686" fmla="*/ 28463 h 81173"/>
                    <a:gd name="connsiteX1687" fmla="*/ 4936 w 80747"/>
                    <a:gd name="connsiteY1687" fmla="*/ 27995 h 81173"/>
                    <a:gd name="connsiteX1688" fmla="*/ 7337 w 80747"/>
                    <a:gd name="connsiteY1688" fmla="*/ 28815 h 81173"/>
                    <a:gd name="connsiteX1689" fmla="*/ 8040 w 80747"/>
                    <a:gd name="connsiteY1689" fmla="*/ 29928 h 81173"/>
                    <a:gd name="connsiteX1690" fmla="*/ 6810 w 80747"/>
                    <a:gd name="connsiteY1690" fmla="*/ 30455 h 81173"/>
                    <a:gd name="connsiteX1691" fmla="*/ 4408 w 80747"/>
                    <a:gd name="connsiteY1691" fmla="*/ 29635 h 81173"/>
                    <a:gd name="connsiteX1692" fmla="*/ 3706 w 80747"/>
                    <a:gd name="connsiteY1692" fmla="*/ 28522 h 81173"/>
                    <a:gd name="connsiteX1693" fmla="*/ 3588 w 80747"/>
                    <a:gd name="connsiteY1693" fmla="*/ 28405 h 81173"/>
                    <a:gd name="connsiteX1694" fmla="*/ 2827 w 80747"/>
                    <a:gd name="connsiteY1694" fmla="*/ 31040 h 81173"/>
                    <a:gd name="connsiteX1695" fmla="*/ 2944 w 80747"/>
                    <a:gd name="connsiteY1695" fmla="*/ 31099 h 81173"/>
                    <a:gd name="connsiteX1696" fmla="*/ 4116 w 80747"/>
                    <a:gd name="connsiteY1696" fmla="*/ 30513 h 81173"/>
                    <a:gd name="connsiteX1697" fmla="*/ 6576 w 80747"/>
                    <a:gd name="connsiteY1697" fmla="*/ 31158 h 81173"/>
                    <a:gd name="connsiteX1698" fmla="*/ 7337 w 80747"/>
                    <a:gd name="connsiteY1698" fmla="*/ 32270 h 81173"/>
                    <a:gd name="connsiteX1699" fmla="*/ 6166 w 80747"/>
                    <a:gd name="connsiteY1699" fmla="*/ 32856 h 81173"/>
                    <a:gd name="connsiteX1700" fmla="*/ 3706 w 80747"/>
                    <a:gd name="connsiteY1700" fmla="*/ 32212 h 81173"/>
                    <a:gd name="connsiteX1701" fmla="*/ 2944 w 80747"/>
                    <a:gd name="connsiteY1701" fmla="*/ 31158 h 81173"/>
                    <a:gd name="connsiteX1702" fmla="*/ 2827 w 80747"/>
                    <a:gd name="connsiteY1702" fmla="*/ 31040 h 81173"/>
                    <a:gd name="connsiteX1703" fmla="*/ 2300 w 80747"/>
                    <a:gd name="connsiteY1703" fmla="*/ 33676 h 81173"/>
                    <a:gd name="connsiteX1704" fmla="*/ 2417 w 80747"/>
                    <a:gd name="connsiteY1704" fmla="*/ 33676 h 81173"/>
                    <a:gd name="connsiteX1705" fmla="*/ 3530 w 80747"/>
                    <a:gd name="connsiteY1705" fmla="*/ 33032 h 81173"/>
                    <a:gd name="connsiteX1706" fmla="*/ 5990 w 80747"/>
                    <a:gd name="connsiteY1706" fmla="*/ 33500 h 81173"/>
                    <a:gd name="connsiteX1707" fmla="*/ 6810 w 80747"/>
                    <a:gd name="connsiteY1707" fmla="*/ 34554 h 81173"/>
                    <a:gd name="connsiteX1708" fmla="*/ 5697 w 80747"/>
                    <a:gd name="connsiteY1708" fmla="*/ 35199 h 81173"/>
                    <a:gd name="connsiteX1709" fmla="*/ 3237 w 80747"/>
                    <a:gd name="connsiteY1709" fmla="*/ 34730 h 81173"/>
                    <a:gd name="connsiteX1710" fmla="*/ 2417 w 80747"/>
                    <a:gd name="connsiteY1710" fmla="*/ 33676 h 81173"/>
                    <a:gd name="connsiteX1711" fmla="*/ 2300 w 80747"/>
                    <a:gd name="connsiteY1711" fmla="*/ 33676 h 81173"/>
                    <a:gd name="connsiteX1712" fmla="*/ 1890 w 80747"/>
                    <a:gd name="connsiteY1712" fmla="*/ 36311 h 81173"/>
                    <a:gd name="connsiteX1713" fmla="*/ 2007 w 80747"/>
                    <a:gd name="connsiteY1713" fmla="*/ 36311 h 81173"/>
                    <a:gd name="connsiteX1714" fmla="*/ 3120 w 80747"/>
                    <a:gd name="connsiteY1714" fmla="*/ 35550 h 81173"/>
                    <a:gd name="connsiteX1715" fmla="*/ 5638 w 80747"/>
                    <a:gd name="connsiteY1715" fmla="*/ 35843 h 81173"/>
                    <a:gd name="connsiteX1716" fmla="*/ 6517 w 80747"/>
                    <a:gd name="connsiteY1716" fmla="*/ 36839 h 81173"/>
                    <a:gd name="connsiteX1717" fmla="*/ 5404 w 80747"/>
                    <a:gd name="connsiteY1717" fmla="*/ 37600 h 81173"/>
                    <a:gd name="connsiteX1718" fmla="*/ 2885 w 80747"/>
                    <a:gd name="connsiteY1718" fmla="*/ 37307 h 81173"/>
                    <a:gd name="connsiteX1719" fmla="*/ 2007 w 80747"/>
                    <a:gd name="connsiteY1719" fmla="*/ 36311 h 81173"/>
                    <a:gd name="connsiteX1720" fmla="*/ 1890 w 80747"/>
                    <a:gd name="connsiteY1720" fmla="*/ 36311 h 81173"/>
                    <a:gd name="connsiteX1721" fmla="*/ 1831 w 80747"/>
                    <a:gd name="connsiteY1721" fmla="*/ 39005 h 81173"/>
                    <a:gd name="connsiteX1722" fmla="*/ 2885 w 80747"/>
                    <a:gd name="connsiteY1722" fmla="*/ 38186 h 81173"/>
                    <a:gd name="connsiteX1723" fmla="*/ 5404 w 80747"/>
                    <a:gd name="connsiteY1723" fmla="*/ 38303 h 81173"/>
                    <a:gd name="connsiteX1724" fmla="*/ 6400 w 80747"/>
                    <a:gd name="connsiteY1724" fmla="*/ 39181 h 81173"/>
                    <a:gd name="connsiteX1725" fmla="*/ 5346 w 80747"/>
                    <a:gd name="connsiteY1725" fmla="*/ 40001 h 81173"/>
                    <a:gd name="connsiteX1726" fmla="*/ 2827 w 80747"/>
                    <a:gd name="connsiteY1726" fmla="*/ 39884 h 81173"/>
                    <a:gd name="connsiteX1727" fmla="*/ 1831 w 80747"/>
                    <a:gd name="connsiteY1727" fmla="*/ 39005 h 81173"/>
                    <a:gd name="connsiteX1728" fmla="*/ 1714 w 80747"/>
                    <a:gd name="connsiteY1728" fmla="*/ 39005 h 81173"/>
                    <a:gd name="connsiteX1729" fmla="*/ 1831 w 80747"/>
                    <a:gd name="connsiteY1729" fmla="*/ 39005 h 81173"/>
                    <a:gd name="connsiteX1730" fmla="*/ 1831 w 80747"/>
                    <a:gd name="connsiteY1730" fmla="*/ 41700 h 81173"/>
                    <a:gd name="connsiteX1731" fmla="*/ 2827 w 80747"/>
                    <a:gd name="connsiteY1731" fmla="*/ 40821 h 81173"/>
                    <a:gd name="connsiteX1732" fmla="*/ 5346 w 80747"/>
                    <a:gd name="connsiteY1732" fmla="*/ 40762 h 81173"/>
                    <a:gd name="connsiteX1733" fmla="*/ 6400 w 80747"/>
                    <a:gd name="connsiteY1733" fmla="*/ 41582 h 81173"/>
                    <a:gd name="connsiteX1734" fmla="*/ 5404 w 80747"/>
                    <a:gd name="connsiteY1734" fmla="*/ 42461 h 81173"/>
                    <a:gd name="connsiteX1735" fmla="*/ 2885 w 80747"/>
                    <a:gd name="connsiteY1735" fmla="*/ 42519 h 81173"/>
                    <a:gd name="connsiteX1736" fmla="*/ 1831 w 80747"/>
                    <a:gd name="connsiteY1736" fmla="*/ 41700 h 81173"/>
                    <a:gd name="connsiteX1737" fmla="*/ 1714 w 80747"/>
                    <a:gd name="connsiteY1737" fmla="*/ 41700 h 81173"/>
                    <a:gd name="connsiteX1738" fmla="*/ 1831 w 80747"/>
                    <a:gd name="connsiteY1738" fmla="*/ 41700 h 81173"/>
                    <a:gd name="connsiteX1739" fmla="*/ 2007 w 80747"/>
                    <a:gd name="connsiteY1739" fmla="*/ 44394 h 81173"/>
                    <a:gd name="connsiteX1740" fmla="*/ 2944 w 80747"/>
                    <a:gd name="connsiteY1740" fmla="*/ 43457 h 81173"/>
                    <a:gd name="connsiteX1741" fmla="*/ 5463 w 80747"/>
                    <a:gd name="connsiteY1741" fmla="*/ 43222 h 81173"/>
                    <a:gd name="connsiteX1742" fmla="*/ 6576 w 80747"/>
                    <a:gd name="connsiteY1742" fmla="*/ 43984 h 81173"/>
                    <a:gd name="connsiteX1743" fmla="*/ 5697 w 80747"/>
                    <a:gd name="connsiteY1743" fmla="*/ 44921 h 81173"/>
                    <a:gd name="connsiteX1744" fmla="*/ 3178 w 80747"/>
                    <a:gd name="connsiteY1744" fmla="*/ 45155 h 81173"/>
                    <a:gd name="connsiteX1745" fmla="*/ 2007 w 80747"/>
                    <a:gd name="connsiteY1745" fmla="*/ 44394 h 81173"/>
                    <a:gd name="connsiteX1746" fmla="*/ 1890 w 80747"/>
                    <a:gd name="connsiteY1746" fmla="*/ 44394 h 81173"/>
                    <a:gd name="connsiteX1747" fmla="*/ 2007 w 80747"/>
                    <a:gd name="connsiteY1747" fmla="*/ 44394 h 81173"/>
                    <a:gd name="connsiteX1748" fmla="*/ 2417 w 80747"/>
                    <a:gd name="connsiteY1748" fmla="*/ 47029 h 81173"/>
                    <a:gd name="connsiteX1749" fmla="*/ 3237 w 80747"/>
                    <a:gd name="connsiteY1749" fmla="*/ 46033 h 81173"/>
                    <a:gd name="connsiteX1750" fmla="*/ 5697 w 80747"/>
                    <a:gd name="connsiteY1750" fmla="*/ 45624 h 81173"/>
                    <a:gd name="connsiteX1751" fmla="*/ 6810 w 80747"/>
                    <a:gd name="connsiteY1751" fmla="*/ 46326 h 81173"/>
                    <a:gd name="connsiteX1752" fmla="*/ 5990 w 80747"/>
                    <a:gd name="connsiteY1752" fmla="*/ 47322 h 81173"/>
                    <a:gd name="connsiteX1753" fmla="*/ 3530 w 80747"/>
                    <a:gd name="connsiteY1753" fmla="*/ 47732 h 81173"/>
                    <a:gd name="connsiteX1754" fmla="*/ 2417 w 80747"/>
                    <a:gd name="connsiteY1754" fmla="*/ 47029 h 81173"/>
                    <a:gd name="connsiteX1755" fmla="*/ 2300 w 80747"/>
                    <a:gd name="connsiteY1755" fmla="*/ 47029 h 81173"/>
                    <a:gd name="connsiteX1756" fmla="*/ 2417 w 80747"/>
                    <a:gd name="connsiteY1756" fmla="*/ 47029 h 81173"/>
                    <a:gd name="connsiteX1757" fmla="*/ 2944 w 80747"/>
                    <a:gd name="connsiteY1757" fmla="*/ 49665 h 81173"/>
                    <a:gd name="connsiteX1758" fmla="*/ 3706 w 80747"/>
                    <a:gd name="connsiteY1758" fmla="*/ 48610 h 81173"/>
                    <a:gd name="connsiteX1759" fmla="*/ 6166 w 80747"/>
                    <a:gd name="connsiteY1759" fmla="*/ 48025 h 81173"/>
                    <a:gd name="connsiteX1760" fmla="*/ 7337 w 80747"/>
                    <a:gd name="connsiteY1760" fmla="*/ 48610 h 81173"/>
                    <a:gd name="connsiteX1761" fmla="*/ 6576 w 80747"/>
                    <a:gd name="connsiteY1761" fmla="*/ 49665 h 81173"/>
                    <a:gd name="connsiteX1762" fmla="*/ 4116 w 80747"/>
                    <a:gd name="connsiteY1762" fmla="*/ 50250 h 81173"/>
                    <a:gd name="connsiteX1763" fmla="*/ 2944 w 80747"/>
                    <a:gd name="connsiteY1763" fmla="*/ 49665 h 81173"/>
                    <a:gd name="connsiteX1764" fmla="*/ 2827 w 80747"/>
                    <a:gd name="connsiteY1764" fmla="*/ 49723 h 81173"/>
                    <a:gd name="connsiteX1765" fmla="*/ 2944 w 80747"/>
                    <a:gd name="connsiteY1765" fmla="*/ 49665 h 81173"/>
                    <a:gd name="connsiteX1766" fmla="*/ 3706 w 80747"/>
                    <a:gd name="connsiteY1766" fmla="*/ 52242 h 81173"/>
                    <a:gd name="connsiteX1767" fmla="*/ 4408 w 80747"/>
                    <a:gd name="connsiteY1767" fmla="*/ 51129 h 81173"/>
                    <a:gd name="connsiteX1768" fmla="*/ 6810 w 80747"/>
                    <a:gd name="connsiteY1768" fmla="*/ 50367 h 81173"/>
                    <a:gd name="connsiteX1769" fmla="*/ 8040 w 80747"/>
                    <a:gd name="connsiteY1769" fmla="*/ 50895 h 81173"/>
                    <a:gd name="connsiteX1770" fmla="*/ 7337 w 80747"/>
                    <a:gd name="connsiteY1770" fmla="*/ 52007 h 81173"/>
                    <a:gd name="connsiteX1771" fmla="*/ 4936 w 80747"/>
                    <a:gd name="connsiteY1771" fmla="*/ 52769 h 81173"/>
                    <a:gd name="connsiteX1772" fmla="*/ 3706 w 80747"/>
                    <a:gd name="connsiteY1772" fmla="*/ 52242 h 81173"/>
                    <a:gd name="connsiteX1773" fmla="*/ 3588 w 80747"/>
                    <a:gd name="connsiteY1773" fmla="*/ 52300 h 81173"/>
                    <a:gd name="connsiteX1774" fmla="*/ 3706 w 80747"/>
                    <a:gd name="connsiteY1774" fmla="*/ 52242 h 81173"/>
                    <a:gd name="connsiteX1775" fmla="*/ 4584 w 80747"/>
                    <a:gd name="connsiteY1775" fmla="*/ 54760 h 81173"/>
                    <a:gd name="connsiteX1776" fmla="*/ 5170 w 80747"/>
                    <a:gd name="connsiteY1776" fmla="*/ 53589 h 81173"/>
                    <a:gd name="connsiteX1777" fmla="*/ 7513 w 80747"/>
                    <a:gd name="connsiteY1777" fmla="*/ 52652 h 81173"/>
                    <a:gd name="connsiteX1778" fmla="*/ 8743 w 80747"/>
                    <a:gd name="connsiteY1778" fmla="*/ 53061 h 81173"/>
                    <a:gd name="connsiteX1779" fmla="*/ 8157 w 80747"/>
                    <a:gd name="connsiteY1779" fmla="*/ 54233 h 81173"/>
                    <a:gd name="connsiteX1780" fmla="*/ 5814 w 80747"/>
                    <a:gd name="connsiteY1780" fmla="*/ 55170 h 81173"/>
                    <a:gd name="connsiteX1781" fmla="*/ 4584 w 80747"/>
                    <a:gd name="connsiteY1781" fmla="*/ 54760 h 81173"/>
                    <a:gd name="connsiteX1782" fmla="*/ 4467 w 80747"/>
                    <a:gd name="connsiteY1782" fmla="*/ 54818 h 81173"/>
                    <a:gd name="connsiteX1783" fmla="*/ 4584 w 80747"/>
                    <a:gd name="connsiteY1783" fmla="*/ 54760 h 81173"/>
                    <a:gd name="connsiteX1784" fmla="*/ 5697 w 80747"/>
                    <a:gd name="connsiteY1784" fmla="*/ 57220 h 81173"/>
                    <a:gd name="connsiteX1785" fmla="*/ 6224 w 80747"/>
                    <a:gd name="connsiteY1785" fmla="*/ 55990 h 81173"/>
                    <a:gd name="connsiteX1786" fmla="*/ 8509 w 80747"/>
                    <a:gd name="connsiteY1786" fmla="*/ 54877 h 81173"/>
                    <a:gd name="connsiteX1787" fmla="*/ 9797 w 80747"/>
                    <a:gd name="connsiteY1787" fmla="*/ 55228 h 81173"/>
                    <a:gd name="connsiteX1788" fmla="*/ 9270 w 80747"/>
                    <a:gd name="connsiteY1788" fmla="*/ 56458 h 81173"/>
                    <a:gd name="connsiteX1789" fmla="*/ 6986 w 80747"/>
                    <a:gd name="connsiteY1789" fmla="*/ 57571 h 81173"/>
                    <a:gd name="connsiteX1790" fmla="*/ 5697 w 80747"/>
                    <a:gd name="connsiteY1790" fmla="*/ 57220 h 81173"/>
                    <a:gd name="connsiteX1791" fmla="*/ 5580 w 80747"/>
                    <a:gd name="connsiteY1791" fmla="*/ 57278 h 81173"/>
                    <a:gd name="connsiteX1792" fmla="*/ 5697 w 80747"/>
                    <a:gd name="connsiteY1792" fmla="*/ 57220 h 81173"/>
                    <a:gd name="connsiteX1793" fmla="*/ 6810 w 80747"/>
                    <a:gd name="connsiteY1793" fmla="*/ 59680 h 81173"/>
                    <a:gd name="connsiteX1794" fmla="*/ 6927 w 80747"/>
                    <a:gd name="connsiteY1794" fmla="*/ 59621 h 81173"/>
                    <a:gd name="connsiteX1795" fmla="*/ 7396 w 80747"/>
                    <a:gd name="connsiteY1795" fmla="*/ 58391 h 81173"/>
                    <a:gd name="connsiteX1796" fmla="*/ 9563 w 80747"/>
                    <a:gd name="connsiteY1796" fmla="*/ 57161 h 81173"/>
                    <a:gd name="connsiteX1797" fmla="*/ 10852 w 80747"/>
                    <a:gd name="connsiteY1797" fmla="*/ 57395 h 81173"/>
                    <a:gd name="connsiteX1798" fmla="*/ 10383 w 80747"/>
                    <a:gd name="connsiteY1798" fmla="*/ 58625 h 81173"/>
                    <a:gd name="connsiteX1799" fmla="*/ 8216 w 80747"/>
                    <a:gd name="connsiteY1799" fmla="*/ 59855 h 81173"/>
                    <a:gd name="connsiteX1800" fmla="*/ 6927 w 80747"/>
                    <a:gd name="connsiteY1800" fmla="*/ 59621 h 81173"/>
                    <a:gd name="connsiteX1801" fmla="*/ 6810 w 80747"/>
                    <a:gd name="connsiteY1801" fmla="*/ 59680 h 81173"/>
                    <a:gd name="connsiteX1802" fmla="*/ 8333 w 80747"/>
                    <a:gd name="connsiteY1802" fmla="*/ 61905 h 81173"/>
                    <a:gd name="connsiteX1803" fmla="*/ 8216 w 80747"/>
                    <a:gd name="connsiteY1803" fmla="*/ 61964 h 81173"/>
                    <a:gd name="connsiteX1804" fmla="*/ 8333 w 80747"/>
                    <a:gd name="connsiteY1804" fmla="*/ 61905 h 81173"/>
                    <a:gd name="connsiteX1805" fmla="*/ 8684 w 80747"/>
                    <a:gd name="connsiteY1805" fmla="*/ 60617 h 81173"/>
                    <a:gd name="connsiteX1806" fmla="*/ 10793 w 80747"/>
                    <a:gd name="connsiteY1806" fmla="*/ 59211 h 81173"/>
                    <a:gd name="connsiteX1807" fmla="*/ 12082 w 80747"/>
                    <a:gd name="connsiteY1807" fmla="*/ 59387 h 81173"/>
                    <a:gd name="connsiteX1808" fmla="*/ 11730 w 80747"/>
                    <a:gd name="connsiteY1808" fmla="*/ 60675 h 81173"/>
                    <a:gd name="connsiteX1809" fmla="*/ 9622 w 80747"/>
                    <a:gd name="connsiteY1809" fmla="*/ 62081 h 81173"/>
                    <a:gd name="connsiteX1810" fmla="*/ 8333 w 80747"/>
                    <a:gd name="connsiteY1810" fmla="*/ 61905 h 81173"/>
                    <a:gd name="connsiteX1811" fmla="*/ 9915 w 80747"/>
                    <a:gd name="connsiteY1811" fmla="*/ 64072 h 81173"/>
                    <a:gd name="connsiteX1812" fmla="*/ 9797 w 80747"/>
                    <a:gd name="connsiteY1812" fmla="*/ 64131 h 81173"/>
                    <a:gd name="connsiteX1813" fmla="*/ 9915 w 80747"/>
                    <a:gd name="connsiteY1813" fmla="*/ 64072 h 81173"/>
                    <a:gd name="connsiteX1814" fmla="*/ 10149 w 80747"/>
                    <a:gd name="connsiteY1814" fmla="*/ 62784 h 81173"/>
                    <a:gd name="connsiteX1815" fmla="*/ 12140 w 80747"/>
                    <a:gd name="connsiteY1815" fmla="*/ 61261 h 81173"/>
                    <a:gd name="connsiteX1816" fmla="*/ 13488 w 80747"/>
                    <a:gd name="connsiteY1816" fmla="*/ 61319 h 81173"/>
                    <a:gd name="connsiteX1817" fmla="*/ 13195 w 80747"/>
                    <a:gd name="connsiteY1817" fmla="*/ 62608 h 81173"/>
                    <a:gd name="connsiteX1818" fmla="*/ 11203 w 80747"/>
                    <a:gd name="connsiteY1818" fmla="*/ 64131 h 81173"/>
                    <a:gd name="connsiteX1819" fmla="*/ 9915 w 80747"/>
                    <a:gd name="connsiteY1819" fmla="*/ 64072 h 81173"/>
                    <a:gd name="connsiteX1820" fmla="*/ 11613 w 80747"/>
                    <a:gd name="connsiteY1820" fmla="*/ 66180 h 81173"/>
                    <a:gd name="connsiteX1821" fmla="*/ 11496 w 80747"/>
                    <a:gd name="connsiteY1821" fmla="*/ 66239 h 81173"/>
                    <a:gd name="connsiteX1822" fmla="*/ 11613 w 80747"/>
                    <a:gd name="connsiteY1822" fmla="*/ 66180 h 81173"/>
                    <a:gd name="connsiteX1823" fmla="*/ 11789 w 80747"/>
                    <a:gd name="connsiteY1823" fmla="*/ 64892 h 81173"/>
                    <a:gd name="connsiteX1824" fmla="*/ 13663 w 80747"/>
                    <a:gd name="connsiteY1824" fmla="*/ 63194 h 81173"/>
                    <a:gd name="connsiteX1825" fmla="*/ 15011 w 80747"/>
                    <a:gd name="connsiteY1825" fmla="*/ 63194 h 81173"/>
                    <a:gd name="connsiteX1826" fmla="*/ 14835 w 80747"/>
                    <a:gd name="connsiteY1826" fmla="*/ 64482 h 81173"/>
                    <a:gd name="connsiteX1827" fmla="*/ 12960 w 80747"/>
                    <a:gd name="connsiteY1827" fmla="*/ 66180 h 81173"/>
                    <a:gd name="connsiteX1828" fmla="*/ 11613 w 80747"/>
                    <a:gd name="connsiteY1828" fmla="*/ 66180 h 81173"/>
                    <a:gd name="connsiteX1829" fmla="*/ 13488 w 80747"/>
                    <a:gd name="connsiteY1829" fmla="*/ 68113 h 81173"/>
                    <a:gd name="connsiteX1830" fmla="*/ 13371 w 80747"/>
                    <a:gd name="connsiteY1830" fmla="*/ 68230 h 81173"/>
                    <a:gd name="connsiteX1831" fmla="*/ 13488 w 80747"/>
                    <a:gd name="connsiteY1831" fmla="*/ 68113 h 81173"/>
                    <a:gd name="connsiteX1832" fmla="*/ 13546 w 80747"/>
                    <a:gd name="connsiteY1832" fmla="*/ 66766 h 81173"/>
                    <a:gd name="connsiteX1833" fmla="*/ 15303 w 80747"/>
                    <a:gd name="connsiteY1833" fmla="*/ 64951 h 81173"/>
                    <a:gd name="connsiteX1834" fmla="*/ 16592 w 80747"/>
                    <a:gd name="connsiteY1834" fmla="*/ 64833 h 81173"/>
                    <a:gd name="connsiteX1835" fmla="*/ 16534 w 80747"/>
                    <a:gd name="connsiteY1835" fmla="*/ 66122 h 81173"/>
                    <a:gd name="connsiteX1836" fmla="*/ 14776 w 80747"/>
                    <a:gd name="connsiteY1836" fmla="*/ 67937 h 81173"/>
                    <a:gd name="connsiteX1837" fmla="*/ 13488 w 80747"/>
                    <a:gd name="connsiteY1837" fmla="*/ 68113 h 81173"/>
                    <a:gd name="connsiteX1838" fmla="*/ 15479 w 80747"/>
                    <a:gd name="connsiteY1838" fmla="*/ 69929 h 81173"/>
                    <a:gd name="connsiteX1839" fmla="*/ 15362 w 80747"/>
                    <a:gd name="connsiteY1839" fmla="*/ 70046 h 81173"/>
                    <a:gd name="connsiteX1840" fmla="*/ 15479 w 80747"/>
                    <a:gd name="connsiteY1840" fmla="*/ 69929 h 81173"/>
                    <a:gd name="connsiteX1841" fmla="*/ 15479 w 80747"/>
                    <a:gd name="connsiteY1841" fmla="*/ 68582 h 81173"/>
                    <a:gd name="connsiteX1842" fmla="*/ 17119 w 80747"/>
                    <a:gd name="connsiteY1842" fmla="*/ 66649 h 81173"/>
                    <a:gd name="connsiteX1843" fmla="*/ 18408 w 80747"/>
                    <a:gd name="connsiteY1843" fmla="*/ 66415 h 81173"/>
                    <a:gd name="connsiteX1844" fmla="*/ 18408 w 80747"/>
                    <a:gd name="connsiteY1844" fmla="*/ 67762 h 81173"/>
                    <a:gd name="connsiteX1845" fmla="*/ 16768 w 80747"/>
                    <a:gd name="connsiteY1845" fmla="*/ 69694 h 81173"/>
                    <a:gd name="connsiteX1846" fmla="*/ 15479 w 80747"/>
                    <a:gd name="connsiteY1846" fmla="*/ 69929 h 81173"/>
                    <a:gd name="connsiteX1847" fmla="*/ 17588 w 80747"/>
                    <a:gd name="connsiteY1847" fmla="*/ 71569 h 81173"/>
                    <a:gd name="connsiteX1848" fmla="*/ 17529 w 80747"/>
                    <a:gd name="connsiteY1848" fmla="*/ 71686 h 81173"/>
                    <a:gd name="connsiteX1849" fmla="*/ 17588 w 80747"/>
                    <a:gd name="connsiteY1849" fmla="*/ 71569 h 81173"/>
                    <a:gd name="connsiteX1850" fmla="*/ 17471 w 80747"/>
                    <a:gd name="connsiteY1850" fmla="*/ 70222 h 81173"/>
                    <a:gd name="connsiteX1851" fmla="*/ 18935 w 80747"/>
                    <a:gd name="connsiteY1851" fmla="*/ 68172 h 81173"/>
                    <a:gd name="connsiteX1852" fmla="*/ 20224 w 80747"/>
                    <a:gd name="connsiteY1852" fmla="*/ 67879 h 81173"/>
                    <a:gd name="connsiteX1853" fmla="*/ 20341 w 80747"/>
                    <a:gd name="connsiteY1853" fmla="*/ 69167 h 81173"/>
                    <a:gd name="connsiteX1854" fmla="*/ 18877 w 80747"/>
                    <a:gd name="connsiteY1854" fmla="*/ 71217 h 81173"/>
                    <a:gd name="connsiteX1855" fmla="*/ 17588 w 80747"/>
                    <a:gd name="connsiteY1855" fmla="*/ 71569 h 81173"/>
                    <a:gd name="connsiteX1856" fmla="*/ 19814 w 80747"/>
                    <a:gd name="connsiteY1856" fmla="*/ 73091 h 81173"/>
                    <a:gd name="connsiteX1857" fmla="*/ 19755 w 80747"/>
                    <a:gd name="connsiteY1857" fmla="*/ 73208 h 81173"/>
                    <a:gd name="connsiteX1858" fmla="*/ 19814 w 80747"/>
                    <a:gd name="connsiteY1858" fmla="*/ 73091 h 81173"/>
                    <a:gd name="connsiteX1859" fmla="*/ 19638 w 80747"/>
                    <a:gd name="connsiteY1859" fmla="*/ 71803 h 81173"/>
                    <a:gd name="connsiteX1860" fmla="*/ 20985 w 80747"/>
                    <a:gd name="connsiteY1860" fmla="*/ 69694 h 81173"/>
                    <a:gd name="connsiteX1861" fmla="*/ 22274 w 80747"/>
                    <a:gd name="connsiteY1861" fmla="*/ 69285 h 81173"/>
                    <a:gd name="connsiteX1862" fmla="*/ 22450 w 80747"/>
                    <a:gd name="connsiteY1862" fmla="*/ 70573 h 81173"/>
                    <a:gd name="connsiteX1863" fmla="*/ 21102 w 80747"/>
                    <a:gd name="connsiteY1863" fmla="*/ 72681 h 81173"/>
                    <a:gd name="connsiteX1864" fmla="*/ 19814 w 80747"/>
                    <a:gd name="connsiteY1864" fmla="*/ 73091 h 81173"/>
                    <a:gd name="connsiteX1865" fmla="*/ 22098 w 80747"/>
                    <a:gd name="connsiteY1865" fmla="*/ 74438 h 81173"/>
                    <a:gd name="connsiteX1866" fmla="*/ 22040 w 80747"/>
                    <a:gd name="connsiteY1866" fmla="*/ 74556 h 81173"/>
                    <a:gd name="connsiteX1867" fmla="*/ 22098 w 80747"/>
                    <a:gd name="connsiteY1867" fmla="*/ 74438 h 81173"/>
                    <a:gd name="connsiteX1868" fmla="*/ 21805 w 80747"/>
                    <a:gd name="connsiteY1868" fmla="*/ 73150 h 81173"/>
                    <a:gd name="connsiteX1869" fmla="*/ 22977 w 80747"/>
                    <a:gd name="connsiteY1869" fmla="*/ 70924 h 81173"/>
                    <a:gd name="connsiteX1870" fmla="*/ 24207 w 80747"/>
                    <a:gd name="connsiteY1870" fmla="*/ 70456 h 81173"/>
                    <a:gd name="connsiteX1871" fmla="*/ 24500 w 80747"/>
                    <a:gd name="connsiteY1871" fmla="*/ 71744 h 81173"/>
                    <a:gd name="connsiteX1872" fmla="*/ 23328 w 80747"/>
                    <a:gd name="connsiteY1872" fmla="*/ 73970 h 81173"/>
                    <a:gd name="connsiteX1873" fmla="*/ 22098 w 80747"/>
                    <a:gd name="connsiteY1873" fmla="*/ 74438 h 81173"/>
                    <a:gd name="connsiteX1874" fmla="*/ 25730 w 80747"/>
                    <a:gd name="connsiteY1874" fmla="*/ 75083 h 81173"/>
                    <a:gd name="connsiteX1875" fmla="*/ 24558 w 80747"/>
                    <a:gd name="connsiteY1875" fmla="*/ 75668 h 81173"/>
                    <a:gd name="connsiteX1876" fmla="*/ 24500 w 80747"/>
                    <a:gd name="connsiteY1876" fmla="*/ 75785 h 81173"/>
                    <a:gd name="connsiteX1877" fmla="*/ 24558 w 80747"/>
                    <a:gd name="connsiteY1877" fmla="*/ 75668 h 81173"/>
                    <a:gd name="connsiteX1878" fmla="*/ 24207 w 80747"/>
                    <a:gd name="connsiteY1878" fmla="*/ 74380 h 81173"/>
                    <a:gd name="connsiteX1879" fmla="*/ 25203 w 80747"/>
                    <a:gd name="connsiteY1879" fmla="*/ 72096 h 81173"/>
                    <a:gd name="connsiteX1880" fmla="*/ 26374 w 80747"/>
                    <a:gd name="connsiteY1880" fmla="*/ 71510 h 81173"/>
                    <a:gd name="connsiteX1881" fmla="*/ 26726 w 80747"/>
                    <a:gd name="connsiteY1881" fmla="*/ 72799 h 81173"/>
                    <a:gd name="connsiteX1882" fmla="*/ 25730 w 80747"/>
                    <a:gd name="connsiteY1882" fmla="*/ 75083 h 81173"/>
                    <a:gd name="connsiteX1883" fmla="*/ 28132 w 80747"/>
                    <a:gd name="connsiteY1883" fmla="*/ 76020 h 81173"/>
                    <a:gd name="connsiteX1884" fmla="*/ 26960 w 80747"/>
                    <a:gd name="connsiteY1884" fmla="*/ 76664 h 81173"/>
                    <a:gd name="connsiteX1885" fmla="*/ 26901 w 80747"/>
                    <a:gd name="connsiteY1885" fmla="*/ 76781 h 81173"/>
                    <a:gd name="connsiteX1886" fmla="*/ 26960 w 80747"/>
                    <a:gd name="connsiteY1886" fmla="*/ 76664 h 81173"/>
                    <a:gd name="connsiteX1887" fmla="*/ 26491 w 80747"/>
                    <a:gd name="connsiteY1887" fmla="*/ 75434 h 81173"/>
                    <a:gd name="connsiteX1888" fmla="*/ 27370 w 80747"/>
                    <a:gd name="connsiteY1888" fmla="*/ 73091 h 81173"/>
                    <a:gd name="connsiteX1889" fmla="*/ 28542 w 80747"/>
                    <a:gd name="connsiteY1889" fmla="*/ 72447 h 81173"/>
                    <a:gd name="connsiteX1890" fmla="*/ 29010 w 80747"/>
                    <a:gd name="connsiteY1890" fmla="*/ 73677 h 81173"/>
                    <a:gd name="connsiteX1891" fmla="*/ 28132 w 80747"/>
                    <a:gd name="connsiteY1891" fmla="*/ 76020 h 81173"/>
                    <a:gd name="connsiteX1892" fmla="*/ 29537 w 80747"/>
                    <a:gd name="connsiteY1892" fmla="*/ 77542 h 81173"/>
                    <a:gd name="connsiteX1893" fmla="*/ 29479 w 80747"/>
                    <a:gd name="connsiteY1893" fmla="*/ 77660 h 81173"/>
                    <a:gd name="connsiteX1894" fmla="*/ 29537 w 80747"/>
                    <a:gd name="connsiteY1894" fmla="*/ 77542 h 81173"/>
                    <a:gd name="connsiteX1895" fmla="*/ 29010 w 80747"/>
                    <a:gd name="connsiteY1895" fmla="*/ 76313 h 81173"/>
                    <a:gd name="connsiteX1896" fmla="*/ 29713 w 80747"/>
                    <a:gd name="connsiteY1896" fmla="*/ 73911 h 81173"/>
                    <a:gd name="connsiteX1897" fmla="*/ 30826 w 80747"/>
                    <a:gd name="connsiteY1897" fmla="*/ 73208 h 81173"/>
                    <a:gd name="connsiteX1898" fmla="*/ 31353 w 80747"/>
                    <a:gd name="connsiteY1898" fmla="*/ 74438 h 81173"/>
                    <a:gd name="connsiteX1899" fmla="*/ 30650 w 80747"/>
                    <a:gd name="connsiteY1899" fmla="*/ 76840 h 81173"/>
                    <a:gd name="connsiteX1900" fmla="*/ 29537 w 80747"/>
                    <a:gd name="connsiteY1900" fmla="*/ 77542 h 81173"/>
                    <a:gd name="connsiteX1901" fmla="*/ 32115 w 80747"/>
                    <a:gd name="connsiteY1901" fmla="*/ 78187 h 81173"/>
                    <a:gd name="connsiteX1902" fmla="*/ 32056 w 80747"/>
                    <a:gd name="connsiteY1902" fmla="*/ 78304 h 81173"/>
                    <a:gd name="connsiteX1903" fmla="*/ 32115 w 80747"/>
                    <a:gd name="connsiteY1903" fmla="*/ 78187 h 81173"/>
                    <a:gd name="connsiteX1904" fmla="*/ 31470 w 80747"/>
                    <a:gd name="connsiteY1904" fmla="*/ 77015 h 81173"/>
                    <a:gd name="connsiteX1905" fmla="*/ 31998 w 80747"/>
                    <a:gd name="connsiteY1905" fmla="*/ 74556 h 81173"/>
                    <a:gd name="connsiteX1906" fmla="*/ 33052 w 80747"/>
                    <a:gd name="connsiteY1906" fmla="*/ 73736 h 81173"/>
                    <a:gd name="connsiteX1907" fmla="*/ 33696 w 80747"/>
                    <a:gd name="connsiteY1907" fmla="*/ 74907 h 81173"/>
                    <a:gd name="connsiteX1908" fmla="*/ 33169 w 80747"/>
                    <a:gd name="connsiteY1908" fmla="*/ 77367 h 81173"/>
                    <a:gd name="connsiteX1909" fmla="*/ 32115 w 80747"/>
                    <a:gd name="connsiteY1909" fmla="*/ 78187 h 81173"/>
                    <a:gd name="connsiteX1910" fmla="*/ 34751 w 80747"/>
                    <a:gd name="connsiteY1910" fmla="*/ 78655 h 81173"/>
                    <a:gd name="connsiteX1911" fmla="*/ 34751 w 80747"/>
                    <a:gd name="connsiteY1911" fmla="*/ 78772 h 81173"/>
                    <a:gd name="connsiteX1912" fmla="*/ 34751 w 80747"/>
                    <a:gd name="connsiteY1912" fmla="*/ 78655 h 81173"/>
                    <a:gd name="connsiteX1913" fmla="*/ 34048 w 80747"/>
                    <a:gd name="connsiteY1913" fmla="*/ 77542 h 81173"/>
                    <a:gd name="connsiteX1914" fmla="*/ 34399 w 80747"/>
                    <a:gd name="connsiteY1914" fmla="*/ 75024 h 81173"/>
                    <a:gd name="connsiteX1915" fmla="*/ 35395 w 80747"/>
                    <a:gd name="connsiteY1915" fmla="*/ 74146 h 81173"/>
                    <a:gd name="connsiteX1916" fmla="*/ 36098 w 80747"/>
                    <a:gd name="connsiteY1916" fmla="*/ 75258 h 81173"/>
                    <a:gd name="connsiteX1917" fmla="*/ 35746 w 80747"/>
                    <a:gd name="connsiteY1917" fmla="*/ 77777 h 81173"/>
                    <a:gd name="connsiteX1918" fmla="*/ 34751 w 80747"/>
                    <a:gd name="connsiteY1918" fmla="*/ 78655 h 81173"/>
                    <a:gd name="connsiteX1919" fmla="*/ 38382 w 80747"/>
                    <a:gd name="connsiteY1919" fmla="*/ 78011 h 81173"/>
                    <a:gd name="connsiteX1920" fmla="*/ 37445 w 80747"/>
                    <a:gd name="connsiteY1920" fmla="*/ 78948 h 81173"/>
                    <a:gd name="connsiteX1921" fmla="*/ 37445 w 80747"/>
                    <a:gd name="connsiteY1921" fmla="*/ 79065 h 81173"/>
                    <a:gd name="connsiteX1922" fmla="*/ 37445 w 80747"/>
                    <a:gd name="connsiteY1922" fmla="*/ 78948 h 81173"/>
                    <a:gd name="connsiteX1923" fmla="*/ 36684 w 80747"/>
                    <a:gd name="connsiteY1923" fmla="*/ 77894 h 81173"/>
                    <a:gd name="connsiteX1924" fmla="*/ 36859 w 80747"/>
                    <a:gd name="connsiteY1924" fmla="*/ 75375 h 81173"/>
                    <a:gd name="connsiteX1925" fmla="*/ 37797 w 80747"/>
                    <a:gd name="connsiteY1925" fmla="*/ 74438 h 81173"/>
                    <a:gd name="connsiteX1926" fmla="*/ 38558 w 80747"/>
                    <a:gd name="connsiteY1926" fmla="*/ 75493 h 81173"/>
                    <a:gd name="connsiteX1927" fmla="*/ 38382 w 80747"/>
                    <a:gd name="connsiteY1927" fmla="*/ 78011 h 81173"/>
                    <a:gd name="connsiteX1928" fmla="*/ 40960 w 80747"/>
                    <a:gd name="connsiteY1928" fmla="*/ 78070 h 81173"/>
                    <a:gd name="connsiteX1929" fmla="*/ 40081 w 80747"/>
                    <a:gd name="connsiteY1929" fmla="*/ 79065 h 81173"/>
                    <a:gd name="connsiteX1930" fmla="*/ 40081 w 80747"/>
                    <a:gd name="connsiteY1930" fmla="*/ 79182 h 81173"/>
                    <a:gd name="connsiteX1931" fmla="*/ 40081 w 80747"/>
                    <a:gd name="connsiteY1931" fmla="*/ 79065 h 81173"/>
                    <a:gd name="connsiteX1932" fmla="*/ 39261 w 80747"/>
                    <a:gd name="connsiteY1932" fmla="*/ 78070 h 81173"/>
                    <a:gd name="connsiteX1933" fmla="*/ 39261 w 80747"/>
                    <a:gd name="connsiteY1933" fmla="*/ 75551 h 81173"/>
                    <a:gd name="connsiteX1934" fmla="*/ 40140 w 80747"/>
                    <a:gd name="connsiteY1934" fmla="*/ 74556 h 81173"/>
                    <a:gd name="connsiteX1935" fmla="*/ 41018 w 80747"/>
                    <a:gd name="connsiteY1935" fmla="*/ 75551 h 81173"/>
                    <a:gd name="connsiteX1936" fmla="*/ 40960 w 80747"/>
                    <a:gd name="connsiteY1936" fmla="*/ 78070 h 81173"/>
                    <a:gd name="connsiteX1937" fmla="*/ 43537 w 80747"/>
                    <a:gd name="connsiteY1937" fmla="*/ 77952 h 81173"/>
                    <a:gd name="connsiteX1938" fmla="*/ 42775 w 80747"/>
                    <a:gd name="connsiteY1938" fmla="*/ 79007 h 81173"/>
                    <a:gd name="connsiteX1939" fmla="*/ 42775 w 80747"/>
                    <a:gd name="connsiteY1939" fmla="*/ 79124 h 81173"/>
                    <a:gd name="connsiteX1940" fmla="*/ 42775 w 80747"/>
                    <a:gd name="connsiteY1940" fmla="*/ 79007 h 81173"/>
                    <a:gd name="connsiteX1941" fmla="*/ 41838 w 80747"/>
                    <a:gd name="connsiteY1941" fmla="*/ 78070 h 81173"/>
                    <a:gd name="connsiteX1942" fmla="*/ 41662 w 80747"/>
                    <a:gd name="connsiteY1942" fmla="*/ 75551 h 81173"/>
                    <a:gd name="connsiteX1943" fmla="*/ 42424 w 80747"/>
                    <a:gd name="connsiteY1943" fmla="*/ 74497 h 81173"/>
                    <a:gd name="connsiteX1944" fmla="*/ 43361 w 80747"/>
                    <a:gd name="connsiteY1944" fmla="*/ 75434 h 81173"/>
                    <a:gd name="connsiteX1945" fmla="*/ 43537 w 80747"/>
                    <a:gd name="connsiteY1945" fmla="*/ 77952 h 81173"/>
                    <a:gd name="connsiteX1946" fmla="*/ 45411 w 80747"/>
                    <a:gd name="connsiteY1946" fmla="*/ 78714 h 81173"/>
                    <a:gd name="connsiteX1947" fmla="*/ 45411 w 80747"/>
                    <a:gd name="connsiteY1947" fmla="*/ 78831 h 81173"/>
                    <a:gd name="connsiteX1948" fmla="*/ 45411 w 80747"/>
                    <a:gd name="connsiteY1948" fmla="*/ 78714 h 81173"/>
                    <a:gd name="connsiteX1949" fmla="*/ 44416 w 80747"/>
                    <a:gd name="connsiteY1949" fmla="*/ 77835 h 81173"/>
                    <a:gd name="connsiteX1950" fmla="*/ 44064 w 80747"/>
                    <a:gd name="connsiteY1950" fmla="*/ 75317 h 81173"/>
                    <a:gd name="connsiteX1951" fmla="*/ 44767 w 80747"/>
                    <a:gd name="connsiteY1951" fmla="*/ 74204 h 81173"/>
                    <a:gd name="connsiteX1952" fmla="*/ 45763 w 80747"/>
                    <a:gd name="connsiteY1952" fmla="*/ 75083 h 81173"/>
                    <a:gd name="connsiteX1953" fmla="*/ 46114 w 80747"/>
                    <a:gd name="connsiteY1953" fmla="*/ 77601 h 81173"/>
                    <a:gd name="connsiteX1954" fmla="*/ 45411 w 80747"/>
                    <a:gd name="connsiteY1954" fmla="*/ 78714 h 81173"/>
                    <a:gd name="connsiteX1955" fmla="*/ 48164 w 80747"/>
                    <a:gd name="connsiteY1955" fmla="*/ 74673 h 81173"/>
                    <a:gd name="connsiteX1956" fmla="*/ 48692 w 80747"/>
                    <a:gd name="connsiteY1956" fmla="*/ 77132 h 81173"/>
                    <a:gd name="connsiteX1957" fmla="*/ 48047 w 80747"/>
                    <a:gd name="connsiteY1957" fmla="*/ 78304 h 81173"/>
                    <a:gd name="connsiteX1958" fmla="*/ 48047 w 80747"/>
                    <a:gd name="connsiteY1958" fmla="*/ 78421 h 81173"/>
                    <a:gd name="connsiteX1959" fmla="*/ 48047 w 80747"/>
                    <a:gd name="connsiteY1959" fmla="*/ 78304 h 81173"/>
                    <a:gd name="connsiteX1960" fmla="*/ 46993 w 80747"/>
                    <a:gd name="connsiteY1960" fmla="*/ 77484 h 81173"/>
                    <a:gd name="connsiteX1961" fmla="*/ 46466 w 80747"/>
                    <a:gd name="connsiteY1961" fmla="*/ 75024 h 81173"/>
                    <a:gd name="connsiteX1962" fmla="*/ 47110 w 80747"/>
                    <a:gd name="connsiteY1962" fmla="*/ 73853 h 81173"/>
                    <a:gd name="connsiteX1963" fmla="*/ 48164 w 80747"/>
                    <a:gd name="connsiteY1963" fmla="*/ 74673 h 81173"/>
                    <a:gd name="connsiteX1964" fmla="*/ 50507 w 80747"/>
                    <a:gd name="connsiteY1964" fmla="*/ 74028 h 81173"/>
                    <a:gd name="connsiteX1965" fmla="*/ 51210 w 80747"/>
                    <a:gd name="connsiteY1965" fmla="*/ 76488 h 81173"/>
                    <a:gd name="connsiteX1966" fmla="*/ 50683 w 80747"/>
                    <a:gd name="connsiteY1966" fmla="*/ 77660 h 81173"/>
                    <a:gd name="connsiteX1967" fmla="*/ 50683 w 80747"/>
                    <a:gd name="connsiteY1967" fmla="*/ 77777 h 81173"/>
                    <a:gd name="connsiteX1968" fmla="*/ 50625 w 80747"/>
                    <a:gd name="connsiteY1968" fmla="*/ 77660 h 81173"/>
                    <a:gd name="connsiteX1969" fmla="*/ 49512 w 80747"/>
                    <a:gd name="connsiteY1969" fmla="*/ 76898 h 81173"/>
                    <a:gd name="connsiteX1970" fmla="*/ 48809 w 80747"/>
                    <a:gd name="connsiteY1970" fmla="*/ 74438 h 81173"/>
                    <a:gd name="connsiteX1971" fmla="*/ 49336 w 80747"/>
                    <a:gd name="connsiteY1971" fmla="*/ 73267 h 81173"/>
                    <a:gd name="connsiteX1972" fmla="*/ 50507 w 80747"/>
                    <a:gd name="connsiteY1972" fmla="*/ 74028 h 81173"/>
                    <a:gd name="connsiteX1973" fmla="*/ 52850 w 80747"/>
                    <a:gd name="connsiteY1973" fmla="*/ 73208 h 81173"/>
                    <a:gd name="connsiteX1974" fmla="*/ 53729 w 80747"/>
                    <a:gd name="connsiteY1974" fmla="*/ 75610 h 81173"/>
                    <a:gd name="connsiteX1975" fmla="*/ 53260 w 80747"/>
                    <a:gd name="connsiteY1975" fmla="*/ 76840 h 81173"/>
                    <a:gd name="connsiteX1976" fmla="*/ 53319 w 80747"/>
                    <a:gd name="connsiteY1976" fmla="*/ 76957 h 81173"/>
                    <a:gd name="connsiteX1977" fmla="*/ 53260 w 80747"/>
                    <a:gd name="connsiteY1977" fmla="*/ 76840 h 81173"/>
                    <a:gd name="connsiteX1978" fmla="*/ 52148 w 80747"/>
                    <a:gd name="connsiteY1978" fmla="*/ 76195 h 81173"/>
                    <a:gd name="connsiteX1979" fmla="*/ 51269 w 80747"/>
                    <a:gd name="connsiteY1979" fmla="*/ 73794 h 81173"/>
                    <a:gd name="connsiteX1980" fmla="*/ 51738 w 80747"/>
                    <a:gd name="connsiteY1980" fmla="*/ 72564 h 81173"/>
                    <a:gd name="connsiteX1981" fmla="*/ 52850 w 80747"/>
                    <a:gd name="connsiteY1981" fmla="*/ 73208 h 81173"/>
                    <a:gd name="connsiteX1982" fmla="*/ 56072 w 80747"/>
                    <a:gd name="connsiteY1982" fmla="*/ 74614 h 81173"/>
                    <a:gd name="connsiteX1983" fmla="*/ 55721 w 80747"/>
                    <a:gd name="connsiteY1983" fmla="*/ 75903 h 81173"/>
                    <a:gd name="connsiteX1984" fmla="*/ 55779 w 80747"/>
                    <a:gd name="connsiteY1984" fmla="*/ 76020 h 81173"/>
                    <a:gd name="connsiteX1985" fmla="*/ 55721 w 80747"/>
                    <a:gd name="connsiteY1985" fmla="*/ 75903 h 81173"/>
                    <a:gd name="connsiteX1986" fmla="*/ 54549 w 80747"/>
                    <a:gd name="connsiteY1986" fmla="*/ 75317 h 81173"/>
                    <a:gd name="connsiteX1987" fmla="*/ 53553 w 80747"/>
                    <a:gd name="connsiteY1987" fmla="*/ 73033 h 81173"/>
                    <a:gd name="connsiteX1988" fmla="*/ 53963 w 80747"/>
                    <a:gd name="connsiteY1988" fmla="*/ 71744 h 81173"/>
                    <a:gd name="connsiteX1989" fmla="*/ 55135 w 80747"/>
                    <a:gd name="connsiteY1989" fmla="*/ 72330 h 81173"/>
                    <a:gd name="connsiteX1990" fmla="*/ 56072 w 80747"/>
                    <a:gd name="connsiteY1990" fmla="*/ 74614 h 81173"/>
                    <a:gd name="connsiteX1991" fmla="*/ 58415 w 80747"/>
                    <a:gd name="connsiteY1991" fmla="*/ 73384 h 81173"/>
                    <a:gd name="connsiteX1992" fmla="*/ 58122 w 80747"/>
                    <a:gd name="connsiteY1992" fmla="*/ 74673 h 81173"/>
                    <a:gd name="connsiteX1993" fmla="*/ 58181 w 80747"/>
                    <a:gd name="connsiteY1993" fmla="*/ 74790 h 81173"/>
                    <a:gd name="connsiteX1994" fmla="*/ 58122 w 80747"/>
                    <a:gd name="connsiteY1994" fmla="*/ 74673 h 81173"/>
                    <a:gd name="connsiteX1995" fmla="*/ 56892 w 80747"/>
                    <a:gd name="connsiteY1995" fmla="*/ 74204 h 81173"/>
                    <a:gd name="connsiteX1996" fmla="*/ 55721 w 80747"/>
                    <a:gd name="connsiteY1996" fmla="*/ 71979 h 81173"/>
                    <a:gd name="connsiteX1997" fmla="*/ 56014 w 80747"/>
                    <a:gd name="connsiteY1997" fmla="*/ 70690 h 81173"/>
                    <a:gd name="connsiteX1998" fmla="*/ 57244 w 80747"/>
                    <a:gd name="connsiteY1998" fmla="*/ 71159 h 81173"/>
                    <a:gd name="connsiteX1999" fmla="*/ 58415 w 80747"/>
                    <a:gd name="connsiteY1999" fmla="*/ 73384 h 81173"/>
                    <a:gd name="connsiteX2000" fmla="*/ 60407 w 80747"/>
                    <a:gd name="connsiteY2000" fmla="*/ 73384 h 81173"/>
                    <a:gd name="connsiteX2001" fmla="*/ 60465 w 80747"/>
                    <a:gd name="connsiteY2001" fmla="*/ 73501 h 81173"/>
                    <a:gd name="connsiteX2002" fmla="*/ 60407 w 80747"/>
                    <a:gd name="connsiteY2002" fmla="*/ 73384 h 81173"/>
                    <a:gd name="connsiteX2003" fmla="*/ 59177 w 80747"/>
                    <a:gd name="connsiteY2003" fmla="*/ 72974 h 81173"/>
                    <a:gd name="connsiteX2004" fmla="*/ 57829 w 80747"/>
                    <a:gd name="connsiteY2004" fmla="*/ 70807 h 81173"/>
                    <a:gd name="connsiteX2005" fmla="*/ 58005 w 80747"/>
                    <a:gd name="connsiteY2005" fmla="*/ 69519 h 81173"/>
                    <a:gd name="connsiteX2006" fmla="*/ 59235 w 80747"/>
                    <a:gd name="connsiteY2006" fmla="*/ 69929 h 81173"/>
                    <a:gd name="connsiteX2007" fmla="*/ 60582 w 80747"/>
                    <a:gd name="connsiteY2007" fmla="*/ 72096 h 81173"/>
                    <a:gd name="connsiteX2008" fmla="*/ 60407 w 80747"/>
                    <a:gd name="connsiteY2008" fmla="*/ 73384 h 81173"/>
                    <a:gd name="connsiteX2009" fmla="*/ 57068 w 80747"/>
                    <a:gd name="connsiteY2009" fmla="*/ 67176 h 81173"/>
                    <a:gd name="connsiteX2010" fmla="*/ 52909 w 80747"/>
                    <a:gd name="connsiteY2010" fmla="*/ 69285 h 81173"/>
                    <a:gd name="connsiteX2011" fmla="*/ 49805 w 80747"/>
                    <a:gd name="connsiteY2011" fmla="*/ 70046 h 81173"/>
                    <a:gd name="connsiteX2012" fmla="*/ 52206 w 80747"/>
                    <a:gd name="connsiteY2012" fmla="*/ 68113 h 81173"/>
                    <a:gd name="connsiteX2013" fmla="*/ 57419 w 80747"/>
                    <a:gd name="connsiteY2013" fmla="*/ 65185 h 81173"/>
                    <a:gd name="connsiteX2014" fmla="*/ 57595 w 80747"/>
                    <a:gd name="connsiteY2014" fmla="*/ 65126 h 81173"/>
                    <a:gd name="connsiteX2015" fmla="*/ 58767 w 80747"/>
                    <a:gd name="connsiteY2015" fmla="*/ 65302 h 81173"/>
                    <a:gd name="connsiteX2016" fmla="*/ 57068 w 80747"/>
                    <a:gd name="connsiteY2016" fmla="*/ 67176 h 81173"/>
                    <a:gd name="connsiteX2017" fmla="*/ 62633 w 80747"/>
                    <a:gd name="connsiteY2017" fmla="*/ 71861 h 81173"/>
                    <a:gd name="connsiteX2018" fmla="*/ 62691 w 80747"/>
                    <a:gd name="connsiteY2018" fmla="*/ 71979 h 81173"/>
                    <a:gd name="connsiteX2019" fmla="*/ 62633 w 80747"/>
                    <a:gd name="connsiteY2019" fmla="*/ 71861 h 81173"/>
                    <a:gd name="connsiteX2020" fmla="*/ 61344 w 80747"/>
                    <a:gd name="connsiteY2020" fmla="*/ 71569 h 81173"/>
                    <a:gd name="connsiteX2021" fmla="*/ 59879 w 80747"/>
                    <a:gd name="connsiteY2021" fmla="*/ 69519 h 81173"/>
                    <a:gd name="connsiteX2022" fmla="*/ 59997 w 80747"/>
                    <a:gd name="connsiteY2022" fmla="*/ 68172 h 81173"/>
                    <a:gd name="connsiteX2023" fmla="*/ 61285 w 80747"/>
                    <a:gd name="connsiteY2023" fmla="*/ 68465 h 81173"/>
                    <a:gd name="connsiteX2024" fmla="*/ 62750 w 80747"/>
                    <a:gd name="connsiteY2024" fmla="*/ 70514 h 81173"/>
                    <a:gd name="connsiteX2025" fmla="*/ 62633 w 80747"/>
                    <a:gd name="connsiteY2025" fmla="*/ 71861 h 81173"/>
                    <a:gd name="connsiteX2026" fmla="*/ 58181 w 80747"/>
                    <a:gd name="connsiteY2026" fmla="*/ 62608 h 81173"/>
                    <a:gd name="connsiteX2027" fmla="*/ 58005 w 80747"/>
                    <a:gd name="connsiteY2027" fmla="*/ 62139 h 81173"/>
                    <a:gd name="connsiteX2028" fmla="*/ 58005 w 80747"/>
                    <a:gd name="connsiteY2028" fmla="*/ 62139 h 81173"/>
                    <a:gd name="connsiteX2029" fmla="*/ 57947 w 80747"/>
                    <a:gd name="connsiteY2029" fmla="*/ 59504 h 81173"/>
                    <a:gd name="connsiteX2030" fmla="*/ 58942 w 80747"/>
                    <a:gd name="connsiteY2030" fmla="*/ 58450 h 81173"/>
                    <a:gd name="connsiteX2031" fmla="*/ 61637 w 80747"/>
                    <a:gd name="connsiteY2031" fmla="*/ 58391 h 81173"/>
                    <a:gd name="connsiteX2032" fmla="*/ 62047 w 80747"/>
                    <a:gd name="connsiteY2032" fmla="*/ 58567 h 81173"/>
                    <a:gd name="connsiteX2033" fmla="*/ 62047 w 80747"/>
                    <a:gd name="connsiteY2033" fmla="*/ 59445 h 81173"/>
                    <a:gd name="connsiteX2034" fmla="*/ 62047 w 80747"/>
                    <a:gd name="connsiteY2034" fmla="*/ 59445 h 81173"/>
                    <a:gd name="connsiteX2035" fmla="*/ 61871 w 80747"/>
                    <a:gd name="connsiteY2035" fmla="*/ 59562 h 81173"/>
                    <a:gd name="connsiteX2036" fmla="*/ 60290 w 80747"/>
                    <a:gd name="connsiteY2036" fmla="*/ 60734 h 81173"/>
                    <a:gd name="connsiteX2037" fmla="*/ 59177 w 80747"/>
                    <a:gd name="connsiteY2037" fmla="*/ 62374 h 81173"/>
                    <a:gd name="connsiteX2038" fmla="*/ 59059 w 80747"/>
                    <a:gd name="connsiteY2038" fmla="*/ 62549 h 81173"/>
                    <a:gd name="connsiteX2039" fmla="*/ 59059 w 80747"/>
                    <a:gd name="connsiteY2039" fmla="*/ 62549 h 81173"/>
                    <a:gd name="connsiteX2040" fmla="*/ 58181 w 80747"/>
                    <a:gd name="connsiteY2040" fmla="*/ 62608 h 81173"/>
                    <a:gd name="connsiteX2041" fmla="*/ 60700 w 80747"/>
                    <a:gd name="connsiteY2041" fmla="*/ 63603 h 81173"/>
                    <a:gd name="connsiteX2042" fmla="*/ 61461 w 80747"/>
                    <a:gd name="connsiteY2042" fmla="*/ 62315 h 81173"/>
                    <a:gd name="connsiteX2043" fmla="*/ 60700 w 80747"/>
                    <a:gd name="connsiteY2043" fmla="*/ 63603 h 81173"/>
                    <a:gd name="connsiteX2044" fmla="*/ 64741 w 80747"/>
                    <a:gd name="connsiteY2044" fmla="*/ 70222 h 81173"/>
                    <a:gd name="connsiteX2045" fmla="*/ 64800 w 80747"/>
                    <a:gd name="connsiteY2045" fmla="*/ 70339 h 81173"/>
                    <a:gd name="connsiteX2046" fmla="*/ 64741 w 80747"/>
                    <a:gd name="connsiteY2046" fmla="*/ 70222 h 81173"/>
                    <a:gd name="connsiteX2047" fmla="*/ 63453 w 80747"/>
                    <a:gd name="connsiteY2047" fmla="*/ 69987 h 81173"/>
                    <a:gd name="connsiteX2048" fmla="*/ 61813 w 80747"/>
                    <a:gd name="connsiteY2048" fmla="*/ 68055 h 81173"/>
                    <a:gd name="connsiteX2049" fmla="*/ 61813 w 80747"/>
                    <a:gd name="connsiteY2049" fmla="*/ 66708 h 81173"/>
                    <a:gd name="connsiteX2050" fmla="*/ 63101 w 80747"/>
                    <a:gd name="connsiteY2050" fmla="*/ 66942 h 81173"/>
                    <a:gd name="connsiteX2051" fmla="*/ 64741 w 80747"/>
                    <a:gd name="connsiteY2051" fmla="*/ 68875 h 81173"/>
                    <a:gd name="connsiteX2052" fmla="*/ 64741 w 80747"/>
                    <a:gd name="connsiteY2052" fmla="*/ 70222 h 81173"/>
                    <a:gd name="connsiteX2053" fmla="*/ 66733 w 80747"/>
                    <a:gd name="connsiteY2053" fmla="*/ 68465 h 81173"/>
                    <a:gd name="connsiteX2054" fmla="*/ 66791 w 80747"/>
                    <a:gd name="connsiteY2054" fmla="*/ 68582 h 81173"/>
                    <a:gd name="connsiteX2055" fmla="*/ 66733 w 80747"/>
                    <a:gd name="connsiteY2055" fmla="*/ 68465 h 81173"/>
                    <a:gd name="connsiteX2056" fmla="*/ 65444 w 80747"/>
                    <a:gd name="connsiteY2056" fmla="*/ 68347 h 81173"/>
                    <a:gd name="connsiteX2057" fmla="*/ 63687 w 80747"/>
                    <a:gd name="connsiteY2057" fmla="*/ 66532 h 81173"/>
                    <a:gd name="connsiteX2058" fmla="*/ 63628 w 80747"/>
                    <a:gd name="connsiteY2058" fmla="*/ 65185 h 81173"/>
                    <a:gd name="connsiteX2059" fmla="*/ 64917 w 80747"/>
                    <a:gd name="connsiteY2059" fmla="*/ 65302 h 81173"/>
                    <a:gd name="connsiteX2060" fmla="*/ 66674 w 80747"/>
                    <a:gd name="connsiteY2060" fmla="*/ 67118 h 81173"/>
                    <a:gd name="connsiteX2061" fmla="*/ 66733 w 80747"/>
                    <a:gd name="connsiteY2061" fmla="*/ 68465 h 81173"/>
                    <a:gd name="connsiteX2062" fmla="*/ 68607 w 80747"/>
                    <a:gd name="connsiteY2062" fmla="*/ 66532 h 81173"/>
                    <a:gd name="connsiteX2063" fmla="*/ 68724 w 80747"/>
                    <a:gd name="connsiteY2063" fmla="*/ 66649 h 81173"/>
                    <a:gd name="connsiteX2064" fmla="*/ 68607 w 80747"/>
                    <a:gd name="connsiteY2064" fmla="*/ 66532 h 81173"/>
                    <a:gd name="connsiteX2065" fmla="*/ 67319 w 80747"/>
                    <a:gd name="connsiteY2065" fmla="*/ 66473 h 81173"/>
                    <a:gd name="connsiteX2066" fmla="*/ 65444 w 80747"/>
                    <a:gd name="connsiteY2066" fmla="*/ 64775 h 81173"/>
                    <a:gd name="connsiteX2067" fmla="*/ 65268 w 80747"/>
                    <a:gd name="connsiteY2067" fmla="*/ 63486 h 81173"/>
                    <a:gd name="connsiteX2068" fmla="*/ 66557 w 80747"/>
                    <a:gd name="connsiteY2068" fmla="*/ 63545 h 81173"/>
                    <a:gd name="connsiteX2069" fmla="*/ 68432 w 80747"/>
                    <a:gd name="connsiteY2069" fmla="*/ 65243 h 81173"/>
                    <a:gd name="connsiteX2070" fmla="*/ 68607 w 80747"/>
                    <a:gd name="connsiteY2070" fmla="*/ 66532 h 81173"/>
                    <a:gd name="connsiteX2071" fmla="*/ 70306 w 80747"/>
                    <a:gd name="connsiteY2071" fmla="*/ 64482 h 81173"/>
                    <a:gd name="connsiteX2072" fmla="*/ 70423 w 80747"/>
                    <a:gd name="connsiteY2072" fmla="*/ 64541 h 81173"/>
                    <a:gd name="connsiteX2073" fmla="*/ 70306 w 80747"/>
                    <a:gd name="connsiteY2073" fmla="*/ 64482 h 81173"/>
                    <a:gd name="connsiteX2074" fmla="*/ 69017 w 80747"/>
                    <a:gd name="connsiteY2074" fmla="*/ 64541 h 81173"/>
                    <a:gd name="connsiteX2075" fmla="*/ 67026 w 80747"/>
                    <a:gd name="connsiteY2075" fmla="*/ 62959 h 81173"/>
                    <a:gd name="connsiteX2076" fmla="*/ 66791 w 80747"/>
                    <a:gd name="connsiteY2076" fmla="*/ 61671 h 81173"/>
                    <a:gd name="connsiteX2077" fmla="*/ 68080 w 80747"/>
                    <a:gd name="connsiteY2077" fmla="*/ 61612 h 81173"/>
                    <a:gd name="connsiteX2078" fmla="*/ 70072 w 80747"/>
                    <a:gd name="connsiteY2078" fmla="*/ 63194 h 81173"/>
                    <a:gd name="connsiteX2079" fmla="*/ 70306 w 80747"/>
                    <a:gd name="connsiteY2079" fmla="*/ 64482 h 81173"/>
                    <a:gd name="connsiteX2080" fmla="*/ 71888 w 80747"/>
                    <a:gd name="connsiteY2080" fmla="*/ 62315 h 81173"/>
                    <a:gd name="connsiteX2081" fmla="*/ 72005 w 80747"/>
                    <a:gd name="connsiteY2081" fmla="*/ 62374 h 81173"/>
                    <a:gd name="connsiteX2082" fmla="*/ 71888 w 80747"/>
                    <a:gd name="connsiteY2082" fmla="*/ 62315 h 81173"/>
                    <a:gd name="connsiteX2083" fmla="*/ 70599 w 80747"/>
                    <a:gd name="connsiteY2083" fmla="*/ 62432 h 81173"/>
                    <a:gd name="connsiteX2084" fmla="*/ 68490 w 80747"/>
                    <a:gd name="connsiteY2084" fmla="*/ 61027 h 81173"/>
                    <a:gd name="connsiteX2085" fmla="*/ 68139 w 80747"/>
                    <a:gd name="connsiteY2085" fmla="*/ 59738 h 81173"/>
                    <a:gd name="connsiteX2086" fmla="*/ 69427 w 80747"/>
                    <a:gd name="connsiteY2086" fmla="*/ 59621 h 81173"/>
                    <a:gd name="connsiteX2087" fmla="*/ 71536 w 80747"/>
                    <a:gd name="connsiteY2087" fmla="*/ 61027 h 81173"/>
                    <a:gd name="connsiteX2088" fmla="*/ 71888 w 80747"/>
                    <a:gd name="connsiteY2088" fmla="*/ 62315 h 81173"/>
                    <a:gd name="connsiteX2089" fmla="*/ 73293 w 80747"/>
                    <a:gd name="connsiteY2089" fmla="*/ 60089 h 81173"/>
                    <a:gd name="connsiteX2090" fmla="*/ 73411 w 80747"/>
                    <a:gd name="connsiteY2090" fmla="*/ 60148 h 81173"/>
                    <a:gd name="connsiteX2091" fmla="*/ 73293 w 80747"/>
                    <a:gd name="connsiteY2091" fmla="*/ 60089 h 81173"/>
                    <a:gd name="connsiteX2092" fmla="*/ 72005 w 80747"/>
                    <a:gd name="connsiteY2092" fmla="*/ 60324 h 81173"/>
                    <a:gd name="connsiteX2093" fmla="*/ 69837 w 80747"/>
                    <a:gd name="connsiteY2093" fmla="*/ 59035 h 81173"/>
                    <a:gd name="connsiteX2094" fmla="*/ 69427 w 80747"/>
                    <a:gd name="connsiteY2094" fmla="*/ 57805 h 81173"/>
                    <a:gd name="connsiteX2095" fmla="*/ 70716 w 80747"/>
                    <a:gd name="connsiteY2095" fmla="*/ 57571 h 81173"/>
                    <a:gd name="connsiteX2096" fmla="*/ 72883 w 80747"/>
                    <a:gd name="connsiteY2096" fmla="*/ 58860 h 81173"/>
                    <a:gd name="connsiteX2097" fmla="*/ 73293 w 80747"/>
                    <a:gd name="connsiteY2097" fmla="*/ 60089 h 81173"/>
                    <a:gd name="connsiteX2098" fmla="*/ 74582 w 80747"/>
                    <a:gd name="connsiteY2098" fmla="*/ 57688 h 81173"/>
                    <a:gd name="connsiteX2099" fmla="*/ 74699 w 80747"/>
                    <a:gd name="connsiteY2099" fmla="*/ 57747 h 81173"/>
                    <a:gd name="connsiteX2100" fmla="*/ 74582 w 80747"/>
                    <a:gd name="connsiteY2100" fmla="*/ 57688 h 81173"/>
                    <a:gd name="connsiteX2101" fmla="*/ 73293 w 80747"/>
                    <a:gd name="connsiteY2101" fmla="*/ 58040 h 81173"/>
                    <a:gd name="connsiteX2102" fmla="*/ 71009 w 80747"/>
                    <a:gd name="connsiteY2102" fmla="*/ 56927 h 81173"/>
                    <a:gd name="connsiteX2103" fmla="*/ 70482 w 80747"/>
                    <a:gd name="connsiteY2103" fmla="*/ 55697 h 81173"/>
                    <a:gd name="connsiteX2104" fmla="*/ 71770 w 80747"/>
                    <a:gd name="connsiteY2104" fmla="*/ 55346 h 81173"/>
                    <a:gd name="connsiteX2105" fmla="*/ 74055 w 80747"/>
                    <a:gd name="connsiteY2105" fmla="*/ 56458 h 81173"/>
                    <a:gd name="connsiteX2106" fmla="*/ 74582 w 80747"/>
                    <a:gd name="connsiteY2106" fmla="*/ 57688 h 81173"/>
                    <a:gd name="connsiteX2107" fmla="*/ 75695 w 80747"/>
                    <a:gd name="connsiteY2107" fmla="*/ 55228 h 81173"/>
                    <a:gd name="connsiteX2108" fmla="*/ 75812 w 80747"/>
                    <a:gd name="connsiteY2108" fmla="*/ 55287 h 81173"/>
                    <a:gd name="connsiteX2109" fmla="*/ 75695 w 80747"/>
                    <a:gd name="connsiteY2109" fmla="*/ 55228 h 81173"/>
                    <a:gd name="connsiteX2110" fmla="*/ 74465 w 80747"/>
                    <a:gd name="connsiteY2110" fmla="*/ 55638 h 81173"/>
                    <a:gd name="connsiteX2111" fmla="*/ 72122 w 80747"/>
                    <a:gd name="connsiteY2111" fmla="*/ 54701 h 81173"/>
                    <a:gd name="connsiteX2112" fmla="*/ 71536 w 80747"/>
                    <a:gd name="connsiteY2112" fmla="*/ 53530 h 81173"/>
                    <a:gd name="connsiteX2113" fmla="*/ 72766 w 80747"/>
                    <a:gd name="connsiteY2113" fmla="*/ 53120 h 81173"/>
                    <a:gd name="connsiteX2114" fmla="*/ 75109 w 80747"/>
                    <a:gd name="connsiteY2114" fmla="*/ 54057 h 81173"/>
                    <a:gd name="connsiteX2115" fmla="*/ 75695 w 80747"/>
                    <a:gd name="connsiteY2115" fmla="*/ 55228 h 81173"/>
                    <a:gd name="connsiteX2116" fmla="*/ 76691 w 80747"/>
                    <a:gd name="connsiteY2116" fmla="*/ 52769 h 81173"/>
                    <a:gd name="connsiteX2117" fmla="*/ 76574 w 80747"/>
                    <a:gd name="connsiteY2117" fmla="*/ 52710 h 81173"/>
                    <a:gd name="connsiteX2118" fmla="*/ 75343 w 80747"/>
                    <a:gd name="connsiteY2118" fmla="*/ 53179 h 81173"/>
                    <a:gd name="connsiteX2119" fmla="*/ 72942 w 80747"/>
                    <a:gd name="connsiteY2119" fmla="*/ 52359 h 81173"/>
                    <a:gd name="connsiteX2120" fmla="*/ 72239 w 80747"/>
                    <a:gd name="connsiteY2120" fmla="*/ 51246 h 81173"/>
                    <a:gd name="connsiteX2121" fmla="*/ 73469 w 80747"/>
                    <a:gd name="connsiteY2121" fmla="*/ 50719 h 81173"/>
                    <a:gd name="connsiteX2122" fmla="*/ 75871 w 80747"/>
                    <a:gd name="connsiteY2122" fmla="*/ 51539 h 81173"/>
                    <a:gd name="connsiteX2123" fmla="*/ 76574 w 80747"/>
                    <a:gd name="connsiteY2123" fmla="*/ 52652 h 81173"/>
                    <a:gd name="connsiteX2124" fmla="*/ 76691 w 80747"/>
                    <a:gd name="connsiteY2124" fmla="*/ 52769 h 81173"/>
                    <a:gd name="connsiteX2125" fmla="*/ 77452 w 80747"/>
                    <a:gd name="connsiteY2125" fmla="*/ 50192 h 81173"/>
                    <a:gd name="connsiteX2126" fmla="*/ 77335 w 80747"/>
                    <a:gd name="connsiteY2126" fmla="*/ 50133 h 81173"/>
                    <a:gd name="connsiteX2127" fmla="*/ 76164 w 80747"/>
                    <a:gd name="connsiteY2127" fmla="*/ 50719 h 81173"/>
                    <a:gd name="connsiteX2128" fmla="*/ 73703 w 80747"/>
                    <a:gd name="connsiteY2128" fmla="*/ 50075 h 81173"/>
                    <a:gd name="connsiteX2129" fmla="*/ 72942 w 80747"/>
                    <a:gd name="connsiteY2129" fmla="*/ 48962 h 81173"/>
                    <a:gd name="connsiteX2130" fmla="*/ 74113 w 80747"/>
                    <a:gd name="connsiteY2130" fmla="*/ 48376 h 81173"/>
                    <a:gd name="connsiteX2131" fmla="*/ 76574 w 80747"/>
                    <a:gd name="connsiteY2131" fmla="*/ 49020 h 81173"/>
                    <a:gd name="connsiteX2132" fmla="*/ 77335 w 80747"/>
                    <a:gd name="connsiteY2132" fmla="*/ 50075 h 81173"/>
                    <a:gd name="connsiteX2133" fmla="*/ 77452 w 80747"/>
                    <a:gd name="connsiteY2133" fmla="*/ 50192 h 81173"/>
                    <a:gd name="connsiteX2134" fmla="*/ 78038 w 80747"/>
                    <a:gd name="connsiteY2134" fmla="*/ 47556 h 81173"/>
                    <a:gd name="connsiteX2135" fmla="*/ 77921 w 80747"/>
                    <a:gd name="connsiteY2135" fmla="*/ 47556 h 81173"/>
                    <a:gd name="connsiteX2136" fmla="*/ 76808 w 80747"/>
                    <a:gd name="connsiteY2136" fmla="*/ 48200 h 81173"/>
                    <a:gd name="connsiteX2137" fmla="*/ 74348 w 80747"/>
                    <a:gd name="connsiteY2137" fmla="*/ 47732 h 81173"/>
                    <a:gd name="connsiteX2138" fmla="*/ 73528 w 80747"/>
                    <a:gd name="connsiteY2138" fmla="*/ 46678 h 81173"/>
                    <a:gd name="connsiteX2139" fmla="*/ 74641 w 80747"/>
                    <a:gd name="connsiteY2139" fmla="*/ 46033 h 81173"/>
                    <a:gd name="connsiteX2140" fmla="*/ 77101 w 80747"/>
                    <a:gd name="connsiteY2140" fmla="*/ 46502 h 81173"/>
                    <a:gd name="connsiteX2141" fmla="*/ 77921 w 80747"/>
                    <a:gd name="connsiteY2141" fmla="*/ 47498 h 81173"/>
                    <a:gd name="connsiteX2142" fmla="*/ 78038 w 80747"/>
                    <a:gd name="connsiteY2142" fmla="*/ 47556 h 81173"/>
                    <a:gd name="connsiteX2143" fmla="*/ 78389 w 80747"/>
                    <a:gd name="connsiteY2143" fmla="*/ 44921 h 81173"/>
                    <a:gd name="connsiteX2144" fmla="*/ 78272 w 80747"/>
                    <a:gd name="connsiteY2144" fmla="*/ 44921 h 81173"/>
                    <a:gd name="connsiteX2145" fmla="*/ 77159 w 80747"/>
                    <a:gd name="connsiteY2145" fmla="*/ 45682 h 81173"/>
                    <a:gd name="connsiteX2146" fmla="*/ 74641 w 80747"/>
                    <a:gd name="connsiteY2146" fmla="*/ 45389 h 81173"/>
                    <a:gd name="connsiteX2147" fmla="*/ 73762 w 80747"/>
                    <a:gd name="connsiteY2147" fmla="*/ 44394 h 81173"/>
                    <a:gd name="connsiteX2148" fmla="*/ 74816 w 80747"/>
                    <a:gd name="connsiteY2148" fmla="*/ 43632 h 81173"/>
                    <a:gd name="connsiteX2149" fmla="*/ 77335 w 80747"/>
                    <a:gd name="connsiteY2149" fmla="*/ 43925 h 81173"/>
                    <a:gd name="connsiteX2150" fmla="*/ 78214 w 80747"/>
                    <a:gd name="connsiteY2150" fmla="*/ 44921 h 81173"/>
                    <a:gd name="connsiteX2151" fmla="*/ 78389 w 80747"/>
                    <a:gd name="connsiteY2151" fmla="*/ 44921 h 81173"/>
                    <a:gd name="connsiteX2152" fmla="*/ 78448 w 80747"/>
                    <a:gd name="connsiteY2152" fmla="*/ 42227 h 81173"/>
                    <a:gd name="connsiteX2153" fmla="*/ 77394 w 80747"/>
                    <a:gd name="connsiteY2153" fmla="*/ 43047 h 81173"/>
                    <a:gd name="connsiteX2154" fmla="*/ 74875 w 80747"/>
                    <a:gd name="connsiteY2154" fmla="*/ 42929 h 81173"/>
                    <a:gd name="connsiteX2155" fmla="*/ 73879 w 80747"/>
                    <a:gd name="connsiteY2155" fmla="*/ 41992 h 81173"/>
                    <a:gd name="connsiteX2156" fmla="*/ 74933 w 80747"/>
                    <a:gd name="connsiteY2156" fmla="*/ 41172 h 81173"/>
                    <a:gd name="connsiteX2157" fmla="*/ 77452 w 80747"/>
                    <a:gd name="connsiteY2157" fmla="*/ 41290 h 81173"/>
                    <a:gd name="connsiteX2158" fmla="*/ 78448 w 80747"/>
                    <a:gd name="connsiteY2158" fmla="*/ 42227 h 81173"/>
                    <a:gd name="connsiteX2159" fmla="*/ 78565 w 80747"/>
                    <a:gd name="connsiteY2159" fmla="*/ 42227 h 81173"/>
                    <a:gd name="connsiteX2160" fmla="*/ 78448 w 80747"/>
                    <a:gd name="connsiteY2160" fmla="*/ 42227 h 81173"/>
                    <a:gd name="connsiteX2161" fmla="*/ 78448 w 80747"/>
                    <a:gd name="connsiteY2161" fmla="*/ 39533 h 81173"/>
                    <a:gd name="connsiteX2162" fmla="*/ 77452 w 80747"/>
                    <a:gd name="connsiteY2162" fmla="*/ 40411 h 81173"/>
                    <a:gd name="connsiteX2163" fmla="*/ 74933 w 80747"/>
                    <a:gd name="connsiteY2163" fmla="*/ 40470 h 81173"/>
                    <a:gd name="connsiteX2164" fmla="*/ 73879 w 80747"/>
                    <a:gd name="connsiteY2164" fmla="*/ 39650 h 81173"/>
                    <a:gd name="connsiteX2165" fmla="*/ 74875 w 80747"/>
                    <a:gd name="connsiteY2165" fmla="*/ 38771 h 81173"/>
                    <a:gd name="connsiteX2166" fmla="*/ 77394 w 80747"/>
                    <a:gd name="connsiteY2166" fmla="*/ 38713 h 81173"/>
                    <a:gd name="connsiteX2167" fmla="*/ 78448 w 80747"/>
                    <a:gd name="connsiteY2167" fmla="*/ 39533 h 81173"/>
                    <a:gd name="connsiteX2168" fmla="*/ 78565 w 80747"/>
                    <a:gd name="connsiteY2168" fmla="*/ 39533 h 81173"/>
                    <a:gd name="connsiteX2169" fmla="*/ 78448 w 80747"/>
                    <a:gd name="connsiteY2169" fmla="*/ 39533 h 81173"/>
                    <a:gd name="connsiteX2170" fmla="*/ 78272 w 80747"/>
                    <a:gd name="connsiteY2170" fmla="*/ 36839 h 81173"/>
                    <a:gd name="connsiteX2171" fmla="*/ 77394 w 80747"/>
                    <a:gd name="connsiteY2171" fmla="*/ 37776 h 81173"/>
                    <a:gd name="connsiteX2172" fmla="*/ 74875 w 80747"/>
                    <a:gd name="connsiteY2172" fmla="*/ 38010 h 81173"/>
                    <a:gd name="connsiteX2173" fmla="*/ 73762 w 80747"/>
                    <a:gd name="connsiteY2173" fmla="*/ 37248 h 81173"/>
                    <a:gd name="connsiteX2174" fmla="*/ 74699 w 80747"/>
                    <a:gd name="connsiteY2174" fmla="*/ 36311 h 81173"/>
                    <a:gd name="connsiteX2175" fmla="*/ 77218 w 80747"/>
                    <a:gd name="connsiteY2175" fmla="*/ 36077 h 81173"/>
                    <a:gd name="connsiteX2176" fmla="*/ 78272 w 80747"/>
                    <a:gd name="connsiteY2176" fmla="*/ 36839 h 81173"/>
                    <a:gd name="connsiteX2177" fmla="*/ 78389 w 80747"/>
                    <a:gd name="connsiteY2177" fmla="*/ 36839 h 81173"/>
                    <a:gd name="connsiteX2178" fmla="*/ 78272 w 80747"/>
                    <a:gd name="connsiteY2178" fmla="*/ 36839 h 81173"/>
                    <a:gd name="connsiteX2179" fmla="*/ 77921 w 80747"/>
                    <a:gd name="connsiteY2179" fmla="*/ 34203 h 81173"/>
                    <a:gd name="connsiteX2180" fmla="*/ 77101 w 80747"/>
                    <a:gd name="connsiteY2180" fmla="*/ 35199 h 81173"/>
                    <a:gd name="connsiteX2181" fmla="*/ 74641 w 80747"/>
                    <a:gd name="connsiteY2181" fmla="*/ 35609 h 81173"/>
                    <a:gd name="connsiteX2182" fmla="*/ 73528 w 80747"/>
                    <a:gd name="connsiteY2182" fmla="*/ 34906 h 81173"/>
                    <a:gd name="connsiteX2183" fmla="*/ 74348 w 80747"/>
                    <a:gd name="connsiteY2183" fmla="*/ 33910 h 81173"/>
                    <a:gd name="connsiteX2184" fmla="*/ 76808 w 80747"/>
                    <a:gd name="connsiteY2184" fmla="*/ 33500 h 81173"/>
                    <a:gd name="connsiteX2185" fmla="*/ 77921 w 80747"/>
                    <a:gd name="connsiteY2185" fmla="*/ 34203 h 81173"/>
                    <a:gd name="connsiteX2186" fmla="*/ 78038 w 80747"/>
                    <a:gd name="connsiteY2186" fmla="*/ 34203 h 81173"/>
                    <a:gd name="connsiteX2187" fmla="*/ 77921 w 80747"/>
                    <a:gd name="connsiteY2187" fmla="*/ 34203 h 81173"/>
                    <a:gd name="connsiteX2188" fmla="*/ 77335 w 80747"/>
                    <a:gd name="connsiteY2188" fmla="*/ 31568 h 81173"/>
                    <a:gd name="connsiteX2189" fmla="*/ 76574 w 80747"/>
                    <a:gd name="connsiteY2189" fmla="*/ 32622 h 81173"/>
                    <a:gd name="connsiteX2190" fmla="*/ 74113 w 80747"/>
                    <a:gd name="connsiteY2190" fmla="*/ 33207 h 81173"/>
                    <a:gd name="connsiteX2191" fmla="*/ 72942 w 80747"/>
                    <a:gd name="connsiteY2191" fmla="*/ 32622 h 81173"/>
                    <a:gd name="connsiteX2192" fmla="*/ 73703 w 80747"/>
                    <a:gd name="connsiteY2192" fmla="*/ 31568 h 81173"/>
                    <a:gd name="connsiteX2193" fmla="*/ 76164 w 80747"/>
                    <a:gd name="connsiteY2193" fmla="*/ 30982 h 81173"/>
                    <a:gd name="connsiteX2194" fmla="*/ 77335 w 80747"/>
                    <a:gd name="connsiteY2194" fmla="*/ 31568 h 81173"/>
                    <a:gd name="connsiteX2195" fmla="*/ 77452 w 80747"/>
                    <a:gd name="connsiteY2195" fmla="*/ 31509 h 81173"/>
                    <a:gd name="connsiteX2196" fmla="*/ 77335 w 80747"/>
                    <a:gd name="connsiteY2196" fmla="*/ 31568 h 81173"/>
                    <a:gd name="connsiteX2197" fmla="*/ 76632 w 80747"/>
                    <a:gd name="connsiteY2197" fmla="*/ 28991 h 81173"/>
                    <a:gd name="connsiteX2198" fmla="*/ 75929 w 80747"/>
                    <a:gd name="connsiteY2198" fmla="*/ 30103 h 81173"/>
                    <a:gd name="connsiteX2199" fmla="*/ 73528 w 80747"/>
                    <a:gd name="connsiteY2199" fmla="*/ 30865 h 81173"/>
                    <a:gd name="connsiteX2200" fmla="*/ 72298 w 80747"/>
                    <a:gd name="connsiteY2200" fmla="*/ 30338 h 81173"/>
                    <a:gd name="connsiteX2201" fmla="*/ 73000 w 80747"/>
                    <a:gd name="connsiteY2201" fmla="*/ 29225 h 81173"/>
                    <a:gd name="connsiteX2202" fmla="*/ 75402 w 80747"/>
                    <a:gd name="connsiteY2202" fmla="*/ 28463 h 81173"/>
                    <a:gd name="connsiteX2203" fmla="*/ 76632 w 80747"/>
                    <a:gd name="connsiteY2203" fmla="*/ 28991 h 81173"/>
                    <a:gd name="connsiteX2204" fmla="*/ 76749 w 80747"/>
                    <a:gd name="connsiteY2204" fmla="*/ 28932 h 81173"/>
                    <a:gd name="connsiteX2205" fmla="*/ 76632 w 80747"/>
                    <a:gd name="connsiteY2205" fmla="*/ 28991 h 81173"/>
                    <a:gd name="connsiteX2206" fmla="*/ 75695 w 80747"/>
                    <a:gd name="connsiteY2206" fmla="*/ 26472 h 81173"/>
                    <a:gd name="connsiteX2207" fmla="*/ 75109 w 80747"/>
                    <a:gd name="connsiteY2207" fmla="*/ 27644 h 81173"/>
                    <a:gd name="connsiteX2208" fmla="*/ 72766 w 80747"/>
                    <a:gd name="connsiteY2208" fmla="*/ 28581 h 81173"/>
                    <a:gd name="connsiteX2209" fmla="*/ 71536 w 80747"/>
                    <a:gd name="connsiteY2209" fmla="*/ 28171 h 81173"/>
                    <a:gd name="connsiteX2210" fmla="*/ 72122 w 80747"/>
                    <a:gd name="connsiteY2210" fmla="*/ 26999 h 81173"/>
                    <a:gd name="connsiteX2211" fmla="*/ 74465 w 80747"/>
                    <a:gd name="connsiteY2211" fmla="*/ 26062 h 81173"/>
                    <a:gd name="connsiteX2212" fmla="*/ 75695 w 80747"/>
                    <a:gd name="connsiteY2212" fmla="*/ 26472 h 81173"/>
                    <a:gd name="connsiteX2213" fmla="*/ 75812 w 80747"/>
                    <a:gd name="connsiteY2213" fmla="*/ 26414 h 81173"/>
                    <a:gd name="connsiteX2214" fmla="*/ 75695 w 80747"/>
                    <a:gd name="connsiteY2214" fmla="*/ 26472 h 81173"/>
                    <a:gd name="connsiteX2215" fmla="*/ 74641 w 80747"/>
                    <a:gd name="connsiteY2215" fmla="*/ 24012 h 81173"/>
                    <a:gd name="connsiteX2216" fmla="*/ 74113 w 80747"/>
                    <a:gd name="connsiteY2216" fmla="*/ 25242 h 81173"/>
                    <a:gd name="connsiteX2217" fmla="*/ 71829 w 80747"/>
                    <a:gd name="connsiteY2217" fmla="*/ 26355 h 81173"/>
                    <a:gd name="connsiteX2218" fmla="*/ 70540 w 80747"/>
                    <a:gd name="connsiteY2218" fmla="*/ 26004 h 81173"/>
                    <a:gd name="connsiteX2219" fmla="*/ 71068 w 80747"/>
                    <a:gd name="connsiteY2219" fmla="*/ 24774 h 81173"/>
                    <a:gd name="connsiteX2220" fmla="*/ 73352 w 80747"/>
                    <a:gd name="connsiteY2220" fmla="*/ 23661 h 81173"/>
                    <a:gd name="connsiteX2221" fmla="*/ 74641 w 80747"/>
                    <a:gd name="connsiteY2221" fmla="*/ 24012 h 81173"/>
                    <a:gd name="connsiteX2222" fmla="*/ 74758 w 80747"/>
                    <a:gd name="connsiteY2222" fmla="*/ 23954 h 81173"/>
                    <a:gd name="connsiteX2223" fmla="*/ 74641 w 80747"/>
                    <a:gd name="connsiteY2223" fmla="*/ 24012 h 81173"/>
                    <a:gd name="connsiteX2224" fmla="*/ 73352 w 80747"/>
                    <a:gd name="connsiteY2224" fmla="*/ 21611 h 81173"/>
                    <a:gd name="connsiteX2225" fmla="*/ 72883 w 80747"/>
                    <a:gd name="connsiteY2225" fmla="*/ 22841 h 81173"/>
                    <a:gd name="connsiteX2226" fmla="*/ 70716 w 80747"/>
                    <a:gd name="connsiteY2226" fmla="*/ 24071 h 81173"/>
                    <a:gd name="connsiteX2227" fmla="*/ 69427 w 80747"/>
                    <a:gd name="connsiteY2227" fmla="*/ 23837 h 81173"/>
                    <a:gd name="connsiteX2228" fmla="*/ 69896 w 80747"/>
                    <a:gd name="connsiteY2228" fmla="*/ 22607 h 81173"/>
                    <a:gd name="connsiteX2229" fmla="*/ 72063 w 80747"/>
                    <a:gd name="connsiteY2229" fmla="*/ 21377 h 81173"/>
                    <a:gd name="connsiteX2230" fmla="*/ 73352 w 80747"/>
                    <a:gd name="connsiteY2230" fmla="*/ 21611 h 81173"/>
                    <a:gd name="connsiteX2231" fmla="*/ 73469 w 80747"/>
                    <a:gd name="connsiteY2231" fmla="*/ 21553 h 81173"/>
                    <a:gd name="connsiteX2232" fmla="*/ 73352 w 80747"/>
                    <a:gd name="connsiteY2232" fmla="*/ 21611 h 8117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  <a:cxn ang="0">
                      <a:pos x="connsiteX86" y="connsiteY86"/>
                    </a:cxn>
                    <a:cxn ang="0">
                      <a:pos x="connsiteX87" y="connsiteY87"/>
                    </a:cxn>
                    <a:cxn ang="0">
                      <a:pos x="connsiteX88" y="connsiteY88"/>
                    </a:cxn>
                    <a:cxn ang="0">
                      <a:pos x="connsiteX89" y="connsiteY89"/>
                    </a:cxn>
                    <a:cxn ang="0">
                      <a:pos x="connsiteX90" y="connsiteY90"/>
                    </a:cxn>
                    <a:cxn ang="0">
                      <a:pos x="connsiteX91" y="connsiteY91"/>
                    </a:cxn>
                    <a:cxn ang="0">
                      <a:pos x="connsiteX92" y="connsiteY92"/>
                    </a:cxn>
                    <a:cxn ang="0">
                      <a:pos x="connsiteX93" y="connsiteY93"/>
                    </a:cxn>
                    <a:cxn ang="0">
                      <a:pos x="connsiteX94" y="connsiteY94"/>
                    </a:cxn>
                    <a:cxn ang="0">
                      <a:pos x="connsiteX95" y="connsiteY95"/>
                    </a:cxn>
                    <a:cxn ang="0">
                      <a:pos x="connsiteX96" y="connsiteY96"/>
                    </a:cxn>
                    <a:cxn ang="0">
                      <a:pos x="connsiteX97" y="connsiteY97"/>
                    </a:cxn>
                    <a:cxn ang="0">
                      <a:pos x="connsiteX98" y="connsiteY98"/>
                    </a:cxn>
                    <a:cxn ang="0">
                      <a:pos x="connsiteX99" y="connsiteY99"/>
                    </a:cxn>
                    <a:cxn ang="0">
                      <a:pos x="connsiteX100" y="connsiteY100"/>
                    </a:cxn>
                    <a:cxn ang="0">
                      <a:pos x="connsiteX101" y="connsiteY101"/>
                    </a:cxn>
                    <a:cxn ang="0">
                      <a:pos x="connsiteX102" y="connsiteY102"/>
                    </a:cxn>
                    <a:cxn ang="0">
                      <a:pos x="connsiteX103" y="connsiteY103"/>
                    </a:cxn>
                    <a:cxn ang="0">
                      <a:pos x="connsiteX104" y="connsiteY104"/>
                    </a:cxn>
                    <a:cxn ang="0">
                      <a:pos x="connsiteX105" y="connsiteY105"/>
                    </a:cxn>
                    <a:cxn ang="0">
                      <a:pos x="connsiteX106" y="connsiteY106"/>
                    </a:cxn>
                    <a:cxn ang="0">
                      <a:pos x="connsiteX107" y="connsiteY107"/>
                    </a:cxn>
                    <a:cxn ang="0">
                      <a:pos x="connsiteX108" y="connsiteY108"/>
                    </a:cxn>
                    <a:cxn ang="0">
                      <a:pos x="connsiteX109" y="connsiteY109"/>
                    </a:cxn>
                    <a:cxn ang="0">
                      <a:pos x="connsiteX110" y="connsiteY110"/>
                    </a:cxn>
                    <a:cxn ang="0">
                      <a:pos x="connsiteX111" y="connsiteY111"/>
                    </a:cxn>
                    <a:cxn ang="0">
                      <a:pos x="connsiteX112" y="connsiteY112"/>
                    </a:cxn>
                    <a:cxn ang="0">
                      <a:pos x="connsiteX113" y="connsiteY113"/>
                    </a:cxn>
                    <a:cxn ang="0">
                      <a:pos x="connsiteX114" y="connsiteY114"/>
                    </a:cxn>
                    <a:cxn ang="0">
                      <a:pos x="connsiteX115" y="connsiteY115"/>
                    </a:cxn>
                    <a:cxn ang="0">
                      <a:pos x="connsiteX116" y="connsiteY116"/>
                    </a:cxn>
                    <a:cxn ang="0">
                      <a:pos x="connsiteX117" y="connsiteY117"/>
                    </a:cxn>
                    <a:cxn ang="0">
                      <a:pos x="connsiteX118" y="connsiteY118"/>
                    </a:cxn>
                    <a:cxn ang="0">
                      <a:pos x="connsiteX119" y="connsiteY119"/>
                    </a:cxn>
                    <a:cxn ang="0">
                      <a:pos x="connsiteX120" y="connsiteY120"/>
                    </a:cxn>
                    <a:cxn ang="0">
                      <a:pos x="connsiteX121" y="connsiteY121"/>
                    </a:cxn>
                    <a:cxn ang="0">
                      <a:pos x="connsiteX122" y="connsiteY122"/>
                    </a:cxn>
                    <a:cxn ang="0">
                      <a:pos x="connsiteX123" y="connsiteY123"/>
                    </a:cxn>
                    <a:cxn ang="0">
                      <a:pos x="connsiteX124" y="connsiteY124"/>
                    </a:cxn>
                    <a:cxn ang="0">
                      <a:pos x="connsiteX125" y="connsiteY125"/>
                    </a:cxn>
                    <a:cxn ang="0">
                      <a:pos x="connsiteX126" y="connsiteY126"/>
                    </a:cxn>
                    <a:cxn ang="0">
                      <a:pos x="connsiteX127" y="connsiteY127"/>
                    </a:cxn>
                    <a:cxn ang="0">
                      <a:pos x="connsiteX128" y="connsiteY128"/>
                    </a:cxn>
                    <a:cxn ang="0">
                      <a:pos x="connsiteX129" y="connsiteY129"/>
                    </a:cxn>
                    <a:cxn ang="0">
                      <a:pos x="connsiteX130" y="connsiteY130"/>
                    </a:cxn>
                    <a:cxn ang="0">
                      <a:pos x="connsiteX131" y="connsiteY131"/>
                    </a:cxn>
                    <a:cxn ang="0">
                      <a:pos x="connsiteX132" y="connsiteY132"/>
                    </a:cxn>
                    <a:cxn ang="0">
                      <a:pos x="connsiteX133" y="connsiteY133"/>
                    </a:cxn>
                    <a:cxn ang="0">
                      <a:pos x="connsiteX134" y="connsiteY134"/>
                    </a:cxn>
                    <a:cxn ang="0">
                      <a:pos x="connsiteX135" y="connsiteY135"/>
                    </a:cxn>
                    <a:cxn ang="0">
                      <a:pos x="connsiteX136" y="connsiteY136"/>
                    </a:cxn>
                    <a:cxn ang="0">
                      <a:pos x="connsiteX137" y="connsiteY137"/>
                    </a:cxn>
                    <a:cxn ang="0">
                      <a:pos x="connsiteX138" y="connsiteY138"/>
                    </a:cxn>
                    <a:cxn ang="0">
                      <a:pos x="connsiteX139" y="connsiteY139"/>
                    </a:cxn>
                    <a:cxn ang="0">
                      <a:pos x="connsiteX140" y="connsiteY140"/>
                    </a:cxn>
                    <a:cxn ang="0">
                      <a:pos x="connsiteX141" y="connsiteY141"/>
                    </a:cxn>
                    <a:cxn ang="0">
                      <a:pos x="connsiteX142" y="connsiteY142"/>
                    </a:cxn>
                    <a:cxn ang="0">
                      <a:pos x="connsiteX143" y="connsiteY143"/>
                    </a:cxn>
                    <a:cxn ang="0">
                      <a:pos x="connsiteX144" y="connsiteY144"/>
                    </a:cxn>
                    <a:cxn ang="0">
                      <a:pos x="connsiteX145" y="connsiteY145"/>
                    </a:cxn>
                    <a:cxn ang="0">
                      <a:pos x="connsiteX146" y="connsiteY146"/>
                    </a:cxn>
                    <a:cxn ang="0">
                      <a:pos x="connsiteX147" y="connsiteY147"/>
                    </a:cxn>
                    <a:cxn ang="0">
                      <a:pos x="connsiteX148" y="connsiteY148"/>
                    </a:cxn>
                    <a:cxn ang="0">
                      <a:pos x="connsiteX149" y="connsiteY149"/>
                    </a:cxn>
                    <a:cxn ang="0">
                      <a:pos x="connsiteX150" y="connsiteY150"/>
                    </a:cxn>
                    <a:cxn ang="0">
                      <a:pos x="connsiteX151" y="connsiteY151"/>
                    </a:cxn>
                    <a:cxn ang="0">
                      <a:pos x="connsiteX152" y="connsiteY152"/>
                    </a:cxn>
                    <a:cxn ang="0">
                      <a:pos x="connsiteX153" y="connsiteY153"/>
                    </a:cxn>
                    <a:cxn ang="0">
                      <a:pos x="connsiteX154" y="connsiteY154"/>
                    </a:cxn>
                    <a:cxn ang="0">
                      <a:pos x="connsiteX155" y="connsiteY155"/>
                    </a:cxn>
                    <a:cxn ang="0">
                      <a:pos x="connsiteX156" y="connsiteY156"/>
                    </a:cxn>
                    <a:cxn ang="0">
                      <a:pos x="connsiteX157" y="connsiteY157"/>
                    </a:cxn>
                    <a:cxn ang="0">
                      <a:pos x="connsiteX158" y="connsiteY158"/>
                    </a:cxn>
                    <a:cxn ang="0">
                      <a:pos x="connsiteX159" y="connsiteY159"/>
                    </a:cxn>
                    <a:cxn ang="0">
                      <a:pos x="connsiteX160" y="connsiteY160"/>
                    </a:cxn>
                    <a:cxn ang="0">
                      <a:pos x="connsiteX161" y="connsiteY161"/>
                    </a:cxn>
                    <a:cxn ang="0">
                      <a:pos x="connsiteX162" y="connsiteY162"/>
                    </a:cxn>
                    <a:cxn ang="0">
                      <a:pos x="connsiteX163" y="connsiteY163"/>
                    </a:cxn>
                    <a:cxn ang="0">
                      <a:pos x="connsiteX164" y="connsiteY164"/>
                    </a:cxn>
                    <a:cxn ang="0">
                      <a:pos x="connsiteX165" y="connsiteY165"/>
                    </a:cxn>
                    <a:cxn ang="0">
                      <a:pos x="connsiteX166" y="connsiteY166"/>
                    </a:cxn>
                    <a:cxn ang="0">
                      <a:pos x="connsiteX167" y="connsiteY167"/>
                    </a:cxn>
                    <a:cxn ang="0">
                      <a:pos x="connsiteX168" y="connsiteY168"/>
                    </a:cxn>
                    <a:cxn ang="0">
                      <a:pos x="connsiteX169" y="connsiteY169"/>
                    </a:cxn>
                    <a:cxn ang="0">
                      <a:pos x="connsiteX170" y="connsiteY170"/>
                    </a:cxn>
                    <a:cxn ang="0">
                      <a:pos x="connsiteX171" y="connsiteY171"/>
                    </a:cxn>
                    <a:cxn ang="0">
                      <a:pos x="connsiteX172" y="connsiteY172"/>
                    </a:cxn>
                    <a:cxn ang="0">
                      <a:pos x="connsiteX173" y="connsiteY173"/>
                    </a:cxn>
                    <a:cxn ang="0">
                      <a:pos x="connsiteX174" y="connsiteY174"/>
                    </a:cxn>
                    <a:cxn ang="0">
                      <a:pos x="connsiteX175" y="connsiteY175"/>
                    </a:cxn>
                    <a:cxn ang="0">
                      <a:pos x="connsiteX176" y="connsiteY176"/>
                    </a:cxn>
                    <a:cxn ang="0">
                      <a:pos x="connsiteX177" y="connsiteY177"/>
                    </a:cxn>
                    <a:cxn ang="0">
                      <a:pos x="connsiteX178" y="connsiteY178"/>
                    </a:cxn>
                    <a:cxn ang="0">
                      <a:pos x="connsiteX179" y="connsiteY179"/>
                    </a:cxn>
                    <a:cxn ang="0">
                      <a:pos x="connsiteX180" y="connsiteY180"/>
                    </a:cxn>
                    <a:cxn ang="0">
                      <a:pos x="connsiteX181" y="connsiteY181"/>
                    </a:cxn>
                    <a:cxn ang="0">
                      <a:pos x="connsiteX182" y="connsiteY182"/>
                    </a:cxn>
                    <a:cxn ang="0">
                      <a:pos x="connsiteX183" y="connsiteY183"/>
                    </a:cxn>
                    <a:cxn ang="0">
                      <a:pos x="connsiteX184" y="connsiteY184"/>
                    </a:cxn>
                    <a:cxn ang="0">
                      <a:pos x="connsiteX185" y="connsiteY185"/>
                    </a:cxn>
                    <a:cxn ang="0">
                      <a:pos x="connsiteX186" y="connsiteY186"/>
                    </a:cxn>
                    <a:cxn ang="0">
                      <a:pos x="connsiteX187" y="connsiteY187"/>
                    </a:cxn>
                    <a:cxn ang="0">
                      <a:pos x="connsiteX188" y="connsiteY188"/>
                    </a:cxn>
                    <a:cxn ang="0">
                      <a:pos x="connsiteX189" y="connsiteY189"/>
                    </a:cxn>
                    <a:cxn ang="0">
                      <a:pos x="connsiteX190" y="connsiteY190"/>
                    </a:cxn>
                    <a:cxn ang="0">
                      <a:pos x="connsiteX191" y="connsiteY191"/>
                    </a:cxn>
                    <a:cxn ang="0">
                      <a:pos x="connsiteX192" y="connsiteY192"/>
                    </a:cxn>
                    <a:cxn ang="0">
                      <a:pos x="connsiteX193" y="connsiteY193"/>
                    </a:cxn>
                    <a:cxn ang="0">
                      <a:pos x="connsiteX194" y="connsiteY194"/>
                    </a:cxn>
                    <a:cxn ang="0">
                      <a:pos x="connsiteX195" y="connsiteY195"/>
                    </a:cxn>
                    <a:cxn ang="0">
                      <a:pos x="connsiteX196" y="connsiteY196"/>
                    </a:cxn>
                    <a:cxn ang="0">
                      <a:pos x="connsiteX197" y="connsiteY197"/>
                    </a:cxn>
                    <a:cxn ang="0">
                      <a:pos x="connsiteX198" y="connsiteY198"/>
                    </a:cxn>
                    <a:cxn ang="0">
                      <a:pos x="connsiteX199" y="connsiteY199"/>
                    </a:cxn>
                    <a:cxn ang="0">
                      <a:pos x="connsiteX200" y="connsiteY200"/>
                    </a:cxn>
                    <a:cxn ang="0">
                      <a:pos x="connsiteX201" y="connsiteY201"/>
                    </a:cxn>
                    <a:cxn ang="0">
                      <a:pos x="connsiteX202" y="connsiteY202"/>
                    </a:cxn>
                    <a:cxn ang="0">
                      <a:pos x="connsiteX203" y="connsiteY203"/>
                    </a:cxn>
                    <a:cxn ang="0">
                      <a:pos x="connsiteX204" y="connsiteY204"/>
                    </a:cxn>
                    <a:cxn ang="0">
                      <a:pos x="connsiteX205" y="connsiteY205"/>
                    </a:cxn>
                    <a:cxn ang="0">
                      <a:pos x="connsiteX206" y="connsiteY206"/>
                    </a:cxn>
                    <a:cxn ang="0">
                      <a:pos x="connsiteX207" y="connsiteY207"/>
                    </a:cxn>
                    <a:cxn ang="0">
                      <a:pos x="connsiteX208" y="connsiteY208"/>
                    </a:cxn>
                    <a:cxn ang="0">
                      <a:pos x="connsiteX209" y="connsiteY209"/>
                    </a:cxn>
                    <a:cxn ang="0">
                      <a:pos x="connsiteX210" y="connsiteY210"/>
                    </a:cxn>
                    <a:cxn ang="0">
                      <a:pos x="connsiteX211" y="connsiteY211"/>
                    </a:cxn>
                    <a:cxn ang="0">
                      <a:pos x="connsiteX212" y="connsiteY212"/>
                    </a:cxn>
                    <a:cxn ang="0">
                      <a:pos x="connsiteX213" y="connsiteY213"/>
                    </a:cxn>
                    <a:cxn ang="0">
                      <a:pos x="connsiteX214" y="connsiteY214"/>
                    </a:cxn>
                    <a:cxn ang="0">
                      <a:pos x="connsiteX215" y="connsiteY215"/>
                    </a:cxn>
                    <a:cxn ang="0">
                      <a:pos x="connsiteX216" y="connsiteY216"/>
                    </a:cxn>
                    <a:cxn ang="0">
                      <a:pos x="connsiteX217" y="connsiteY217"/>
                    </a:cxn>
                    <a:cxn ang="0">
                      <a:pos x="connsiteX218" y="connsiteY218"/>
                    </a:cxn>
                    <a:cxn ang="0">
                      <a:pos x="connsiteX219" y="connsiteY219"/>
                    </a:cxn>
                    <a:cxn ang="0">
                      <a:pos x="connsiteX220" y="connsiteY220"/>
                    </a:cxn>
                    <a:cxn ang="0">
                      <a:pos x="connsiteX221" y="connsiteY221"/>
                    </a:cxn>
                    <a:cxn ang="0">
                      <a:pos x="connsiteX222" y="connsiteY222"/>
                    </a:cxn>
                    <a:cxn ang="0">
                      <a:pos x="connsiteX223" y="connsiteY223"/>
                    </a:cxn>
                    <a:cxn ang="0">
                      <a:pos x="connsiteX224" y="connsiteY224"/>
                    </a:cxn>
                    <a:cxn ang="0">
                      <a:pos x="connsiteX225" y="connsiteY225"/>
                    </a:cxn>
                    <a:cxn ang="0">
                      <a:pos x="connsiteX226" y="connsiteY226"/>
                    </a:cxn>
                    <a:cxn ang="0">
                      <a:pos x="connsiteX227" y="connsiteY227"/>
                    </a:cxn>
                    <a:cxn ang="0">
                      <a:pos x="connsiteX228" y="connsiteY228"/>
                    </a:cxn>
                    <a:cxn ang="0">
                      <a:pos x="connsiteX229" y="connsiteY229"/>
                    </a:cxn>
                    <a:cxn ang="0">
                      <a:pos x="connsiteX230" y="connsiteY230"/>
                    </a:cxn>
                    <a:cxn ang="0">
                      <a:pos x="connsiteX231" y="connsiteY231"/>
                    </a:cxn>
                    <a:cxn ang="0">
                      <a:pos x="connsiteX232" y="connsiteY232"/>
                    </a:cxn>
                    <a:cxn ang="0">
                      <a:pos x="connsiteX233" y="connsiteY233"/>
                    </a:cxn>
                    <a:cxn ang="0">
                      <a:pos x="connsiteX234" y="connsiteY234"/>
                    </a:cxn>
                    <a:cxn ang="0">
                      <a:pos x="connsiteX235" y="connsiteY235"/>
                    </a:cxn>
                    <a:cxn ang="0">
                      <a:pos x="connsiteX236" y="connsiteY236"/>
                    </a:cxn>
                    <a:cxn ang="0">
                      <a:pos x="connsiteX237" y="connsiteY237"/>
                    </a:cxn>
                    <a:cxn ang="0">
                      <a:pos x="connsiteX238" y="connsiteY238"/>
                    </a:cxn>
                    <a:cxn ang="0">
                      <a:pos x="connsiteX239" y="connsiteY239"/>
                    </a:cxn>
                    <a:cxn ang="0">
                      <a:pos x="connsiteX240" y="connsiteY240"/>
                    </a:cxn>
                    <a:cxn ang="0">
                      <a:pos x="connsiteX241" y="connsiteY241"/>
                    </a:cxn>
                    <a:cxn ang="0">
                      <a:pos x="connsiteX242" y="connsiteY242"/>
                    </a:cxn>
                    <a:cxn ang="0">
                      <a:pos x="connsiteX243" y="connsiteY243"/>
                    </a:cxn>
                    <a:cxn ang="0">
                      <a:pos x="connsiteX244" y="connsiteY244"/>
                    </a:cxn>
                    <a:cxn ang="0">
                      <a:pos x="connsiteX245" y="connsiteY245"/>
                    </a:cxn>
                    <a:cxn ang="0">
                      <a:pos x="connsiteX246" y="connsiteY246"/>
                    </a:cxn>
                    <a:cxn ang="0">
                      <a:pos x="connsiteX247" y="connsiteY247"/>
                    </a:cxn>
                    <a:cxn ang="0">
                      <a:pos x="connsiteX248" y="connsiteY248"/>
                    </a:cxn>
                    <a:cxn ang="0">
                      <a:pos x="connsiteX249" y="connsiteY249"/>
                    </a:cxn>
                    <a:cxn ang="0">
                      <a:pos x="connsiteX250" y="connsiteY250"/>
                    </a:cxn>
                    <a:cxn ang="0">
                      <a:pos x="connsiteX251" y="connsiteY251"/>
                    </a:cxn>
                    <a:cxn ang="0">
                      <a:pos x="connsiteX252" y="connsiteY252"/>
                    </a:cxn>
                    <a:cxn ang="0">
                      <a:pos x="connsiteX253" y="connsiteY253"/>
                    </a:cxn>
                    <a:cxn ang="0">
                      <a:pos x="connsiteX254" y="connsiteY254"/>
                    </a:cxn>
                    <a:cxn ang="0">
                      <a:pos x="connsiteX255" y="connsiteY255"/>
                    </a:cxn>
                    <a:cxn ang="0">
                      <a:pos x="connsiteX256" y="connsiteY256"/>
                    </a:cxn>
                    <a:cxn ang="0">
                      <a:pos x="connsiteX257" y="connsiteY257"/>
                    </a:cxn>
                    <a:cxn ang="0">
                      <a:pos x="connsiteX258" y="connsiteY258"/>
                    </a:cxn>
                    <a:cxn ang="0">
                      <a:pos x="connsiteX259" y="connsiteY259"/>
                    </a:cxn>
                    <a:cxn ang="0">
                      <a:pos x="connsiteX260" y="connsiteY260"/>
                    </a:cxn>
                    <a:cxn ang="0">
                      <a:pos x="connsiteX261" y="connsiteY261"/>
                    </a:cxn>
                    <a:cxn ang="0">
                      <a:pos x="connsiteX262" y="connsiteY262"/>
                    </a:cxn>
                    <a:cxn ang="0">
                      <a:pos x="connsiteX263" y="connsiteY263"/>
                    </a:cxn>
                    <a:cxn ang="0">
                      <a:pos x="connsiteX264" y="connsiteY264"/>
                    </a:cxn>
                    <a:cxn ang="0">
                      <a:pos x="connsiteX265" y="connsiteY265"/>
                    </a:cxn>
                    <a:cxn ang="0">
                      <a:pos x="connsiteX266" y="connsiteY266"/>
                    </a:cxn>
                    <a:cxn ang="0">
                      <a:pos x="connsiteX267" y="connsiteY267"/>
                    </a:cxn>
                    <a:cxn ang="0">
                      <a:pos x="connsiteX268" y="connsiteY268"/>
                    </a:cxn>
                    <a:cxn ang="0">
                      <a:pos x="connsiteX269" y="connsiteY269"/>
                    </a:cxn>
                    <a:cxn ang="0">
                      <a:pos x="connsiteX270" y="connsiteY270"/>
                    </a:cxn>
                    <a:cxn ang="0">
                      <a:pos x="connsiteX271" y="connsiteY271"/>
                    </a:cxn>
                    <a:cxn ang="0">
                      <a:pos x="connsiteX272" y="connsiteY272"/>
                    </a:cxn>
                    <a:cxn ang="0">
                      <a:pos x="connsiteX273" y="connsiteY273"/>
                    </a:cxn>
                    <a:cxn ang="0">
                      <a:pos x="connsiteX274" y="connsiteY274"/>
                    </a:cxn>
                    <a:cxn ang="0">
                      <a:pos x="connsiteX275" y="connsiteY275"/>
                    </a:cxn>
                    <a:cxn ang="0">
                      <a:pos x="connsiteX276" y="connsiteY276"/>
                    </a:cxn>
                    <a:cxn ang="0">
                      <a:pos x="connsiteX277" y="connsiteY277"/>
                    </a:cxn>
                    <a:cxn ang="0">
                      <a:pos x="connsiteX278" y="connsiteY278"/>
                    </a:cxn>
                    <a:cxn ang="0">
                      <a:pos x="connsiteX279" y="connsiteY279"/>
                    </a:cxn>
                    <a:cxn ang="0">
                      <a:pos x="connsiteX280" y="connsiteY280"/>
                    </a:cxn>
                    <a:cxn ang="0">
                      <a:pos x="connsiteX281" y="connsiteY281"/>
                    </a:cxn>
                    <a:cxn ang="0">
                      <a:pos x="connsiteX282" y="connsiteY282"/>
                    </a:cxn>
                    <a:cxn ang="0">
                      <a:pos x="connsiteX283" y="connsiteY283"/>
                    </a:cxn>
                    <a:cxn ang="0">
                      <a:pos x="connsiteX284" y="connsiteY284"/>
                    </a:cxn>
                    <a:cxn ang="0">
                      <a:pos x="connsiteX285" y="connsiteY285"/>
                    </a:cxn>
                    <a:cxn ang="0">
                      <a:pos x="connsiteX286" y="connsiteY286"/>
                    </a:cxn>
                    <a:cxn ang="0">
                      <a:pos x="connsiteX287" y="connsiteY287"/>
                    </a:cxn>
                    <a:cxn ang="0">
                      <a:pos x="connsiteX288" y="connsiteY288"/>
                    </a:cxn>
                    <a:cxn ang="0">
                      <a:pos x="connsiteX289" y="connsiteY289"/>
                    </a:cxn>
                    <a:cxn ang="0">
                      <a:pos x="connsiteX290" y="connsiteY290"/>
                    </a:cxn>
                    <a:cxn ang="0">
                      <a:pos x="connsiteX291" y="connsiteY291"/>
                    </a:cxn>
                    <a:cxn ang="0">
                      <a:pos x="connsiteX292" y="connsiteY292"/>
                    </a:cxn>
                    <a:cxn ang="0">
                      <a:pos x="connsiteX293" y="connsiteY293"/>
                    </a:cxn>
                    <a:cxn ang="0">
                      <a:pos x="connsiteX294" y="connsiteY294"/>
                    </a:cxn>
                    <a:cxn ang="0">
                      <a:pos x="connsiteX295" y="connsiteY295"/>
                    </a:cxn>
                    <a:cxn ang="0">
                      <a:pos x="connsiteX296" y="connsiteY296"/>
                    </a:cxn>
                    <a:cxn ang="0">
                      <a:pos x="connsiteX297" y="connsiteY297"/>
                    </a:cxn>
                    <a:cxn ang="0">
                      <a:pos x="connsiteX298" y="connsiteY298"/>
                    </a:cxn>
                    <a:cxn ang="0">
                      <a:pos x="connsiteX299" y="connsiteY299"/>
                    </a:cxn>
                    <a:cxn ang="0">
                      <a:pos x="connsiteX300" y="connsiteY300"/>
                    </a:cxn>
                    <a:cxn ang="0">
                      <a:pos x="connsiteX301" y="connsiteY301"/>
                    </a:cxn>
                    <a:cxn ang="0">
                      <a:pos x="connsiteX302" y="connsiteY302"/>
                    </a:cxn>
                    <a:cxn ang="0">
                      <a:pos x="connsiteX303" y="connsiteY303"/>
                    </a:cxn>
                    <a:cxn ang="0">
                      <a:pos x="connsiteX304" y="connsiteY304"/>
                    </a:cxn>
                    <a:cxn ang="0">
                      <a:pos x="connsiteX305" y="connsiteY305"/>
                    </a:cxn>
                    <a:cxn ang="0">
                      <a:pos x="connsiteX306" y="connsiteY306"/>
                    </a:cxn>
                    <a:cxn ang="0">
                      <a:pos x="connsiteX307" y="connsiteY307"/>
                    </a:cxn>
                    <a:cxn ang="0">
                      <a:pos x="connsiteX308" y="connsiteY308"/>
                    </a:cxn>
                    <a:cxn ang="0">
                      <a:pos x="connsiteX309" y="connsiteY309"/>
                    </a:cxn>
                    <a:cxn ang="0">
                      <a:pos x="connsiteX310" y="connsiteY310"/>
                    </a:cxn>
                    <a:cxn ang="0">
                      <a:pos x="connsiteX311" y="connsiteY311"/>
                    </a:cxn>
                    <a:cxn ang="0">
                      <a:pos x="connsiteX312" y="connsiteY312"/>
                    </a:cxn>
                    <a:cxn ang="0">
                      <a:pos x="connsiteX313" y="connsiteY313"/>
                    </a:cxn>
                    <a:cxn ang="0">
                      <a:pos x="connsiteX314" y="connsiteY314"/>
                    </a:cxn>
                    <a:cxn ang="0">
                      <a:pos x="connsiteX315" y="connsiteY315"/>
                    </a:cxn>
                    <a:cxn ang="0">
                      <a:pos x="connsiteX316" y="connsiteY316"/>
                    </a:cxn>
                    <a:cxn ang="0">
                      <a:pos x="connsiteX317" y="connsiteY317"/>
                    </a:cxn>
                    <a:cxn ang="0">
                      <a:pos x="connsiteX318" y="connsiteY318"/>
                    </a:cxn>
                    <a:cxn ang="0">
                      <a:pos x="connsiteX319" y="connsiteY319"/>
                    </a:cxn>
                    <a:cxn ang="0">
                      <a:pos x="connsiteX320" y="connsiteY320"/>
                    </a:cxn>
                    <a:cxn ang="0">
                      <a:pos x="connsiteX321" y="connsiteY321"/>
                    </a:cxn>
                    <a:cxn ang="0">
                      <a:pos x="connsiteX322" y="connsiteY322"/>
                    </a:cxn>
                    <a:cxn ang="0">
                      <a:pos x="connsiteX323" y="connsiteY323"/>
                    </a:cxn>
                    <a:cxn ang="0">
                      <a:pos x="connsiteX324" y="connsiteY324"/>
                    </a:cxn>
                    <a:cxn ang="0">
                      <a:pos x="connsiteX325" y="connsiteY325"/>
                    </a:cxn>
                    <a:cxn ang="0">
                      <a:pos x="connsiteX326" y="connsiteY326"/>
                    </a:cxn>
                    <a:cxn ang="0">
                      <a:pos x="connsiteX327" y="connsiteY327"/>
                    </a:cxn>
                    <a:cxn ang="0">
                      <a:pos x="connsiteX328" y="connsiteY328"/>
                    </a:cxn>
                    <a:cxn ang="0">
                      <a:pos x="connsiteX329" y="connsiteY329"/>
                    </a:cxn>
                    <a:cxn ang="0">
                      <a:pos x="connsiteX330" y="connsiteY330"/>
                    </a:cxn>
                    <a:cxn ang="0">
                      <a:pos x="connsiteX331" y="connsiteY331"/>
                    </a:cxn>
                    <a:cxn ang="0">
                      <a:pos x="connsiteX332" y="connsiteY332"/>
                    </a:cxn>
                    <a:cxn ang="0">
                      <a:pos x="connsiteX333" y="connsiteY333"/>
                    </a:cxn>
                    <a:cxn ang="0">
                      <a:pos x="connsiteX334" y="connsiteY334"/>
                    </a:cxn>
                    <a:cxn ang="0">
                      <a:pos x="connsiteX335" y="connsiteY335"/>
                    </a:cxn>
                    <a:cxn ang="0">
                      <a:pos x="connsiteX336" y="connsiteY336"/>
                    </a:cxn>
                    <a:cxn ang="0">
                      <a:pos x="connsiteX337" y="connsiteY337"/>
                    </a:cxn>
                    <a:cxn ang="0">
                      <a:pos x="connsiteX338" y="connsiteY338"/>
                    </a:cxn>
                    <a:cxn ang="0">
                      <a:pos x="connsiteX339" y="connsiteY339"/>
                    </a:cxn>
                    <a:cxn ang="0">
                      <a:pos x="connsiteX340" y="connsiteY340"/>
                    </a:cxn>
                    <a:cxn ang="0">
                      <a:pos x="connsiteX341" y="connsiteY341"/>
                    </a:cxn>
                    <a:cxn ang="0">
                      <a:pos x="connsiteX342" y="connsiteY342"/>
                    </a:cxn>
                    <a:cxn ang="0">
                      <a:pos x="connsiteX343" y="connsiteY343"/>
                    </a:cxn>
                    <a:cxn ang="0">
                      <a:pos x="connsiteX344" y="connsiteY344"/>
                    </a:cxn>
                    <a:cxn ang="0">
                      <a:pos x="connsiteX345" y="connsiteY345"/>
                    </a:cxn>
                    <a:cxn ang="0">
                      <a:pos x="connsiteX346" y="connsiteY346"/>
                    </a:cxn>
                    <a:cxn ang="0">
                      <a:pos x="connsiteX347" y="connsiteY347"/>
                    </a:cxn>
                    <a:cxn ang="0">
                      <a:pos x="connsiteX348" y="connsiteY348"/>
                    </a:cxn>
                    <a:cxn ang="0">
                      <a:pos x="connsiteX349" y="connsiteY349"/>
                    </a:cxn>
                    <a:cxn ang="0">
                      <a:pos x="connsiteX350" y="connsiteY350"/>
                    </a:cxn>
                    <a:cxn ang="0">
                      <a:pos x="connsiteX351" y="connsiteY351"/>
                    </a:cxn>
                    <a:cxn ang="0">
                      <a:pos x="connsiteX352" y="connsiteY352"/>
                    </a:cxn>
                    <a:cxn ang="0">
                      <a:pos x="connsiteX353" y="connsiteY353"/>
                    </a:cxn>
                    <a:cxn ang="0">
                      <a:pos x="connsiteX354" y="connsiteY354"/>
                    </a:cxn>
                    <a:cxn ang="0">
                      <a:pos x="connsiteX355" y="connsiteY355"/>
                    </a:cxn>
                    <a:cxn ang="0">
                      <a:pos x="connsiteX356" y="connsiteY356"/>
                    </a:cxn>
                    <a:cxn ang="0">
                      <a:pos x="connsiteX357" y="connsiteY357"/>
                    </a:cxn>
                    <a:cxn ang="0">
                      <a:pos x="connsiteX358" y="connsiteY358"/>
                    </a:cxn>
                    <a:cxn ang="0">
                      <a:pos x="connsiteX359" y="connsiteY359"/>
                    </a:cxn>
                    <a:cxn ang="0">
                      <a:pos x="connsiteX360" y="connsiteY360"/>
                    </a:cxn>
                    <a:cxn ang="0">
                      <a:pos x="connsiteX361" y="connsiteY361"/>
                    </a:cxn>
                    <a:cxn ang="0">
                      <a:pos x="connsiteX362" y="connsiteY362"/>
                    </a:cxn>
                    <a:cxn ang="0">
                      <a:pos x="connsiteX363" y="connsiteY363"/>
                    </a:cxn>
                    <a:cxn ang="0">
                      <a:pos x="connsiteX364" y="connsiteY364"/>
                    </a:cxn>
                    <a:cxn ang="0">
                      <a:pos x="connsiteX365" y="connsiteY365"/>
                    </a:cxn>
                    <a:cxn ang="0">
                      <a:pos x="connsiteX366" y="connsiteY366"/>
                    </a:cxn>
                    <a:cxn ang="0">
                      <a:pos x="connsiteX367" y="connsiteY367"/>
                    </a:cxn>
                    <a:cxn ang="0">
                      <a:pos x="connsiteX368" y="connsiteY368"/>
                    </a:cxn>
                    <a:cxn ang="0">
                      <a:pos x="connsiteX369" y="connsiteY369"/>
                    </a:cxn>
                    <a:cxn ang="0">
                      <a:pos x="connsiteX370" y="connsiteY370"/>
                    </a:cxn>
                    <a:cxn ang="0">
                      <a:pos x="connsiteX371" y="connsiteY371"/>
                    </a:cxn>
                    <a:cxn ang="0">
                      <a:pos x="connsiteX372" y="connsiteY372"/>
                    </a:cxn>
                    <a:cxn ang="0">
                      <a:pos x="connsiteX373" y="connsiteY373"/>
                    </a:cxn>
                    <a:cxn ang="0">
                      <a:pos x="connsiteX374" y="connsiteY374"/>
                    </a:cxn>
                    <a:cxn ang="0">
                      <a:pos x="connsiteX375" y="connsiteY375"/>
                    </a:cxn>
                    <a:cxn ang="0">
                      <a:pos x="connsiteX376" y="connsiteY376"/>
                    </a:cxn>
                    <a:cxn ang="0">
                      <a:pos x="connsiteX377" y="connsiteY377"/>
                    </a:cxn>
                    <a:cxn ang="0">
                      <a:pos x="connsiteX378" y="connsiteY378"/>
                    </a:cxn>
                    <a:cxn ang="0">
                      <a:pos x="connsiteX379" y="connsiteY379"/>
                    </a:cxn>
                    <a:cxn ang="0">
                      <a:pos x="connsiteX380" y="connsiteY380"/>
                    </a:cxn>
                    <a:cxn ang="0">
                      <a:pos x="connsiteX381" y="connsiteY381"/>
                    </a:cxn>
                    <a:cxn ang="0">
                      <a:pos x="connsiteX382" y="connsiteY382"/>
                    </a:cxn>
                    <a:cxn ang="0">
                      <a:pos x="connsiteX383" y="connsiteY383"/>
                    </a:cxn>
                    <a:cxn ang="0">
                      <a:pos x="connsiteX384" y="connsiteY384"/>
                    </a:cxn>
                    <a:cxn ang="0">
                      <a:pos x="connsiteX385" y="connsiteY385"/>
                    </a:cxn>
                    <a:cxn ang="0">
                      <a:pos x="connsiteX386" y="connsiteY386"/>
                    </a:cxn>
                    <a:cxn ang="0">
                      <a:pos x="connsiteX387" y="connsiteY387"/>
                    </a:cxn>
                    <a:cxn ang="0">
                      <a:pos x="connsiteX388" y="connsiteY388"/>
                    </a:cxn>
                    <a:cxn ang="0">
                      <a:pos x="connsiteX389" y="connsiteY389"/>
                    </a:cxn>
                    <a:cxn ang="0">
                      <a:pos x="connsiteX390" y="connsiteY390"/>
                    </a:cxn>
                    <a:cxn ang="0">
                      <a:pos x="connsiteX391" y="connsiteY391"/>
                    </a:cxn>
                    <a:cxn ang="0">
                      <a:pos x="connsiteX392" y="connsiteY392"/>
                    </a:cxn>
                    <a:cxn ang="0">
                      <a:pos x="connsiteX393" y="connsiteY393"/>
                    </a:cxn>
                    <a:cxn ang="0">
                      <a:pos x="connsiteX394" y="connsiteY394"/>
                    </a:cxn>
                    <a:cxn ang="0">
                      <a:pos x="connsiteX395" y="connsiteY395"/>
                    </a:cxn>
                    <a:cxn ang="0">
                      <a:pos x="connsiteX396" y="connsiteY396"/>
                    </a:cxn>
                    <a:cxn ang="0">
                      <a:pos x="connsiteX397" y="connsiteY397"/>
                    </a:cxn>
                    <a:cxn ang="0">
                      <a:pos x="connsiteX398" y="connsiteY398"/>
                    </a:cxn>
                    <a:cxn ang="0">
                      <a:pos x="connsiteX399" y="connsiteY399"/>
                    </a:cxn>
                    <a:cxn ang="0">
                      <a:pos x="connsiteX400" y="connsiteY400"/>
                    </a:cxn>
                    <a:cxn ang="0">
                      <a:pos x="connsiteX401" y="connsiteY401"/>
                    </a:cxn>
                    <a:cxn ang="0">
                      <a:pos x="connsiteX402" y="connsiteY402"/>
                    </a:cxn>
                    <a:cxn ang="0">
                      <a:pos x="connsiteX403" y="connsiteY403"/>
                    </a:cxn>
                    <a:cxn ang="0">
                      <a:pos x="connsiteX404" y="connsiteY404"/>
                    </a:cxn>
                    <a:cxn ang="0">
                      <a:pos x="connsiteX405" y="connsiteY405"/>
                    </a:cxn>
                    <a:cxn ang="0">
                      <a:pos x="connsiteX406" y="connsiteY406"/>
                    </a:cxn>
                    <a:cxn ang="0">
                      <a:pos x="connsiteX407" y="connsiteY407"/>
                    </a:cxn>
                    <a:cxn ang="0">
                      <a:pos x="connsiteX408" y="connsiteY408"/>
                    </a:cxn>
                    <a:cxn ang="0">
                      <a:pos x="connsiteX409" y="connsiteY409"/>
                    </a:cxn>
                    <a:cxn ang="0">
                      <a:pos x="connsiteX410" y="connsiteY410"/>
                    </a:cxn>
                    <a:cxn ang="0">
                      <a:pos x="connsiteX411" y="connsiteY411"/>
                    </a:cxn>
                    <a:cxn ang="0">
                      <a:pos x="connsiteX412" y="connsiteY412"/>
                    </a:cxn>
                    <a:cxn ang="0">
                      <a:pos x="connsiteX413" y="connsiteY413"/>
                    </a:cxn>
                    <a:cxn ang="0">
                      <a:pos x="connsiteX414" y="connsiteY414"/>
                    </a:cxn>
                    <a:cxn ang="0">
                      <a:pos x="connsiteX415" y="connsiteY415"/>
                    </a:cxn>
                    <a:cxn ang="0">
                      <a:pos x="connsiteX416" y="connsiteY416"/>
                    </a:cxn>
                    <a:cxn ang="0">
                      <a:pos x="connsiteX417" y="connsiteY417"/>
                    </a:cxn>
                    <a:cxn ang="0">
                      <a:pos x="connsiteX418" y="connsiteY418"/>
                    </a:cxn>
                    <a:cxn ang="0">
                      <a:pos x="connsiteX419" y="connsiteY419"/>
                    </a:cxn>
                    <a:cxn ang="0">
                      <a:pos x="connsiteX420" y="connsiteY420"/>
                    </a:cxn>
                    <a:cxn ang="0">
                      <a:pos x="connsiteX421" y="connsiteY421"/>
                    </a:cxn>
                    <a:cxn ang="0">
                      <a:pos x="connsiteX422" y="connsiteY422"/>
                    </a:cxn>
                    <a:cxn ang="0">
                      <a:pos x="connsiteX423" y="connsiteY423"/>
                    </a:cxn>
                    <a:cxn ang="0">
                      <a:pos x="connsiteX424" y="connsiteY424"/>
                    </a:cxn>
                    <a:cxn ang="0">
                      <a:pos x="connsiteX425" y="connsiteY425"/>
                    </a:cxn>
                    <a:cxn ang="0">
                      <a:pos x="connsiteX426" y="connsiteY426"/>
                    </a:cxn>
                    <a:cxn ang="0">
                      <a:pos x="connsiteX427" y="connsiteY427"/>
                    </a:cxn>
                    <a:cxn ang="0">
                      <a:pos x="connsiteX428" y="connsiteY428"/>
                    </a:cxn>
                    <a:cxn ang="0">
                      <a:pos x="connsiteX429" y="connsiteY429"/>
                    </a:cxn>
                    <a:cxn ang="0">
                      <a:pos x="connsiteX430" y="connsiteY430"/>
                    </a:cxn>
                    <a:cxn ang="0">
                      <a:pos x="connsiteX431" y="connsiteY431"/>
                    </a:cxn>
                    <a:cxn ang="0">
                      <a:pos x="connsiteX432" y="connsiteY432"/>
                    </a:cxn>
                    <a:cxn ang="0">
                      <a:pos x="connsiteX433" y="connsiteY433"/>
                    </a:cxn>
                    <a:cxn ang="0">
                      <a:pos x="connsiteX434" y="connsiteY434"/>
                    </a:cxn>
                    <a:cxn ang="0">
                      <a:pos x="connsiteX435" y="connsiteY435"/>
                    </a:cxn>
                    <a:cxn ang="0">
                      <a:pos x="connsiteX436" y="connsiteY436"/>
                    </a:cxn>
                    <a:cxn ang="0">
                      <a:pos x="connsiteX437" y="connsiteY437"/>
                    </a:cxn>
                    <a:cxn ang="0">
                      <a:pos x="connsiteX438" y="connsiteY438"/>
                    </a:cxn>
                    <a:cxn ang="0">
                      <a:pos x="connsiteX439" y="connsiteY439"/>
                    </a:cxn>
                    <a:cxn ang="0">
                      <a:pos x="connsiteX440" y="connsiteY440"/>
                    </a:cxn>
                    <a:cxn ang="0">
                      <a:pos x="connsiteX441" y="connsiteY441"/>
                    </a:cxn>
                    <a:cxn ang="0">
                      <a:pos x="connsiteX442" y="connsiteY442"/>
                    </a:cxn>
                    <a:cxn ang="0">
                      <a:pos x="connsiteX443" y="connsiteY443"/>
                    </a:cxn>
                    <a:cxn ang="0">
                      <a:pos x="connsiteX444" y="connsiteY444"/>
                    </a:cxn>
                    <a:cxn ang="0">
                      <a:pos x="connsiteX445" y="connsiteY445"/>
                    </a:cxn>
                    <a:cxn ang="0">
                      <a:pos x="connsiteX446" y="connsiteY446"/>
                    </a:cxn>
                    <a:cxn ang="0">
                      <a:pos x="connsiteX447" y="connsiteY447"/>
                    </a:cxn>
                    <a:cxn ang="0">
                      <a:pos x="connsiteX448" y="connsiteY448"/>
                    </a:cxn>
                    <a:cxn ang="0">
                      <a:pos x="connsiteX449" y="connsiteY449"/>
                    </a:cxn>
                    <a:cxn ang="0">
                      <a:pos x="connsiteX450" y="connsiteY450"/>
                    </a:cxn>
                    <a:cxn ang="0">
                      <a:pos x="connsiteX451" y="connsiteY451"/>
                    </a:cxn>
                    <a:cxn ang="0">
                      <a:pos x="connsiteX452" y="connsiteY452"/>
                    </a:cxn>
                    <a:cxn ang="0">
                      <a:pos x="connsiteX453" y="connsiteY453"/>
                    </a:cxn>
                    <a:cxn ang="0">
                      <a:pos x="connsiteX454" y="connsiteY454"/>
                    </a:cxn>
                    <a:cxn ang="0">
                      <a:pos x="connsiteX455" y="connsiteY455"/>
                    </a:cxn>
                    <a:cxn ang="0">
                      <a:pos x="connsiteX456" y="connsiteY456"/>
                    </a:cxn>
                    <a:cxn ang="0">
                      <a:pos x="connsiteX457" y="connsiteY457"/>
                    </a:cxn>
                    <a:cxn ang="0">
                      <a:pos x="connsiteX458" y="connsiteY458"/>
                    </a:cxn>
                    <a:cxn ang="0">
                      <a:pos x="connsiteX459" y="connsiteY459"/>
                    </a:cxn>
                    <a:cxn ang="0">
                      <a:pos x="connsiteX460" y="connsiteY460"/>
                    </a:cxn>
                    <a:cxn ang="0">
                      <a:pos x="connsiteX461" y="connsiteY461"/>
                    </a:cxn>
                    <a:cxn ang="0">
                      <a:pos x="connsiteX462" y="connsiteY462"/>
                    </a:cxn>
                    <a:cxn ang="0">
                      <a:pos x="connsiteX463" y="connsiteY463"/>
                    </a:cxn>
                    <a:cxn ang="0">
                      <a:pos x="connsiteX464" y="connsiteY464"/>
                    </a:cxn>
                    <a:cxn ang="0">
                      <a:pos x="connsiteX465" y="connsiteY465"/>
                    </a:cxn>
                    <a:cxn ang="0">
                      <a:pos x="connsiteX466" y="connsiteY466"/>
                    </a:cxn>
                    <a:cxn ang="0">
                      <a:pos x="connsiteX467" y="connsiteY467"/>
                    </a:cxn>
                    <a:cxn ang="0">
                      <a:pos x="connsiteX468" y="connsiteY468"/>
                    </a:cxn>
                    <a:cxn ang="0">
                      <a:pos x="connsiteX469" y="connsiteY469"/>
                    </a:cxn>
                    <a:cxn ang="0">
                      <a:pos x="connsiteX470" y="connsiteY470"/>
                    </a:cxn>
                    <a:cxn ang="0">
                      <a:pos x="connsiteX471" y="connsiteY471"/>
                    </a:cxn>
                    <a:cxn ang="0">
                      <a:pos x="connsiteX472" y="connsiteY472"/>
                    </a:cxn>
                    <a:cxn ang="0">
                      <a:pos x="connsiteX473" y="connsiteY473"/>
                    </a:cxn>
                    <a:cxn ang="0">
                      <a:pos x="connsiteX474" y="connsiteY474"/>
                    </a:cxn>
                    <a:cxn ang="0">
                      <a:pos x="connsiteX475" y="connsiteY475"/>
                    </a:cxn>
                    <a:cxn ang="0">
                      <a:pos x="connsiteX476" y="connsiteY476"/>
                    </a:cxn>
                    <a:cxn ang="0">
                      <a:pos x="connsiteX477" y="connsiteY477"/>
                    </a:cxn>
                    <a:cxn ang="0">
                      <a:pos x="connsiteX478" y="connsiteY478"/>
                    </a:cxn>
                    <a:cxn ang="0">
                      <a:pos x="connsiteX479" y="connsiteY479"/>
                    </a:cxn>
                    <a:cxn ang="0">
                      <a:pos x="connsiteX480" y="connsiteY480"/>
                    </a:cxn>
                    <a:cxn ang="0">
                      <a:pos x="connsiteX481" y="connsiteY481"/>
                    </a:cxn>
                    <a:cxn ang="0">
                      <a:pos x="connsiteX482" y="connsiteY482"/>
                    </a:cxn>
                    <a:cxn ang="0">
                      <a:pos x="connsiteX483" y="connsiteY483"/>
                    </a:cxn>
                    <a:cxn ang="0">
                      <a:pos x="connsiteX484" y="connsiteY484"/>
                    </a:cxn>
                    <a:cxn ang="0">
                      <a:pos x="connsiteX485" y="connsiteY485"/>
                    </a:cxn>
                    <a:cxn ang="0">
                      <a:pos x="connsiteX486" y="connsiteY486"/>
                    </a:cxn>
                    <a:cxn ang="0">
                      <a:pos x="connsiteX487" y="connsiteY487"/>
                    </a:cxn>
                    <a:cxn ang="0">
                      <a:pos x="connsiteX488" y="connsiteY488"/>
                    </a:cxn>
                    <a:cxn ang="0">
                      <a:pos x="connsiteX489" y="connsiteY489"/>
                    </a:cxn>
                    <a:cxn ang="0">
                      <a:pos x="connsiteX490" y="connsiteY490"/>
                    </a:cxn>
                    <a:cxn ang="0">
                      <a:pos x="connsiteX491" y="connsiteY491"/>
                    </a:cxn>
                    <a:cxn ang="0">
                      <a:pos x="connsiteX492" y="connsiteY492"/>
                    </a:cxn>
                    <a:cxn ang="0">
                      <a:pos x="connsiteX493" y="connsiteY493"/>
                    </a:cxn>
                    <a:cxn ang="0">
                      <a:pos x="connsiteX494" y="connsiteY494"/>
                    </a:cxn>
                    <a:cxn ang="0">
                      <a:pos x="connsiteX495" y="connsiteY495"/>
                    </a:cxn>
                    <a:cxn ang="0">
                      <a:pos x="connsiteX496" y="connsiteY496"/>
                    </a:cxn>
                    <a:cxn ang="0">
                      <a:pos x="connsiteX497" y="connsiteY497"/>
                    </a:cxn>
                    <a:cxn ang="0">
                      <a:pos x="connsiteX498" y="connsiteY498"/>
                    </a:cxn>
                    <a:cxn ang="0">
                      <a:pos x="connsiteX499" y="connsiteY499"/>
                    </a:cxn>
                    <a:cxn ang="0">
                      <a:pos x="connsiteX500" y="connsiteY500"/>
                    </a:cxn>
                    <a:cxn ang="0">
                      <a:pos x="connsiteX501" y="connsiteY501"/>
                    </a:cxn>
                    <a:cxn ang="0">
                      <a:pos x="connsiteX502" y="connsiteY502"/>
                    </a:cxn>
                    <a:cxn ang="0">
                      <a:pos x="connsiteX503" y="connsiteY503"/>
                    </a:cxn>
                    <a:cxn ang="0">
                      <a:pos x="connsiteX504" y="connsiteY504"/>
                    </a:cxn>
                    <a:cxn ang="0">
                      <a:pos x="connsiteX505" y="connsiteY505"/>
                    </a:cxn>
                    <a:cxn ang="0">
                      <a:pos x="connsiteX506" y="connsiteY506"/>
                    </a:cxn>
                    <a:cxn ang="0">
                      <a:pos x="connsiteX507" y="connsiteY507"/>
                    </a:cxn>
                    <a:cxn ang="0">
                      <a:pos x="connsiteX508" y="connsiteY508"/>
                    </a:cxn>
                    <a:cxn ang="0">
                      <a:pos x="connsiteX509" y="connsiteY509"/>
                    </a:cxn>
                    <a:cxn ang="0">
                      <a:pos x="connsiteX510" y="connsiteY510"/>
                    </a:cxn>
                    <a:cxn ang="0">
                      <a:pos x="connsiteX511" y="connsiteY511"/>
                    </a:cxn>
                    <a:cxn ang="0">
                      <a:pos x="connsiteX512" y="connsiteY512"/>
                    </a:cxn>
                    <a:cxn ang="0">
                      <a:pos x="connsiteX513" y="connsiteY513"/>
                    </a:cxn>
                    <a:cxn ang="0">
                      <a:pos x="connsiteX514" y="connsiteY514"/>
                    </a:cxn>
                    <a:cxn ang="0">
                      <a:pos x="connsiteX515" y="connsiteY515"/>
                    </a:cxn>
                    <a:cxn ang="0">
                      <a:pos x="connsiteX516" y="connsiteY516"/>
                    </a:cxn>
                    <a:cxn ang="0">
                      <a:pos x="connsiteX517" y="connsiteY517"/>
                    </a:cxn>
                    <a:cxn ang="0">
                      <a:pos x="connsiteX518" y="connsiteY518"/>
                    </a:cxn>
                    <a:cxn ang="0">
                      <a:pos x="connsiteX519" y="connsiteY519"/>
                    </a:cxn>
                    <a:cxn ang="0">
                      <a:pos x="connsiteX520" y="connsiteY520"/>
                    </a:cxn>
                    <a:cxn ang="0">
                      <a:pos x="connsiteX521" y="connsiteY521"/>
                    </a:cxn>
                    <a:cxn ang="0">
                      <a:pos x="connsiteX522" y="connsiteY522"/>
                    </a:cxn>
                    <a:cxn ang="0">
                      <a:pos x="connsiteX523" y="connsiteY523"/>
                    </a:cxn>
                    <a:cxn ang="0">
                      <a:pos x="connsiteX524" y="connsiteY524"/>
                    </a:cxn>
                    <a:cxn ang="0">
                      <a:pos x="connsiteX525" y="connsiteY525"/>
                    </a:cxn>
                    <a:cxn ang="0">
                      <a:pos x="connsiteX526" y="connsiteY526"/>
                    </a:cxn>
                    <a:cxn ang="0">
                      <a:pos x="connsiteX527" y="connsiteY527"/>
                    </a:cxn>
                    <a:cxn ang="0">
                      <a:pos x="connsiteX528" y="connsiteY528"/>
                    </a:cxn>
                    <a:cxn ang="0">
                      <a:pos x="connsiteX529" y="connsiteY529"/>
                    </a:cxn>
                    <a:cxn ang="0">
                      <a:pos x="connsiteX530" y="connsiteY530"/>
                    </a:cxn>
                    <a:cxn ang="0">
                      <a:pos x="connsiteX531" y="connsiteY531"/>
                    </a:cxn>
                    <a:cxn ang="0">
                      <a:pos x="connsiteX532" y="connsiteY532"/>
                    </a:cxn>
                    <a:cxn ang="0">
                      <a:pos x="connsiteX533" y="connsiteY533"/>
                    </a:cxn>
                    <a:cxn ang="0">
                      <a:pos x="connsiteX534" y="connsiteY534"/>
                    </a:cxn>
                    <a:cxn ang="0">
                      <a:pos x="connsiteX535" y="connsiteY535"/>
                    </a:cxn>
                    <a:cxn ang="0">
                      <a:pos x="connsiteX536" y="connsiteY536"/>
                    </a:cxn>
                    <a:cxn ang="0">
                      <a:pos x="connsiteX537" y="connsiteY537"/>
                    </a:cxn>
                    <a:cxn ang="0">
                      <a:pos x="connsiteX538" y="connsiteY538"/>
                    </a:cxn>
                    <a:cxn ang="0">
                      <a:pos x="connsiteX539" y="connsiteY539"/>
                    </a:cxn>
                    <a:cxn ang="0">
                      <a:pos x="connsiteX540" y="connsiteY540"/>
                    </a:cxn>
                    <a:cxn ang="0">
                      <a:pos x="connsiteX541" y="connsiteY541"/>
                    </a:cxn>
                    <a:cxn ang="0">
                      <a:pos x="connsiteX542" y="connsiteY542"/>
                    </a:cxn>
                    <a:cxn ang="0">
                      <a:pos x="connsiteX543" y="connsiteY543"/>
                    </a:cxn>
                    <a:cxn ang="0">
                      <a:pos x="connsiteX544" y="connsiteY544"/>
                    </a:cxn>
                    <a:cxn ang="0">
                      <a:pos x="connsiteX545" y="connsiteY545"/>
                    </a:cxn>
                    <a:cxn ang="0">
                      <a:pos x="connsiteX546" y="connsiteY546"/>
                    </a:cxn>
                    <a:cxn ang="0">
                      <a:pos x="connsiteX547" y="connsiteY547"/>
                    </a:cxn>
                    <a:cxn ang="0">
                      <a:pos x="connsiteX548" y="connsiteY548"/>
                    </a:cxn>
                    <a:cxn ang="0">
                      <a:pos x="connsiteX549" y="connsiteY549"/>
                    </a:cxn>
                    <a:cxn ang="0">
                      <a:pos x="connsiteX550" y="connsiteY550"/>
                    </a:cxn>
                    <a:cxn ang="0">
                      <a:pos x="connsiteX551" y="connsiteY551"/>
                    </a:cxn>
                    <a:cxn ang="0">
                      <a:pos x="connsiteX552" y="connsiteY552"/>
                    </a:cxn>
                    <a:cxn ang="0">
                      <a:pos x="connsiteX553" y="connsiteY553"/>
                    </a:cxn>
                    <a:cxn ang="0">
                      <a:pos x="connsiteX554" y="connsiteY554"/>
                    </a:cxn>
                    <a:cxn ang="0">
                      <a:pos x="connsiteX555" y="connsiteY555"/>
                    </a:cxn>
                    <a:cxn ang="0">
                      <a:pos x="connsiteX556" y="connsiteY556"/>
                    </a:cxn>
                    <a:cxn ang="0">
                      <a:pos x="connsiteX557" y="connsiteY557"/>
                    </a:cxn>
                    <a:cxn ang="0">
                      <a:pos x="connsiteX558" y="connsiteY558"/>
                    </a:cxn>
                    <a:cxn ang="0">
                      <a:pos x="connsiteX559" y="connsiteY559"/>
                    </a:cxn>
                    <a:cxn ang="0">
                      <a:pos x="connsiteX560" y="connsiteY560"/>
                    </a:cxn>
                    <a:cxn ang="0">
                      <a:pos x="connsiteX561" y="connsiteY561"/>
                    </a:cxn>
                    <a:cxn ang="0">
                      <a:pos x="connsiteX562" y="connsiteY562"/>
                    </a:cxn>
                    <a:cxn ang="0">
                      <a:pos x="connsiteX563" y="connsiteY563"/>
                    </a:cxn>
                    <a:cxn ang="0">
                      <a:pos x="connsiteX564" y="connsiteY564"/>
                    </a:cxn>
                    <a:cxn ang="0">
                      <a:pos x="connsiteX565" y="connsiteY565"/>
                    </a:cxn>
                    <a:cxn ang="0">
                      <a:pos x="connsiteX566" y="connsiteY566"/>
                    </a:cxn>
                    <a:cxn ang="0">
                      <a:pos x="connsiteX567" y="connsiteY567"/>
                    </a:cxn>
                    <a:cxn ang="0">
                      <a:pos x="connsiteX568" y="connsiteY568"/>
                    </a:cxn>
                    <a:cxn ang="0">
                      <a:pos x="connsiteX569" y="connsiteY569"/>
                    </a:cxn>
                    <a:cxn ang="0">
                      <a:pos x="connsiteX570" y="connsiteY570"/>
                    </a:cxn>
                    <a:cxn ang="0">
                      <a:pos x="connsiteX571" y="connsiteY571"/>
                    </a:cxn>
                    <a:cxn ang="0">
                      <a:pos x="connsiteX572" y="connsiteY572"/>
                    </a:cxn>
                    <a:cxn ang="0">
                      <a:pos x="connsiteX573" y="connsiteY573"/>
                    </a:cxn>
                    <a:cxn ang="0">
                      <a:pos x="connsiteX574" y="connsiteY574"/>
                    </a:cxn>
                    <a:cxn ang="0">
                      <a:pos x="connsiteX575" y="connsiteY575"/>
                    </a:cxn>
                    <a:cxn ang="0">
                      <a:pos x="connsiteX576" y="connsiteY576"/>
                    </a:cxn>
                    <a:cxn ang="0">
                      <a:pos x="connsiteX577" y="connsiteY577"/>
                    </a:cxn>
                    <a:cxn ang="0">
                      <a:pos x="connsiteX578" y="connsiteY578"/>
                    </a:cxn>
                    <a:cxn ang="0">
                      <a:pos x="connsiteX579" y="connsiteY579"/>
                    </a:cxn>
                    <a:cxn ang="0">
                      <a:pos x="connsiteX580" y="connsiteY580"/>
                    </a:cxn>
                    <a:cxn ang="0">
                      <a:pos x="connsiteX581" y="connsiteY581"/>
                    </a:cxn>
                    <a:cxn ang="0">
                      <a:pos x="connsiteX582" y="connsiteY582"/>
                    </a:cxn>
                    <a:cxn ang="0">
                      <a:pos x="connsiteX583" y="connsiteY583"/>
                    </a:cxn>
                    <a:cxn ang="0">
                      <a:pos x="connsiteX584" y="connsiteY584"/>
                    </a:cxn>
                    <a:cxn ang="0">
                      <a:pos x="connsiteX585" y="connsiteY585"/>
                    </a:cxn>
                    <a:cxn ang="0">
                      <a:pos x="connsiteX586" y="connsiteY586"/>
                    </a:cxn>
                    <a:cxn ang="0">
                      <a:pos x="connsiteX587" y="connsiteY587"/>
                    </a:cxn>
                    <a:cxn ang="0">
                      <a:pos x="connsiteX588" y="connsiteY588"/>
                    </a:cxn>
                    <a:cxn ang="0">
                      <a:pos x="connsiteX589" y="connsiteY589"/>
                    </a:cxn>
                    <a:cxn ang="0">
                      <a:pos x="connsiteX590" y="connsiteY590"/>
                    </a:cxn>
                    <a:cxn ang="0">
                      <a:pos x="connsiteX591" y="connsiteY591"/>
                    </a:cxn>
                    <a:cxn ang="0">
                      <a:pos x="connsiteX592" y="connsiteY592"/>
                    </a:cxn>
                    <a:cxn ang="0">
                      <a:pos x="connsiteX593" y="connsiteY593"/>
                    </a:cxn>
                    <a:cxn ang="0">
                      <a:pos x="connsiteX594" y="connsiteY594"/>
                    </a:cxn>
                    <a:cxn ang="0">
                      <a:pos x="connsiteX595" y="connsiteY595"/>
                    </a:cxn>
                    <a:cxn ang="0">
                      <a:pos x="connsiteX596" y="connsiteY596"/>
                    </a:cxn>
                    <a:cxn ang="0">
                      <a:pos x="connsiteX597" y="connsiteY597"/>
                    </a:cxn>
                    <a:cxn ang="0">
                      <a:pos x="connsiteX598" y="connsiteY598"/>
                    </a:cxn>
                    <a:cxn ang="0">
                      <a:pos x="connsiteX599" y="connsiteY599"/>
                    </a:cxn>
                    <a:cxn ang="0">
                      <a:pos x="connsiteX600" y="connsiteY600"/>
                    </a:cxn>
                    <a:cxn ang="0">
                      <a:pos x="connsiteX601" y="connsiteY601"/>
                    </a:cxn>
                    <a:cxn ang="0">
                      <a:pos x="connsiteX602" y="connsiteY602"/>
                    </a:cxn>
                    <a:cxn ang="0">
                      <a:pos x="connsiteX603" y="connsiteY603"/>
                    </a:cxn>
                    <a:cxn ang="0">
                      <a:pos x="connsiteX604" y="connsiteY604"/>
                    </a:cxn>
                    <a:cxn ang="0">
                      <a:pos x="connsiteX605" y="connsiteY605"/>
                    </a:cxn>
                    <a:cxn ang="0">
                      <a:pos x="connsiteX606" y="connsiteY606"/>
                    </a:cxn>
                    <a:cxn ang="0">
                      <a:pos x="connsiteX607" y="connsiteY607"/>
                    </a:cxn>
                    <a:cxn ang="0">
                      <a:pos x="connsiteX608" y="connsiteY608"/>
                    </a:cxn>
                    <a:cxn ang="0">
                      <a:pos x="connsiteX609" y="connsiteY609"/>
                    </a:cxn>
                    <a:cxn ang="0">
                      <a:pos x="connsiteX610" y="connsiteY610"/>
                    </a:cxn>
                    <a:cxn ang="0">
                      <a:pos x="connsiteX611" y="connsiteY611"/>
                    </a:cxn>
                    <a:cxn ang="0">
                      <a:pos x="connsiteX612" y="connsiteY612"/>
                    </a:cxn>
                    <a:cxn ang="0">
                      <a:pos x="connsiteX613" y="connsiteY613"/>
                    </a:cxn>
                    <a:cxn ang="0">
                      <a:pos x="connsiteX614" y="connsiteY614"/>
                    </a:cxn>
                    <a:cxn ang="0">
                      <a:pos x="connsiteX615" y="connsiteY615"/>
                    </a:cxn>
                    <a:cxn ang="0">
                      <a:pos x="connsiteX616" y="connsiteY616"/>
                    </a:cxn>
                    <a:cxn ang="0">
                      <a:pos x="connsiteX617" y="connsiteY617"/>
                    </a:cxn>
                    <a:cxn ang="0">
                      <a:pos x="connsiteX618" y="connsiteY618"/>
                    </a:cxn>
                    <a:cxn ang="0">
                      <a:pos x="connsiteX619" y="connsiteY619"/>
                    </a:cxn>
                    <a:cxn ang="0">
                      <a:pos x="connsiteX620" y="connsiteY620"/>
                    </a:cxn>
                    <a:cxn ang="0">
                      <a:pos x="connsiteX621" y="connsiteY621"/>
                    </a:cxn>
                    <a:cxn ang="0">
                      <a:pos x="connsiteX622" y="connsiteY622"/>
                    </a:cxn>
                    <a:cxn ang="0">
                      <a:pos x="connsiteX623" y="connsiteY623"/>
                    </a:cxn>
                    <a:cxn ang="0">
                      <a:pos x="connsiteX624" y="connsiteY624"/>
                    </a:cxn>
                    <a:cxn ang="0">
                      <a:pos x="connsiteX625" y="connsiteY625"/>
                    </a:cxn>
                    <a:cxn ang="0">
                      <a:pos x="connsiteX626" y="connsiteY626"/>
                    </a:cxn>
                    <a:cxn ang="0">
                      <a:pos x="connsiteX627" y="connsiteY627"/>
                    </a:cxn>
                    <a:cxn ang="0">
                      <a:pos x="connsiteX628" y="connsiteY628"/>
                    </a:cxn>
                    <a:cxn ang="0">
                      <a:pos x="connsiteX629" y="connsiteY629"/>
                    </a:cxn>
                    <a:cxn ang="0">
                      <a:pos x="connsiteX630" y="connsiteY630"/>
                    </a:cxn>
                    <a:cxn ang="0">
                      <a:pos x="connsiteX631" y="connsiteY631"/>
                    </a:cxn>
                    <a:cxn ang="0">
                      <a:pos x="connsiteX632" y="connsiteY632"/>
                    </a:cxn>
                    <a:cxn ang="0">
                      <a:pos x="connsiteX633" y="connsiteY633"/>
                    </a:cxn>
                    <a:cxn ang="0">
                      <a:pos x="connsiteX634" y="connsiteY634"/>
                    </a:cxn>
                    <a:cxn ang="0">
                      <a:pos x="connsiteX635" y="connsiteY635"/>
                    </a:cxn>
                    <a:cxn ang="0">
                      <a:pos x="connsiteX636" y="connsiteY636"/>
                    </a:cxn>
                    <a:cxn ang="0">
                      <a:pos x="connsiteX637" y="connsiteY637"/>
                    </a:cxn>
                    <a:cxn ang="0">
                      <a:pos x="connsiteX638" y="connsiteY638"/>
                    </a:cxn>
                    <a:cxn ang="0">
                      <a:pos x="connsiteX639" y="connsiteY639"/>
                    </a:cxn>
                    <a:cxn ang="0">
                      <a:pos x="connsiteX640" y="connsiteY640"/>
                    </a:cxn>
                    <a:cxn ang="0">
                      <a:pos x="connsiteX641" y="connsiteY641"/>
                    </a:cxn>
                    <a:cxn ang="0">
                      <a:pos x="connsiteX642" y="connsiteY642"/>
                    </a:cxn>
                    <a:cxn ang="0">
                      <a:pos x="connsiteX643" y="connsiteY643"/>
                    </a:cxn>
                    <a:cxn ang="0">
                      <a:pos x="connsiteX644" y="connsiteY644"/>
                    </a:cxn>
                    <a:cxn ang="0">
                      <a:pos x="connsiteX645" y="connsiteY645"/>
                    </a:cxn>
                    <a:cxn ang="0">
                      <a:pos x="connsiteX646" y="connsiteY646"/>
                    </a:cxn>
                    <a:cxn ang="0">
                      <a:pos x="connsiteX647" y="connsiteY647"/>
                    </a:cxn>
                    <a:cxn ang="0">
                      <a:pos x="connsiteX648" y="connsiteY648"/>
                    </a:cxn>
                    <a:cxn ang="0">
                      <a:pos x="connsiteX649" y="connsiteY649"/>
                    </a:cxn>
                    <a:cxn ang="0">
                      <a:pos x="connsiteX650" y="connsiteY650"/>
                    </a:cxn>
                    <a:cxn ang="0">
                      <a:pos x="connsiteX651" y="connsiteY651"/>
                    </a:cxn>
                    <a:cxn ang="0">
                      <a:pos x="connsiteX652" y="connsiteY652"/>
                    </a:cxn>
                    <a:cxn ang="0">
                      <a:pos x="connsiteX653" y="connsiteY653"/>
                    </a:cxn>
                    <a:cxn ang="0">
                      <a:pos x="connsiteX654" y="connsiteY654"/>
                    </a:cxn>
                    <a:cxn ang="0">
                      <a:pos x="connsiteX655" y="connsiteY655"/>
                    </a:cxn>
                    <a:cxn ang="0">
                      <a:pos x="connsiteX656" y="connsiteY656"/>
                    </a:cxn>
                    <a:cxn ang="0">
                      <a:pos x="connsiteX657" y="connsiteY657"/>
                    </a:cxn>
                    <a:cxn ang="0">
                      <a:pos x="connsiteX658" y="connsiteY658"/>
                    </a:cxn>
                    <a:cxn ang="0">
                      <a:pos x="connsiteX659" y="connsiteY659"/>
                    </a:cxn>
                    <a:cxn ang="0">
                      <a:pos x="connsiteX660" y="connsiteY660"/>
                    </a:cxn>
                    <a:cxn ang="0">
                      <a:pos x="connsiteX661" y="connsiteY661"/>
                    </a:cxn>
                    <a:cxn ang="0">
                      <a:pos x="connsiteX662" y="connsiteY662"/>
                    </a:cxn>
                    <a:cxn ang="0">
                      <a:pos x="connsiteX663" y="connsiteY663"/>
                    </a:cxn>
                    <a:cxn ang="0">
                      <a:pos x="connsiteX664" y="connsiteY664"/>
                    </a:cxn>
                    <a:cxn ang="0">
                      <a:pos x="connsiteX665" y="connsiteY665"/>
                    </a:cxn>
                    <a:cxn ang="0">
                      <a:pos x="connsiteX666" y="connsiteY666"/>
                    </a:cxn>
                    <a:cxn ang="0">
                      <a:pos x="connsiteX667" y="connsiteY667"/>
                    </a:cxn>
                    <a:cxn ang="0">
                      <a:pos x="connsiteX668" y="connsiteY668"/>
                    </a:cxn>
                    <a:cxn ang="0">
                      <a:pos x="connsiteX669" y="connsiteY669"/>
                    </a:cxn>
                    <a:cxn ang="0">
                      <a:pos x="connsiteX670" y="connsiteY670"/>
                    </a:cxn>
                    <a:cxn ang="0">
                      <a:pos x="connsiteX671" y="connsiteY671"/>
                    </a:cxn>
                    <a:cxn ang="0">
                      <a:pos x="connsiteX672" y="connsiteY672"/>
                    </a:cxn>
                    <a:cxn ang="0">
                      <a:pos x="connsiteX673" y="connsiteY673"/>
                    </a:cxn>
                    <a:cxn ang="0">
                      <a:pos x="connsiteX674" y="connsiteY674"/>
                    </a:cxn>
                    <a:cxn ang="0">
                      <a:pos x="connsiteX675" y="connsiteY675"/>
                    </a:cxn>
                    <a:cxn ang="0">
                      <a:pos x="connsiteX676" y="connsiteY676"/>
                    </a:cxn>
                    <a:cxn ang="0">
                      <a:pos x="connsiteX677" y="connsiteY677"/>
                    </a:cxn>
                    <a:cxn ang="0">
                      <a:pos x="connsiteX678" y="connsiteY678"/>
                    </a:cxn>
                    <a:cxn ang="0">
                      <a:pos x="connsiteX679" y="connsiteY679"/>
                    </a:cxn>
                    <a:cxn ang="0">
                      <a:pos x="connsiteX680" y="connsiteY680"/>
                    </a:cxn>
                    <a:cxn ang="0">
                      <a:pos x="connsiteX681" y="connsiteY681"/>
                    </a:cxn>
                    <a:cxn ang="0">
                      <a:pos x="connsiteX682" y="connsiteY682"/>
                    </a:cxn>
                    <a:cxn ang="0">
                      <a:pos x="connsiteX683" y="connsiteY683"/>
                    </a:cxn>
                    <a:cxn ang="0">
                      <a:pos x="connsiteX684" y="connsiteY684"/>
                    </a:cxn>
                    <a:cxn ang="0">
                      <a:pos x="connsiteX685" y="connsiteY685"/>
                    </a:cxn>
                    <a:cxn ang="0">
                      <a:pos x="connsiteX686" y="connsiteY686"/>
                    </a:cxn>
                    <a:cxn ang="0">
                      <a:pos x="connsiteX687" y="connsiteY687"/>
                    </a:cxn>
                    <a:cxn ang="0">
                      <a:pos x="connsiteX688" y="connsiteY688"/>
                    </a:cxn>
                    <a:cxn ang="0">
                      <a:pos x="connsiteX689" y="connsiteY689"/>
                    </a:cxn>
                    <a:cxn ang="0">
                      <a:pos x="connsiteX690" y="connsiteY690"/>
                    </a:cxn>
                    <a:cxn ang="0">
                      <a:pos x="connsiteX691" y="connsiteY691"/>
                    </a:cxn>
                    <a:cxn ang="0">
                      <a:pos x="connsiteX692" y="connsiteY692"/>
                    </a:cxn>
                    <a:cxn ang="0">
                      <a:pos x="connsiteX693" y="connsiteY693"/>
                    </a:cxn>
                    <a:cxn ang="0">
                      <a:pos x="connsiteX694" y="connsiteY694"/>
                    </a:cxn>
                    <a:cxn ang="0">
                      <a:pos x="connsiteX695" y="connsiteY695"/>
                    </a:cxn>
                    <a:cxn ang="0">
                      <a:pos x="connsiteX696" y="connsiteY696"/>
                    </a:cxn>
                    <a:cxn ang="0">
                      <a:pos x="connsiteX697" y="connsiteY697"/>
                    </a:cxn>
                    <a:cxn ang="0">
                      <a:pos x="connsiteX698" y="connsiteY698"/>
                    </a:cxn>
                    <a:cxn ang="0">
                      <a:pos x="connsiteX699" y="connsiteY699"/>
                    </a:cxn>
                    <a:cxn ang="0">
                      <a:pos x="connsiteX700" y="connsiteY700"/>
                    </a:cxn>
                    <a:cxn ang="0">
                      <a:pos x="connsiteX701" y="connsiteY701"/>
                    </a:cxn>
                    <a:cxn ang="0">
                      <a:pos x="connsiteX702" y="connsiteY702"/>
                    </a:cxn>
                    <a:cxn ang="0">
                      <a:pos x="connsiteX703" y="connsiteY703"/>
                    </a:cxn>
                    <a:cxn ang="0">
                      <a:pos x="connsiteX704" y="connsiteY704"/>
                    </a:cxn>
                    <a:cxn ang="0">
                      <a:pos x="connsiteX705" y="connsiteY705"/>
                    </a:cxn>
                    <a:cxn ang="0">
                      <a:pos x="connsiteX706" y="connsiteY706"/>
                    </a:cxn>
                    <a:cxn ang="0">
                      <a:pos x="connsiteX707" y="connsiteY707"/>
                    </a:cxn>
                    <a:cxn ang="0">
                      <a:pos x="connsiteX708" y="connsiteY708"/>
                    </a:cxn>
                    <a:cxn ang="0">
                      <a:pos x="connsiteX709" y="connsiteY709"/>
                    </a:cxn>
                    <a:cxn ang="0">
                      <a:pos x="connsiteX710" y="connsiteY710"/>
                    </a:cxn>
                    <a:cxn ang="0">
                      <a:pos x="connsiteX711" y="connsiteY711"/>
                    </a:cxn>
                    <a:cxn ang="0">
                      <a:pos x="connsiteX712" y="connsiteY712"/>
                    </a:cxn>
                    <a:cxn ang="0">
                      <a:pos x="connsiteX713" y="connsiteY713"/>
                    </a:cxn>
                    <a:cxn ang="0">
                      <a:pos x="connsiteX714" y="connsiteY714"/>
                    </a:cxn>
                    <a:cxn ang="0">
                      <a:pos x="connsiteX715" y="connsiteY715"/>
                    </a:cxn>
                    <a:cxn ang="0">
                      <a:pos x="connsiteX716" y="connsiteY716"/>
                    </a:cxn>
                    <a:cxn ang="0">
                      <a:pos x="connsiteX717" y="connsiteY717"/>
                    </a:cxn>
                    <a:cxn ang="0">
                      <a:pos x="connsiteX718" y="connsiteY718"/>
                    </a:cxn>
                    <a:cxn ang="0">
                      <a:pos x="connsiteX719" y="connsiteY719"/>
                    </a:cxn>
                    <a:cxn ang="0">
                      <a:pos x="connsiteX720" y="connsiteY720"/>
                    </a:cxn>
                    <a:cxn ang="0">
                      <a:pos x="connsiteX721" y="connsiteY721"/>
                    </a:cxn>
                    <a:cxn ang="0">
                      <a:pos x="connsiteX722" y="connsiteY722"/>
                    </a:cxn>
                    <a:cxn ang="0">
                      <a:pos x="connsiteX723" y="connsiteY723"/>
                    </a:cxn>
                    <a:cxn ang="0">
                      <a:pos x="connsiteX724" y="connsiteY724"/>
                    </a:cxn>
                    <a:cxn ang="0">
                      <a:pos x="connsiteX725" y="connsiteY725"/>
                    </a:cxn>
                    <a:cxn ang="0">
                      <a:pos x="connsiteX726" y="connsiteY726"/>
                    </a:cxn>
                    <a:cxn ang="0">
                      <a:pos x="connsiteX727" y="connsiteY727"/>
                    </a:cxn>
                    <a:cxn ang="0">
                      <a:pos x="connsiteX728" y="connsiteY728"/>
                    </a:cxn>
                    <a:cxn ang="0">
                      <a:pos x="connsiteX729" y="connsiteY729"/>
                    </a:cxn>
                    <a:cxn ang="0">
                      <a:pos x="connsiteX730" y="connsiteY730"/>
                    </a:cxn>
                    <a:cxn ang="0">
                      <a:pos x="connsiteX731" y="connsiteY731"/>
                    </a:cxn>
                    <a:cxn ang="0">
                      <a:pos x="connsiteX732" y="connsiteY732"/>
                    </a:cxn>
                    <a:cxn ang="0">
                      <a:pos x="connsiteX733" y="connsiteY733"/>
                    </a:cxn>
                    <a:cxn ang="0">
                      <a:pos x="connsiteX734" y="connsiteY734"/>
                    </a:cxn>
                    <a:cxn ang="0">
                      <a:pos x="connsiteX735" y="connsiteY735"/>
                    </a:cxn>
                    <a:cxn ang="0">
                      <a:pos x="connsiteX736" y="connsiteY736"/>
                    </a:cxn>
                    <a:cxn ang="0">
                      <a:pos x="connsiteX737" y="connsiteY737"/>
                    </a:cxn>
                    <a:cxn ang="0">
                      <a:pos x="connsiteX738" y="connsiteY738"/>
                    </a:cxn>
                    <a:cxn ang="0">
                      <a:pos x="connsiteX739" y="connsiteY739"/>
                    </a:cxn>
                    <a:cxn ang="0">
                      <a:pos x="connsiteX740" y="connsiteY740"/>
                    </a:cxn>
                    <a:cxn ang="0">
                      <a:pos x="connsiteX741" y="connsiteY741"/>
                    </a:cxn>
                    <a:cxn ang="0">
                      <a:pos x="connsiteX742" y="connsiteY742"/>
                    </a:cxn>
                    <a:cxn ang="0">
                      <a:pos x="connsiteX743" y="connsiteY743"/>
                    </a:cxn>
                    <a:cxn ang="0">
                      <a:pos x="connsiteX744" y="connsiteY744"/>
                    </a:cxn>
                    <a:cxn ang="0">
                      <a:pos x="connsiteX745" y="connsiteY745"/>
                    </a:cxn>
                    <a:cxn ang="0">
                      <a:pos x="connsiteX746" y="connsiteY746"/>
                    </a:cxn>
                    <a:cxn ang="0">
                      <a:pos x="connsiteX747" y="connsiteY747"/>
                    </a:cxn>
                    <a:cxn ang="0">
                      <a:pos x="connsiteX748" y="connsiteY748"/>
                    </a:cxn>
                    <a:cxn ang="0">
                      <a:pos x="connsiteX749" y="connsiteY749"/>
                    </a:cxn>
                    <a:cxn ang="0">
                      <a:pos x="connsiteX750" y="connsiteY750"/>
                    </a:cxn>
                    <a:cxn ang="0">
                      <a:pos x="connsiteX751" y="connsiteY751"/>
                    </a:cxn>
                    <a:cxn ang="0">
                      <a:pos x="connsiteX752" y="connsiteY752"/>
                    </a:cxn>
                    <a:cxn ang="0">
                      <a:pos x="connsiteX753" y="connsiteY753"/>
                    </a:cxn>
                    <a:cxn ang="0">
                      <a:pos x="connsiteX754" y="connsiteY754"/>
                    </a:cxn>
                    <a:cxn ang="0">
                      <a:pos x="connsiteX755" y="connsiteY755"/>
                    </a:cxn>
                    <a:cxn ang="0">
                      <a:pos x="connsiteX756" y="connsiteY756"/>
                    </a:cxn>
                    <a:cxn ang="0">
                      <a:pos x="connsiteX757" y="connsiteY757"/>
                    </a:cxn>
                    <a:cxn ang="0">
                      <a:pos x="connsiteX758" y="connsiteY758"/>
                    </a:cxn>
                    <a:cxn ang="0">
                      <a:pos x="connsiteX759" y="connsiteY759"/>
                    </a:cxn>
                    <a:cxn ang="0">
                      <a:pos x="connsiteX760" y="connsiteY760"/>
                    </a:cxn>
                    <a:cxn ang="0">
                      <a:pos x="connsiteX761" y="connsiteY761"/>
                    </a:cxn>
                    <a:cxn ang="0">
                      <a:pos x="connsiteX762" y="connsiteY762"/>
                    </a:cxn>
                    <a:cxn ang="0">
                      <a:pos x="connsiteX763" y="connsiteY763"/>
                    </a:cxn>
                    <a:cxn ang="0">
                      <a:pos x="connsiteX764" y="connsiteY764"/>
                    </a:cxn>
                    <a:cxn ang="0">
                      <a:pos x="connsiteX765" y="connsiteY765"/>
                    </a:cxn>
                    <a:cxn ang="0">
                      <a:pos x="connsiteX766" y="connsiteY766"/>
                    </a:cxn>
                    <a:cxn ang="0">
                      <a:pos x="connsiteX767" y="connsiteY767"/>
                    </a:cxn>
                    <a:cxn ang="0">
                      <a:pos x="connsiteX768" y="connsiteY768"/>
                    </a:cxn>
                    <a:cxn ang="0">
                      <a:pos x="connsiteX769" y="connsiteY769"/>
                    </a:cxn>
                    <a:cxn ang="0">
                      <a:pos x="connsiteX770" y="connsiteY770"/>
                    </a:cxn>
                    <a:cxn ang="0">
                      <a:pos x="connsiteX771" y="connsiteY771"/>
                    </a:cxn>
                    <a:cxn ang="0">
                      <a:pos x="connsiteX772" y="connsiteY772"/>
                    </a:cxn>
                    <a:cxn ang="0">
                      <a:pos x="connsiteX773" y="connsiteY773"/>
                    </a:cxn>
                    <a:cxn ang="0">
                      <a:pos x="connsiteX774" y="connsiteY774"/>
                    </a:cxn>
                    <a:cxn ang="0">
                      <a:pos x="connsiteX775" y="connsiteY775"/>
                    </a:cxn>
                    <a:cxn ang="0">
                      <a:pos x="connsiteX776" y="connsiteY776"/>
                    </a:cxn>
                    <a:cxn ang="0">
                      <a:pos x="connsiteX777" y="connsiteY777"/>
                    </a:cxn>
                    <a:cxn ang="0">
                      <a:pos x="connsiteX778" y="connsiteY778"/>
                    </a:cxn>
                    <a:cxn ang="0">
                      <a:pos x="connsiteX779" y="connsiteY779"/>
                    </a:cxn>
                    <a:cxn ang="0">
                      <a:pos x="connsiteX780" y="connsiteY780"/>
                    </a:cxn>
                    <a:cxn ang="0">
                      <a:pos x="connsiteX781" y="connsiteY781"/>
                    </a:cxn>
                    <a:cxn ang="0">
                      <a:pos x="connsiteX782" y="connsiteY782"/>
                    </a:cxn>
                    <a:cxn ang="0">
                      <a:pos x="connsiteX783" y="connsiteY783"/>
                    </a:cxn>
                    <a:cxn ang="0">
                      <a:pos x="connsiteX784" y="connsiteY784"/>
                    </a:cxn>
                    <a:cxn ang="0">
                      <a:pos x="connsiteX785" y="connsiteY785"/>
                    </a:cxn>
                    <a:cxn ang="0">
                      <a:pos x="connsiteX786" y="connsiteY786"/>
                    </a:cxn>
                    <a:cxn ang="0">
                      <a:pos x="connsiteX787" y="connsiteY787"/>
                    </a:cxn>
                    <a:cxn ang="0">
                      <a:pos x="connsiteX788" y="connsiteY788"/>
                    </a:cxn>
                    <a:cxn ang="0">
                      <a:pos x="connsiteX789" y="connsiteY789"/>
                    </a:cxn>
                    <a:cxn ang="0">
                      <a:pos x="connsiteX790" y="connsiteY790"/>
                    </a:cxn>
                    <a:cxn ang="0">
                      <a:pos x="connsiteX791" y="connsiteY791"/>
                    </a:cxn>
                    <a:cxn ang="0">
                      <a:pos x="connsiteX792" y="connsiteY792"/>
                    </a:cxn>
                    <a:cxn ang="0">
                      <a:pos x="connsiteX793" y="connsiteY793"/>
                    </a:cxn>
                    <a:cxn ang="0">
                      <a:pos x="connsiteX794" y="connsiteY794"/>
                    </a:cxn>
                    <a:cxn ang="0">
                      <a:pos x="connsiteX795" y="connsiteY795"/>
                    </a:cxn>
                    <a:cxn ang="0">
                      <a:pos x="connsiteX796" y="connsiteY796"/>
                    </a:cxn>
                    <a:cxn ang="0">
                      <a:pos x="connsiteX797" y="connsiteY797"/>
                    </a:cxn>
                    <a:cxn ang="0">
                      <a:pos x="connsiteX798" y="connsiteY798"/>
                    </a:cxn>
                    <a:cxn ang="0">
                      <a:pos x="connsiteX799" y="connsiteY799"/>
                    </a:cxn>
                    <a:cxn ang="0">
                      <a:pos x="connsiteX800" y="connsiteY800"/>
                    </a:cxn>
                    <a:cxn ang="0">
                      <a:pos x="connsiteX801" y="connsiteY801"/>
                    </a:cxn>
                    <a:cxn ang="0">
                      <a:pos x="connsiteX802" y="connsiteY802"/>
                    </a:cxn>
                    <a:cxn ang="0">
                      <a:pos x="connsiteX803" y="connsiteY803"/>
                    </a:cxn>
                    <a:cxn ang="0">
                      <a:pos x="connsiteX804" y="connsiteY804"/>
                    </a:cxn>
                    <a:cxn ang="0">
                      <a:pos x="connsiteX805" y="connsiteY805"/>
                    </a:cxn>
                    <a:cxn ang="0">
                      <a:pos x="connsiteX806" y="connsiteY806"/>
                    </a:cxn>
                    <a:cxn ang="0">
                      <a:pos x="connsiteX807" y="connsiteY807"/>
                    </a:cxn>
                    <a:cxn ang="0">
                      <a:pos x="connsiteX808" y="connsiteY808"/>
                    </a:cxn>
                    <a:cxn ang="0">
                      <a:pos x="connsiteX809" y="connsiteY809"/>
                    </a:cxn>
                    <a:cxn ang="0">
                      <a:pos x="connsiteX810" y="connsiteY810"/>
                    </a:cxn>
                    <a:cxn ang="0">
                      <a:pos x="connsiteX811" y="connsiteY811"/>
                    </a:cxn>
                    <a:cxn ang="0">
                      <a:pos x="connsiteX812" y="connsiteY812"/>
                    </a:cxn>
                    <a:cxn ang="0">
                      <a:pos x="connsiteX813" y="connsiteY813"/>
                    </a:cxn>
                    <a:cxn ang="0">
                      <a:pos x="connsiteX814" y="connsiteY814"/>
                    </a:cxn>
                    <a:cxn ang="0">
                      <a:pos x="connsiteX815" y="connsiteY815"/>
                    </a:cxn>
                    <a:cxn ang="0">
                      <a:pos x="connsiteX816" y="connsiteY816"/>
                    </a:cxn>
                    <a:cxn ang="0">
                      <a:pos x="connsiteX817" y="connsiteY817"/>
                    </a:cxn>
                    <a:cxn ang="0">
                      <a:pos x="connsiteX818" y="connsiteY818"/>
                    </a:cxn>
                    <a:cxn ang="0">
                      <a:pos x="connsiteX819" y="connsiteY819"/>
                    </a:cxn>
                    <a:cxn ang="0">
                      <a:pos x="connsiteX820" y="connsiteY820"/>
                    </a:cxn>
                    <a:cxn ang="0">
                      <a:pos x="connsiteX821" y="connsiteY821"/>
                    </a:cxn>
                    <a:cxn ang="0">
                      <a:pos x="connsiteX822" y="connsiteY822"/>
                    </a:cxn>
                    <a:cxn ang="0">
                      <a:pos x="connsiteX823" y="connsiteY823"/>
                    </a:cxn>
                    <a:cxn ang="0">
                      <a:pos x="connsiteX824" y="connsiteY824"/>
                    </a:cxn>
                    <a:cxn ang="0">
                      <a:pos x="connsiteX825" y="connsiteY825"/>
                    </a:cxn>
                    <a:cxn ang="0">
                      <a:pos x="connsiteX826" y="connsiteY826"/>
                    </a:cxn>
                    <a:cxn ang="0">
                      <a:pos x="connsiteX827" y="connsiteY827"/>
                    </a:cxn>
                    <a:cxn ang="0">
                      <a:pos x="connsiteX828" y="connsiteY828"/>
                    </a:cxn>
                    <a:cxn ang="0">
                      <a:pos x="connsiteX829" y="connsiteY829"/>
                    </a:cxn>
                    <a:cxn ang="0">
                      <a:pos x="connsiteX830" y="connsiteY830"/>
                    </a:cxn>
                    <a:cxn ang="0">
                      <a:pos x="connsiteX831" y="connsiteY831"/>
                    </a:cxn>
                    <a:cxn ang="0">
                      <a:pos x="connsiteX832" y="connsiteY832"/>
                    </a:cxn>
                    <a:cxn ang="0">
                      <a:pos x="connsiteX833" y="connsiteY833"/>
                    </a:cxn>
                    <a:cxn ang="0">
                      <a:pos x="connsiteX834" y="connsiteY834"/>
                    </a:cxn>
                    <a:cxn ang="0">
                      <a:pos x="connsiteX835" y="connsiteY835"/>
                    </a:cxn>
                    <a:cxn ang="0">
                      <a:pos x="connsiteX836" y="connsiteY836"/>
                    </a:cxn>
                    <a:cxn ang="0">
                      <a:pos x="connsiteX837" y="connsiteY837"/>
                    </a:cxn>
                    <a:cxn ang="0">
                      <a:pos x="connsiteX838" y="connsiteY838"/>
                    </a:cxn>
                    <a:cxn ang="0">
                      <a:pos x="connsiteX839" y="connsiteY839"/>
                    </a:cxn>
                    <a:cxn ang="0">
                      <a:pos x="connsiteX840" y="connsiteY840"/>
                    </a:cxn>
                    <a:cxn ang="0">
                      <a:pos x="connsiteX841" y="connsiteY841"/>
                    </a:cxn>
                    <a:cxn ang="0">
                      <a:pos x="connsiteX842" y="connsiteY842"/>
                    </a:cxn>
                    <a:cxn ang="0">
                      <a:pos x="connsiteX843" y="connsiteY843"/>
                    </a:cxn>
                    <a:cxn ang="0">
                      <a:pos x="connsiteX844" y="connsiteY844"/>
                    </a:cxn>
                    <a:cxn ang="0">
                      <a:pos x="connsiteX845" y="connsiteY845"/>
                    </a:cxn>
                    <a:cxn ang="0">
                      <a:pos x="connsiteX846" y="connsiteY846"/>
                    </a:cxn>
                    <a:cxn ang="0">
                      <a:pos x="connsiteX847" y="connsiteY847"/>
                    </a:cxn>
                    <a:cxn ang="0">
                      <a:pos x="connsiteX848" y="connsiteY848"/>
                    </a:cxn>
                    <a:cxn ang="0">
                      <a:pos x="connsiteX849" y="connsiteY849"/>
                    </a:cxn>
                    <a:cxn ang="0">
                      <a:pos x="connsiteX850" y="connsiteY850"/>
                    </a:cxn>
                    <a:cxn ang="0">
                      <a:pos x="connsiteX851" y="connsiteY851"/>
                    </a:cxn>
                    <a:cxn ang="0">
                      <a:pos x="connsiteX852" y="connsiteY852"/>
                    </a:cxn>
                    <a:cxn ang="0">
                      <a:pos x="connsiteX853" y="connsiteY853"/>
                    </a:cxn>
                    <a:cxn ang="0">
                      <a:pos x="connsiteX854" y="connsiteY854"/>
                    </a:cxn>
                    <a:cxn ang="0">
                      <a:pos x="connsiteX855" y="connsiteY855"/>
                    </a:cxn>
                    <a:cxn ang="0">
                      <a:pos x="connsiteX856" y="connsiteY856"/>
                    </a:cxn>
                    <a:cxn ang="0">
                      <a:pos x="connsiteX857" y="connsiteY857"/>
                    </a:cxn>
                    <a:cxn ang="0">
                      <a:pos x="connsiteX858" y="connsiteY858"/>
                    </a:cxn>
                    <a:cxn ang="0">
                      <a:pos x="connsiteX859" y="connsiteY859"/>
                    </a:cxn>
                    <a:cxn ang="0">
                      <a:pos x="connsiteX860" y="connsiteY860"/>
                    </a:cxn>
                    <a:cxn ang="0">
                      <a:pos x="connsiteX861" y="connsiteY861"/>
                    </a:cxn>
                    <a:cxn ang="0">
                      <a:pos x="connsiteX862" y="connsiteY862"/>
                    </a:cxn>
                    <a:cxn ang="0">
                      <a:pos x="connsiteX863" y="connsiteY863"/>
                    </a:cxn>
                    <a:cxn ang="0">
                      <a:pos x="connsiteX864" y="connsiteY864"/>
                    </a:cxn>
                    <a:cxn ang="0">
                      <a:pos x="connsiteX865" y="connsiteY865"/>
                    </a:cxn>
                    <a:cxn ang="0">
                      <a:pos x="connsiteX866" y="connsiteY866"/>
                    </a:cxn>
                    <a:cxn ang="0">
                      <a:pos x="connsiteX867" y="connsiteY867"/>
                    </a:cxn>
                    <a:cxn ang="0">
                      <a:pos x="connsiteX868" y="connsiteY868"/>
                    </a:cxn>
                    <a:cxn ang="0">
                      <a:pos x="connsiteX869" y="connsiteY869"/>
                    </a:cxn>
                    <a:cxn ang="0">
                      <a:pos x="connsiteX870" y="connsiteY870"/>
                    </a:cxn>
                    <a:cxn ang="0">
                      <a:pos x="connsiteX871" y="connsiteY871"/>
                    </a:cxn>
                    <a:cxn ang="0">
                      <a:pos x="connsiteX872" y="connsiteY872"/>
                    </a:cxn>
                    <a:cxn ang="0">
                      <a:pos x="connsiteX873" y="connsiteY873"/>
                    </a:cxn>
                    <a:cxn ang="0">
                      <a:pos x="connsiteX874" y="connsiteY874"/>
                    </a:cxn>
                    <a:cxn ang="0">
                      <a:pos x="connsiteX875" y="connsiteY875"/>
                    </a:cxn>
                    <a:cxn ang="0">
                      <a:pos x="connsiteX876" y="connsiteY876"/>
                    </a:cxn>
                    <a:cxn ang="0">
                      <a:pos x="connsiteX877" y="connsiteY877"/>
                    </a:cxn>
                    <a:cxn ang="0">
                      <a:pos x="connsiteX878" y="connsiteY878"/>
                    </a:cxn>
                    <a:cxn ang="0">
                      <a:pos x="connsiteX879" y="connsiteY879"/>
                    </a:cxn>
                    <a:cxn ang="0">
                      <a:pos x="connsiteX880" y="connsiteY880"/>
                    </a:cxn>
                    <a:cxn ang="0">
                      <a:pos x="connsiteX881" y="connsiteY881"/>
                    </a:cxn>
                    <a:cxn ang="0">
                      <a:pos x="connsiteX882" y="connsiteY882"/>
                    </a:cxn>
                    <a:cxn ang="0">
                      <a:pos x="connsiteX883" y="connsiteY883"/>
                    </a:cxn>
                    <a:cxn ang="0">
                      <a:pos x="connsiteX884" y="connsiteY884"/>
                    </a:cxn>
                    <a:cxn ang="0">
                      <a:pos x="connsiteX885" y="connsiteY885"/>
                    </a:cxn>
                    <a:cxn ang="0">
                      <a:pos x="connsiteX886" y="connsiteY886"/>
                    </a:cxn>
                    <a:cxn ang="0">
                      <a:pos x="connsiteX887" y="connsiteY887"/>
                    </a:cxn>
                    <a:cxn ang="0">
                      <a:pos x="connsiteX888" y="connsiteY888"/>
                    </a:cxn>
                    <a:cxn ang="0">
                      <a:pos x="connsiteX889" y="connsiteY889"/>
                    </a:cxn>
                    <a:cxn ang="0">
                      <a:pos x="connsiteX890" y="connsiteY890"/>
                    </a:cxn>
                    <a:cxn ang="0">
                      <a:pos x="connsiteX891" y="connsiteY891"/>
                    </a:cxn>
                    <a:cxn ang="0">
                      <a:pos x="connsiteX892" y="connsiteY892"/>
                    </a:cxn>
                    <a:cxn ang="0">
                      <a:pos x="connsiteX893" y="connsiteY893"/>
                    </a:cxn>
                    <a:cxn ang="0">
                      <a:pos x="connsiteX894" y="connsiteY894"/>
                    </a:cxn>
                    <a:cxn ang="0">
                      <a:pos x="connsiteX895" y="connsiteY895"/>
                    </a:cxn>
                    <a:cxn ang="0">
                      <a:pos x="connsiteX896" y="connsiteY896"/>
                    </a:cxn>
                    <a:cxn ang="0">
                      <a:pos x="connsiteX897" y="connsiteY897"/>
                    </a:cxn>
                    <a:cxn ang="0">
                      <a:pos x="connsiteX898" y="connsiteY898"/>
                    </a:cxn>
                    <a:cxn ang="0">
                      <a:pos x="connsiteX899" y="connsiteY899"/>
                    </a:cxn>
                    <a:cxn ang="0">
                      <a:pos x="connsiteX900" y="connsiteY900"/>
                    </a:cxn>
                    <a:cxn ang="0">
                      <a:pos x="connsiteX901" y="connsiteY901"/>
                    </a:cxn>
                    <a:cxn ang="0">
                      <a:pos x="connsiteX902" y="connsiteY902"/>
                    </a:cxn>
                    <a:cxn ang="0">
                      <a:pos x="connsiteX903" y="connsiteY903"/>
                    </a:cxn>
                    <a:cxn ang="0">
                      <a:pos x="connsiteX904" y="connsiteY904"/>
                    </a:cxn>
                    <a:cxn ang="0">
                      <a:pos x="connsiteX905" y="connsiteY905"/>
                    </a:cxn>
                    <a:cxn ang="0">
                      <a:pos x="connsiteX906" y="connsiteY906"/>
                    </a:cxn>
                    <a:cxn ang="0">
                      <a:pos x="connsiteX907" y="connsiteY907"/>
                    </a:cxn>
                    <a:cxn ang="0">
                      <a:pos x="connsiteX908" y="connsiteY908"/>
                    </a:cxn>
                    <a:cxn ang="0">
                      <a:pos x="connsiteX909" y="connsiteY909"/>
                    </a:cxn>
                    <a:cxn ang="0">
                      <a:pos x="connsiteX910" y="connsiteY910"/>
                    </a:cxn>
                    <a:cxn ang="0">
                      <a:pos x="connsiteX911" y="connsiteY911"/>
                    </a:cxn>
                    <a:cxn ang="0">
                      <a:pos x="connsiteX912" y="connsiteY912"/>
                    </a:cxn>
                    <a:cxn ang="0">
                      <a:pos x="connsiteX913" y="connsiteY913"/>
                    </a:cxn>
                    <a:cxn ang="0">
                      <a:pos x="connsiteX914" y="connsiteY914"/>
                    </a:cxn>
                    <a:cxn ang="0">
                      <a:pos x="connsiteX915" y="connsiteY915"/>
                    </a:cxn>
                    <a:cxn ang="0">
                      <a:pos x="connsiteX916" y="connsiteY916"/>
                    </a:cxn>
                    <a:cxn ang="0">
                      <a:pos x="connsiteX917" y="connsiteY917"/>
                    </a:cxn>
                    <a:cxn ang="0">
                      <a:pos x="connsiteX918" y="connsiteY918"/>
                    </a:cxn>
                    <a:cxn ang="0">
                      <a:pos x="connsiteX919" y="connsiteY919"/>
                    </a:cxn>
                    <a:cxn ang="0">
                      <a:pos x="connsiteX920" y="connsiteY920"/>
                    </a:cxn>
                    <a:cxn ang="0">
                      <a:pos x="connsiteX921" y="connsiteY921"/>
                    </a:cxn>
                    <a:cxn ang="0">
                      <a:pos x="connsiteX922" y="connsiteY922"/>
                    </a:cxn>
                    <a:cxn ang="0">
                      <a:pos x="connsiteX923" y="connsiteY923"/>
                    </a:cxn>
                    <a:cxn ang="0">
                      <a:pos x="connsiteX924" y="connsiteY924"/>
                    </a:cxn>
                    <a:cxn ang="0">
                      <a:pos x="connsiteX925" y="connsiteY925"/>
                    </a:cxn>
                    <a:cxn ang="0">
                      <a:pos x="connsiteX926" y="connsiteY926"/>
                    </a:cxn>
                    <a:cxn ang="0">
                      <a:pos x="connsiteX927" y="connsiteY927"/>
                    </a:cxn>
                    <a:cxn ang="0">
                      <a:pos x="connsiteX928" y="connsiteY928"/>
                    </a:cxn>
                    <a:cxn ang="0">
                      <a:pos x="connsiteX929" y="connsiteY929"/>
                    </a:cxn>
                    <a:cxn ang="0">
                      <a:pos x="connsiteX930" y="connsiteY930"/>
                    </a:cxn>
                    <a:cxn ang="0">
                      <a:pos x="connsiteX931" y="connsiteY931"/>
                    </a:cxn>
                    <a:cxn ang="0">
                      <a:pos x="connsiteX932" y="connsiteY932"/>
                    </a:cxn>
                    <a:cxn ang="0">
                      <a:pos x="connsiteX933" y="connsiteY933"/>
                    </a:cxn>
                    <a:cxn ang="0">
                      <a:pos x="connsiteX934" y="connsiteY934"/>
                    </a:cxn>
                    <a:cxn ang="0">
                      <a:pos x="connsiteX935" y="connsiteY935"/>
                    </a:cxn>
                    <a:cxn ang="0">
                      <a:pos x="connsiteX936" y="connsiteY936"/>
                    </a:cxn>
                    <a:cxn ang="0">
                      <a:pos x="connsiteX937" y="connsiteY937"/>
                    </a:cxn>
                    <a:cxn ang="0">
                      <a:pos x="connsiteX938" y="connsiteY938"/>
                    </a:cxn>
                    <a:cxn ang="0">
                      <a:pos x="connsiteX939" y="connsiteY939"/>
                    </a:cxn>
                    <a:cxn ang="0">
                      <a:pos x="connsiteX940" y="connsiteY940"/>
                    </a:cxn>
                    <a:cxn ang="0">
                      <a:pos x="connsiteX941" y="connsiteY941"/>
                    </a:cxn>
                    <a:cxn ang="0">
                      <a:pos x="connsiteX942" y="connsiteY942"/>
                    </a:cxn>
                    <a:cxn ang="0">
                      <a:pos x="connsiteX943" y="connsiteY943"/>
                    </a:cxn>
                    <a:cxn ang="0">
                      <a:pos x="connsiteX944" y="connsiteY944"/>
                    </a:cxn>
                    <a:cxn ang="0">
                      <a:pos x="connsiteX945" y="connsiteY945"/>
                    </a:cxn>
                    <a:cxn ang="0">
                      <a:pos x="connsiteX946" y="connsiteY946"/>
                    </a:cxn>
                    <a:cxn ang="0">
                      <a:pos x="connsiteX947" y="connsiteY947"/>
                    </a:cxn>
                    <a:cxn ang="0">
                      <a:pos x="connsiteX948" y="connsiteY948"/>
                    </a:cxn>
                    <a:cxn ang="0">
                      <a:pos x="connsiteX949" y="connsiteY949"/>
                    </a:cxn>
                    <a:cxn ang="0">
                      <a:pos x="connsiteX950" y="connsiteY950"/>
                    </a:cxn>
                    <a:cxn ang="0">
                      <a:pos x="connsiteX951" y="connsiteY951"/>
                    </a:cxn>
                    <a:cxn ang="0">
                      <a:pos x="connsiteX952" y="connsiteY952"/>
                    </a:cxn>
                    <a:cxn ang="0">
                      <a:pos x="connsiteX953" y="connsiteY953"/>
                    </a:cxn>
                    <a:cxn ang="0">
                      <a:pos x="connsiteX954" y="connsiteY954"/>
                    </a:cxn>
                    <a:cxn ang="0">
                      <a:pos x="connsiteX955" y="connsiteY955"/>
                    </a:cxn>
                    <a:cxn ang="0">
                      <a:pos x="connsiteX956" y="connsiteY956"/>
                    </a:cxn>
                    <a:cxn ang="0">
                      <a:pos x="connsiteX957" y="connsiteY957"/>
                    </a:cxn>
                    <a:cxn ang="0">
                      <a:pos x="connsiteX958" y="connsiteY958"/>
                    </a:cxn>
                    <a:cxn ang="0">
                      <a:pos x="connsiteX959" y="connsiteY959"/>
                    </a:cxn>
                    <a:cxn ang="0">
                      <a:pos x="connsiteX960" y="connsiteY960"/>
                    </a:cxn>
                    <a:cxn ang="0">
                      <a:pos x="connsiteX961" y="connsiteY961"/>
                    </a:cxn>
                    <a:cxn ang="0">
                      <a:pos x="connsiteX962" y="connsiteY962"/>
                    </a:cxn>
                    <a:cxn ang="0">
                      <a:pos x="connsiteX963" y="connsiteY963"/>
                    </a:cxn>
                    <a:cxn ang="0">
                      <a:pos x="connsiteX964" y="connsiteY964"/>
                    </a:cxn>
                    <a:cxn ang="0">
                      <a:pos x="connsiteX965" y="connsiteY965"/>
                    </a:cxn>
                    <a:cxn ang="0">
                      <a:pos x="connsiteX966" y="connsiteY966"/>
                    </a:cxn>
                    <a:cxn ang="0">
                      <a:pos x="connsiteX967" y="connsiteY967"/>
                    </a:cxn>
                    <a:cxn ang="0">
                      <a:pos x="connsiteX968" y="connsiteY968"/>
                    </a:cxn>
                    <a:cxn ang="0">
                      <a:pos x="connsiteX969" y="connsiteY969"/>
                    </a:cxn>
                    <a:cxn ang="0">
                      <a:pos x="connsiteX970" y="connsiteY970"/>
                    </a:cxn>
                    <a:cxn ang="0">
                      <a:pos x="connsiteX971" y="connsiteY971"/>
                    </a:cxn>
                    <a:cxn ang="0">
                      <a:pos x="connsiteX972" y="connsiteY972"/>
                    </a:cxn>
                    <a:cxn ang="0">
                      <a:pos x="connsiteX973" y="connsiteY973"/>
                    </a:cxn>
                    <a:cxn ang="0">
                      <a:pos x="connsiteX974" y="connsiteY974"/>
                    </a:cxn>
                    <a:cxn ang="0">
                      <a:pos x="connsiteX975" y="connsiteY975"/>
                    </a:cxn>
                    <a:cxn ang="0">
                      <a:pos x="connsiteX976" y="connsiteY976"/>
                    </a:cxn>
                    <a:cxn ang="0">
                      <a:pos x="connsiteX977" y="connsiteY977"/>
                    </a:cxn>
                    <a:cxn ang="0">
                      <a:pos x="connsiteX978" y="connsiteY978"/>
                    </a:cxn>
                    <a:cxn ang="0">
                      <a:pos x="connsiteX979" y="connsiteY979"/>
                    </a:cxn>
                    <a:cxn ang="0">
                      <a:pos x="connsiteX980" y="connsiteY980"/>
                    </a:cxn>
                    <a:cxn ang="0">
                      <a:pos x="connsiteX981" y="connsiteY981"/>
                    </a:cxn>
                    <a:cxn ang="0">
                      <a:pos x="connsiteX982" y="connsiteY982"/>
                    </a:cxn>
                    <a:cxn ang="0">
                      <a:pos x="connsiteX983" y="connsiteY983"/>
                    </a:cxn>
                    <a:cxn ang="0">
                      <a:pos x="connsiteX984" y="connsiteY984"/>
                    </a:cxn>
                    <a:cxn ang="0">
                      <a:pos x="connsiteX985" y="connsiteY985"/>
                    </a:cxn>
                    <a:cxn ang="0">
                      <a:pos x="connsiteX986" y="connsiteY986"/>
                    </a:cxn>
                    <a:cxn ang="0">
                      <a:pos x="connsiteX987" y="connsiteY987"/>
                    </a:cxn>
                    <a:cxn ang="0">
                      <a:pos x="connsiteX988" y="connsiteY988"/>
                    </a:cxn>
                    <a:cxn ang="0">
                      <a:pos x="connsiteX989" y="connsiteY989"/>
                    </a:cxn>
                    <a:cxn ang="0">
                      <a:pos x="connsiteX990" y="connsiteY990"/>
                    </a:cxn>
                    <a:cxn ang="0">
                      <a:pos x="connsiteX991" y="connsiteY991"/>
                    </a:cxn>
                    <a:cxn ang="0">
                      <a:pos x="connsiteX992" y="connsiteY992"/>
                    </a:cxn>
                    <a:cxn ang="0">
                      <a:pos x="connsiteX993" y="connsiteY993"/>
                    </a:cxn>
                    <a:cxn ang="0">
                      <a:pos x="connsiteX994" y="connsiteY994"/>
                    </a:cxn>
                    <a:cxn ang="0">
                      <a:pos x="connsiteX995" y="connsiteY995"/>
                    </a:cxn>
                    <a:cxn ang="0">
                      <a:pos x="connsiteX996" y="connsiteY996"/>
                    </a:cxn>
                    <a:cxn ang="0">
                      <a:pos x="connsiteX997" y="connsiteY997"/>
                    </a:cxn>
                    <a:cxn ang="0">
                      <a:pos x="connsiteX998" y="connsiteY998"/>
                    </a:cxn>
                    <a:cxn ang="0">
                      <a:pos x="connsiteX999" y="connsiteY999"/>
                    </a:cxn>
                    <a:cxn ang="0">
                      <a:pos x="connsiteX1000" y="connsiteY1000"/>
                    </a:cxn>
                    <a:cxn ang="0">
                      <a:pos x="connsiteX1001" y="connsiteY1001"/>
                    </a:cxn>
                    <a:cxn ang="0">
                      <a:pos x="connsiteX1002" y="connsiteY1002"/>
                    </a:cxn>
                    <a:cxn ang="0">
                      <a:pos x="connsiteX1003" y="connsiteY1003"/>
                    </a:cxn>
                    <a:cxn ang="0">
                      <a:pos x="connsiteX1004" y="connsiteY1004"/>
                    </a:cxn>
                    <a:cxn ang="0">
                      <a:pos x="connsiteX1005" y="connsiteY1005"/>
                    </a:cxn>
                    <a:cxn ang="0">
                      <a:pos x="connsiteX1006" y="connsiteY1006"/>
                    </a:cxn>
                    <a:cxn ang="0">
                      <a:pos x="connsiteX1007" y="connsiteY1007"/>
                    </a:cxn>
                    <a:cxn ang="0">
                      <a:pos x="connsiteX1008" y="connsiteY1008"/>
                    </a:cxn>
                    <a:cxn ang="0">
                      <a:pos x="connsiteX1009" y="connsiteY1009"/>
                    </a:cxn>
                    <a:cxn ang="0">
                      <a:pos x="connsiteX1010" y="connsiteY1010"/>
                    </a:cxn>
                    <a:cxn ang="0">
                      <a:pos x="connsiteX1011" y="connsiteY1011"/>
                    </a:cxn>
                    <a:cxn ang="0">
                      <a:pos x="connsiteX1012" y="connsiteY1012"/>
                    </a:cxn>
                    <a:cxn ang="0">
                      <a:pos x="connsiteX1013" y="connsiteY1013"/>
                    </a:cxn>
                    <a:cxn ang="0">
                      <a:pos x="connsiteX1014" y="connsiteY1014"/>
                    </a:cxn>
                    <a:cxn ang="0">
                      <a:pos x="connsiteX1015" y="connsiteY1015"/>
                    </a:cxn>
                    <a:cxn ang="0">
                      <a:pos x="connsiteX1016" y="connsiteY1016"/>
                    </a:cxn>
                    <a:cxn ang="0">
                      <a:pos x="connsiteX1017" y="connsiteY1017"/>
                    </a:cxn>
                    <a:cxn ang="0">
                      <a:pos x="connsiteX1018" y="connsiteY1018"/>
                    </a:cxn>
                    <a:cxn ang="0">
                      <a:pos x="connsiteX1019" y="connsiteY1019"/>
                    </a:cxn>
                    <a:cxn ang="0">
                      <a:pos x="connsiteX1020" y="connsiteY1020"/>
                    </a:cxn>
                    <a:cxn ang="0">
                      <a:pos x="connsiteX1021" y="connsiteY1021"/>
                    </a:cxn>
                    <a:cxn ang="0">
                      <a:pos x="connsiteX1022" y="connsiteY1022"/>
                    </a:cxn>
                    <a:cxn ang="0">
                      <a:pos x="connsiteX1023" y="connsiteY1023"/>
                    </a:cxn>
                    <a:cxn ang="0">
                      <a:pos x="connsiteX1024" y="connsiteY1024"/>
                    </a:cxn>
                    <a:cxn ang="0">
                      <a:pos x="connsiteX1025" y="connsiteY1025"/>
                    </a:cxn>
                    <a:cxn ang="0">
                      <a:pos x="connsiteX1026" y="connsiteY1026"/>
                    </a:cxn>
                    <a:cxn ang="0">
                      <a:pos x="connsiteX1027" y="connsiteY1027"/>
                    </a:cxn>
                    <a:cxn ang="0">
                      <a:pos x="connsiteX1028" y="connsiteY1028"/>
                    </a:cxn>
                    <a:cxn ang="0">
                      <a:pos x="connsiteX1029" y="connsiteY1029"/>
                    </a:cxn>
                    <a:cxn ang="0">
                      <a:pos x="connsiteX1030" y="connsiteY1030"/>
                    </a:cxn>
                    <a:cxn ang="0">
                      <a:pos x="connsiteX1031" y="connsiteY1031"/>
                    </a:cxn>
                    <a:cxn ang="0">
                      <a:pos x="connsiteX1032" y="connsiteY1032"/>
                    </a:cxn>
                    <a:cxn ang="0">
                      <a:pos x="connsiteX1033" y="connsiteY1033"/>
                    </a:cxn>
                    <a:cxn ang="0">
                      <a:pos x="connsiteX1034" y="connsiteY1034"/>
                    </a:cxn>
                    <a:cxn ang="0">
                      <a:pos x="connsiteX1035" y="connsiteY1035"/>
                    </a:cxn>
                    <a:cxn ang="0">
                      <a:pos x="connsiteX1036" y="connsiteY1036"/>
                    </a:cxn>
                    <a:cxn ang="0">
                      <a:pos x="connsiteX1037" y="connsiteY1037"/>
                    </a:cxn>
                    <a:cxn ang="0">
                      <a:pos x="connsiteX1038" y="connsiteY1038"/>
                    </a:cxn>
                    <a:cxn ang="0">
                      <a:pos x="connsiteX1039" y="connsiteY1039"/>
                    </a:cxn>
                    <a:cxn ang="0">
                      <a:pos x="connsiteX1040" y="connsiteY1040"/>
                    </a:cxn>
                    <a:cxn ang="0">
                      <a:pos x="connsiteX1041" y="connsiteY1041"/>
                    </a:cxn>
                    <a:cxn ang="0">
                      <a:pos x="connsiteX1042" y="connsiteY1042"/>
                    </a:cxn>
                    <a:cxn ang="0">
                      <a:pos x="connsiteX1043" y="connsiteY1043"/>
                    </a:cxn>
                    <a:cxn ang="0">
                      <a:pos x="connsiteX1044" y="connsiteY1044"/>
                    </a:cxn>
                    <a:cxn ang="0">
                      <a:pos x="connsiteX1045" y="connsiteY1045"/>
                    </a:cxn>
                    <a:cxn ang="0">
                      <a:pos x="connsiteX1046" y="connsiteY1046"/>
                    </a:cxn>
                    <a:cxn ang="0">
                      <a:pos x="connsiteX1047" y="connsiteY1047"/>
                    </a:cxn>
                    <a:cxn ang="0">
                      <a:pos x="connsiteX1048" y="connsiteY1048"/>
                    </a:cxn>
                    <a:cxn ang="0">
                      <a:pos x="connsiteX1049" y="connsiteY1049"/>
                    </a:cxn>
                    <a:cxn ang="0">
                      <a:pos x="connsiteX1050" y="connsiteY1050"/>
                    </a:cxn>
                    <a:cxn ang="0">
                      <a:pos x="connsiteX1051" y="connsiteY1051"/>
                    </a:cxn>
                    <a:cxn ang="0">
                      <a:pos x="connsiteX1052" y="connsiteY1052"/>
                    </a:cxn>
                    <a:cxn ang="0">
                      <a:pos x="connsiteX1053" y="connsiteY1053"/>
                    </a:cxn>
                    <a:cxn ang="0">
                      <a:pos x="connsiteX1054" y="connsiteY1054"/>
                    </a:cxn>
                    <a:cxn ang="0">
                      <a:pos x="connsiteX1055" y="connsiteY1055"/>
                    </a:cxn>
                    <a:cxn ang="0">
                      <a:pos x="connsiteX1056" y="connsiteY1056"/>
                    </a:cxn>
                    <a:cxn ang="0">
                      <a:pos x="connsiteX1057" y="connsiteY1057"/>
                    </a:cxn>
                    <a:cxn ang="0">
                      <a:pos x="connsiteX1058" y="connsiteY1058"/>
                    </a:cxn>
                    <a:cxn ang="0">
                      <a:pos x="connsiteX1059" y="connsiteY1059"/>
                    </a:cxn>
                    <a:cxn ang="0">
                      <a:pos x="connsiteX1060" y="connsiteY1060"/>
                    </a:cxn>
                    <a:cxn ang="0">
                      <a:pos x="connsiteX1061" y="connsiteY1061"/>
                    </a:cxn>
                    <a:cxn ang="0">
                      <a:pos x="connsiteX1062" y="connsiteY1062"/>
                    </a:cxn>
                    <a:cxn ang="0">
                      <a:pos x="connsiteX1063" y="connsiteY1063"/>
                    </a:cxn>
                    <a:cxn ang="0">
                      <a:pos x="connsiteX1064" y="connsiteY1064"/>
                    </a:cxn>
                    <a:cxn ang="0">
                      <a:pos x="connsiteX1065" y="connsiteY1065"/>
                    </a:cxn>
                    <a:cxn ang="0">
                      <a:pos x="connsiteX1066" y="connsiteY1066"/>
                    </a:cxn>
                    <a:cxn ang="0">
                      <a:pos x="connsiteX1067" y="connsiteY1067"/>
                    </a:cxn>
                    <a:cxn ang="0">
                      <a:pos x="connsiteX1068" y="connsiteY1068"/>
                    </a:cxn>
                    <a:cxn ang="0">
                      <a:pos x="connsiteX1069" y="connsiteY1069"/>
                    </a:cxn>
                    <a:cxn ang="0">
                      <a:pos x="connsiteX1070" y="connsiteY1070"/>
                    </a:cxn>
                    <a:cxn ang="0">
                      <a:pos x="connsiteX1071" y="connsiteY1071"/>
                    </a:cxn>
                    <a:cxn ang="0">
                      <a:pos x="connsiteX1072" y="connsiteY1072"/>
                    </a:cxn>
                    <a:cxn ang="0">
                      <a:pos x="connsiteX1073" y="connsiteY1073"/>
                    </a:cxn>
                    <a:cxn ang="0">
                      <a:pos x="connsiteX1074" y="connsiteY1074"/>
                    </a:cxn>
                    <a:cxn ang="0">
                      <a:pos x="connsiteX1075" y="connsiteY1075"/>
                    </a:cxn>
                    <a:cxn ang="0">
                      <a:pos x="connsiteX1076" y="connsiteY1076"/>
                    </a:cxn>
                    <a:cxn ang="0">
                      <a:pos x="connsiteX1077" y="connsiteY1077"/>
                    </a:cxn>
                    <a:cxn ang="0">
                      <a:pos x="connsiteX1078" y="connsiteY1078"/>
                    </a:cxn>
                    <a:cxn ang="0">
                      <a:pos x="connsiteX1079" y="connsiteY1079"/>
                    </a:cxn>
                    <a:cxn ang="0">
                      <a:pos x="connsiteX1080" y="connsiteY1080"/>
                    </a:cxn>
                    <a:cxn ang="0">
                      <a:pos x="connsiteX1081" y="connsiteY1081"/>
                    </a:cxn>
                    <a:cxn ang="0">
                      <a:pos x="connsiteX1082" y="connsiteY1082"/>
                    </a:cxn>
                    <a:cxn ang="0">
                      <a:pos x="connsiteX1083" y="connsiteY1083"/>
                    </a:cxn>
                    <a:cxn ang="0">
                      <a:pos x="connsiteX1084" y="connsiteY1084"/>
                    </a:cxn>
                    <a:cxn ang="0">
                      <a:pos x="connsiteX1085" y="connsiteY1085"/>
                    </a:cxn>
                    <a:cxn ang="0">
                      <a:pos x="connsiteX1086" y="connsiteY1086"/>
                    </a:cxn>
                    <a:cxn ang="0">
                      <a:pos x="connsiteX1087" y="connsiteY1087"/>
                    </a:cxn>
                    <a:cxn ang="0">
                      <a:pos x="connsiteX1088" y="connsiteY1088"/>
                    </a:cxn>
                    <a:cxn ang="0">
                      <a:pos x="connsiteX1089" y="connsiteY1089"/>
                    </a:cxn>
                    <a:cxn ang="0">
                      <a:pos x="connsiteX1090" y="connsiteY1090"/>
                    </a:cxn>
                    <a:cxn ang="0">
                      <a:pos x="connsiteX1091" y="connsiteY1091"/>
                    </a:cxn>
                    <a:cxn ang="0">
                      <a:pos x="connsiteX1092" y="connsiteY1092"/>
                    </a:cxn>
                    <a:cxn ang="0">
                      <a:pos x="connsiteX1093" y="connsiteY1093"/>
                    </a:cxn>
                    <a:cxn ang="0">
                      <a:pos x="connsiteX1094" y="connsiteY1094"/>
                    </a:cxn>
                    <a:cxn ang="0">
                      <a:pos x="connsiteX1095" y="connsiteY1095"/>
                    </a:cxn>
                    <a:cxn ang="0">
                      <a:pos x="connsiteX1096" y="connsiteY1096"/>
                    </a:cxn>
                    <a:cxn ang="0">
                      <a:pos x="connsiteX1097" y="connsiteY1097"/>
                    </a:cxn>
                    <a:cxn ang="0">
                      <a:pos x="connsiteX1098" y="connsiteY1098"/>
                    </a:cxn>
                    <a:cxn ang="0">
                      <a:pos x="connsiteX1099" y="connsiteY1099"/>
                    </a:cxn>
                    <a:cxn ang="0">
                      <a:pos x="connsiteX1100" y="connsiteY1100"/>
                    </a:cxn>
                    <a:cxn ang="0">
                      <a:pos x="connsiteX1101" y="connsiteY1101"/>
                    </a:cxn>
                    <a:cxn ang="0">
                      <a:pos x="connsiteX1102" y="connsiteY1102"/>
                    </a:cxn>
                    <a:cxn ang="0">
                      <a:pos x="connsiteX1103" y="connsiteY1103"/>
                    </a:cxn>
                    <a:cxn ang="0">
                      <a:pos x="connsiteX1104" y="connsiteY1104"/>
                    </a:cxn>
                    <a:cxn ang="0">
                      <a:pos x="connsiteX1105" y="connsiteY1105"/>
                    </a:cxn>
                    <a:cxn ang="0">
                      <a:pos x="connsiteX1106" y="connsiteY1106"/>
                    </a:cxn>
                    <a:cxn ang="0">
                      <a:pos x="connsiteX1107" y="connsiteY1107"/>
                    </a:cxn>
                    <a:cxn ang="0">
                      <a:pos x="connsiteX1108" y="connsiteY1108"/>
                    </a:cxn>
                    <a:cxn ang="0">
                      <a:pos x="connsiteX1109" y="connsiteY1109"/>
                    </a:cxn>
                    <a:cxn ang="0">
                      <a:pos x="connsiteX1110" y="connsiteY1110"/>
                    </a:cxn>
                    <a:cxn ang="0">
                      <a:pos x="connsiteX1111" y="connsiteY1111"/>
                    </a:cxn>
                    <a:cxn ang="0">
                      <a:pos x="connsiteX1112" y="connsiteY1112"/>
                    </a:cxn>
                    <a:cxn ang="0">
                      <a:pos x="connsiteX1113" y="connsiteY1113"/>
                    </a:cxn>
                    <a:cxn ang="0">
                      <a:pos x="connsiteX1114" y="connsiteY1114"/>
                    </a:cxn>
                    <a:cxn ang="0">
                      <a:pos x="connsiteX1115" y="connsiteY1115"/>
                    </a:cxn>
                    <a:cxn ang="0">
                      <a:pos x="connsiteX1116" y="connsiteY1116"/>
                    </a:cxn>
                    <a:cxn ang="0">
                      <a:pos x="connsiteX1117" y="connsiteY1117"/>
                    </a:cxn>
                    <a:cxn ang="0">
                      <a:pos x="connsiteX1118" y="connsiteY1118"/>
                    </a:cxn>
                    <a:cxn ang="0">
                      <a:pos x="connsiteX1119" y="connsiteY1119"/>
                    </a:cxn>
                    <a:cxn ang="0">
                      <a:pos x="connsiteX1120" y="connsiteY1120"/>
                    </a:cxn>
                    <a:cxn ang="0">
                      <a:pos x="connsiteX1121" y="connsiteY1121"/>
                    </a:cxn>
                    <a:cxn ang="0">
                      <a:pos x="connsiteX1122" y="connsiteY1122"/>
                    </a:cxn>
                    <a:cxn ang="0">
                      <a:pos x="connsiteX1123" y="connsiteY1123"/>
                    </a:cxn>
                    <a:cxn ang="0">
                      <a:pos x="connsiteX1124" y="connsiteY1124"/>
                    </a:cxn>
                    <a:cxn ang="0">
                      <a:pos x="connsiteX1125" y="connsiteY1125"/>
                    </a:cxn>
                    <a:cxn ang="0">
                      <a:pos x="connsiteX1126" y="connsiteY1126"/>
                    </a:cxn>
                    <a:cxn ang="0">
                      <a:pos x="connsiteX1127" y="connsiteY1127"/>
                    </a:cxn>
                    <a:cxn ang="0">
                      <a:pos x="connsiteX1128" y="connsiteY1128"/>
                    </a:cxn>
                    <a:cxn ang="0">
                      <a:pos x="connsiteX1129" y="connsiteY1129"/>
                    </a:cxn>
                    <a:cxn ang="0">
                      <a:pos x="connsiteX1130" y="connsiteY1130"/>
                    </a:cxn>
                    <a:cxn ang="0">
                      <a:pos x="connsiteX1131" y="connsiteY1131"/>
                    </a:cxn>
                    <a:cxn ang="0">
                      <a:pos x="connsiteX1132" y="connsiteY1132"/>
                    </a:cxn>
                    <a:cxn ang="0">
                      <a:pos x="connsiteX1133" y="connsiteY1133"/>
                    </a:cxn>
                    <a:cxn ang="0">
                      <a:pos x="connsiteX1134" y="connsiteY1134"/>
                    </a:cxn>
                    <a:cxn ang="0">
                      <a:pos x="connsiteX1135" y="connsiteY1135"/>
                    </a:cxn>
                    <a:cxn ang="0">
                      <a:pos x="connsiteX1136" y="connsiteY1136"/>
                    </a:cxn>
                    <a:cxn ang="0">
                      <a:pos x="connsiteX1137" y="connsiteY1137"/>
                    </a:cxn>
                    <a:cxn ang="0">
                      <a:pos x="connsiteX1138" y="connsiteY1138"/>
                    </a:cxn>
                    <a:cxn ang="0">
                      <a:pos x="connsiteX1139" y="connsiteY1139"/>
                    </a:cxn>
                    <a:cxn ang="0">
                      <a:pos x="connsiteX1140" y="connsiteY1140"/>
                    </a:cxn>
                    <a:cxn ang="0">
                      <a:pos x="connsiteX1141" y="connsiteY1141"/>
                    </a:cxn>
                    <a:cxn ang="0">
                      <a:pos x="connsiteX1142" y="connsiteY1142"/>
                    </a:cxn>
                    <a:cxn ang="0">
                      <a:pos x="connsiteX1143" y="connsiteY1143"/>
                    </a:cxn>
                    <a:cxn ang="0">
                      <a:pos x="connsiteX1144" y="connsiteY1144"/>
                    </a:cxn>
                    <a:cxn ang="0">
                      <a:pos x="connsiteX1145" y="connsiteY1145"/>
                    </a:cxn>
                    <a:cxn ang="0">
                      <a:pos x="connsiteX1146" y="connsiteY1146"/>
                    </a:cxn>
                    <a:cxn ang="0">
                      <a:pos x="connsiteX1147" y="connsiteY1147"/>
                    </a:cxn>
                    <a:cxn ang="0">
                      <a:pos x="connsiteX1148" y="connsiteY1148"/>
                    </a:cxn>
                    <a:cxn ang="0">
                      <a:pos x="connsiteX1149" y="connsiteY1149"/>
                    </a:cxn>
                    <a:cxn ang="0">
                      <a:pos x="connsiteX1150" y="connsiteY1150"/>
                    </a:cxn>
                    <a:cxn ang="0">
                      <a:pos x="connsiteX1151" y="connsiteY1151"/>
                    </a:cxn>
                    <a:cxn ang="0">
                      <a:pos x="connsiteX1152" y="connsiteY1152"/>
                    </a:cxn>
                    <a:cxn ang="0">
                      <a:pos x="connsiteX1153" y="connsiteY1153"/>
                    </a:cxn>
                    <a:cxn ang="0">
                      <a:pos x="connsiteX1154" y="connsiteY1154"/>
                    </a:cxn>
                    <a:cxn ang="0">
                      <a:pos x="connsiteX1155" y="connsiteY1155"/>
                    </a:cxn>
                    <a:cxn ang="0">
                      <a:pos x="connsiteX1156" y="connsiteY1156"/>
                    </a:cxn>
                    <a:cxn ang="0">
                      <a:pos x="connsiteX1157" y="connsiteY1157"/>
                    </a:cxn>
                    <a:cxn ang="0">
                      <a:pos x="connsiteX1158" y="connsiteY1158"/>
                    </a:cxn>
                    <a:cxn ang="0">
                      <a:pos x="connsiteX1159" y="connsiteY1159"/>
                    </a:cxn>
                    <a:cxn ang="0">
                      <a:pos x="connsiteX1160" y="connsiteY1160"/>
                    </a:cxn>
                    <a:cxn ang="0">
                      <a:pos x="connsiteX1161" y="connsiteY1161"/>
                    </a:cxn>
                    <a:cxn ang="0">
                      <a:pos x="connsiteX1162" y="connsiteY1162"/>
                    </a:cxn>
                    <a:cxn ang="0">
                      <a:pos x="connsiteX1163" y="connsiteY1163"/>
                    </a:cxn>
                    <a:cxn ang="0">
                      <a:pos x="connsiteX1164" y="connsiteY1164"/>
                    </a:cxn>
                    <a:cxn ang="0">
                      <a:pos x="connsiteX1165" y="connsiteY1165"/>
                    </a:cxn>
                    <a:cxn ang="0">
                      <a:pos x="connsiteX1166" y="connsiteY1166"/>
                    </a:cxn>
                    <a:cxn ang="0">
                      <a:pos x="connsiteX1167" y="connsiteY1167"/>
                    </a:cxn>
                    <a:cxn ang="0">
                      <a:pos x="connsiteX1168" y="connsiteY1168"/>
                    </a:cxn>
                    <a:cxn ang="0">
                      <a:pos x="connsiteX1169" y="connsiteY1169"/>
                    </a:cxn>
                    <a:cxn ang="0">
                      <a:pos x="connsiteX1170" y="connsiteY1170"/>
                    </a:cxn>
                    <a:cxn ang="0">
                      <a:pos x="connsiteX1171" y="connsiteY1171"/>
                    </a:cxn>
                    <a:cxn ang="0">
                      <a:pos x="connsiteX1172" y="connsiteY1172"/>
                    </a:cxn>
                    <a:cxn ang="0">
                      <a:pos x="connsiteX1173" y="connsiteY1173"/>
                    </a:cxn>
                    <a:cxn ang="0">
                      <a:pos x="connsiteX1174" y="connsiteY1174"/>
                    </a:cxn>
                    <a:cxn ang="0">
                      <a:pos x="connsiteX1175" y="connsiteY1175"/>
                    </a:cxn>
                    <a:cxn ang="0">
                      <a:pos x="connsiteX1176" y="connsiteY1176"/>
                    </a:cxn>
                    <a:cxn ang="0">
                      <a:pos x="connsiteX1177" y="connsiteY1177"/>
                    </a:cxn>
                    <a:cxn ang="0">
                      <a:pos x="connsiteX1178" y="connsiteY1178"/>
                    </a:cxn>
                    <a:cxn ang="0">
                      <a:pos x="connsiteX1179" y="connsiteY1179"/>
                    </a:cxn>
                    <a:cxn ang="0">
                      <a:pos x="connsiteX1180" y="connsiteY1180"/>
                    </a:cxn>
                    <a:cxn ang="0">
                      <a:pos x="connsiteX1181" y="connsiteY1181"/>
                    </a:cxn>
                    <a:cxn ang="0">
                      <a:pos x="connsiteX1182" y="connsiteY1182"/>
                    </a:cxn>
                    <a:cxn ang="0">
                      <a:pos x="connsiteX1183" y="connsiteY1183"/>
                    </a:cxn>
                    <a:cxn ang="0">
                      <a:pos x="connsiteX1184" y="connsiteY1184"/>
                    </a:cxn>
                    <a:cxn ang="0">
                      <a:pos x="connsiteX1185" y="connsiteY1185"/>
                    </a:cxn>
                    <a:cxn ang="0">
                      <a:pos x="connsiteX1186" y="connsiteY1186"/>
                    </a:cxn>
                    <a:cxn ang="0">
                      <a:pos x="connsiteX1187" y="connsiteY1187"/>
                    </a:cxn>
                    <a:cxn ang="0">
                      <a:pos x="connsiteX1188" y="connsiteY1188"/>
                    </a:cxn>
                    <a:cxn ang="0">
                      <a:pos x="connsiteX1189" y="connsiteY1189"/>
                    </a:cxn>
                    <a:cxn ang="0">
                      <a:pos x="connsiteX1190" y="connsiteY1190"/>
                    </a:cxn>
                    <a:cxn ang="0">
                      <a:pos x="connsiteX1191" y="connsiteY1191"/>
                    </a:cxn>
                    <a:cxn ang="0">
                      <a:pos x="connsiteX1192" y="connsiteY1192"/>
                    </a:cxn>
                    <a:cxn ang="0">
                      <a:pos x="connsiteX1193" y="connsiteY1193"/>
                    </a:cxn>
                    <a:cxn ang="0">
                      <a:pos x="connsiteX1194" y="connsiteY1194"/>
                    </a:cxn>
                    <a:cxn ang="0">
                      <a:pos x="connsiteX1195" y="connsiteY1195"/>
                    </a:cxn>
                    <a:cxn ang="0">
                      <a:pos x="connsiteX1196" y="connsiteY1196"/>
                    </a:cxn>
                    <a:cxn ang="0">
                      <a:pos x="connsiteX1197" y="connsiteY1197"/>
                    </a:cxn>
                    <a:cxn ang="0">
                      <a:pos x="connsiteX1198" y="connsiteY1198"/>
                    </a:cxn>
                    <a:cxn ang="0">
                      <a:pos x="connsiteX1199" y="connsiteY1199"/>
                    </a:cxn>
                    <a:cxn ang="0">
                      <a:pos x="connsiteX1200" y="connsiteY1200"/>
                    </a:cxn>
                    <a:cxn ang="0">
                      <a:pos x="connsiteX1201" y="connsiteY1201"/>
                    </a:cxn>
                    <a:cxn ang="0">
                      <a:pos x="connsiteX1202" y="connsiteY1202"/>
                    </a:cxn>
                    <a:cxn ang="0">
                      <a:pos x="connsiteX1203" y="connsiteY1203"/>
                    </a:cxn>
                    <a:cxn ang="0">
                      <a:pos x="connsiteX1204" y="connsiteY1204"/>
                    </a:cxn>
                    <a:cxn ang="0">
                      <a:pos x="connsiteX1205" y="connsiteY1205"/>
                    </a:cxn>
                    <a:cxn ang="0">
                      <a:pos x="connsiteX1206" y="connsiteY1206"/>
                    </a:cxn>
                    <a:cxn ang="0">
                      <a:pos x="connsiteX1207" y="connsiteY1207"/>
                    </a:cxn>
                    <a:cxn ang="0">
                      <a:pos x="connsiteX1208" y="connsiteY1208"/>
                    </a:cxn>
                    <a:cxn ang="0">
                      <a:pos x="connsiteX1209" y="connsiteY1209"/>
                    </a:cxn>
                    <a:cxn ang="0">
                      <a:pos x="connsiteX1210" y="connsiteY1210"/>
                    </a:cxn>
                    <a:cxn ang="0">
                      <a:pos x="connsiteX1211" y="connsiteY1211"/>
                    </a:cxn>
                    <a:cxn ang="0">
                      <a:pos x="connsiteX1212" y="connsiteY1212"/>
                    </a:cxn>
                    <a:cxn ang="0">
                      <a:pos x="connsiteX1213" y="connsiteY1213"/>
                    </a:cxn>
                    <a:cxn ang="0">
                      <a:pos x="connsiteX1214" y="connsiteY1214"/>
                    </a:cxn>
                    <a:cxn ang="0">
                      <a:pos x="connsiteX1215" y="connsiteY1215"/>
                    </a:cxn>
                    <a:cxn ang="0">
                      <a:pos x="connsiteX1216" y="connsiteY1216"/>
                    </a:cxn>
                    <a:cxn ang="0">
                      <a:pos x="connsiteX1217" y="connsiteY1217"/>
                    </a:cxn>
                    <a:cxn ang="0">
                      <a:pos x="connsiteX1218" y="connsiteY1218"/>
                    </a:cxn>
                    <a:cxn ang="0">
                      <a:pos x="connsiteX1219" y="connsiteY1219"/>
                    </a:cxn>
                    <a:cxn ang="0">
                      <a:pos x="connsiteX1220" y="connsiteY1220"/>
                    </a:cxn>
                    <a:cxn ang="0">
                      <a:pos x="connsiteX1221" y="connsiteY1221"/>
                    </a:cxn>
                    <a:cxn ang="0">
                      <a:pos x="connsiteX1222" y="connsiteY1222"/>
                    </a:cxn>
                    <a:cxn ang="0">
                      <a:pos x="connsiteX1223" y="connsiteY1223"/>
                    </a:cxn>
                    <a:cxn ang="0">
                      <a:pos x="connsiteX1224" y="connsiteY1224"/>
                    </a:cxn>
                    <a:cxn ang="0">
                      <a:pos x="connsiteX1225" y="connsiteY1225"/>
                    </a:cxn>
                    <a:cxn ang="0">
                      <a:pos x="connsiteX1226" y="connsiteY1226"/>
                    </a:cxn>
                    <a:cxn ang="0">
                      <a:pos x="connsiteX1227" y="connsiteY1227"/>
                    </a:cxn>
                    <a:cxn ang="0">
                      <a:pos x="connsiteX1228" y="connsiteY1228"/>
                    </a:cxn>
                    <a:cxn ang="0">
                      <a:pos x="connsiteX1229" y="connsiteY1229"/>
                    </a:cxn>
                    <a:cxn ang="0">
                      <a:pos x="connsiteX1230" y="connsiteY1230"/>
                    </a:cxn>
                    <a:cxn ang="0">
                      <a:pos x="connsiteX1231" y="connsiteY1231"/>
                    </a:cxn>
                    <a:cxn ang="0">
                      <a:pos x="connsiteX1232" y="connsiteY1232"/>
                    </a:cxn>
                    <a:cxn ang="0">
                      <a:pos x="connsiteX1233" y="connsiteY1233"/>
                    </a:cxn>
                    <a:cxn ang="0">
                      <a:pos x="connsiteX1234" y="connsiteY1234"/>
                    </a:cxn>
                    <a:cxn ang="0">
                      <a:pos x="connsiteX1235" y="connsiteY1235"/>
                    </a:cxn>
                    <a:cxn ang="0">
                      <a:pos x="connsiteX1236" y="connsiteY1236"/>
                    </a:cxn>
                    <a:cxn ang="0">
                      <a:pos x="connsiteX1237" y="connsiteY1237"/>
                    </a:cxn>
                    <a:cxn ang="0">
                      <a:pos x="connsiteX1238" y="connsiteY1238"/>
                    </a:cxn>
                    <a:cxn ang="0">
                      <a:pos x="connsiteX1239" y="connsiteY1239"/>
                    </a:cxn>
                    <a:cxn ang="0">
                      <a:pos x="connsiteX1240" y="connsiteY1240"/>
                    </a:cxn>
                    <a:cxn ang="0">
                      <a:pos x="connsiteX1241" y="connsiteY1241"/>
                    </a:cxn>
                    <a:cxn ang="0">
                      <a:pos x="connsiteX1242" y="connsiteY1242"/>
                    </a:cxn>
                    <a:cxn ang="0">
                      <a:pos x="connsiteX1243" y="connsiteY1243"/>
                    </a:cxn>
                    <a:cxn ang="0">
                      <a:pos x="connsiteX1244" y="connsiteY1244"/>
                    </a:cxn>
                    <a:cxn ang="0">
                      <a:pos x="connsiteX1245" y="connsiteY1245"/>
                    </a:cxn>
                    <a:cxn ang="0">
                      <a:pos x="connsiteX1246" y="connsiteY1246"/>
                    </a:cxn>
                    <a:cxn ang="0">
                      <a:pos x="connsiteX1247" y="connsiteY1247"/>
                    </a:cxn>
                    <a:cxn ang="0">
                      <a:pos x="connsiteX1248" y="connsiteY1248"/>
                    </a:cxn>
                    <a:cxn ang="0">
                      <a:pos x="connsiteX1249" y="connsiteY1249"/>
                    </a:cxn>
                    <a:cxn ang="0">
                      <a:pos x="connsiteX1250" y="connsiteY1250"/>
                    </a:cxn>
                    <a:cxn ang="0">
                      <a:pos x="connsiteX1251" y="connsiteY1251"/>
                    </a:cxn>
                    <a:cxn ang="0">
                      <a:pos x="connsiteX1252" y="connsiteY1252"/>
                    </a:cxn>
                    <a:cxn ang="0">
                      <a:pos x="connsiteX1253" y="connsiteY1253"/>
                    </a:cxn>
                    <a:cxn ang="0">
                      <a:pos x="connsiteX1254" y="connsiteY1254"/>
                    </a:cxn>
                    <a:cxn ang="0">
                      <a:pos x="connsiteX1255" y="connsiteY1255"/>
                    </a:cxn>
                    <a:cxn ang="0">
                      <a:pos x="connsiteX1256" y="connsiteY1256"/>
                    </a:cxn>
                    <a:cxn ang="0">
                      <a:pos x="connsiteX1257" y="connsiteY1257"/>
                    </a:cxn>
                    <a:cxn ang="0">
                      <a:pos x="connsiteX1258" y="connsiteY1258"/>
                    </a:cxn>
                    <a:cxn ang="0">
                      <a:pos x="connsiteX1259" y="connsiteY1259"/>
                    </a:cxn>
                    <a:cxn ang="0">
                      <a:pos x="connsiteX1260" y="connsiteY1260"/>
                    </a:cxn>
                    <a:cxn ang="0">
                      <a:pos x="connsiteX1261" y="connsiteY1261"/>
                    </a:cxn>
                    <a:cxn ang="0">
                      <a:pos x="connsiteX1262" y="connsiteY1262"/>
                    </a:cxn>
                    <a:cxn ang="0">
                      <a:pos x="connsiteX1263" y="connsiteY1263"/>
                    </a:cxn>
                    <a:cxn ang="0">
                      <a:pos x="connsiteX1264" y="connsiteY1264"/>
                    </a:cxn>
                    <a:cxn ang="0">
                      <a:pos x="connsiteX1265" y="connsiteY1265"/>
                    </a:cxn>
                    <a:cxn ang="0">
                      <a:pos x="connsiteX1266" y="connsiteY1266"/>
                    </a:cxn>
                    <a:cxn ang="0">
                      <a:pos x="connsiteX1267" y="connsiteY1267"/>
                    </a:cxn>
                    <a:cxn ang="0">
                      <a:pos x="connsiteX1268" y="connsiteY1268"/>
                    </a:cxn>
                    <a:cxn ang="0">
                      <a:pos x="connsiteX1269" y="connsiteY1269"/>
                    </a:cxn>
                    <a:cxn ang="0">
                      <a:pos x="connsiteX1270" y="connsiteY1270"/>
                    </a:cxn>
                    <a:cxn ang="0">
                      <a:pos x="connsiteX1271" y="connsiteY1271"/>
                    </a:cxn>
                    <a:cxn ang="0">
                      <a:pos x="connsiteX1272" y="connsiteY1272"/>
                    </a:cxn>
                    <a:cxn ang="0">
                      <a:pos x="connsiteX1273" y="connsiteY1273"/>
                    </a:cxn>
                    <a:cxn ang="0">
                      <a:pos x="connsiteX1274" y="connsiteY1274"/>
                    </a:cxn>
                    <a:cxn ang="0">
                      <a:pos x="connsiteX1275" y="connsiteY1275"/>
                    </a:cxn>
                    <a:cxn ang="0">
                      <a:pos x="connsiteX1276" y="connsiteY1276"/>
                    </a:cxn>
                    <a:cxn ang="0">
                      <a:pos x="connsiteX1277" y="connsiteY1277"/>
                    </a:cxn>
                    <a:cxn ang="0">
                      <a:pos x="connsiteX1278" y="connsiteY1278"/>
                    </a:cxn>
                    <a:cxn ang="0">
                      <a:pos x="connsiteX1279" y="connsiteY1279"/>
                    </a:cxn>
                    <a:cxn ang="0">
                      <a:pos x="connsiteX1280" y="connsiteY1280"/>
                    </a:cxn>
                    <a:cxn ang="0">
                      <a:pos x="connsiteX1281" y="connsiteY1281"/>
                    </a:cxn>
                    <a:cxn ang="0">
                      <a:pos x="connsiteX1282" y="connsiteY1282"/>
                    </a:cxn>
                    <a:cxn ang="0">
                      <a:pos x="connsiteX1283" y="connsiteY1283"/>
                    </a:cxn>
                    <a:cxn ang="0">
                      <a:pos x="connsiteX1284" y="connsiteY1284"/>
                    </a:cxn>
                    <a:cxn ang="0">
                      <a:pos x="connsiteX1285" y="connsiteY1285"/>
                    </a:cxn>
                    <a:cxn ang="0">
                      <a:pos x="connsiteX1286" y="connsiteY1286"/>
                    </a:cxn>
                    <a:cxn ang="0">
                      <a:pos x="connsiteX1287" y="connsiteY1287"/>
                    </a:cxn>
                    <a:cxn ang="0">
                      <a:pos x="connsiteX1288" y="connsiteY1288"/>
                    </a:cxn>
                    <a:cxn ang="0">
                      <a:pos x="connsiteX1289" y="connsiteY1289"/>
                    </a:cxn>
                    <a:cxn ang="0">
                      <a:pos x="connsiteX1290" y="connsiteY1290"/>
                    </a:cxn>
                    <a:cxn ang="0">
                      <a:pos x="connsiteX1291" y="connsiteY1291"/>
                    </a:cxn>
                    <a:cxn ang="0">
                      <a:pos x="connsiteX1292" y="connsiteY1292"/>
                    </a:cxn>
                    <a:cxn ang="0">
                      <a:pos x="connsiteX1293" y="connsiteY1293"/>
                    </a:cxn>
                    <a:cxn ang="0">
                      <a:pos x="connsiteX1294" y="connsiteY1294"/>
                    </a:cxn>
                    <a:cxn ang="0">
                      <a:pos x="connsiteX1295" y="connsiteY1295"/>
                    </a:cxn>
                    <a:cxn ang="0">
                      <a:pos x="connsiteX1296" y="connsiteY1296"/>
                    </a:cxn>
                    <a:cxn ang="0">
                      <a:pos x="connsiteX1297" y="connsiteY1297"/>
                    </a:cxn>
                    <a:cxn ang="0">
                      <a:pos x="connsiteX1298" y="connsiteY1298"/>
                    </a:cxn>
                    <a:cxn ang="0">
                      <a:pos x="connsiteX1299" y="connsiteY1299"/>
                    </a:cxn>
                    <a:cxn ang="0">
                      <a:pos x="connsiteX1300" y="connsiteY1300"/>
                    </a:cxn>
                    <a:cxn ang="0">
                      <a:pos x="connsiteX1301" y="connsiteY1301"/>
                    </a:cxn>
                    <a:cxn ang="0">
                      <a:pos x="connsiteX1302" y="connsiteY1302"/>
                    </a:cxn>
                    <a:cxn ang="0">
                      <a:pos x="connsiteX1303" y="connsiteY1303"/>
                    </a:cxn>
                    <a:cxn ang="0">
                      <a:pos x="connsiteX1304" y="connsiteY1304"/>
                    </a:cxn>
                    <a:cxn ang="0">
                      <a:pos x="connsiteX1305" y="connsiteY1305"/>
                    </a:cxn>
                    <a:cxn ang="0">
                      <a:pos x="connsiteX1306" y="connsiteY1306"/>
                    </a:cxn>
                    <a:cxn ang="0">
                      <a:pos x="connsiteX1307" y="connsiteY1307"/>
                    </a:cxn>
                    <a:cxn ang="0">
                      <a:pos x="connsiteX1308" y="connsiteY1308"/>
                    </a:cxn>
                    <a:cxn ang="0">
                      <a:pos x="connsiteX1309" y="connsiteY1309"/>
                    </a:cxn>
                    <a:cxn ang="0">
                      <a:pos x="connsiteX1310" y="connsiteY1310"/>
                    </a:cxn>
                    <a:cxn ang="0">
                      <a:pos x="connsiteX1311" y="connsiteY1311"/>
                    </a:cxn>
                    <a:cxn ang="0">
                      <a:pos x="connsiteX1312" y="connsiteY1312"/>
                    </a:cxn>
                    <a:cxn ang="0">
                      <a:pos x="connsiteX1313" y="connsiteY1313"/>
                    </a:cxn>
                    <a:cxn ang="0">
                      <a:pos x="connsiteX1314" y="connsiteY1314"/>
                    </a:cxn>
                    <a:cxn ang="0">
                      <a:pos x="connsiteX1315" y="connsiteY1315"/>
                    </a:cxn>
                    <a:cxn ang="0">
                      <a:pos x="connsiteX1316" y="connsiteY1316"/>
                    </a:cxn>
                    <a:cxn ang="0">
                      <a:pos x="connsiteX1317" y="connsiteY1317"/>
                    </a:cxn>
                    <a:cxn ang="0">
                      <a:pos x="connsiteX1318" y="connsiteY1318"/>
                    </a:cxn>
                    <a:cxn ang="0">
                      <a:pos x="connsiteX1319" y="connsiteY1319"/>
                    </a:cxn>
                    <a:cxn ang="0">
                      <a:pos x="connsiteX1320" y="connsiteY1320"/>
                    </a:cxn>
                    <a:cxn ang="0">
                      <a:pos x="connsiteX1321" y="connsiteY1321"/>
                    </a:cxn>
                    <a:cxn ang="0">
                      <a:pos x="connsiteX1322" y="connsiteY1322"/>
                    </a:cxn>
                    <a:cxn ang="0">
                      <a:pos x="connsiteX1323" y="connsiteY1323"/>
                    </a:cxn>
                    <a:cxn ang="0">
                      <a:pos x="connsiteX1324" y="connsiteY1324"/>
                    </a:cxn>
                    <a:cxn ang="0">
                      <a:pos x="connsiteX1325" y="connsiteY1325"/>
                    </a:cxn>
                    <a:cxn ang="0">
                      <a:pos x="connsiteX1326" y="connsiteY1326"/>
                    </a:cxn>
                    <a:cxn ang="0">
                      <a:pos x="connsiteX1327" y="connsiteY1327"/>
                    </a:cxn>
                    <a:cxn ang="0">
                      <a:pos x="connsiteX1328" y="connsiteY1328"/>
                    </a:cxn>
                    <a:cxn ang="0">
                      <a:pos x="connsiteX1329" y="connsiteY1329"/>
                    </a:cxn>
                    <a:cxn ang="0">
                      <a:pos x="connsiteX1330" y="connsiteY1330"/>
                    </a:cxn>
                    <a:cxn ang="0">
                      <a:pos x="connsiteX1331" y="connsiteY1331"/>
                    </a:cxn>
                    <a:cxn ang="0">
                      <a:pos x="connsiteX1332" y="connsiteY1332"/>
                    </a:cxn>
                    <a:cxn ang="0">
                      <a:pos x="connsiteX1333" y="connsiteY1333"/>
                    </a:cxn>
                    <a:cxn ang="0">
                      <a:pos x="connsiteX1334" y="connsiteY1334"/>
                    </a:cxn>
                    <a:cxn ang="0">
                      <a:pos x="connsiteX1335" y="connsiteY1335"/>
                    </a:cxn>
                    <a:cxn ang="0">
                      <a:pos x="connsiteX1336" y="connsiteY1336"/>
                    </a:cxn>
                    <a:cxn ang="0">
                      <a:pos x="connsiteX1337" y="connsiteY1337"/>
                    </a:cxn>
                    <a:cxn ang="0">
                      <a:pos x="connsiteX1338" y="connsiteY1338"/>
                    </a:cxn>
                    <a:cxn ang="0">
                      <a:pos x="connsiteX1339" y="connsiteY1339"/>
                    </a:cxn>
                    <a:cxn ang="0">
                      <a:pos x="connsiteX1340" y="connsiteY1340"/>
                    </a:cxn>
                    <a:cxn ang="0">
                      <a:pos x="connsiteX1341" y="connsiteY1341"/>
                    </a:cxn>
                    <a:cxn ang="0">
                      <a:pos x="connsiteX1342" y="connsiteY1342"/>
                    </a:cxn>
                    <a:cxn ang="0">
                      <a:pos x="connsiteX1343" y="connsiteY1343"/>
                    </a:cxn>
                    <a:cxn ang="0">
                      <a:pos x="connsiteX1344" y="connsiteY1344"/>
                    </a:cxn>
                    <a:cxn ang="0">
                      <a:pos x="connsiteX1345" y="connsiteY1345"/>
                    </a:cxn>
                    <a:cxn ang="0">
                      <a:pos x="connsiteX1346" y="connsiteY1346"/>
                    </a:cxn>
                    <a:cxn ang="0">
                      <a:pos x="connsiteX1347" y="connsiteY1347"/>
                    </a:cxn>
                    <a:cxn ang="0">
                      <a:pos x="connsiteX1348" y="connsiteY1348"/>
                    </a:cxn>
                    <a:cxn ang="0">
                      <a:pos x="connsiteX1349" y="connsiteY1349"/>
                    </a:cxn>
                    <a:cxn ang="0">
                      <a:pos x="connsiteX1350" y="connsiteY1350"/>
                    </a:cxn>
                    <a:cxn ang="0">
                      <a:pos x="connsiteX1351" y="connsiteY1351"/>
                    </a:cxn>
                    <a:cxn ang="0">
                      <a:pos x="connsiteX1352" y="connsiteY1352"/>
                    </a:cxn>
                    <a:cxn ang="0">
                      <a:pos x="connsiteX1353" y="connsiteY1353"/>
                    </a:cxn>
                    <a:cxn ang="0">
                      <a:pos x="connsiteX1354" y="connsiteY1354"/>
                    </a:cxn>
                    <a:cxn ang="0">
                      <a:pos x="connsiteX1355" y="connsiteY1355"/>
                    </a:cxn>
                    <a:cxn ang="0">
                      <a:pos x="connsiteX1356" y="connsiteY1356"/>
                    </a:cxn>
                    <a:cxn ang="0">
                      <a:pos x="connsiteX1357" y="connsiteY1357"/>
                    </a:cxn>
                    <a:cxn ang="0">
                      <a:pos x="connsiteX1358" y="connsiteY1358"/>
                    </a:cxn>
                    <a:cxn ang="0">
                      <a:pos x="connsiteX1359" y="connsiteY1359"/>
                    </a:cxn>
                    <a:cxn ang="0">
                      <a:pos x="connsiteX1360" y="connsiteY1360"/>
                    </a:cxn>
                    <a:cxn ang="0">
                      <a:pos x="connsiteX1361" y="connsiteY1361"/>
                    </a:cxn>
                    <a:cxn ang="0">
                      <a:pos x="connsiteX1362" y="connsiteY1362"/>
                    </a:cxn>
                    <a:cxn ang="0">
                      <a:pos x="connsiteX1363" y="connsiteY1363"/>
                    </a:cxn>
                    <a:cxn ang="0">
                      <a:pos x="connsiteX1364" y="connsiteY1364"/>
                    </a:cxn>
                    <a:cxn ang="0">
                      <a:pos x="connsiteX1365" y="connsiteY1365"/>
                    </a:cxn>
                    <a:cxn ang="0">
                      <a:pos x="connsiteX1366" y="connsiteY1366"/>
                    </a:cxn>
                    <a:cxn ang="0">
                      <a:pos x="connsiteX1367" y="connsiteY1367"/>
                    </a:cxn>
                    <a:cxn ang="0">
                      <a:pos x="connsiteX1368" y="connsiteY1368"/>
                    </a:cxn>
                    <a:cxn ang="0">
                      <a:pos x="connsiteX1369" y="connsiteY1369"/>
                    </a:cxn>
                    <a:cxn ang="0">
                      <a:pos x="connsiteX1370" y="connsiteY1370"/>
                    </a:cxn>
                    <a:cxn ang="0">
                      <a:pos x="connsiteX1371" y="connsiteY1371"/>
                    </a:cxn>
                    <a:cxn ang="0">
                      <a:pos x="connsiteX1372" y="connsiteY1372"/>
                    </a:cxn>
                    <a:cxn ang="0">
                      <a:pos x="connsiteX1373" y="connsiteY1373"/>
                    </a:cxn>
                    <a:cxn ang="0">
                      <a:pos x="connsiteX1374" y="connsiteY1374"/>
                    </a:cxn>
                    <a:cxn ang="0">
                      <a:pos x="connsiteX1375" y="connsiteY1375"/>
                    </a:cxn>
                    <a:cxn ang="0">
                      <a:pos x="connsiteX1376" y="connsiteY1376"/>
                    </a:cxn>
                    <a:cxn ang="0">
                      <a:pos x="connsiteX1377" y="connsiteY1377"/>
                    </a:cxn>
                    <a:cxn ang="0">
                      <a:pos x="connsiteX1378" y="connsiteY1378"/>
                    </a:cxn>
                    <a:cxn ang="0">
                      <a:pos x="connsiteX1379" y="connsiteY1379"/>
                    </a:cxn>
                    <a:cxn ang="0">
                      <a:pos x="connsiteX1380" y="connsiteY1380"/>
                    </a:cxn>
                    <a:cxn ang="0">
                      <a:pos x="connsiteX1381" y="connsiteY1381"/>
                    </a:cxn>
                    <a:cxn ang="0">
                      <a:pos x="connsiteX1382" y="connsiteY1382"/>
                    </a:cxn>
                    <a:cxn ang="0">
                      <a:pos x="connsiteX1383" y="connsiteY1383"/>
                    </a:cxn>
                    <a:cxn ang="0">
                      <a:pos x="connsiteX1384" y="connsiteY1384"/>
                    </a:cxn>
                    <a:cxn ang="0">
                      <a:pos x="connsiteX1385" y="connsiteY1385"/>
                    </a:cxn>
                    <a:cxn ang="0">
                      <a:pos x="connsiteX1386" y="connsiteY1386"/>
                    </a:cxn>
                    <a:cxn ang="0">
                      <a:pos x="connsiteX1387" y="connsiteY1387"/>
                    </a:cxn>
                    <a:cxn ang="0">
                      <a:pos x="connsiteX1388" y="connsiteY1388"/>
                    </a:cxn>
                    <a:cxn ang="0">
                      <a:pos x="connsiteX1389" y="connsiteY1389"/>
                    </a:cxn>
                    <a:cxn ang="0">
                      <a:pos x="connsiteX1390" y="connsiteY1390"/>
                    </a:cxn>
                    <a:cxn ang="0">
                      <a:pos x="connsiteX1391" y="connsiteY1391"/>
                    </a:cxn>
                    <a:cxn ang="0">
                      <a:pos x="connsiteX1392" y="connsiteY1392"/>
                    </a:cxn>
                    <a:cxn ang="0">
                      <a:pos x="connsiteX1393" y="connsiteY1393"/>
                    </a:cxn>
                    <a:cxn ang="0">
                      <a:pos x="connsiteX1394" y="connsiteY1394"/>
                    </a:cxn>
                    <a:cxn ang="0">
                      <a:pos x="connsiteX1395" y="connsiteY1395"/>
                    </a:cxn>
                    <a:cxn ang="0">
                      <a:pos x="connsiteX1396" y="connsiteY1396"/>
                    </a:cxn>
                    <a:cxn ang="0">
                      <a:pos x="connsiteX1397" y="connsiteY1397"/>
                    </a:cxn>
                    <a:cxn ang="0">
                      <a:pos x="connsiteX1398" y="connsiteY1398"/>
                    </a:cxn>
                    <a:cxn ang="0">
                      <a:pos x="connsiteX1399" y="connsiteY1399"/>
                    </a:cxn>
                    <a:cxn ang="0">
                      <a:pos x="connsiteX1400" y="connsiteY1400"/>
                    </a:cxn>
                    <a:cxn ang="0">
                      <a:pos x="connsiteX1401" y="connsiteY1401"/>
                    </a:cxn>
                    <a:cxn ang="0">
                      <a:pos x="connsiteX1402" y="connsiteY1402"/>
                    </a:cxn>
                    <a:cxn ang="0">
                      <a:pos x="connsiteX1403" y="connsiteY1403"/>
                    </a:cxn>
                    <a:cxn ang="0">
                      <a:pos x="connsiteX1404" y="connsiteY1404"/>
                    </a:cxn>
                    <a:cxn ang="0">
                      <a:pos x="connsiteX1405" y="connsiteY1405"/>
                    </a:cxn>
                    <a:cxn ang="0">
                      <a:pos x="connsiteX1406" y="connsiteY1406"/>
                    </a:cxn>
                    <a:cxn ang="0">
                      <a:pos x="connsiteX1407" y="connsiteY1407"/>
                    </a:cxn>
                    <a:cxn ang="0">
                      <a:pos x="connsiteX1408" y="connsiteY1408"/>
                    </a:cxn>
                    <a:cxn ang="0">
                      <a:pos x="connsiteX1409" y="connsiteY1409"/>
                    </a:cxn>
                    <a:cxn ang="0">
                      <a:pos x="connsiteX1410" y="connsiteY1410"/>
                    </a:cxn>
                    <a:cxn ang="0">
                      <a:pos x="connsiteX1411" y="connsiteY1411"/>
                    </a:cxn>
                    <a:cxn ang="0">
                      <a:pos x="connsiteX1412" y="connsiteY1412"/>
                    </a:cxn>
                    <a:cxn ang="0">
                      <a:pos x="connsiteX1413" y="connsiteY1413"/>
                    </a:cxn>
                    <a:cxn ang="0">
                      <a:pos x="connsiteX1414" y="connsiteY1414"/>
                    </a:cxn>
                    <a:cxn ang="0">
                      <a:pos x="connsiteX1415" y="connsiteY1415"/>
                    </a:cxn>
                    <a:cxn ang="0">
                      <a:pos x="connsiteX1416" y="connsiteY1416"/>
                    </a:cxn>
                    <a:cxn ang="0">
                      <a:pos x="connsiteX1417" y="connsiteY1417"/>
                    </a:cxn>
                    <a:cxn ang="0">
                      <a:pos x="connsiteX1418" y="connsiteY1418"/>
                    </a:cxn>
                    <a:cxn ang="0">
                      <a:pos x="connsiteX1419" y="connsiteY1419"/>
                    </a:cxn>
                    <a:cxn ang="0">
                      <a:pos x="connsiteX1420" y="connsiteY1420"/>
                    </a:cxn>
                    <a:cxn ang="0">
                      <a:pos x="connsiteX1421" y="connsiteY1421"/>
                    </a:cxn>
                    <a:cxn ang="0">
                      <a:pos x="connsiteX1422" y="connsiteY1422"/>
                    </a:cxn>
                    <a:cxn ang="0">
                      <a:pos x="connsiteX1423" y="connsiteY1423"/>
                    </a:cxn>
                    <a:cxn ang="0">
                      <a:pos x="connsiteX1424" y="connsiteY1424"/>
                    </a:cxn>
                    <a:cxn ang="0">
                      <a:pos x="connsiteX1425" y="connsiteY1425"/>
                    </a:cxn>
                    <a:cxn ang="0">
                      <a:pos x="connsiteX1426" y="connsiteY1426"/>
                    </a:cxn>
                    <a:cxn ang="0">
                      <a:pos x="connsiteX1427" y="connsiteY1427"/>
                    </a:cxn>
                    <a:cxn ang="0">
                      <a:pos x="connsiteX1428" y="connsiteY1428"/>
                    </a:cxn>
                    <a:cxn ang="0">
                      <a:pos x="connsiteX1429" y="connsiteY1429"/>
                    </a:cxn>
                    <a:cxn ang="0">
                      <a:pos x="connsiteX1430" y="connsiteY1430"/>
                    </a:cxn>
                    <a:cxn ang="0">
                      <a:pos x="connsiteX1431" y="connsiteY1431"/>
                    </a:cxn>
                    <a:cxn ang="0">
                      <a:pos x="connsiteX1432" y="connsiteY1432"/>
                    </a:cxn>
                    <a:cxn ang="0">
                      <a:pos x="connsiteX1433" y="connsiteY1433"/>
                    </a:cxn>
                    <a:cxn ang="0">
                      <a:pos x="connsiteX1434" y="connsiteY1434"/>
                    </a:cxn>
                    <a:cxn ang="0">
                      <a:pos x="connsiteX1435" y="connsiteY1435"/>
                    </a:cxn>
                    <a:cxn ang="0">
                      <a:pos x="connsiteX1436" y="connsiteY1436"/>
                    </a:cxn>
                    <a:cxn ang="0">
                      <a:pos x="connsiteX1437" y="connsiteY1437"/>
                    </a:cxn>
                    <a:cxn ang="0">
                      <a:pos x="connsiteX1438" y="connsiteY1438"/>
                    </a:cxn>
                    <a:cxn ang="0">
                      <a:pos x="connsiteX1439" y="connsiteY1439"/>
                    </a:cxn>
                    <a:cxn ang="0">
                      <a:pos x="connsiteX1440" y="connsiteY1440"/>
                    </a:cxn>
                    <a:cxn ang="0">
                      <a:pos x="connsiteX1441" y="connsiteY1441"/>
                    </a:cxn>
                    <a:cxn ang="0">
                      <a:pos x="connsiteX1442" y="connsiteY1442"/>
                    </a:cxn>
                    <a:cxn ang="0">
                      <a:pos x="connsiteX1443" y="connsiteY1443"/>
                    </a:cxn>
                    <a:cxn ang="0">
                      <a:pos x="connsiteX1444" y="connsiteY1444"/>
                    </a:cxn>
                    <a:cxn ang="0">
                      <a:pos x="connsiteX1445" y="connsiteY1445"/>
                    </a:cxn>
                    <a:cxn ang="0">
                      <a:pos x="connsiteX1446" y="connsiteY1446"/>
                    </a:cxn>
                    <a:cxn ang="0">
                      <a:pos x="connsiteX1447" y="connsiteY1447"/>
                    </a:cxn>
                    <a:cxn ang="0">
                      <a:pos x="connsiteX1448" y="connsiteY1448"/>
                    </a:cxn>
                    <a:cxn ang="0">
                      <a:pos x="connsiteX1449" y="connsiteY1449"/>
                    </a:cxn>
                    <a:cxn ang="0">
                      <a:pos x="connsiteX1450" y="connsiteY1450"/>
                    </a:cxn>
                    <a:cxn ang="0">
                      <a:pos x="connsiteX1451" y="connsiteY1451"/>
                    </a:cxn>
                    <a:cxn ang="0">
                      <a:pos x="connsiteX1452" y="connsiteY1452"/>
                    </a:cxn>
                    <a:cxn ang="0">
                      <a:pos x="connsiteX1453" y="connsiteY1453"/>
                    </a:cxn>
                    <a:cxn ang="0">
                      <a:pos x="connsiteX1454" y="connsiteY1454"/>
                    </a:cxn>
                    <a:cxn ang="0">
                      <a:pos x="connsiteX1455" y="connsiteY1455"/>
                    </a:cxn>
                    <a:cxn ang="0">
                      <a:pos x="connsiteX1456" y="connsiteY1456"/>
                    </a:cxn>
                    <a:cxn ang="0">
                      <a:pos x="connsiteX1457" y="connsiteY1457"/>
                    </a:cxn>
                    <a:cxn ang="0">
                      <a:pos x="connsiteX1458" y="connsiteY1458"/>
                    </a:cxn>
                    <a:cxn ang="0">
                      <a:pos x="connsiteX1459" y="connsiteY1459"/>
                    </a:cxn>
                    <a:cxn ang="0">
                      <a:pos x="connsiteX1460" y="connsiteY1460"/>
                    </a:cxn>
                    <a:cxn ang="0">
                      <a:pos x="connsiteX1461" y="connsiteY1461"/>
                    </a:cxn>
                    <a:cxn ang="0">
                      <a:pos x="connsiteX1462" y="connsiteY1462"/>
                    </a:cxn>
                    <a:cxn ang="0">
                      <a:pos x="connsiteX1463" y="connsiteY1463"/>
                    </a:cxn>
                    <a:cxn ang="0">
                      <a:pos x="connsiteX1464" y="connsiteY1464"/>
                    </a:cxn>
                    <a:cxn ang="0">
                      <a:pos x="connsiteX1465" y="connsiteY1465"/>
                    </a:cxn>
                    <a:cxn ang="0">
                      <a:pos x="connsiteX1466" y="connsiteY1466"/>
                    </a:cxn>
                    <a:cxn ang="0">
                      <a:pos x="connsiteX1467" y="connsiteY1467"/>
                    </a:cxn>
                    <a:cxn ang="0">
                      <a:pos x="connsiteX1468" y="connsiteY1468"/>
                    </a:cxn>
                    <a:cxn ang="0">
                      <a:pos x="connsiteX1469" y="connsiteY1469"/>
                    </a:cxn>
                    <a:cxn ang="0">
                      <a:pos x="connsiteX1470" y="connsiteY1470"/>
                    </a:cxn>
                    <a:cxn ang="0">
                      <a:pos x="connsiteX1471" y="connsiteY1471"/>
                    </a:cxn>
                    <a:cxn ang="0">
                      <a:pos x="connsiteX1472" y="connsiteY1472"/>
                    </a:cxn>
                    <a:cxn ang="0">
                      <a:pos x="connsiteX1473" y="connsiteY1473"/>
                    </a:cxn>
                    <a:cxn ang="0">
                      <a:pos x="connsiteX1474" y="connsiteY1474"/>
                    </a:cxn>
                    <a:cxn ang="0">
                      <a:pos x="connsiteX1475" y="connsiteY1475"/>
                    </a:cxn>
                    <a:cxn ang="0">
                      <a:pos x="connsiteX1476" y="connsiteY1476"/>
                    </a:cxn>
                    <a:cxn ang="0">
                      <a:pos x="connsiteX1477" y="connsiteY1477"/>
                    </a:cxn>
                    <a:cxn ang="0">
                      <a:pos x="connsiteX1478" y="connsiteY1478"/>
                    </a:cxn>
                    <a:cxn ang="0">
                      <a:pos x="connsiteX1479" y="connsiteY1479"/>
                    </a:cxn>
                    <a:cxn ang="0">
                      <a:pos x="connsiteX1480" y="connsiteY1480"/>
                    </a:cxn>
                    <a:cxn ang="0">
                      <a:pos x="connsiteX1481" y="connsiteY1481"/>
                    </a:cxn>
                    <a:cxn ang="0">
                      <a:pos x="connsiteX1482" y="connsiteY1482"/>
                    </a:cxn>
                    <a:cxn ang="0">
                      <a:pos x="connsiteX1483" y="connsiteY1483"/>
                    </a:cxn>
                    <a:cxn ang="0">
                      <a:pos x="connsiteX1484" y="connsiteY1484"/>
                    </a:cxn>
                    <a:cxn ang="0">
                      <a:pos x="connsiteX1485" y="connsiteY1485"/>
                    </a:cxn>
                    <a:cxn ang="0">
                      <a:pos x="connsiteX1486" y="connsiteY1486"/>
                    </a:cxn>
                    <a:cxn ang="0">
                      <a:pos x="connsiteX1487" y="connsiteY1487"/>
                    </a:cxn>
                    <a:cxn ang="0">
                      <a:pos x="connsiteX1488" y="connsiteY1488"/>
                    </a:cxn>
                    <a:cxn ang="0">
                      <a:pos x="connsiteX1489" y="connsiteY1489"/>
                    </a:cxn>
                    <a:cxn ang="0">
                      <a:pos x="connsiteX1490" y="connsiteY1490"/>
                    </a:cxn>
                    <a:cxn ang="0">
                      <a:pos x="connsiteX1491" y="connsiteY1491"/>
                    </a:cxn>
                    <a:cxn ang="0">
                      <a:pos x="connsiteX1492" y="connsiteY1492"/>
                    </a:cxn>
                    <a:cxn ang="0">
                      <a:pos x="connsiteX1493" y="connsiteY1493"/>
                    </a:cxn>
                    <a:cxn ang="0">
                      <a:pos x="connsiteX1494" y="connsiteY1494"/>
                    </a:cxn>
                    <a:cxn ang="0">
                      <a:pos x="connsiteX1495" y="connsiteY1495"/>
                    </a:cxn>
                    <a:cxn ang="0">
                      <a:pos x="connsiteX1496" y="connsiteY1496"/>
                    </a:cxn>
                    <a:cxn ang="0">
                      <a:pos x="connsiteX1497" y="connsiteY1497"/>
                    </a:cxn>
                    <a:cxn ang="0">
                      <a:pos x="connsiteX1498" y="connsiteY1498"/>
                    </a:cxn>
                    <a:cxn ang="0">
                      <a:pos x="connsiteX1499" y="connsiteY1499"/>
                    </a:cxn>
                    <a:cxn ang="0">
                      <a:pos x="connsiteX1500" y="connsiteY1500"/>
                    </a:cxn>
                    <a:cxn ang="0">
                      <a:pos x="connsiteX1501" y="connsiteY1501"/>
                    </a:cxn>
                    <a:cxn ang="0">
                      <a:pos x="connsiteX1502" y="connsiteY1502"/>
                    </a:cxn>
                    <a:cxn ang="0">
                      <a:pos x="connsiteX1503" y="connsiteY1503"/>
                    </a:cxn>
                    <a:cxn ang="0">
                      <a:pos x="connsiteX1504" y="connsiteY1504"/>
                    </a:cxn>
                    <a:cxn ang="0">
                      <a:pos x="connsiteX1505" y="connsiteY1505"/>
                    </a:cxn>
                    <a:cxn ang="0">
                      <a:pos x="connsiteX1506" y="connsiteY1506"/>
                    </a:cxn>
                    <a:cxn ang="0">
                      <a:pos x="connsiteX1507" y="connsiteY1507"/>
                    </a:cxn>
                    <a:cxn ang="0">
                      <a:pos x="connsiteX1508" y="connsiteY1508"/>
                    </a:cxn>
                    <a:cxn ang="0">
                      <a:pos x="connsiteX1509" y="connsiteY1509"/>
                    </a:cxn>
                    <a:cxn ang="0">
                      <a:pos x="connsiteX1510" y="connsiteY1510"/>
                    </a:cxn>
                    <a:cxn ang="0">
                      <a:pos x="connsiteX1511" y="connsiteY1511"/>
                    </a:cxn>
                    <a:cxn ang="0">
                      <a:pos x="connsiteX1512" y="connsiteY1512"/>
                    </a:cxn>
                    <a:cxn ang="0">
                      <a:pos x="connsiteX1513" y="connsiteY1513"/>
                    </a:cxn>
                    <a:cxn ang="0">
                      <a:pos x="connsiteX1514" y="connsiteY1514"/>
                    </a:cxn>
                    <a:cxn ang="0">
                      <a:pos x="connsiteX1515" y="connsiteY1515"/>
                    </a:cxn>
                    <a:cxn ang="0">
                      <a:pos x="connsiteX1516" y="connsiteY1516"/>
                    </a:cxn>
                    <a:cxn ang="0">
                      <a:pos x="connsiteX1517" y="connsiteY1517"/>
                    </a:cxn>
                    <a:cxn ang="0">
                      <a:pos x="connsiteX1518" y="connsiteY1518"/>
                    </a:cxn>
                    <a:cxn ang="0">
                      <a:pos x="connsiteX1519" y="connsiteY1519"/>
                    </a:cxn>
                    <a:cxn ang="0">
                      <a:pos x="connsiteX1520" y="connsiteY1520"/>
                    </a:cxn>
                    <a:cxn ang="0">
                      <a:pos x="connsiteX1521" y="connsiteY1521"/>
                    </a:cxn>
                    <a:cxn ang="0">
                      <a:pos x="connsiteX1522" y="connsiteY1522"/>
                    </a:cxn>
                    <a:cxn ang="0">
                      <a:pos x="connsiteX1523" y="connsiteY1523"/>
                    </a:cxn>
                    <a:cxn ang="0">
                      <a:pos x="connsiteX1524" y="connsiteY1524"/>
                    </a:cxn>
                    <a:cxn ang="0">
                      <a:pos x="connsiteX1525" y="connsiteY1525"/>
                    </a:cxn>
                    <a:cxn ang="0">
                      <a:pos x="connsiteX1526" y="connsiteY1526"/>
                    </a:cxn>
                    <a:cxn ang="0">
                      <a:pos x="connsiteX1527" y="connsiteY1527"/>
                    </a:cxn>
                    <a:cxn ang="0">
                      <a:pos x="connsiteX1528" y="connsiteY1528"/>
                    </a:cxn>
                    <a:cxn ang="0">
                      <a:pos x="connsiteX1529" y="connsiteY1529"/>
                    </a:cxn>
                    <a:cxn ang="0">
                      <a:pos x="connsiteX1530" y="connsiteY1530"/>
                    </a:cxn>
                    <a:cxn ang="0">
                      <a:pos x="connsiteX1531" y="connsiteY1531"/>
                    </a:cxn>
                    <a:cxn ang="0">
                      <a:pos x="connsiteX1532" y="connsiteY1532"/>
                    </a:cxn>
                    <a:cxn ang="0">
                      <a:pos x="connsiteX1533" y="connsiteY1533"/>
                    </a:cxn>
                    <a:cxn ang="0">
                      <a:pos x="connsiteX1534" y="connsiteY1534"/>
                    </a:cxn>
                    <a:cxn ang="0">
                      <a:pos x="connsiteX1535" y="connsiteY1535"/>
                    </a:cxn>
                    <a:cxn ang="0">
                      <a:pos x="connsiteX1536" y="connsiteY1536"/>
                    </a:cxn>
                    <a:cxn ang="0">
                      <a:pos x="connsiteX1537" y="connsiteY1537"/>
                    </a:cxn>
                    <a:cxn ang="0">
                      <a:pos x="connsiteX1538" y="connsiteY1538"/>
                    </a:cxn>
                    <a:cxn ang="0">
                      <a:pos x="connsiteX1539" y="connsiteY1539"/>
                    </a:cxn>
                    <a:cxn ang="0">
                      <a:pos x="connsiteX1540" y="connsiteY1540"/>
                    </a:cxn>
                    <a:cxn ang="0">
                      <a:pos x="connsiteX1541" y="connsiteY1541"/>
                    </a:cxn>
                    <a:cxn ang="0">
                      <a:pos x="connsiteX1542" y="connsiteY1542"/>
                    </a:cxn>
                    <a:cxn ang="0">
                      <a:pos x="connsiteX1543" y="connsiteY1543"/>
                    </a:cxn>
                    <a:cxn ang="0">
                      <a:pos x="connsiteX1544" y="connsiteY1544"/>
                    </a:cxn>
                    <a:cxn ang="0">
                      <a:pos x="connsiteX1545" y="connsiteY1545"/>
                    </a:cxn>
                    <a:cxn ang="0">
                      <a:pos x="connsiteX1546" y="connsiteY1546"/>
                    </a:cxn>
                    <a:cxn ang="0">
                      <a:pos x="connsiteX1547" y="connsiteY1547"/>
                    </a:cxn>
                    <a:cxn ang="0">
                      <a:pos x="connsiteX1548" y="connsiteY1548"/>
                    </a:cxn>
                    <a:cxn ang="0">
                      <a:pos x="connsiteX1549" y="connsiteY1549"/>
                    </a:cxn>
                    <a:cxn ang="0">
                      <a:pos x="connsiteX1550" y="connsiteY1550"/>
                    </a:cxn>
                    <a:cxn ang="0">
                      <a:pos x="connsiteX1551" y="connsiteY1551"/>
                    </a:cxn>
                    <a:cxn ang="0">
                      <a:pos x="connsiteX1552" y="connsiteY1552"/>
                    </a:cxn>
                    <a:cxn ang="0">
                      <a:pos x="connsiteX1553" y="connsiteY1553"/>
                    </a:cxn>
                    <a:cxn ang="0">
                      <a:pos x="connsiteX1554" y="connsiteY1554"/>
                    </a:cxn>
                    <a:cxn ang="0">
                      <a:pos x="connsiteX1555" y="connsiteY1555"/>
                    </a:cxn>
                    <a:cxn ang="0">
                      <a:pos x="connsiteX1556" y="connsiteY1556"/>
                    </a:cxn>
                    <a:cxn ang="0">
                      <a:pos x="connsiteX1557" y="connsiteY1557"/>
                    </a:cxn>
                    <a:cxn ang="0">
                      <a:pos x="connsiteX1558" y="connsiteY1558"/>
                    </a:cxn>
                    <a:cxn ang="0">
                      <a:pos x="connsiteX1559" y="connsiteY1559"/>
                    </a:cxn>
                    <a:cxn ang="0">
                      <a:pos x="connsiteX1560" y="connsiteY1560"/>
                    </a:cxn>
                    <a:cxn ang="0">
                      <a:pos x="connsiteX1561" y="connsiteY1561"/>
                    </a:cxn>
                    <a:cxn ang="0">
                      <a:pos x="connsiteX1562" y="connsiteY1562"/>
                    </a:cxn>
                    <a:cxn ang="0">
                      <a:pos x="connsiteX1563" y="connsiteY1563"/>
                    </a:cxn>
                    <a:cxn ang="0">
                      <a:pos x="connsiteX1564" y="connsiteY1564"/>
                    </a:cxn>
                    <a:cxn ang="0">
                      <a:pos x="connsiteX1565" y="connsiteY1565"/>
                    </a:cxn>
                    <a:cxn ang="0">
                      <a:pos x="connsiteX1566" y="connsiteY1566"/>
                    </a:cxn>
                    <a:cxn ang="0">
                      <a:pos x="connsiteX1567" y="connsiteY1567"/>
                    </a:cxn>
                    <a:cxn ang="0">
                      <a:pos x="connsiteX1568" y="connsiteY1568"/>
                    </a:cxn>
                    <a:cxn ang="0">
                      <a:pos x="connsiteX1569" y="connsiteY1569"/>
                    </a:cxn>
                    <a:cxn ang="0">
                      <a:pos x="connsiteX1570" y="connsiteY1570"/>
                    </a:cxn>
                    <a:cxn ang="0">
                      <a:pos x="connsiteX1571" y="connsiteY1571"/>
                    </a:cxn>
                    <a:cxn ang="0">
                      <a:pos x="connsiteX1572" y="connsiteY1572"/>
                    </a:cxn>
                    <a:cxn ang="0">
                      <a:pos x="connsiteX1573" y="connsiteY1573"/>
                    </a:cxn>
                    <a:cxn ang="0">
                      <a:pos x="connsiteX1574" y="connsiteY1574"/>
                    </a:cxn>
                    <a:cxn ang="0">
                      <a:pos x="connsiteX1575" y="connsiteY1575"/>
                    </a:cxn>
                    <a:cxn ang="0">
                      <a:pos x="connsiteX1576" y="connsiteY1576"/>
                    </a:cxn>
                    <a:cxn ang="0">
                      <a:pos x="connsiteX1577" y="connsiteY1577"/>
                    </a:cxn>
                    <a:cxn ang="0">
                      <a:pos x="connsiteX1578" y="connsiteY1578"/>
                    </a:cxn>
                    <a:cxn ang="0">
                      <a:pos x="connsiteX1579" y="connsiteY1579"/>
                    </a:cxn>
                    <a:cxn ang="0">
                      <a:pos x="connsiteX1580" y="connsiteY1580"/>
                    </a:cxn>
                    <a:cxn ang="0">
                      <a:pos x="connsiteX1581" y="connsiteY1581"/>
                    </a:cxn>
                    <a:cxn ang="0">
                      <a:pos x="connsiteX1582" y="connsiteY1582"/>
                    </a:cxn>
                    <a:cxn ang="0">
                      <a:pos x="connsiteX1583" y="connsiteY1583"/>
                    </a:cxn>
                    <a:cxn ang="0">
                      <a:pos x="connsiteX1584" y="connsiteY1584"/>
                    </a:cxn>
                    <a:cxn ang="0">
                      <a:pos x="connsiteX1585" y="connsiteY1585"/>
                    </a:cxn>
                    <a:cxn ang="0">
                      <a:pos x="connsiteX1586" y="connsiteY1586"/>
                    </a:cxn>
                    <a:cxn ang="0">
                      <a:pos x="connsiteX1587" y="connsiteY1587"/>
                    </a:cxn>
                    <a:cxn ang="0">
                      <a:pos x="connsiteX1588" y="connsiteY1588"/>
                    </a:cxn>
                    <a:cxn ang="0">
                      <a:pos x="connsiteX1589" y="connsiteY1589"/>
                    </a:cxn>
                    <a:cxn ang="0">
                      <a:pos x="connsiteX1590" y="connsiteY1590"/>
                    </a:cxn>
                    <a:cxn ang="0">
                      <a:pos x="connsiteX1591" y="connsiteY1591"/>
                    </a:cxn>
                    <a:cxn ang="0">
                      <a:pos x="connsiteX1592" y="connsiteY1592"/>
                    </a:cxn>
                    <a:cxn ang="0">
                      <a:pos x="connsiteX1593" y="connsiteY1593"/>
                    </a:cxn>
                    <a:cxn ang="0">
                      <a:pos x="connsiteX1594" y="connsiteY1594"/>
                    </a:cxn>
                    <a:cxn ang="0">
                      <a:pos x="connsiteX1595" y="connsiteY1595"/>
                    </a:cxn>
                    <a:cxn ang="0">
                      <a:pos x="connsiteX1596" y="connsiteY1596"/>
                    </a:cxn>
                    <a:cxn ang="0">
                      <a:pos x="connsiteX1597" y="connsiteY1597"/>
                    </a:cxn>
                    <a:cxn ang="0">
                      <a:pos x="connsiteX1598" y="connsiteY1598"/>
                    </a:cxn>
                    <a:cxn ang="0">
                      <a:pos x="connsiteX1599" y="connsiteY1599"/>
                    </a:cxn>
                    <a:cxn ang="0">
                      <a:pos x="connsiteX1600" y="connsiteY1600"/>
                    </a:cxn>
                    <a:cxn ang="0">
                      <a:pos x="connsiteX1601" y="connsiteY1601"/>
                    </a:cxn>
                    <a:cxn ang="0">
                      <a:pos x="connsiteX1602" y="connsiteY1602"/>
                    </a:cxn>
                    <a:cxn ang="0">
                      <a:pos x="connsiteX1603" y="connsiteY1603"/>
                    </a:cxn>
                    <a:cxn ang="0">
                      <a:pos x="connsiteX1604" y="connsiteY1604"/>
                    </a:cxn>
                    <a:cxn ang="0">
                      <a:pos x="connsiteX1605" y="connsiteY1605"/>
                    </a:cxn>
                    <a:cxn ang="0">
                      <a:pos x="connsiteX1606" y="connsiteY1606"/>
                    </a:cxn>
                    <a:cxn ang="0">
                      <a:pos x="connsiteX1607" y="connsiteY1607"/>
                    </a:cxn>
                    <a:cxn ang="0">
                      <a:pos x="connsiteX1608" y="connsiteY1608"/>
                    </a:cxn>
                    <a:cxn ang="0">
                      <a:pos x="connsiteX1609" y="connsiteY1609"/>
                    </a:cxn>
                    <a:cxn ang="0">
                      <a:pos x="connsiteX1610" y="connsiteY1610"/>
                    </a:cxn>
                    <a:cxn ang="0">
                      <a:pos x="connsiteX1611" y="connsiteY1611"/>
                    </a:cxn>
                    <a:cxn ang="0">
                      <a:pos x="connsiteX1612" y="connsiteY1612"/>
                    </a:cxn>
                    <a:cxn ang="0">
                      <a:pos x="connsiteX1613" y="connsiteY1613"/>
                    </a:cxn>
                    <a:cxn ang="0">
                      <a:pos x="connsiteX1614" y="connsiteY1614"/>
                    </a:cxn>
                    <a:cxn ang="0">
                      <a:pos x="connsiteX1615" y="connsiteY1615"/>
                    </a:cxn>
                    <a:cxn ang="0">
                      <a:pos x="connsiteX1616" y="connsiteY1616"/>
                    </a:cxn>
                    <a:cxn ang="0">
                      <a:pos x="connsiteX1617" y="connsiteY1617"/>
                    </a:cxn>
                    <a:cxn ang="0">
                      <a:pos x="connsiteX1618" y="connsiteY1618"/>
                    </a:cxn>
                    <a:cxn ang="0">
                      <a:pos x="connsiteX1619" y="connsiteY1619"/>
                    </a:cxn>
                    <a:cxn ang="0">
                      <a:pos x="connsiteX1620" y="connsiteY1620"/>
                    </a:cxn>
                    <a:cxn ang="0">
                      <a:pos x="connsiteX1621" y="connsiteY1621"/>
                    </a:cxn>
                    <a:cxn ang="0">
                      <a:pos x="connsiteX1622" y="connsiteY1622"/>
                    </a:cxn>
                    <a:cxn ang="0">
                      <a:pos x="connsiteX1623" y="connsiteY1623"/>
                    </a:cxn>
                    <a:cxn ang="0">
                      <a:pos x="connsiteX1624" y="connsiteY1624"/>
                    </a:cxn>
                    <a:cxn ang="0">
                      <a:pos x="connsiteX1625" y="connsiteY1625"/>
                    </a:cxn>
                    <a:cxn ang="0">
                      <a:pos x="connsiteX1626" y="connsiteY1626"/>
                    </a:cxn>
                    <a:cxn ang="0">
                      <a:pos x="connsiteX1627" y="connsiteY1627"/>
                    </a:cxn>
                    <a:cxn ang="0">
                      <a:pos x="connsiteX1628" y="connsiteY1628"/>
                    </a:cxn>
                    <a:cxn ang="0">
                      <a:pos x="connsiteX1629" y="connsiteY1629"/>
                    </a:cxn>
                    <a:cxn ang="0">
                      <a:pos x="connsiteX1630" y="connsiteY1630"/>
                    </a:cxn>
                    <a:cxn ang="0">
                      <a:pos x="connsiteX1631" y="connsiteY1631"/>
                    </a:cxn>
                    <a:cxn ang="0">
                      <a:pos x="connsiteX1632" y="connsiteY1632"/>
                    </a:cxn>
                    <a:cxn ang="0">
                      <a:pos x="connsiteX1633" y="connsiteY1633"/>
                    </a:cxn>
                    <a:cxn ang="0">
                      <a:pos x="connsiteX1634" y="connsiteY1634"/>
                    </a:cxn>
                    <a:cxn ang="0">
                      <a:pos x="connsiteX1635" y="connsiteY1635"/>
                    </a:cxn>
                    <a:cxn ang="0">
                      <a:pos x="connsiteX1636" y="connsiteY1636"/>
                    </a:cxn>
                    <a:cxn ang="0">
                      <a:pos x="connsiteX1637" y="connsiteY1637"/>
                    </a:cxn>
                    <a:cxn ang="0">
                      <a:pos x="connsiteX1638" y="connsiteY1638"/>
                    </a:cxn>
                    <a:cxn ang="0">
                      <a:pos x="connsiteX1639" y="connsiteY1639"/>
                    </a:cxn>
                    <a:cxn ang="0">
                      <a:pos x="connsiteX1640" y="connsiteY1640"/>
                    </a:cxn>
                    <a:cxn ang="0">
                      <a:pos x="connsiteX1641" y="connsiteY1641"/>
                    </a:cxn>
                    <a:cxn ang="0">
                      <a:pos x="connsiteX1642" y="connsiteY1642"/>
                    </a:cxn>
                    <a:cxn ang="0">
                      <a:pos x="connsiteX1643" y="connsiteY1643"/>
                    </a:cxn>
                    <a:cxn ang="0">
                      <a:pos x="connsiteX1644" y="connsiteY1644"/>
                    </a:cxn>
                    <a:cxn ang="0">
                      <a:pos x="connsiteX1645" y="connsiteY1645"/>
                    </a:cxn>
                    <a:cxn ang="0">
                      <a:pos x="connsiteX1646" y="connsiteY1646"/>
                    </a:cxn>
                    <a:cxn ang="0">
                      <a:pos x="connsiteX1647" y="connsiteY1647"/>
                    </a:cxn>
                    <a:cxn ang="0">
                      <a:pos x="connsiteX1648" y="connsiteY1648"/>
                    </a:cxn>
                    <a:cxn ang="0">
                      <a:pos x="connsiteX1649" y="connsiteY1649"/>
                    </a:cxn>
                    <a:cxn ang="0">
                      <a:pos x="connsiteX1650" y="connsiteY1650"/>
                    </a:cxn>
                    <a:cxn ang="0">
                      <a:pos x="connsiteX1651" y="connsiteY1651"/>
                    </a:cxn>
                    <a:cxn ang="0">
                      <a:pos x="connsiteX1652" y="connsiteY1652"/>
                    </a:cxn>
                    <a:cxn ang="0">
                      <a:pos x="connsiteX1653" y="connsiteY1653"/>
                    </a:cxn>
                    <a:cxn ang="0">
                      <a:pos x="connsiteX1654" y="connsiteY1654"/>
                    </a:cxn>
                    <a:cxn ang="0">
                      <a:pos x="connsiteX1655" y="connsiteY1655"/>
                    </a:cxn>
                    <a:cxn ang="0">
                      <a:pos x="connsiteX1656" y="connsiteY1656"/>
                    </a:cxn>
                    <a:cxn ang="0">
                      <a:pos x="connsiteX1657" y="connsiteY1657"/>
                    </a:cxn>
                    <a:cxn ang="0">
                      <a:pos x="connsiteX1658" y="connsiteY1658"/>
                    </a:cxn>
                    <a:cxn ang="0">
                      <a:pos x="connsiteX1659" y="connsiteY1659"/>
                    </a:cxn>
                    <a:cxn ang="0">
                      <a:pos x="connsiteX1660" y="connsiteY1660"/>
                    </a:cxn>
                    <a:cxn ang="0">
                      <a:pos x="connsiteX1661" y="connsiteY1661"/>
                    </a:cxn>
                    <a:cxn ang="0">
                      <a:pos x="connsiteX1662" y="connsiteY1662"/>
                    </a:cxn>
                    <a:cxn ang="0">
                      <a:pos x="connsiteX1663" y="connsiteY1663"/>
                    </a:cxn>
                    <a:cxn ang="0">
                      <a:pos x="connsiteX1664" y="connsiteY1664"/>
                    </a:cxn>
                    <a:cxn ang="0">
                      <a:pos x="connsiteX1665" y="connsiteY1665"/>
                    </a:cxn>
                    <a:cxn ang="0">
                      <a:pos x="connsiteX1666" y="connsiteY1666"/>
                    </a:cxn>
                    <a:cxn ang="0">
                      <a:pos x="connsiteX1667" y="connsiteY1667"/>
                    </a:cxn>
                    <a:cxn ang="0">
                      <a:pos x="connsiteX1668" y="connsiteY1668"/>
                    </a:cxn>
                    <a:cxn ang="0">
                      <a:pos x="connsiteX1669" y="connsiteY1669"/>
                    </a:cxn>
                    <a:cxn ang="0">
                      <a:pos x="connsiteX1670" y="connsiteY1670"/>
                    </a:cxn>
                    <a:cxn ang="0">
                      <a:pos x="connsiteX1671" y="connsiteY1671"/>
                    </a:cxn>
                    <a:cxn ang="0">
                      <a:pos x="connsiteX1672" y="connsiteY1672"/>
                    </a:cxn>
                    <a:cxn ang="0">
                      <a:pos x="connsiteX1673" y="connsiteY1673"/>
                    </a:cxn>
                    <a:cxn ang="0">
                      <a:pos x="connsiteX1674" y="connsiteY1674"/>
                    </a:cxn>
                    <a:cxn ang="0">
                      <a:pos x="connsiteX1675" y="connsiteY1675"/>
                    </a:cxn>
                    <a:cxn ang="0">
                      <a:pos x="connsiteX1676" y="connsiteY1676"/>
                    </a:cxn>
                    <a:cxn ang="0">
                      <a:pos x="connsiteX1677" y="connsiteY1677"/>
                    </a:cxn>
                    <a:cxn ang="0">
                      <a:pos x="connsiteX1678" y="connsiteY1678"/>
                    </a:cxn>
                    <a:cxn ang="0">
                      <a:pos x="connsiteX1679" y="connsiteY1679"/>
                    </a:cxn>
                    <a:cxn ang="0">
                      <a:pos x="connsiteX1680" y="connsiteY1680"/>
                    </a:cxn>
                    <a:cxn ang="0">
                      <a:pos x="connsiteX1681" y="connsiteY1681"/>
                    </a:cxn>
                    <a:cxn ang="0">
                      <a:pos x="connsiteX1682" y="connsiteY1682"/>
                    </a:cxn>
                    <a:cxn ang="0">
                      <a:pos x="connsiteX1683" y="connsiteY1683"/>
                    </a:cxn>
                    <a:cxn ang="0">
                      <a:pos x="connsiteX1684" y="connsiteY1684"/>
                    </a:cxn>
                    <a:cxn ang="0">
                      <a:pos x="connsiteX1685" y="connsiteY1685"/>
                    </a:cxn>
                    <a:cxn ang="0">
                      <a:pos x="connsiteX1686" y="connsiteY1686"/>
                    </a:cxn>
                    <a:cxn ang="0">
                      <a:pos x="connsiteX1687" y="connsiteY1687"/>
                    </a:cxn>
                    <a:cxn ang="0">
                      <a:pos x="connsiteX1688" y="connsiteY1688"/>
                    </a:cxn>
                    <a:cxn ang="0">
                      <a:pos x="connsiteX1689" y="connsiteY1689"/>
                    </a:cxn>
                    <a:cxn ang="0">
                      <a:pos x="connsiteX1690" y="connsiteY1690"/>
                    </a:cxn>
                    <a:cxn ang="0">
                      <a:pos x="connsiteX1691" y="connsiteY1691"/>
                    </a:cxn>
                    <a:cxn ang="0">
                      <a:pos x="connsiteX1692" y="connsiteY1692"/>
                    </a:cxn>
                    <a:cxn ang="0">
                      <a:pos x="connsiteX1693" y="connsiteY1693"/>
                    </a:cxn>
                    <a:cxn ang="0">
                      <a:pos x="connsiteX1694" y="connsiteY1694"/>
                    </a:cxn>
                    <a:cxn ang="0">
                      <a:pos x="connsiteX1695" y="connsiteY1695"/>
                    </a:cxn>
                    <a:cxn ang="0">
                      <a:pos x="connsiteX1696" y="connsiteY1696"/>
                    </a:cxn>
                    <a:cxn ang="0">
                      <a:pos x="connsiteX1697" y="connsiteY1697"/>
                    </a:cxn>
                    <a:cxn ang="0">
                      <a:pos x="connsiteX1698" y="connsiteY1698"/>
                    </a:cxn>
                    <a:cxn ang="0">
                      <a:pos x="connsiteX1699" y="connsiteY1699"/>
                    </a:cxn>
                    <a:cxn ang="0">
                      <a:pos x="connsiteX1700" y="connsiteY1700"/>
                    </a:cxn>
                    <a:cxn ang="0">
                      <a:pos x="connsiteX1701" y="connsiteY1701"/>
                    </a:cxn>
                    <a:cxn ang="0">
                      <a:pos x="connsiteX1702" y="connsiteY1702"/>
                    </a:cxn>
                    <a:cxn ang="0">
                      <a:pos x="connsiteX1703" y="connsiteY1703"/>
                    </a:cxn>
                    <a:cxn ang="0">
                      <a:pos x="connsiteX1704" y="connsiteY1704"/>
                    </a:cxn>
                    <a:cxn ang="0">
                      <a:pos x="connsiteX1705" y="connsiteY1705"/>
                    </a:cxn>
                    <a:cxn ang="0">
                      <a:pos x="connsiteX1706" y="connsiteY1706"/>
                    </a:cxn>
                    <a:cxn ang="0">
                      <a:pos x="connsiteX1707" y="connsiteY1707"/>
                    </a:cxn>
                    <a:cxn ang="0">
                      <a:pos x="connsiteX1708" y="connsiteY1708"/>
                    </a:cxn>
                    <a:cxn ang="0">
                      <a:pos x="connsiteX1709" y="connsiteY1709"/>
                    </a:cxn>
                    <a:cxn ang="0">
                      <a:pos x="connsiteX1710" y="connsiteY1710"/>
                    </a:cxn>
                    <a:cxn ang="0">
                      <a:pos x="connsiteX1711" y="connsiteY1711"/>
                    </a:cxn>
                    <a:cxn ang="0">
                      <a:pos x="connsiteX1712" y="connsiteY1712"/>
                    </a:cxn>
                    <a:cxn ang="0">
                      <a:pos x="connsiteX1713" y="connsiteY1713"/>
                    </a:cxn>
                    <a:cxn ang="0">
                      <a:pos x="connsiteX1714" y="connsiteY1714"/>
                    </a:cxn>
                    <a:cxn ang="0">
                      <a:pos x="connsiteX1715" y="connsiteY1715"/>
                    </a:cxn>
                    <a:cxn ang="0">
                      <a:pos x="connsiteX1716" y="connsiteY1716"/>
                    </a:cxn>
                    <a:cxn ang="0">
                      <a:pos x="connsiteX1717" y="connsiteY1717"/>
                    </a:cxn>
                    <a:cxn ang="0">
                      <a:pos x="connsiteX1718" y="connsiteY1718"/>
                    </a:cxn>
                    <a:cxn ang="0">
                      <a:pos x="connsiteX1719" y="connsiteY1719"/>
                    </a:cxn>
                    <a:cxn ang="0">
                      <a:pos x="connsiteX1720" y="connsiteY1720"/>
                    </a:cxn>
                    <a:cxn ang="0">
                      <a:pos x="connsiteX1721" y="connsiteY1721"/>
                    </a:cxn>
                    <a:cxn ang="0">
                      <a:pos x="connsiteX1722" y="connsiteY1722"/>
                    </a:cxn>
                    <a:cxn ang="0">
                      <a:pos x="connsiteX1723" y="connsiteY1723"/>
                    </a:cxn>
                    <a:cxn ang="0">
                      <a:pos x="connsiteX1724" y="connsiteY1724"/>
                    </a:cxn>
                    <a:cxn ang="0">
                      <a:pos x="connsiteX1725" y="connsiteY1725"/>
                    </a:cxn>
                    <a:cxn ang="0">
                      <a:pos x="connsiteX1726" y="connsiteY1726"/>
                    </a:cxn>
                    <a:cxn ang="0">
                      <a:pos x="connsiteX1727" y="connsiteY1727"/>
                    </a:cxn>
                    <a:cxn ang="0">
                      <a:pos x="connsiteX1728" y="connsiteY1728"/>
                    </a:cxn>
                    <a:cxn ang="0">
                      <a:pos x="connsiteX1729" y="connsiteY1729"/>
                    </a:cxn>
                    <a:cxn ang="0">
                      <a:pos x="connsiteX1730" y="connsiteY1730"/>
                    </a:cxn>
                    <a:cxn ang="0">
                      <a:pos x="connsiteX1731" y="connsiteY1731"/>
                    </a:cxn>
                    <a:cxn ang="0">
                      <a:pos x="connsiteX1732" y="connsiteY1732"/>
                    </a:cxn>
                    <a:cxn ang="0">
                      <a:pos x="connsiteX1733" y="connsiteY1733"/>
                    </a:cxn>
                    <a:cxn ang="0">
                      <a:pos x="connsiteX1734" y="connsiteY1734"/>
                    </a:cxn>
                    <a:cxn ang="0">
                      <a:pos x="connsiteX1735" y="connsiteY1735"/>
                    </a:cxn>
                    <a:cxn ang="0">
                      <a:pos x="connsiteX1736" y="connsiteY1736"/>
                    </a:cxn>
                    <a:cxn ang="0">
                      <a:pos x="connsiteX1737" y="connsiteY1737"/>
                    </a:cxn>
                    <a:cxn ang="0">
                      <a:pos x="connsiteX1738" y="connsiteY1738"/>
                    </a:cxn>
                    <a:cxn ang="0">
                      <a:pos x="connsiteX1739" y="connsiteY1739"/>
                    </a:cxn>
                    <a:cxn ang="0">
                      <a:pos x="connsiteX1740" y="connsiteY1740"/>
                    </a:cxn>
                    <a:cxn ang="0">
                      <a:pos x="connsiteX1741" y="connsiteY1741"/>
                    </a:cxn>
                    <a:cxn ang="0">
                      <a:pos x="connsiteX1742" y="connsiteY1742"/>
                    </a:cxn>
                    <a:cxn ang="0">
                      <a:pos x="connsiteX1743" y="connsiteY1743"/>
                    </a:cxn>
                    <a:cxn ang="0">
                      <a:pos x="connsiteX1744" y="connsiteY1744"/>
                    </a:cxn>
                    <a:cxn ang="0">
                      <a:pos x="connsiteX1745" y="connsiteY1745"/>
                    </a:cxn>
                    <a:cxn ang="0">
                      <a:pos x="connsiteX1746" y="connsiteY1746"/>
                    </a:cxn>
                    <a:cxn ang="0">
                      <a:pos x="connsiteX1747" y="connsiteY1747"/>
                    </a:cxn>
                    <a:cxn ang="0">
                      <a:pos x="connsiteX1748" y="connsiteY1748"/>
                    </a:cxn>
                    <a:cxn ang="0">
                      <a:pos x="connsiteX1749" y="connsiteY1749"/>
                    </a:cxn>
                    <a:cxn ang="0">
                      <a:pos x="connsiteX1750" y="connsiteY1750"/>
                    </a:cxn>
                    <a:cxn ang="0">
                      <a:pos x="connsiteX1751" y="connsiteY1751"/>
                    </a:cxn>
                    <a:cxn ang="0">
                      <a:pos x="connsiteX1752" y="connsiteY1752"/>
                    </a:cxn>
                    <a:cxn ang="0">
                      <a:pos x="connsiteX1753" y="connsiteY1753"/>
                    </a:cxn>
                    <a:cxn ang="0">
                      <a:pos x="connsiteX1754" y="connsiteY1754"/>
                    </a:cxn>
                    <a:cxn ang="0">
                      <a:pos x="connsiteX1755" y="connsiteY1755"/>
                    </a:cxn>
                    <a:cxn ang="0">
                      <a:pos x="connsiteX1756" y="connsiteY1756"/>
                    </a:cxn>
                    <a:cxn ang="0">
                      <a:pos x="connsiteX1757" y="connsiteY1757"/>
                    </a:cxn>
                    <a:cxn ang="0">
                      <a:pos x="connsiteX1758" y="connsiteY1758"/>
                    </a:cxn>
                    <a:cxn ang="0">
                      <a:pos x="connsiteX1759" y="connsiteY1759"/>
                    </a:cxn>
                    <a:cxn ang="0">
                      <a:pos x="connsiteX1760" y="connsiteY1760"/>
                    </a:cxn>
                    <a:cxn ang="0">
                      <a:pos x="connsiteX1761" y="connsiteY1761"/>
                    </a:cxn>
                    <a:cxn ang="0">
                      <a:pos x="connsiteX1762" y="connsiteY1762"/>
                    </a:cxn>
                    <a:cxn ang="0">
                      <a:pos x="connsiteX1763" y="connsiteY1763"/>
                    </a:cxn>
                    <a:cxn ang="0">
                      <a:pos x="connsiteX1764" y="connsiteY1764"/>
                    </a:cxn>
                    <a:cxn ang="0">
                      <a:pos x="connsiteX1765" y="connsiteY1765"/>
                    </a:cxn>
                    <a:cxn ang="0">
                      <a:pos x="connsiteX1766" y="connsiteY1766"/>
                    </a:cxn>
                    <a:cxn ang="0">
                      <a:pos x="connsiteX1767" y="connsiteY1767"/>
                    </a:cxn>
                    <a:cxn ang="0">
                      <a:pos x="connsiteX1768" y="connsiteY1768"/>
                    </a:cxn>
                    <a:cxn ang="0">
                      <a:pos x="connsiteX1769" y="connsiteY1769"/>
                    </a:cxn>
                    <a:cxn ang="0">
                      <a:pos x="connsiteX1770" y="connsiteY1770"/>
                    </a:cxn>
                    <a:cxn ang="0">
                      <a:pos x="connsiteX1771" y="connsiteY1771"/>
                    </a:cxn>
                    <a:cxn ang="0">
                      <a:pos x="connsiteX1772" y="connsiteY1772"/>
                    </a:cxn>
                    <a:cxn ang="0">
                      <a:pos x="connsiteX1773" y="connsiteY1773"/>
                    </a:cxn>
                    <a:cxn ang="0">
                      <a:pos x="connsiteX1774" y="connsiteY1774"/>
                    </a:cxn>
                    <a:cxn ang="0">
                      <a:pos x="connsiteX1775" y="connsiteY1775"/>
                    </a:cxn>
                    <a:cxn ang="0">
                      <a:pos x="connsiteX1776" y="connsiteY1776"/>
                    </a:cxn>
                    <a:cxn ang="0">
                      <a:pos x="connsiteX1777" y="connsiteY1777"/>
                    </a:cxn>
                    <a:cxn ang="0">
                      <a:pos x="connsiteX1778" y="connsiteY1778"/>
                    </a:cxn>
                    <a:cxn ang="0">
                      <a:pos x="connsiteX1779" y="connsiteY1779"/>
                    </a:cxn>
                    <a:cxn ang="0">
                      <a:pos x="connsiteX1780" y="connsiteY1780"/>
                    </a:cxn>
                    <a:cxn ang="0">
                      <a:pos x="connsiteX1781" y="connsiteY1781"/>
                    </a:cxn>
                    <a:cxn ang="0">
                      <a:pos x="connsiteX1782" y="connsiteY1782"/>
                    </a:cxn>
                    <a:cxn ang="0">
                      <a:pos x="connsiteX1783" y="connsiteY1783"/>
                    </a:cxn>
                    <a:cxn ang="0">
                      <a:pos x="connsiteX1784" y="connsiteY1784"/>
                    </a:cxn>
                    <a:cxn ang="0">
                      <a:pos x="connsiteX1785" y="connsiteY1785"/>
                    </a:cxn>
                    <a:cxn ang="0">
                      <a:pos x="connsiteX1786" y="connsiteY1786"/>
                    </a:cxn>
                    <a:cxn ang="0">
                      <a:pos x="connsiteX1787" y="connsiteY1787"/>
                    </a:cxn>
                    <a:cxn ang="0">
                      <a:pos x="connsiteX1788" y="connsiteY1788"/>
                    </a:cxn>
                    <a:cxn ang="0">
                      <a:pos x="connsiteX1789" y="connsiteY1789"/>
                    </a:cxn>
                    <a:cxn ang="0">
                      <a:pos x="connsiteX1790" y="connsiteY1790"/>
                    </a:cxn>
                    <a:cxn ang="0">
                      <a:pos x="connsiteX1791" y="connsiteY1791"/>
                    </a:cxn>
                    <a:cxn ang="0">
                      <a:pos x="connsiteX1792" y="connsiteY1792"/>
                    </a:cxn>
                    <a:cxn ang="0">
                      <a:pos x="connsiteX1793" y="connsiteY1793"/>
                    </a:cxn>
                    <a:cxn ang="0">
                      <a:pos x="connsiteX1794" y="connsiteY1794"/>
                    </a:cxn>
                    <a:cxn ang="0">
                      <a:pos x="connsiteX1795" y="connsiteY1795"/>
                    </a:cxn>
                    <a:cxn ang="0">
                      <a:pos x="connsiteX1796" y="connsiteY1796"/>
                    </a:cxn>
                    <a:cxn ang="0">
                      <a:pos x="connsiteX1797" y="connsiteY1797"/>
                    </a:cxn>
                    <a:cxn ang="0">
                      <a:pos x="connsiteX1798" y="connsiteY1798"/>
                    </a:cxn>
                    <a:cxn ang="0">
                      <a:pos x="connsiteX1799" y="connsiteY1799"/>
                    </a:cxn>
                    <a:cxn ang="0">
                      <a:pos x="connsiteX1800" y="connsiteY1800"/>
                    </a:cxn>
                    <a:cxn ang="0">
                      <a:pos x="connsiteX1801" y="connsiteY1801"/>
                    </a:cxn>
                    <a:cxn ang="0">
                      <a:pos x="connsiteX1802" y="connsiteY1802"/>
                    </a:cxn>
                    <a:cxn ang="0">
                      <a:pos x="connsiteX1803" y="connsiteY1803"/>
                    </a:cxn>
                    <a:cxn ang="0">
                      <a:pos x="connsiteX1804" y="connsiteY1804"/>
                    </a:cxn>
                    <a:cxn ang="0">
                      <a:pos x="connsiteX1805" y="connsiteY1805"/>
                    </a:cxn>
                    <a:cxn ang="0">
                      <a:pos x="connsiteX1806" y="connsiteY1806"/>
                    </a:cxn>
                    <a:cxn ang="0">
                      <a:pos x="connsiteX1807" y="connsiteY1807"/>
                    </a:cxn>
                    <a:cxn ang="0">
                      <a:pos x="connsiteX1808" y="connsiteY1808"/>
                    </a:cxn>
                    <a:cxn ang="0">
                      <a:pos x="connsiteX1809" y="connsiteY1809"/>
                    </a:cxn>
                    <a:cxn ang="0">
                      <a:pos x="connsiteX1810" y="connsiteY1810"/>
                    </a:cxn>
                    <a:cxn ang="0">
                      <a:pos x="connsiteX1811" y="connsiteY1811"/>
                    </a:cxn>
                    <a:cxn ang="0">
                      <a:pos x="connsiteX1812" y="connsiteY1812"/>
                    </a:cxn>
                    <a:cxn ang="0">
                      <a:pos x="connsiteX1813" y="connsiteY1813"/>
                    </a:cxn>
                    <a:cxn ang="0">
                      <a:pos x="connsiteX1814" y="connsiteY1814"/>
                    </a:cxn>
                    <a:cxn ang="0">
                      <a:pos x="connsiteX1815" y="connsiteY1815"/>
                    </a:cxn>
                    <a:cxn ang="0">
                      <a:pos x="connsiteX1816" y="connsiteY1816"/>
                    </a:cxn>
                    <a:cxn ang="0">
                      <a:pos x="connsiteX1817" y="connsiteY1817"/>
                    </a:cxn>
                    <a:cxn ang="0">
                      <a:pos x="connsiteX1818" y="connsiteY1818"/>
                    </a:cxn>
                    <a:cxn ang="0">
                      <a:pos x="connsiteX1819" y="connsiteY1819"/>
                    </a:cxn>
                    <a:cxn ang="0">
                      <a:pos x="connsiteX1820" y="connsiteY1820"/>
                    </a:cxn>
                    <a:cxn ang="0">
                      <a:pos x="connsiteX1821" y="connsiteY1821"/>
                    </a:cxn>
                    <a:cxn ang="0">
                      <a:pos x="connsiteX1822" y="connsiteY1822"/>
                    </a:cxn>
                    <a:cxn ang="0">
                      <a:pos x="connsiteX1823" y="connsiteY1823"/>
                    </a:cxn>
                    <a:cxn ang="0">
                      <a:pos x="connsiteX1824" y="connsiteY1824"/>
                    </a:cxn>
                    <a:cxn ang="0">
                      <a:pos x="connsiteX1825" y="connsiteY1825"/>
                    </a:cxn>
                    <a:cxn ang="0">
                      <a:pos x="connsiteX1826" y="connsiteY1826"/>
                    </a:cxn>
                    <a:cxn ang="0">
                      <a:pos x="connsiteX1827" y="connsiteY1827"/>
                    </a:cxn>
                    <a:cxn ang="0">
                      <a:pos x="connsiteX1828" y="connsiteY1828"/>
                    </a:cxn>
                    <a:cxn ang="0">
                      <a:pos x="connsiteX1829" y="connsiteY1829"/>
                    </a:cxn>
                    <a:cxn ang="0">
                      <a:pos x="connsiteX1830" y="connsiteY1830"/>
                    </a:cxn>
                    <a:cxn ang="0">
                      <a:pos x="connsiteX1831" y="connsiteY1831"/>
                    </a:cxn>
                    <a:cxn ang="0">
                      <a:pos x="connsiteX1832" y="connsiteY1832"/>
                    </a:cxn>
                    <a:cxn ang="0">
                      <a:pos x="connsiteX1833" y="connsiteY1833"/>
                    </a:cxn>
                    <a:cxn ang="0">
                      <a:pos x="connsiteX1834" y="connsiteY1834"/>
                    </a:cxn>
                    <a:cxn ang="0">
                      <a:pos x="connsiteX1835" y="connsiteY1835"/>
                    </a:cxn>
                    <a:cxn ang="0">
                      <a:pos x="connsiteX1836" y="connsiteY1836"/>
                    </a:cxn>
                    <a:cxn ang="0">
                      <a:pos x="connsiteX1837" y="connsiteY1837"/>
                    </a:cxn>
                    <a:cxn ang="0">
                      <a:pos x="connsiteX1838" y="connsiteY1838"/>
                    </a:cxn>
                    <a:cxn ang="0">
                      <a:pos x="connsiteX1839" y="connsiteY1839"/>
                    </a:cxn>
                    <a:cxn ang="0">
                      <a:pos x="connsiteX1840" y="connsiteY1840"/>
                    </a:cxn>
                    <a:cxn ang="0">
                      <a:pos x="connsiteX1841" y="connsiteY1841"/>
                    </a:cxn>
                    <a:cxn ang="0">
                      <a:pos x="connsiteX1842" y="connsiteY1842"/>
                    </a:cxn>
                    <a:cxn ang="0">
                      <a:pos x="connsiteX1843" y="connsiteY1843"/>
                    </a:cxn>
                    <a:cxn ang="0">
                      <a:pos x="connsiteX1844" y="connsiteY1844"/>
                    </a:cxn>
                    <a:cxn ang="0">
                      <a:pos x="connsiteX1845" y="connsiteY1845"/>
                    </a:cxn>
                    <a:cxn ang="0">
                      <a:pos x="connsiteX1846" y="connsiteY1846"/>
                    </a:cxn>
                    <a:cxn ang="0">
                      <a:pos x="connsiteX1847" y="connsiteY1847"/>
                    </a:cxn>
                    <a:cxn ang="0">
                      <a:pos x="connsiteX1848" y="connsiteY1848"/>
                    </a:cxn>
                    <a:cxn ang="0">
                      <a:pos x="connsiteX1849" y="connsiteY1849"/>
                    </a:cxn>
                    <a:cxn ang="0">
                      <a:pos x="connsiteX1850" y="connsiteY1850"/>
                    </a:cxn>
                    <a:cxn ang="0">
                      <a:pos x="connsiteX1851" y="connsiteY1851"/>
                    </a:cxn>
                    <a:cxn ang="0">
                      <a:pos x="connsiteX1852" y="connsiteY1852"/>
                    </a:cxn>
                    <a:cxn ang="0">
                      <a:pos x="connsiteX1853" y="connsiteY1853"/>
                    </a:cxn>
                    <a:cxn ang="0">
                      <a:pos x="connsiteX1854" y="connsiteY1854"/>
                    </a:cxn>
                    <a:cxn ang="0">
                      <a:pos x="connsiteX1855" y="connsiteY1855"/>
                    </a:cxn>
                    <a:cxn ang="0">
                      <a:pos x="connsiteX1856" y="connsiteY1856"/>
                    </a:cxn>
                    <a:cxn ang="0">
                      <a:pos x="connsiteX1857" y="connsiteY1857"/>
                    </a:cxn>
                    <a:cxn ang="0">
                      <a:pos x="connsiteX1858" y="connsiteY1858"/>
                    </a:cxn>
                    <a:cxn ang="0">
                      <a:pos x="connsiteX1859" y="connsiteY1859"/>
                    </a:cxn>
                    <a:cxn ang="0">
                      <a:pos x="connsiteX1860" y="connsiteY1860"/>
                    </a:cxn>
                    <a:cxn ang="0">
                      <a:pos x="connsiteX1861" y="connsiteY1861"/>
                    </a:cxn>
                    <a:cxn ang="0">
                      <a:pos x="connsiteX1862" y="connsiteY1862"/>
                    </a:cxn>
                    <a:cxn ang="0">
                      <a:pos x="connsiteX1863" y="connsiteY1863"/>
                    </a:cxn>
                    <a:cxn ang="0">
                      <a:pos x="connsiteX1864" y="connsiteY1864"/>
                    </a:cxn>
                    <a:cxn ang="0">
                      <a:pos x="connsiteX1865" y="connsiteY1865"/>
                    </a:cxn>
                    <a:cxn ang="0">
                      <a:pos x="connsiteX1866" y="connsiteY1866"/>
                    </a:cxn>
                    <a:cxn ang="0">
                      <a:pos x="connsiteX1867" y="connsiteY1867"/>
                    </a:cxn>
                    <a:cxn ang="0">
                      <a:pos x="connsiteX1868" y="connsiteY1868"/>
                    </a:cxn>
                    <a:cxn ang="0">
                      <a:pos x="connsiteX1869" y="connsiteY1869"/>
                    </a:cxn>
                    <a:cxn ang="0">
                      <a:pos x="connsiteX1870" y="connsiteY1870"/>
                    </a:cxn>
                    <a:cxn ang="0">
                      <a:pos x="connsiteX1871" y="connsiteY1871"/>
                    </a:cxn>
                    <a:cxn ang="0">
                      <a:pos x="connsiteX1872" y="connsiteY1872"/>
                    </a:cxn>
                    <a:cxn ang="0">
                      <a:pos x="connsiteX1873" y="connsiteY1873"/>
                    </a:cxn>
                    <a:cxn ang="0">
                      <a:pos x="connsiteX1874" y="connsiteY1874"/>
                    </a:cxn>
                    <a:cxn ang="0">
                      <a:pos x="connsiteX1875" y="connsiteY1875"/>
                    </a:cxn>
                    <a:cxn ang="0">
                      <a:pos x="connsiteX1876" y="connsiteY1876"/>
                    </a:cxn>
                    <a:cxn ang="0">
                      <a:pos x="connsiteX1877" y="connsiteY1877"/>
                    </a:cxn>
                    <a:cxn ang="0">
                      <a:pos x="connsiteX1878" y="connsiteY1878"/>
                    </a:cxn>
                    <a:cxn ang="0">
                      <a:pos x="connsiteX1879" y="connsiteY1879"/>
                    </a:cxn>
                    <a:cxn ang="0">
                      <a:pos x="connsiteX1880" y="connsiteY1880"/>
                    </a:cxn>
                    <a:cxn ang="0">
                      <a:pos x="connsiteX1881" y="connsiteY1881"/>
                    </a:cxn>
                    <a:cxn ang="0">
                      <a:pos x="connsiteX1882" y="connsiteY1882"/>
                    </a:cxn>
                    <a:cxn ang="0">
                      <a:pos x="connsiteX1883" y="connsiteY1883"/>
                    </a:cxn>
                    <a:cxn ang="0">
                      <a:pos x="connsiteX1884" y="connsiteY1884"/>
                    </a:cxn>
                    <a:cxn ang="0">
                      <a:pos x="connsiteX1885" y="connsiteY1885"/>
                    </a:cxn>
                    <a:cxn ang="0">
                      <a:pos x="connsiteX1886" y="connsiteY1886"/>
                    </a:cxn>
                    <a:cxn ang="0">
                      <a:pos x="connsiteX1887" y="connsiteY1887"/>
                    </a:cxn>
                    <a:cxn ang="0">
                      <a:pos x="connsiteX1888" y="connsiteY1888"/>
                    </a:cxn>
                    <a:cxn ang="0">
                      <a:pos x="connsiteX1889" y="connsiteY1889"/>
                    </a:cxn>
                    <a:cxn ang="0">
                      <a:pos x="connsiteX1890" y="connsiteY1890"/>
                    </a:cxn>
                    <a:cxn ang="0">
                      <a:pos x="connsiteX1891" y="connsiteY1891"/>
                    </a:cxn>
                    <a:cxn ang="0">
                      <a:pos x="connsiteX1892" y="connsiteY1892"/>
                    </a:cxn>
                    <a:cxn ang="0">
                      <a:pos x="connsiteX1893" y="connsiteY1893"/>
                    </a:cxn>
                    <a:cxn ang="0">
                      <a:pos x="connsiteX1894" y="connsiteY1894"/>
                    </a:cxn>
                    <a:cxn ang="0">
                      <a:pos x="connsiteX1895" y="connsiteY1895"/>
                    </a:cxn>
                    <a:cxn ang="0">
                      <a:pos x="connsiteX1896" y="connsiteY1896"/>
                    </a:cxn>
                    <a:cxn ang="0">
                      <a:pos x="connsiteX1897" y="connsiteY1897"/>
                    </a:cxn>
                    <a:cxn ang="0">
                      <a:pos x="connsiteX1898" y="connsiteY1898"/>
                    </a:cxn>
                    <a:cxn ang="0">
                      <a:pos x="connsiteX1899" y="connsiteY1899"/>
                    </a:cxn>
                    <a:cxn ang="0">
                      <a:pos x="connsiteX1900" y="connsiteY1900"/>
                    </a:cxn>
                    <a:cxn ang="0">
                      <a:pos x="connsiteX1901" y="connsiteY1901"/>
                    </a:cxn>
                    <a:cxn ang="0">
                      <a:pos x="connsiteX1902" y="connsiteY1902"/>
                    </a:cxn>
                    <a:cxn ang="0">
                      <a:pos x="connsiteX1903" y="connsiteY1903"/>
                    </a:cxn>
                    <a:cxn ang="0">
                      <a:pos x="connsiteX1904" y="connsiteY1904"/>
                    </a:cxn>
                    <a:cxn ang="0">
                      <a:pos x="connsiteX1905" y="connsiteY1905"/>
                    </a:cxn>
                    <a:cxn ang="0">
                      <a:pos x="connsiteX1906" y="connsiteY1906"/>
                    </a:cxn>
                    <a:cxn ang="0">
                      <a:pos x="connsiteX1907" y="connsiteY1907"/>
                    </a:cxn>
                    <a:cxn ang="0">
                      <a:pos x="connsiteX1908" y="connsiteY1908"/>
                    </a:cxn>
                    <a:cxn ang="0">
                      <a:pos x="connsiteX1909" y="connsiteY1909"/>
                    </a:cxn>
                    <a:cxn ang="0">
                      <a:pos x="connsiteX1910" y="connsiteY1910"/>
                    </a:cxn>
                    <a:cxn ang="0">
                      <a:pos x="connsiteX1911" y="connsiteY1911"/>
                    </a:cxn>
                    <a:cxn ang="0">
                      <a:pos x="connsiteX1912" y="connsiteY1912"/>
                    </a:cxn>
                    <a:cxn ang="0">
                      <a:pos x="connsiteX1913" y="connsiteY1913"/>
                    </a:cxn>
                    <a:cxn ang="0">
                      <a:pos x="connsiteX1914" y="connsiteY1914"/>
                    </a:cxn>
                    <a:cxn ang="0">
                      <a:pos x="connsiteX1915" y="connsiteY1915"/>
                    </a:cxn>
                    <a:cxn ang="0">
                      <a:pos x="connsiteX1916" y="connsiteY1916"/>
                    </a:cxn>
                    <a:cxn ang="0">
                      <a:pos x="connsiteX1917" y="connsiteY1917"/>
                    </a:cxn>
                    <a:cxn ang="0">
                      <a:pos x="connsiteX1918" y="connsiteY1918"/>
                    </a:cxn>
                    <a:cxn ang="0">
                      <a:pos x="connsiteX1919" y="connsiteY1919"/>
                    </a:cxn>
                    <a:cxn ang="0">
                      <a:pos x="connsiteX1920" y="connsiteY1920"/>
                    </a:cxn>
                    <a:cxn ang="0">
                      <a:pos x="connsiteX1921" y="connsiteY1921"/>
                    </a:cxn>
                    <a:cxn ang="0">
                      <a:pos x="connsiteX1922" y="connsiteY1922"/>
                    </a:cxn>
                    <a:cxn ang="0">
                      <a:pos x="connsiteX1923" y="connsiteY1923"/>
                    </a:cxn>
                    <a:cxn ang="0">
                      <a:pos x="connsiteX1924" y="connsiteY1924"/>
                    </a:cxn>
                    <a:cxn ang="0">
                      <a:pos x="connsiteX1925" y="connsiteY1925"/>
                    </a:cxn>
                    <a:cxn ang="0">
                      <a:pos x="connsiteX1926" y="connsiteY1926"/>
                    </a:cxn>
                    <a:cxn ang="0">
                      <a:pos x="connsiteX1927" y="connsiteY1927"/>
                    </a:cxn>
                    <a:cxn ang="0">
                      <a:pos x="connsiteX1928" y="connsiteY1928"/>
                    </a:cxn>
                    <a:cxn ang="0">
                      <a:pos x="connsiteX1929" y="connsiteY1929"/>
                    </a:cxn>
                    <a:cxn ang="0">
                      <a:pos x="connsiteX1930" y="connsiteY1930"/>
                    </a:cxn>
                    <a:cxn ang="0">
                      <a:pos x="connsiteX1931" y="connsiteY1931"/>
                    </a:cxn>
                    <a:cxn ang="0">
                      <a:pos x="connsiteX1932" y="connsiteY1932"/>
                    </a:cxn>
                    <a:cxn ang="0">
                      <a:pos x="connsiteX1933" y="connsiteY1933"/>
                    </a:cxn>
                    <a:cxn ang="0">
                      <a:pos x="connsiteX1934" y="connsiteY1934"/>
                    </a:cxn>
                    <a:cxn ang="0">
                      <a:pos x="connsiteX1935" y="connsiteY1935"/>
                    </a:cxn>
                    <a:cxn ang="0">
                      <a:pos x="connsiteX1936" y="connsiteY1936"/>
                    </a:cxn>
                    <a:cxn ang="0">
                      <a:pos x="connsiteX1937" y="connsiteY1937"/>
                    </a:cxn>
                    <a:cxn ang="0">
                      <a:pos x="connsiteX1938" y="connsiteY1938"/>
                    </a:cxn>
                    <a:cxn ang="0">
                      <a:pos x="connsiteX1939" y="connsiteY1939"/>
                    </a:cxn>
                    <a:cxn ang="0">
                      <a:pos x="connsiteX1940" y="connsiteY1940"/>
                    </a:cxn>
                    <a:cxn ang="0">
                      <a:pos x="connsiteX1941" y="connsiteY1941"/>
                    </a:cxn>
                    <a:cxn ang="0">
                      <a:pos x="connsiteX1942" y="connsiteY1942"/>
                    </a:cxn>
                    <a:cxn ang="0">
                      <a:pos x="connsiteX1943" y="connsiteY1943"/>
                    </a:cxn>
                    <a:cxn ang="0">
                      <a:pos x="connsiteX1944" y="connsiteY1944"/>
                    </a:cxn>
                    <a:cxn ang="0">
                      <a:pos x="connsiteX1945" y="connsiteY1945"/>
                    </a:cxn>
                    <a:cxn ang="0">
                      <a:pos x="connsiteX1946" y="connsiteY1946"/>
                    </a:cxn>
                    <a:cxn ang="0">
                      <a:pos x="connsiteX1947" y="connsiteY1947"/>
                    </a:cxn>
                    <a:cxn ang="0">
                      <a:pos x="connsiteX1948" y="connsiteY1948"/>
                    </a:cxn>
                    <a:cxn ang="0">
                      <a:pos x="connsiteX1949" y="connsiteY1949"/>
                    </a:cxn>
                    <a:cxn ang="0">
                      <a:pos x="connsiteX1950" y="connsiteY1950"/>
                    </a:cxn>
                    <a:cxn ang="0">
                      <a:pos x="connsiteX1951" y="connsiteY1951"/>
                    </a:cxn>
                    <a:cxn ang="0">
                      <a:pos x="connsiteX1952" y="connsiteY1952"/>
                    </a:cxn>
                    <a:cxn ang="0">
                      <a:pos x="connsiteX1953" y="connsiteY1953"/>
                    </a:cxn>
                    <a:cxn ang="0">
                      <a:pos x="connsiteX1954" y="connsiteY1954"/>
                    </a:cxn>
                    <a:cxn ang="0">
                      <a:pos x="connsiteX1955" y="connsiteY1955"/>
                    </a:cxn>
                    <a:cxn ang="0">
                      <a:pos x="connsiteX1956" y="connsiteY1956"/>
                    </a:cxn>
                    <a:cxn ang="0">
                      <a:pos x="connsiteX1957" y="connsiteY1957"/>
                    </a:cxn>
                    <a:cxn ang="0">
                      <a:pos x="connsiteX1958" y="connsiteY1958"/>
                    </a:cxn>
                    <a:cxn ang="0">
                      <a:pos x="connsiteX1959" y="connsiteY1959"/>
                    </a:cxn>
                    <a:cxn ang="0">
                      <a:pos x="connsiteX1960" y="connsiteY1960"/>
                    </a:cxn>
                    <a:cxn ang="0">
                      <a:pos x="connsiteX1961" y="connsiteY1961"/>
                    </a:cxn>
                    <a:cxn ang="0">
                      <a:pos x="connsiteX1962" y="connsiteY1962"/>
                    </a:cxn>
                    <a:cxn ang="0">
                      <a:pos x="connsiteX1963" y="connsiteY1963"/>
                    </a:cxn>
                    <a:cxn ang="0">
                      <a:pos x="connsiteX1964" y="connsiteY1964"/>
                    </a:cxn>
                    <a:cxn ang="0">
                      <a:pos x="connsiteX1965" y="connsiteY1965"/>
                    </a:cxn>
                    <a:cxn ang="0">
                      <a:pos x="connsiteX1966" y="connsiteY1966"/>
                    </a:cxn>
                    <a:cxn ang="0">
                      <a:pos x="connsiteX1967" y="connsiteY1967"/>
                    </a:cxn>
                    <a:cxn ang="0">
                      <a:pos x="connsiteX1968" y="connsiteY1968"/>
                    </a:cxn>
                    <a:cxn ang="0">
                      <a:pos x="connsiteX1969" y="connsiteY1969"/>
                    </a:cxn>
                    <a:cxn ang="0">
                      <a:pos x="connsiteX1970" y="connsiteY1970"/>
                    </a:cxn>
                    <a:cxn ang="0">
                      <a:pos x="connsiteX1971" y="connsiteY1971"/>
                    </a:cxn>
                    <a:cxn ang="0">
                      <a:pos x="connsiteX1972" y="connsiteY1972"/>
                    </a:cxn>
                    <a:cxn ang="0">
                      <a:pos x="connsiteX1973" y="connsiteY1973"/>
                    </a:cxn>
                    <a:cxn ang="0">
                      <a:pos x="connsiteX1974" y="connsiteY1974"/>
                    </a:cxn>
                    <a:cxn ang="0">
                      <a:pos x="connsiteX1975" y="connsiteY1975"/>
                    </a:cxn>
                    <a:cxn ang="0">
                      <a:pos x="connsiteX1976" y="connsiteY1976"/>
                    </a:cxn>
                    <a:cxn ang="0">
                      <a:pos x="connsiteX1977" y="connsiteY1977"/>
                    </a:cxn>
                    <a:cxn ang="0">
                      <a:pos x="connsiteX1978" y="connsiteY1978"/>
                    </a:cxn>
                    <a:cxn ang="0">
                      <a:pos x="connsiteX1979" y="connsiteY1979"/>
                    </a:cxn>
                    <a:cxn ang="0">
                      <a:pos x="connsiteX1980" y="connsiteY1980"/>
                    </a:cxn>
                    <a:cxn ang="0">
                      <a:pos x="connsiteX1981" y="connsiteY1981"/>
                    </a:cxn>
                    <a:cxn ang="0">
                      <a:pos x="connsiteX1982" y="connsiteY1982"/>
                    </a:cxn>
                    <a:cxn ang="0">
                      <a:pos x="connsiteX1983" y="connsiteY1983"/>
                    </a:cxn>
                    <a:cxn ang="0">
                      <a:pos x="connsiteX1984" y="connsiteY1984"/>
                    </a:cxn>
                    <a:cxn ang="0">
                      <a:pos x="connsiteX1985" y="connsiteY1985"/>
                    </a:cxn>
                    <a:cxn ang="0">
                      <a:pos x="connsiteX1986" y="connsiteY1986"/>
                    </a:cxn>
                    <a:cxn ang="0">
                      <a:pos x="connsiteX1987" y="connsiteY1987"/>
                    </a:cxn>
                    <a:cxn ang="0">
                      <a:pos x="connsiteX1988" y="connsiteY1988"/>
                    </a:cxn>
                    <a:cxn ang="0">
                      <a:pos x="connsiteX1989" y="connsiteY1989"/>
                    </a:cxn>
                    <a:cxn ang="0">
                      <a:pos x="connsiteX1990" y="connsiteY1990"/>
                    </a:cxn>
                    <a:cxn ang="0">
                      <a:pos x="connsiteX1991" y="connsiteY1991"/>
                    </a:cxn>
                    <a:cxn ang="0">
                      <a:pos x="connsiteX1992" y="connsiteY1992"/>
                    </a:cxn>
                    <a:cxn ang="0">
                      <a:pos x="connsiteX1993" y="connsiteY1993"/>
                    </a:cxn>
                    <a:cxn ang="0">
                      <a:pos x="connsiteX1994" y="connsiteY1994"/>
                    </a:cxn>
                    <a:cxn ang="0">
                      <a:pos x="connsiteX1995" y="connsiteY1995"/>
                    </a:cxn>
                    <a:cxn ang="0">
                      <a:pos x="connsiteX1996" y="connsiteY1996"/>
                    </a:cxn>
                    <a:cxn ang="0">
                      <a:pos x="connsiteX1997" y="connsiteY1997"/>
                    </a:cxn>
                    <a:cxn ang="0">
                      <a:pos x="connsiteX1998" y="connsiteY1998"/>
                    </a:cxn>
                    <a:cxn ang="0">
                      <a:pos x="connsiteX1999" y="connsiteY1999"/>
                    </a:cxn>
                    <a:cxn ang="0">
                      <a:pos x="connsiteX2000" y="connsiteY2000"/>
                    </a:cxn>
                    <a:cxn ang="0">
                      <a:pos x="connsiteX2001" y="connsiteY2001"/>
                    </a:cxn>
                    <a:cxn ang="0">
                      <a:pos x="connsiteX2002" y="connsiteY2002"/>
                    </a:cxn>
                    <a:cxn ang="0">
                      <a:pos x="connsiteX2003" y="connsiteY2003"/>
                    </a:cxn>
                    <a:cxn ang="0">
                      <a:pos x="connsiteX2004" y="connsiteY2004"/>
                    </a:cxn>
                    <a:cxn ang="0">
                      <a:pos x="connsiteX2005" y="connsiteY2005"/>
                    </a:cxn>
                    <a:cxn ang="0">
                      <a:pos x="connsiteX2006" y="connsiteY2006"/>
                    </a:cxn>
                    <a:cxn ang="0">
                      <a:pos x="connsiteX2007" y="connsiteY2007"/>
                    </a:cxn>
                    <a:cxn ang="0">
                      <a:pos x="connsiteX2008" y="connsiteY2008"/>
                    </a:cxn>
                    <a:cxn ang="0">
                      <a:pos x="connsiteX2009" y="connsiteY2009"/>
                    </a:cxn>
                    <a:cxn ang="0">
                      <a:pos x="connsiteX2010" y="connsiteY2010"/>
                    </a:cxn>
                    <a:cxn ang="0">
                      <a:pos x="connsiteX2011" y="connsiteY2011"/>
                    </a:cxn>
                    <a:cxn ang="0">
                      <a:pos x="connsiteX2012" y="connsiteY2012"/>
                    </a:cxn>
                    <a:cxn ang="0">
                      <a:pos x="connsiteX2013" y="connsiteY2013"/>
                    </a:cxn>
                    <a:cxn ang="0">
                      <a:pos x="connsiteX2014" y="connsiteY2014"/>
                    </a:cxn>
                    <a:cxn ang="0">
                      <a:pos x="connsiteX2015" y="connsiteY2015"/>
                    </a:cxn>
                    <a:cxn ang="0">
                      <a:pos x="connsiteX2016" y="connsiteY2016"/>
                    </a:cxn>
                    <a:cxn ang="0">
                      <a:pos x="connsiteX2017" y="connsiteY2017"/>
                    </a:cxn>
                    <a:cxn ang="0">
                      <a:pos x="connsiteX2018" y="connsiteY2018"/>
                    </a:cxn>
                    <a:cxn ang="0">
                      <a:pos x="connsiteX2019" y="connsiteY2019"/>
                    </a:cxn>
                    <a:cxn ang="0">
                      <a:pos x="connsiteX2020" y="connsiteY2020"/>
                    </a:cxn>
                    <a:cxn ang="0">
                      <a:pos x="connsiteX2021" y="connsiteY2021"/>
                    </a:cxn>
                    <a:cxn ang="0">
                      <a:pos x="connsiteX2022" y="connsiteY2022"/>
                    </a:cxn>
                    <a:cxn ang="0">
                      <a:pos x="connsiteX2023" y="connsiteY2023"/>
                    </a:cxn>
                    <a:cxn ang="0">
                      <a:pos x="connsiteX2024" y="connsiteY2024"/>
                    </a:cxn>
                    <a:cxn ang="0">
                      <a:pos x="connsiteX2025" y="connsiteY2025"/>
                    </a:cxn>
                    <a:cxn ang="0">
                      <a:pos x="connsiteX2026" y="connsiteY2026"/>
                    </a:cxn>
                    <a:cxn ang="0">
                      <a:pos x="connsiteX2027" y="connsiteY2027"/>
                    </a:cxn>
                    <a:cxn ang="0">
                      <a:pos x="connsiteX2028" y="connsiteY2028"/>
                    </a:cxn>
                    <a:cxn ang="0">
                      <a:pos x="connsiteX2029" y="connsiteY2029"/>
                    </a:cxn>
                    <a:cxn ang="0">
                      <a:pos x="connsiteX2030" y="connsiteY2030"/>
                    </a:cxn>
                    <a:cxn ang="0">
                      <a:pos x="connsiteX2031" y="connsiteY2031"/>
                    </a:cxn>
                    <a:cxn ang="0">
                      <a:pos x="connsiteX2032" y="connsiteY2032"/>
                    </a:cxn>
                    <a:cxn ang="0">
                      <a:pos x="connsiteX2033" y="connsiteY2033"/>
                    </a:cxn>
                    <a:cxn ang="0">
                      <a:pos x="connsiteX2034" y="connsiteY2034"/>
                    </a:cxn>
                    <a:cxn ang="0">
                      <a:pos x="connsiteX2035" y="connsiteY2035"/>
                    </a:cxn>
                    <a:cxn ang="0">
                      <a:pos x="connsiteX2036" y="connsiteY2036"/>
                    </a:cxn>
                    <a:cxn ang="0">
                      <a:pos x="connsiteX2037" y="connsiteY2037"/>
                    </a:cxn>
                    <a:cxn ang="0">
                      <a:pos x="connsiteX2038" y="connsiteY2038"/>
                    </a:cxn>
                    <a:cxn ang="0">
                      <a:pos x="connsiteX2039" y="connsiteY2039"/>
                    </a:cxn>
                    <a:cxn ang="0">
                      <a:pos x="connsiteX2040" y="connsiteY2040"/>
                    </a:cxn>
                    <a:cxn ang="0">
                      <a:pos x="connsiteX2041" y="connsiteY2041"/>
                    </a:cxn>
                    <a:cxn ang="0">
                      <a:pos x="connsiteX2042" y="connsiteY2042"/>
                    </a:cxn>
                    <a:cxn ang="0">
                      <a:pos x="connsiteX2043" y="connsiteY2043"/>
                    </a:cxn>
                    <a:cxn ang="0">
                      <a:pos x="connsiteX2044" y="connsiteY2044"/>
                    </a:cxn>
                    <a:cxn ang="0">
                      <a:pos x="connsiteX2045" y="connsiteY2045"/>
                    </a:cxn>
                    <a:cxn ang="0">
                      <a:pos x="connsiteX2046" y="connsiteY2046"/>
                    </a:cxn>
                    <a:cxn ang="0">
                      <a:pos x="connsiteX2047" y="connsiteY2047"/>
                    </a:cxn>
                    <a:cxn ang="0">
                      <a:pos x="connsiteX2048" y="connsiteY2048"/>
                    </a:cxn>
                    <a:cxn ang="0">
                      <a:pos x="connsiteX2049" y="connsiteY2049"/>
                    </a:cxn>
                    <a:cxn ang="0">
                      <a:pos x="connsiteX2050" y="connsiteY2050"/>
                    </a:cxn>
                    <a:cxn ang="0">
                      <a:pos x="connsiteX2051" y="connsiteY2051"/>
                    </a:cxn>
                    <a:cxn ang="0">
                      <a:pos x="connsiteX2052" y="connsiteY2052"/>
                    </a:cxn>
                    <a:cxn ang="0">
                      <a:pos x="connsiteX2053" y="connsiteY2053"/>
                    </a:cxn>
                    <a:cxn ang="0">
                      <a:pos x="connsiteX2054" y="connsiteY2054"/>
                    </a:cxn>
                    <a:cxn ang="0">
                      <a:pos x="connsiteX2055" y="connsiteY2055"/>
                    </a:cxn>
                    <a:cxn ang="0">
                      <a:pos x="connsiteX2056" y="connsiteY2056"/>
                    </a:cxn>
                    <a:cxn ang="0">
                      <a:pos x="connsiteX2057" y="connsiteY2057"/>
                    </a:cxn>
                    <a:cxn ang="0">
                      <a:pos x="connsiteX2058" y="connsiteY2058"/>
                    </a:cxn>
                    <a:cxn ang="0">
                      <a:pos x="connsiteX2059" y="connsiteY2059"/>
                    </a:cxn>
                    <a:cxn ang="0">
                      <a:pos x="connsiteX2060" y="connsiteY2060"/>
                    </a:cxn>
                    <a:cxn ang="0">
                      <a:pos x="connsiteX2061" y="connsiteY2061"/>
                    </a:cxn>
                    <a:cxn ang="0">
                      <a:pos x="connsiteX2062" y="connsiteY2062"/>
                    </a:cxn>
                    <a:cxn ang="0">
                      <a:pos x="connsiteX2063" y="connsiteY2063"/>
                    </a:cxn>
                    <a:cxn ang="0">
                      <a:pos x="connsiteX2064" y="connsiteY2064"/>
                    </a:cxn>
                    <a:cxn ang="0">
                      <a:pos x="connsiteX2065" y="connsiteY2065"/>
                    </a:cxn>
                    <a:cxn ang="0">
                      <a:pos x="connsiteX2066" y="connsiteY2066"/>
                    </a:cxn>
                    <a:cxn ang="0">
                      <a:pos x="connsiteX2067" y="connsiteY2067"/>
                    </a:cxn>
                    <a:cxn ang="0">
                      <a:pos x="connsiteX2068" y="connsiteY2068"/>
                    </a:cxn>
                    <a:cxn ang="0">
                      <a:pos x="connsiteX2069" y="connsiteY2069"/>
                    </a:cxn>
                    <a:cxn ang="0">
                      <a:pos x="connsiteX2070" y="connsiteY2070"/>
                    </a:cxn>
                    <a:cxn ang="0">
                      <a:pos x="connsiteX2071" y="connsiteY2071"/>
                    </a:cxn>
                    <a:cxn ang="0">
                      <a:pos x="connsiteX2072" y="connsiteY2072"/>
                    </a:cxn>
                    <a:cxn ang="0">
                      <a:pos x="connsiteX2073" y="connsiteY2073"/>
                    </a:cxn>
                    <a:cxn ang="0">
                      <a:pos x="connsiteX2074" y="connsiteY2074"/>
                    </a:cxn>
                    <a:cxn ang="0">
                      <a:pos x="connsiteX2075" y="connsiteY2075"/>
                    </a:cxn>
                    <a:cxn ang="0">
                      <a:pos x="connsiteX2076" y="connsiteY2076"/>
                    </a:cxn>
                    <a:cxn ang="0">
                      <a:pos x="connsiteX2077" y="connsiteY2077"/>
                    </a:cxn>
                    <a:cxn ang="0">
                      <a:pos x="connsiteX2078" y="connsiteY2078"/>
                    </a:cxn>
                    <a:cxn ang="0">
                      <a:pos x="connsiteX2079" y="connsiteY2079"/>
                    </a:cxn>
                    <a:cxn ang="0">
                      <a:pos x="connsiteX2080" y="connsiteY2080"/>
                    </a:cxn>
                    <a:cxn ang="0">
                      <a:pos x="connsiteX2081" y="connsiteY2081"/>
                    </a:cxn>
                    <a:cxn ang="0">
                      <a:pos x="connsiteX2082" y="connsiteY2082"/>
                    </a:cxn>
                    <a:cxn ang="0">
                      <a:pos x="connsiteX2083" y="connsiteY2083"/>
                    </a:cxn>
                    <a:cxn ang="0">
                      <a:pos x="connsiteX2084" y="connsiteY2084"/>
                    </a:cxn>
                    <a:cxn ang="0">
                      <a:pos x="connsiteX2085" y="connsiteY2085"/>
                    </a:cxn>
                    <a:cxn ang="0">
                      <a:pos x="connsiteX2086" y="connsiteY2086"/>
                    </a:cxn>
                    <a:cxn ang="0">
                      <a:pos x="connsiteX2087" y="connsiteY2087"/>
                    </a:cxn>
                    <a:cxn ang="0">
                      <a:pos x="connsiteX2088" y="connsiteY2088"/>
                    </a:cxn>
                    <a:cxn ang="0">
                      <a:pos x="connsiteX2089" y="connsiteY2089"/>
                    </a:cxn>
                    <a:cxn ang="0">
                      <a:pos x="connsiteX2090" y="connsiteY2090"/>
                    </a:cxn>
                    <a:cxn ang="0">
                      <a:pos x="connsiteX2091" y="connsiteY2091"/>
                    </a:cxn>
                    <a:cxn ang="0">
                      <a:pos x="connsiteX2092" y="connsiteY2092"/>
                    </a:cxn>
                    <a:cxn ang="0">
                      <a:pos x="connsiteX2093" y="connsiteY2093"/>
                    </a:cxn>
                    <a:cxn ang="0">
                      <a:pos x="connsiteX2094" y="connsiteY2094"/>
                    </a:cxn>
                    <a:cxn ang="0">
                      <a:pos x="connsiteX2095" y="connsiteY2095"/>
                    </a:cxn>
                    <a:cxn ang="0">
                      <a:pos x="connsiteX2096" y="connsiteY2096"/>
                    </a:cxn>
                    <a:cxn ang="0">
                      <a:pos x="connsiteX2097" y="connsiteY2097"/>
                    </a:cxn>
                    <a:cxn ang="0">
                      <a:pos x="connsiteX2098" y="connsiteY2098"/>
                    </a:cxn>
                    <a:cxn ang="0">
                      <a:pos x="connsiteX2099" y="connsiteY2099"/>
                    </a:cxn>
                    <a:cxn ang="0">
                      <a:pos x="connsiteX2100" y="connsiteY2100"/>
                    </a:cxn>
                    <a:cxn ang="0">
                      <a:pos x="connsiteX2101" y="connsiteY2101"/>
                    </a:cxn>
                    <a:cxn ang="0">
                      <a:pos x="connsiteX2102" y="connsiteY2102"/>
                    </a:cxn>
                    <a:cxn ang="0">
                      <a:pos x="connsiteX2103" y="connsiteY2103"/>
                    </a:cxn>
                    <a:cxn ang="0">
                      <a:pos x="connsiteX2104" y="connsiteY2104"/>
                    </a:cxn>
                    <a:cxn ang="0">
                      <a:pos x="connsiteX2105" y="connsiteY2105"/>
                    </a:cxn>
                    <a:cxn ang="0">
                      <a:pos x="connsiteX2106" y="connsiteY2106"/>
                    </a:cxn>
                    <a:cxn ang="0">
                      <a:pos x="connsiteX2107" y="connsiteY2107"/>
                    </a:cxn>
                    <a:cxn ang="0">
                      <a:pos x="connsiteX2108" y="connsiteY2108"/>
                    </a:cxn>
                    <a:cxn ang="0">
                      <a:pos x="connsiteX2109" y="connsiteY2109"/>
                    </a:cxn>
                    <a:cxn ang="0">
                      <a:pos x="connsiteX2110" y="connsiteY2110"/>
                    </a:cxn>
                    <a:cxn ang="0">
                      <a:pos x="connsiteX2111" y="connsiteY2111"/>
                    </a:cxn>
                    <a:cxn ang="0">
                      <a:pos x="connsiteX2112" y="connsiteY2112"/>
                    </a:cxn>
                    <a:cxn ang="0">
                      <a:pos x="connsiteX2113" y="connsiteY2113"/>
                    </a:cxn>
                    <a:cxn ang="0">
                      <a:pos x="connsiteX2114" y="connsiteY2114"/>
                    </a:cxn>
                    <a:cxn ang="0">
                      <a:pos x="connsiteX2115" y="connsiteY2115"/>
                    </a:cxn>
                    <a:cxn ang="0">
                      <a:pos x="connsiteX2116" y="connsiteY2116"/>
                    </a:cxn>
                    <a:cxn ang="0">
                      <a:pos x="connsiteX2117" y="connsiteY2117"/>
                    </a:cxn>
                    <a:cxn ang="0">
                      <a:pos x="connsiteX2118" y="connsiteY2118"/>
                    </a:cxn>
                    <a:cxn ang="0">
                      <a:pos x="connsiteX2119" y="connsiteY2119"/>
                    </a:cxn>
                    <a:cxn ang="0">
                      <a:pos x="connsiteX2120" y="connsiteY2120"/>
                    </a:cxn>
                    <a:cxn ang="0">
                      <a:pos x="connsiteX2121" y="connsiteY2121"/>
                    </a:cxn>
                    <a:cxn ang="0">
                      <a:pos x="connsiteX2122" y="connsiteY2122"/>
                    </a:cxn>
                    <a:cxn ang="0">
                      <a:pos x="connsiteX2123" y="connsiteY2123"/>
                    </a:cxn>
                    <a:cxn ang="0">
                      <a:pos x="connsiteX2124" y="connsiteY2124"/>
                    </a:cxn>
                    <a:cxn ang="0">
                      <a:pos x="connsiteX2125" y="connsiteY2125"/>
                    </a:cxn>
                    <a:cxn ang="0">
                      <a:pos x="connsiteX2126" y="connsiteY2126"/>
                    </a:cxn>
                    <a:cxn ang="0">
                      <a:pos x="connsiteX2127" y="connsiteY2127"/>
                    </a:cxn>
                    <a:cxn ang="0">
                      <a:pos x="connsiteX2128" y="connsiteY2128"/>
                    </a:cxn>
                    <a:cxn ang="0">
                      <a:pos x="connsiteX2129" y="connsiteY2129"/>
                    </a:cxn>
                    <a:cxn ang="0">
                      <a:pos x="connsiteX2130" y="connsiteY2130"/>
                    </a:cxn>
                    <a:cxn ang="0">
                      <a:pos x="connsiteX2131" y="connsiteY2131"/>
                    </a:cxn>
                    <a:cxn ang="0">
                      <a:pos x="connsiteX2132" y="connsiteY2132"/>
                    </a:cxn>
                    <a:cxn ang="0">
                      <a:pos x="connsiteX2133" y="connsiteY2133"/>
                    </a:cxn>
                    <a:cxn ang="0">
                      <a:pos x="connsiteX2134" y="connsiteY2134"/>
                    </a:cxn>
                    <a:cxn ang="0">
                      <a:pos x="connsiteX2135" y="connsiteY2135"/>
                    </a:cxn>
                    <a:cxn ang="0">
                      <a:pos x="connsiteX2136" y="connsiteY2136"/>
                    </a:cxn>
                    <a:cxn ang="0">
                      <a:pos x="connsiteX2137" y="connsiteY2137"/>
                    </a:cxn>
                    <a:cxn ang="0">
                      <a:pos x="connsiteX2138" y="connsiteY2138"/>
                    </a:cxn>
                    <a:cxn ang="0">
                      <a:pos x="connsiteX2139" y="connsiteY2139"/>
                    </a:cxn>
                    <a:cxn ang="0">
                      <a:pos x="connsiteX2140" y="connsiteY2140"/>
                    </a:cxn>
                    <a:cxn ang="0">
                      <a:pos x="connsiteX2141" y="connsiteY2141"/>
                    </a:cxn>
                    <a:cxn ang="0">
                      <a:pos x="connsiteX2142" y="connsiteY2142"/>
                    </a:cxn>
                    <a:cxn ang="0">
                      <a:pos x="connsiteX2143" y="connsiteY2143"/>
                    </a:cxn>
                    <a:cxn ang="0">
                      <a:pos x="connsiteX2144" y="connsiteY2144"/>
                    </a:cxn>
                    <a:cxn ang="0">
                      <a:pos x="connsiteX2145" y="connsiteY2145"/>
                    </a:cxn>
                    <a:cxn ang="0">
                      <a:pos x="connsiteX2146" y="connsiteY2146"/>
                    </a:cxn>
                    <a:cxn ang="0">
                      <a:pos x="connsiteX2147" y="connsiteY2147"/>
                    </a:cxn>
                    <a:cxn ang="0">
                      <a:pos x="connsiteX2148" y="connsiteY2148"/>
                    </a:cxn>
                    <a:cxn ang="0">
                      <a:pos x="connsiteX2149" y="connsiteY2149"/>
                    </a:cxn>
                    <a:cxn ang="0">
                      <a:pos x="connsiteX2150" y="connsiteY2150"/>
                    </a:cxn>
                    <a:cxn ang="0">
                      <a:pos x="connsiteX2151" y="connsiteY2151"/>
                    </a:cxn>
                    <a:cxn ang="0">
                      <a:pos x="connsiteX2152" y="connsiteY2152"/>
                    </a:cxn>
                    <a:cxn ang="0">
                      <a:pos x="connsiteX2153" y="connsiteY2153"/>
                    </a:cxn>
                    <a:cxn ang="0">
                      <a:pos x="connsiteX2154" y="connsiteY2154"/>
                    </a:cxn>
                    <a:cxn ang="0">
                      <a:pos x="connsiteX2155" y="connsiteY2155"/>
                    </a:cxn>
                    <a:cxn ang="0">
                      <a:pos x="connsiteX2156" y="connsiteY2156"/>
                    </a:cxn>
                    <a:cxn ang="0">
                      <a:pos x="connsiteX2157" y="connsiteY2157"/>
                    </a:cxn>
                    <a:cxn ang="0">
                      <a:pos x="connsiteX2158" y="connsiteY2158"/>
                    </a:cxn>
                    <a:cxn ang="0">
                      <a:pos x="connsiteX2159" y="connsiteY2159"/>
                    </a:cxn>
                    <a:cxn ang="0">
                      <a:pos x="connsiteX2160" y="connsiteY2160"/>
                    </a:cxn>
                    <a:cxn ang="0">
                      <a:pos x="connsiteX2161" y="connsiteY2161"/>
                    </a:cxn>
                    <a:cxn ang="0">
                      <a:pos x="connsiteX2162" y="connsiteY2162"/>
                    </a:cxn>
                    <a:cxn ang="0">
                      <a:pos x="connsiteX2163" y="connsiteY2163"/>
                    </a:cxn>
                    <a:cxn ang="0">
                      <a:pos x="connsiteX2164" y="connsiteY2164"/>
                    </a:cxn>
                    <a:cxn ang="0">
                      <a:pos x="connsiteX2165" y="connsiteY2165"/>
                    </a:cxn>
                    <a:cxn ang="0">
                      <a:pos x="connsiteX2166" y="connsiteY2166"/>
                    </a:cxn>
                    <a:cxn ang="0">
                      <a:pos x="connsiteX2167" y="connsiteY2167"/>
                    </a:cxn>
                    <a:cxn ang="0">
                      <a:pos x="connsiteX2168" y="connsiteY2168"/>
                    </a:cxn>
                    <a:cxn ang="0">
                      <a:pos x="connsiteX2169" y="connsiteY2169"/>
                    </a:cxn>
                    <a:cxn ang="0">
                      <a:pos x="connsiteX2170" y="connsiteY2170"/>
                    </a:cxn>
                    <a:cxn ang="0">
                      <a:pos x="connsiteX2171" y="connsiteY2171"/>
                    </a:cxn>
                    <a:cxn ang="0">
                      <a:pos x="connsiteX2172" y="connsiteY2172"/>
                    </a:cxn>
                    <a:cxn ang="0">
                      <a:pos x="connsiteX2173" y="connsiteY2173"/>
                    </a:cxn>
                    <a:cxn ang="0">
                      <a:pos x="connsiteX2174" y="connsiteY2174"/>
                    </a:cxn>
                    <a:cxn ang="0">
                      <a:pos x="connsiteX2175" y="connsiteY2175"/>
                    </a:cxn>
                    <a:cxn ang="0">
                      <a:pos x="connsiteX2176" y="connsiteY2176"/>
                    </a:cxn>
                    <a:cxn ang="0">
                      <a:pos x="connsiteX2177" y="connsiteY2177"/>
                    </a:cxn>
                    <a:cxn ang="0">
                      <a:pos x="connsiteX2178" y="connsiteY2178"/>
                    </a:cxn>
                    <a:cxn ang="0">
                      <a:pos x="connsiteX2179" y="connsiteY2179"/>
                    </a:cxn>
                    <a:cxn ang="0">
                      <a:pos x="connsiteX2180" y="connsiteY2180"/>
                    </a:cxn>
                    <a:cxn ang="0">
                      <a:pos x="connsiteX2181" y="connsiteY2181"/>
                    </a:cxn>
                    <a:cxn ang="0">
                      <a:pos x="connsiteX2182" y="connsiteY2182"/>
                    </a:cxn>
                    <a:cxn ang="0">
                      <a:pos x="connsiteX2183" y="connsiteY2183"/>
                    </a:cxn>
                    <a:cxn ang="0">
                      <a:pos x="connsiteX2184" y="connsiteY2184"/>
                    </a:cxn>
                    <a:cxn ang="0">
                      <a:pos x="connsiteX2185" y="connsiteY2185"/>
                    </a:cxn>
                    <a:cxn ang="0">
                      <a:pos x="connsiteX2186" y="connsiteY2186"/>
                    </a:cxn>
                    <a:cxn ang="0">
                      <a:pos x="connsiteX2187" y="connsiteY2187"/>
                    </a:cxn>
                    <a:cxn ang="0">
                      <a:pos x="connsiteX2188" y="connsiteY2188"/>
                    </a:cxn>
                    <a:cxn ang="0">
                      <a:pos x="connsiteX2189" y="connsiteY2189"/>
                    </a:cxn>
                    <a:cxn ang="0">
                      <a:pos x="connsiteX2190" y="connsiteY2190"/>
                    </a:cxn>
                    <a:cxn ang="0">
                      <a:pos x="connsiteX2191" y="connsiteY2191"/>
                    </a:cxn>
                    <a:cxn ang="0">
                      <a:pos x="connsiteX2192" y="connsiteY2192"/>
                    </a:cxn>
                    <a:cxn ang="0">
                      <a:pos x="connsiteX2193" y="connsiteY2193"/>
                    </a:cxn>
                    <a:cxn ang="0">
                      <a:pos x="connsiteX2194" y="connsiteY2194"/>
                    </a:cxn>
                    <a:cxn ang="0">
                      <a:pos x="connsiteX2195" y="connsiteY2195"/>
                    </a:cxn>
                    <a:cxn ang="0">
                      <a:pos x="connsiteX2196" y="connsiteY2196"/>
                    </a:cxn>
                    <a:cxn ang="0">
                      <a:pos x="connsiteX2197" y="connsiteY2197"/>
                    </a:cxn>
                    <a:cxn ang="0">
                      <a:pos x="connsiteX2198" y="connsiteY2198"/>
                    </a:cxn>
                    <a:cxn ang="0">
                      <a:pos x="connsiteX2199" y="connsiteY2199"/>
                    </a:cxn>
                    <a:cxn ang="0">
                      <a:pos x="connsiteX2200" y="connsiteY2200"/>
                    </a:cxn>
                    <a:cxn ang="0">
                      <a:pos x="connsiteX2201" y="connsiteY2201"/>
                    </a:cxn>
                    <a:cxn ang="0">
                      <a:pos x="connsiteX2202" y="connsiteY2202"/>
                    </a:cxn>
                    <a:cxn ang="0">
                      <a:pos x="connsiteX2203" y="connsiteY2203"/>
                    </a:cxn>
                    <a:cxn ang="0">
                      <a:pos x="connsiteX2204" y="connsiteY2204"/>
                    </a:cxn>
                    <a:cxn ang="0">
                      <a:pos x="connsiteX2205" y="connsiteY2205"/>
                    </a:cxn>
                    <a:cxn ang="0">
                      <a:pos x="connsiteX2206" y="connsiteY2206"/>
                    </a:cxn>
                    <a:cxn ang="0">
                      <a:pos x="connsiteX2207" y="connsiteY2207"/>
                    </a:cxn>
                    <a:cxn ang="0">
                      <a:pos x="connsiteX2208" y="connsiteY2208"/>
                    </a:cxn>
                    <a:cxn ang="0">
                      <a:pos x="connsiteX2209" y="connsiteY2209"/>
                    </a:cxn>
                    <a:cxn ang="0">
                      <a:pos x="connsiteX2210" y="connsiteY2210"/>
                    </a:cxn>
                    <a:cxn ang="0">
                      <a:pos x="connsiteX2211" y="connsiteY2211"/>
                    </a:cxn>
                    <a:cxn ang="0">
                      <a:pos x="connsiteX2212" y="connsiteY2212"/>
                    </a:cxn>
                    <a:cxn ang="0">
                      <a:pos x="connsiteX2213" y="connsiteY2213"/>
                    </a:cxn>
                    <a:cxn ang="0">
                      <a:pos x="connsiteX2214" y="connsiteY2214"/>
                    </a:cxn>
                    <a:cxn ang="0">
                      <a:pos x="connsiteX2215" y="connsiteY2215"/>
                    </a:cxn>
                    <a:cxn ang="0">
                      <a:pos x="connsiteX2216" y="connsiteY2216"/>
                    </a:cxn>
                    <a:cxn ang="0">
                      <a:pos x="connsiteX2217" y="connsiteY2217"/>
                    </a:cxn>
                    <a:cxn ang="0">
                      <a:pos x="connsiteX2218" y="connsiteY2218"/>
                    </a:cxn>
                    <a:cxn ang="0">
                      <a:pos x="connsiteX2219" y="connsiteY2219"/>
                    </a:cxn>
                    <a:cxn ang="0">
                      <a:pos x="connsiteX2220" y="connsiteY2220"/>
                    </a:cxn>
                    <a:cxn ang="0">
                      <a:pos x="connsiteX2221" y="connsiteY2221"/>
                    </a:cxn>
                    <a:cxn ang="0">
                      <a:pos x="connsiteX2222" y="connsiteY2222"/>
                    </a:cxn>
                    <a:cxn ang="0">
                      <a:pos x="connsiteX2223" y="connsiteY2223"/>
                    </a:cxn>
                    <a:cxn ang="0">
                      <a:pos x="connsiteX2224" y="connsiteY2224"/>
                    </a:cxn>
                    <a:cxn ang="0">
                      <a:pos x="connsiteX2225" y="connsiteY2225"/>
                    </a:cxn>
                    <a:cxn ang="0">
                      <a:pos x="connsiteX2226" y="connsiteY2226"/>
                    </a:cxn>
                    <a:cxn ang="0">
                      <a:pos x="connsiteX2227" y="connsiteY2227"/>
                    </a:cxn>
                    <a:cxn ang="0">
                      <a:pos x="connsiteX2228" y="connsiteY2228"/>
                    </a:cxn>
                    <a:cxn ang="0">
                      <a:pos x="connsiteX2229" y="connsiteY2229"/>
                    </a:cxn>
                    <a:cxn ang="0">
                      <a:pos x="connsiteX2230" y="connsiteY2230"/>
                    </a:cxn>
                    <a:cxn ang="0">
                      <a:pos x="connsiteX2231" y="connsiteY2231"/>
                    </a:cxn>
                    <a:cxn ang="0">
                      <a:pos x="connsiteX2232" y="connsiteY2232"/>
                    </a:cxn>
                  </a:cxnLst>
                  <a:rect l="l" t="t" r="r" b="b"/>
                  <a:pathLst>
                    <a:path w="80747" h="81173">
                      <a:moveTo>
                        <a:pt x="76456" y="23075"/>
                      </a:moveTo>
                      <a:cubicBezTo>
                        <a:pt x="76281" y="22665"/>
                        <a:pt x="75988" y="22373"/>
                        <a:pt x="75636" y="22138"/>
                      </a:cubicBezTo>
                      <a:cubicBezTo>
                        <a:pt x="75636" y="22080"/>
                        <a:pt x="75578" y="22021"/>
                        <a:pt x="75578" y="21963"/>
                      </a:cubicBezTo>
                      <a:cubicBezTo>
                        <a:pt x="75578" y="21904"/>
                        <a:pt x="75519" y="21845"/>
                        <a:pt x="75461" y="21787"/>
                      </a:cubicBezTo>
                      <a:cubicBezTo>
                        <a:pt x="75461" y="21377"/>
                        <a:pt x="75343" y="20967"/>
                        <a:pt x="75109" y="20557"/>
                      </a:cubicBezTo>
                      <a:cubicBezTo>
                        <a:pt x="74875" y="20206"/>
                        <a:pt x="74582" y="19854"/>
                        <a:pt x="74231" y="19678"/>
                      </a:cubicBezTo>
                      <a:cubicBezTo>
                        <a:pt x="74172" y="19561"/>
                        <a:pt x="74113" y="19444"/>
                        <a:pt x="74055" y="19327"/>
                      </a:cubicBezTo>
                      <a:cubicBezTo>
                        <a:pt x="73996" y="18917"/>
                        <a:pt x="73879" y="18507"/>
                        <a:pt x="73645" y="18156"/>
                      </a:cubicBezTo>
                      <a:cubicBezTo>
                        <a:pt x="73411" y="17804"/>
                        <a:pt x="73059" y="17511"/>
                        <a:pt x="72708" y="17336"/>
                      </a:cubicBezTo>
                      <a:cubicBezTo>
                        <a:pt x="72649" y="17219"/>
                        <a:pt x="72532" y="17102"/>
                        <a:pt x="72473" y="16984"/>
                      </a:cubicBezTo>
                      <a:cubicBezTo>
                        <a:pt x="72415" y="16574"/>
                        <a:pt x="72239" y="16164"/>
                        <a:pt x="72005" y="15813"/>
                      </a:cubicBezTo>
                      <a:cubicBezTo>
                        <a:pt x="71770" y="15462"/>
                        <a:pt x="71419" y="15227"/>
                        <a:pt x="71068" y="15052"/>
                      </a:cubicBezTo>
                      <a:cubicBezTo>
                        <a:pt x="70950" y="14935"/>
                        <a:pt x="70892" y="14817"/>
                        <a:pt x="70775" y="14700"/>
                      </a:cubicBezTo>
                      <a:cubicBezTo>
                        <a:pt x="70657" y="14290"/>
                        <a:pt x="70482" y="13939"/>
                        <a:pt x="70189" y="13588"/>
                      </a:cubicBezTo>
                      <a:cubicBezTo>
                        <a:pt x="69896" y="13295"/>
                        <a:pt x="69544" y="13060"/>
                        <a:pt x="69193" y="12885"/>
                      </a:cubicBezTo>
                      <a:cubicBezTo>
                        <a:pt x="69076" y="12768"/>
                        <a:pt x="69017" y="12650"/>
                        <a:pt x="68900" y="12592"/>
                      </a:cubicBezTo>
                      <a:cubicBezTo>
                        <a:pt x="68783" y="12182"/>
                        <a:pt x="68549" y="11831"/>
                        <a:pt x="68256" y="11538"/>
                      </a:cubicBezTo>
                      <a:cubicBezTo>
                        <a:pt x="67963" y="11245"/>
                        <a:pt x="67612" y="11069"/>
                        <a:pt x="67201" y="10952"/>
                      </a:cubicBezTo>
                      <a:cubicBezTo>
                        <a:pt x="67084" y="10835"/>
                        <a:pt x="66967" y="10776"/>
                        <a:pt x="66850" y="10659"/>
                      </a:cubicBezTo>
                      <a:cubicBezTo>
                        <a:pt x="66674" y="10249"/>
                        <a:pt x="66440" y="9956"/>
                        <a:pt x="66147" y="9664"/>
                      </a:cubicBezTo>
                      <a:cubicBezTo>
                        <a:pt x="65854" y="9371"/>
                        <a:pt x="65444" y="9195"/>
                        <a:pt x="65034" y="9136"/>
                      </a:cubicBezTo>
                      <a:cubicBezTo>
                        <a:pt x="64917" y="9019"/>
                        <a:pt x="64800" y="8961"/>
                        <a:pt x="64683" y="8844"/>
                      </a:cubicBezTo>
                      <a:cubicBezTo>
                        <a:pt x="64507" y="8492"/>
                        <a:pt x="64214" y="8141"/>
                        <a:pt x="63921" y="7907"/>
                      </a:cubicBezTo>
                      <a:cubicBezTo>
                        <a:pt x="63570" y="7672"/>
                        <a:pt x="63160" y="7497"/>
                        <a:pt x="62808" y="7438"/>
                      </a:cubicBezTo>
                      <a:cubicBezTo>
                        <a:pt x="62691" y="7379"/>
                        <a:pt x="62574" y="7262"/>
                        <a:pt x="62457" y="7204"/>
                      </a:cubicBezTo>
                      <a:cubicBezTo>
                        <a:pt x="62223" y="6852"/>
                        <a:pt x="61988" y="6560"/>
                        <a:pt x="61637" y="6325"/>
                      </a:cubicBezTo>
                      <a:cubicBezTo>
                        <a:pt x="61285" y="6091"/>
                        <a:pt x="60875" y="5974"/>
                        <a:pt x="60465" y="5915"/>
                      </a:cubicBezTo>
                      <a:cubicBezTo>
                        <a:pt x="60348" y="5857"/>
                        <a:pt x="60231" y="5798"/>
                        <a:pt x="60114" y="5681"/>
                      </a:cubicBezTo>
                      <a:cubicBezTo>
                        <a:pt x="59879" y="5330"/>
                        <a:pt x="59587" y="5037"/>
                        <a:pt x="59235" y="4861"/>
                      </a:cubicBezTo>
                      <a:cubicBezTo>
                        <a:pt x="58884" y="4685"/>
                        <a:pt x="58474" y="4568"/>
                        <a:pt x="58064" y="4568"/>
                      </a:cubicBezTo>
                      <a:cubicBezTo>
                        <a:pt x="57947" y="4510"/>
                        <a:pt x="57829" y="4451"/>
                        <a:pt x="57654" y="4393"/>
                      </a:cubicBezTo>
                      <a:cubicBezTo>
                        <a:pt x="57419" y="4041"/>
                        <a:pt x="57068" y="3807"/>
                        <a:pt x="56716" y="3631"/>
                      </a:cubicBezTo>
                      <a:cubicBezTo>
                        <a:pt x="56306" y="3455"/>
                        <a:pt x="55896" y="3397"/>
                        <a:pt x="55486" y="3397"/>
                      </a:cubicBezTo>
                      <a:cubicBezTo>
                        <a:pt x="55369" y="3338"/>
                        <a:pt x="55252" y="3280"/>
                        <a:pt x="55076" y="3221"/>
                      </a:cubicBezTo>
                      <a:cubicBezTo>
                        <a:pt x="54783" y="2928"/>
                        <a:pt x="54432" y="2694"/>
                        <a:pt x="54081" y="2518"/>
                      </a:cubicBezTo>
                      <a:cubicBezTo>
                        <a:pt x="53670" y="2401"/>
                        <a:pt x="53260" y="2343"/>
                        <a:pt x="52850" y="2401"/>
                      </a:cubicBezTo>
                      <a:cubicBezTo>
                        <a:pt x="52733" y="2343"/>
                        <a:pt x="52558" y="2284"/>
                        <a:pt x="52440" y="2284"/>
                      </a:cubicBezTo>
                      <a:cubicBezTo>
                        <a:pt x="52148" y="1991"/>
                        <a:pt x="51796" y="1757"/>
                        <a:pt x="51386" y="1640"/>
                      </a:cubicBezTo>
                      <a:cubicBezTo>
                        <a:pt x="50976" y="1523"/>
                        <a:pt x="50566" y="1523"/>
                        <a:pt x="50156" y="1581"/>
                      </a:cubicBezTo>
                      <a:cubicBezTo>
                        <a:pt x="50039" y="1523"/>
                        <a:pt x="49863" y="1523"/>
                        <a:pt x="49746" y="1464"/>
                      </a:cubicBezTo>
                      <a:cubicBezTo>
                        <a:pt x="49453" y="1171"/>
                        <a:pt x="49043" y="996"/>
                        <a:pt x="48633" y="937"/>
                      </a:cubicBezTo>
                      <a:cubicBezTo>
                        <a:pt x="48223" y="879"/>
                        <a:pt x="47813" y="879"/>
                        <a:pt x="47461" y="996"/>
                      </a:cubicBezTo>
                      <a:cubicBezTo>
                        <a:pt x="47286" y="996"/>
                        <a:pt x="47169" y="937"/>
                        <a:pt x="46993" y="937"/>
                      </a:cubicBezTo>
                      <a:cubicBezTo>
                        <a:pt x="46641" y="703"/>
                        <a:pt x="46290" y="527"/>
                        <a:pt x="45880" y="469"/>
                      </a:cubicBezTo>
                      <a:cubicBezTo>
                        <a:pt x="45470" y="410"/>
                        <a:pt x="45060" y="469"/>
                        <a:pt x="44708" y="586"/>
                      </a:cubicBezTo>
                      <a:cubicBezTo>
                        <a:pt x="44533" y="586"/>
                        <a:pt x="44416" y="527"/>
                        <a:pt x="44240" y="527"/>
                      </a:cubicBezTo>
                      <a:cubicBezTo>
                        <a:pt x="43888" y="293"/>
                        <a:pt x="43537" y="176"/>
                        <a:pt x="43127" y="117"/>
                      </a:cubicBezTo>
                      <a:cubicBezTo>
                        <a:pt x="42717" y="59"/>
                        <a:pt x="42307" y="176"/>
                        <a:pt x="41955" y="293"/>
                      </a:cubicBezTo>
                      <a:cubicBezTo>
                        <a:pt x="41780" y="293"/>
                        <a:pt x="41662" y="293"/>
                        <a:pt x="41487" y="293"/>
                      </a:cubicBezTo>
                      <a:cubicBezTo>
                        <a:pt x="41135" y="117"/>
                        <a:pt x="40725" y="0"/>
                        <a:pt x="40315" y="0"/>
                      </a:cubicBezTo>
                      <a:cubicBezTo>
                        <a:pt x="39905" y="0"/>
                        <a:pt x="39495" y="117"/>
                        <a:pt x="39144" y="293"/>
                      </a:cubicBezTo>
                      <a:cubicBezTo>
                        <a:pt x="38968" y="293"/>
                        <a:pt x="38792" y="293"/>
                        <a:pt x="38675" y="293"/>
                      </a:cubicBezTo>
                      <a:cubicBezTo>
                        <a:pt x="38324" y="117"/>
                        <a:pt x="37914" y="59"/>
                        <a:pt x="37504" y="59"/>
                      </a:cubicBezTo>
                      <a:cubicBezTo>
                        <a:pt x="37152" y="59"/>
                        <a:pt x="36801" y="176"/>
                        <a:pt x="36508" y="351"/>
                      </a:cubicBezTo>
                      <a:cubicBezTo>
                        <a:pt x="36449" y="351"/>
                        <a:pt x="36449" y="410"/>
                        <a:pt x="36391" y="410"/>
                      </a:cubicBezTo>
                      <a:cubicBezTo>
                        <a:pt x="36215" y="410"/>
                        <a:pt x="36039" y="410"/>
                        <a:pt x="35922" y="469"/>
                      </a:cubicBezTo>
                      <a:cubicBezTo>
                        <a:pt x="35571" y="351"/>
                        <a:pt x="35161" y="293"/>
                        <a:pt x="34751" y="351"/>
                      </a:cubicBezTo>
                      <a:cubicBezTo>
                        <a:pt x="34458" y="410"/>
                        <a:pt x="34165" y="469"/>
                        <a:pt x="33931" y="644"/>
                      </a:cubicBezTo>
                      <a:cubicBezTo>
                        <a:pt x="33813" y="703"/>
                        <a:pt x="33755" y="761"/>
                        <a:pt x="33696" y="820"/>
                      </a:cubicBezTo>
                      <a:cubicBezTo>
                        <a:pt x="33520" y="820"/>
                        <a:pt x="33345" y="879"/>
                        <a:pt x="33228" y="879"/>
                      </a:cubicBezTo>
                      <a:cubicBezTo>
                        <a:pt x="32818" y="761"/>
                        <a:pt x="32466" y="761"/>
                        <a:pt x="32056" y="820"/>
                      </a:cubicBezTo>
                      <a:cubicBezTo>
                        <a:pt x="31822" y="879"/>
                        <a:pt x="31588" y="937"/>
                        <a:pt x="31412" y="1054"/>
                      </a:cubicBezTo>
                      <a:cubicBezTo>
                        <a:pt x="31295" y="1113"/>
                        <a:pt x="31119" y="1230"/>
                        <a:pt x="31002" y="1347"/>
                      </a:cubicBezTo>
                      <a:cubicBezTo>
                        <a:pt x="30826" y="1406"/>
                        <a:pt x="30650" y="1406"/>
                        <a:pt x="30533" y="1464"/>
                      </a:cubicBezTo>
                      <a:cubicBezTo>
                        <a:pt x="30123" y="1406"/>
                        <a:pt x="29713" y="1406"/>
                        <a:pt x="29362" y="1523"/>
                      </a:cubicBezTo>
                      <a:cubicBezTo>
                        <a:pt x="29186" y="1581"/>
                        <a:pt x="29010" y="1640"/>
                        <a:pt x="28893" y="1698"/>
                      </a:cubicBezTo>
                      <a:cubicBezTo>
                        <a:pt x="28717" y="1816"/>
                        <a:pt x="28483" y="1933"/>
                        <a:pt x="28366" y="2108"/>
                      </a:cubicBezTo>
                      <a:cubicBezTo>
                        <a:pt x="28190" y="2167"/>
                        <a:pt x="28073" y="2226"/>
                        <a:pt x="27897" y="2284"/>
                      </a:cubicBezTo>
                      <a:cubicBezTo>
                        <a:pt x="27487" y="2226"/>
                        <a:pt x="27077" y="2284"/>
                        <a:pt x="26726" y="2401"/>
                      </a:cubicBezTo>
                      <a:cubicBezTo>
                        <a:pt x="26316" y="2518"/>
                        <a:pt x="26023" y="2753"/>
                        <a:pt x="25730" y="3046"/>
                      </a:cubicBezTo>
                      <a:cubicBezTo>
                        <a:pt x="25554" y="3104"/>
                        <a:pt x="25437" y="3163"/>
                        <a:pt x="25261" y="3221"/>
                      </a:cubicBezTo>
                      <a:cubicBezTo>
                        <a:pt x="24851" y="3221"/>
                        <a:pt x="24441" y="3280"/>
                        <a:pt x="24090" y="3397"/>
                      </a:cubicBezTo>
                      <a:cubicBezTo>
                        <a:pt x="23738" y="3573"/>
                        <a:pt x="23387" y="3807"/>
                        <a:pt x="23153" y="4100"/>
                      </a:cubicBezTo>
                      <a:cubicBezTo>
                        <a:pt x="23035" y="4158"/>
                        <a:pt x="22860" y="4217"/>
                        <a:pt x="22743" y="4334"/>
                      </a:cubicBezTo>
                      <a:cubicBezTo>
                        <a:pt x="22333" y="4334"/>
                        <a:pt x="21923" y="4451"/>
                        <a:pt x="21571" y="4627"/>
                      </a:cubicBezTo>
                      <a:cubicBezTo>
                        <a:pt x="21220" y="4803"/>
                        <a:pt x="20927" y="5095"/>
                        <a:pt x="20692" y="5447"/>
                      </a:cubicBezTo>
                      <a:cubicBezTo>
                        <a:pt x="20575" y="5505"/>
                        <a:pt x="20400" y="5622"/>
                        <a:pt x="20282" y="5681"/>
                      </a:cubicBezTo>
                      <a:cubicBezTo>
                        <a:pt x="19931" y="5681"/>
                        <a:pt x="19638" y="5798"/>
                        <a:pt x="19287" y="5974"/>
                      </a:cubicBezTo>
                      <a:cubicBezTo>
                        <a:pt x="19228" y="6032"/>
                        <a:pt x="19169" y="6032"/>
                        <a:pt x="19111" y="6091"/>
                      </a:cubicBezTo>
                      <a:cubicBezTo>
                        <a:pt x="18759" y="6325"/>
                        <a:pt x="18467" y="6618"/>
                        <a:pt x="18291" y="6969"/>
                      </a:cubicBezTo>
                      <a:cubicBezTo>
                        <a:pt x="18174" y="7087"/>
                        <a:pt x="17998" y="7145"/>
                        <a:pt x="17881" y="7262"/>
                      </a:cubicBezTo>
                      <a:cubicBezTo>
                        <a:pt x="17588" y="7321"/>
                        <a:pt x="17354" y="7379"/>
                        <a:pt x="17061" y="7497"/>
                      </a:cubicBezTo>
                      <a:cubicBezTo>
                        <a:pt x="16944" y="7555"/>
                        <a:pt x="16826" y="7614"/>
                        <a:pt x="16768" y="7672"/>
                      </a:cubicBezTo>
                      <a:cubicBezTo>
                        <a:pt x="16416" y="7907"/>
                        <a:pt x="16182" y="8199"/>
                        <a:pt x="16006" y="8551"/>
                      </a:cubicBezTo>
                      <a:cubicBezTo>
                        <a:pt x="15889" y="8668"/>
                        <a:pt x="15772" y="8726"/>
                        <a:pt x="15596" y="8844"/>
                      </a:cubicBezTo>
                      <a:cubicBezTo>
                        <a:pt x="15362" y="8902"/>
                        <a:pt x="15186" y="8961"/>
                        <a:pt x="14952" y="9078"/>
                      </a:cubicBezTo>
                      <a:cubicBezTo>
                        <a:pt x="14776" y="9136"/>
                        <a:pt x="14659" y="9254"/>
                        <a:pt x="14483" y="9371"/>
                      </a:cubicBezTo>
                      <a:cubicBezTo>
                        <a:pt x="14191" y="9605"/>
                        <a:pt x="13956" y="9956"/>
                        <a:pt x="13781" y="10308"/>
                      </a:cubicBezTo>
                      <a:cubicBezTo>
                        <a:pt x="13663" y="10425"/>
                        <a:pt x="13546" y="10542"/>
                        <a:pt x="13429" y="10659"/>
                      </a:cubicBezTo>
                      <a:cubicBezTo>
                        <a:pt x="13253" y="10718"/>
                        <a:pt x="13136" y="10776"/>
                        <a:pt x="12960" y="10835"/>
                      </a:cubicBezTo>
                      <a:cubicBezTo>
                        <a:pt x="12726" y="10952"/>
                        <a:pt x="12550" y="11069"/>
                        <a:pt x="12375" y="11245"/>
                      </a:cubicBezTo>
                      <a:cubicBezTo>
                        <a:pt x="12082" y="11538"/>
                        <a:pt x="11847" y="11889"/>
                        <a:pt x="11730" y="12240"/>
                      </a:cubicBezTo>
                      <a:cubicBezTo>
                        <a:pt x="11613" y="12358"/>
                        <a:pt x="11496" y="12475"/>
                        <a:pt x="11379" y="12592"/>
                      </a:cubicBezTo>
                      <a:cubicBezTo>
                        <a:pt x="11262" y="12650"/>
                        <a:pt x="11203" y="12650"/>
                        <a:pt x="11086" y="12709"/>
                      </a:cubicBezTo>
                      <a:cubicBezTo>
                        <a:pt x="10793" y="12826"/>
                        <a:pt x="10559" y="13060"/>
                        <a:pt x="10383" y="13236"/>
                      </a:cubicBezTo>
                      <a:cubicBezTo>
                        <a:pt x="10090" y="13529"/>
                        <a:pt x="9915" y="13880"/>
                        <a:pt x="9797" y="14290"/>
                      </a:cubicBezTo>
                      <a:cubicBezTo>
                        <a:pt x="9680" y="14407"/>
                        <a:pt x="9563" y="14525"/>
                        <a:pt x="9504" y="14642"/>
                      </a:cubicBezTo>
                      <a:cubicBezTo>
                        <a:pt x="9446" y="14642"/>
                        <a:pt x="9446" y="14700"/>
                        <a:pt x="9387" y="14700"/>
                      </a:cubicBezTo>
                      <a:cubicBezTo>
                        <a:pt x="9036" y="14876"/>
                        <a:pt x="8802" y="15110"/>
                        <a:pt x="8567" y="15403"/>
                      </a:cubicBezTo>
                      <a:cubicBezTo>
                        <a:pt x="8333" y="15696"/>
                        <a:pt x="8157" y="16106"/>
                        <a:pt x="8099" y="16457"/>
                      </a:cubicBezTo>
                      <a:cubicBezTo>
                        <a:pt x="7982" y="16574"/>
                        <a:pt x="7923" y="16750"/>
                        <a:pt x="7806" y="16867"/>
                      </a:cubicBezTo>
                      <a:cubicBezTo>
                        <a:pt x="7454" y="17043"/>
                        <a:pt x="7161" y="17336"/>
                        <a:pt x="6927" y="17687"/>
                      </a:cubicBezTo>
                      <a:cubicBezTo>
                        <a:pt x="6693" y="18039"/>
                        <a:pt x="6576" y="18390"/>
                        <a:pt x="6517" y="18800"/>
                      </a:cubicBezTo>
                      <a:cubicBezTo>
                        <a:pt x="6459" y="18917"/>
                        <a:pt x="6341" y="19093"/>
                        <a:pt x="6283" y="19210"/>
                      </a:cubicBezTo>
                      <a:cubicBezTo>
                        <a:pt x="5931" y="19444"/>
                        <a:pt x="5638" y="19737"/>
                        <a:pt x="5463" y="20088"/>
                      </a:cubicBezTo>
                      <a:cubicBezTo>
                        <a:pt x="5228" y="20440"/>
                        <a:pt x="5170" y="20850"/>
                        <a:pt x="5111" y="21260"/>
                      </a:cubicBezTo>
                      <a:cubicBezTo>
                        <a:pt x="5053" y="21377"/>
                        <a:pt x="4936" y="21553"/>
                        <a:pt x="4877" y="21670"/>
                      </a:cubicBezTo>
                      <a:cubicBezTo>
                        <a:pt x="4526" y="21904"/>
                        <a:pt x="4291" y="22197"/>
                        <a:pt x="4116" y="22607"/>
                      </a:cubicBezTo>
                      <a:cubicBezTo>
                        <a:pt x="3940" y="22958"/>
                        <a:pt x="3881" y="23368"/>
                        <a:pt x="3881" y="23778"/>
                      </a:cubicBezTo>
                      <a:cubicBezTo>
                        <a:pt x="3823" y="23895"/>
                        <a:pt x="3764" y="24071"/>
                        <a:pt x="3706" y="24188"/>
                      </a:cubicBezTo>
                      <a:cubicBezTo>
                        <a:pt x="3413" y="24481"/>
                        <a:pt x="3120" y="24774"/>
                        <a:pt x="3003" y="25184"/>
                      </a:cubicBezTo>
                      <a:cubicBezTo>
                        <a:pt x="2827" y="25594"/>
                        <a:pt x="2768" y="26004"/>
                        <a:pt x="2827" y="26414"/>
                      </a:cubicBezTo>
                      <a:cubicBezTo>
                        <a:pt x="2768" y="26531"/>
                        <a:pt x="2710" y="26706"/>
                        <a:pt x="2651" y="26824"/>
                      </a:cubicBezTo>
                      <a:cubicBezTo>
                        <a:pt x="2358" y="27116"/>
                        <a:pt x="2124" y="27468"/>
                        <a:pt x="2007" y="27878"/>
                      </a:cubicBezTo>
                      <a:cubicBezTo>
                        <a:pt x="1890" y="28288"/>
                        <a:pt x="1831" y="28698"/>
                        <a:pt x="1948" y="29108"/>
                      </a:cubicBezTo>
                      <a:cubicBezTo>
                        <a:pt x="1890" y="29225"/>
                        <a:pt x="1890" y="29401"/>
                        <a:pt x="1831" y="29518"/>
                      </a:cubicBezTo>
                      <a:cubicBezTo>
                        <a:pt x="1538" y="29810"/>
                        <a:pt x="1363" y="30162"/>
                        <a:pt x="1245" y="30572"/>
                      </a:cubicBezTo>
                      <a:cubicBezTo>
                        <a:pt x="1128" y="30982"/>
                        <a:pt x="1128" y="31392"/>
                        <a:pt x="1245" y="31802"/>
                      </a:cubicBezTo>
                      <a:cubicBezTo>
                        <a:pt x="1245" y="31919"/>
                        <a:pt x="1187" y="32095"/>
                        <a:pt x="1128" y="32212"/>
                      </a:cubicBezTo>
                      <a:cubicBezTo>
                        <a:pt x="894" y="32563"/>
                        <a:pt x="718" y="32915"/>
                        <a:pt x="601" y="33325"/>
                      </a:cubicBezTo>
                      <a:cubicBezTo>
                        <a:pt x="542" y="33734"/>
                        <a:pt x="542" y="34144"/>
                        <a:pt x="718" y="34554"/>
                      </a:cubicBezTo>
                      <a:cubicBezTo>
                        <a:pt x="718" y="34672"/>
                        <a:pt x="660" y="34847"/>
                        <a:pt x="660" y="34964"/>
                      </a:cubicBezTo>
                      <a:cubicBezTo>
                        <a:pt x="425" y="35316"/>
                        <a:pt x="250" y="35726"/>
                        <a:pt x="250" y="36136"/>
                      </a:cubicBezTo>
                      <a:cubicBezTo>
                        <a:pt x="191" y="36546"/>
                        <a:pt x="250" y="36956"/>
                        <a:pt x="425" y="37366"/>
                      </a:cubicBezTo>
                      <a:cubicBezTo>
                        <a:pt x="425" y="37483"/>
                        <a:pt x="425" y="37658"/>
                        <a:pt x="367" y="37776"/>
                      </a:cubicBezTo>
                      <a:cubicBezTo>
                        <a:pt x="132" y="38127"/>
                        <a:pt x="15" y="38537"/>
                        <a:pt x="15" y="38947"/>
                      </a:cubicBezTo>
                      <a:cubicBezTo>
                        <a:pt x="15" y="39357"/>
                        <a:pt x="74" y="39767"/>
                        <a:pt x="250" y="40118"/>
                      </a:cubicBezTo>
                      <a:cubicBezTo>
                        <a:pt x="250" y="40235"/>
                        <a:pt x="250" y="40411"/>
                        <a:pt x="250" y="40528"/>
                      </a:cubicBezTo>
                      <a:cubicBezTo>
                        <a:pt x="74" y="40880"/>
                        <a:pt x="-43" y="41290"/>
                        <a:pt x="15" y="41758"/>
                      </a:cubicBezTo>
                      <a:cubicBezTo>
                        <a:pt x="15" y="42168"/>
                        <a:pt x="132" y="42578"/>
                        <a:pt x="367" y="42929"/>
                      </a:cubicBezTo>
                      <a:cubicBezTo>
                        <a:pt x="367" y="43105"/>
                        <a:pt x="367" y="43222"/>
                        <a:pt x="425" y="43398"/>
                      </a:cubicBezTo>
                      <a:cubicBezTo>
                        <a:pt x="250" y="43808"/>
                        <a:pt x="191" y="44218"/>
                        <a:pt x="250" y="44628"/>
                      </a:cubicBezTo>
                      <a:cubicBezTo>
                        <a:pt x="308" y="45038"/>
                        <a:pt x="425" y="45448"/>
                        <a:pt x="660" y="45799"/>
                      </a:cubicBezTo>
                      <a:cubicBezTo>
                        <a:pt x="660" y="45975"/>
                        <a:pt x="718" y="46092"/>
                        <a:pt x="718" y="46268"/>
                      </a:cubicBezTo>
                      <a:cubicBezTo>
                        <a:pt x="601" y="46678"/>
                        <a:pt x="542" y="47088"/>
                        <a:pt x="601" y="47498"/>
                      </a:cubicBezTo>
                      <a:cubicBezTo>
                        <a:pt x="660" y="47908"/>
                        <a:pt x="835" y="48318"/>
                        <a:pt x="1128" y="48610"/>
                      </a:cubicBezTo>
                      <a:cubicBezTo>
                        <a:pt x="1128" y="48728"/>
                        <a:pt x="1187" y="48903"/>
                        <a:pt x="1245" y="49020"/>
                      </a:cubicBezTo>
                      <a:cubicBezTo>
                        <a:pt x="1128" y="49430"/>
                        <a:pt x="1128" y="49840"/>
                        <a:pt x="1245" y="50250"/>
                      </a:cubicBezTo>
                      <a:cubicBezTo>
                        <a:pt x="1363" y="50660"/>
                        <a:pt x="1538" y="51012"/>
                        <a:pt x="1831" y="51363"/>
                      </a:cubicBezTo>
                      <a:cubicBezTo>
                        <a:pt x="1890" y="51480"/>
                        <a:pt x="1890" y="51656"/>
                        <a:pt x="1948" y="51773"/>
                      </a:cubicBezTo>
                      <a:cubicBezTo>
                        <a:pt x="1890" y="52183"/>
                        <a:pt x="1890" y="52593"/>
                        <a:pt x="2007" y="53003"/>
                      </a:cubicBezTo>
                      <a:cubicBezTo>
                        <a:pt x="2124" y="53413"/>
                        <a:pt x="2358" y="53764"/>
                        <a:pt x="2651" y="54057"/>
                      </a:cubicBezTo>
                      <a:cubicBezTo>
                        <a:pt x="2710" y="54174"/>
                        <a:pt x="2710" y="54291"/>
                        <a:pt x="2768" y="54409"/>
                      </a:cubicBezTo>
                      <a:cubicBezTo>
                        <a:pt x="2710" y="54818"/>
                        <a:pt x="2768" y="55228"/>
                        <a:pt x="2944" y="55638"/>
                      </a:cubicBezTo>
                      <a:cubicBezTo>
                        <a:pt x="3120" y="56048"/>
                        <a:pt x="3354" y="56341"/>
                        <a:pt x="3706" y="56634"/>
                      </a:cubicBezTo>
                      <a:cubicBezTo>
                        <a:pt x="3764" y="56751"/>
                        <a:pt x="3823" y="56868"/>
                        <a:pt x="3881" y="56985"/>
                      </a:cubicBezTo>
                      <a:cubicBezTo>
                        <a:pt x="3881" y="57395"/>
                        <a:pt x="3940" y="57805"/>
                        <a:pt x="4116" y="58215"/>
                      </a:cubicBezTo>
                      <a:cubicBezTo>
                        <a:pt x="4291" y="58625"/>
                        <a:pt x="4584" y="58918"/>
                        <a:pt x="4936" y="59152"/>
                      </a:cubicBezTo>
                      <a:cubicBezTo>
                        <a:pt x="4994" y="59211"/>
                        <a:pt x="4994" y="59270"/>
                        <a:pt x="4994" y="59328"/>
                      </a:cubicBezTo>
                      <a:cubicBezTo>
                        <a:pt x="5053" y="59387"/>
                        <a:pt x="5053" y="59445"/>
                        <a:pt x="5111" y="59504"/>
                      </a:cubicBezTo>
                      <a:cubicBezTo>
                        <a:pt x="5111" y="59914"/>
                        <a:pt x="5228" y="60324"/>
                        <a:pt x="5463" y="60734"/>
                      </a:cubicBezTo>
                      <a:cubicBezTo>
                        <a:pt x="5697" y="61085"/>
                        <a:pt x="5990" y="61437"/>
                        <a:pt x="6341" y="61612"/>
                      </a:cubicBezTo>
                      <a:cubicBezTo>
                        <a:pt x="6400" y="61729"/>
                        <a:pt x="6459" y="61846"/>
                        <a:pt x="6576" y="61964"/>
                      </a:cubicBezTo>
                      <a:cubicBezTo>
                        <a:pt x="6634" y="62374"/>
                        <a:pt x="6751" y="62784"/>
                        <a:pt x="6986" y="63135"/>
                      </a:cubicBezTo>
                      <a:cubicBezTo>
                        <a:pt x="7220" y="63486"/>
                        <a:pt x="7572" y="63779"/>
                        <a:pt x="7923" y="63955"/>
                      </a:cubicBezTo>
                      <a:cubicBezTo>
                        <a:pt x="7982" y="64072"/>
                        <a:pt x="8099" y="64189"/>
                        <a:pt x="8157" y="64248"/>
                      </a:cubicBezTo>
                      <a:cubicBezTo>
                        <a:pt x="8216" y="64658"/>
                        <a:pt x="8392" y="65068"/>
                        <a:pt x="8626" y="65360"/>
                      </a:cubicBezTo>
                      <a:cubicBezTo>
                        <a:pt x="8860" y="65712"/>
                        <a:pt x="9212" y="65946"/>
                        <a:pt x="9563" y="66122"/>
                      </a:cubicBezTo>
                      <a:cubicBezTo>
                        <a:pt x="9680" y="66239"/>
                        <a:pt x="9739" y="66356"/>
                        <a:pt x="9856" y="66473"/>
                      </a:cubicBezTo>
                      <a:cubicBezTo>
                        <a:pt x="9973" y="66883"/>
                        <a:pt x="10149" y="67235"/>
                        <a:pt x="10442" y="67586"/>
                      </a:cubicBezTo>
                      <a:cubicBezTo>
                        <a:pt x="10735" y="67879"/>
                        <a:pt x="11086" y="68113"/>
                        <a:pt x="11437" y="68289"/>
                      </a:cubicBezTo>
                      <a:cubicBezTo>
                        <a:pt x="11555" y="68406"/>
                        <a:pt x="11613" y="68523"/>
                        <a:pt x="11730" y="68582"/>
                      </a:cubicBezTo>
                      <a:cubicBezTo>
                        <a:pt x="11847" y="68992"/>
                        <a:pt x="12082" y="69343"/>
                        <a:pt x="12375" y="69636"/>
                      </a:cubicBezTo>
                      <a:cubicBezTo>
                        <a:pt x="12668" y="69929"/>
                        <a:pt x="13019" y="70104"/>
                        <a:pt x="13429" y="70222"/>
                      </a:cubicBezTo>
                      <a:cubicBezTo>
                        <a:pt x="13546" y="70339"/>
                        <a:pt x="13663" y="70397"/>
                        <a:pt x="13781" y="70514"/>
                      </a:cubicBezTo>
                      <a:cubicBezTo>
                        <a:pt x="13956" y="70924"/>
                        <a:pt x="14191" y="71217"/>
                        <a:pt x="14483" y="71510"/>
                      </a:cubicBezTo>
                      <a:cubicBezTo>
                        <a:pt x="14835" y="71803"/>
                        <a:pt x="15186" y="71979"/>
                        <a:pt x="15596" y="72037"/>
                      </a:cubicBezTo>
                      <a:cubicBezTo>
                        <a:pt x="15714" y="72154"/>
                        <a:pt x="15831" y="72213"/>
                        <a:pt x="15948" y="72330"/>
                      </a:cubicBezTo>
                      <a:cubicBezTo>
                        <a:pt x="16124" y="72681"/>
                        <a:pt x="16416" y="73033"/>
                        <a:pt x="16709" y="73267"/>
                      </a:cubicBezTo>
                      <a:cubicBezTo>
                        <a:pt x="17061" y="73501"/>
                        <a:pt x="17471" y="73677"/>
                        <a:pt x="17881" y="73736"/>
                      </a:cubicBezTo>
                      <a:cubicBezTo>
                        <a:pt x="17998" y="73794"/>
                        <a:pt x="18115" y="73911"/>
                        <a:pt x="18232" y="73970"/>
                      </a:cubicBezTo>
                      <a:cubicBezTo>
                        <a:pt x="18467" y="74321"/>
                        <a:pt x="18701" y="74614"/>
                        <a:pt x="19052" y="74848"/>
                      </a:cubicBezTo>
                      <a:cubicBezTo>
                        <a:pt x="19404" y="75083"/>
                        <a:pt x="19814" y="75200"/>
                        <a:pt x="20224" y="75258"/>
                      </a:cubicBezTo>
                      <a:cubicBezTo>
                        <a:pt x="20341" y="75317"/>
                        <a:pt x="20458" y="75375"/>
                        <a:pt x="20575" y="75493"/>
                      </a:cubicBezTo>
                      <a:cubicBezTo>
                        <a:pt x="20810" y="75844"/>
                        <a:pt x="21102" y="76137"/>
                        <a:pt x="21512" y="76313"/>
                      </a:cubicBezTo>
                      <a:cubicBezTo>
                        <a:pt x="21864" y="76488"/>
                        <a:pt x="22274" y="76605"/>
                        <a:pt x="22684" y="76605"/>
                      </a:cubicBezTo>
                      <a:cubicBezTo>
                        <a:pt x="22801" y="76664"/>
                        <a:pt x="22918" y="76722"/>
                        <a:pt x="23035" y="76781"/>
                      </a:cubicBezTo>
                      <a:cubicBezTo>
                        <a:pt x="23270" y="77132"/>
                        <a:pt x="23621" y="77367"/>
                        <a:pt x="23973" y="77542"/>
                      </a:cubicBezTo>
                      <a:cubicBezTo>
                        <a:pt x="24383" y="77718"/>
                        <a:pt x="24793" y="77777"/>
                        <a:pt x="25203" y="77777"/>
                      </a:cubicBezTo>
                      <a:cubicBezTo>
                        <a:pt x="25320" y="77835"/>
                        <a:pt x="25437" y="77894"/>
                        <a:pt x="25613" y="77952"/>
                      </a:cubicBezTo>
                      <a:cubicBezTo>
                        <a:pt x="25906" y="78245"/>
                        <a:pt x="26257" y="78538"/>
                        <a:pt x="26609" y="78655"/>
                      </a:cubicBezTo>
                      <a:cubicBezTo>
                        <a:pt x="27019" y="78772"/>
                        <a:pt x="27429" y="78831"/>
                        <a:pt x="27839" y="78772"/>
                      </a:cubicBezTo>
                      <a:cubicBezTo>
                        <a:pt x="27956" y="78831"/>
                        <a:pt x="28132" y="78889"/>
                        <a:pt x="28249" y="78889"/>
                      </a:cubicBezTo>
                      <a:cubicBezTo>
                        <a:pt x="28542" y="79182"/>
                        <a:pt x="28893" y="79417"/>
                        <a:pt x="29303" y="79534"/>
                      </a:cubicBezTo>
                      <a:cubicBezTo>
                        <a:pt x="29713" y="79651"/>
                        <a:pt x="30123" y="79651"/>
                        <a:pt x="30533" y="79592"/>
                      </a:cubicBezTo>
                      <a:cubicBezTo>
                        <a:pt x="30650" y="79651"/>
                        <a:pt x="30826" y="79651"/>
                        <a:pt x="30943" y="79709"/>
                      </a:cubicBezTo>
                      <a:cubicBezTo>
                        <a:pt x="31236" y="80002"/>
                        <a:pt x="31646" y="80178"/>
                        <a:pt x="32056" y="80236"/>
                      </a:cubicBezTo>
                      <a:cubicBezTo>
                        <a:pt x="32466" y="80295"/>
                        <a:pt x="32876" y="80295"/>
                        <a:pt x="33286" y="80178"/>
                      </a:cubicBezTo>
                      <a:cubicBezTo>
                        <a:pt x="33462" y="80178"/>
                        <a:pt x="33579" y="80236"/>
                        <a:pt x="33755" y="80236"/>
                      </a:cubicBezTo>
                      <a:cubicBezTo>
                        <a:pt x="34106" y="80471"/>
                        <a:pt x="34458" y="80646"/>
                        <a:pt x="34868" y="80705"/>
                      </a:cubicBezTo>
                      <a:cubicBezTo>
                        <a:pt x="35278" y="80764"/>
                        <a:pt x="35688" y="80705"/>
                        <a:pt x="36039" y="80588"/>
                      </a:cubicBezTo>
                      <a:cubicBezTo>
                        <a:pt x="36215" y="80588"/>
                        <a:pt x="36332" y="80646"/>
                        <a:pt x="36508" y="80646"/>
                      </a:cubicBezTo>
                      <a:cubicBezTo>
                        <a:pt x="36859" y="80881"/>
                        <a:pt x="37269" y="80998"/>
                        <a:pt x="37679" y="81056"/>
                      </a:cubicBezTo>
                      <a:cubicBezTo>
                        <a:pt x="38089" y="81115"/>
                        <a:pt x="38499" y="80998"/>
                        <a:pt x="38851" y="80881"/>
                      </a:cubicBezTo>
                      <a:cubicBezTo>
                        <a:pt x="39027" y="80881"/>
                        <a:pt x="39144" y="80881"/>
                        <a:pt x="39319" y="80881"/>
                      </a:cubicBezTo>
                      <a:cubicBezTo>
                        <a:pt x="39671" y="81056"/>
                        <a:pt x="40081" y="81174"/>
                        <a:pt x="40491" y="81174"/>
                      </a:cubicBezTo>
                      <a:cubicBezTo>
                        <a:pt x="40901" y="81174"/>
                        <a:pt x="41311" y="81056"/>
                        <a:pt x="41662" y="80881"/>
                      </a:cubicBezTo>
                      <a:cubicBezTo>
                        <a:pt x="41838" y="80881"/>
                        <a:pt x="41955" y="80881"/>
                        <a:pt x="42131" y="80881"/>
                      </a:cubicBezTo>
                      <a:cubicBezTo>
                        <a:pt x="42483" y="81056"/>
                        <a:pt x="42893" y="81115"/>
                        <a:pt x="43303" y="81115"/>
                      </a:cubicBezTo>
                      <a:cubicBezTo>
                        <a:pt x="43654" y="81115"/>
                        <a:pt x="44006" y="80998"/>
                        <a:pt x="44357" y="80822"/>
                      </a:cubicBezTo>
                      <a:cubicBezTo>
                        <a:pt x="44416" y="80822"/>
                        <a:pt x="44416" y="80764"/>
                        <a:pt x="44474" y="80764"/>
                      </a:cubicBezTo>
                      <a:cubicBezTo>
                        <a:pt x="44650" y="80764"/>
                        <a:pt x="44767" y="80705"/>
                        <a:pt x="44943" y="80705"/>
                      </a:cubicBezTo>
                      <a:cubicBezTo>
                        <a:pt x="45294" y="80822"/>
                        <a:pt x="45704" y="80881"/>
                        <a:pt x="46114" y="80822"/>
                      </a:cubicBezTo>
                      <a:cubicBezTo>
                        <a:pt x="46407" y="80764"/>
                        <a:pt x="46700" y="80705"/>
                        <a:pt x="46934" y="80529"/>
                      </a:cubicBezTo>
                      <a:cubicBezTo>
                        <a:pt x="47051" y="80471"/>
                        <a:pt x="47110" y="80412"/>
                        <a:pt x="47169" y="80354"/>
                      </a:cubicBezTo>
                      <a:cubicBezTo>
                        <a:pt x="47344" y="80354"/>
                        <a:pt x="47461" y="80295"/>
                        <a:pt x="47637" y="80295"/>
                      </a:cubicBezTo>
                      <a:cubicBezTo>
                        <a:pt x="48047" y="80412"/>
                        <a:pt x="48457" y="80412"/>
                        <a:pt x="48809" y="80354"/>
                      </a:cubicBezTo>
                      <a:cubicBezTo>
                        <a:pt x="49043" y="80295"/>
                        <a:pt x="49277" y="80236"/>
                        <a:pt x="49453" y="80119"/>
                      </a:cubicBezTo>
                      <a:cubicBezTo>
                        <a:pt x="49570" y="80061"/>
                        <a:pt x="49746" y="79944"/>
                        <a:pt x="49863" y="79827"/>
                      </a:cubicBezTo>
                      <a:cubicBezTo>
                        <a:pt x="50039" y="79768"/>
                        <a:pt x="50156" y="79768"/>
                        <a:pt x="50332" y="79709"/>
                      </a:cubicBezTo>
                      <a:cubicBezTo>
                        <a:pt x="50742" y="79768"/>
                        <a:pt x="51152" y="79768"/>
                        <a:pt x="51503" y="79651"/>
                      </a:cubicBezTo>
                      <a:cubicBezTo>
                        <a:pt x="51679" y="79592"/>
                        <a:pt x="51855" y="79534"/>
                        <a:pt x="51972" y="79475"/>
                      </a:cubicBezTo>
                      <a:cubicBezTo>
                        <a:pt x="52148" y="79358"/>
                        <a:pt x="52382" y="79241"/>
                        <a:pt x="52499" y="79065"/>
                      </a:cubicBezTo>
                      <a:cubicBezTo>
                        <a:pt x="52675" y="79007"/>
                        <a:pt x="52792" y="78948"/>
                        <a:pt x="52968" y="78889"/>
                      </a:cubicBezTo>
                      <a:cubicBezTo>
                        <a:pt x="53378" y="78948"/>
                        <a:pt x="53788" y="78889"/>
                        <a:pt x="54139" y="78772"/>
                      </a:cubicBezTo>
                      <a:cubicBezTo>
                        <a:pt x="54256" y="78714"/>
                        <a:pt x="54373" y="78714"/>
                        <a:pt x="54491" y="78655"/>
                      </a:cubicBezTo>
                      <a:cubicBezTo>
                        <a:pt x="54725" y="78538"/>
                        <a:pt x="54959" y="78362"/>
                        <a:pt x="55135" y="78128"/>
                      </a:cubicBezTo>
                      <a:cubicBezTo>
                        <a:pt x="55311" y="78070"/>
                        <a:pt x="55428" y="78011"/>
                        <a:pt x="55604" y="77952"/>
                      </a:cubicBezTo>
                      <a:cubicBezTo>
                        <a:pt x="56014" y="77952"/>
                        <a:pt x="56424" y="77894"/>
                        <a:pt x="56775" y="77777"/>
                      </a:cubicBezTo>
                      <a:cubicBezTo>
                        <a:pt x="56834" y="77777"/>
                        <a:pt x="56892" y="77718"/>
                        <a:pt x="56951" y="77718"/>
                      </a:cubicBezTo>
                      <a:cubicBezTo>
                        <a:pt x="57244" y="77542"/>
                        <a:pt x="57536" y="77308"/>
                        <a:pt x="57712" y="77074"/>
                      </a:cubicBezTo>
                      <a:cubicBezTo>
                        <a:pt x="57888" y="77015"/>
                        <a:pt x="58005" y="76957"/>
                        <a:pt x="58122" y="76840"/>
                      </a:cubicBezTo>
                      <a:cubicBezTo>
                        <a:pt x="58532" y="76840"/>
                        <a:pt x="58884" y="76722"/>
                        <a:pt x="59294" y="76547"/>
                      </a:cubicBezTo>
                      <a:lnTo>
                        <a:pt x="59294" y="76547"/>
                      </a:lnTo>
                      <a:cubicBezTo>
                        <a:pt x="59645" y="76371"/>
                        <a:pt x="59938" y="76078"/>
                        <a:pt x="60172" y="75727"/>
                      </a:cubicBezTo>
                      <a:cubicBezTo>
                        <a:pt x="60290" y="75668"/>
                        <a:pt x="60465" y="75551"/>
                        <a:pt x="60582" y="75493"/>
                      </a:cubicBezTo>
                      <a:cubicBezTo>
                        <a:pt x="60934" y="75493"/>
                        <a:pt x="61227" y="75375"/>
                        <a:pt x="61578" y="75200"/>
                      </a:cubicBezTo>
                      <a:cubicBezTo>
                        <a:pt x="61637" y="75141"/>
                        <a:pt x="61695" y="75141"/>
                        <a:pt x="61754" y="75083"/>
                      </a:cubicBezTo>
                      <a:cubicBezTo>
                        <a:pt x="62105" y="74848"/>
                        <a:pt x="62398" y="74556"/>
                        <a:pt x="62574" y="74204"/>
                      </a:cubicBezTo>
                      <a:cubicBezTo>
                        <a:pt x="62691" y="74146"/>
                        <a:pt x="62867" y="74028"/>
                        <a:pt x="62984" y="73911"/>
                      </a:cubicBezTo>
                      <a:cubicBezTo>
                        <a:pt x="63277" y="73853"/>
                        <a:pt x="63511" y="73794"/>
                        <a:pt x="63804" y="73677"/>
                      </a:cubicBezTo>
                      <a:cubicBezTo>
                        <a:pt x="63921" y="73618"/>
                        <a:pt x="64038" y="73560"/>
                        <a:pt x="64097" y="73501"/>
                      </a:cubicBezTo>
                      <a:cubicBezTo>
                        <a:pt x="64448" y="73267"/>
                        <a:pt x="64683" y="72974"/>
                        <a:pt x="64858" y="72623"/>
                      </a:cubicBezTo>
                      <a:cubicBezTo>
                        <a:pt x="64976" y="72506"/>
                        <a:pt x="65093" y="72447"/>
                        <a:pt x="65210" y="72330"/>
                      </a:cubicBezTo>
                      <a:cubicBezTo>
                        <a:pt x="65444" y="72271"/>
                        <a:pt x="65620" y="72213"/>
                        <a:pt x="65854" y="72096"/>
                      </a:cubicBezTo>
                      <a:cubicBezTo>
                        <a:pt x="66030" y="72037"/>
                        <a:pt x="66147" y="71920"/>
                        <a:pt x="66323" y="71803"/>
                      </a:cubicBezTo>
                      <a:cubicBezTo>
                        <a:pt x="66616" y="71569"/>
                        <a:pt x="66850" y="71217"/>
                        <a:pt x="67026" y="70866"/>
                      </a:cubicBezTo>
                      <a:cubicBezTo>
                        <a:pt x="67143" y="70749"/>
                        <a:pt x="67260" y="70632"/>
                        <a:pt x="67377" y="70514"/>
                      </a:cubicBezTo>
                      <a:cubicBezTo>
                        <a:pt x="67553" y="70456"/>
                        <a:pt x="67670" y="70397"/>
                        <a:pt x="67846" y="70339"/>
                      </a:cubicBezTo>
                      <a:cubicBezTo>
                        <a:pt x="68080" y="70222"/>
                        <a:pt x="68256" y="70104"/>
                        <a:pt x="68432" y="69929"/>
                      </a:cubicBezTo>
                      <a:cubicBezTo>
                        <a:pt x="68724" y="69636"/>
                        <a:pt x="68959" y="69285"/>
                        <a:pt x="69076" y="68933"/>
                      </a:cubicBezTo>
                      <a:cubicBezTo>
                        <a:pt x="69193" y="68816"/>
                        <a:pt x="69310" y="68699"/>
                        <a:pt x="69427" y="68582"/>
                      </a:cubicBezTo>
                      <a:cubicBezTo>
                        <a:pt x="69544" y="68523"/>
                        <a:pt x="69603" y="68523"/>
                        <a:pt x="69720" y="68465"/>
                      </a:cubicBezTo>
                      <a:cubicBezTo>
                        <a:pt x="70013" y="68347"/>
                        <a:pt x="70247" y="68113"/>
                        <a:pt x="70423" y="67937"/>
                      </a:cubicBezTo>
                      <a:cubicBezTo>
                        <a:pt x="70716" y="67645"/>
                        <a:pt x="70892" y="67293"/>
                        <a:pt x="71009" y="66883"/>
                      </a:cubicBezTo>
                      <a:cubicBezTo>
                        <a:pt x="71126" y="66766"/>
                        <a:pt x="71243" y="66649"/>
                        <a:pt x="71302" y="66532"/>
                      </a:cubicBezTo>
                      <a:cubicBezTo>
                        <a:pt x="71360" y="66532"/>
                        <a:pt x="71360" y="66473"/>
                        <a:pt x="71419" y="66473"/>
                      </a:cubicBezTo>
                      <a:cubicBezTo>
                        <a:pt x="71770" y="66298"/>
                        <a:pt x="72005" y="66063"/>
                        <a:pt x="72239" y="65771"/>
                      </a:cubicBezTo>
                      <a:cubicBezTo>
                        <a:pt x="72473" y="65419"/>
                        <a:pt x="72649" y="65068"/>
                        <a:pt x="72708" y="64716"/>
                      </a:cubicBezTo>
                      <a:cubicBezTo>
                        <a:pt x="72825" y="64599"/>
                        <a:pt x="72883" y="64482"/>
                        <a:pt x="73000" y="64306"/>
                      </a:cubicBezTo>
                      <a:cubicBezTo>
                        <a:pt x="73352" y="64131"/>
                        <a:pt x="73645" y="63838"/>
                        <a:pt x="73879" y="63486"/>
                      </a:cubicBezTo>
                      <a:cubicBezTo>
                        <a:pt x="74113" y="63135"/>
                        <a:pt x="74231" y="62784"/>
                        <a:pt x="74289" y="62374"/>
                      </a:cubicBezTo>
                      <a:cubicBezTo>
                        <a:pt x="74348" y="62257"/>
                        <a:pt x="74465" y="62081"/>
                        <a:pt x="74523" y="61964"/>
                      </a:cubicBezTo>
                      <a:cubicBezTo>
                        <a:pt x="74875" y="61729"/>
                        <a:pt x="75168" y="61437"/>
                        <a:pt x="75343" y="61085"/>
                      </a:cubicBezTo>
                      <a:cubicBezTo>
                        <a:pt x="75578" y="60734"/>
                        <a:pt x="75636" y="60324"/>
                        <a:pt x="75695" y="59914"/>
                      </a:cubicBezTo>
                      <a:cubicBezTo>
                        <a:pt x="75754" y="59797"/>
                        <a:pt x="75812" y="59621"/>
                        <a:pt x="75929" y="59504"/>
                      </a:cubicBezTo>
                      <a:cubicBezTo>
                        <a:pt x="76281" y="59270"/>
                        <a:pt x="76515" y="58977"/>
                        <a:pt x="76691" y="58567"/>
                      </a:cubicBezTo>
                      <a:cubicBezTo>
                        <a:pt x="76866" y="58215"/>
                        <a:pt x="76925" y="57805"/>
                        <a:pt x="76925" y="57395"/>
                      </a:cubicBezTo>
                      <a:cubicBezTo>
                        <a:pt x="76984" y="57278"/>
                        <a:pt x="77042" y="57103"/>
                        <a:pt x="77101" y="56985"/>
                      </a:cubicBezTo>
                      <a:cubicBezTo>
                        <a:pt x="77394" y="56693"/>
                        <a:pt x="77687" y="56400"/>
                        <a:pt x="77804" y="55990"/>
                      </a:cubicBezTo>
                      <a:cubicBezTo>
                        <a:pt x="77979" y="55580"/>
                        <a:pt x="77979" y="55170"/>
                        <a:pt x="77979" y="54818"/>
                      </a:cubicBezTo>
                      <a:cubicBezTo>
                        <a:pt x="78038" y="54701"/>
                        <a:pt x="78097" y="54526"/>
                        <a:pt x="78155" y="54409"/>
                      </a:cubicBezTo>
                      <a:cubicBezTo>
                        <a:pt x="78448" y="54116"/>
                        <a:pt x="78682" y="53764"/>
                        <a:pt x="78799" y="53354"/>
                      </a:cubicBezTo>
                      <a:cubicBezTo>
                        <a:pt x="78917" y="52944"/>
                        <a:pt x="78975" y="52534"/>
                        <a:pt x="78858" y="52124"/>
                      </a:cubicBezTo>
                      <a:cubicBezTo>
                        <a:pt x="78917" y="52007"/>
                        <a:pt x="78917" y="51832"/>
                        <a:pt x="78975" y="51714"/>
                      </a:cubicBezTo>
                      <a:cubicBezTo>
                        <a:pt x="79268" y="51422"/>
                        <a:pt x="79444" y="51070"/>
                        <a:pt x="79561" y="50660"/>
                      </a:cubicBezTo>
                      <a:cubicBezTo>
                        <a:pt x="79678" y="50250"/>
                        <a:pt x="79678" y="49840"/>
                        <a:pt x="79561" y="49430"/>
                      </a:cubicBezTo>
                      <a:cubicBezTo>
                        <a:pt x="79561" y="49313"/>
                        <a:pt x="79620" y="49138"/>
                        <a:pt x="79678" y="49020"/>
                      </a:cubicBezTo>
                      <a:cubicBezTo>
                        <a:pt x="79912" y="48669"/>
                        <a:pt x="80088" y="48318"/>
                        <a:pt x="80205" y="47908"/>
                      </a:cubicBezTo>
                      <a:cubicBezTo>
                        <a:pt x="80264" y="47498"/>
                        <a:pt x="80264" y="47088"/>
                        <a:pt x="80088" y="46678"/>
                      </a:cubicBezTo>
                      <a:cubicBezTo>
                        <a:pt x="80088" y="46561"/>
                        <a:pt x="80147" y="46385"/>
                        <a:pt x="80147" y="46268"/>
                      </a:cubicBezTo>
                      <a:cubicBezTo>
                        <a:pt x="80381" y="45916"/>
                        <a:pt x="80557" y="45565"/>
                        <a:pt x="80557" y="45096"/>
                      </a:cubicBezTo>
                      <a:cubicBezTo>
                        <a:pt x="80615" y="44686"/>
                        <a:pt x="80557" y="44276"/>
                        <a:pt x="80381" y="43867"/>
                      </a:cubicBezTo>
                      <a:cubicBezTo>
                        <a:pt x="80381" y="43749"/>
                        <a:pt x="80381" y="43574"/>
                        <a:pt x="80381" y="43457"/>
                      </a:cubicBezTo>
                      <a:cubicBezTo>
                        <a:pt x="80615" y="43105"/>
                        <a:pt x="80732" y="42695"/>
                        <a:pt x="80732" y="42285"/>
                      </a:cubicBezTo>
                      <a:cubicBezTo>
                        <a:pt x="80732" y="41875"/>
                        <a:pt x="80674" y="41465"/>
                        <a:pt x="80498" y="41114"/>
                      </a:cubicBezTo>
                      <a:cubicBezTo>
                        <a:pt x="80498" y="40997"/>
                        <a:pt x="80498" y="40821"/>
                        <a:pt x="80498" y="40704"/>
                      </a:cubicBezTo>
                      <a:cubicBezTo>
                        <a:pt x="80674" y="40353"/>
                        <a:pt x="80791" y="39943"/>
                        <a:pt x="80732" y="39474"/>
                      </a:cubicBezTo>
                      <a:cubicBezTo>
                        <a:pt x="80732" y="39064"/>
                        <a:pt x="80615" y="38654"/>
                        <a:pt x="80381" y="38303"/>
                      </a:cubicBezTo>
                      <a:cubicBezTo>
                        <a:pt x="80381" y="38127"/>
                        <a:pt x="80381" y="38010"/>
                        <a:pt x="80322" y="37834"/>
                      </a:cubicBezTo>
                      <a:cubicBezTo>
                        <a:pt x="80498" y="37424"/>
                        <a:pt x="80557" y="37014"/>
                        <a:pt x="80498" y="36604"/>
                      </a:cubicBezTo>
                      <a:cubicBezTo>
                        <a:pt x="80440" y="36194"/>
                        <a:pt x="80322" y="35784"/>
                        <a:pt x="80088" y="35433"/>
                      </a:cubicBezTo>
                      <a:cubicBezTo>
                        <a:pt x="80088" y="35257"/>
                        <a:pt x="80030" y="35140"/>
                        <a:pt x="80030" y="34964"/>
                      </a:cubicBezTo>
                      <a:cubicBezTo>
                        <a:pt x="80147" y="34554"/>
                        <a:pt x="80205" y="34144"/>
                        <a:pt x="80147" y="33734"/>
                      </a:cubicBezTo>
                      <a:cubicBezTo>
                        <a:pt x="80088" y="33325"/>
                        <a:pt x="79912" y="32915"/>
                        <a:pt x="79620" y="32622"/>
                      </a:cubicBezTo>
                      <a:cubicBezTo>
                        <a:pt x="79561" y="32505"/>
                        <a:pt x="79561" y="32329"/>
                        <a:pt x="79502" y="32212"/>
                      </a:cubicBezTo>
                      <a:cubicBezTo>
                        <a:pt x="79620" y="31802"/>
                        <a:pt x="79620" y="31392"/>
                        <a:pt x="79502" y="30982"/>
                      </a:cubicBezTo>
                      <a:cubicBezTo>
                        <a:pt x="79385" y="30572"/>
                        <a:pt x="79209" y="30220"/>
                        <a:pt x="78917" y="29869"/>
                      </a:cubicBezTo>
                      <a:cubicBezTo>
                        <a:pt x="78858" y="29752"/>
                        <a:pt x="78858" y="29576"/>
                        <a:pt x="78799" y="29459"/>
                      </a:cubicBezTo>
                      <a:cubicBezTo>
                        <a:pt x="78858" y="29049"/>
                        <a:pt x="78858" y="28639"/>
                        <a:pt x="78741" y="28229"/>
                      </a:cubicBezTo>
                      <a:cubicBezTo>
                        <a:pt x="78624" y="27819"/>
                        <a:pt x="78389" y="27468"/>
                        <a:pt x="78097" y="27175"/>
                      </a:cubicBezTo>
                      <a:cubicBezTo>
                        <a:pt x="78038" y="27058"/>
                        <a:pt x="78038" y="26941"/>
                        <a:pt x="77979" y="26824"/>
                      </a:cubicBezTo>
                      <a:cubicBezTo>
                        <a:pt x="78038" y="26414"/>
                        <a:pt x="77979" y="26004"/>
                        <a:pt x="77804" y="25594"/>
                      </a:cubicBezTo>
                      <a:cubicBezTo>
                        <a:pt x="77628" y="25184"/>
                        <a:pt x="77394" y="24891"/>
                        <a:pt x="77042" y="24598"/>
                      </a:cubicBezTo>
                      <a:cubicBezTo>
                        <a:pt x="76984" y="24481"/>
                        <a:pt x="76925" y="24364"/>
                        <a:pt x="76866" y="24247"/>
                      </a:cubicBezTo>
                      <a:cubicBezTo>
                        <a:pt x="76749" y="23895"/>
                        <a:pt x="76691" y="23485"/>
                        <a:pt x="76456" y="23075"/>
                      </a:cubicBezTo>
                      <a:close/>
                      <a:moveTo>
                        <a:pt x="71946" y="19327"/>
                      </a:moveTo>
                      <a:lnTo>
                        <a:pt x="72063" y="19268"/>
                      </a:lnTo>
                      <a:lnTo>
                        <a:pt x="71946" y="19327"/>
                      </a:lnTo>
                      <a:cubicBezTo>
                        <a:pt x="72180" y="19737"/>
                        <a:pt x="72063" y="20323"/>
                        <a:pt x="71595" y="20616"/>
                      </a:cubicBezTo>
                      <a:lnTo>
                        <a:pt x="69486" y="22021"/>
                      </a:lnTo>
                      <a:cubicBezTo>
                        <a:pt x="69017" y="22314"/>
                        <a:pt x="68432" y="22255"/>
                        <a:pt x="68197" y="21845"/>
                      </a:cubicBezTo>
                      <a:cubicBezTo>
                        <a:pt x="67904" y="21435"/>
                        <a:pt x="68080" y="20908"/>
                        <a:pt x="68549" y="20557"/>
                      </a:cubicBezTo>
                      <a:lnTo>
                        <a:pt x="70657" y="19151"/>
                      </a:lnTo>
                      <a:cubicBezTo>
                        <a:pt x="71126" y="18859"/>
                        <a:pt x="71712" y="18917"/>
                        <a:pt x="71946" y="19327"/>
                      </a:cubicBezTo>
                      <a:close/>
                      <a:moveTo>
                        <a:pt x="70365" y="17102"/>
                      </a:moveTo>
                      <a:lnTo>
                        <a:pt x="70482" y="17043"/>
                      </a:lnTo>
                      <a:lnTo>
                        <a:pt x="70365" y="17102"/>
                      </a:lnTo>
                      <a:cubicBezTo>
                        <a:pt x="70657" y="17453"/>
                        <a:pt x="70540" y="18039"/>
                        <a:pt x="70130" y="18390"/>
                      </a:cubicBezTo>
                      <a:lnTo>
                        <a:pt x="68139" y="19913"/>
                      </a:lnTo>
                      <a:cubicBezTo>
                        <a:pt x="67729" y="20264"/>
                        <a:pt x="67084" y="20206"/>
                        <a:pt x="66791" y="19854"/>
                      </a:cubicBezTo>
                      <a:cubicBezTo>
                        <a:pt x="66499" y="19503"/>
                        <a:pt x="66616" y="18917"/>
                        <a:pt x="67026" y="18566"/>
                      </a:cubicBezTo>
                      <a:lnTo>
                        <a:pt x="69017" y="17043"/>
                      </a:lnTo>
                      <a:cubicBezTo>
                        <a:pt x="69486" y="16750"/>
                        <a:pt x="70072" y="16750"/>
                        <a:pt x="70365" y="17102"/>
                      </a:cubicBezTo>
                      <a:close/>
                      <a:moveTo>
                        <a:pt x="68666" y="15052"/>
                      </a:moveTo>
                      <a:lnTo>
                        <a:pt x="68783" y="14993"/>
                      </a:lnTo>
                      <a:lnTo>
                        <a:pt x="68666" y="15052"/>
                      </a:lnTo>
                      <a:cubicBezTo>
                        <a:pt x="68959" y="15403"/>
                        <a:pt x="68900" y="15989"/>
                        <a:pt x="68490" y="16340"/>
                      </a:cubicBezTo>
                      <a:lnTo>
                        <a:pt x="66616" y="18039"/>
                      </a:lnTo>
                      <a:cubicBezTo>
                        <a:pt x="66206" y="18390"/>
                        <a:pt x="65620" y="18390"/>
                        <a:pt x="65268" y="18039"/>
                      </a:cubicBezTo>
                      <a:cubicBezTo>
                        <a:pt x="64976" y="17687"/>
                        <a:pt x="65034" y="17102"/>
                        <a:pt x="65444" y="16750"/>
                      </a:cubicBezTo>
                      <a:lnTo>
                        <a:pt x="67319" y="15052"/>
                      </a:lnTo>
                      <a:cubicBezTo>
                        <a:pt x="67787" y="14700"/>
                        <a:pt x="68373" y="14700"/>
                        <a:pt x="68666" y="15052"/>
                      </a:cubicBezTo>
                      <a:close/>
                      <a:moveTo>
                        <a:pt x="66791" y="13119"/>
                      </a:moveTo>
                      <a:lnTo>
                        <a:pt x="66909" y="13002"/>
                      </a:lnTo>
                      <a:lnTo>
                        <a:pt x="66791" y="13119"/>
                      </a:lnTo>
                      <a:cubicBezTo>
                        <a:pt x="67143" y="13470"/>
                        <a:pt x="67084" y="14056"/>
                        <a:pt x="66733" y="14466"/>
                      </a:cubicBezTo>
                      <a:lnTo>
                        <a:pt x="64976" y="16282"/>
                      </a:lnTo>
                      <a:cubicBezTo>
                        <a:pt x="64566" y="16692"/>
                        <a:pt x="63980" y="16750"/>
                        <a:pt x="63687" y="16399"/>
                      </a:cubicBezTo>
                      <a:cubicBezTo>
                        <a:pt x="63335" y="16047"/>
                        <a:pt x="63394" y="15462"/>
                        <a:pt x="63746" y="15110"/>
                      </a:cubicBezTo>
                      <a:lnTo>
                        <a:pt x="65503" y="13295"/>
                      </a:lnTo>
                      <a:cubicBezTo>
                        <a:pt x="65913" y="12826"/>
                        <a:pt x="66499" y="12768"/>
                        <a:pt x="66791" y="13119"/>
                      </a:cubicBezTo>
                      <a:close/>
                      <a:moveTo>
                        <a:pt x="64858" y="11303"/>
                      </a:moveTo>
                      <a:lnTo>
                        <a:pt x="64976" y="11186"/>
                      </a:lnTo>
                      <a:lnTo>
                        <a:pt x="64858" y="11303"/>
                      </a:lnTo>
                      <a:cubicBezTo>
                        <a:pt x="65210" y="11596"/>
                        <a:pt x="65210" y="12182"/>
                        <a:pt x="64858" y="12650"/>
                      </a:cubicBezTo>
                      <a:lnTo>
                        <a:pt x="63218" y="14583"/>
                      </a:lnTo>
                      <a:cubicBezTo>
                        <a:pt x="62867" y="14993"/>
                        <a:pt x="62281" y="15110"/>
                        <a:pt x="61930" y="14759"/>
                      </a:cubicBezTo>
                      <a:cubicBezTo>
                        <a:pt x="61578" y="14466"/>
                        <a:pt x="61578" y="13880"/>
                        <a:pt x="61930" y="13412"/>
                      </a:cubicBezTo>
                      <a:lnTo>
                        <a:pt x="63570" y="11479"/>
                      </a:lnTo>
                      <a:cubicBezTo>
                        <a:pt x="63863" y="11069"/>
                        <a:pt x="64448" y="11011"/>
                        <a:pt x="64858" y="11303"/>
                      </a:cubicBezTo>
                      <a:close/>
                      <a:moveTo>
                        <a:pt x="56892" y="56517"/>
                      </a:moveTo>
                      <a:cubicBezTo>
                        <a:pt x="56892" y="57103"/>
                        <a:pt x="56482" y="57571"/>
                        <a:pt x="55896" y="57571"/>
                      </a:cubicBezTo>
                      <a:lnTo>
                        <a:pt x="53202" y="57630"/>
                      </a:lnTo>
                      <a:cubicBezTo>
                        <a:pt x="53085" y="57630"/>
                        <a:pt x="52909" y="57571"/>
                        <a:pt x="52792" y="57454"/>
                      </a:cubicBezTo>
                      <a:cubicBezTo>
                        <a:pt x="52558" y="57220"/>
                        <a:pt x="52558" y="56810"/>
                        <a:pt x="52792" y="56575"/>
                      </a:cubicBezTo>
                      <a:lnTo>
                        <a:pt x="52792" y="56575"/>
                      </a:lnTo>
                      <a:cubicBezTo>
                        <a:pt x="52850" y="56575"/>
                        <a:pt x="52850" y="56517"/>
                        <a:pt x="52968" y="56458"/>
                      </a:cubicBezTo>
                      <a:cubicBezTo>
                        <a:pt x="53553" y="56166"/>
                        <a:pt x="54081" y="55814"/>
                        <a:pt x="54549" y="55287"/>
                      </a:cubicBezTo>
                      <a:cubicBezTo>
                        <a:pt x="55018" y="54818"/>
                        <a:pt x="55369" y="54233"/>
                        <a:pt x="55662" y="53647"/>
                      </a:cubicBezTo>
                      <a:cubicBezTo>
                        <a:pt x="55721" y="53530"/>
                        <a:pt x="55721" y="53471"/>
                        <a:pt x="55779" y="53471"/>
                      </a:cubicBezTo>
                      <a:lnTo>
                        <a:pt x="55779" y="53471"/>
                      </a:lnTo>
                      <a:cubicBezTo>
                        <a:pt x="56014" y="53237"/>
                        <a:pt x="56424" y="53237"/>
                        <a:pt x="56658" y="53471"/>
                      </a:cubicBezTo>
                      <a:cubicBezTo>
                        <a:pt x="56775" y="53589"/>
                        <a:pt x="56834" y="53764"/>
                        <a:pt x="56834" y="53940"/>
                      </a:cubicBezTo>
                      <a:lnTo>
                        <a:pt x="56834" y="53940"/>
                      </a:lnTo>
                      <a:lnTo>
                        <a:pt x="56892" y="56517"/>
                      </a:lnTo>
                      <a:close/>
                      <a:moveTo>
                        <a:pt x="58181" y="58215"/>
                      </a:moveTo>
                      <a:cubicBezTo>
                        <a:pt x="58064" y="58625"/>
                        <a:pt x="57654" y="58918"/>
                        <a:pt x="57244" y="58801"/>
                      </a:cubicBezTo>
                      <a:cubicBezTo>
                        <a:pt x="56834" y="58684"/>
                        <a:pt x="56541" y="58274"/>
                        <a:pt x="56658" y="57864"/>
                      </a:cubicBezTo>
                      <a:cubicBezTo>
                        <a:pt x="56775" y="57454"/>
                        <a:pt x="57185" y="57161"/>
                        <a:pt x="57595" y="57278"/>
                      </a:cubicBezTo>
                      <a:cubicBezTo>
                        <a:pt x="58064" y="57337"/>
                        <a:pt x="58298" y="57805"/>
                        <a:pt x="58181" y="58215"/>
                      </a:cubicBezTo>
                      <a:close/>
                      <a:moveTo>
                        <a:pt x="49160" y="55580"/>
                      </a:moveTo>
                      <a:cubicBezTo>
                        <a:pt x="49102" y="55990"/>
                        <a:pt x="49277" y="57044"/>
                        <a:pt x="48867" y="57278"/>
                      </a:cubicBezTo>
                      <a:cubicBezTo>
                        <a:pt x="48516" y="57454"/>
                        <a:pt x="47637" y="56693"/>
                        <a:pt x="47344" y="56517"/>
                      </a:cubicBezTo>
                      <a:cubicBezTo>
                        <a:pt x="46349" y="55931"/>
                        <a:pt x="45294" y="55404"/>
                        <a:pt x="44240" y="55111"/>
                      </a:cubicBezTo>
                      <a:cubicBezTo>
                        <a:pt x="43713" y="54936"/>
                        <a:pt x="43127" y="55053"/>
                        <a:pt x="42658" y="54584"/>
                      </a:cubicBezTo>
                      <a:cubicBezTo>
                        <a:pt x="43068" y="54350"/>
                        <a:pt x="43420" y="53940"/>
                        <a:pt x="43771" y="53823"/>
                      </a:cubicBezTo>
                      <a:cubicBezTo>
                        <a:pt x="44474" y="53471"/>
                        <a:pt x="45177" y="54233"/>
                        <a:pt x="45704" y="54584"/>
                      </a:cubicBezTo>
                      <a:cubicBezTo>
                        <a:pt x="45763" y="54233"/>
                        <a:pt x="45821" y="53940"/>
                        <a:pt x="45939" y="53530"/>
                      </a:cubicBezTo>
                      <a:cubicBezTo>
                        <a:pt x="45997" y="53237"/>
                        <a:pt x="46056" y="52710"/>
                        <a:pt x="46349" y="52534"/>
                      </a:cubicBezTo>
                      <a:cubicBezTo>
                        <a:pt x="46876" y="52242"/>
                        <a:pt x="47930" y="53003"/>
                        <a:pt x="48399" y="53120"/>
                      </a:cubicBezTo>
                      <a:cubicBezTo>
                        <a:pt x="48457" y="52476"/>
                        <a:pt x="48340" y="51773"/>
                        <a:pt x="48750" y="51187"/>
                      </a:cubicBezTo>
                      <a:cubicBezTo>
                        <a:pt x="49219" y="50953"/>
                        <a:pt x="49746" y="50719"/>
                        <a:pt x="50215" y="50602"/>
                      </a:cubicBezTo>
                      <a:cubicBezTo>
                        <a:pt x="50332" y="51246"/>
                        <a:pt x="49922" y="51714"/>
                        <a:pt x="49746" y="52242"/>
                      </a:cubicBezTo>
                      <a:cubicBezTo>
                        <a:pt x="49395" y="53237"/>
                        <a:pt x="49219" y="54409"/>
                        <a:pt x="49160" y="55580"/>
                      </a:cubicBezTo>
                      <a:close/>
                      <a:moveTo>
                        <a:pt x="53026" y="62784"/>
                      </a:moveTo>
                      <a:cubicBezTo>
                        <a:pt x="53026" y="63252"/>
                        <a:pt x="52675" y="63603"/>
                        <a:pt x="52265" y="63603"/>
                      </a:cubicBezTo>
                      <a:cubicBezTo>
                        <a:pt x="51855" y="63603"/>
                        <a:pt x="51445" y="63252"/>
                        <a:pt x="51445" y="62842"/>
                      </a:cubicBezTo>
                      <a:cubicBezTo>
                        <a:pt x="51445" y="62432"/>
                        <a:pt x="51796" y="62022"/>
                        <a:pt x="52206" y="62022"/>
                      </a:cubicBezTo>
                      <a:cubicBezTo>
                        <a:pt x="52675" y="61964"/>
                        <a:pt x="53026" y="62315"/>
                        <a:pt x="53026" y="62784"/>
                      </a:cubicBezTo>
                      <a:close/>
                      <a:moveTo>
                        <a:pt x="50683" y="65126"/>
                      </a:moveTo>
                      <a:cubicBezTo>
                        <a:pt x="50742" y="65185"/>
                        <a:pt x="50742" y="65302"/>
                        <a:pt x="50800" y="65302"/>
                      </a:cubicBezTo>
                      <a:lnTo>
                        <a:pt x="50800" y="65302"/>
                      </a:lnTo>
                      <a:cubicBezTo>
                        <a:pt x="50859" y="65653"/>
                        <a:pt x="50683" y="65946"/>
                        <a:pt x="50390" y="66063"/>
                      </a:cubicBezTo>
                      <a:cubicBezTo>
                        <a:pt x="50215" y="66122"/>
                        <a:pt x="50039" y="66063"/>
                        <a:pt x="49922" y="66005"/>
                      </a:cubicBezTo>
                      <a:lnTo>
                        <a:pt x="47637" y="64658"/>
                      </a:lnTo>
                      <a:cubicBezTo>
                        <a:pt x="47169" y="64365"/>
                        <a:pt x="46993" y="63721"/>
                        <a:pt x="47286" y="63252"/>
                      </a:cubicBezTo>
                      <a:lnTo>
                        <a:pt x="48633" y="60909"/>
                      </a:lnTo>
                      <a:cubicBezTo>
                        <a:pt x="48692" y="60792"/>
                        <a:pt x="48809" y="60675"/>
                        <a:pt x="48984" y="60675"/>
                      </a:cubicBezTo>
                      <a:cubicBezTo>
                        <a:pt x="49336" y="60617"/>
                        <a:pt x="49629" y="60792"/>
                        <a:pt x="49746" y="61085"/>
                      </a:cubicBezTo>
                      <a:lnTo>
                        <a:pt x="49746" y="61085"/>
                      </a:lnTo>
                      <a:cubicBezTo>
                        <a:pt x="49746" y="61144"/>
                        <a:pt x="49746" y="61202"/>
                        <a:pt x="49746" y="61319"/>
                      </a:cubicBezTo>
                      <a:cubicBezTo>
                        <a:pt x="49687" y="61964"/>
                        <a:pt x="49746" y="62666"/>
                        <a:pt x="49922" y="63311"/>
                      </a:cubicBezTo>
                      <a:cubicBezTo>
                        <a:pt x="50039" y="64014"/>
                        <a:pt x="50332" y="64599"/>
                        <a:pt x="50683" y="65126"/>
                      </a:cubicBezTo>
                      <a:close/>
                      <a:moveTo>
                        <a:pt x="24968" y="62139"/>
                      </a:moveTo>
                      <a:cubicBezTo>
                        <a:pt x="24910" y="62257"/>
                        <a:pt x="24910" y="62315"/>
                        <a:pt x="24851" y="62315"/>
                      </a:cubicBezTo>
                      <a:lnTo>
                        <a:pt x="24851" y="62315"/>
                      </a:lnTo>
                      <a:cubicBezTo>
                        <a:pt x="24617" y="62549"/>
                        <a:pt x="24207" y="62549"/>
                        <a:pt x="23973" y="62315"/>
                      </a:cubicBezTo>
                      <a:cubicBezTo>
                        <a:pt x="23855" y="62198"/>
                        <a:pt x="23797" y="62022"/>
                        <a:pt x="23797" y="61846"/>
                      </a:cubicBezTo>
                      <a:lnTo>
                        <a:pt x="23738" y="59211"/>
                      </a:lnTo>
                      <a:cubicBezTo>
                        <a:pt x="23738" y="58625"/>
                        <a:pt x="24207" y="58157"/>
                        <a:pt x="24734" y="58157"/>
                      </a:cubicBezTo>
                      <a:lnTo>
                        <a:pt x="27429" y="58098"/>
                      </a:lnTo>
                      <a:cubicBezTo>
                        <a:pt x="27546" y="58098"/>
                        <a:pt x="27722" y="58157"/>
                        <a:pt x="27839" y="58274"/>
                      </a:cubicBezTo>
                      <a:cubicBezTo>
                        <a:pt x="28073" y="58508"/>
                        <a:pt x="28073" y="58918"/>
                        <a:pt x="27839" y="59152"/>
                      </a:cubicBezTo>
                      <a:lnTo>
                        <a:pt x="27839" y="59152"/>
                      </a:lnTo>
                      <a:cubicBezTo>
                        <a:pt x="27839" y="59211"/>
                        <a:pt x="27780" y="59211"/>
                        <a:pt x="27663" y="59270"/>
                      </a:cubicBezTo>
                      <a:cubicBezTo>
                        <a:pt x="27077" y="59562"/>
                        <a:pt x="26550" y="59914"/>
                        <a:pt x="26081" y="60441"/>
                      </a:cubicBezTo>
                      <a:cubicBezTo>
                        <a:pt x="25554" y="60968"/>
                        <a:pt x="25203" y="61554"/>
                        <a:pt x="24968" y="62139"/>
                      </a:cubicBezTo>
                      <a:close/>
                      <a:moveTo>
                        <a:pt x="29713" y="71334"/>
                      </a:moveTo>
                      <a:cubicBezTo>
                        <a:pt x="29244" y="70632"/>
                        <a:pt x="29362" y="70163"/>
                        <a:pt x="30182" y="69870"/>
                      </a:cubicBezTo>
                      <a:cubicBezTo>
                        <a:pt x="31470" y="70046"/>
                        <a:pt x="30826" y="72037"/>
                        <a:pt x="29713" y="71334"/>
                      </a:cubicBezTo>
                      <a:close/>
                      <a:moveTo>
                        <a:pt x="23797" y="24949"/>
                      </a:moveTo>
                      <a:cubicBezTo>
                        <a:pt x="23797" y="24364"/>
                        <a:pt x="24207" y="23895"/>
                        <a:pt x="24793" y="23895"/>
                      </a:cubicBezTo>
                      <a:lnTo>
                        <a:pt x="27487" y="23837"/>
                      </a:lnTo>
                      <a:cubicBezTo>
                        <a:pt x="27604" y="23837"/>
                        <a:pt x="27780" y="23895"/>
                        <a:pt x="27897" y="24012"/>
                      </a:cubicBezTo>
                      <a:cubicBezTo>
                        <a:pt x="28132" y="24247"/>
                        <a:pt x="28132" y="24657"/>
                        <a:pt x="27897" y="24891"/>
                      </a:cubicBezTo>
                      <a:lnTo>
                        <a:pt x="27897" y="24891"/>
                      </a:lnTo>
                      <a:cubicBezTo>
                        <a:pt x="27839" y="24891"/>
                        <a:pt x="27839" y="24949"/>
                        <a:pt x="27722" y="25008"/>
                      </a:cubicBezTo>
                      <a:cubicBezTo>
                        <a:pt x="27136" y="25301"/>
                        <a:pt x="26609" y="25652"/>
                        <a:pt x="26140" y="26179"/>
                      </a:cubicBezTo>
                      <a:cubicBezTo>
                        <a:pt x="25671" y="26648"/>
                        <a:pt x="25320" y="27234"/>
                        <a:pt x="25027" y="27819"/>
                      </a:cubicBezTo>
                      <a:cubicBezTo>
                        <a:pt x="24968" y="27936"/>
                        <a:pt x="24968" y="27995"/>
                        <a:pt x="24910" y="27995"/>
                      </a:cubicBezTo>
                      <a:lnTo>
                        <a:pt x="24910" y="27995"/>
                      </a:lnTo>
                      <a:cubicBezTo>
                        <a:pt x="24676" y="28229"/>
                        <a:pt x="24266" y="28229"/>
                        <a:pt x="24031" y="27995"/>
                      </a:cubicBezTo>
                      <a:cubicBezTo>
                        <a:pt x="23914" y="27878"/>
                        <a:pt x="23855" y="27702"/>
                        <a:pt x="23855" y="27526"/>
                      </a:cubicBezTo>
                      <a:lnTo>
                        <a:pt x="23797" y="24949"/>
                      </a:lnTo>
                      <a:close/>
                      <a:moveTo>
                        <a:pt x="22508" y="23192"/>
                      </a:moveTo>
                      <a:cubicBezTo>
                        <a:pt x="22625" y="22782"/>
                        <a:pt x="23035" y="22490"/>
                        <a:pt x="23445" y="22607"/>
                      </a:cubicBezTo>
                      <a:cubicBezTo>
                        <a:pt x="23855" y="22724"/>
                        <a:pt x="24148" y="23134"/>
                        <a:pt x="24031" y="23544"/>
                      </a:cubicBezTo>
                      <a:cubicBezTo>
                        <a:pt x="23914" y="23954"/>
                        <a:pt x="23504" y="24247"/>
                        <a:pt x="23094" y="24130"/>
                      </a:cubicBezTo>
                      <a:cubicBezTo>
                        <a:pt x="22684" y="24071"/>
                        <a:pt x="22391" y="23602"/>
                        <a:pt x="22508" y="23192"/>
                      </a:cubicBezTo>
                      <a:close/>
                      <a:moveTo>
                        <a:pt x="30943" y="23251"/>
                      </a:moveTo>
                      <a:lnTo>
                        <a:pt x="31060" y="23192"/>
                      </a:lnTo>
                      <a:cubicBezTo>
                        <a:pt x="31412" y="23017"/>
                        <a:pt x="31880" y="23134"/>
                        <a:pt x="32056" y="23485"/>
                      </a:cubicBezTo>
                      <a:lnTo>
                        <a:pt x="32583" y="24539"/>
                      </a:lnTo>
                      <a:lnTo>
                        <a:pt x="36508" y="22490"/>
                      </a:lnTo>
                      <a:cubicBezTo>
                        <a:pt x="36859" y="22314"/>
                        <a:pt x="37328" y="22431"/>
                        <a:pt x="37504" y="22782"/>
                      </a:cubicBezTo>
                      <a:lnTo>
                        <a:pt x="37562" y="22900"/>
                      </a:lnTo>
                      <a:cubicBezTo>
                        <a:pt x="37738" y="23251"/>
                        <a:pt x="37621" y="23720"/>
                        <a:pt x="37269" y="23895"/>
                      </a:cubicBezTo>
                      <a:lnTo>
                        <a:pt x="33345" y="25945"/>
                      </a:lnTo>
                      <a:lnTo>
                        <a:pt x="33989" y="27116"/>
                      </a:lnTo>
                      <a:lnTo>
                        <a:pt x="40022" y="23954"/>
                      </a:lnTo>
                      <a:cubicBezTo>
                        <a:pt x="40374" y="23778"/>
                        <a:pt x="40842" y="23895"/>
                        <a:pt x="41018" y="24247"/>
                      </a:cubicBezTo>
                      <a:lnTo>
                        <a:pt x="41077" y="24364"/>
                      </a:lnTo>
                      <a:cubicBezTo>
                        <a:pt x="41252" y="24715"/>
                        <a:pt x="41135" y="25184"/>
                        <a:pt x="40784" y="25359"/>
                      </a:cubicBezTo>
                      <a:lnTo>
                        <a:pt x="34751" y="28522"/>
                      </a:lnTo>
                      <a:lnTo>
                        <a:pt x="35629" y="30220"/>
                      </a:lnTo>
                      <a:cubicBezTo>
                        <a:pt x="39847" y="28171"/>
                        <a:pt x="44240" y="27116"/>
                        <a:pt x="48106" y="27292"/>
                      </a:cubicBezTo>
                      <a:cubicBezTo>
                        <a:pt x="52382" y="27468"/>
                        <a:pt x="55545" y="29166"/>
                        <a:pt x="57009" y="31919"/>
                      </a:cubicBezTo>
                      <a:cubicBezTo>
                        <a:pt x="58474" y="34730"/>
                        <a:pt x="58064" y="38244"/>
                        <a:pt x="55779" y="41875"/>
                      </a:cubicBezTo>
                      <a:cubicBezTo>
                        <a:pt x="53612" y="45389"/>
                        <a:pt x="49980" y="48610"/>
                        <a:pt x="45587" y="50895"/>
                      </a:cubicBezTo>
                      <a:cubicBezTo>
                        <a:pt x="41194" y="53237"/>
                        <a:pt x="36449" y="54409"/>
                        <a:pt x="32349" y="54174"/>
                      </a:cubicBezTo>
                      <a:cubicBezTo>
                        <a:pt x="28073" y="53999"/>
                        <a:pt x="24910" y="52300"/>
                        <a:pt x="23445" y="49547"/>
                      </a:cubicBezTo>
                      <a:cubicBezTo>
                        <a:pt x="21981" y="46736"/>
                        <a:pt x="22391" y="43222"/>
                        <a:pt x="24676" y="39533"/>
                      </a:cubicBezTo>
                      <a:cubicBezTo>
                        <a:pt x="26726" y="36253"/>
                        <a:pt x="30065" y="33207"/>
                        <a:pt x="34165" y="30923"/>
                      </a:cubicBezTo>
                      <a:lnTo>
                        <a:pt x="33286" y="29225"/>
                      </a:lnTo>
                      <a:lnTo>
                        <a:pt x="27253" y="32387"/>
                      </a:lnTo>
                      <a:cubicBezTo>
                        <a:pt x="26901" y="32563"/>
                        <a:pt x="26433" y="32446"/>
                        <a:pt x="26257" y="32095"/>
                      </a:cubicBezTo>
                      <a:lnTo>
                        <a:pt x="26199" y="31977"/>
                      </a:lnTo>
                      <a:cubicBezTo>
                        <a:pt x="26023" y="31626"/>
                        <a:pt x="26140" y="31158"/>
                        <a:pt x="26491" y="30982"/>
                      </a:cubicBezTo>
                      <a:lnTo>
                        <a:pt x="32525" y="27819"/>
                      </a:lnTo>
                      <a:lnTo>
                        <a:pt x="31880" y="26648"/>
                      </a:lnTo>
                      <a:lnTo>
                        <a:pt x="27956" y="28698"/>
                      </a:lnTo>
                      <a:cubicBezTo>
                        <a:pt x="27604" y="28873"/>
                        <a:pt x="27136" y="28756"/>
                        <a:pt x="26960" y="28405"/>
                      </a:cubicBezTo>
                      <a:lnTo>
                        <a:pt x="26901" y="28288"/>
                      </a:lnTo>
                      <a:cubicBezTo>
                        <a:pt x="26726" y="27936"/>
                        <a:pt x="26843" y="27468"/>
                        <a:pt x="27194" y="27292"/>
                      </a:cubicBezTo>
                      <a:lnTo>
                        <a:pt x="31119" y="25242"/>
                      </a:lnTo>
                      <a:lnTo>
                        <a:pt x="30592" y="24188"/>
                      </a:lnTo>
                      <a:cubicBezTo>
                        <a:pt x="30416" y="23954"/>
                        <a:pt x="30592" y="23485"/>
                        <a:pt x="30943" y="23251"/>
                      </a:cubicBezTo>
                      <a:close/>
                      <a:moveTo>
                        <a:pt x="27604" y="18273"/>
                      </a:moveTo>
                      <a:cubicBezTo>
                        <a:pt x="27604" y="17863"/>
                        <a:pt x="27956" y="17453"/>
                        <a:pt x="28366" y="17453"/>
                      </a:cubicBezTo>
                      <a:cubicBezTo>
                        <a:pt x="28776" y="17453"/>
                        <a:pt x="29186" y="17804"/>
                        <a:pt x="29186" y="18214"/>
                      </a:cubicBezTo>
                      <a:cubicBezTo>
                        <a:pt x="29186" y="18683"/>
                        <a:pt x="28834" y="19034"/>
                        <a:pt x="28424" y="19034"/>
                      </a:cubicBezTo>
                      <a:cubicBezTo>
                        <a:pt x="27956" y="19093"/>
                        <a:pt x="27604" y="18741"/>
                        <a:pt x="27604" y="18273"/>
                      </a:cubicBezTo>
                      <a:close/>
                      <a:moveTo>
                        <a:pt x="30006" y="16282"/>
                      </a:moveTo>
                      <a:cubicBezTo>
                        <a:pt x="29947" y="16223"/>
                        <a:pt x="29947" y="16106"/>
                        <a:pt x="29889" y="16106"/>
                      </a:cubicBezTo>
                      <a:lnTo>
                        <a:pt x="29889" y="16047"/>
                      </a:lnTo>
                      <a:cubicBezTo>
                        <a:pt x="29830" y="15696"/>
                        <a:pt x="30006" y="15403"/>
                        <a:pt x="30299" y="15286"/>
                      </a:cubicBezTo>
                      <a:cubicBezTo>
                        <a:pt x="30475" y="15227"/>
                        <a:pt x="30650" y="15286"/>
                        <a:pt x="30767" y="15345"/>
                      </a:cubicBezTo>
                      <a:lnTo>
                        <a:pt x="33052" y="16692"/>
                      </a:lnTo>
                      <a:cubicBezTo>
                        <a:pt x="33520" y="16984"/>
                        <a:pt x="33696" y="17629"/>
                        <a:pt x="33403" y="18097"/>
                      </a:cubicBezTo>
                      <a:lnTo>
                        <a:pt x="32056" y="20440"/>
                      </a:lnTo>
                      <a:cubicBezTo>
                        <a:pt x="31998" y="20557"/>
                        <a:pt x="31880" y="20674"/>
                        <a:pt x="31705" y="20674"/>
                      </a:cubicBezTo>
                      <a:cubicBezTo>
                        <a:pt x="31353" y="20733"/>
                        <a:pt x="31060" y="20557"/>
                        <a:pt x="30943" y="20264"/>
                      </a:cubicBezTo>
                      <a:lnTo>
                        <a:pt x="30943" y="20264"/>
                      </a:lnTo>
                      <a:cubicBezTo>
                        <a:pt x="30943" y="20206"/>
                        <a:pt x="30943" y="20147"/>
                        <a:pt x="30943" y="20030"/>
                      </a:cubicBezTo>
                      <a:cubicBezTo>
                        <a:pt x="31002" y="19386"/>
                        <a:pt x="30943" y="18683"/>
                        <a:pt x="30767" y="18039"/>
                      </a:cubicBezTo>
                      <a:cubicBezTo>
                        <a:pt x="30650" y="17394"/>
                        <a:pt x="30416" y="16809"/>
                        <a:pt x="30006" y="16282"/>
                      </a:cubicBezTo>
                      <a:close/>
                      <a:moveTo>
                        <a:pt x="33638" y="13236"/>
                      </a:moveTo>
                      <a:cubicBezTo>
                        <a:pt x="34282" y="13060"/>
                        <a:pt x="34868" y="12768"/>
                        <a:pt x="35395" y="12416"/>
                      </a:cubicBezTo>
                      <a:cubicBezTo>
                        <a:pt x="35453" y="12358"/>
                        <a:pt x="35571" y="12358"/>
                        <a:pt x="35571" y="12299"/>
                      </a:cubicBezTo>
                      <a:lnTo>
                        <a:pt x="35571" y="12299"/>
                      </a:lnTo>
                      <a:cubicBezTo>
                        <a:pt x="35922" y="12240"/>
                        <a:pt x="36215" y="12416"/>
                        <a:pt x="36332" y="12709"/>
                      </a:cubicBezTo>
                      <a:cubicBezTo>
                        <a:pt x="36391" y="12885"/>
                        <a:pt x="36332" y="13060"/>
                        <a:pt x="36274" y="13178"/>
                      </a:cubicBezTo>
                      <a:lnTo>
                        <a:pt x="34926" y="15462"/>
                      </a:lnTo>
                      <a:cubicBezTo>
                        <a:pt x="34633" y="15930"/>
                        <a:pt x="34048" y="16106"/>
                        <a:pt x="33520" y="15813"/>
                      </a:cubicBezTo>
                      <a:lnTo>
                        <a:pt x="31177" y="14466"/>
                      </a:lnTo>
                      <a:cubicBezTo>
                        <a:pt x="31060" y="14407"/>
                        <a:pt x="30943" y="14290"/>
                        <a:pt x="30943" y="14115"/>
                      </a:cubicBezTo>
                      <a:cubicBezTo>
                        <a:pt x="30885" y="13763"/>
                        <a:pt x="31060" y="13470"/>
                        <a:pt x="31353" y="13353"/>
                      </a:cubicBezTo>
                      <a:lnTo>
                        <a:pt x="31353" y="13353"/>
                      </a:lnTo>
                      <a:cubicBezTo>
                        <a:pt x="31412" y="13353"/>
                        <a:pt x="31470" y="13353"/>
                        <a:pt x="31588" y="13353"/>
                      </a:cubicBezTo>
                      <a:cubicBezTo>
                        <a:pt x="32349" y="13470"/>
                        <a:pt x="32993" y="13412"/>
                        <a:pt x="33638" y="13236"/>
                      </a:cubicBezTo>
                      <a:close/>
                      <a:moveTo>
                        <a:pt x="32993" y="9839"/>
                      </a:moveTo>
                      <a:cubicBezTo>
                        <a:pt x="34516" y="10132"/>
                        <a:pt x="33228" y="12123"/>
                        <a:pt x="32466" y="11128"/>
                      </a:cubicBezTo>
                      <a:cubicBezTo>
                        <a:pt x="32115" y="10659"/>
                        <a:pt x="32232" y="10132"/>
                        <a:pt x="32993" y="9839"/>
                      </a:cubicBezTo>
                      <a:close/>
                      <a:moveTo>
                        <a:pt x="60348" y="17629"/>
                      </a:moveTo>
                      <a:cubicBezTo>
                        <a:pt x="59704" y="17863"/>
                        <a:pt x="59001" y="16926"/>
                        <a:pt x="58298" y="16340"/>
                      </a:cubicBezTo>
                      <a:cubicBezTo>
                        <a:pt x="56482" y="14935"/>
                        <a:pt x="55135" y="14173"/>
                        <a:pt x="53143" y="13236"/>
                      </a:cubicBezTo>
                      <a:cubicBezTo>
                        <a:pt x="52558" y="12943"/>
                        <a:pt x="51679" y="12533"/>
                        <a:pt x="52148" y="11831"/>
                      </a:cubicBezTo>
                      <a:cubicBezTo>
                        <a:pt x="52148" y="11772"/>
                        <a:pt x="52382" y="11479"/>
                        <a:pt x="52733" y="11421"/>
                      </a:cubicBezTo>
                      <a:cubicBezTo>
                        <a:pt x="53026" y="11362"/>
                        <a:pt x="54315" y="12065"/>
                        <a:pt x="54959" y="12416"/>
                      </a:cubicBezTo>
                      <a:cubicBezTo>
                        <a:pt x="56658" y="13353"/>
                        <a:pt x="58415" y="14466"/>
                        <a:pt x="60114" y="15872"/>
                      </a:cubicBezTo>
                      <a:cubicBezTo>
                        <a:pt x="60700" y="16340"/>
                        <a:pt x="61461" y="17219"/>
                        <a:pt x="60348" y="17629"/>
                      </a:cubicBezTo>
                      <a:close/>
                      <a:moveTo>
                        <a:pt x="62867" y="18859"/>
                      </a:moveTo>
                      <a:cubicBezTo>
                        <a:pt x="63570" y="19737"/>
                        <a:pt x="62223" y="20557"/>
                        <a:pt x="61695" y="19854"/>
                      </a:cubicBezTo>
                      <a:cubicBezTo>
                        <a:pt x="61520" y="19678"/>
                        <a:pt x="61403" y="19327"/>
                        <a:pt x="61754" y="18917"/>
                      </a:cubicBezTo>
                      <a:cubicBezTo>
                        <a:pt x="62047" y="18507"/>
                        <a:pt x="62574" y="18449"/>
                        <a:pt x="62867" y="18859"/>
                      </a:cubicBezTo>
                      <a:close/>
                      <a:moveTo>
                        <a:pt x="68373" y="35082"/>
                      </a:moveTo>
                      <a:cubicBezTo>
                        <a:pt x="68432" y="35140"/>
                        <a:pt x="68490" y="35199"/>
                        <a:pt x="68490" y="35257"/>
                      </a:cubicBezTo>
                      <a:lnTo>
                        <a:pt x="68490" y="35257"/>
                      </a:lnTo>
                      <a:cubicBezTo>
                        <a:pt x="68607" y="35609"/>
                        <a:pt x="68432" y="35901"/>
                        <a:pt x="68080" y="36019"/>
                      </a:cubicBezTo>
                      <a:cubicBezTo>
                        <a:pt x="67904" y="36077"/>
                        <a:pt x="67729" y="36019"/>
                        <a:pt x="67612" y="35960"/>
                      </a:cubicBezTo>
                      <a:lnTo>
                        <a:pt x="65327" y="34672"/>
                      </a:lnTo>
                      <a:cubicBezTo>
                        <a:pt x="64858" y="34379"/>
                        <a:pt x="64624" y="33793"/>
                        <a:pt x="64917" y="33266"/>
                      </a:cubicBezTo>
                      <a:lnTo>
                        <a:pt x="66206" y="30923"/>
                      </a:lnTo>
                      <a:cubicBezTo>
                        <a:pt x="66264" y="30806"/>
                        <a:pt x="66381" y="30689"/>
                        <a:pt x="66557" y="30689"/>
                      </a:cubicBezTo>
                      <a:cubicBezTo>
                        <a:pt x="66850" y="30572"/>
                        <a:pt x="67201" y="30806"/>
                        <a:pt x="67319" y="31099"/>
                      </a:cubicBezTo>
                      <a:lnTo>
                        <a:pt x="67319" y="31099"/>
                      </a:lnTo>
                      <a:cubicBezTo>
                        <a:pt x="67319" y="31158"/>
                        <a:pt x="67319" y="31216"/>
                        <a:pt x="67319" y="31333"/>
                      </a:cubicBezTo>
                      <a:cubicBezTo>
                        <a:pt x="67260" y="31977"/>
                        <a:pt x="67319" y="32680"/>
                        <a:pt x="67553" y="33325"/>
                      </a:cubicBezTo>
                      <a:cubicBezTo>
                        <a:pt x="67670" y="33969"/>
                        <a:pt x="67963" y="34554"/>
                        <a:pt x="68373" y="35082"/>
                      </a:cubicBezTo>
                      <a:close/>
                      <a:moveTo>
                        <a:pt x="62633" y="33266"/>
                      </a:moveTo>
                      <a:lnTo>
                        <a:pt x="60290" y="31977"/>
                      </a:lnTo>
                      <a:cubicBezTo>
                        <a:pt x="60172" y="31919"/>
                        <a:pt x="60055" y="31802"/>
                        <a:pt x="60055" y="31626"/>
                      </a:cubicBezTo>
                      <a:cubicBezTo>
                        <a:pt x="59938" y="31333"/>
                        <a:pt x="60172" y="30982"/>
                        <a:pt x="60465" y="30865"/>
                      </a:cubicBezTo>
                      <a:lnTo>
                        <a:pt x="60465" y="30865"/>
                      </a:lnTo>
                      <a:cubicBezTo>
                        <a:pt x="60524" y="30865"/>
                        <a:pt x="60582" y="30865"/>
                        <a:pt x="60700" y="30865"/>
                      </a:cubicBezTo>
                      <a:cubicBezTo>
                        <a:pt x="61344" y="30923"/>
                        <a:pt x="61988" y="30865"/>
                        <a:pt x="62633" y="30689"/>
                      </a:cubicBezTo>
                      <a:cubicBezTo>
                        <a:pt x="63277" y="30513"/>
                        <a:pt x="63863" y="30220"/>
                        <a:pt x="64390" y="29810"/>
                      </a:cubicBezTo>
                      <a:cubicBezTo>
                        <a:pt x="64448" y="29752"/>
                        <a:pt x="64507" y="29752"/>
                        <a:pt x="64566" y="29693"/>
                      </a:cubicBezTo>
                      <a:lnTo>
                        <a:pt x="64624" y="29693"/>
                      </a:lnTo>
                      <a:cubicBezTo>
                        <a:pt x="64976" y="29576"/>
                        <a:pt x="65268" y="29810"/>
                        <a:pt x="65386" y="30103"/>
                      </a:cubicBezTo>
                      <a:cubicBezTo>
                        <a:pt x="65444" y="30279"/>
                        <a:pt x="65386" y="30455"/>
                        <a:pt x="65327" y="30572"/>
                      </a:cubicBezTo>
                      <a:lnTo>
                        <a:pt x="64097" y="32856"/>
                      </a:lnTo>
                      <a:cubicBezTo>
                        <a:pt x="63746" y="33325"/>
                        <a:pt x="63101" y="33500"/>
                        <a:pt x="62633" y="33266"/>
                      </a:cubicBezTo>
                      <a:close/>
                      <a:moveTo>
                        <a:pt x="64273" y="34964"/>
                      </a:moveTo>
                      <a:cubicBezTo>
                        <a:pt x="63980" y="35257"/>
                        <a:pt x="63453" y="35316"/>
                        <a:pt x="63160" y="34964"/>
                      </a:cubicBezTo>
                      <a:cubicBezTo>
                        <a:pt x="62867" y="34672"/>
                        <a:pt x="62808" y="34144"/>
                        <a:pt x="63160" y="33852"/>
                      </a:cubicBezTo>
                      <a:cubicBezTo>
                        <a:pt x="63453" y="33559"/>
                        <a:pt x="63980" y="33500"/>
                        <a:pt x="64273" y="33852"/>
                      </a:cubicBezTo>
                      <a:cubicBezTo>
                        <a:pt x="64566" y="34144"/>
                        <a:pt x="64566" y="34672"/>
                        <a:pt x="64273" y="34964"/>
                      </a:cubicBezTo>
                      <a:close/>
                      <a:moveTo>
                        <a:pt x="66674" y="42988"/>
                      </a:moveTo>
                      <a:cubicBezTo>
                        <a:pt x="66791" y="42988"/>
                        <a:pt x="66850" y="42988"/>
                        <a:pt x="66909" y="42988"/>
                      </a:cubicBezTo>
                      <a:lnTo>
                        <a:pt x="66909" y="42988"/>
                      </a:lnTo>
                      <a:cubicBezTo>
                        <a:pt x="67260" y="43047"/>
                        <a:pt x="67436" y="43398"/>
                        <a:pt x="67377" y="43749"/>
                      </a:cubicBezTo>
                      <a:cubicBezTo>
                        <a:pt x="67319" y="43925"/>
                        <a:pt x="67201" y="44042"/>
                        <a:pt x="67084" y="44159"/>
                      </a:cubicBezTo>
                      <a:lnTo>
                        <a:pt x="64858" y="45565"/>
                      </a:lnTo>
                      <a:cubicBezTo>
                        <a:pt x="64390" y="45858"/>
                        <a:pt x="63746" y="45741"/>
                        <a:pt x="63453" y="45214"/>
                      </a:cubicBezTo>
                      <a:lnTo>
                        <a:pt x="62047" y="42929"/>
                      </a:lnTo>
                      <a:cubicBezTo>
                        <a:pt x="61988" y="42812"/>
                        <a:pt x="61930" y="42637"/>
                        <a:pt x="61988" y="42519"/>
                      </a:cubicBezTo>
                      <a:cubicBezTo>
                        <a:pt x="62047" y="42168"/>
                        <a:pt x="62398" y="41992"/>
                        <a:pt x="62691" y="42051"/>
                      </a:cubicBezTo>
                      <a:lnTo>
                        <a:pt x="62691" y="42051"/>
                      </a:lnTo>
                      <a:cubicBezTo>
                        <a:pt x="62750" y="42051"/>
                        <a:pt x="62808" y="42110"/>
                        <a:pt x="62867" y="42168"/>
                      </a:cubicBezTo>
                      <a:cubicBezTo>
                        <a:pt x="63394" y="42519"/>
                        <a:pt x="64038" y="42812"/>
                        <a:pt x="64683" y="42988"/>
                      </a:cubicBezTo>
                      <a:cubicBezTo>
                        <a:pt x="65386" y="43047"/>
                        <a:pt x="66030" y="43105"/>
                        <a:pt x="66674" y="42988"/>
                      </a:cubicBezTo>
                      <a:close/>
                      <a:moveTo>
                        <a:pt x="64800" y="40470"/>
                      </a:moveTo>
                      <a:cubicBezTo>
                        <a:pt x="64800" y="40001"/>
                        <a:pt x="65151" y="39650"/>
                        <a:pt x="65561" y="39650"/>
                      </a:cubicBezTo>
                      <a:cubicBezTo>
                        <a:pt x="65971" y="39650"/>
                        <a:pt x="66381" y="40001"/>
                        <a:pt x="66381" y="40411"/>
                      </a:cubicBezTo>
                      <a:cubicBezTo>
                        <a:pt x="66381" y="40880"/>
                        <a:pt x="66030" y="41231"/>
                        <a:pt x="65620" y="41231"/>
                      </a:cubicBezTo>
                      <a:cubicBezTo>
                        <a:pt x="65151" y="41231"/>
                        <a:pt x="64800" y="40880"/>
                        <a:pt x="64800" y="40470"/>
                      </a:cubicBezTo>
                      <a:close/>
                      <a:moveTo>
                        <a:pt x="51679" y="52007"/>
                      </a:moveTo>
                      <a:lnTo>
                        <a:pt x="51679" y="52007"/>
                      </a:lnTo>
                      <a:lnTo>
                        <a:pt x="51679" y="51070"/>
                      </a:lnTo>
                      <a:cubicBezTo>
                        <a:pt x="51679" y="50777"/>
                        <a:pt x="51796" y="50485"/>
                        <a:pt x="51972" y="50309"/>
                      </a:cubicBezTo>
                      <a:cubicBezTo>
                        <a:pt x="51972" y="50309"/>
                        <a:pt x="51972" y="50309"/>
                        <a:pt x="52030" y="50250"/>
                      </a:cubicBezTo>
                      <a:cubicBezTo>
                        <a:pt x="52030" y="50250"/>
                        <a:pt x="52030" y="50192"/>
                        <a:pt x="52089" y="50192"/>
                      </a:cubicBezTo>
                      <a:cubicBezTo>
                        <a:pt x="52265" y="49957"/>
                        <a:pt x="52499" y="49782"/>
                        <a:pt x="52792" y="49723"/>
                      </a:cubicBezTo>
                      <a:lnTo>
                        <a:pt x="53729" y="49547"/>
                      </a:lnTo>
                      <a:lnTo>
                        <a:pt x="53729" y="49547"/>
                      </a:lnTo>
                      <a:lnTo>
                        <a:pt x="55252" y="49255"/>
                      </a:lnTo>
                      <a:lnTo>
                        <a:pt x="55252" y="49255"/>
                      </a:lnTo>
                      <a:cubicBezTo>
                        <a:pt x="55369" y="49255"/>
                        <a:pt x="55486" y="49255"/>
                        <a:pt x="55545" y="49313"/>
                      </a:cubicBezTo>
                      <a:cubicBezTo>
                        <a:pt x="55721" y="49430"/>
                        <a:pt x="55721" y="49665"/>
                        <a:pt x="55604" y="49840"/>
                      </a:cubicBezTo>
                      <a:cubicBezTo>
                        <a:pt x="55604" y="49840"/>
                        <a:pt x="55604" y="49840"/>
                        <a:pt x="55604" y="49840"/>
                      </a:cubicBezTo>
                      <a:lnTo>
                        <a:pt x="55604" y="49840"/>
                      </a:lnTo>
                      <a:cubicBezTo>
                        <a:pt x="55604" y="49840"/>
                        <a:pt x="55604" y="49840"/>
                        <a:pt x="55604" y="49840"/>
                      </a:cubicBezTo>
                      <a:cubicBezTo>
                        <a:pt x="55018" y="50426"/>
                        <a:pt x="54432" y="51070"/>
                        <a:pt x="53905" y="51714"/>
                      </a:cubicBezTo>
                      <a:cubicBezTo>
                        <a:pt x="53378" y="52359"/>
                        <a:pt x="52909" y="53003"/>
                        <a:pt x="52440" y="53706"/>
                      </a:cubicBezTo>
                      <a:cubicBezTo>
                        <a:pt x="52440" y="53706"/>
                        <a:pt x="52440" y="53706"/>
                        <a:pt x="52440" y="53706"/>
                      </a:cubicBezTo>
                      <a:lnTo>
                        <a:pt x="52440" y="53706"/>
                      </a:lnTo>
                      <a:cubicBezTo>
                        <a:pt x="52440" y="53706"/>
                        <a:pt x="52440" y="53706"/>
                        <a:pt x="52440" y="53706"/>
                      </a:cubicBezTo>
                      <a:cubicBezTo>
                        <a:pt x="52323" y="53881"/>
                        <a:pt x="52089" y="53881"/>
                        <a:pt x="51913" y="53764"/>
                      </a:cubicBezTo>
                      <a:cubicBezTo>
                        <a:pt x="51796" y="53706"/>
                        <a:pt x="51796" y="53589"/>
                        <a:pt x="51796" y="53471"/>
                      </a:cubicBezTo>
                      <a:lnTo>
                        <a:pt x="51796" y="53471"/>
                      </a:lnTo>
                      <a:lnTo>
                        <a:pt x="51679" y="52007"/>
                      </a:lnTo>
                      <a:close/>
                      <a:moveTo>
                        <a:pt x="54256" y="47849"/>
                      </a:moveTo>
                      <a:lnTo>
                        <a:pt x="54256" y="47849"/>
                      </a:lnTo>
                      <a:cubicBezTo>
                        <a:pt x="54139" y="47849"/>
                        <a:pt x="54022" y="47849"/>
                        <a:pt x="53963" y="47790"/>
                      </a:cubicBezTo>
                      <a:cubicBezTo>
                        <a:pt x="53788" y="47673"/>
                        <a:pt x="53788" y="47439"/>
                        <a:pt x="53905" y="47263"/>
                      </a:cubicBezTo>
                      <a:cubicBezTo>
                        <a:pt x="53905" y="47263"/>
                        <a:pt x="53905" y="47263"/>
                        <a:pt x="53905" y="47263"/>
                      </a:cubicBezTo>
                      <a:lnTo>
                        <a:pt x="53905" y="47263"/>
                      </a:lnTo>
                      <a:cubicBezTo>
                        <a:pt x="53905" y="47263"/>
                        <a:pt x="53905" y="47263"/>
                        <a:pt x="53905" y="47263"/>
                      </a:cubicBezTo>
                      <a:cubicBezTo>
                        <a:pt x="54491" y="46678"/>
                        <a:pt x="55076" y="46033"/>
                        <a:pt x="55604" y="45389"/>
                      </a:cubicBezTo>
                      <a:cubicBezTo>
                        <a:pt x="56131" y="44745"/>
                        <a:pt x="56599" y="44101"/>
                        <a:pt x="57068" y="43398"/>
                      </a:cubicBezTo>
                      <a:cubicBezTo>
                        <a:pt x="57068" y="43398"/>
                        <a:pt x="57068" y="43398"/>
                        <a:pt x="57068" y="43398"/>
                      </a:cubicBezTo>
                      <a:lnTo>
                        <a:pt x="57068" y="43398"/>
                      </a:lnTo>
                      <a:cubicBezTo>
                        <a:pt x="57068" y="43398"/>
                        <a:pt x="57068" y="43398"/>
                        <a:pt x="57068" y="43398"/>
                      </a:cubicBezTo>
                      <a:cubicBezTo>
                        <a:pt x="57185" y="43222"/>
                        <a:pt x="57419" y="43222"/>
                        <a:pt x="57595" y="43339"/>
                      </a:cubicBezTo>
                      <a:cubicBezTo>
                        <a:pt x="57712" y="43398"/>
                        <a:pt x="57712" y="43515"/>
                        <a:pt x="57712" y="43632"/>
                      </a:cubicBezTo>
                      <a:lnTo>
                        <a:pt x="57712" y="43632"/>
                      </a:lnTo>
                      <a:lnTo>
                        <a:pt x="57712" y="45155"/>
                      </a:lnTo>
                      <a:lnTo>
                        <a:pt x="57712" y="45155"/>
                      </a:lnTo>
                      <a:lnTo>
                        <a:pt x="57712" y="46092"/>
                      </a:lnTo>
                      <a:cubicBezTo>
                        <a:pt x="57712" y="46385"/>
                        <a:pt x="57595" y="46678"/>
                        <a:pt x="57419" y="46853"/>
                      </a:cubicBezTo>
                      <a:cubicBezTo>
                        <a:pt x="57419" y="46853"/>
                        <a:pt x="57419" y="46853"/>
                        <a:pt x="57361" y="46912"/>
                      </a:cubicBezTo>
                      <a:cubicBezTo>
                        <a:pt x="57361" y="46912"/>
                        <a:pt x="57361" y="46912"/>
                        <a:pt x="57302" y="46971"/>
                      </a:cubicBezTo>
                      <a:cubicBezTo>
                        <a:pt x="57126" y="47205"/>
                        <a:pt x="56892" y="47381"/>
                        <a:pt x="56599" y="47439"/>
                      </a:cubicBezTo>
                      <a:lnTo>
                        <a:pt x="55662" y="47615"/>
                      </a:lnTo>
                      <a:cubicBezTo>
                        <a:pt x="55662" y="47615"/>
                        <a:pt x="55662" y="47615"/>
                        <a:pt x="55662" y="47615"/>
                      </a:cubicBezTo>
                      <a:lnTo>
                        <a:pt x="54256" y="47849"/>
                      </a:lnTo>
                      <a:close/>
                      <a:moveTo>
                        <a:pt x="59118" y="47849"/>
                      </a:moveTo>
                      <a:lnTo>
                        <a:pt x="59118" y="47849"/>
                      </a:lnTo>
                      <a:cubicBezTo>
                        <a:pt x="59118" y="47790"/>
                        <a:pt x="59177" y="47732"/>
                        <a:pt x="59235" y="47673"/>
                      </a:cubicBezTo>
                      <a:cubicBezTo>
                        <a:pt x="59587" y="47088"/>
                        <a:pt x="59879" y="46502"/>
                        <a:pt x="59997" y="45858"/>
                      </a:cubicBezTo>
                      <a:cubicBezTo>
                        <a:pt x="60172" y="45214"/>
                        <a:pt x="60172" y="44569"/>
                        <a:pt x="60114" y="43867"/>
                      </a:cubicBezTo>
                      <a:cubicBezTo>
                        <a:pt x="60114" y="43749"/>
                        <a:pt x="60114" y="43691"/>
                        <a:pt x="60114" y="43632"/>
                      </a:cubicBezTo>
                      <a:lnTo>
                        <a:pt x="60114" y="43632"/>
                      </a:lnTo>
                      <a:cubicBezTo>
                        <a:pt x="60172" y="43281"/>
                        <a:pt x="60524" y="43105"/>
                        <a:pt x="60817" y="43164"/>
                      </a:cubicBezTo>
                      <a:cubicBezTo>
                        <a:pt x="60992" y="43222"/>
                        <a:pt x="61110" y="43339"/>
                        <a:pt x="61227" y="43457"/>
                      </a:cubicBezTo>
                      <a:lnTo>
                        <a:pt x="62633" y="45682"/>
                      </a:lnTo>
                      <a:cubicBezTo>
                        <a:pt x="62925" y="46151"/>
                        <a:pt x="62808" y="46795"/>
                        <a:pt x="62281" y="47088"/>
                      </a:cubicBezTo>
                      <a:lnTo>
                        <a:pt x="59997" y="48493"/>
                      </a:lnTo>
                      <a:cubicBezTo>
                        <a:pt x="59879" y="48552"/>
                        <a:pt x="59704" y="48610"/>
                        <a:pt x="59587" y="48552"/>
                      </a:cubicBezTo>
                      <a:cubicBezTo>
                        <a:pt x="59235" y="48552"/>
                        <a:pt x="59059" y="48200"/>
                        <a:pt x="59118" y="47849"/>
                      </a:cubicBezTo>
                      <a:close/>
                      <a:moveTo>
                        <a:pt x="61930" y="53237"/>
                      </a:moveTo>
                      <a:cubicBezTo>
                        <a:pt x="61930" y="52769"/>
                        <a:pt x="62281" y="52417"/>
                        <a:pt x="62691" y="52417"/>
                      </a:cubicBezTo>
                      <a:cubicBezTo>
                        <a:pt x="63101" y="52417"/>
                        <a:pt x="63511" y="52769"/>
                        <a:pt x="63511" y="53179"/>
                      </a:cubicBezTo>
                      <a:cubicBezTo>
                        <a:pt x="63511" y="53647"/>
                        <a:pt x="63160" y="53999"/>
                        <a:pt x="62750" y="53999"/>
                      </a:cubicBezTo>
                      <a:cubicBezTo>
                        <a:pt x="62281" y="54057"/>
                        <a:pt x="61930" y="53706"/>
                        <a:pt x="61930" y="53237"/>
                      </a:cubicBezTo>
                      <a:close/>
                      <a:moveTo>
                        <a:pt x="60992" y="50543"/>
                      </a:moveTo>
                      <a:cubicBezTo>
                        <a:pt x="60875" y="50543"/>
                        <a:pt x="60817" y="50543"/>
                        <a:pt x="60758" y="50543"/>
                      </a:cubicBezTo>
                      <a:lnTo>
                        <a:pt x="60758" y="50543"/>
                      </a:lnTo>
                      <a:cubicBezTo>
                        <a:pt x="60407" y="50485"/>
                        <a:pt x="60231" y="50133"/>
                        <a:pt x="60290" y="49782"/>
                      </a:cubicBezTo>
                      <a:cubicBezTo>
                        <a:pt x="60348" y="49606"/>
                        <a:pt x="60465" y="49489"/>
                        <a:pt x="60582" y="49372"/>
                      </a:cubicBezTo>
                      <a:lnTo>
                        <a:pt x="62808" y="47966"/>
                      </a:lnTo>
                      <a:cubicBezTo>
                        <a:pt x="63277" y="47673"/>
                        <a:pt x="63921" y="47790"/>
                        <a:pt x="64214" y="48318"/>
                      </a:cubicBezTo>
                      <a:lnTo>
                        <a:pt x="65620" y="50602"/>
                      </a:lnTo>
                      <a:cubicBezTo>
                        <a:pt x="65679" y="50719"/>
                        <a:pt x="65737" y="50895"/>
                        <a:pt x="65679" y="51012"/>
                      </a:cubicBezTo>
                      <a:cubicBezTo>
                        <a:pt x="65620" y="51363"/>
                        <a:pt x="65268" y="51539"/>
                        <a:pt x="64976" y="51480"/>
                      </a:cubicBezTo>
                      <a:lnTo>
                        <a:pt x="64976" y="51480"/>
                      </a:lnTo>
                      <a:cubicBezTo>
                        <a:pt x="64917" y="51480"/>
                        <a:pt x="64858" y="51422"/>
                        <a:pt x="64800" y="51363"/>
                      </a:cubicBezTo>
                      <a:cubicBezTo>
                        <a:pt x="64273" y="51012"/>
                        <a:pt x="63628" y="50719"/>
                        <a:pt x="62984" y="50602"/>
                      </a:cubicBezTo>
                      <a:cubicBezTo>
                        <a:pt x="62340" y="50485"/>
                        <a:pt x="61637" y="50426"/>
                        <a:pt x="60992" y="50543"/>
                      </a:cubicBezTo>
                      <a:close/>
                      <a:moveTo>
                        <a:pt x="63101" y="46971"/>
                      </a:moveTo>
                      <a:cubicBezTo>
                        <a:pt x="62984" y="46561"/>
                        <a:pt x="63218" y="46092"/>
                        <a:pt x="63628" y="45975"/>
                      </a:cubicBezTo>
                      <a:cubicBezTo>
                        <a:pt x="64038" y="45858"/>
                        <a:pt x="64507" y="46092"/>
                        <a:pt x="64624" y="46502"/>
                      </a:cubicBezTo>
                      <a:cubicBezTo>
                        <a:pt x="64741" y="46912"/>
                        <a:pt x="64507" y="47381"/>
                        <a:pt x="64097" y="47498"/>
                      </a:cubicBezTo>
                      <a:cubicBezTo>
                        <a:pt x="63628" y="47673"/>
                        <a:pt x="63218" y="47439"/>
                        <a:pt x="63101" y="46971"/>
                      </a:cubicBezTo>
                      <a:close/>
                      <a:moveTo>
                        <a:pt x="60934" y="38127"/>
                      </a:moveTo>
                      <a:cubicBezTo>
                        <a:pt x="60641" y="38244"/>
                        <a:pt x="60290" y="38010"/>
                        <a:pt x="60172" y="37717"/>
                      </a:cubicBezTo>
                      <a:lnTo>
                        <a:pt x="60172" y="37717"/>
                      </a:lnTo>
                      <a:cubicBezTo>
                        <a:pt x="60172" y="37658"/>
                        <a:pt x="60172" y="37600"/>
                        <a:pt x="60172" y="37483"/>
                      </a:cubicBezTo>
                      <a:cubicBezTo>
                        <a:pt x="60231" y="36839"/>
                        <a:pt x="60172" y="36136"/>
                        <a:pt x="59938" y="35491"/>
                      </a:cubicBezTo>
                      <a:cubicBezTo>
                        <a:pt x="59762" y="34847"/>
                        <a:pt x="59469" y="34262"/>
                        <a:pt x="59059" y="33734"/>
                      </a:cubicBezTo>
                      <a:cubicBezTo>
                        <a:pt x="59001" y="33676"/>
                        <a:pt x="59001" y="33617"/>
                        <a:pt x="58942" y="33559"/>
                      </a:cubicBezTo>
                      <a:lnTo>
                        <a:pt x="58942" y="33500"/>
                      </a:lnTo>
                      <a:cubicBezTo>
                        <a:pt x="58825" y="33149"/>
                        <a:pt x="59059" y="32856"/>
                        <a:pt x="59352" y="32739"/>
                      </a:cubicBezTo>
                      <a:cubicBezTo>
                        <a:pt x="59528" y="32680"/>
                        <a:pt x="59704" y="32739"/>
                        <a:pt x="59821" y="32797"/>
                      </a:cubicBezTo>
                      <a:lnTo>
                        <a:pt x="59821" y="32797"/>
                      </a:lnTo>
                      <a:lnTo>
                        <a:pt x="62105" y="34086"/>
                      </a:lnTo>
                      <a:cubicBezTo>
                        <a:pt x="62574" y="34379"/>
                        <a:pt x="62808" y="34964"/>
                        <a:pt x="62515" y="35491"/>
                      </a:cubicBezTo>
                      <a:lnTo>
                        <a:pt x="61227" y="37834"/>
                      </a:lnTo>
                      <a:cubicBezTo>
                        <a:pt x="61168" y="38010"/>
                        <a:pt x="61051" y="38127"/>
                        <a:pt x="60934" y="38127"/>
                      </a:cubicBezTo>
                      <a:close/>
                      <a:moveTo>
                        <a:pt x="42658" y="18390"/>
                      </a:moveTo>
                      <a:lnTo>
                        <a:pt x="42658" y="18390"/>
                      </a:lnTo>
                      <a:cubicBezTo>
                        <a:pt x="42658" y="18331"/>
                        <a:pt x="42717" y="18273"/>
                        <a:pt x="42775" y="18214"/>
                      </a:cubicBezTo>
                      <a:cubicBezTo>
                        <a:pt x="43185" y="17687"/>
                        <a:pt x="43478" y="17102"/>
                        <a:pt x="43654" y="16457"/>
                      </a:cubicBezTo>
                      <a:cubicBezTo>
                        <a:pt x="43830" y="15813"/>
                        <a:pt x="43888" y="15169"/>
                        <a:pt x="43830" y="14466"/>
                      </a:cubicBezTo>
                      <a:cubicBezTo>
                        <a:pt x="43830" y="14349"/>
                        <a:pt x="43830" y="14290"/>
                        <a:pt x="43830" y="14232"/>
                      </a:cubicBezTo>
                      <a:lnTo>
                        <a:pt x="43830" y="14173"/>
                      </a:lnTo>
                      <a:cubicBezTo>
                        <a:pt x="43947" y="13822"/>
                        <a:pt x="44240" y="13646"/>
                        <a:pt x="44591" y="13763"/>
                      </a:cubicBezTo>
                      <a:cubicBezTo>
                        <a:pt x="44767" y="13822"/>
                        <a:pt x="44884" y="13939"/>
                        <a:pt x="44943" y="14056"/>
                      </a:cubicBezTo>
                      <a:lnTo>
                        <a:pt x="46231" y="16340"/>
                      </a:lnTo>
                      <a:cubicBezTo>
                        <a:pt x="46524" y="16809"/>
                        <a:pt x="46349" y="17453"/>
                        <a:pt x="45821" y="17746"/>
                      </a:cubicBezTo>
                      <a:lnTo>
                        <a:pt x="43478" y="19034"/>
                      </a:lnTo>
                      <a:cubicBezTo>
                        <a:pt x="43361" y="19093"/>
                        <a:pt x="43185" y="19093"/>
                        <a:pt x="43068" y="19093"/>
                      </a:cubicBezTo>
                      <a:cubicBezTo>
                        <a:pt x="42775" y="19034"/>
                        <a:pt x="42600" y="18741"/>
                        <a:pt x="42658" y="18390"/>
                      </a:cubicBezTo>
                      <a:close/>
                      <a:moveTo>
                        <a:pt x="40667" y="15110"/>
                      </a:moveTo>
                      <a:cubicBezTo>
                        <a:pt x="40667" y="14700"/>
                        <a:pt x="41018" y="14290"/>
                        <a:pt x="41428" y="14290"/>
                      </a:cubicBezTo>
                      <a:cubicBezTo>
                        <a:pt x="41838" y="14290"/>
                        <a:pt x="42248" y="14642"/>
                        <a:pt x="42248" y="15052"/>
                      </a:cubicBezTo>
                      <a:cubicBezTo>
                        <a:pt x="42248" y="15462"/>
                        <a:pt x="41897" y="15872"/>
                        <a:pt x="41487" y="15872"/>
                      </a:cubicBezTo>
                      <a:cubicBezTo>
                        <a:pt x="41018" y="15872"/>
                        <a:pt x="40667" y="15520"/>
                        <a:pt x="40667" y="15110"/>
                      </a:cubicBezTo>
                      <a:close/>
                      <a:moveTo>
                        <a:pt x="43771" y="20323"/>
                      </a:moveTo>
                      <a:cubicBezTo>
                        <a:pt x="43830" y="20147"/>
                        <a:pt x="43947" y="20030"/>
                        <a:pt x="44064" y="19971"/>
                      </a:cubicBezTo>
                      <a:lnTo>
                        <a:pt x="46349" y="18683"/>
                      </a:lnTo>
                      <a:cubicBezTo>
                        <a:pt x="46817" y="18390"/>
                        <a:pt x="47461" y="18566"/>
                        <a:pt x="47754" y="19093"/>
                      </a:cubicBezTo>
                      <a:lnTo>
                        <a:pt x="49043" y="21435"/>
                      </a:lnTo>
                      <a:cubicBezTo>
                        <a:pt x="49102" y="21553"/>
                        <a:pt x="49102" y="21728"/>
                        <a:pt x="49102" y="21845"/>
                      </a:cubicBezTo>
                      <a:cubicBezTo>
                        <a:pt x="48984" y="22138"/>
                        <a:pt x="48692" y="22373"/>
                        <a:pt x="48340" y="22255"/>
                      </a:cubicBezTo>
                      <a:lnTo>
                        <a:pt x="48340" y="22255"/>
                      </a:lnTo>
                      <a:cubicBezTo>
                        <a:pt x="48282" y="22255"/>
                        <a:pt x="48223" y="22197"/>
                        <a:pt x="48164" y="22138"/>
                      </a:cubicBezTo>
                      <a:cubicBezTo>
                        <a:pt x="47637" y="21728"/>
                        <a:pt x="47051" y="21435"/>
                        <a:pt x="46407" y="21260"/>
                      </a:cubicBezTo>
                      <a:cubicBezTo>
                        <a:pt x="45763" y="21084"/>
                        <a:pt x="45118" y="21025"/>
                        <a:pt x="44474" y="21084"/>
                      </a:cubicBezTo>
                      <a:cubicBezTo>
                        <a:pt x="44357" y="21084"/>
                        <a:pt x="44298" y="21084"/>
                        <a:pt x="44240" y="21084"/>
                      </a:cubicBezTo>
                      <a:lnTo>
                        <a:pt x="44240" y="21084"/>
                      </a:lnTo>
                      <a:cubicBezTo>
                        <a:pt x="43830" y="21025"/>
                        <a:pt x="43654" y="20674"/>
                        <a:pt x="43771" y="20323"/>
                      </a:cubicBezTo>
                      <a:close/>
                      <a:moveTo>
                        <a:pt x="46641" y="17687"/>
                      </a:moveTo>
                      <a:cubicBezTo>
                        <a:pt x="46524" y="17277"/>
                        <a:pt x="46817" y="16809"/>
                        <a:pt x="47227" y="16750"/>
                      </a:cubicBezTo>
                      <a:cubicBezTo>
                        <a:pt x="47637" y="16633"/>
                        <a:pt x="48106" y="16926"/>
                        <a:pt x="48164" y="17336"/>
                      </a:cubicBezTo>
                      <a:cubicBezTo>
                        <a:pt x="48282" y="17746"/>
                        <a:pt x="47989" y="18214"/>
                        <a:pt x="47579" y="18273"/>
                      </a:cubicBezTo>
                      <a:cubicBezTo>
                        <a:pt x="47227" y="18390"/>
                        <a:pt x="46759" y="18156"/>
                        <a:pt x="46641" y="17687"/>
                      </a:cubicBezTo>
                      <a:close/>
                      <a:moveTo>
                        <a:pt x="48984" y="17219"/>
                      </a:moveTo>
                      <a:lnTo>
                        <a:pt x="51327" y="15930"/>
                      </a:lnTo>
                      <a:cubicBezTo>
                        <a:pt x="51445" y="15872"/>
                        <a:pt x="51620" y="15872"/>
                        <a:pt x="51738" y="15872"/>
                      </a:cubicBezTo>
                      <a:cubicBezTo>
                        <a:pt x="52089" y="15989"/>
                        <a:pt x="52265" y="16282"/>
                        <a:pt x="52148" y="16633"/>
                      </a:cubicBezTo>
                      <a:lnTo>
                        <a:pt x="52148" y="16633"/>
                      </a:lnTo>
                      <a:cubicBezTo>
                        <a:pt x="52148" y="16692"/>
                        <a:pt x="52089" y="16750"/>
                        <a:pt x="52030" y="16809"/>
                      </a:cubicBezTo>
                      <a:cubicBezTo>
                        <a:pt x="51620" y="17336"/>
                        <a:pt x="51327" y="17921"/>
                        <a:pt x="51152" y="18566"/>
                      </a:cubicBezTo>
                      <a:cubicBezTo>
                        <a:pt x="50976" y="19210"/>
                        <a:pt x="50917" y="19854"/>
                        <a:pt x="50976" y="20557"/>
                      </a:cubicBezTo>
                      <a:cubicBezTo>
                        <a:pt x="50976" y="20674"/>
                        <a:pt x="50976" y="20733"/>
                        <a:pt x="50976" y="20791"/>
                      </a:cubicBezTo>
                      <a:lnTo>
                        <a:pt x="50976" y="20791"/>
                      </a:lnTo>
                      <a:cubicBezTo>
                        <a:pt x="50859" y="21143"/>
                        <a:pt x="50566" y="21318"/>
                        <a:pt x="50215" y="21201"/>
                      </a:cubicBezTo>
                      <a:cubicBezTo>
                        <a:pt x="50039" y="21143"/>
                        <a:pt x="49922" y="21025"/>
                        <a:pt x="49863" y="20908"/>
                      </a:cubicBezTo>
                      <a:lnTo>
                        <a:pt x="48574" y="18624"/>
                      </a:lnTo>
                      <a:cubicBezTo>
                        <a:pt x="48340" y="18097"/>
                        <a:pt x="48516" y="17511"/>
                        <a:pt x="48984" y="17219"/>
                      </a:cubicBezTo>
                      <a:close/>
                      <a:moveTo>
                        <a:pt x="52909" y="24422"/>
                      </a:moveTo>
                      <a:cubicBezTo>
                        <a:pt x="53026" y="24305"/>
                        <a:pt x="53202" y="24247"/>
                        <a:pt x="53378" y="24247"/>
                      </a:cubicBezTo>
                      <a:lnTo>
                        <a:pt x="56014" y="24188"/>
                      </a:lnTo>
                      <a:cubicBezTo>
                        <a:pt x="56599" y="24188"/>
                        <a:pt x="57068" y="24657"/>
                        <a:pt x="57068" y="25184"/>
                      </a:cubicBezTo>
                      <a:lnTo>
                        <a:pt x="57126" y="27878"/>
                      </a:lnTo>
                      <a:cubicBezTo>
                        <a:pt x="57126" y="27995"/>
                        <a:pt x="57068" y="28171"/>
                        <a:pt x="56951" y="28288"/>
                      </a:cubicBezTo>
                      <a:cubicBezTo>
                        <a:pt x="56716" y="28522"/>
                        <a:pt x="56306" y="28522"/>
                        <a:pt x="56072" y="28288"/>
                      </a:cubicBezTo>
                      <a:lnTo>
                        <a:pt x="56072" y="28288"/>
                      </a:lnTo>
                      <a:cubicBezTo>
                        <a:pt x="56072" y="28229"/>
                        <a:pt x="56014" y="28229"/>
                        <a:pt x="55955" y="28112"/>
                      </a:cubicBezTo>
                      <a:cubicBezTo>
                        <a:pt x="55662" y="27526"/>
                        <a:pt x="55311" y="26941"/>
                        <a:pt x="54783" y="26472"/>
                      </a:cubicBezTo>
                      <a:cubicBezTo>
                        <a:pt x="54315" y="26004"/>
                        <a:pt x="53729" y="25652"/>
                        <a:pt x="53143" y="25359"/>
                      </a:cubicBezTo>
                      <a:cubicBezTo>
                        <a:pt x="53026" y="25301"/>
                        <a:pt x="52968" y="25301"/>
                        <a:pt x="52968" y="25242"/>
                      </a:cubicBezTo>
                      <a:lnTo>
                        <a:pt x="52968" y="25242"/>
                      </a:lnTo>
                      <a:cubicBezTo>
                        <a:pt x="52733" y="25008"/>
                        <a:pt x="52675" y="24657"/>
                        <a:pt x="52909" y="24422"/>
                      </a:cubicBezTo>
                      <a:close/>
                      <a:moveTo>
                        <a:pt x="58064" y="25184"/>
                      </a:moveTo>
                      <a:cubicBezTo>
                        <a:pt x="58064" y="24598"/>
                        <a:pt x="58474" y="24130"/>
                        <a:pt x="59059" y="24130"/>
                      </a:cubicBezTo>
                      <a:lnTo>
                        <a:pt x="61754" y="24071"/>
                      </a:lnTo>
                      <a:cubicBezTo>
                        <a:pt x="61871" y="24071"/>
                        <a:pt x="62047" y="24130"/>
                        <a:pt x="62164" y="24247"/>
                      </a:cubicBezTo>
                      <a:cubicBezTo>
                        <a:pt x="62398" y="24481"/>
                        <a:pt x="62398" y="24891"/>
                        <a:pt x="62164" y="25125"/>
                      </a:cubicBezTo>
                      <a:lnTo>
                        <a:pt x="62164" y="25125"/>
                      </a:lnTo>
                      <a:cubicBezTo>
                        <a:pt x="62164" y="25184"/>
                        <a:pt x="62105" y="25184"/>
                        <a:pt x="61988" y="25242"/>
                      </a:cubicBezTo>
                      <a:cubicBezTo>
                        <a:pt x="61403" y="25535"/>
                        <a:pt x="60875" y="25887"/>
                        <a:pt x="60407" y="26414"/>
                      </a:cubicBezTo>
                      <a:cubicBezTo>
                        <a:pt x="59938" y="26882"/>
                        <a:pt x="59587" y="27409"/>
                        <a:pt x="59294" y="28053"/>
                      </a:cubicBezTo>
                      <a:cubicBezTo>
                        <a:pt x="59235" y="28171"/>
                        <a:pt x="59235" y="28229"/>
                        <a:pt x="59177" y="28229"/>
                      </a:cubicBezTo>
                      <a:lnTo>
                        <a:pt x="59177" y="28229"/>
                      </a:lnTo>
                      <a:cubicBezTo>
                        <a:pt x="58942" y="28463"/>
                        <a:pt x="58532" y="28463"/>
                        <a:pt x="58298" y="28229"/>
                      </a:cubicBezTo>
                      <a:cubicBezTo>
                        <a:pt x="58181" y="28112"/>
                        <a:pt x="58122" y="27936"/>
                        <a:pt x="58122" y="27761"/>
                      </a:cubicBezTo>
                      <a:lnTo>
                        <a:pt x="58064" y="25184"/>
                      </a:lnTo>
                      <a:close/>
                      <a:moveTo>
                        <a:pt x="56775" y="23485"/>
                      </a:moveTo>
                      <a:cubicBezTo>
                        <a:pt x="56892" y="23075"/>
                        <a:pt x="57302" y="22782"/>
                        <a:pt x="57712" y="22900"/>
                      </a:cubicBezTo>
                      <a:cubicBezTo>
                        <a:pt x="58122" y="23017"/>
                        <a:pt x="58415" y="23427"/>
                        <a:pt x="58298" y="23837"/>
                      </a:cubicBezTo>
                      <a:cubicBezTo>
                        <a:pt x="58181" y="24247"/>
                        <a:pt x="57771" y="24539"/>
                        <a:pt x="57361" y="24422"/>
                      </a:cubicBezTo>
                      <a:cubicBezTo>
                        <a:pt x="56892" y="24305"/>
                        <a:pt x="56658" y="23895"/>
                        <a:pt x="56775" y="23485"/>
                      </a:cubicBezTo>
                      <a:close/>
                      <a:moveTo>
                        <a:pt x="60231" y="20850"/>
                      </a:moveTo>
                      <a:cubicBezTo>
                        <a:pt x="60700" y="21318"/>
                        <a:pt x="61285" y="21670"/>
                        <a:pt x="61871" y="21963"/>
                      </a:cubicBezTo>
                      <a:cubicBezTo>
                        <a:pt x="61988" y="22021"/>
                        <a:pt x="62047" y="22021"/>
                        <a:pt x="62047" y="22080"/>
                      </a:cubicBezTo>
                      <a:lnTo>
                        <a:pt x="62047" y="22080"/>
                      </a:lnTo>
                      <a:cubicBezTo>
                        <a:pt x="62281" y="22314"/>
                        <a:pt x="62281" y="22724"/>
                        <a:pt x="62047" y="22958"/>
                      </a:cubicBezTo>
                      <a:cubicBezTo>
                        <a:pt x="61930" y="23075"/>
                        <a:pt x="61754" y="23134"/>
                        <a:pt x="61578" y="23134"/>
                      </a:cubicBezTo>
                      <a:lnTo>
                        <a:pt x="58942" y="23192"/>
                      </a:lnTo>
                      <a:cubicBezTo>
                        <a:pt x="58357" y="23192"/>
                        <a:pt x="57888" y="22724"/>
                        <a:pt x="57888" y="22197"/>
                      </a:cubicBezTo>
                      <a:lnTo>
                        <a:pt x="57829" y="19503"/>
                      </a:lnTo>
                      <a:cubicBezTo>
                        <a:pt x="57829" y="19386"/>
                        <a:pt x="57888" y="19210"/>
                        <a:pt x="58005" y="19093"/>
                      </a:cubicBezTo>
                      <a:cubicBezTo>
                        <a:pt x="58239" y="18859"/>
                        <a:pt x="58649" y="18859"/>
                        <a:pt x="58884" y="19093"/>
                      </a:cubicBezTo>
                      <a:lnTo>
                        <a:pt x="58884" y="19093"/>
                      </a:lnTo>
                      <a:cubicBezTo>
                        <a:pt x="58884" y="19151"/>
                        <a:pt x="58942" y="19151"/>
                        <a:pt x="59001" y="19268"/>
                      </a:cubicBezTo>
                      <a:cubicBezTo>
                        <a:pt x="59411" y="19796"/>
                        <a:pt x="59762" y="20381"/>
                        <a:pt x="60231" y="20850"/>
                      </a:cubicBezTo>
                      <a:close/>
                      <a:moveTo>
                        <a:pt x="62691" y="28288"/>
                      </a:moveTo>
                      <a:cubicBezTo>
                        <a:pt x="62691" y="28698"/>
                        <a:pt x="62340" y="29108"/>
                        <a:pt x="61930" y="29108"/>
                      </a:cubicBezTo>
                      <a:cubicBezTo>
                        <a:pt x="61520" y="29108"/>
                        <a:pt x="61110" y="28756"/>
                        <a:pt x="61110" y="28346"/>
                      </a:cubicBezTo>
                      <a:cubicBezTo>
                        <a:pt x="61110" y="27936"/>
                        <a:pt x="61461" y="27526"/>
                        <a:pt x="61871" y="27526"/>
                      </a:cubicBezTo>
                      <a:cubicBezTo>
                        <a:pt x="62340" y="27526"/>
                        <a:pt x="62691" y="27878"/>
                        <a:pt x="62691" y="28288"/>
                      </a:cubicBezTo>
                      <a:close/>
                      <a:moveTo>
                        <a:pt x="55779" y="19268"/>
                      </a:moveTo>
                      <a:cubicBezTo>
                        <a:pt x="55838" y="19151"/>
                        <a:pt x="55838" y="19151"/>
                        <a:pt x="55896" y="19093"/>
                      </a:cubicBezTo>
                      <a:lnTo>
                        <a:pt x="55896" y="19093"/>
                      </a:lnTo>
                      <a:cubicBezTo>
                        <a:pt x="56131" y="18859"/>
                        <a:pt x="56541" y="18859"/>
                        <a:pt x="56775" y="19093"/>
                      </a:cubicBezTo>
                      <a:cubicBezTo>
                        <a:pt x="56892" y="19210"/>
                        <a:pt x="56951" y="19386"/>
                        <a:pt x="56951" y="19561"/>
                      </a:cubicBezTo>
                      <a:lnTo>
                        <a:pt x="57009" y="22197"/>
                      </a:lnTo>
                      <a:cubicBezTo>
                        <a:pt x="57009" y="22782"/>
                        <a:pt x="56599" y="23251"/>
                        <a:pt x="56014" y="23251"/>
                      </a:cubicBezTo>
                      <a:lnTo>
                        <a:pt x="53319" y="23310"/>
                      </a:lnTo>
                      <a:cubicBezTo>
                        <a:pt x="53202" y="23310"/>
                        <a:pt x="53026" y="23251"/>
                        <a:pt x="52909" y="23134"/>
                      </a:cubicBezTo>
                      <a:cubicBezTo>
                        <a:pt x="52675" y="22900"/>
                        <a:pt x="52675" y="22490"/>
                        <a:pt x="52909" y="22255"/>
                      </a:cubicBezTo>
                      <a:lnTo>
                        <a:pt x="52909" y="22255"/>
                      </a:lnTo>
                      <a:cubicBezTo>
                        <a:pt x="52968" y="22197"/>
                        <a:pt x="52968" y="22197"/>
                        <a:pt x="53085" y="22138"/>
                      </a:cubicBezTo>
                      <a:cubicBezTo>
                        <a:pt x="53670" y="21845"/>
                        <a:pt x="54198" y="21494"/>
                        <a:pt x="54666" y="20967"/>
                      </a:cubicBezTo>
                      <a:cubicBezTo>
                        <a:pt x="55135" y="20440"/>
                        <a:pt x="55486" y="19913"/>
                        <a:pt x="55779" y="19268"/>
                      </a:cubicBezTo>
                      <a:close/>
                      <a:moveTo>
                        <a:pt x="54022" y="19093"/>
                      </a:moveTo>
                      <a:cubicBezTo>
                        <a:pt x="54022" y="19503"/>
                        <a:pt x="53670" y="19913"/>
                        <a:pt x="53260" y="19913"/>
                      </a:cubicBezTo>
                      <a:cubicBezTo>
                        <a:pt x="52850" y="19913"/>
                        <a:pt x="52440" y="19561"/>
                        <a:pt x="52440" y="19151"/>
                      </a:cubicBezTo>
                      <a:cubicBezTo>
                        <a:pt x="52440" y="18683"/>
                        <a:pt x="52792" y="18331"/>
                        <a:pt x="53202" y="18331"/>
                      </a:cubicBezTo>
                      <a:cubicBezTo>
                        <a:pt x="53612" y="18273"/>
                        <a:pt x="53963" y="18624"/>
                        <a:pt x="54022" y="19093"/>
                      </a:cubicBezTo>
                      <a:close/>
                      <a:moveTo>
                        <a:pt x="48516" y="11831"/>
                      </a:moveTo>
                      <a:cubicBezTo>
                        <a:pt x="48282" y="11538"/>
                        <a:pt x="48164" y="11245"/>
                        <a:pt x="48516" y="10835"/>
                      </a:cubicBezTo>
                      <a:cubicBezTo>
                        <a:pt x="48867" y="10366"/>
                        <a:pt x="49512" y="10425"/>
                        <a:pt x="49746" y="10893"/>
                      </a:cubicBezTo>
                      <a:cubicBezTo>
                        <a:pt x="50215" y="11713"/>
                        <a:pt x="49043" y="12475"/>
                        <a:pt x="48516" y="11831"/>
                      </a:cubicBezTo>
                      <a:close/>
                      <a:moveTo>
                        <a:pt x="50449" y="13939"/>
                      </a:moveTo>
                      <a:cubicBezTo>
                        <a:pt x="50566" y="13939"/>
                        <a:pt x="50625" y="13939"/>
                        <a:pt x="50683" y="13939"/>
                      </a:cubicBezTo>
                      <a:lnTo>
                        <a:pt x="50742" y="13939"/>
                      </a:lnTo>
                      <a:cubicBezTo>
                        <a:pt x="51093" y="14056"/>
                        <a:pt x="51269" y="14349"/>
                        <a:pt x="51152" y="14700"/>
                      </a:cubicBezTo>
                      <a:cubicBezTo>
                        <a:pt x="51093" y="14876"/>
                        <a:pt x="50976" y="14993"/>
                        <a:pt x="50859" y="15052"/>
                      </a:cubicBezTo>
                      <a:lnTo>
                        <a:pt x="48574" y="16340"/>
                      </a:lnTo>
                      <a:cubicBezTo>
                        <a:pt x="48106" y="16633"/>
                        <a:pt x="47461" y="16457"/>
                        <a:pt x="47169" y="15930"/>
                      </a:cubicBezTo>
                      <a:lnTo>
                        <a:pt x="45880" y="13588"/>
                      </a:lnTo>
                      <a:cubicBezTo>
                        <a:pt x="45821" y="13470"/>
                        <a:pt x="45821" y="13295"/>
                        <a:pt x="45821" y="13178"/>
                      </a:cubicBezTo>
                      <a:cubicBezTo>
                        <a:pt x="45939" y="12826"/>
                        <a:pt x="46231" y="12650"/>
                        <a:pt x="46583" y="12768"/>
                      </a:cubicBezTo>
                      <a:lnTo>
                        <a:pt x="46583" y="12768"/>
                      </a:lnTo>
                      <a:cubicBezTo>
                        <a:pt x="46641" y="12768"/>
                        <a:pt x="46700" y="12826"/>
                        <a:pt x="46759" y="12885"/>
                      </a:cubicBezTo>
                      <a:cubicBezTo>
                        <a:pt x="47286" y="13295"/>
                        <a:pt x="47871" y="13588"/>
                        <a:pt x="48516" y="13763"/>
                      </a:cubicBezTo>
                      <a:cubicBezTo>
                        <a:pt x="49160" y="13880"/>
                        <a:pt x="49805" y="13939"/>
                        <a:pt x="50449" y="13939"/>
                      </a:cubicBezTo>
                      <a:close/>
                      <a:moveTo>
                        <a:pt x="46290" y="10952"/>
                      </a:moveTo>
                      <a:cubicBezTo>
                        <a:pt x="45821" y="11245"/>
                        <a:pt x="45236" y="10893"/>
                        <a:pt x="45060" y="10893"/>
                      </a:cubicBezTo>
                      <a:cubicBezTo>
                        <a:pt x="43185" y="10601"/>
                        <a:pt x="41077" y="10425"/>
                        <a:pt x="38968" y="10483"/>
                      </a:cubicBezTo>
                      <a:cubicBezTo>
                        <a:pt x="38207" y="10483"/>
                        <a:pt x="36976" y="11011"/>
                        <a:pt x="36508" y="10425"/>
                      </a:cubicBezTo>
                      <a:cubicBezTo>
                        <a:pt x="36274" y="10132"/>
                        <a:pt x="36332" y="9781"/>
                        <a:pt x="36566" y="9488"/>
                      </a:cubicBezTo>
                      <a:cubicBezTo>
                        <a:pt x="37035" y="8902"/>
                        <a:pt x="38558" y="9136"/>
                        <a:pt x="39261" y="9136"/>
                      </a:cubicBezTo>
                      <a:cubicBezTo>
                        <a:pt x="40725" y="9136"/>
                        <a:pt x="42717" y="9136"/>
                        <a:pt x="44240" y="9312"/>
                      </a:cubicBezTo>
                      <a:cubicBezTo>
                        <a:pt x="45236" y="9429"/>
                        <a:pt x="46290" y="9488"/>
                        <a:pt x="46524" y="10074"/>
                      </a:cubicBezTo>
                      <a:cubicBezTo>
                        <a:pt x="46583" y="10308"/>
                        <a:pt x="46583" y="10776"/>
                        <a:pt x="46290" y="10952"/>
                      </a:cubicBezTo>
                      <a:close/>
                      <a:moveTo>
                        <a:pt x="44591" y="24364"/>
                      </a:moveTo>
                      <a:cubicBezTo>
                        <a:pt x="44767" y="24188"/>
                        <a:pt x="45060" y="24071"/>
                        <a:pt x="45353" y="24012"/>
                      </a:cubicBezTo>
                      <a:cubicBezTo>
                        <a:pt x="45353" y="24012"/>
                        <a:pt x="45411" y="24012"/>
                        <a:pt x="45411" y="24012"/>
                      </a:cubicBezTo>
                      <a:cubicBezTo>
                        <a:pt x="45411" y="24012"/>
                        <a:pt x="45470" y="24012"/>
                        <a:pt x="45470" y="24012"/>
                      </a:cubicBezTo>
                      <a:cubicBezTo>
                        <a:pt x="45763" y="24012"/>
                        <a:pt x="46056" y="24071"/>
                        <a:pt x="46290" y="24188"/>
                      </a:cubicBezTo>
                      <a:lnTo>
                        <a:pt x="47051" y="24715"/>
                      </a:lnTo>
                      <a:lnTo>
                        <a:pt x="47051" y="24715"/>
                      </a:lnTo>
                      <a:lnTo>
                        <a:pt x="48340" y="25594"/>
                      </a:lnTo>
                      <a:lnTo>
                        <a:pt x="48340" y="25594"/>
                      </a:lnTo>
                      <a:cubicBezTo>
                        <a:pt x="48457" y="25652"/>
                        <a:pt x="48516" y="25769"/>
                        <a:pt x="48516" y="25887"/>
                      </a:cubicBezTo>
                      <a:cubicBezTo>
                        <a:pt x="48516" y="26062"/>
                        <a:pt x="48399" y="26296"/>
                        <a:pt x="48164" y="26296"/>
                      </a:cubicBezTo>
                      <a:cubicBezTo>
                        <a:pt x="48164" y="26296"/>
                        <a:pt x="48164" y="26296"/>
                        <a:pt x="48106" y="26296"/>
                      </a:cubicBezTo>
                      <a:lnTo>
                        <a:pt x="48106" y="26296"/>
                      </a:lnTo>
                      <a:cubicBezTo>
                        <a:pt x="48106" y="26296"/>
                        <a:pt x="48106" y="26296"/>
                        <a:pt x="48106" y="26296"/>
                      </a:cubicBezTo>
                      <a:cubicBezTo>
                        <a:pt x="47227" y="26296"/>
                        <a:pt x="46407" y="26296"/>
                        <a:pt x="45587" y="26355"/>
                      </a:cubicBezTo>
                      <a:cubicBezTo>
                        <a:pt x="44767" y="26414"/>
                        <a:pt x="43947" y="26531"/>
                        <a:pt x="43127" y="26706"/>
                      </a:cubicBezTo>
                      <a:cubicBezTo>
                        <a:pt x="43127" y="26706"/>
                        <a:pt x="43127" y="26706"/>
                        <a:pt x="43127" y="26706"/>
                      </a:cubicBezTo>
                      <a:cubicBezTo>
                        <a:pt x="43127" y="26706"/>
                        <a:pt x="43127" y="26706"/>
                        <a:pt x="43068" y="26706"/>
                      </a:cubicBezTo>
                      <a:cubicBezTo>
                        <a:pt x="42834" y="26706"/>
                        <a:pt x="42658" y="26589"/>
                        <a:pt x="42658" y="26355"/>
                      </a:cubicBezTo>
                      <a:cubicBezTo>
                        <a:pt x="42658" y="26238"/>
                        <a:pt x="42717" y="26121"/>
                        <a:pt x="42775" y="26062"/>
                      </a:cubicBezTo>
                      <a:lnTo>
                        <a:pt x="42775" y="26062"/>
                      </a:lnTo>
                      <a:lnTo>
                        <a:pt x="43888" y="25008"/>
                      </a:lnTo>
                      <a:cubicBezTo>
                        <a:pt x="43888" y="25008"/>
                        <a:pt x="43888" y="25008"/>
                        <a:pt x="43888" y="25008"/>
                      </a:cubicBezTo>
                      <a:lnTo>
                        <a:pt x="44591" y="24364"/>
                      </a:lnTo>
                      <a:close/>
                      <a:moveTo>
                        <a:pt x="38265" y="13880"/>
                      </a:moveTo>
                      <a:lnTo>
                        <a:pt x="38265" y="13880"/>
                      </a:lnTo>
                      <a:cubicBezTo>
                        <a:pt x="38265" y="13939"/>
                        <a:pt x="38265" y="13997"/>
                        <a:pt x="38265" y="14115"/>
                      </a:cubicBezTo>
                      <a:cubicBezTo>
                        <a:pt x="38207" y="14759"/>
                        <a:pt x="38265" y="15462"/>
                        <a:pt x="38441" y="16106"/>
                      </a:cubicBezTo>
                      <a:cubicBezTo>
                        <a:pt x="38617" y="16750"/>
                        <a:pt x="38909" y="17336"/>
                        <a:pt x="39261" y="17921"/>
                      </a:cubicBezTo>
                      <a:cubicBezTo>
                        <a:pt x="39319" y="17980"/>
                        <a:pt x="39319" y="18097"/>
                        <a:pt x="39378" y="18097"/>
                      </a:cubicBezTo>
                      <a:lnTo>
                        <a:pt x="39378" y="18156"/>
                      </a:lnTo>
                      <a:cubicBezTo>
                        <a:pt x="39437" y="18507"/>
                        <a:pt x="39261" y="18800"/>
                        <a:pt x="38968" y="18917"/>
                      </a:cubicBezTo>
                      <a:cubicBezTo>
                        <a:pt x="38792" y="18976"/>
                        <a:pt x="38617" y="18917"/>
                        <a:pt x="38499" y="18859"/>
                      </a:cubicBezTo>
                      <a:lnTo>
                        <a:pt x="36215" y="17511"/>
                      </a:lnTo>
                      <a:cubicBezTo>
                        <a:pt x="35746" y="17219"/>
                        <a:pt x="35571" y="16574"/>
                        <a:pt x="35863" y="16106"/>
                      </a:cubicBezTo>
                      <a:lnTo>
                        <a:pt x="37211" y="13763"/>
                      </a:lnTo>
                      <a:cubicBezTo>
                        <a:pt x="37269" y="13646"/>
                        <a:pt x="37387" y="13529"/>
                        <a:pt x="37562" y="13529"/>
                      </a:cubicBezTo>
                      <a:cubicBezTo>
                        <a:pt x="37855" y="13353"/>
                        <a:pt x="38207" y="13529"/>
                        <a:pt x="38265" y="13880"/>
                      </a:cubicBezTo>
                      <a:close/>
                      <a:moveTo>
                        <a:pt x="35688" y="18273"/>
                      </a:moveTo>
                      <a:lnTo>
                        <a:pt x="38031" y="19620"/>
                      </a:lnTo>
                      <a:cubicBezTo>
                        <a:pt x="38148" y="19678"/>
                        <a:pt x="38265" y="19796"/>
                        <a:pt x="38265" y="19971"/>
                      </a:cubicBezTo>
                      <a:cubicBezTo>
                        <a:pt x="38324" y="20323"/>
                        <a:pt x="38148" y="20616"/>
                        <a:pt x="37855" y="20733"/>
                      </a:cubicBezTo>
                      <a:lnTo>
                        <a:pt x="37855" y="20733"/>
                      </a:lnTo>
                      <a:cubicBezTo>
                        <a:pt x="37797" y="20733"/>
                        <a:pt x="37738" y="20733"/>
                        <a:pt x="37621" y="20733"/>
                      </a:cubicBezTo>
                      <a:cubicBezTo>
                        <a:pt x="36976" y="20674"/>
                        <a:pt x="36274" y="20733"/>
                        <a:pt x="35629" y="20850"/>
                      </a:cubicBezTo>
                      <a:cubicBezTo>
                        <a:pt x="34985" y="21025"/>
                        <a:pt x="34399" y="21318"/>
                        <a:pt x="33872" y="21670"/>
                      </a:cubicBezTo>
                      <a:cubicBezTo>
                        <a:pt x="33813" y="21728"/>
                        <a:pt x="33696" y="21728"/>
                        <a:pt x="33696" y="21787"/>
                      </a:cubicBezTo>
                      <a:lnTo>
                        <a:pt x="33696" y="21787"/>
                      </a:lnTo>
                      <a:cubicBezTo>
                        <a:pt x="33345" y="21845"/>
                        <a:pt x="33052" y="21670"/>
                        <a:pt x="32935" y="21318"/>
                      </a:cubicBezTo>
                      <a:cubicBezTo>
                        <a:pt x="32876" y="21143"/>
                        <a:pt x="32935" y="20967"/>
                        <a:pt x="32993" y="20850"/>
                      </a:cubicBezTo>
                      <a:lnTo>
                        <a:pt x="34341" y="18566"/>
                      </a:lnTo>
                      <a:cubicBezTo>
                        <a:pt x="34575" y="18156"/>
                        <a:pt x="35219" y="17980"/>
                        <a:pt x="35688" y="18273"/>
                      </a:cubicBezTo>
                      <a:close/>
                      <a:moveTo>
                        <a:pt x="34106" y="16516"/>
                      </a:moveTo>
                      <a:cubicBezTo>
                        <a:pt x="34399" y="16223"/>
                        <a:pt x="34926" y="16223"/>
                        <a:pt x="35219" y="16516"/>
                      </a:cubicBezTo>
                      <a:cubicBezTo>
                        <a:pt x="35512" y="16809"/>
                        <a:pt x="35512" y="17336"/>
                        <a:pt x="35219" y="17629"/>
                      </a:cubicBezTo>
                      <a:cubicBezTo>
                        <a:pt x="34926" y="17921"/>
                        <a:pt x="34399" y="17921"/>
                        <a:pt x="34106" y="17629"/>
                      </a:cubicBezTo>
                      <a:cubicBezTo>
                        <a:pt x="33755" y="17336"/>
                        <a:pt x="33755" y="16809"/>
                        <a:pt x="34106" y="16516"/>
                      </a:cubicBezTo>
                      <a:close/>
                      <a:moveTo>
                        <a:pt x="44474" y="57688"/>
                      </a:moveTo>
                      <a:cubicBezTo>
                        <a:pt x="44474" y="57923"/>
                        <a:pt x="44357" y="58098"/>
                        <a:pt x="44123" y="58098"/>
                      </a:cubicBezTo>
                      <a:cubicBezTo>
                        <a:pt x="44123" y="58098"/>
                        <a:pt x="44123" y="58098"/>
                        <a:pt x="44123" y="58098"/>
                      </a:cubicBezTo>
                      <a:cubicBezTo>
                        <a:pt x="44123" y="58098"/>
                        <a:pt x="44123" y="58098"/>
                        <a:pt x="44123" y="58098"/>
                      </a:cubicBezTo>
                      <a:cubicBezTo>
                        <a:pt x="43244" y="58098"/>
                        <a:pt x="42424" y="58098"/>
                        <a:pt x="41604" y="58157"/>
                      </a:cubicBezTo>
                      <a:cubicBezTo>
                        <a:pt x="40784" y="58215"/>
                        <a:pt x="39964" y="58332"/>
                        <a:pt x="39144" y="58508"/>
                      </a:cubicBezTo>
                      <a:cubicBezTo>
                        <a:pt x="39144" y="58508"/>
                        <a:pt x="39144" y="58508"/>
                        <a:pt x="39144" y="58508"/>
                      </a:cubicBezTo>
                      <a:cubicBezTo>
                        <a:pt x="39144" y="58508"/>
                        <a:pt x="39144" y="58508"/>
                        <a:pt x="39144" y="58508"/>
                      </a:cubicBezTo>
                      <a:cubicBezTo>
                        <a:pt x="38909" y="58508"/>
                        <a:pt x="38734" y="58391"/>
                        <a:pt x="38734" y="58157"/>
                      </a:cubicBezTo>
                      <a:cubicBezTo>
                        <a:pt x="38734" y="58040"/>
                        <a:pt x="38792" y="57923"/>
                        <a:pt x="38851" y="57864"/>
                      </a:cubicBezTo>
                      <a:lnTo>
                        <a:pt x="38851" y="57864"/>
                      </a:lnTo>
                      <a:lnTo>
                        <a:pt x="39964" y="56810"/>
                      </a:lnTo>
                      <a:lnTo>
                        <a:pt x="39964" y="56810"/>
                      </a:lnTo>
                      <a:lnTo>
                        <a:pt x="40667" y="56166"/>
                      </a:lnTo>
                      <a:cubicBezTo>
                        <a:pt x="40842" y="55990"/>
                        <a:pt x="41135" y="55873"/>
                        <a:pt x="41428" y="55814"/>
                      </a:cubicBezTo>
                      <a:cubicBezTo>
                        <a:pt x="41428" y="55814"/>
                        <a:pt x="41487" y="55814"/>
                        <a:pt x="41487" y="55814"/>
                      </a:cubicBezTo>
                      <a:cubicBezTo>
                        <a:pt x="41487" y="55814"/>
                        <a:pt x="41545" y="55814"/>
                        <a:pt x="41545" y="55814"/>
                      </a:cubicBezTo>
                      <a:cubicBezTo>
                        <a:pt x="41838" y="55814"/>
                        <a:pt x="42131" y="55873"/>
                        <a:pt x="42365" y="55990"/>
                      </a:cubicBezTo>
                      <a:lnTo>
                        <a:pt x="43127" y="56517"/>
                      </a:lnTo>
                      <a:lnTo>
                        <a:pt x="43127" y="56517"/>
                      </a:lnTo>
                      <a:lnTo>
                        <a:pt x="44416" y="57395"/>
                      </a:lnTo>
                      <a:lnTo>
                        <a:pt x="44416" y="57395"/>
                      </a:lnTo>
                      <a:cubicBezTo>
                        <a:pt x="44416" y="57513"/>
                        <a:pt x="44474" y="57571"/>
                        <a:pt x="44474" y="57688"/>
                      </a:cubicBezTo>
                      <a:close/>
                      <a:moveTo>
                        <a:pt x="47696" y="60499"/>
                      </a:moveTo>
                      <a:lnTo>
                        <a:pt x="46349" y="62784"/>
                      </a:lnTo>
                      <a:cubicBezTo>
                        <a:pt x="46056" y="63252"/>
                        <a:pt x="45470" y="63428"/>
                        <a:pt x="44943" y="63135"/>
                      </a:cubicBezTo>
                      <a:lnTo>
                        <a:pt x="42600" y="61788"/>
                      </a:lnTo>
                      <a:cubicBezTo>
                        <a:pt x="42483" y="61729"/>
                        <a:pt x="42365" y="61612"/>
                        <a:pt x="42365" y="61437"/>
                      </a:cubicBezTo>
                      <a:cubicBezTo>
                        <a:pt x="42307" y="61085"/>
                        <a:pt x="42483" y="60792"/>
                        <a:pt x="42775" y="60675"/>
                      </a:cubicBezTo>
                      <a:lnTo>
                        <a:pt x="42775" y="60675"/>
                      </a:lnTo>
                      <a:cubicBezTo>
                        <a:pt x="42834" y="60675"/>
                        <a:pt x="42893" y="60675"/>
                        <a:pt x="43010" y="60675"/>
                      </a:cubicBezTo>
                      <a:cubicBezTo>
                        <a:pt x="43654" y="60734"/>
                        <a:pt x="44357" y="60675"/>
                        <a:pt x="45001" y="60558"/>
                      </a:cubicBezTo>
                      <a:cubicBezTo>
                        <a:pt x="45646" y="60382"/>
                        <a:pt x="46231" y="60089"/>
                        <a:pt x="46759" y="59738"/>
                      </a:cubicBezTo>
                      <a:cubicBezTo>
                        <a:pt x="46817" y="59680"/>
                        <a:pt x="46934" y="59680"/>
                        <a:pt x="46934" y="59621"/>
                      </a:cubicBezTo>
                      <a:lnTo>
                        <a:pt x="46934" y="59621"/>
                      </a:lnTo>
                      <a:cubicBezTo>
                        <a:pt x="47286" y="59562"/>
                        <a:pt x="47579" y="59738"/>
                        <a:pt x="47696" y="60031"/>
                      </a:cubicBezTo>
                      <a:cubicBezTo>
                        <a:pt x="47813" y="60207"/>
                        <a:pt x="47813" y="60382"/>
                        <a:pt x="47696" y="60499"/>
                      </a:cubicBezTo>
                      <a:lnTo>
                        <a:pt x="47696" y="60499"/>
                      </a:lnTo>
                      <a:close/>
                      <a:moveTo>
                        <a:pt x="46641" y="64892"/>
                      </a:moveTo>
                      <a:cubicBezTo>
                        <a:pt x="46349" y="65185"/>
                        <a:pt x="45821" y="65185"/>
                        <a:pt x="45528" y="64892"/>
                      </a:cubicBezTo>
                      <a:cubicBezTo>
                        <a:pt x="45236" y="64599"/>
                        <a:pt x="45236" y="64072"/>
                        <a:pt x="45528" y="63779"/>
                      </a:cubicBezTo>
                      <a:cubicBezTo>
                        <a:pt x="45821" y="63486"/>
                        <a:pt x="46349" y="63486"/>
                        <a:pt x="46641" y="63779"/>
                      </a:cubicBezTo>
                      <a:cubicBezTo>
                        <a:pt x="46934" y="64131"/>
                        <a:pt x="46934" y="64599"/>
                        <a:pt x="46641" y="64892"/>
                      </a:cubicBezTo>
                      <a:close/>
                      <a:moveTo>
                        <a:pt x="34868" y="63603"/>
                      </a:moveTo>
                      <a:lnTo>
                        <a:pt x="37211" y="62315"/>
                      </a:lnTo>
                      <a:cubicBezTo>
                        <a:pt x="37328" y="62257"/>
                        <a:pt x="37504" y="62257"/>
                        <a:pt x="37621" y="62257"/>
                      </a:cubicBezTo>
                      <a:cubicBezTo>
                        <a:pt x="37972" y="62374"/>
                        <a:pt x="38148" y="62666"/>
                        <a:pt x="38031" y="63018"/>
                      </a:cubicBezTo>
                      <a:lnTo>
                        <a:pt x="38031" y="63018"/>
                      </a:lnTo>
                      <a:cubicBezTo>
                        <a:pt x="38031" y="63076"/>
                        <a:pt x="37972" y="63135"/>
                        <a:pt x="37914" y="63194"/>
                      </a:cubicBezTo>
                      <a:cubicBezTo>
                        <a:pt x="37504" y="63721"/>
                        <a:pt x="37211" y="64306"/>
                        <a:pt x="37035" y="64951"/>
                      </a:cubicBezTo>
                      <a:cubicBezTo>
                        <a:pt x="36859" y="65595"/>
                        <a:pt x="36801" y="66239"/>
                        <a:pt x="36859" y="66942"/>
                      </a:cubicBezTo>
                      <a:cubicBezTo>
                        <a:pt x="36859" y="67059"/>
                        <a:pt x="36859" y="67118"/>
                        <a:pt x="36859" y="67176"/>
                      </a:cubicBezTo>
                      <a:lnTo>
                        <a:pt x="36859" y="67235"/>
                      </a:lnTo>
                      <a:cubicBezTo>
                        <a:pt x="36742" y="67586"/>
                        <a:pt x="36449" y="67762"/>
                        <a:pt x="36098" y="67645"/>
                      </a:cubicBezTo>
                      <a:cubicBezTo>
                        <a:pt x="35922" y="67586"/>
                        <a:pt x="35805" y="67469"/>
                        <a:pt x="35746" y="67352"/>
                      </a:cubicBezTo>
                      <a:lnTo>
                        <a:pt x="34458" y="65068"/>
                      </a:lnTo>
                      <a:cubicBezTo>
                        <a:pt x="34165" y="64482"/>
                        <a:pt x="34341" y="63896"/>
                        <a:pt x="34868" y="63603"/>
                      </a:cubicBezTo>
                      <a:close/>
                      <a:moveTo>
                        <a:pt x="33462" y="64658"/>
                      </a:moveTo>
                      <a:cubicBezTo>
                        <a:pt x="33052" y="64775"/>
                        <a:pt x="32583" y="64482"/>
                        <a:pt x="32525" y="64072"/>
                      </a:cubicBezTo>
                      <a:cubicBezTo>
                        <a:pt x="32408" y="63662"/>
                        <a:pt x="32700" y="63194"/>
                        <a:pt x="33110" y="63135"/>
                      </a:cubicBezTo>
                      <a:cubicBezTo>
                        <a:pt x="33520" y="63018"/>
                        <a:pt x="33989" y="63311"/>
                        <a:pt x="34048" y="63721"/>
                      </a:cubicBezTo>
                      <a:cubicBezTo>
                        <a:pt x="34165" y="64131"/>
                        <a:pt x="33872" y="64541"/>
                        <a:pt x="33462" y="64658"/>
                      </a:cubicBezTo>
                      <a:close/>
                      <a:moveTo>
                        <a:pt x="36976" y="61085"/>
                      </a:moveTo>
                      <a:cubicBezTo>
                        <a:pt x="36918" y="61261"/>
                        <a:pt x="36801" y="61378"/>
                        <a:pt x="36684" y="61437"/>
                      </a:cubicBezTo>
                      <a:lnTo>
                        <a:pt x="36684" y="61437"/>
                      </a:lnTo>
                      <a:lnTo>
                        <a:pt x="34399" y="62725"/>
                      </a:lnTo>
                      <a:cubicBezTo>
                        <a:pt x="33931" y="63018"/>
                        <a:pt x="33286" y="62842"/>
                        <a:pt x="32993" y="62315"/>
                      </a:cubicBezTo>
                      <a:lnTo>
                        <a:pt x="31705" y="59972"/>
                      </a:lnTo>
                      <a:cubicBezTo>
                        <a:pt x="31646" y="59855"/>
                        <a:pt x="31646" y="59680"/>
                        <a:pt x="31646" y="59562"/>
                      </a:cubicBezTo>
                      <a:cubicBezTo>
                        <a:pt x="31763" y="59211"/>
                        <a:pt x="32056" y="59035"/>
                        <a:pt x="32408" y="59152"/>
                      </a:cubicBezTo>
                      <a:lnTo>
                        <a:pt x="32408" y="59152"/>
                      </a:lnTo>
                      <a:cubicBezTo>
                        <a:pt x="32466" y="59152"/>
                        <a:pt x="32525" y="59211"/>
                        <a:pt x="32583" y="59270"/>
                      </a:cubicBezTo>
                      <a:cubicBezTo>
                        <a:pt x="33110" y="59680"/>
                        <a:pt x="33696" y="59972"/>
                        <a:pt x="34341" y="60148"/>
                      </a:cubicBezTo>
                      <a:cubicBezTo>
                        <a:pt x="34985" y="60324"/>
                        <a:pt x="35629" y="60382"/>
                        <a:pt x="36274" y="60324"/>
                      </a:cubicBezTo>
                      <a:cubicBezTo>
                        <a:pt x="36391" y="60324"/>
                        <a:pt x="36449" y="60324"/>
                        <a:pt x="36508" y="60324"/>
                      </a:cubicBezTo>
                      <a:lnTo>
                        <a:pt x="36508" y="60324"/>
                      </a:lnTo>
                      <a:cubicBezTo>
                        <a:pt x="36859" y="60441"/>
                        <a:pt x="37035" y="60734"/>
                        <a:pt x="36976" y="61085"/>
                      </a:cubicBezTo>
                      <a:close/>
                      <a:moveTo>
                        <a:pt x="22684" y="56224"/>
                      </a:moveTo>
                      <a:cubicBezTo>
                        <a:pt x="22684" y="56810"/>
                        <a:pt x="22274" y="57278"/>
                        <a:pt x="21688" y="57278"/>
                      </a:cubicBezTo>
                      <a:lnTo>
                        <a:pt x="18994" y="57337"/>
                      </a:lnTo>
                      <a:cubicBezTo>
                        <a:pt x="18877" y="57337"/>
                        <a:pt x="18701" y="57278"/>
                        <a:pt x="18584" y="57161"/>
                      </a:cubicBezTo>
                      <a:cubicBezTo>
                        <a:pt x="18349" y="56927"/>
                        <a:pt x="18349" y="56517"/>
                        <a:pt x="18584" y="56283"/>
                      </a:cubicBezTo>
                      <a:lnTo>
                        <a:pt x="18584" y="56283"/>
                      </a:lnTo>
                      <a:cubicBezTo>
                        <a:pt x="18642" y="56224"/>
                        <a:pt x="18642" y="56224"/>
                        <a:pt x="18759" y="56166"/>
                      </a:cubicBezTo>
                      <a:cubicBezTo>
                        <a:pt x="19345" y="55873"/>
                        <a:pt x="19872" y="55521"/>
                        <a:pt x="20341" y="54994"/>
                      </a:cubicBezTo>
                      <a:cubicBezTo>
                        <a:pt x="20810" y="54526"/>
                        <a:pt x="21161" y="53999"/>
                        <a:pt x="21454" y="53354"/>
                      </a:cubicBezTo>
                      <a:cubicBezTo>
                        <a:pt x="21512" y="53296"/>
                        <a:pt x="21512" y="53179"/>
                        <a:pt x="21571" y="53179"/>
                      </a:cubicBezTo>
                      <a:lnTo>
                        <a:pt x="21571" y="53179"/>
                      </a:lnTo>
                      <a:cubicBezTo>
                        <a:pt x="21805" y="52944"/>
                        <a:pt x="22215" y="52944"/>
                        <a:pt x="22450" y="53179"/>
                      </a:cubicBezTo>
                      <a:cubicBezTo>
                        <a:pt x="22567" y="53296"/>
                        <a:pt x="22625" y="53471"/>
                        <a:pt x="22625" y="53647"/>
                      </a:cubicBezTo>
                      <a:lnTo>
                        <a:pt x="22684" y="56224"/>
                      </a:lnTo>
                      <a:close/>
                      <a:moveTo>
                        <a:pt x="23973" y="57923"/>
                      </a:moveTo>
                      <a:cubicBezTo>
                        <a:pt x="23855" y="58332"/>
                        <a:pt x="23445" y="58625"/>
                        <a:pt x="23035" y="58508"/>
                      </a:cubicBezTo>
                      <a:cubicBezTo>
                        <a:pt x="22625" y="58391"/>
                        <a:pt x="22333" y="57981"/>
                        <a:pt x="22450" y="57571"/>
                      </a:cubicBezTo>
                      <a:cubicBezTo>
                        <a:pt x="22567" y="57161"/>
                        <a:pt x="22977" y="56868"/>
                        <a:pt x="23387" y="56985"/>
                      </a:cubicBezTo>
                      <a:cubicBezTo>
                        <a:pt x="23797" y="57103"/>
                        <a:pt x="24090" y="57513"/>
                        <a:pt x="23973" y="57923"/>
                      </a:cubicBezTo>
                      <a:close/>
                      <a:moveTo>
                        <a:pt x="12316" y="46326"/>
                      </a:moveTo>
                      <a:cubicBezTo>
                        <a:pt x="12258" y="46268"/>
                        <a:pt x="12258" y="46151"/>
                        <a:pt x="12199" y="46151"/>
                      </a:cubicBezTo>
                      <a:lnTo>
                        <a:pt x="12199" y="46092"/>
                      </a:lnTo>
                      <a:cubicBezTo>
                        <a:pt x="12082" y="45741"/>
                        <a:pt x="12316" y="45448"/>
                        <a:pt x="12609" y="45331"/>
                      </a:cubicBezTo>
                      <a:cubicBezTo>
                        <a:pt x="12785" y="45272"/>
                        <a:pt x="12960" y="45331"/>
                        <a:pt x="13078" y="45389"/>
                      </a:cubicBezTo>
                      <a:lnTo>
                        <a:pt x="15362" y="46678"/>
                      </a:lnTo>
                      <a:cubicBezTo>
                        <a:pt x="15831" y="46971"/>
                        <a:pt x="16065" y="47556"/>
                        <a:pt x="15772" y="48083"/>
                      </a:cubicBezTo>
                      <a:lnTo>
                        <a:pt x="14483" y="50426"/>
                      </a:lnTo>
                      <a:cubicBezTo>
                        <a:pt x="14425" y="50543"/>
                        <a:pt x="14308" y="50660"/>
                        <a:pt x="14132" y="50719"/>
                      </a:cubicBezTo>
                      <a:cubicBezTo>
                        <a:pt x="13781" y="50836"/>
                        <a:pt x="13488" y="50602"/>
                        <a:pt x="13371" y="50309"/>
                      </a:cubicBezTo>
                      <a:lnTo>
                        <a:pt x="13371" y="50309"/>
                      </a:lnTo>
                      <a:cubicBezTo>
                        <a:pt x="13371" y="50250"/>
                        <a:pt x="13371" y="50192"/>
                        <a:pt x="13371" y="50075"/>
                      </a:cubicBezTo>
                      <a:cubicBezTo>
                        <a:pt x="13429" y="49430"/>
                        <a:pt x="13371" y="48728"/>
                        <a:pt x="13136" y="48083"/>
                      </a:cubicBezTo>
                      <a:cubicBezTo>
                        <a:pt x="13019" y="47439"/>
                        <a:pt x="12726" y="46853"/>
                        <a:pt x="12316" y="46326"/>
                      </a:cubicBezTo>
                      <a:close/>
                      <a:moveTo>
                        <a:pt x="18115" y="48142"/>
                      </a:moveTo>
                      <a:lnTo>
                        <a:pt x="20458" y="49430"/>
                      </a:lnTo>
                      <a:cubicBezTo>
                        <a:pt x="20575" y="49489"/>
                        <a:pt x="20692" y="49606"/>
                        <a:pt x="20751" y="49782"/>
                      </a:cubicBezTo>
                      <a:cubicBezTo>
                        <a:pt x="20868" y="50075"/>
                        <a:pt x="20634" y="50426"/>
                        <a:pt x="20341" y="50543"/>
                      </a:cubicBezTo>
                      <a:lnTo>
                        <a:pt x="20341" y="50543"/>
                      </a:lnTo>
                      <a:cubicBezTo>
                        <a:pt x="20282" y="50543"/>
                        <a:pt x="20224" y="50543"/>
                        <a:pt x="20165" y="50543"/>
                      </a:cubicBezTo>
                      <a:cubicBezTo>
                        <a:pt x="19521" y="50485"/>
                        <a:pt x="18818" y="50543"/>
                        <a:pt x="18232" y="50719"/>
                      </a:cubicBezTo>
                      <a:cubicBezTo>
                        <a:pt x="17588" y="50895"/>
                        <a:pt x="17002" y="51187"/>
                        <a:pt x="16475" y="51597"/>
                      </a:cubicBezTo>
                      <a:cubicBezTo>
                        <a:pt x="16416" y="51656"/>
                        <a:pt x="16358" y="51714"/>
                        <a:pt x="16299" y="51714"/>
                      </a:cubicBezTo>
                      <a:lnTo>
                        <a:pt x="16241" y="51714"/>
                      </a:lnTo>
                      <a:cubicBezTo>
                        <a:pt x="15948" y="51832"/>
                        <a:pt x="15596" y="51597"/>
                        <a:pt x="15479" y="51304"/>
                      </a:cubicBezTo>
                      <a:cubicBezTo>
                        <a:pt x="15421" y="51129"/>
                        <a:pt x="15479" y="50953"/>
                        <a:pt x="15538" y="50836"/>
                      </a:cubicBezTo>
                      <a:lnTo>
                        <a:pt x="16768" y="48552"/>
                      </a:lnTo>
                      <a:cubicBezTo>
                        <a:pt x="17002" y="48083"/>
                        <a:pt x="17588" y="47908"/>
                        <a:pt x="18115" y="48142"/>
                      </a:cubicBezTo>
                      <a:close/>
                      <a:moveTo>
                        <a:pt x="16416" y="46443"/>
                      </a:moveTo>
                      <a:cubicBezTo>
                        <a:pt x="16709" y="46151"/>
                        <a:pt x="17236" y="46092"/>
                        <a:pt x="17529" y="46443"/>
                      </a:cubicBezTo>
                      <a:cubicBezTo>
                        <a:pt x="17822" y="46736"/>
                        <a:pt x="17881" y="47263"/>
                        <a:pt x="17529" y="47556"/>
                      </a:cubicBezTo>
                      <a:cubicBezTo>
                        <a:pt x="17236" y="47849"/>
                        <a:pt x="16709" y="47908"/>
                        <a:pt x="16416" y="47556"/>
                      </a:cubicBezTo>
                      <a:cubicBezTo>
                        <a:pt x="16124" y="47263"/>
                        <a:pt x="16124" y="46736"/>
                        <a:pt x="16416" y="46443"/>
                      </a:cubicBezTo>
                      <a:close/>
                      <a:moveTo>
                        <a:pt x="14015" y="38420"/>
                      </a:moveTo>
                      <a:cubicBezTo>
                        <a:pt x="13898" y="38420"/>
                        <a:pt x="13839" y="38420"/>
                        <a:pt x="13781" y="38420"/>
                      </a:cubicBezTo>
                      <a:lnTo>
                        <a:pt x="13722" y="38420"/>
                      </a:lnTo>
                      <a:cubicBezTo>
                        <a:pt x="13371" y="38361"/>
                        <a:pt x="13195" y="38010"/>
                        <a:pt x="13253" y="37658"/>
                      </a:cubicBezTo>
                      <a:cubicBezTo>
                        <a:pt x="13312" y="37483"/>
                        <a:pt x="13429" y="37366"/>
                        <a:pt x="13546" y="37248"/>
                      </a:cubicBezTo>
                      <a:lnTo>
                        <a:pt x="15772" y="35843"/>
                      </a:lnTo>
                      <a:cubicBezTo>
                        <a:pt x="16241" y="35550"/>
                        <a:pt x="16885" y="35667"/>
                        <a:pt x="17178" y="36194"/>
                      </a:cubicBezTo>
                      <a:lnTo>
                        <a:pt x="18584" y="38478"/>
                      </a:lnTo>
                      <a:cubicBezTo>
                        <a:pt x="18642" y="38596"/>
                        <a:pt x="18701" y="38771"/>
                        <a:pt x="18642" y="38888"/>
                      </a:cubicBezTo>
                      <a:cubicBezTo>
                        <a:pt x="18584" y="39240"/>
                        <a:pt x="18232" y="39415"/>
                        <a:pt x="17939" y="39357"/>
                      </a:cubicBezTo>
                      <a:lnTo>
                        <a:pt x="17939" y="39357"/>
                      </a:lnTo>
                      <a:cubicBezTo>
                        <a:pt x="17881" y="39357"/>
                        <a:pt x="17822" y="39298"/>
                        <a:pt x="17764" y="39298"/>
                      </a:cubicBezTo>
                      <a:cubicBezTo>
                        <a:pt x="17178" y="38947"/>
                        <a:pt x="16592" y="38654"/>
                        <a:pt x="15948" y="38478"/>
                      </a:cubicBezTo>
                      <a:cubicBezTo>
                        <a:pt x="15362" y="38361"/>
                        <a:pt x="14718" y="38303"/>
                        <a:pt x="14015" y="38420"/>
                      </a:cubicBezTo>
                      <a:close/>
                      <a:moveTo>
                        <a:pt x="16124" y="40001"/>
                      </a:moveTo>
                      <a:cubicBezTo>
                        <a:pt x="16124" y="40411"/>
                        <a:pt x="15772" y="40821"/>
                        <a:pt x="15362" y="40821"/>
                      </a:cubicBezTo>
                      <a:cubicBezTo>
                        <a:pt x="14952" y="40821"/>
                        <a:pt x="14542" y="40470"/>
                        <a:pt x="14542" y="40060"/>
                      </a:cubicBezTo>
                      <a:cubicBezTo>
                        <a:pt x="14542" y="39650"/>
                        <a:pt x="14893" y="39240"/>
                        <a:pt x="15303" y="39240"/>
                      </a:cubicBezTo>
                      <a:cubicBezTo>
                        <a:pt x="15772" y="39240"/>
                        <a:pt x="16124" y="39591"/>
                        <a:pt x="16124" y="40001"/>
                      </a:cubicBezTo>
                      <a:close/>
                      <a:moveTo>
                        <a:pt x="27019" y="34672"/>
                      </a:moveTo>
                      <a:cubicBezTo>
                        <a:pt x="27194" y="34789"/>
                        <a:pt x="27194" y="35023"/>
                        <a:pt x="27077" y="35199"/>
                      </a:cubicBezTo>
                      <a:cubicBezTo>
                        <a:pt x="27077" y="35199"/>
                        <a:pt x="27077" y="35199"/>
                        <a:pt x="27077" y="35199"/>
                      </a:cubicBezTo>
                      <a:cubicBezTo>
                        <a:pt x="27077" y="35199"/>
                        <a:pt x="27077" y="35199"/>
                        <a:pt x="27077" y="35199"/>
                      </a:cubicBezTo>
                      <a:cubicBezTo>
                        <a:pt x="26491" y="35784"/>
                        <a:pt x="25906" y="36429"/>
                        <a:pt x="25379" y="37073"/>
                      </a:cubicBezTo>
                      <a:cubicBezTo>
                        <a:pt x="24851" y="37717"/>
                        <a:pt x="24383" y="38361"/>
                        <a:pt x="23914" y="39064"/>
                      </a:cubicBezTo>
                      <a:cubicBezTo>
                        <a:pt x="23914" y="39064"/>
                        <a:pt x="23914" y="39064"/>
                        <a:pt x="23914" y="39064"/>
                      </a:cubicBezTo>
                      <a:lnTo>
                        <a:pt x="23914" y="39064"/>
                      </a:lnTo>
                      <a:cubicBezTo>
                        <a:pt x="23914" y="39064"/>
                        <a:pt x="23914" y="39064"/>
                        <a:pt x="23914" y="39064"/>
                      </a:cubicBezTo>
                      <a:cubicBezTo>
                        <a:pt x="23797" y="39240"/>
                        <a:pt x="23563" y="39240"/>
                        <a:pt x="23387" y="39123"/>
                      </a:cubicBezTo>
                      <a:cubicBezTo>
                        <a:pt x="23270" y="39064"/>
                        <a:pt x="23270" y="38947"/>
                        <a:pt x="23270" y="38830"/>
                      </a:cubicBezTo>
                      <a:lnTo>
                        <a:pt x="23270" y="37307"/>
                      </a:lnTo>
                      <a:lnTo>
                        <a:pt x="23270" y="37307"/>
                      </a:lnTo>
                      <a:lnTo>
                        <a:pt x="23270" y="36370"/>
                      </a:lnTo>
                      <a:cubicBezTo>
                        <a:pt x="23270" y="36077"/>
                        <a:pt x="23387" y="35784"/>
                        <a:pt x="23563" y="35609"/>
                      </a:cubicBezTo>
                      <a:cubicBezTo>
                        <a:pt x="23563" y="35609"/>
                        <a:pt x="23563" y="35609"/>
                        <a:pt x="23621" y="35550"/>
                      </a:cubicBezTo>
                      <a:cubicBezTo>
                        <a:pt x="23621" y="35550"/>
                        <a:pt x="23621" y="35550"/>
                        <a:pt x="23680" y="35491"/>
                      </a:cubicBezTo>
                      <a:cubicBezTo>
                        <a:pt x="23855" y="35257"/>
                        <a:pt x="24090" y="35082"/>
                        <a:pt x="24383" y="35023"/>
                      </a:cubicBezTo>
                      <a:lnTo>
                        <a:pt x="25320" y="34847"/>
                      </a:lnTo>
                      <a:lnTo>
                        <a:pt x="25320" y="34847"/>
                      </a:lnTo>
                      <a:lnTo>
                        <a:pt x="26843" y="34554"/>
                      </a:lnTo>
                      <a:lnTo>
                        <a:pt x="26843" y="34554"/>
                      </a:lnTo>
                      <a:cubicBezTo>
                        <a:pt x="26784" y="34554"/>
                        <a:pt x="26901" y="34554"/>
                        <a:pt x="27019" y="34672"/>
                      </a:cubicBezTo>
                      <a:close/>
                      <a:moveTo>
                        <a:pt x="20751" y="35550"/>
                      </a:moveTo>
                      <a:cubicBezTo>
                        <a:pt x="20575" y="36194"/>
                        <a:pt x="20575" y="36839"/>
                        <a:pt x="20634" y="37541"/>
                      </a:cubicBezTo>
                      <a:cubicBezTo>
                        <a:pt x="20634" y="37658"/>
                        <a:pt x="20634" y="37717"/>
                        <a:pt x="20634" y="37776"/>
                      </a:cubicBezTo>
                      <a:lnTo>
                        <a:pt x="20634" y="37776"/>
                      </a:lnTo>
                      <a:cubicBezTo>
                        <a:pt x="20575" y="38127"/>
                        <a:pt x="20224" y="38303"/>
                        <a:pt x="19931" y="38244"/>
                      </a:cubicBezTo>
                      <a:cubicBezTo>
                        <a:pt x="19755" y="38186"/>
                        <a:pt x="19638" y="38068"/>
                        <a:pt x="19521" y="37951"/>
                      </a:cubicBezTo>
                      <a:lnTo>
                        <a:pt x="18115" y="35726"/>
                      </a:lnTo>
                      <a:cubicBezTo>
                        <a:pt x="17822" y="35257"/>
                        <a:pt x="17939" y="34613"/>
                        <a:pt x="18467" y="34320"/>
                      </a:cubicBezTo>
                      <a:lnTo>
                        <a:pt x="20751" y="32915"/>
                      </a:lnTo>
                      <a:cubicBezTo>
                        <a:pt x="20868" y="32856"/>
                        <a:pt x="21044" y="32797"/>
                        <a:pt x="21161" y="32856"/>
                      </a:cubicBezTo>
                      <a:cubicBezTo>
                        <a:pt x="21512" y="32915"/>
                        <a:pt x="21688" y="33266"/>
                        <a:pt x="21630" y="33617"/>
                      </a:cubicBezTo>
                      <a:lnTo>
                        <a:pt x="21630" y="33617"/>
                      </a:lnTo>
                      <a:cubicBezTo>
                        <a:pt x="21630" y="33676"/>
                        <a:pt x="21571" y="33734"/>
                        <a:pt x="21571" y="33793"/>
                      </a:cubicBezTo>
                      <a:cubicBezTo>
                        <a:pt x="21161" y="34320"/>
                        <a:pt x="20868" y="34906"/>
                        <a:pt x="20751" y="35550"/>
                      </a:cubicBezTo>
                      <a:close/>
                      <a:moveTo>
                        <a:pt x="19814" y="27175"/>
                      </a:moveTo>
                      <a:cubicBezTo>
                        <a:pt x="19814" y="27585"/>
                        <a:pt x="19462" y="27995"/>
                        <a:pt x="19052" y="27995"/>
                      </a:cubicBezTo>
                      <a:cubicBezTo>
                        <a:pt x="18642" y="27995"/>
                        <a:pt x="18232" y="27644"/>
                        <a:pt x="18232" y="27234"/>
                      </a:cubicBezTo>
                      <a:cubicBezTo>
                        <a:pt x="18232" y="26824"/>
                        <a:pt x="18584" y="26414"/>
                        <a:pt x="18994" y="26414"/>
                      </a:cubicBezTo>
                      <a:cubicBezTo>
                        <a:pt x="19462" y="26355"/>
                        <a:pt x="19814" y="26706"/>
                        <a:pt x="19814" y="27175"/>
                      </a:cubicBezTo>
                      <a:close/>
                      <a:moveTo>
                        <a:pt x="20400" y="31626"/>
                      </a:moveTo>
                      <a:cubicBezTo>
                        <a:pt x="20341" y="31802"/>
                        <a:pt x="20224" y="31919"/>
                        <a:pt x="20107" y="32036"/>
                      </a:cubicBezTo>
                      <a:lnTo>
                        <a:pt x="17881" y="33442"/>
                      </a:lnTo>
                      <a:cubicBezTo>
                        <a:pt x="17412" y="33734"/>
                        <a:pt x="16768" y="33617"/>
                        <a:pt x="16475" y="33090"/>
                      </a:cubicBezTo>
                      <a:lnTo>
                        <a:pt x="15069" y="30806"/>
                      </a:lnTo>
                      <a:cubicBezTo>
                        <a:pt x="15011" y="30689"/>
                        <a:pt x="14952" y="30513"/>
                        <a:pt x="15011" y="30396"/>
                      </a:cubicBezTo>
                      <a:cubicBezTo>
                        <a:pt x="15069" y="30045"/>
                        <a:pt x="15421" y="29869"/>
                        <a:pt x="15714" y="29928"/>
                      </a:cubicBezTo>
                      <a:lnTo>
                        <a:pt x="15714" y="29928"/>
                      </a:lnTo>
                      <a:cubicBezTo>
                        <a:pt x="15772" y="29928"/>
                        <a:pt x="15831" y="29986"/>
                        <a:pt x="15889" y="29986"/>
                      </a:cubicBezTo>
                      <a:cubicBezTo>
                        <a:pt x="16475" y="30338"/>
                        <a:pt x="17061" y="30630"/>
                        <a:pt x="17705" y="30806"/>
                      </a:cubicBezTo>
                      <a:cubicBezTo>
                        <a:pt x="18349" y="30982"/>
                        <a:pt x="18994" y="30982"/>
                        <a:pt x="19697" y="30923"/>
                      </a:cubicBezTo>
                      <a:cubicBezTo>
                        <a:pt x="19814" y="30923"/>
                        <a:pt x="19872" y="30923"/>
                        <a:pt x="19931" y="30923"/>
                      </a:cubicBezTo>
                      <a:lnTo>
                        <a:pt x="19931" y="30923"/>
                      </a:lnTo>
                      <a:cubicBezTo>
                        <a:pt x="20282" y="30982"/>
                        <a:pt x="20517" y="31333"/>
                        <a:pt x="20400" y="31626"/>
                      </a:cubicBezTo>
                      <a:close/>
                      <a:moveTo>
                        <a:pt x="17646" y="34437"/>
                      </a:moveTo>
                      <a:cubicBezTo>
                        <a:pt x="17764" y="34847"/>
                        <a:pt x="17529" y="35316"/>
                        <a:pt x="17119" y="35433"/>
                      </a:cubicBezTo>
                      <a:cubicBezTo>
                        <a:pt x="16709" y="35550"/>
                        <a:pt x="16241" y="35316"/>
                        <a:pt x="16124" y="34906"/>
                      </a:cubicBezTo>
                      <a:cubicBezTo>
                        <a:pt x="16006" y="34496"/>
                        <a:pt x="16241" y="34027"/>
                        <a:pt x="16651" y="33910"/>
                      </a:cubicBezTo>
                      <a:cubicBezTo>
                        <a:pt x="17061" y="33793"/>
                        <a:pt x="17529" y="34027"/>
                        <a:pt x="17646" y="34437"/>
                      </a:cubicBezTo>
                      <a:close/>
                      <a:moveTo>
                        <a:pt x="19814" y="43281"/>
                      </a:moveTo>
                      <a:cubicBezTo>
                        <a:pt x="20107" y="43164"/>
                        <a:pt x="20458" y="43398"/>
                        <a:pt x="20575" y="43691"/>
                      </a:cubicBezTo>
                      <a:lnTo>
                        <a:pt x="20575" y="43691"/>
                      </a:lnTo>
                      <a:cubicBezTo>
                        <a:pt x="20575" y="43749"/>
                        <a:pt x="20575" y="43808"/>
                        <a:pt x="20575" y="43925"/>
                      </a:cubicBezTo>
                      <a:cubicBezTo>
                        <a:pt x="20517" y="44569"/>
                        <a:pt x="20575" y="45272"/>
                        <a:pt x="20810" y="45916"/>
                      </a:cubicBezTo>
                      <a:cubicBezTo>
                        <a:pt x="20985" y="46561"/>
                        <a:pt x="21278" y="47146"/>
                        <a:pt x="21688" y="47673"/>
                      </a:cubicBezTo>
                      <a:cubicBezTo>
                        <a:pt x="21747" y="47732"/>
                        <a:pt x="21805" y="47790"/>
                        <a:pt x="21805" y="47849"/>
                      </a:cubicBezTo>
                      <a:lnTo>
                        <a:pt x="21805" y="47849"/>
                      </a:lnTo>
                      <a:cubicBezTo>
                        <a:pt x="21923" y="48200"/>
                        <a:pt x="21688" y="48493"/>
                        <a:pt x="21395" y="48610"/>
                      </a:cubicBezTo>
                      <a:cubicBezTo>
                        <a:pt x="21220" y="48669"/>
                        <a:pt x="21044" y="48610"/>
                        <a:pt x="20927" y="48552"/>
                      </a:cubicBezTo>
                      <a:lnTo>
                        <a:pt x="20927" y="48552"/>
                      </a:lnTo>
                      <a:lnTo>
                        <a:pt x="18642" y="47263"/>
                      </a:lnTo>
                      <a:cubicBezTo>
                        <a:pt x="18174" y="46971"/>
                        <a:pt x="17939" y="46385"/>
                        <a:pt x="18232" y="45858"/>
                      </a:cubicBezTo>
                      <a:lnTo>
                        <a:pt x="19521" y="43515"/>
                      </a:lnTo>
                      <a:cubicBezTo>
                        <a:pt x="19521" y="43398"/>
                        <a:pt x="19638" y="43339"/>
                        <a:pt x="19814" y="43281"/>
                      </a:cubicBezTo>
                      <a:close/>
                      <a:moveTo>
                        <a:pt x="19228" y="52944"/>
                      </a:moveTo>
                      <a:cubicBezTo>
                        <a:pt x="19228" y="53413"/>
                        <a:pt x="18877" y="53764"/>
                        <a:pt x="18467" y="53764"/>
                      </a:cubicBezTo>
                      <a:cubicBezTo>
                        <a:pt x="18057" y="53764"/>
                        <a:pt x="17646" y="53413"/>
                        <a:pt x="17646" y="53003"/>
                      </a:cubicBezTo>
                      <a:cubicBezTo>
                        <a:pt x="17646" y="52534"/>
                        <a:pt x="17998" y="52183"/>
                        <a:pt x="18408" y="52183"/>
                      </a:cubicBezTo>
                      <a:cubicBezTo>
                        <a:pt x="18877" y="52183"/>
                        <a:pt x="19228" y="52534"/>
                        <a:pt x="19228" y="52944"/>
                      </a:cubicBezTo>
                      <a:close/>
                      <a:moveTo>
                        <a:pt x="18584" y="58508"/>
                      </a:moveTo>
                      <a:cubicBezTo>
                        <a:pt x="18701" y="58391"/>
                        <a:pt x="18877" y="58332"/>
                        <a:pt x="19052" y="58332"/>
                      </a:cubicBezTo>
                      <a:lnTo>
                        <a:pt x="21688" y="58274"/>
                      </a:lnTo>
                      <a:cubicBezTo>
                        <a:pt x="22274" y="58274"/>
                        <a:pt x="22743" y="58742"/>
                        <a:pt x="22743" y="59270"/>
                      </a:cubicBezTo>
                      <a:lnTo>
                        <a:pt x="22801" y="61964"/>
                      </a:lnTo>
                      <a:cubicBezTo>
                        <a:pt x="22801" y="62139"/>
                        <a:pt x="22743" y="62257"/>
                        <a:pt x="22625" y="62374"/>
                      </a:cubicBezTo>
                      <a:cubicBezTo>
                        <a:pt x="22391" y="62608"/>
                        <a:pt x="21981" y="62608"/>
                        <a:pt x="21747" y="62374"/>
                      </a:cubicBezTo>
                      <a:lnTo>
                        <a:pt x="21747" y="62374"/>
                      </a:lnTo>
                      <a:cubicBezTo>
                        <a:pt x="21747" y="62315"/>
                        <a:pt x="21688" y="62315"/>
                        <a:pt x="21630" y="62198"/>
                      </a:cubicBezTo>
                      <a:cubicBezTo>
                        <a:pt x="21337" y="61612"/>
                        <a:pt x="20985" y="61027"/>
                        <a:pt x="20458" y="60617"/>
                      </a:cubicBezTo>
                      <a:cubicBezTo>
                        <a:pt x="19990" y="60148"/>
                        <a:pt x="19404" y="59797"/>
                        <a:pt x="18818" y="59504"/>
                      </a:cubicBezTo>
                      <a:cubicBezTo>
                        <a:pt x="18701" y="59445"/>
                        <a:pt x="18701" y="59445"/>
                        <a:pt x="18642" y="59387"/>
                      </a:cubicBezTo>
                      <a:lnTo>
                        <a:pt x="18642" y="59387"/>
                      </a:lnTo>
                      <a:cubicBezTo>
                        <a:pt x="18349" y="59094"/>
                        <a:pt x="18349" y="58742"/>
                        <a:pt x="18584" y="58508"/>
                      </a:cubicBezTo>
                      <a:close/>
                      <a:moveTo>
                        <a:pt x="23680" y="56224"/>
                      </a:moveTo>
                      <a:lnTo>
                        <a:pt x="23621" y="53530"/>
                      </a:lnTo>
                      <a:cubicBezTo>
                        <a:pt x="23621" y="53413"/>
                        <a:pt x="23680" y="53237"/>
                        <a:pt x="23797" y="53120"/>
                      </a:cubicBezTo>
                      <a:cubicBezTo>
                        <a:pt x="24031" y="52886"/>
                        <a:pt x="24441" y="52886"/>
                        <a:pt x="24676" y="53120"/>
                      </a:cubicBezTo>
                      <a:lnTo>
                        <a:pt x="24676" y="53120"/>
                      </a:lnTo>
                      <a:cubicBezTo>
                        <a:pt x="24734" y="53179"/>
                        <a:pt x="24734" y="53179"/>
                        <a:pt x="24793" y="53296"/>
                      </a:cubicBezTo>
                      <a:cubicBezTo>
                        <a:pt x="25086" y="53881"/>
                        <a:pt x="25437" y="54467"/>
                        <a:pt x="25964" y="54936"/>
                      </a:cubicBezTo>
                      <a:cubicBezTo>
                        <a:pt x="26433" y="55404"/>
                        <a:pt x="27019" y="55756"/>
                        <a:pt x="27604" y="56048"/>
                      </a:cubicBezTo>
                      <a:cubicBezTo>
                        <a:pt x="27722" y="56107"/>
                        <a:pt x="27780" y="56107"/>
                        <a:pt x="27780" y="56166"/>
                      </a:cubicBezTo>
                      <a:lnTo>
                        <a:pt x="27780" y="56166"/>
                      </a:lnTo>
                      <a:cubicBezTo>
                        <a:pt x="28014" y="56400"/>
                        <a:pt x="28014" y="56810"/>
                        <a:pt x="27780" y="57044"/>
                      </a:cubicBezTo>
                      <a:cubicBezTo>
                        <a:pt x="27663" y="57161"/>
                        <a:pt x="27487" y="57220"/>
                        <a:pt x="27311" y="57220"/>
                      </a:cubicBezTo>
                      <a:lnTo>
                        <a:pt x="27311" y="57220"/>
                      </a:lnTo>
                      <a:lnTo>
                        <a:pt x="24676" y="57278"/>
                      </a:lnTo>
                      <a:cubicBezTo>
                        <a:pt x="24148" y="57220"/>
                        <a:pt x="23680" y="56810"/>
                        <a:pt x="23680" y="56224"/>
                      </a:cubicBezTo>
                      <a:close/>
                      <a:moveTo>
                        <a:pt x="27839" y="22665"/>
                      </a:moveTo>
                      <a:cubicBezTo>
                        <a:pt x="27722" y="22782"/>
                        <a:pt x="27546" y="22841"/>
                        <a:pt x="27370" y="22841"/>
                      </a:cubicBezTo>
                      <a:lnTo>
                        <a:pt x="24734" y="22900"/>
                      </a:lnTo>
                      <a:cubicBezTo>
                        <a:pt x="24148" y="22900"/>
                        <a:pt x="23680" y="22431"/>
                        <a:pt x="23680" y="21904"/>
                      </a:cubicBezTo>
                      <a:lnTo>
                        <a:pt x="23621" y="19210"/>
                      </a:lnTo>
                      <a:cubicBezTo>
                        <a:pt x="23621" y="19093"/>
                        <a:pt x="23680" y="18917"/>
                        <a:pt x="23797" y="18800"/>
                      </a:cubicBezTo>
                      <a:cubicBezTo>
                        <a:pt x="24031" y="18566"/>
                        <a:pt x="24441" y="18566"/>
                        <a:pt x="24676" y="18800"/>
                      </a:cubicBezTo>
                      <a:lnTo>
                        <a:pt x="24676" y="18800"/>
                      </a:lnTo>
                      <a:cubicBezTo>
                        <a:pt x="24734" y="18859"/>
                        <a:pt x="24734" y="18859"/>
                        <a:pt x="24793" y="18976"/>
                      </a:cubicBezTo>
                      <a:cubicBezTo>
                        <a:pt x="25086" y="19561"/>
                        <a:pt x="25437" y="20147"/>
                        <a:pt x="25964" y="20616"/>
                      </a:cubicBezTo>
                      <a:cubicBezTo>
                        <a:pt x="26433" y="21084"/>
                        <a:pt x="27019" y="21435"/>
                        <a:pt x="27604" y="21728"/>
                      </a:cubicBezTo>
                      <a:cubicBezTo>
                        <a:pt x="27722" y="21787"/>
                        <a:pt x="27780" y="21787"/>
                        <a:pt x="27780" y="21845"/>
                      </a:cubicBezTo>
                      <a:lnTo>
                        <a:pt x="27780" y="21845"/>
                      </a:lnTo>
                      <a:cubicBezTo>
                        <a:pt x="28073" y="22021"/>
                        <a:pt x="28073" y="22431"/>
                        <a:pt x="27839" y="22665"/>
                      </a:cubicBezTo>
                      <a:close/>
                      <a:moveTo>
                        <a:pt x="22801" y="24949"/>
                      </a:moveTo>
                      <a:lnTo>
                        <a:pt x="22860" y="27644"/>
                      </a:lnTo>
                      <a:cubicBezTo>
                        <a:pt x="22860" y="27761"/>
                        <a:pt x="22801" y="27936"/>
                        <a:pt x="22684" y="28053"/>
                      </a:cubicBezTo>
                      <a:cubicBezTo>
                        <a:pt x="22450" y="28288"/>
                        <a:pt x="22040" y="28288"/>
                        <a:pt x="21805" y="28053"/>
                      </a:cubicBezTo>
                      <a:lnTo>
                        <a:pt x="21805" y="28053"/>
                      </a:lnTo>
                      <a:cubicBezTo>
                        <a:pt x="21805" y="27995"/>
                        <a:pt x="21747" y="27995"/>
                        <a:pt x="21688" y="27878"/>
                      </a:cubicBezTo>
                      <a:cubicBezTo>
                        <a:pt x="21395" y="27292"/>
                        <a:pt x="21044" y="26706"/>
                        <a:pt x="20517" y="26238"/>
                      </a:cubicBezTo>
                      <a:cubicBezTo>
                        <a:pt x="20048" y="25769"/>
                        <a:pt x="19462" y="25418"/>
                        <a:pt x="18877" y="25125"/>
                      </a:cubicBezTo>
                      <a:cubicBezTo>
                        <a:pt x="18759" y="25067"/>
                        <a:pt x="18759" y="25067"/>
                        <a:pt x="18701" y="25008"/>
                      </a:cubicBezTo>
                      <a:lnTo>
                        <a:pt x="18701" y="25008"/>
                      </a:lnTo>
                      <a:cubicBezTo>
                        <a:pt x="18467" y="24774"/>
                        <a:pt x="18467" y="24364"/>
                        <a:pt x="18701" y="24130"/>
                      </a:cubicBezTo>
                      <a:cubicBezTo>
                        <a:pt x="18818" y="24012"/>
                        <a:pt x="18994" y="23954"/>
                        <a:pt x="19169" y="23954"/>
                      </a:cubicBezTo>
                      <a:lnTo>
                        <a:pt x="21805" y="23895"/>
                      </a:lnTo>
                      <a:cubicBezTo>
                        <a:pt x="22333" y="23895"/>
                        <a:pt x="22801" y="24364"/>
                        <a:pt x="22801" y="24949"/>
                      </a:cubicBezTo>
                      <a:close/>
                      <a:moveTo>
                        <a:pt x="16065" y="22373"/>
                      </a:moveTo>
                      <a:cubicBezTo>
                        <a:pt x="14659" y="24188"/>
                        <a:pt x="13781" y="25711"/>
                        <a:pt x="12843" y="27644"/>
                      </a:cubicBezTo>
                      <a:cubicBezTo>
                        <a:pt x="12550" y="28171"/>
                        <a:pt x="11965" y="29283"/>
                        <a:pt x="11320" y="28405"/>
                      </a:cubicBezTo>
                      <a:cubicBezTo>
                        <a:pt x="10910" y="27878"/>
                        <a:pt x="11613" y="26706"/>
                        <a:pt x="11965" y="26062"/>
                      </a:cubicBezTo>
                      <a:cubicBezTo>
                        <a:pt x="13078" y="23895"/>
                        <a:pt x="14718" y="21728"/>
                        <a:pt x="16006" y="19971"/>
                      </a:cubicBezTo>
                      <a:cubicBezTo>
                        <a:pt x="16006" y="20030"/>
                        <a:pt x="16475" y="19737"/>
                        <a:pt x="16534" y="19678"/>
                      </a:cubicBezTo>
                      <a:cubicBezTo>
                        <a:pt x="18174" y="20088"/>
                        <a:pt x="16651" y="21611"/>
                        <a:pt x="16065" y="22373"/>
                      </a:cubicBezTo>
                      <a:close/>
                      <a:moveTo>
                        <a:pt x="13136" y="31802"/>
                      </a:moveTo>
                      <a:cubicBezTo>
                        <a:pt x="13136" y="31685"/>
                        <a:pt x="13136" y="31626"/>
                        <a:pt x="13136" y="31568"/>
                      </a:cubicBezTo>
                      <a:lnTo>
                        <a:pt x="13136" y="31509"/>
                      </a:lnTo>
                      <a:cubicBezTo>
                        <a:pt x="13195" y="31158"/>
                        <a:pt x="13546" y="30982"/>
                        <a:pt x="13839" y="31040"/>
                      </a:cubicBezTo>
                      <a:cubicBezTo>
                        <a:pt x="14015" y="31099"/>
                        <a:pt x="14132" y="31216"/>
                        <a:pt x="14249" y="31333"/>
                      </a:cubicBezTo>
                      <a:lnTo>
                        <a:pt x="15655" y="33559"/>
                      </a:lnTo>
                      <a:cubicBezTo>
                        <a:pt x="15948" y="34027"/>
                        <a:pt x="15831" y="34672"/>
                        <a:pt x="15303" y="34964"/>
                      </a:cubicBezTo>
                      <a:lnTo>
                        <a:pt x="13019" y="36370"/>
                      </a:lnTo>
                      <a:cubicBezTo>
                        <a:pt x="12902" y="36429"/>
                        <a:pt x="12726" y="36487"/>
                        <a:pt x="12609" y="36429"/>
                      </a:cubicBezTo>
                      <a:cubicBezTo>
                        <a:pt x="12258" y="36370"/>
                        <a:pt x="12082" y="36019"/>
                        <a:pt x="12140" y="35726"/>
                      </a:cubicBezTo>
                      <a:lnTo>
                        <a:pt x="12140" y="35726"/>
                      </a:lnTo>
                      <a:cubicBezTo>
                        <a:pt x="12140" y="35667"/>
                        <a:pt x="12199" y="35609"/>
                        <a:pt x="12258" y="35550"/>
                      </a:cubicBezTo>
                      <a:cubicBezTo>
                        <a:pt x="12609" y="34964"/>
                        <a:pt x="12902" y="34379"/>
                        <a:pt x="13019" y="33734"/>
                      </a:cubicBezTo>
                      <a:cubicBezTo>
                        <a:pt x="13195" y="33090"/>
                        <a:pt x="13195" y="32446"/>
                        <a:pt x="13136" y="31802"/>
                      </a:cubicBezTo>
                      <a:close/>
                      <a:moveTo>
                        <a:pt x="10266" y="31802"/>
                      </a:moveTo>
                      <a:cubicBezTo>
                        <a:pt x="9739" y="31977"/>
                        <a:pt x="9153" y="31275"/>
                        <a:pt x="9387" y="30630"/>
                      </a:cubicBezTo>
                      <a:cubicBezTo>
                        <a:pt x="10442" y="29576"/>
                        <a:pt x="11437" y="31509"/>
                        <a:pt x="10266" y="31802"/>
                      </a:cubicBezTo>
                      <a:close/>
                      <a:moveTo>
                        <a:pt x="15889" y="43164"/>
                      </a:moveTo>
                      <a:cubicBezTo>
                        <a:pt x="16534" y="42988"/>
                        <a:pt x="17119" y="42695"/>
                        <a:pt x="17646" y="42285"/>
                      </a:cubicBezTo>
                      <a:cubicBezTo>
                        <a:pt x="17705" y="42227"/>
                        <a:pt x="17764" y="42227"/>
                        <a:pt x="17822" y="42168"/>
                      </a:cubicBezTo>
                      <a:lnTo>
                        <a:pt x="17881" y="42168"/>
                      </a:lnTo>
                      <a:cubicBezTo>
                        <a:pt x="18232" y="42051"/>
                        <a:pt x="18525" y="42285"/>
                        <a:pt x="18642" y="42578"/>
                      </a:cubicBezTo>
                      <a:cubicBezTo>
                        <a:pt x="18701" y="42754"/>
                        <a:pt x="18642" y="42929"/>
                        <a:pt x="18584" y="43047"/>
                      </a:cubicBezTo>
                      <a:lnTo>
                        <a:pt x="17354" y="45331"/>
                      </a:lnTo>
                      <a:cubicBezTo>
                        <a:pt x="17061" y="45799"/>
                        <a:pt x="16475" y="46033"/>
                        <a:pt x="15948" y="45741"/>
                      </a:cubicBezTo>
                      <a:lnTo>
                        <a:pt x="13605" y="44452"/>
                      </a:lnTo>
                      <a:cubicBezTo>
                        <a:pt x="13488" y="44394"/>
                        <a:pt x="13371" y="44276"/>
                        <a:pt x="13371" y="44101"/>
                      </a:cubicBezTo>
                      <a:cubicBezTo>
                        <a:pt x="13253" y="43749"/>
                        <a:pt x="13488" y="43457"/>
                        <a:pt x="13781" y="43339"/>
                      </a:cubicBezTo>
                      <a:lnTo>
                        <a:pt x="13781" y="43339"/>
                      </a:lnTo>
                      <a:cubicBezTo>
                        <a:pt x="13839" y="43339"/>
                        <a:pt x="13898" y="43339"/>
                        <a:pt x="14015" y="43339"/>
                      </a:cubicBezTo>
                      <a:cubicBezTo>
                        <a:pt x="14601" y="43457"/>
                        <a:pt x="15245" y="43398"/>
                        <a:pt x="15889" y="43164"/>
                      </a:cubicBezTo>
                      <a:close/>
                      <a:moveTo>
                        <a:pt x="10266" y="35550"/>
                      </a:moveTo>
                      <a:cubicBezTo>
                        <a:pt x="9915" y="37600"/>
                        <a:pt x="9680" y="39357"/>
                        <a:pt x="9797" y="41700"/>
                      </a:cubicBezTo>
                      <a:cubicBezTo>
                        <a:pt x="9856" y="42519"/>
                        <a:pt x="10325" y="43749"/>
                        <a:pt x="9563" y="44159"/>
                      </a:cubicBezTo>
                      <a:cubicBezTo>
                        <a:pt x="8333" y="44686"/>
                        <a:pt x="8392" y="42344"/>
                        <a:pt x="8392" y="41465"/>
                      </a:cubicBezTo>
                      <a:cubicBezTo>
                        <a:pt x="8333" y="39123"/>
                        <a:pt x="8509" y="36194"/>
                        <a:pt x="9036" y="34437"/>
                      </a:cubicBezTo>
                      <a:cubicBezTo>
                        <a:pt x="9270" y="33852"/>
                        <a:pt x="9973" y="33969"/>
                        <a:pt x="10207" y="34262"/>
                      </a:cubicBezTo>
                      <a:cubicBezTo>
                        <a:pt x="10500" y="34554"/>
                        <a:pt x="10325" y="35199"/>
                        <a:pt x="10266" y="35550"/>
                      </a:cubicBezTo>
                      <a:close/>
                      <a:moveTo>
                        <a:pt x="10266" y="46619"/>
                      </a:moveTo>
                      <a:cubicBezTo>
                        <a:pt x="10442" y="46912"/>
                        <a:pt x="10383" y="47498"/>
                        <a:pt x="10090" y="47673"/>
                      </a:cubicBezTo>
                      <a:cubicBezTo>
                        <a:pt x="9504" y="48083"/>
                        <a:pt x="8333" y="47146"/>
                        <a:pt x="9153" y="46443"/>
                      </a:cubicBezTo>
                      <a:cubicBezTo>
                        <a:pt x="9563" y="46151"/>
                        <a:pt x="10032" y="46268"/>
                        <a:pt x="10266" y="46619"/>
                      </a:cubicBezTo>
                      <a:close/>
                      <a:moveTo>
                        <a:pt x="10969" y="49957"/>
                      </a:moveTo>
                      <a:cubicBezTo>
                        <a:pt x="11496" y="50133"/>
                        <a:pt x="11496" y="50953"/>
                        <a:pt x="11672" y="51304"/>
                      </a:cubicBezTo>
                      <a:cubicBezTo>
                        <a:pt x="12258" y="52769"/>
                        <a:pt x="13605" y="55404"/>
                        <a:pt x="14425" y="56751"/>
                      </a:cubicBezTo>
                      <a:cubicBezTo>
                        <a:pt x="14776" y="57278"/>
                        <a:pt x="15948" y="58391"/>
                        <a:pt x="15362" y="58977"/>
                      </a:cubicBezTo>
                      <a:cubicBezTo>
                        <a:pt x="14366" y="59914"/>
                        <a:pt x="13019" y="57161"/>
                        <a:pt x="12316" y="55873"/>
                      </a:cubicBezTo>
                      <a:cubicBezTo>
                        <a:pt x="11789" y="54936"/>
                        <a:pt x="11262" y="53881"/>
                        <a:pt x="11027" y="53296"/>
                      </a:cubicBezTo>
                      <a:cubicBezTo>
                        <a:pt x="10676" y="52476"/>
                        <a:pt x="9915" y="50836"/>
                        <a:pt x="10149" y="50309"/>
                      </a:cubicBezTo>
                      <a:cubicBezTo>
                        <a:pt x="10090" y="50075"/>
                        <a:pt x="10735" y="49899"/>
                        <a:pt x="10969" y="49957"/>
                      </a:cubicBezTo>
                      <a:close/>
                      <a:moveTo>
                        <a:pt x="16241" y="60968"/>
                      </a:moveTo>
                      <a:cubicBezTo>
                        <a:pt x="17178" y="60207"/>
                        <a:pt x="17705" y="61905"/>
                        <a:pt x="16885" y="62257"/>
                      </a:cubicBezTo>
                      <a:cubicBezTo>
                        <a:pt x="16416" y="62432"/>
                        <a:pt x="15479" y="61612"/>
                        <a:pt x="16241" y="60968"/>
                      </a:cubicBezTo>
                      <a:close/>
                      <a:moveTo>
                        <a:pt x="21454" y="64892"/>
                      </a:moveTo>
                      <a:cubicBezTo>
                        <a:pt x="23153" y="66239"/>
                        <a:pt x="24734" y="67176"/>
                        <a:pt x="26609" y="68113"/>
                      </a:cubicBezTo>
                      <a:cubicBezTo>
                        <a:pt x="27019" y="68347"/>
                        <a:pt x="28132" y="68816"/>
                        <a:pt x="27429" y="69519"/>
                      </a:cubicBezTo>
                      <a:cubicBezTo>
                        <a:pt x="26726" y="70222"/>
                        <a:pt x="25320" y="69050"/>
                        <a:pt x="24968" y="68875"/>
                      </a:cubicBezTo>
                      <a:cubicBezTo>
                        <a:pt x="23387" y="67996"/>
                        <a:pt x="22040" y="67293"/>
                        <a:pt x="20634" y="66239"/>
                      </a:cubicBezTo>
                      <a:cubicBezTo>
                        <a:pt x="19931" y="65712"/>
                        <a:pt x="19169" y="65243"/>
                        <a:pt x="18642" y="64306"/>
                      </a:cubicBezTo>
                      <a:cubicBezTo>
                        <a:pt x="19052" y="62725"/>
                        <a:pt x="20634" y="64248"/>
                        <a:pt x="21454" y="64892"/>
                      </a:cubicBezTo>
                      <a:close/>
                      <a:moveTo>
                        <a:pt x="28424" y="61495"/>
                      </a:moveTo>
                      <a:cubicBezTo>
                        <a:pt x="28424" y="61964"/>
                        <a:pt x="28073" y="62315"/>
                        <a:pt x="27663" y="62315"/>
                      </a:cubicBezTo>
                      <a:cubicBezTo>
                        <a:pt x="27253" y="62315"/>
                        <a:pt x="26843" y="61964"/>
                        <a:pt x="26843" y="61554"/>
                      </a:cubicBezTo>
                      <a:cubicBezTo>
                        <a:pt x="26843" y="61085"/>
                        <a:pt x="27194" y="60734"/>
                        <a:pt x="27604" y="60734"/>
                      </a:cubicBezTo>
                      <a:cubicBezTo>
                        <a:pt x="28014" y="60675"/>
                        <a:pt x="28424" y="61027"/>
                        <a:pt x="28424" y="61495"/>
                      </a:cubicBezTo>
                      <a:close/>
                      <a:moveTo>
                        <a:pt x="28483" y="64775"/>
                      </a:moveTo>
                      <a:lnTo>
                        <a:pt x="28483" y="64775"/>
                      </a:lnTo>
                      <a:cubicBezTo>
                        <a:pt x="28483" y="64716"/>
                        <a:pt x="28542" y="64658"/>
                        <a:pt x="28600" y="64599"/>
                      </a:cubicBezTo>
                      <a:cubicBezTo>
                        <a:pt x="29010" y="64072"/>
                        <a:pt x="29303" y="63486"/>
                        <a:pt x="29479" y="62842"/>
                      </a:cubicBezTo>
                      <a:cubicBezTo>
                        <a:pt x="29654" y="62198"/>
                        <a:pt x="29713" y="61554"/>
                        <a:pt x="29654" y="60909"/>
                      </a:cubicBezTo>
                      <a:cubicBezTo>
                        <a:pt x="29654" y="60792"/>
                        <a:pt x="29654" y="60734"/>
                        <a:pt x="29654" y="60675"/>
                      </a:cubicBezTo>
                      <a:lnTo>
                        <a:pt x="29654" y="60617"/>
                      </a:lnTo>
                      <a:cubicBezTo>
                        <a:pt x="29772" y="60265"/>
                        <a:pt x="30065" y="60089"/>
                        <a:pt x="30416" y="60207"/>
                      </a:cubicBezTo>
                      <a:cubicBezTo>
                        <a:pt x="30592" y="60265"/>
                        <a:pt x="30709" y="60382"/>
                        <a:pt x="30767" y="60499"/>
                      </a:cubicBezTo>
                      <a:lnTo>
                        <a:pt x="32056" y="62784"/>
                      </a:lnTo>
                      <a:cubicBezTo>
                        <a:pt x="32349" y="63252"/>
                        <a:pt x="32173" y="63896"/>
                        <a:pt x="31646" y="64189"/>
                      </a:cubicBezTo>
                      <a:lnTo>
                        <a:pt x="29303" y="65478"/>
                      </a:lnTo>
                      <a:cubicBezTo>
                        <a:pt x="29186" y="65536"/>
                        <a:pt x="29010" y="65536"/>
                        <a:pt x="28893" y="65536"/>
                      </a:cubicBezTo>
                      <a:cubicBezTo>
                        <a:pt x="28600" y="65419"/>
                        <a:pt x="28424" y="65126"/>
                        <a:pt x="28483" y="64775"/>
                      </a:cubicBezTo>
                      <a:close/>
                      <a:moveTo>
                        <a:pt x="29596" y="66708"/>
                      </a:moveTo>
                      <a:cubicBezTo>
                        <a:pt x="29654" y="66532"/>
                        <a:pt x="29772" y="66415"/>
                        <a:pt x="29889" y="66356"/>
                      </a:cubicBezTo>
                      <a:lnTo>
                        <a:pt x="29889" y="66356"/>
                      </a:lnTo>
                      <a:lnTo>
                        <a:pt x="32173" y="65068"/>
                      </a:lnTo>
                      <a:cubicBezTo>
                        <a:pt x="32642" y="64775"/>
                        <a:pt x="33286" y="64951"/>
                        <a:pt x="33579" y="65478"/>
                      </a:cubicBezTo>
                      <a:lnTo>
                        <a:pt x="34868" y="67820"/>
                      </a:lnTo>
                      <a:cubicBezTo>
                        <a:pt x="34926" y="67937"/>
                        <a:pt x="34926" y="68113"/>
                        <a:pt x="34926" y="68230"/>
                      </a:cubicBezTo>
                      <a:cubicBezTo>
                        <a:pt x="34809" y="68582"/>
                        <a:pt x="34516" y="68757"/>
                        <a:pt x="34165" y="68640"/>
                      </a:cubicBezTo>
                      <a:lnTo>
                        <a:pt x="34165" y="68640"/>
                      </a:lnTo>
                      <a:cubicBezTo>
                        <a:pt x="34106" y="68640"/>
                        <a:pt x="34048" y="68582"/>
                        <a:pt x="33989" y="68523"/>
                      </a:cubicBezTo>
                      <a:cubicBezTo>
                        <a:pt x="33462" y="68113"/>
                        <a:pt x="32876" y="67820"/>
                        <a:pt x="32232" y="67645"/>
                      </a:cubicBezTo>
                      <a:cubicBezTo>
                        <a:pt x="31588" y="67469"/>
                        <a:pt x="30943" y="67410"/>
                        <a:pt x="30299" y="67469"/>
                      </a:cubicBezTo>
                      <a:cubicBezTo>
                        <a:pt x="30182" y="67469"/>
                        <a:pt x="30123" y="67469"/>
                        <a:pt x="30065" y="67469"/>
                      </a:cubicBezTo>
                      <a:lnTo>
                        <a:pt x="30006" y="67469"/>
                      </a:lnTo>
                      <a:cubicBezTo>
                        <a:pt x="29713" y="67410"/>
                        <a:pt x="29479" y="67059"/>
                        <a:pt x="29596" y="66708"/>
                      </a:cubicBezTo>
                      <a:close/>
                      <a:moveTo>
                        <a:pt x="33989" y="70924"/>
                      </a:moveTo>
                      <a:cubicBezTo>
                        <a:pt x="35395" y="70924"/>
                        <a:pt x="36918" y="71393"/>
                        <a:pt x="38968" y="71451"/>
                      </a:cubicBezTo>
                      <a:cubicBezTo>
                        <a:pt x="39671" y="71451"/>
                        <a:pt x="40491" y="71393"/>
                        <a:pt x="41545" y="71393"/>
                      </a:cubicBezTo>
                      <a:cubicBezTo>
                        <a:pt x="42307" y="71334"/>
                        <a:pt x="43654" y="71042"/>
                        <a:pt x="43830" y="71920"/>
                      </a:cubicBezTo>
                      <a:cubicBezTo>
                        <a:pt x="44006" y="72916"/>
                        <a:pt x="42248" y="72799"/>
                        <a:pt x="41487" y="72799"/>
                      </a:cubicBezTo>
                      <a:cubicBezTo>
                        <a:pt x="39437" y="72857"/>
                        <a:pt x="38031" y="72857"/>
                        <a:pt x="36098" y="72623"/>
                      </a:cubicBezTo>
                      <a:cubicBezTo>
                        <a:pt x="35395" y="72564"/>
                        <a:pt x="33989" y="72564"/>
                        <a:pt x="33638" y="71920"/>
                      </a:cubicBezTo>
                      <a:cubicBezTo>
                        <a:pt x="33345" y="71451"/>
                        <a:pt x="33579" y="71100"/>
                        <a:pt x="33989" y="70924"/>
                      </a:cubicBezTo>
                      <a:close/>
                      <a:moveTo>
                        <a:pt x="39730" y="66005"/>
                      </a:moveTo>
                      <a:cubicBezTo>
                        <a:pt x="39319" y="66005"/>
                        <a:pt x="38909" y="65653"/>
                        <a:pt x="38909" y="65243"/>
                      </a:cubicBezTo>
                      <a:cubicBezTo>
                        <a:pt x="38909" y="64833"/>
                        <a:pt x="39261" y="64423"/>
                        <a:pt x="39671" y="64423"/>
                      </a:cubicBezTo>
                      <a:cubicBezTo>
                        <a:pt x="40140" y="64423"/>
                        <a:pt x="40491" y="64775"/>
                        <a:pt x="40491" y="65185"/>
                      </a:cubicBezTo>
                      <a:cubicBezTo>
                        <a:pt x="40550" y="65653"/>
                        <a:pt x="40198" y="66005"/>
                        <a:pt x="39730" y="66005"/>
                      </a:cubicBezTo>
                      <a:close/>
                      <a:moveTo>
                        <a:pt x="36391" y="58098"/>
                      </a:moveTo>
                      <a:cubicBezTo>
                        <a:pt x="36215" y="58274"/>
                        <a:pt x="35922" y="58391"/>
                        <a:pt x="35629" y="58450"/>
                      </a:cubicBezTo>
                      <a:cubicBezTo>
                        <a:pt x="35629" y="58450"/>
                        <a:pt x="35571" y="58450"/>
                        <a:pt x="35571" y="58450"/>
                      </a:cubicBezTo>
                      <a:cubicBezTo>
                        <a:pt x="35571" y="58450"/>
                        <a:pt x="35512" y="58450"/>
                        <a:pt x="35512" y="58450"/>
                      </a:cubicBezTo>
                      <a:cubicBezTo>
                        <a:pt x="35219" y="58450"/>
                        <a:pt x="34926" y="58391"/>
                        <a:pt x="34692" y="58274"/>
                      </a:cubicBezTo>
                      <a:lnTo>
                        <a:pt x="33931" y="57747"/>
                      </a:lnTo>
                      <a:lnTo>
                        <a:pt x="33931" y="57747"/>
                      </a:lnTo>
                      <a:lnTo>
                        <a:pt x="32642" y="56868"/>
                      </a:lnTo>
                      <a:cubicBezTo>
                        <a:pt x="32525" y="56810"/>
                        <a:pt x="32466" y="56693"/>
                        <a:pt x="32466" y="56575"/>
                      </a:cubicBezTo>
                      <a:cubicBezTo>
                        <a:pt x="32466" y="56341"/>
                        <a:pt x="32583" y="56166"/>
                        <a:pt x="32818" y="56166"/>
                      </a:cubicBezTo>
                      <a:cubicBezTo>
                        <a:pt x="32818" y="56166"/>
                        <a:pt x="32818" y="56166"/>
                        <a:pt x="32876" y="56166"/>
                      </a:cubicBezTo>
                      <a:cubicBezTo>
                        <a:pt x="32876" y="56166"/>
                        <a:pt x="32876" y="56166"/>
                        <a:pt x="32876" y="56166"/>
                      </a:cubicBezTo>
                      <a:cubicBezTo>
                        <a:pt x="33755" y="56166"/>
                        <a:pt x="34575" y="56166"/>
                        <a:pt x="35395" y="56107"/>
                      </a:cubicBezTo>
                      <a:cubicBezTo>
                        <a:pt x="36215" y="56048"/>
                        <a:pt x="37035" y="55931"/>
                        <a:pt x="37855" y="55756"/>
                      </a:cubicBezTo>
                      <a:cubicBezTo>
                        <a:pt x="37855" y="55756"/>
                        <a:pt x="37855" y="55756"/>
                        <a:pt x="37855" y="55756"/>
                      </a:cubicBezTo>
                      <a:cubicBezTo>
                        <a:pt x="37855" y="55756"/>
                        <a:pt x="37855" y="55756"/>
                        <a:pt x="37914" y="55756"/>
                      </a:cubicBezTo>
                      <a:cubicBezTo>
                        <a:pt x="38148" y="55756"/>
                        <a:pt x="38324" y="55873"/>
                        <a:pt x="38324" y="56107"/>
                      </a:cubicBezTo>
                      <a:cubicBezTo>
                        <a:pt x="38324" y="56224"/>
                        <a:pt x="38265" y="56341"/>
                        <a:pt x="38207" y="56400"/>
                      </a:cubicBezTo>
                      <a:lnTo>
                        <a:pt x="38207" y="56400"/>
                      </a:lnTo>
                      <a:lnTo>
                        <a:pt x="37094" y="57454"/>
                      </a:lnTo>
                      <a:lnTo>
                        <a:pt x="37094" y="57454"/>
                      </a:lnTo>
                      <a:lnTo>
                        <a:pt x="36391" y="58098"/>
                      </a:lnTo>
                      <a:close/>
                      <a:moveTo>
                        <a:pt x="42424" y="67528"/>
                      </a:moveTo>
                      <a:lnTo>
                        <a:pt x="42424" y="67528"/>
                      </a:lnTo>
                      <a:cubicBezTo>
                        <a:pt x="42424" y="67469"/>
                        <a:pt x="42424" y="67410"/>
                        <a:pt x="42424" y="67293"/>
                      </a:cubicBezTo>
                      <a:cubicBezTo>
                        <a:pt x="42483" y="66649"/>
                        <a:pt x="42424" y="65946"/>
                        <a:pt x="42248" y="65302"/>
                      </a:cubicBezTo>
                      <a:cubicBezTo>
                        <a:pt x="42073" y="64658"/>
                        <a:pt x="41780" y="64072"/>
                        <a:pt x="41428" y="63486"/>
                      </a:cubicBezTo>
                      <a:cubicBezTo>
                        <a:pt x="41370" y="63428"/>
                        <a:pt x="41370" y="63311"/>
                        <a:pt x="41311" y="63311"/>
                      </a:cubicBezTo>
                      <a:lnTo>
                        <a:pt x="41311" y="63252"/>
                      </a:lnTo>
                      <a:cubicBezTo>
                        <a:pt x="41252" y="62901"/>
                        <a:pt x="41428" y="62608"/>
                        <a:pt x="41721" y="62491"/>
                      </a:cubicBezTo>
                      <a:cubicBezTo>
                        <a:pt x="41897" y="62432"/>
                        <a:pt x="42073" y="62491"/>
                        <a:pt x="42190" y="62549"/>
                      </a:cubicBezTo>
                      <a:lnTo>
                        <a:pt x="44474" y="63896"/>
                      </a:lnTo>
                      <a:cubicBezTo>
                        <a:pt x="44943" y="64189"/>
                        <a:pt x="45118" y="64833"/>
                        <a:pt x="44826" y="65302"/>
                      </a:cubicBezTo>
                      <a:lnTo>
                        <a:pt x="43478" y="67645"/>
                      </a:lnTo>
                      <a:cubicBezTo>
                        <a:pt x="43420" y="67762"/>
                        <a:pt x="43303" y="67879"/>
                        <a:pt x="43127" y="67879"/>
                      </a:cubicBezTo>
                      <a:cubicBezTo>
                        <a:pt x="42834" y="68055"/>
                        <a:pt x="42483" y="67879"/>
                        <a:pt x="42424" y="67528"/>
                      </a:cubicBezTo>
                      <a:close/>
                      <a:moveTo>
                        <a:pt x="45294" y="68992"/>
                      </a:moveTo>
                      <a:cubicBezTo>
                        <a:pt x="45236" y="69050"/>
                        <a:pt x="45118" y="69050"/>
                        <a:pt x="45118" y="69109"/>
                      </a:cubicBezTo>
                      <a:lnTo>
                        <a:pt x="45060" y="69109"/>
                      </a:lnTo>
                      <a:cubicBezTo>
                        <a:pt x="44708" y="69167"/>
                        <a:pt x="44416" y="68992"/>
                        <a:pt x="44298" y="68699"/>
                      </a:cubicBezTo>
                      <a:cubicBezTo>
                        <a:pt x="44240" y="68523"/>
                        <a:pt x="44298" y="68347"/>
                        <a:pt x="44357" y="68230"/>
                      </a:cubicBezTo>
                      <a:lnTo>
                        <a:pt x="45704" y="65946"/>
                      </a:lnTo>
                      <a:cubicBezTo>
                        <a:pt x="45997" y="65478"/>
                        <a:pt x="46583" y="65302"/>
                        <a:pt x="47110" y="65595"/>
                      </a:cubicBezTo>
                      <a:lnTo>
                        <a:pt x="49453" y="66942"/>
                      </a:lnTo>
                      <a:cubicBezTo>
                        <a:pt x="49570" y="67000"/>
                        <a:pt x="49687" y="67118"/>
                        <a:pt x="49687" y="67293"/>
                      </a:cubicBezTo>
                      <a:cubicBezTo>
                        <a:pt x="49746" y="67645"/>
                        <a:pt x="49570" y="67937"/>
                        <a:pt x="49277" y="68055"/>
                      </a:cubicBezTo>
                      <a:lnTo>
                        <a:pt x="49277" y="68055"/>
                      </a:lnTo>
                      <a:cubicBezTo>
                        <a:pt x="49219" y="68055"/>
                        <a:pt x="49160" y="68055"/>
                        <a:pt x="49043" y="68055"/>
                      </a:cubicBezTo>
                      <a:cubicBezTo>
                        <a:pt x="48399" y="67996"/>
                        <a:pt x="47696" y="68055"/>
                        <a:pt x="47051" y="68172"/>
                      </a:cubicBezTo>
                      <a:cubicBezTo>
                        <a:pt x="46466" y="68347"/>
                        <a:pt x="45821" y="68640"/>
                        <a:pt x="45294" y="68992"/>
                      </a:cubicBezTo>
                      <a:close/>
                      <a:moveTo>
                        <a:pt x="45763" y="71569"/>
                      </a:moveTo>
                      <a:cubicBezTo>
                        <a:pt x="45470" y="71159"/>
                        <a:pt x="45646" y="70573"/>
                        <a:pt x="46407" y="70339"/>
                      </a:cubicBezTo>
                      <a:cubicBezTo>
                        <a:pt x="48047" y="70749"/>
                        <a:pt x="46466" y="72681"/>
                        <a:pt x="45763" y="71569"/>
                      </a:cubicBezTo>
                      <a:close/>
                      <a:moveTo>
                        <a:pt x="52850" y="58742"/>
                      </a:moveTo>
                      <a:cubicBezTo>
                        <a:pt x="52968" y="58625"/>
                        <a:pt x="53143" y="58567"/>
                        <a:pt x="53319" y="58567"/>
                      </a:cubicBezTo>
                      <a:lnTo>
                        <a:pt x="55955" y="58508"/>
                      </a:lnTo>
                      <a:cubicBezTo>
                        <a:pt x="56541" y="58508"/>
                        <a:pt x="57009" y="58977"/>
                        <a:pt x="57009" y="59504"/>
                      </a:cubicBezTo>
                      <a:lnTo>
                        <a:pt x="57068" y="62198"/>
                      </a:lnTo>
                      <a:cubicBezTo>
                        <a:pt x="57068" y="62315"/>
                        <a:pt x="57009" y="62491"/>
                        <a:pt x="56892" y="62608"/>
                      </a:cubicBezTo>
                      <a:cubicBezTo>
                        <a:pt x="56658" y="62842"/>
                        <a:pt x="56248" y="62842"/>
                        <a:pt x="56014" y="62608"/>
                      </a:cubicBezTo>
                      <a:lnTo>
                        <a:pt x="56014" y="62608"/>
                      </a:lnTo>
                      <a:cubicBezTo>
                        <a:pt x="55955" y="62549"/>
                        <a:pt x="55955" y="62549"/>
                        <a:pt x="55896" y="62432"/>
                      </a:cubicBezTo>
                      <a:cubicBezTo>
                        <a:pt x="55604" y="61846"/>
                        <a:pt x="55252" y="61261"/>
                        <a:pt x="54725" y="60792"/>
                      </a:cubicBezTo>
                      <a:cubicBezTo>
                        <a:pt x="54256" y="60324"/>
                        <a:pt x="53670" y="59972"/>
                        <a:pt x="53085" y="59680"/>
                      </a:cubicBezTo>
                      <a:cubicBezTo>
                        <a:pt x="52968" y="59621"/>
                        <a:pt x="52909" y="59621"/>
                        <a:pt x="52909" y="59562"/>
                      </a:cubicBezTo>
                      <a:lnTo>
                        <a:pt x="52909" y="59562"/>
                      </a:lnTo>
                      <a:cubicBezTo>
                        <a:pt x="52616" y="59387"/>
                        <a:pt x="52616" y="58977"/>
                        <a:pt x="52850" y="58742"/>
                      </a:cubicBezTo>
                      <a:close/>
                      <a:moveTo>
                        <a:pt x="57888" y="56517"/>
                      </a:moveTo>
                      <a:lnTo>
                        <a:pt x="57829" y="53823"/>
                      </a:lnTo>
                      <a:cubicBezTo>
                        <a:pt x="57829" y="53706"/>
                        <a:pt x="57888" y="53530"/>
                        <a:pt x="58005" y="53413"/>
                      </a:cubicBezTo>
                      <a:cubicBezTo>
                        <a:pt x="58239" y="53179"/>
                        <a:pt x="58649" y="53179"/>
                        <a:pt x="58884" y="53413"/>
                      </a:cubicBezTo>
                      <a:lnTo>
                        <a:pt x="58884" y="53413"/>
                      </a:lnTo>
                      <a:cubicBezTo>
                        <a:pt x="58942" y="53471"/>
                        <a:pt x="58942" y="53471"/>
                        <a:pt x="59001" y="53589"/>
                      </a:cubicBezTo>
                      <a:cubicBezTo>
                        <a:pt x="59294" y="54174"/>
                        <a:pt x="59645" y="54760"/>
                        <a:pt x="60172" y="55228"/>
                      </a:cubicBezTo>
                      <a:cubicBezTo>
                        <a:pt x="60641" y="55697"/>
                        <a:pt x="61227" y="56048"/>
                        <a:pt x="61813" y="56341"/>
                      </a:cubicBezTo>
                      <a:cubicBezTo>
                        <a:pt x="61930" y="56400"/>
                        <a:pt x="61988" y="56400"/>
                        <a:pt x="61988" y="56458"/>
                      </a:cubicBezTo>
                      <a:lnTo>
                        <a:pt x="61988" y="56458"/>
                      </a:lnTo>
                      <a:cubicBezTo>
                        <a:pt x="62223" y="56693"/>
                        <a:pt x="62223" y="57103"/>
                        <a:pt x="61988" y="57337"/>
                      </a:cubicBezTo>
                      <a:cubicBezTo>
                        <a:pt x="61871" y="57454"/>
                        <a:pt x="61695" y="57513"/>
                        <a:pt x="61520" y="57513"/>
                      </a:cubicBezTo>
                      <a:lnTo>
                        <a:pt x="58884" y="57571"/>
                      </a:lnTo>
                      <a:cubicBezTo>
                        <a:pt x="58415" y="57513"/>
                        <a:pt x="57947" y="57044"/>
                        <a:pt x="57888" y="56517"/>
                      </a:cubicBezTo>
                      <a:close/>
                      <a:moveTo>
                        <a:pt x="63980" y="59035"/>
                      </a:moveTo>
                      <a:cubicBezTo>
                        <a:pt x="65503" y="57103"/>
                        <a:pt x="66791" y="54526"/>
                        <a:pt x="67612" y="52827"/>
                      </a:cubicBezTo>
                      <a:cubicBezTo>
                        <a:pt x="67846" y="52359"/>
                        <a:pt x="68724" y="52710"/>
                        <a:pt x="68842" y="52886"/>
                      </a:cubicBezTo>
                      <a:cubicBezTo>
                        <a:pt x="69193" y="53471"/>
                        <a:pt x="68314" y="54760"/>
                        <a:pt x="67963" y="55346"/>
                      </a:cubicBezTo>
                      <a:cubicBezTo>
                        <a:pt x="67143" y="56927"/>
                        <a:pt x="66264" y="58332"/>
                        <a:pt x="65151" y="59797"/>
                      </a:cubicBezTo>
                      <a:cubicBezTo>
                        <a:pt x="64683" y="60441"/>
                        <a:pt x="64214" y="61612"/>
                        <a:pt x="63160" y="61378"/>
                      </a:cubicBezTo>
                      <a:cubicBezTo>
                        <a:pt x="62223" y="60792"/>
                        <a:pt x="63277" y="59855"/>
                        <a:pt x="63980" y="59035"/>
                      </a:cubicBezTo>
                      <a:close/>
                      <a:moveTo>
                        <a:pt x="66850" y="50309"/>
                      </a:moveTo>
                      <a:cubicBezTo>
                        <a:pt x="66674" y="50250"/>
                        <a:pt x="66557" y="50133"/>
                        <a:pt x="66440" y="50016"/>
                      </a:cubicBezTo>
                      <a:lnTo>
                        <a:pt x="66440" y="50016"/>
                      </a:lnTo>
                      <a:lnTo>
                        <a:pt x="65034" y="47790"/>
                      </a:lnTo>
                      <a:cubicBezTo>
                        <a:pt x="64741" y="47322"/>
                        <a:pt x="64858" y="46678"/>
                        <a:pt x="65386" y="46385"/>
                      </a:cubicBezTo>
                      <a:lnTo>
                        <a:pt x="67670" y="44979"/>
                      </a:lnTo>
                      <a:cubicBezTo>
                        <a:pt x="67787" y="44921"/>
                        <a:pt x="67963" y="44862"/>
                        <a:pt x="68080" y="44921"/>
                      </a:cubicBezTo>
                      <a:cubicBezTo>
                        <a:pt x="68432" y="44979"/>
                        <a:pt x="68607" y="45331"/>
                        <a:pt x="68549" y="45682"/>
                      </a:cubicBezTo>
                      <a:lnTo>
                        <a:pt x="68549" y="45682"/>
                      </a:lnTo>
                      <a:cubicBezTo>
                        <a:pt x="68549" y="45741"/>
                        <a:pt x="68490" y="45799"/>
                        <a:pt x="68490" y="45858"/>
                      </a:cubicBezTo>
                      <a:cubicBezTo>
                        <a:pt x="68139" y="46443"/>
                        <a:pt x="67846" y="47029"/>
                        <a:pt x="67729" y="47673"/>
                      </a:cubicBezTo>
                      <a:cubicBezTo>
                        <a:pt x="67553" y="48318"/>
                        <a:pt x="67553" y="48962"/>
                        <a:pt x="67612" y="49665"/>
                      </a:cubicBezTo>
                      <a:cubicBezTo>
                        <a:pt x="67612" y="49782"/>
                        <a:pt x="67612" y="49840"/>
                        <a:pt x="67612" y="49899"/>
                      </a:cubicBezTo>
                      <a:lnTo>
                        <a:pt x="67612" y="49899"/>
                      </a:lnTo>
                      <a:cubicBezTo>
                        <a:pt x="67494" y="50192"/>
                        <a:pt x="67201" y="50426"/>
                        <a:pt x="66850" y="50309"/>
                      </a:cubicBezTo>
                      <a:close/>
                      <a:moveTo>
                        <a:pt x="69955" y="48962"/>
                      </a:moveTo>
                      <a:cubicBezTo>
                        <a:pt x="70775" y="48083"/>
                        <a:pt x="71653" y="49606"/>
                        <a:pt x="70892" y="50075"/>
                      </a:cubicBezTo>
                      <a:cubicBezTo>
                        <a:pt x="70247" y="50543"/>
                        <a:pt x="69252" y="49665"/>
                        <a:pt x="69955" y="48962"/>
                      </a:cubicBezTo>
                      <a:close/>
                      <a:moveTo>
                        <a:pt x="64858" y="38244"/>
                      </a:moveTo>
                      <a:cubicBezTo>
                        <a:pt x="64214" y="38420"/>
                        <a:pt x="63628" y="38713"/>
                        <a:pt x="63101" y="39123"/>
                      </a:cubicBezTo>
                      <a:cubicBezTo>
                        <a:pt x="63043" y="39181"/>
                        <a:pt x="62984" y="39181"/>
                        <a:pt x="62925" y="39240"/>
                      </a:cubicBezTo>
                      <a:lnTo>
                        <a:pt x="62867" y="39240"/>
                      </a:lnTo>
                      <a:cubicBezTo>
                        <a:pt x="62515" y="39357"/>
                        <a:pt x="62223" y="39123"/>
                        <a:pt x="62105" y="38830"/>
                      </a:cubicBezTo>
                      <a:cubicBezTo>
                        <a:pt x="62047" y="38654"/>
                        <a:pt x="62105" y="38478"/>
                        <a:pt x="62164" y="38361"/>
                      </a:cubicBezTo>
                      <a:lnTo>
                        <a:pt x="62164" y="38361"/>
                      </a:lnTo>
                      <a:lnTo>
                        <a:pt x="63394" y="36077"/>
                      </a:lnTo>
                      <a:cubicBezTo>
                        <a:pt x="63687" y="35609"/>
                        <a:pt x="64273" y="35374"/>
                        <a:pt x="64800" y="35667"/>
                      </a:cubicBezTo>
                      <a:lnTo>
                        <a:pt x="67143" y="36956"/>
                      </a:lnTo>
                      <a:cubicBezTo>
                        <a:pt x="67260" y="37014"/>
                        <a:pt x="67377" y="37131"/>
                        <a:pt x="67377" y="37307"/>
                      </a:cubicBezTo>
                      <a:cubicBezTo>
                        <a:pt x="67494" y="37658"/>
                        <a:pt x="67260" y="37951"/>
                        <a:pt x="66967" y="38068"/>
                      </a:cubicBezTo>
                      <a:lnTo>
                        <a:pt x="66967" y="38068"/>
                      </a:lnTo>
                      <a:cubicBezTo>
                        <a:pt x="66909" y="38068"/>
                        <a:pt x="66850" y="38068"/>
                        <a:pt x="66791" y="38068"/>
                      </a:cubicBezTo>
                      <a:cubicBezTo>
                        <a:pt x="66147" y="38010"/>
                        <a:pt x="65503" y="38068"/>
                        <a:pt x="64858" y="38244"/>
                      </a:cubicBezTo>
                      <a:close/>
                      <a:moveTo>
                        <a:pt x="70540" y="44335"/>
                      </a:moveTo>
                      <a:cubicBezTo>
                        <a:pt x="70716" y="42754"/>
                        <a:pt x="70892" y="41114"/>
                        <a:pt x="70833" y="39591"/>
                      </a:cubicBezTo>
                      <a:cubicBezTo>
                        <a:pt x="70833" y="38654"/>
                        <a:pt x="70482" y="37776"/>
                        <a:pt x="70775" y="37131"/>
                      </a:cubicBezTo>
                      <a:cubicBezTo>
                        <a:pt x="72298" y="35609"/>
                        <a:pt x="72239" y="38713"/>
                        <a:pt x="72298" y="39708"/>
                      </a:cubicBezTo>
                      <a:cubicBezTo>
                        <a:pt x="72356" y="41582"/>
                        <a:pt x="72180" y="42812"/>
                        <a:pt x="72005" y="44804"/>
                      </a:cubicBezTo>
                      <a:cubicBezTo>
                        <a:pt x="71946" y="45448"/>
                        <a:pt x="72063" y="46912"/>
                        <a:pt x="71126" y="47029"/>
                      </a:cubicBezTo>
                      <a:cubicBezTo>
                        <a:pt x="71068" y="47029"/>
                        <a:pt x="70599" y="46912"/>
                        <a:pt x="70540" y="46853"/>
                      </a:cubicBezTo>
                      <a:cubicBezTo>
                        <a:pt x="70013" y="46326"/>
                        <a:pt x="70423" y="44862"/>
                        <a:pt x="70540" y="44335"/>
                      </a:cubicBezTo>
                      <a:close/>
                      <a:moveTo>
                        <a:pt x="69720" y="34086"/>
                      </a:moveTo>
                      <a:cubicBezTo>
                        <a:pt x="69252" y="33383"/>
                        <a:pt x="69544" y="32973"/>
                        <a:pt x="70306" y="32680"/>
                      </a:cubicBezTo>
                      <a:cubicBezTo>
                        <a:pt x="70657" y="32739"/>
                        <a:pt x="71009" y="33266"/>
                        <a:pt x="71009" y="33734"/>
                      </a:cubicBezTo>
                      <a:cubicBezTo>
                        <a:pt x="70716" y="34203"/>
                        <a:pt x="70130" y="34320"/>
                        <a:pt x="69720" y="34086"/>
                      </a:cubicBezTo>
                      <a:close/>
                      <a:moveTo>
                        <a:pt x="68314" y="29166"/>
                      </a:moveTo>
                      <a:cubicBezTo>
                        <a:pt x="67377" y="26941"/>
                        <a:pt x="65796" y="24305"/>
                        <a:pt x="64683" y="22782"/>
                      </a:cubicBezTo>
                      <a:cubicBezTo>
                        <a:pt x="64741" y="22314"/>
                        <a:pt x="64976" y="21670"/>
                        <a:pt x="65620" y="21845"/>
                      </a:cubicBezTo>
                      <a:cubicBezTo>
                        <a:pt x="66089" y="21963"/>
                        <a:pt x="66967" y="23485"/>
                        <a:pt x="67377" y="24071"/>
                      </a:cubicBezTo>
                      <a:cubicBezTo>
                        <a:pt x="68080" y="25184"/>
                        <a:pt x="69252" y="27526"/>
                        <a:pt x="69837" y="28873"/>
                      </a:cubicBezTo>
                      <a:cubicBezTo>
                        <a:pt x="70247" y="29810"/>
                        <a:pt x="70482" y="30748"/>
                        <a:pt x="69955" y="31040"/>
                      </a:cubicBezTo>
                      <a:cubicBezTo>
                        <a:pt x="68842" y="31568"/>
                        <a:pt x="68607" y="29928"/>
                        <a:pt x="68314" y="29166"/>
                      </a:cubicBezTo>
                      <a:close/>
                      <a:moveTo>
                        <a:pt x="62750" y="9664"/>
                      </a:moveTo>
                      <a:lnTo>
                        <a:pt x="62808" y="9546"/>
                      </a:lnTo>
                      <a:lnTo>
                        <a:pt x="62750" y="9664"/>
                      </a:lnTo>
                      <a:cubicBezTo>
                        <a:pt x="63160" y="9956"/>
                        <a:pt x="63160" y="10542"/>
                        <a:pt x="62867" y="11011"/>
                      </a:cubicBezTo>
                      <a:lnTo>
                        <a:pt x="61403" y="13060"/>
                      </a:lnTo>
                      <a:cubicBezTo>
                        <a:pt x="61051" y="13529"/>
                        <a:pt x="60524" y="13646"/>
                        <a:pt x="60114" y="13353"/>
                      </a:cubicBezTo>
                      <a:cubicBezTo>
                        <a:pt x="59762" y="13060"/>
                        <a:pt x="59704" y="12475"/>
                        <a:pt x="59997" y="12065"/>
                      </a:cubicBezTo>
                      <a:lnTo>
                        <a:pt x="61461" y="10015"/>
                      </a:lnTo>
                      <a:cubicBezTo>
                        <a:pt x="61754" y="9488"/>
                        <a:pt x="62340" y="9371"/>
                        <a:pt x="62750" y="9664"/>
                      </a:cubicBezTo>
                      <a:close/>
                      <a:moveTo>
                        <a:pt x="60524" y="8141"/>
                      </a:moveTo>
                      <a:lnTo>
                        <a:pt x="60582" y="8024"/>
                      </a:lnTo>
                      <a:lnTo>
                        <a:pt x="60524" y="8141"/>
                      </a:lnTo>
                      <a:cubicBezTo>
                        <a:pt x="60934" y="8375"/>
                        <a:pt x="60992" y="8961"/>
                        <a:pt x="60700" y="9429"/>
                      </a:cubicBezTo>
                      <a:lnTo>
                        <a:pt x="59352" y="11538"/>
                      </a:lnTo>
                      <a:cubicBezTo>
                        <a:pt x="59059" y="12006"/>
                        <a:pt x="58474" y="12182"/>
                        <a:pt x="58064" y="11948"/>
                      </a:cubicBezTo>
                      <a:cubicBezTo>
                        <a:pt x="57654" y="11713"/>
                        <a:pt x="57595" y="11128"/>
                        <a:pt x="57888" y="10659"/>
                      </a:cubicBezTo>
                      <a:lnTo>
                        <a:pt x="59235" y="8551"/>
                      </a:lnTo>
                      <a:cubicBezTo>
                        <a:pt x="59528" y="8024"/>
                        <a:pt x="60114" y="7848"/>
                        <a:pt x="60524" y="8141"/>
                      </a:cubicBezTo>
                      <a:close/>
                      <a:moveTo>
                        <a:pt x="58181" y="6794"/>
                      </a:moveTo>
                      <a:lnTo>
                        <a:pt x="58239" y="6677"/>
                      </a:lnTo>
                      <a:lnTo>
                        <a:pt x="58181" y="6794"/>
                      </a:lnTo>
                      <a:cubicBezTo>
                        <a:pt x="58591" y="7028"/>
                        <a:pt x="58708" y="7614"/>
                        <a:pt x="58474" y="8082"/>
                      </a:cubicBezTo>
                      <a:lnTo>
                        <a:pt x="57302" y="10308"/>
                      </a:lnTo>
                      <a:cubicBezTo>
                        <a:pt x="57068" y="10776"/>
                        <a:pt x="56482" y="11011"/>
                        <a:pt x="56072" y="10776"/>
                      </a:cubicBezTo>
                      <a:cubicBezTo>
                        <a:pt x="55662" y="10542"/>
                        <a:pt x="55545" y="9956"/>
                        <a:pt x="55779" y="9488"/>
                      </a:cubicBezTo>
                      <a:lnTo>
                        <a:pt x="56951" y="7262"/>
                      </a:lnTo>
                      <a:cubicBezTo>
                        <a:pt x="57244" y="6735"/>
                        <a:pt x="57771" y="6560"/>
                        <a:pt x="58181" y="6794"/>
                      </a:cubicBezTo>
                      <a:close/>
                      <a:moveTo>
                        <a:pt x="54608" y="6150"/>
                      </a:moveTo>
                      <a:cubicBezTo>
                        <a:pt x="54842" y="5622"/>
                        <a:pt x="55369" y="5388"/>
                        <a:pt x="55779" y="5564"/>
                      </a:cubicBezTo>
                      <a:lnTo>
                        <a:pt x="55838" y="5447"/>
                      </a:lnTo>
                      <a:lnTo>
                        <a:pt x="55779" y="5564"/>
                      </a:lnTo>
                      <a:cubicBezTo>
                        <a:pt x="56189" y="5740"/>
                        <a:pt x="56365" y="6325"/>
                        <a:pt x="56131" y="6852"/>
                      </a:cubicBezTo>
                      <a:lnTo>
                        <a:pt x="55076" y="9136"/>
                      </a:lnTo>
                      <a:cubicBezTo>
                        <a:pt x="54842" y="9664"/>
                        <a:pt x="54315" y="9898"/>
                        <a:pt x="53905" y="9664"/>
                      </a:cubicBezTo>
                      <a:cubicBezTo>
                        <a:pt x="53495" y="9488"/>
                        <a:pt x="53319" y="8902"/>
                        <a:pt x="53553" y="8375"/>
                      </a:cubicBezTo>
                      <a:lnTo>
                        <a:pt x="54608" y="6150"/>
                      </a:lnTo>
                      <a:close/>
                      <a:moveTo>
                        <a:pt x="52148" y="5212"/>
                      </a:moveTo>
                      <a:cubicBezTo>
                        <a:pt x="52323" y="4685"/>
                        <a:pt x="52850" y="4393"/>
                        <a:pt x="53319" y="4568"/>
                      </a:cubicBezTo>
                      <a:lnTo>
                        <a:pt x="53378" y="4451"/>
                      </a:lnTo>
                      <a:lnTo>
                        <a:pt x="53319" y="4568"/>
                      </a:lnTo>
                      <a:cubicBezTo>
                        <a:pt x="53788" y="4744"/>
                        <a:pt x="53963" y="5271"/>
                        <a:pt x="53788" y="5798"/>
                      </a:cubicBezTo>
                      <a:lnTo>
                        <a:pt x="52909" y="8141"/>
                      </a:lnTo>
                      <a:cubicBezTo>
                        <a:pt x="52733" y="8668"/>
                        <a:pt x="52206" y="8961"/>
                        <a:pt x="51738" y="8785"/>
                      </a:cubicBezTo>
                      <a:cubicBezTo>
                        <a:pt x="51269" y="8609"/>
                        <a:pt x="51093" y="8082"/>
                        <a:pt x="51269" y="7555"/>
                      </a:cubicBezTo>
                      <a:lnTo>
                        <a:pt x="52148" y="5212"/>
                      </a:lnTo>
                      <a:close/>
                      <a:moveTo>
                        <a:pt x="50742" y="3690"/>
                      </a:moveTo>
                      <a:lnTo>
                        <a:pt x="50800" y="3573"/>
                      </a:lnTo>
                      <a:lnTo>
                        <a:pt x="50742" y="3690"/>
                      </a:lnTo>
                      <a:cubicBezTo>
                        <a:pt x="51210" y="3807"/>
                        <a:pt x="51445" y="4393"/>
                        <a:pt x="51269" y="4920"/>
                      </a:cubicBezTo>
                      <a:lnTo>
                        <a:pt x="50566" y="7321"/>
                      </a:lnTo>
                      <a:cubicBezTo>
                        <a:pt x="50390" y="7848"/>
                        <a:pt x="49922" y="8199"/>
                        <a:pt x="49453" y="8024"/>
                      </a:cubicBezTo>
                      <a:cubicBezTo>
                        <a:pt x="48984" y="7907"/>
                        <a:pt x="48750" y="7379"/>
                        <a:pt x="48926" y="6794"/>
                      </a:cubicBezTo>
                      <a:lnTo>
                        <a:pt x="49629" y="4393"/>
                      </a:lnTo>
                      <a:cubicBezTo>
                        <a:pt x="49805" y="3924"/>
                        <a:pt x="50332" y="3573"/>
                        <a:pt x="50742" y="3690"/>
                      </a:cubicBezTo>
                      <a:close/>
                      <a:moveTo>
                        <a:pt x="48164" y="3046"/>
                      </a:moveTo>
                      <a:lnTo>
                        <a:pt x="48223" y="2928"/>
                      </a:lnTo>
                      <a:lnTo>
                        <a:pt x="48164" y="3046"/>
                      </a:lnTo>
                      <a:cubicBezTo>
                        <a:pt x="48633" y="3163"/>
                        <a:pt x="48926" y="3690"/>
                        <a:pt x="48809" y="4217"/>
                      </a:cubicBezTo>
                      <a:lnTo>
                        <a:pt x="48282" y="6677"/>
                      </a:lnTo>
                      <a:cubicBezTo>
                        <a:pt x="48164" y="7204"/>
                        <a:pt x="47696" y="7555"/>
                        <a:pt x="47227" y="7497"/>
                      </a:cubicBezTo>
                      <a:cubicBezTo>
                        <a:pt x="46759" y="7379"/>
                        <a:pt x="46466" y="6852"/>
                        <a:pt x="46583" y="6325"/>
                      </a:cubicBezTo>
                      <a:lnTo>
                        <a:pt x="47110" y="3865"/>
                      </a:lnTo>
                      <a:cubicBezTo>
                        <a:pt x="47227" y="3280"/>
                        <a:pt x="47696" y="2928"/>
                        <a:pt x="48164" y="3046"/>
                      </a:cubicBezTo>
                      <a:close/>
                      <a:moveTo>
                        <a:pt x="45528" y="2577"/>
                      </a:moveTo>
                      <a:lnTo>
                        <a:pt x="45528" y="2460"/>
                      </a:lnTo>
                      <a:lnTo>
                        <a:pt x="45528" y="2577"/>
                      </a:lnTo>
                      <a:cubicBezTo>
                        <a:pt x="45997" y="2636"/>
                        <a:pt x="46290" y="3163"/>
                        <a:pt x="46231" y="3690"/>
                      </a:cubicBezTo>
                      <a:lnTo>
                        <a:pt x="45880" y="6208"/>
                      </a:lnTo>
                      <a:cubicBezTo>
                        <a:pt x="45821" y="6735"/>
                        <a:pt x="45353" y="7145"/>
                        <a:pt x="44884" y="7087"/>
                      </a:cubicBezTo>
                      <a:cubicBezTo>
                        <a:pt x="44416" y="7028"/>
                        <a:pt x="44123" y="6501"/>
                        <a:pt x="44181" y="5974"/>
                      </a:cubicBezTo>
                      <a:lnTo>
                        <a:pt x="44533" y="3455"/>
                      </a:lnTo>
                      <a:cubicBezTo>
                        <a:pt x="44650" y="2870"/>
                        <a:pt x="45060" y="2460"/>
                        <a:pt x="45528" y="2577"/>
                      </a:cubicBezTo>
                      <a:close/>
                      <a:moveTo>
                        <a:pt x="41955" y="3221"/>
                      </a:moveTo>
                      <a:cubicBezTo>
                        <a:pt x="42014" y="2694"/>
                        <a:pt x="42424" y="2226"/>
                        <a:pt x="42893" y="2284"/>
                      </a:cubicBezTo>
                      <a:lnTo>
                        <a:pt x="42893" y="2167"/>
                      </a:lnTo>
                      <a:lnTo>
                        <a:pt x="42893" y="2284"/>
                      </a:lnTo>
                      <a:cubicBezTo>
                        <a:pt x="43361" y="2343"/>
                        <a:pt x="43713" y="2811"/>
                        <a:pt x="43654" y="3338"/>
                      </a:cubicBezTo>
                      <a:lnTo>
                        <a:pt x="43478" y="5857"/>
                      </a:lnTo>
                      <a:cubicBezTo>
                        <a:pt x="43420" y="6384"/>
                        <a:pt x="43010" y="6852"/>
                        <a:pt x="42541" y="6794"/>
                      </a:cubicBezTo>
                      <a:cubicBezTo>
                        <a:pt x="42073" y="6735"/>
                        <a:pt x="41721" y="6267"/>
                        <a:pt x="41780" y="5740"/>
                      </a:cubicBezTo>
                      <a:lnTo>
                        <a:pt x="41955" y="3221"/>
                      </a:lnTo>
                      <a:close/>
                      <a:moveTo>
                        <a:pt x="39319" y="3163"/>
                      </a:moveTo>
                      <a:cubicBezTo>
                        <a:pt x="39319" y="2636"/>
                        <a:pt x="39730" y="2167"/>
                        <a:pt x="40198" y="2167"/>
                      </a:cubicBezTo>
                      <a:lnTo>
                        <a:pt x="40198" y="2050"/>
                      </a:lnTo>
                      <a:lnTo>
                        <a:pt x="40198" y="2167"/>
                      </a:lnTo>
                      <a:cubicBezTo>
                        <a:pt x="40667" y="2167"/>
                        <a:pt x="41018" y="2636"/>
                        <a:pt x="41018" y="3163"/>
                      </a:cubicBezTo>
                      <a:lnTo>
                        <a:pt x="41018" y="5681"/>
                      </a:lnTo>
                      <a:cubicBezTo>
                        <a:pt x="41018" y="6208"/>
                        <a:pt x="40608" y="6677"/>
                        <a:pt x="40140" y="6677"/>
                      </a:cubicBezTo>
                      <a:cubicBezTo>
                        <a:pt x="39671" y="6677"/>
                        <a:pt x="39261" y="6208"/>
                        <a:pt x="39261" y="5681"/>
                      </a:cubicBezTo>
                      <a:lnTo>
                        <a:pt x="39319" y="3163"/>
                      </a:lnTo>
                      <a:close/>
                      <a:moveTo>
                        <a:pt x="36742" y="3280"/>
                      </a:moveTo>
                      <a:cubicBezTo>
                        <a:pt x="36684" y="2753"/>
                        <a:pt x="37035" y="2284"/>
                        <a:pt x="37504" y="2226"/>
                      </a:cubicBezTo>
                      <a:lnTo>
                        <a:pt x="37504" y="2108"/>
                      </a:lnTo>
                      <a:lnTo>
                        <a:pt x="37504" y="2226"/>
                      </a:lnTo>
                      <a:cubicBezTo>
                        <a:pt x="37972" y="2226"/>
                        <a:pt x="38382" y="2636"/>
                        <a:pt x="38441" y="3163"/>
                      </a:cubicBezTo>
                      <a:lnTo>
                        <a:pt x="38617" y="5681"/>
                      </a:lnTo>
                      <a:cubicBezTo>
                        <a:pt x="38675" y="6208"/>
                        <a:pt x="38324" y="6735"/>
                        <a:pt x="37855" y="6735"/>
                      </a:cubicBezTo>
                      <a:cubicBezTo>
                        <a:pt x="37387" y="6794"/>
                        <a:pt x="36976" y="6325"/>
                        <a:pt x="36918" y="5798"/>
                      </a:cubicBezTo>
                      <a:lnTo>
                        <a:pt x="36742" y="3280"/>
                      </a:lnTo>
                      <a:close/>
                      <a:moveTo>
                        <a:pt x="34868" y="2460"/>
                      </a:moveTo>
                      <a:lnTo>
                        <a:pt x="34868" y="2343"/>
                      </a:lnTo>
                      <a:lnTo>
                        <a:pt x="34868" y="2460"/>
                      </a:lnTo>
                      <a:cubicBezTo>
                        <a:pt x="35336" y="2401"/>
                        <a:pt x="35805" y="2811"/>
                        <a:pt x="35863" y="3338"/>
                      </a:cubicBezTo>
                      <a:lnTo>
                        <a:pt x="36215" y="5857"/>
                      </a:lnTo>
                      <a:cubicBezTo>
                        <a:pt x="36274" y="6384"/>
                        <a:pt x="35981" y="6911"/>
                        <a:pt x="35512" y="6969"/>
                      </a:cubicBezTo>
                      <a:cubicBezTo>
                        <a:pt x="35043" y="7028"/>
                        <a:pt x="34633" y="6618"/>
                        <a:pt x="34516" y="6091"/>
                      </a:cubicBezTo>
                      <a:lnTo>
                        <a:pt x="34165" y="3573"/>
                      </a:lnTo>
                      <a:cubicBezTo>
                        <a:pt x="34106" y="3046"/>
                        <a:pt x="34399" y="2518"/>
                        <a:pt x="34868" y="2460"/>
                      </a:cubicBezTo>
                      <a:close/>
                      <a:moveTo>
                        <a:pt x="32115" y="6560"/>
                      </a:moveTo>
                      <a:lnTo>
                        <a:pt x="31588" y="4100"/>
                      </a:lnTo>
                      <a:cubicBezTo>
                        <a:pt x="31470" y="3573"/>
                        <a:pt x="31763" y="3046"/>
                        <a:pt x="32232" y="2928"/>
                      </a:cubicBezTo>
                      <a:lnTo>
                        <a:pt x="32232" y="2811"/>
                      </a:lnTo>
                      <a:lnTo>
                        <a:pt x="32232" y="2928"/>
                      </a:lnTo>
                      <a:cubicBezTo>
                        <a:pt x="32700" y="2811"/>
                        <a:pt x="33169" y="3221"/>
                        <a:pt x="33286" y="3748"/>
                      </a:cubicBezTo>
                      <a:lnTo>
                        <a:pt x="33813" y="6208"/>
                      </a:lnTo>
                      <a:cubicBezTo>
                        <a:pt x="33931" y="6735"/>
                        <a:pt x="33638" y="7262"/>
                        <a:pt x="33169" y="7379"/>
                      </a:cubicBezTo>
                      <a:cubicBezTo>
                        <a:pt x="32700" y="7497"/>
                        <a:pt x="32232" y="7087"/>
                        <a:pt x="32115" y="6560"/>
                      </a:cubicBezTo>
                      <a:close/>
                      <a:moveTo>
                        <a:pt x="29772" y="7204"/>
                      </a:moveTo>
                      <a:lnTo>
                        <a:pt x="29069" y="4744"/>
                      </a:lnTo>
                      <a:cubicBezTo>
                        <a:pt x="28893" y="4217"/>
                        <a:pt x="29186" y="3690"/>
                        <a:pt x="29596" y="3573"/>
                      </a:cubicBezTo>
                      <a:lnTo>
                        <a:pt x="29596" y="3455"/>
                      </a:lnTo>
                      <a:lnTo>
                        <a:pt x="29654" y="3573"/>
                      </a:lnTo>
                      <a:cubicBezTo>
                        <a:pt x="30123" y="3455"/>
                        <a:pt x="30592" y="3807"/>
                        <a:pt x="30767" y="4334"/>
                      </a:cubicBezTo>
                      <a:lnTo>
                        <a:pt x="31470" y="6794"/>
                      </a:lnTo>
                      <a:cubicBezTo>
                        <a:pt x="31646" y="7321"/>
                        <a:pt x="31353" y="7848"/>
                        <a:pt x="30943" y="7965"/>
                      </a:cubicBezTo>
                      <a:cubicBezTo>
                        <a:pt x="30416" y="8082"/>
                        <a:pt x="29947" y="7731"/>
                        <a:pt x="29772" y="7204"/>
                      </a:cubicBezTo>
                      <a:close/>
                      <a:moveTo>
                        <a:pt x="27487" y="7965"/>
                      </a:moveTo>
                      <a:lnTo>
                        <a:pt x="26609" y="5564"/>
                      </a:lnTo>
                      <a:cubicBezTo>
                        <a:pt x="26433" y="5037"/>
                        <a:pt x="26609" y="4510"/>
                        <a:pt x="27077" y="4334"/>
                      </a:cubicBezTo>
                      <a:lnTo>
                        <a:pt x="27019" y="4217"/>
                      </a:lnTo>
                      <a:lnTo>
                        <a:pt x="27077" y="4334"/>
                      </a:lnTo>
                      <a:cubicBezTo>
                        <a:pt x="27546" y="4158"/>
                        <a:pt x="28014" y="4451"/>
                        <a:pt x="28190" y="4978"/>
                      </a:cubicBezTo>
                      <a:lnTo>
                        <a:pt x="29069" y="7379"/>
                      </a:lnTo>
                      <a:cubicBezTo>
                        <a:pt x="29244" y="7907"/>
                        <a:pt x="29069" y="8434"/>
                        <a:pt x="28600" y="8609"/>
                      </a:cubicBezTo>
                      <a:cubicBezTo>
                        <a:pt x="28190" y="8785"/>
                        <a:pt x="27663" y="8492"/>
                        <a:pt x="27487" y="7965"/>
                      </a:cubicBezTo>
                      <a:close/>
                      <a:moveTo>
                        <a:pt x="24207" y="6618"/>
                      </a:moveTo>
                      <a:cubicBezTo>
                        <a:pt x="23973" y="6091"/>
                        <a:pt x="24148" y="5564"/>
                        <a:pt x="24558" y="5330"/>
                      </a:cubicBezTo>
                      <a:lnTo>
                        <a:pt x="24500" y="5212"/>
                      </a:lnTo>
                      <a:lnTo>
                        <a:pt x="24558" y="5330"/>
                      </a:lnTo>
                      <a:cubicBezTo>
                        <a:pt x="24968" y="5154"/>
                        <a:pt x="25496" y="5388"/>
                        <a:pt x="25730" y="5915"/>
                      </a:cubicBezTo>
                      <a:lnTo>
                        <a:pt x="26726" y="8199"/>
                      </a:lnTo>
                      <a:cubicBezTo>
                        <a:pt x="26960" y="8726"/>
                        <a:pt x="26784" y="9254"/>
                        <a:pt x="26316" y="9488"/>
                      </a:cubicBezTo>
                      <a:cubicBezTo>
                        <a:pt x="25906" y="9664"/>
                        <a:pt x="25379" y="9429"/>
                        <a:pt x="25144" y="8902"/>
                      </a:cubicBezTo>
                      <a:lnTo>
                        <a:pt x="24207" y="6618"/>
                      </a:lnTo>
                      <a:close/>
                      <a:moveTo>
                        <a:pt x="21923" y="7789"/>
                      </a:moveTo>
                      <a:cubicBezTo>
                        <a:pt x="21688" y="7321"/>
                        <a:pt x="21805" y="6735"/>
                        <a:pt x="22215" y="6501"/>
                      </a:cubicBezTo>
                      <a:lnTo>
                        <a:pt x="22157" y="6384"/>
                      </a:lnTo>
                      <a:lnTo>
                        <a:pt x="22215" y="6501"/>
                      </a:lnTo>
                      <a:cubicBezTo>
                        <a:pt x="22625" y="6267"/>
                        <a:pt x="23153" y="6501"/>
                        <a:pt x="23445" y="6969"/>
                      </a:cubicBezTo>
                      <a:lnTo>
                        <a:pt x="24617" y="9195"/>
                      </a:lnTo>
                      <a:cubicBezTo>
                        <a:pt x="24851" y="9664"/>
                        <a:pt x="24734" y="10249"/>
                        <a:pt x="24324" y="10483"/>
                      </a:cubicBezTo>
                      <a:cubicBezTo>
                        <a:pt x="23914" y="10718"/>
                        <a:pt x="23387" y="10483"/>
                        <a:pt x="23094" y="10015"/>
                      </a:cubicBezTo>
                      <a:lnTo>
                        <a:pt x="21923" y="7789"/>
                      </a:lnTo>
                      <a:close/>
                      <a:moveTo>
                        <a:pt x="19872" y="7848"/>
                      </a:moveTo>
                      <a:lnTo>
                        <a:pt x="19814" y="7731"/>
                      </a:lnTo>
                      <a:lnTo>
                        <a:pt x="19872" y="7848"/>
                      </a:lnTo>
                      <a:cubicBezTo>
                        <a:pt x="20282" y="7614"/>
                        <a:pt x="20810" y="7789"/>
                        <a:pt x="21102" y="8258"/>
                      </a:cubicBezTo>
                      <a:lnTo>
                        <a:pt x="22450" y="10425"/>
                      </a:lnTo>
                      <a:cubicBezTo>
                        <a:pt x="22743" y="10893"/>
                        <a:pt x="22625" y="11479"/>
                        <a:pt x="22274" y="11713"/>
                      </a:cubicBezTo>
                      <a:cubicBezTo>
                        <a:pt x="21864" y="11948"/>
                        <a:pt x="21337" y="11772"/>
                        <a:pt x="21044" y="11303"/>
                      </a:cubicBezTo>
                      <a:lnTo>
                        <a:pt x="19697" y="9136"/>
                      </a:lnTo>
                      <a:cubicBezTo>
                        <a:pt x="19404" y="8668"/>
                        <a:pt x="19462" y="8082"/>
                        <a:pt x="19872" y="7848"/>
                      </a:cubicBezTo>
                      <a:close/>
                      <a:moveTo>
                        <a:pt x="25203" y="13002"/>
                      </a:moveTo>
                      <a:cubicBezTo>
                        <a:pt x="25847" y="12650"/>
                        <a:pt x="27546" y="11713"/>
                        <a:pt x="28483" y="11362"/>
                      </a:cubicBezTo>
                      <a:cubicBezTo>
                        <a:pt x="29069" y="11128"/>
                        <a:pt x="30240" y="10718"/>
                        <a:pt x="30533" y="11303"/>
                      </a:cubicBezTo>
                      <a:cubicBezTo>
                        <a:pt x="31060" y="12358"/>
                        <a:pt x="28952" y="12709"/>
                        <a:pt x="28132" y="13060"/>
                      </a:cubicBezTo>
                      <a:cubicBezTo>
                        <a:pt x="26784" y="13646"/>
                        <a:pt x="24558" y="14876"/>
                        <a:pt x="23387" y="15696"/>
                      </a:cubicBezTo>
                      <a:cubicBezTo>
                        <a:pt x="22625" y="16223"/>
                        <a:pt x="21923" y="16809"/>
                        <a:pt x="21512" y="16164"/>
                      </a:cubicBezTo>
                      <a:cubicBezTo>
                        <a:pt x="20810" y="14993"/>
                        <a:pt x="23855" y="13763"/>
                        <a:pt x="25203" y="13002"/>
                      </a:cubicBezTo>
                      <a:close/>
                      <a:moveTo>
                        <a:pt x="17646" y="9312"/>
                      </a:moveTo>
                      <a:lnTo>
                        <a:pt x="17588" y="9195"/>
                      </a:lnTo>
                      <a:lnTo>
                        <a:pt x="17646" y="9312"/>
                      </a:lnTo>
                      <a:cubicBezTo>
                        <a:pt x="18057" y="9019"/>
                        <a:pt x="18584" y="9195"/>
                        <a:pt x="18935" y="9605"/>
                      </a:cubicBezTo>
                      <a:lnTo>
                        <a:pt x="20400" y="11655"/>
                      </a:lnTo>
                      <a:cubicBezTo>
                        <a:pt x="20751" y="12123"/>
                        <a:pt x="20692" y="12709"/>
                        <a:pt x="20282" y="13002"/>
                      </a:cubicBezTo>
                      <a:cubicBezTo>
                        <a:pt x="19931" y="13295"/>
                        <a:pt x="19345" y="13119"/>
                        <a:pt x="18994" y="12709"/>
                      </a:cubicBezTo>
                      <a:lnTo>
                        <a:pt x="17529" y="10659"/>
                      </a:lnTo>
                      <a:cubicBezTo>
                        <a:pt x="17236" y="10191"/>
                        <a:pt x="17295" y="9605"/>
                        <a:pt x="17646" y="9312"/>
                      </a:cubicBezTo>
                      <a:close/>
                      <a:moveTo>
                        <a:pt x="21630" y="18800"/>
                      </a:moveTo>
                      <a:cubicBezTo>
                        <a:pt x="21864" y="18566"/>
                        <a:pt x="22274" y="18566"/>
                        <a:pt x="22508" y="18800"/>
                      </a:cubicBezTo>
                      <a:cubicBezTo>
                        <a:pt x="22625" y="18917"/>
                        <a:pt x="22684" y="19093"/>
                        <a:pt x="22684" y="19268"/>
                      </a:cubicBezTo>
                      <a:lnTo>
                        <a:pt x="22743" y="21904"/>
                      </a:lnTo>
                      <a:cubicBezTo>
                        <a:pt x="22743" y="22490"/>
                        <a:pt x="22333" y="22958"/>
                        <a:pt x="21747" y="22958"/>
                      </a:cubicBezTo>
                      <a:lnTo>
                        <a:pt x="19052" y="23017"/>
                      </a:lnTo>
                      <a:cubicBezTo>
                        <a:pt x="18935" y="23017"/>
                        <a:pt x="18759" y="22958"/>
                        <a:pt x="18642" y="22841"/>
                      </a:cubicBezTo>
                      <a:cubicBezTo>
                        <a:pt x="18408" y="22607"/>
                        <a:pt x="18408" y="22197"/>
                        <a:pt x="18642" y="21963"/>
                      </a:cubicBezTo>
                      <a:lnTo>
                        <a:pt x="18642" y="21963"/>
                      </a:lnTo>
                      <a:cubicBezTo>
                        <a:pt x="18701" y="21963"/>
                        <a:pt x="18701" y="21904"/>
                        <a:pt x="18818" y="21845"/>
                      </a:cubicBezTo>
                      <a:cubicBezTo>
                        <a:pt x="19404" y="21553"/>
                        <a:pt x="19931" y="21201"/>
                        <a:pt x="20400" y="20674"/>
                      </a:cubicBezTo>
                      <a:cubicBezTo>
                        <a:pt x="20868" y="20206"/>
                        <a:pt x="21220" y="19620"/>
                        <a:pt x="21512" y="19034"/>
                      </a:cubicBezTo>
                      <a:cubicBezTo>
                        <a:pt x="21571" y="18917"/>
                        <a:pt x="21630" y="18859"/>
                        <a:pt x="21630" y="18800"/>
                      </a:cubicBezTo>
                      <a:lnTo>
                        <a:pt x="21630" y="18800"/>
                      </a:lnTo>
                      <a:close/>
                      <a:moveTo>
                        <a:pt x="19638" y="17394"/>
                      </a:moveTo>
                      <a:cubicBezTo>
                        <a:pt x="20224" y="18039"/>
                        <a:pt x="19521" y="18976"/>
                        <a:pt x="18642" y="18624"/>
                      </a:cubicBezTo>
                      <a:cubicBezTo>
                        <a:pt x="17822" y="17511"/>
                        <a:pt x="19169" y="16809"/>
                        <a:pt x="19638" y="17394"/>
                      </a:cubicBezTo>
                      <a:close/>
                      <a:moveTo>
                        <a:pt x="15538" y="10952"/>
                      </a:moveTo>
                      <a:lnTo>
                        <a:pt x="15479" y="10835"/>
                      </a:lnTo>
                      <a:lnTo>
                        <a:pt x="15538" y="10952"/>
                      </a:lnTo>
                      <a:cubicBezTo>
                        <a:pt x="15889" y="10659"/>
                        <a:pt x="16475" y="10776"/>
                        <a:pt x="16826" y="11186"/>
                      </a:cubicBezTo>
                      <a:lnTo>
                        <a:pt x="18467" y="13119"/>
                      </a:lnTo>
                      <a:cubicBezTo>
                        <a:pt x="18818" y="13529"/>
                        <a:pt x="18818" y="14115"/>
                        <a:pt x="18467" y="14466"/>
                      </a:cubicBezTo>
                      <a:cubicBezTo>
                        <a:pt x="18115" y="14759"/>
                        <a:pt x="17529" y="14642"/>
                        <a:pt x="17178" y="14232"/>
                      </a:cubicBezTo>
                      <a:lnTo>
                        <a:pt x="15538" y="12299"/>
                      </a:lnTo>
                      <a:cubicBezTo>
                        <a:pt x="15186" y="11889"/>
                        <a:pt x="15186" y="11303"/>
                        <a:pt x="15538" y="10952"/>
                      </a:cubicBezTo>
                      <a:close/>
                      <a:moveTo>
                        <a:pt x="13546" y="12768"/>
                      </a:moveTo>
                      <a:lnTo>
                        <a:pt x="13488" y="12650"/>
                      </a:lnTo>
                      <a:lnTo>
                        <a:pt x="13546" y="12768"/>
                      </a:lnTo>
                      <a:cubicBezTo>
                        <a:pt x="13898" y="12416"/>
                        <a:pt x="14483" y="12475"/>
                        <a:pt x="14835" y="12885"/>
                      </a:cubicBezTo>
                      <a:lnTo>
                        <a:pt x="16592" y="14700"/>
                      </a:lnTo>
                      <a:cubicBezTo>
                        <a:pt x="17002" y="15110"/>
                        <a:pt x="17002" y="15696"/>
                        <a:pt x="16651" y="16047"/>
                      </a:cubicBezTo>
                      <a:cubicBezTo>
                        <a:pt x="16299" y="16399"/>
                        <a:pt x="15714" y="16340"/>
                        <a:pt x="15362" y="15930"/>
                      </a:cubicBezTo>
                      <a:lnTo>
                        <a:pt x="13605" y="14115"/>
                      </a:lnTo>
                      <a:cubicBezTo>
                        <a:pt x="13253" y="13705"/>
                        <a:pt x="13253" y="13060"/>
                        <a:pt x="13546" y="12768"/>
                      </a:cubicBezTo>
                      <a:close/>
                      <a:moveTo>
                        <a:pt x="11730" y="14700"/>
                      </a:moveTo>
                      <a:lnTo>
                        <a:pt x="11613" y="14583"/>
                      </a:lnTo>
                      <a:lnTo>
                        <a:pt x="11730" y="14700"/>
                      </a:lnTo>
                      <a:cubicBezTo>
                        <a:pt x="12023" y="14349"/>
                        <a:pt x="12668" y="14349"/>
                        <a:pt x="13078" y="14759"/>
                      </a:cubicBezTo>
                      <a:lnTo>
                        <a:pt x="14952" y="16457"/>
                      </a:lnTo>
                      <a:cubicBezTo>
                        <a:pt x="15362" y="16809"/>
                        <a:pt x="15421" y="17394"/>
                        <a:pt x="15128" y="17746"/>
                      </a:cubicBezTo>
                      <a:cubicBezTo>
                        <a:pt x="14835" y="18097"/>
                        <a:pt x="14249" y="18097"/>
                        <a:pt x="13839" y="17687"/>
                      </a:cubicBezTo>
                      <a:lnTo>
                        <a:pt x="11965" y="15989"/>
                      </a:lnTo>
                      <a:cubicBezTo>
                        <a:pt x="11437" y="15637"/>
                        <a:pt x="11379" y="15052"/>
                        <a:pt x="11730" y="14700"/>
                      </a:cubicBezTo>
                      <a:close/>
                      <a:moveTo>
                        <a:pt x="9973" y="16750"/>
                      </a:moveTo>
                      <a:lnTo>
                        <a:pt x="9856" y="16692"/>
                      </a:lnTo>
                      <a:lnTo>
                        <a:pt x="9973" y="16750"/>
                      </a:lnTo>
                      <a:cubicBezTo>
                        <a:pt x="10266" y="16399"/>
                        <a:pt x="10852" y="16340"/>
                        <a:pt x="11262" y="16692"/>
                      </a:cubicBezTo>
                      <a:lnTo>
                        <a:pt x="13253" y="18273"/>
                      </a:lnTo>
                      <a:cubicBezTo>
                        <a:pt x="13663" y="18624"/>
                        <a:pt x="13781" y="19210"/>
                        <a:pt x="13488" y="19561"/>
                      </a:cubicBezTo>
                      <a:cubicBezTo>
                        <a:pt x="13195" y="19913"/>
                        <a:pt x="12609" y="19971"/>
                        <a:pt x="12199" y="19620"/>
                      </a:cubicBezTo>
                      <a:lnTo>
                        <a:pt x="10207" y="18039"/>
                      </a:lnTo>
                      <a:cubicBezTo>
                        <a:pt x="9797" y="17687"/>
                        <a:pt x="9680" y="17102"/>
                        <a:pt x="9973" y="16750"/>
                      </a:cubicBezTo>
                      <a:close/>
                      <a:moveTo>
                        <a:pt x="8392" y="18859"/>
                      </a:moveTo>
                      <a:lnTo>
                        <a:pt x="8274" y="18800"/>
                      </a:lnTo>
                      <a:lnTo>
                        <a:pt x="8392" y="18859"/>
                      </a:lnTo>
                      <a:cubicBezTo>
                        <a:pt x="8684" y="18449"/>
                        <a:pt x="9270" y="18390"/>
                        <a:pt x="9680" y="18741"/>
                      </a:cubicBezTo>
                      <a:lnTo>
                        <a:pt x="11789" y="20147"/>
                      </a:lnTo>
                      <a:cubicBezTo>
                        <a:pt x="12258" y="20440"/>
                        <a:pt x="12375" y="21025"/>
                        <a:pt x="12140" y="21435"/>
                      </a:cubicBezTo>
                      <a:cubicBezTo>
                        <a:pt x="11906" y="21845"/>
                        <a:pt x="11262" y="21904"/>
                        <a:pt x="10852" y="21553"/>
                      </a:cubicBezTo>
                      <a:lnTo>
                        <a:pt x="8743" y="20147"/>
                      </a:lnTo>
                      <a:cubicBezTo>
                        <a:pt x="8274" y="19854"/>
                        <a:pt x="8157" y="19268"/>
                        <a:pt x="8392" y="18859"/>
                      </a:cubicBezTo>
                      <a:close/>
                      <a:moveTo>
                        <a:pt x="6986" y="21143"/>
                      </a:moveTo>
                      <a:lnTo>
                        <a:pt x="6869" y="21084"/>
                      </a:lnTo>
                      <a:lnTo>
                        <a:pt x="6986" y="21143"/>
                      </a:lnTo>
                      <a:cubicBezTo>
                        <a:pt x="7220" y="20733"/>
                        <a:pt x="7806" y="20616"/>
                        <a:pt x="8274" y="20908"/>
                      </a:cubicBezTo>
                      <a:lnTo>
                        <a:pt x="10442" y="22197"/>
                      </a:lnTo>
                      <a:cubicBezTo>
                        <a:pt x="10910" y="22490"/>
                        <a:pt x="11086" y="23017"/>
                        <a:pt x="10852" y="23427"/>
                      </a:cubicBezTo>
                      <a:cubicBezTo>
                        <a:pt x="10617" y="23837"/>
                        <a:pt x="10032" y="23954"/>
                        <a:pt x="9563" y="23661"/>
                      </a:cubicBezTo>
                      <a:lnTo>
                        <a:pt x="7396" y="22373"/>
                      </a:lnTo>
                      <a:cubicBezTo>
                        <a:pt x="6927" y="22138"/>
                        <a:pt x="6751" y="21553"/>
                        <a:pt x="6986" y="21143"/>
                      </a:cubicBezTo>
                      <a:close/>
                      <a:moveTo>
                        <a:pt x="5697" y="23544"/>
                      </a:moveTo>
                      <a:lnTo>
                        <a:pt x="5580" y="23485"/>
                      </a:lnTo>
                      <a:lnTo>
                        <a:pt x="5697" y="23544"/>
                      </a:lnTo>
                      <a:cubicBezTo>
                        <a:pt x="5931" y="23134"/>
                        <a:pt x="6459" y="22958"/>
                        <a:pt x="6986" y="23192"/>
                      </a:cubicBezTo>
                      <a:lnTo>
                        <a:pt x="9270" y="24305"/>
                      </a:lnTo>
                      <a:cubicBezTo>
                        <a:pt x="9739" y="24539"/>
                        <a:pt x="9973" y="25125"/>
                        <a:pt x="9797" y="25535"/>
                      </a:cubicBezTo>
                      <a:cubicBezTo>
                        <a:pt x="9563" y="25945"/>
                        <a:pt x="9036" y="26121"/>
                        <a:pt x="8509" y="25887"/>
                      </a:cubicBezTo>
                      <a:lnTo>
                        <a:pt x="6224" y="24774"/>
                      </a:lnTo>
                      <a:cubicBezTo>
                        <a:pt x="5756" y="24481"/>
                        <a:pt x="5521" y="23954"/>
                        <a:pt x="5697" y="23544"/>
                      </a:cubicBezTo>
                      <a:close/>
                      <a:moveTo>
                        <a:pt x="4643" y="25945"/>
                      </a:moveTo>
                      <a:lnTo>
                        <a:pt x="4526" y="25887"/>
                      </a:lnTo>
                      <a:lnTo>
                        <a:pt x="4643" y="25945"/>
                      </a:lnTo>
                      <a:cubicBezTo>
                        <a:pt x="4818" y="25477"/>
                        <a:pt x="5404" y="25301"/>
                        <a:pt x="5873" y="25535"/>
                      </a:cubicBezTo>
                      <a:lnTo>
                        <a:pt x="8216" y="26472"/>
                      </a:lnTo>
                      <a:cubicBezTo>
                        <a:pt x="8743" y="26706"/>
                        <a:pt x="8977" y="27234"/>
                        <a:pt x="8802" y="27644"/>
                      </a:cubicBezTo>
                      <a:cubicBezTo>
                        <a:pt x="8626" y="28053"/>
                        <a:pt x="8040" y="28288"/>
                        <a:pt x="7572" y="28053"/>
                      </a:cubicBezTo>
                      <a:lnTo>
                        <a:pt x="5228" y="27116"/>
                      </a:lnTo>
                      <a:cubicBezTo>
                        <a:pt x="4760" y="26941"/>
                        <a:pt x="4467" y="26414"/>
                        <a:pt x="4643" y="25945"/>
                      </a:cubicBezTo>
                      <a:close/>
                      <a:moveTo>
                        <a:pt x="3588" y="28405"/>
                      </a:moveTo>
                      <a:lnTo>
                        <a:pt x="3706" y="28463"/>
                      </a:lnTo>
                      <a:cubicBezTo>
                        <a:pt x="3881" y="27995"/>
                        <a:pt x="4408" y="27819"/>
                        <a:pt x="4936" y="27995"/>
                      </a:cubicBezTo>
                      <a:lnTo>
                        <a:pt x="7337" y="28815"/>
                      </a:lnTo>
                      <a:cubicBezTo>
                        <a:pt x="7864" y="28991"/>
                        <a:pt x="8157" y="29518"/>
                        <a:pt x="8040" y="29928"/>
                      </a:cubicBezTo>
                      <a:cubicBezTo>
                        <a:pt x="7923" y="30396"/>
                        <a:pt x="7337" y="30572"/>
                        <a:pt x="6810" y="30455"/>
                      </a:cubicBezTo>
                      <a:lnTo>
                        <a:pt x="4408" y="29635"/>
                      </a:lnTo>
                      <a:cubicBezTo>
                        <a:pt x="3881" y="29459"/>
                        <a:pt x="3588" y="28932"/>
                        <a:pt x="3706" y="28522"/>
                      </a:cubicBezTo>
                      <a:lnTo>
                        <a:pt x="3588" y="28405"/>
                      </a:lnTo>
                      <a:close/>
                      <a:moveTo>
                        <a:pt x="2827" y="31040"/>
                      </a:moveTo>
                      <a:lnTo>
                        <a:pt x="2944" y="31099"/>
                      </a:lnTo>
                      <a:cubicBezTo>
                        <a:pt x="3061" y="30630"/>
                        <a:pt x="3588" y="30396"/>
                        <a:pt x="4116" y="30513"/>
                      </a:cubicBezTo>
                      <a:lnTo>
                        <a:pt x="6576" y="31158"/>
                      </a:lnTo>
                      <a:cubicBezTo>
                        <a:pt x="7103" y="31275"/>
                        <a:pt x="7454" y="31802"/>
                        <a:pt x="7337" y="32270"/>
                      </a:cubicBezTo>
                      <a:cubicBezTo>
                        <a:pt x="7220" y="32739"/>
                        <a:pt x="6693" y="32973"/>
                        <a:pt x="6166" y="32856"/>
                      </a:cubicBezTo>
                      <a:lnTo>
                        <a:pt x="3706" y="32212"/>
                      </a:lnTo>
                      <a:cubicBezTo>
                        <a:pt x="3178" y="32095"/>
                        <a:pt x="2827" y="31568"/>
                        <a:pt x="2944" y="31158"/>
                      </a:cubicBezTo>
                      <a:lnTo>
                        <a:pt x="2827" y="31040"/>
                      </a:lnTo>
                      <a:close/>
                      <a:moveTo>
                        <a:pt x="2300" y="33676"/>
                      </a:moveTo>
                      <a:lnTo>
                        <a:pt x="2417" y="33676"/>
                      </a:lnTo>
                      <a:cubicBezTo>
                        <a:pt x="2475" y="33207"/>
                        <a:pt x="3003" y="32915"/>
                        <a:pt x="3530" y="33032"/>
                      </a:cubicBezTo>
                      <a:lnTo>
                        <a:pt x="5990" y="33500"/>
                      </a:lnTo>
                      <a:cubicBezTo>
                        <a:pt x="6517" y="33617"/>
                        <a:pt x="6927" y="34086"/>
                        <a:pt x="6810" y="34554"/>
                      </a:cubicBezTo>
                      <a:cubicBezTo>
                        <a:pt x="6751" y="35023"/>
                        <a:pt x="6224" y="35316"/>
                        <a:pt x="5697" y="35199"/>
                      </a:cubicBezTo>
                      <a:lnTo>
                        <a:pt x="3237" y="34730"/>
                      </a:lnTo>
                      <a:cubicBezTo>
                        <a:pt x="2710" y="34613"/>
                        <a:pt x="2300" y="34144"/>
                        <a:pt x="2417" y="33676"/>
                      </a:cubicBezTo>
                      <a:lnTo>
                        <a:pt x="2300" y="33676"/>
                      </a:lnTo>
                      <a:close/>
                      <a:moveTo>
                        <a:pt x="1890" y="36311"/>
                      </a:moveTo>
                      <a:lnTo>
                        <a:pt x="2007" y="36311"/>
                      </a:lnTo>
                      <a:cubicBezTo>
                        <a:pt x="2065" y="35843"/>
                        <a:pt x="2534" y="35491"/>
                        <a:pt x="3120" y="35550"/>
                      </a:cubicBezTo>
                      <a:lnTo>
                        <a:pt x="5638" y="35843"/>
                      </a:lnTo>
                      <a:cubicBezTo>
                        <a:pt x="6166" y="35901"/>
                        <a:pt x="6576" y="36311"/>
                        <a:pt x="6517" y="36839"/>
                      </a:cubicBezTo>
                      <a:cubicBezTo>
                        <a:pt x="6459" y="37307"/>
                        <a:pt x="5990" y="37658"/>
                        <a:pt x="5404" y="37600"/>
                      </a:cubicBezTo>
                      <a:lnTo>
                        <a:pt x="2885" y="37307"/>
                      </a:lnTo>
                      <a:cubicBezTo>
                        <a:pt x="2358" y="37248"/>
                        <a:pt x="1948" y="36839"/>
                        <a:pt x="2007" y="36311"/>
                      </a:cubicBezTo>
                      <a:lnTo>
                        <a:pt x="1890" y="36311"/>
                      </a:lnTo>
                      <a:close/>
                      <a:moveTo>
                        <a:pt x="1831" y="39005"/>
                      </a:moveTo>
                      <a:cubicBezTo>
                        <a:pt x="1831" y="38537"/>
                        <a:pt x="2300" y="38186"/>
                        <a:pt x="2885" y="38186"/>
                      </a:cubicBezTo>
                      <a:lnTo>
                        <a:pt x="5404" y="38303"/>
                      </a:lnTo>
                      <a:cubicBezTo>
                        <a:pt x="5931" y="38303"/>
                        <a:pt x="6400" y="38713"/>
                        <a:pt x="6400" y="39181"/>
                      </a:cubicBezTo>
                      <a:cubicBezTo>
                        <a:pt x="6400" y="39650"/>
                        <a:pt x="5931" y="40001"/>
                        <a:pt x="5346" y="40001"/>
                      </a:cubicBezTo>
                      <a:lnTo>
                        <a:pt x="2827" y="39884"/>
                      </a:lnTo>
                      <a:cubicBezTo>
                        <a:pt x="2241" y="39884"/>
                        <a:pt x="1831" y="39474"/>
                        <a:pt x="1831" y="39005"/>
                      </a:cubicBezTo>
                      <a:lnTo>
                        <a:pt x="1714" y="39005"/>
                      </a:lnTo>
                      <a:lnTo>
                        <a:pt x="1831" y="39005"/>
                      </a:lnTo>
                      <a:close/>
                      <a:moveTo>
                        <a:pt x="1831" y="41700"/>
                      </a:moveTo>
                      <a:cubicBezTo>
                        <a:pt x="1831" y="41231"/>
                        <a:pt x="2241" y="40821"/>
                        <a:pt x="2827" y="40821"/>
                      </a:cubicBezTo>
                      <a:lnTo>
                        <a:pt x="5346" y="40762"/>
                      </a:lnTo>
                      <a:cubicBezTo>
                        <a:pt x="5873" y="40762"/>
                        <a:pt x="6341" y="41114"/>
                        <a:pt x="6400" y="41582"/>
                      </a:cubicBezTo>
                      <a:cubicBezTo>
                        <a:pt x="6400" y="42051"/>
                        <a:pt x="5990" y="42461"/>
                        <a:pt x="5404" y="42461"/>
                      </a:cubicBezTo>
                      <a:lnTo>
                        <a:pt x="2885" y="42519"/>
                      </a:lnTo>
                      <a:cubicBezTo>
                        <a:pt x="2300" y="42519"/>
                        <a:pt x="1890" y="42168"/>
                        <a:pt x="1831" y="41700"/>
                      </a:cubicBezTo>
                      <a:lnTo>
                        <a:pt x="1714" y="41700"/>
                      </a:lnTo>
                      <a:lnTo>
                        <a:pt x="1831" y="41700"/>
                      </a:lnTo>
                      <a:close/>
                      <a:moveTo>
                        <a:pt x="2007" y="44394"/>
                      </a:moveTo>
                      <a:cubicBezTo>
                        <a:pt x="1948" y="43925"/>
                        <a:pt x="2358" y="43515"/>
                        <a:pt x="2944" y="43457"/>
                      </a:cubicBezTo>
                      <a:lnTo>
                        <a:pt x="5463" y="43222"/>
                      </a:lnTo>
                      <a:cubicBezTo>
                        <a:pt x="5990" y="43164"/>
                        <a:pt x="6517" y="43515"/>
                        <a:pt x="6576" y="43984"/>
                      </a:cubicBezTo>
                      <a:cubicBezTo>
                        <a:pt x="6634" y="44452"/>
                        <a:pt x="6224" y="44862"/>
                        <a:pt x="5697" y="44921"/>
                      </a:cubicBezTo>
                      <a:lnTo>
                        <a:pt x="3178" y="45155"/>
                      </a:lnTo>
                      <a:cubicBezTo>
                        <a:pt x="2593" y="45214"/>
                        <a:pt x="2065" y="44862"/>
                        <a:pt x="2007" y="44394"/>
                      </a:cubicBezTo>
                      <a:lnTo>
                        <a:pt x="1890" y="44394"/>
                      </a:lnTo>
                      <a:lnTo>
                        <a:pt x="2007" y="44394"/>
                      </a:lnTo>
                      <a:close/>
                      <a:moveTo>
                        <a:pt x="2417" y="47029"/>
                      </a:moveTo>
                      <a:cubicBezTo>
                        <a:pt x="2358" y="46561"/>
                        <a:pt x="2710" y="46092"/>
                        <a:pt x="3237" y="46033"/>
                      </a:cubicBezTo>
                      <a:lnTo>
                        <a:pt x="5697" y="45624"/>
                      </a:lnTo>
                      <a:cubicBezTo>
                        <a:pt x="6224" y="45506"/>
                        <a:pt x="6751" y="45858"/>
                        <a:pt x="6810" y="46326"/>
                      </a:cubicBezTo>
                      <a:cubicBezTo>
                        <a:pt x="6869" y="46795"/>
                        <a:pt x="6517" y="47263"/>
                        <a:pt x="5990" y="47322"/>
                      </a:cubicBezTo>
                      <a:lnTo>
                        <a:pt x="3530" y="47732"/>
                      </a:lnTo>
                      <a:cubicBezTo>
                        <a:pt x="3003" y="47790"/>
                        <a:pt x="2475" y="47498"/>
                        <a:pt x="2417" y="47029"/>
                      </a:cubicBezTo>
                      <a:lnTo>
                        <a:pt x="2300" y="47029"/>
                      </a:lnTo>
                      <a:lnTo>
                        <a:pt x="2417" y="47029"/>
                      </a:lnTo>
                      <a:close/>
                      <a:moveTo>
                        <a:pt x="2944" y="49665"/>
                      </a:moveTo>
                      <a:cubicBezTo>
                        <a:pt x="2827" y="49196"/>
                        <a:pt x="3178" y="48728"/>
                        <a:pt x="3706" y="48610"/>
                      </a:cubicBezTo>
                      <a:lnTo>
                        <a:pt x="6166" y="48025"/>
                      </a:lnTo>
                      <a:cubicBezTo>
                        <a:pt x="6693" y="47908"/>
                        <a:pt x="7220" y="48142"/>
                        <a:pt x="7337" y="48610"/>
                      </a:cubicBezTo>
                      <a:cubicBezTo>
                        <a:pt x="7454" y="49079"/>
                        <a:pt x="7103" y="49547"/>
                        <a:pt x="6576" y="49665"/>
                      </a:cubicBezTo>
                      <a:lnTo>
                        <a:pt x="4116" y="50250"/>
                      </a:lnTo>
                      <a:cubicBezTo>
                        <a:pt x="3588" y="50367"/>
                        <a:pt x="3061" y="50133"/>
                        <a:pt x="2944" y="49665"/>
                      </a:cubicBezTo>
                      <a:lnTo>
                        <a:pt x="2827" y="49723"/>
                      </a:lnTo>
                      <a:lnTo>
                        <a:pt x="2944" y="49665"/>
                      </a:lnTo>
                      <a:close/>
                      <a:moveTo>
                        <a:pt x="3706" y="52242"/>
                      </a:moveTo>
                      <a:cubicBezTo>
                        <a:pt x="3588" y="51773"/>
                        <a:pt x="3881" y="51304"/>
                        <a:pt x="4408" y="51129"/>
                      </a:cubicBezTo>
                      <a:lnTo>
                        <a:pt x="6810" y="50367"/>
                      </a:lnTo>
                      <a:cubicBezTo>
                        <a:pt x="7337" y="50192"/>
                        <a:pt x="7864" y="50426"/>
                        <a:pt x="8040" y="50895"/>
                      </a:cubicBezTo>
                      <a:cubicBezTo>
                        <a:pt x="8157" y="51363"/>
                        <a:pt x="7864" y="51832"/>
                        <a:pt x="7337" y="52007"/>
                      </a:cubicBezTo>
                      <a:lnTo>
                        <a:pt x="4936" y="52769"/>
                      </a:lnTo>
                      <a:cubicBezTo>
                        <a:pt x="4350" y="52944"/>
                        <a:pt x="3823" y="52710"/>
                        <a:pt x="3706" y="52242"/>
                      </a:cubicBezTo>
                      <a:lnTo>
                        <a:pt x="3588" y="52300"/>
                      </a:lnTo>
                      <a:lnTo>
                        <a:pt x="3706" y="52242"/>
                      </a:lnTo>
                      <a:close/>
                      <a:moveTo>
                        <a:pt x="4584" y="54760"/>
                      </a:moveTo>
                      <a:cubicBezTo>
                        <a:pt x="4408" y="54350"/>
                        <a:pt x="4701" y="53823"/>
                        <a:pt x="5170" y="53589"/>
                      </a:cubicBezTo>
                      <a:lnTo>
                        <a:pt x="7513" y="52652"/>
                      </a:lnTo>
                      <a:cubicBezTo>
                        <a:pt x="8040" y="52476"/>
                        <a:pt x="8567" y="52652"/>
                        <a:pt x="8743" y="53061"/>
                      </a:cubicBezTo>
                      <a:cubicBezTo>
                        <a:pt x="8919" y="53471"/>
                        <a:pt x="8626" y="53999"/>
                        <a:pt x="8157" y="54233"/>
                      </a:cubicBezTo>
                      <a:lnTo>
                        <a:pt x="5814" y="55170"/>
                      </a:lnTo>
                      <a:cubicBezTo>
                        <a:pt x="5346" y="55404"/>
                        <a:pt x="4760" y="55228"/>
                        <a:pt x="4584" y="54760"/>
                      </a:cubicBezTo>
                      <a:lnTo>
                        <a:pt x="4467" y="54818"/>
                      </a:lnTo>
                      <a:lnTo>
                        <a:pt x="4584" y="54760"/>
                      </a:lnTo>
                      <a:close/>
                      <a:moveTo>
                        <a:pt x="5697" y="57220"/>
                      </a:moveTo>
                      <a:cubicBezTo>
                        <a:pt x="5521" y="56810"/>
                        <a:pt x="5756" y="56283"/>
                        <a:pt x="6224" y="55990"/>
                      </a:cubicBezTo>
                      <a:lnTo>
                        <a:pt x="8509" y="54877"/>
                      </a:lnTo>
                      <a:cubicBezTo>
                        <a:pt x="8977" y="54643"/>
                        <a:pt x="9563" y="54818"/>
                        <a:pt x="9797" y="55228"/>
                      </a:cubicBezTo>
                      <a:cubicBezTo>
                        <a:pt x="10032" y="55638"/>
                        <a:pt x="9797" y="56166"/>
                        <a:pt x="9270" y="56458"/>
                      </a:cubicBezTo>
                      <a:lnTo>
                        <a:pt x="6986" y="57571"/>
                      </a:lnTo>
                      <a:cubicBezTo>
                        <a:pt x="6459" y="57805"/>
                        <a:pt x="5873" y="57688"/>
                        <a:pt x="5697" y="57220"/>
                      </a:cubicBezTo>
                      <a:lnTo>
                        <a:pt x="5580" y="57278"/>
                      </a:lnTo>
                      <a:lnTo>
                        <a:pt x="5697" y="57220"/>
                      </a:lnTo>
                      <a:close/>
                      <a:moveTo>
                        <a:pt x="6810" y="59680"/>
                      </a:moveTo>
                      <a:lnTo>
                        <a:pt x="6927" y="59621"/>
                      </a:lnTo>
                      <a:cubicBezTo>
                        <a:pt x="6693" y="59211"/>
                        <a:pt x="6869" y="58684"/>
                        <a:pt x="7396" y="58391"/>
                      </a:cubicBezTo>
                      <a:lnTo>
                        <a:pt x="9563" y="57161"/>
                      </a:lnTo>
                      <a:cubicBezTo>
                        <a:pt x="10032" y="56868"/>
                        <a:pt x="10617" y="56985"/>
                        <a:pt x="10852" y="57395"/>
                      </a:cubicBezTo>
                      <a:cubicBezTo>
                        <a:pt x="11086" y="57805"/>
                        <a:pt x="10910" y="58391"/>
                        <a:pt x="10383" y="58625"/>
                      </a:cubicBezTo>
                      <a:lnTo>
                        <a:pt x="8216" y="59855"/>
                      </a:lnTo>
                      <a:cubicBezTo>
                        <a:pt x="7747" y="60148"/>
                        <a:pt x="7161" y="60031"/>
                        <a:pt x="6927" y="59621"/>
                      </a:cubicBezTo>
                      <a:lnTo>
                        <a:pt x="6810" y="59680"/>
                      </a:lnTo>
                      <a:close/>
                      <a:moveTo>
                        <a:pt x="8333" y="61905"/>
                      </a:moveTo>
                      <a:lnTo>
                        <a:pt x="8216" y="61964"/>
                      </a:lnTo>
                      <a:lnTo>
                        <a:pt x="8333" y="61905"/>
                      </a:lnTo>
                      <a:cubicBezTo>
                        <a:pt x="8040" y="61495"/>
                        <a:pt x="8216" y="60909"/>
                        <a:pt x="8684" y="60617"/>
                      </a:cubicBezTo>
                      <a:lnTo>
                        <a:pt x="10793" y="59211"/>
                      </a:lnTo>
                      <a:cubicBezTo>
                        <a:pt x="11262" y="58918"/>
                        <a:pt x="11847" y="58977"/>
                        <a:pt x="12082" y="59387"/>
                      </a:cubicBezTo>
                      <a:cubicBezTo>
                        <a:pt x="12375" y="59797"/>
                        <a:pt x="12199" y="60324"/>
                        <a:pt x="11730" y="60675"/>
                      </a:cubicBezTo>
                      <a:lnTo>
                        <a:pt x="9622" y="62081"/>
                      </a:lnTo>
                      <a:cubicBezTo>
                        <a:pt x="9212" y="62374"/>
                        <a:pt x="8626" y="62315"/>
                        <a:pt x="8333" y="61905"/>
                      </a:cubicBezTo>
                      <a:close/>
                      <a:moveTo>
                        <a:pt x="9915" y="64072"/>
                      </a:moveTo>
                      <a:lnTo>
                        <a:pt x="9797" y="64131"/>
                      </a:lnTo>
                      <a:lnTo>
                        <a:pt x="9915" y="64072"/>
                      </a:lnTo>
                      <a:cubicBezTo>
                        <a:pt x="9622" y="63721"/>
                        <a:pt x="9739" y="63135"/>
                        <a:pt x="10149" y="62784"/>
                      </a:cubicBezTo>
                      <a:lnTo>
                        <a:pt x="12140" y="61261"/>
                      </a:lnTo>
                      <a:cubicBezTo>
                        <a:pt x="12550" y="60909"/>
                        <a:pt x="13195" y="60968"/>
                        <a:pt x="13488" y="61319"/>
                      </a:cubicBezTo>
                      <a:cubicBezTo>
                        <a:pt x="13781" y="61671"/>
                        <a:pt x="13663" y="62257"/>
                        <a:pt x="13195" y="62608"/>
                      </a:cubicBezTo>
                      <a:lnTo>
                        <a:pt x="11203" y="64131"/>
                      </a:lnTo>
                      <a:cubicBezTo>
                        <a:pt x="10793" y="64482"/>
                        <a:pt x="10207" y="64482"/>
                        <a:pt x="9915" y="64072"/>
                      </a:cubicBezTo>
                      <a:close/>
                      <a:moveTo>
                        <a:pt x="11613" y="66180"/>
                      </a:moveTo>
                      <a:lnTo>
                        <a:pt x="11496" y="66239"/>
                      </a:lnTo>
                      <a:lnTo>
                        <a:pt x="11613" y="66180"/>
                      </a:lnTo>
                      <a:cubicBezTo>
                        <a:pt x="11320" y="65829"/>
                        <a:pt x="11379" y="65243"/>
                        <a:pt x="11789" y="64892"/>
                      </a:cubicBezTo>
                      <a:lnTo>
                        <a:pt x="13663" y="63194"/>
                      </a:lnTo>
                      <a:cubicBezTo>
                        <a:pt x="14073" y="62842"/>
                        <a:pt x="14659" y="62842"/>
                        <a:pt x="15011" y="63194"/>
                      </a:cubicBezTo>
                      <a:cubicBezTo>
                        <a:pt x="15303" y="63545"/>
                        <a:pt x="15245" y="64131"/>
                        <a:pt x="14835" y="64482"/>
                      </a:cubicBezTo>
                      <a:lnTo>
                        <a:pt x="12960" y="66180"/>
                      </a:lnTo>
                      <a:cubicBezTo>
                        <a:pt x="12550" y="66473"/>
                        <a:pt x="11965" y="66532"/>
                        <a:pt x="11613" y="66180"/>
                      </a:cubicBezTo>
                      <a:close/>
                      <a:moveTo>
                        <a:pt x="13488" y="68113"/>
                      </a:moveTo>
                      <a:lnTo>
                        <a:pt x="13371" y="68230"/>
                      </a:lnTo>
                      <a:lnTo>
                        <a:pt x="13488" y="68113"/>
                      </a:lnTo>
                      <a:cubicBezTo>
                        <a:pt x="13136" y="67762"/>
                        <a:pt x="13195" y="67176"/>
                        <a:pt x="13546" y="66766"/>
                      </a:cubicBezTo>
                      <a:lnTo>
                        <a:pt x="15303" y="64951"/>
                      </a:lnTo>
                      <a:cubicBezTo>
                        <a:pt x="15714" y="64541"/>
                        <a:pt x="16299" y="64482"/>
                        <a:pt x="16592" y="64833"/>
                      </a:cubicBezTo>
                      <a:cubicBezTo>
                        <a:pt x="16944" y="65185"/>
                        <a:pt x="16885" y="65771"/>
                        <a:pt x="16534" y="66122"/>
                      </a:cubicBezTo>
                      <a:lnTo>
                        <a:pt x="14776" y="67937"/>
                      </a:lnTo>
                      <a:cubicBezTo>
                        <a:pt x="14425" y="68347"/>
                        <a:pt x="13839" y="68406"/>
                        <a:pt x="13488" y="68113"/>
                      </a:cubicBezTo>
                      <a:close/>
                      <a:moveTo>
                        <a:pt x="15479" y="69929"/>
                      </a:moveTo>
                      <a:lnTo>
                        <a:pt x="15362" y="70046"/>
                      </a:lnTo>
                      <a:lnTo>
                        <a:pt x="15479" y="69929"/>
                      </a:lnTo>
                      <a:cubicBezTo>
                        <a:pt x="15128" y="69636"/>
                        <a:pt x="15128" y="69050"/>
                        <a:pt x="15479" y="68582"/>
                      </a:cubicBezTo>
                      <a:lnTo>
                        <a:pt x="17119" y="66649"/>
                      </a:lnTo>
                      <a:cubicBezTo>
                        <a:pt x="17471" y="66239"/>
                        <a:pt x="18057" y="66122"/>
                        <a:pt x="18408" y="66415"/>
                      </a:cubicBezTo>
                      <a:cubicBezTo>
                        <a:pt x="18759" y="66708"/>
                        <a:pt x="18759" y="67293"/>
                        <a:pt x="18408" y="67762"/>
                      </a:cubicBezTo>
                      <a:lnTo>
                        <a:pt x="16768" y="69694"/>
                      </a:lnTo>
                      <a:cubicBezTo>
                        <a:pt x="16416" y="70104"/>
                        <a:pt x="15831" y="70222"/>
                        <a:pt x="15479" y="69929"/>
                      </a:cubicBezTo>
                      <a:close/>
                      <a:moveTo>
                        <a:pt x="17588" y="71569"/>
                      </a:moveTo>
                      <a:lnTo>
                        <a:pt x="17529" y="71686"/>
                      </a:lnTo>
                      <a:lnTo>
                        <a:pt x="17588" y="71569"/>
                      </a:lnTo>
                      <a:cubicBezTo>
                        <a:pt x="17178" y="71276"/>
                        <a:pt x="17178" y="70690"/>
                        <a:pt x="17471" y="70222"/>
                      </a:cubicBezTo>
                      <a:lnTo>
                        <a:pt x="18935" y="68172"/>
                      </a:lnTo>
                      <a:cubicBezTo>
                        <a:pt x="19287" y="67703"/>
                        <a:pt x="19814" y="67586"/>
                        <a:pt x="20224" y="67879"/>
                      </a:cubicBezTo>
                      <a:cubicBezTo>
                        <a:pt x="20575" y="68172"/>
                        <a:pt x="20634" y="68757"/>
                        <a:pt x="20341" y="69167"/>
                      </a:cubicBezTo>
                      <a:lnTo>
                        <a:pt x="18877" y="71217"/>
                      </a:lnTo>
                      <a:cubicBezTo>
                        <a:pt x="18525" y="71744"/>
                        <a:pt x="17939" y="71861"/>
                        <a:pt x="17588" y="71569"/>
                      </a:cubicBezTo>
                      <a:close/>
                      <a:moveTo>
                        <a:pt x="19814" y="73091"/>
                      </a:moveTo>
                      <a:lnTo>
                        <a:pt x="19755" y="73208"/>
                      </a:lnTo>
                      <a:lnTo>
                        <a:pt x="19814" y="73091"/>
                      </a:lnTo>
                      <a:cubicBezTo>
                        <a:pt x="19404" y="72857"/>
                        <a:pt x="19345" y="72271"/>
                        <a:pt x="19638" y="71803"/>
                      </a:cubicBezTo>
                      <a:lnTo>
                        <a:pt x="20985" y="69694"/>
                      </a:lnTo>
                      <a:cubicBezTo>
                        <a:pt x="21278" y="69226"/>
                        <a:pt x="21864" y="69050"/>
                        <a:pt x="22274" y="69285"/>
                      </a:cubicBezTo>
                      <a:cubicBezTo>
                        <a:pt x="22684" y="69519"/>
                        <a:pt x="22743" y="70104"/>
                        <a:pt x="22450" y="70573"/>
                      </a:cubicBezTo>
                      <a:lnTo>
                        <a:pt x="21102" y="72681"/>
                      </a:lnTo>
                      <a:cubicBezTo>
                        <a:pt x="20751" y="73150"/>
                        <a:pt x="20224" y="73326"/>
                        <a:pt x="19814" y="73091"/>
                      </a:cubicBezTo>
                      <a:close/>
                      <a:moveTo>
                        <a:pt x="22098" y="74438"/>
                      </a:moveTo>
                      <a:lnTo>
                        <a:pt x="22040" y="74556"/>
                      </a:lnTo>
                      <a:lnTo>
                        <a:pt x="22098" y="74438"/>
                      </a:lnTo>
                      <a:cubicBezTo>
                        <a:pt x="21688" y="74204"/>
                        <a:pt x="21571" y="73618"/>
                        <a:pt x="21805" y="73150"/>
                      </a:cubicBezTo>
                      <a:lnTo>
                        <a:pt x="22977" y="70924"/>
                      </a:lnTo>
                      <a:cubicBezTo>
                        <a:pt x="23211" y="70456"/>
                        <a:pt x="23797" y="70222"/>
                        <a:pt x="24207" y="70456"/>
                      </a:cubicBezTo>
                      <a:cubicBezTo>
                        <a:pt x="24617" y="70690"/>
                        <a:pt x="24734" y="71276"/>
                        <a:pt x="24500" y="71744"/>
                      </a:cubicBezTo>
                      <a:lnTo>
                        <a:pt x="23328" y="73970"/>
                      </a:lnTo>
                      <a:cubicBezTo>
                        <a:pt x="23094" y="74438"/>
                        <a:pt x="22508" y="74673"/>
                        <a:pt x="22098" y="74438"/>
                      </a:cubicBezTo>
                      <a:close/>
                      <a:moveTo>
                        <a:pt x="25730" y="75083"/>
                      </a:moveTo>
                      <a:cubicBezTo>
                        <a:pt x="25496" y="75610"/>
                        <a:pt x="24968" y="75844"/>
                        <a:pt x="24558" y="75668"/>
                      </a:cubicBezTo>
                      <a:lnTo>
                        <a:pt x="24500" y="75785"/>
                      </a:lnTo>
                      <a:lnTo>
                        <a:pt x="24558" y="75668"/>
                      </a:lnTo>
                      <a:cubicBezTo>
                        <a:pt x="24148" y="75493"/>
                        <a:pt x="23973" y="74907"/>
                        <a:pt x="24207" y="74380"/>
                      </a:cubicBezTo>
                      <a:lnTo>
                        <a:pt x="25203" y="72096"/>
                      </a:lnTo>
                      <a:cubicBezTo>
                        <a:pt x="25437" y="71569"/>
                        <a:pt x="25964" y="71334"/>
                        <a:pt x="26374" y="71510"/>
                      </a:cubicBezTo>
                      <a:cubicBezTo>
                        <a:pt x="26784" y="71686"/>
                        <a:pt x="26960" y="72271"/>
                        <a:pt x="26726" y="72799"/>
                      </a:cubicBezTo>
                      <a:lnTo>
                        <a:pt x="25730" y="75083"/>
                      </a:lnTo>
                      <a:close/>
                      <a:moveTo>
                        <a:pt x="28132" y="76020"/>
                      </a:moveTo>
                      <a:cubicBezTo>
                        <a:pt x="27956" y="76547"/>
                        <a:pt x="27429" y="76840"/>
                        <a:pt x="26960" y="76664"/>
                      </a:cubicBezTo>
                      <a:lnTo>
                        <a:pt x="26901" y="76781"/>
                      </a:lnTo>
                      <a:lnTo>
                        <a:pt x="26960" y="76664"/>
                      </a:lnTo>
                      <a:cubicBezTo>
                        <a:pt x="26491" y="76488"/>
                        <a:pt x="26316" y="75961"/>
                        <a:pt x="26491" y="75434"/>
                      </a:cubicBezTo>
                      <a:lnTo>
                        <a:pt x="27370" y="73091"/>
                      </a:lnTo>
                      <a:cubicBezTo>
                        <a:pt x="27546" y="72564"/>
                        <a:pt x="28073" y="72271"/>
                        <a:pt x="28542" y="72447"/>
                      </a:cubicBezTo>
                      <a:cubicBezTo>
                        <a:pt x="29010" y="72623"/>
                        <a:pt x="29186" y="73150"/>
                        <a:pt x="29010" y="73677"/>
                      </a:cubicBezTo>
                      <a:lnTo>
                        <a:pt x="28132" y="76020"/>
                      </a:lnTo>
                      <a:close/>
                      <a:moveTo>
                        <a:pt x="29537" y="77542"/>
                      </a:moveTo>
                      <a:lnTo>
                        <a:pt x="29479" y="77660"/>
                      </a:lnTo>
                      <a:lnTo>
                        <a:pt x="29537" y="77542"/>
                      </a:lnTo>
                      <a:cubicBezTo>
                        <a:pt x="29069" y="77425"/>
                        <a:pt x="28834" y="76840"/>
                        <a:pt x="29010" y="76313"/>
                      </a:cubicBezTo>
                      <a:lnTo>
                        <a:pt x="29713" y="73911"/>
                      </a:lnTo>
                      <a:cubicBezTo>
                        <a:pt x="29889" y="73384"/>
                        <a:pt x="30357" y="73033"/>
                        <a:pt x="30826" y="73208"/>
                      </a:cubicBezTo>
                      <a:cubicBezTo>
                        <a:pt x="31295" y="73326"/>
                        <a:pt x="31529" y="73853"/>
                        <a:pt x="31353" y="74438"/>
                      </a:cubicBezTo>
                      <a:lnTo>
                        <a:pt x="30650" y="76840"/>
                      </a:lnTo>
                      <a:cubicBezTo>
                        <a:pt x="30475" y="77308"/>
                        <a:pt x="30006" y="77660"/>
                        <a:pt x="29537" y="77542"/>
                      </a:cubicBezTo>
                      <a:close/>
                      <a:moveTo>
                        <a:pt x="32115" y="78187"/>
                      </a:moveTo>
                      <a:lnTo>
                        <a:pt x="32056" y="78304"/>
                      </a:lnTo>
                      <a:lnTo>
                        <a:pt x="32115" y="78187"/>
                      </a:lnTo>
                      <a:cubicBezTo>
                        <a:pt x="31646" y="78070"/>
                        <a:pt x="31353" y="77542"/>
                        <a:pt x="31470" y="77015"/>
                      </a:cubicBezTo>
                      <a:lnTo>
                        <a:pt x="31998" y="74556"/>
                      </a:lnTo>
                      <a:cubicBezTo>
                        <a:pt x="32115" y="74028"/>
                        <a:pt x="32583" y="73677"/>
                        <a:pt x="33052" y="73736"/>
                      </a:cubicBezTo>
                      <a:cubicBezTo>
                        <a:pt x="33520" y="73853"/>
                        <a:pt x="33813" y="74380"/>
                        <a:pt x="33696" y="74907"/>
                      </a:cubicBezTo>
                      <a:lnTo>
                        <a:pt x="33169" y="77367"/>
                      </a:lnTo>
                      <a:cubicBezTo>
                        <a:pt x="33052" y="77894"/>
                        <a:pt x="32583" y="78304"/>
                        <a:pt x="32115" y="78187"/>
                      </a:cubicBezTo>
                      <a:close/>
                      <a:moveTo>
                        <a:pt x="34751" y="78655"/>
                      </a:moveTo>
                      <a:lnTo>
                        <a:pt x="34751" y="78772"/>
                      </a:lnTo>
                      <a:lnTo>
                        <a:pt x="34751" y="78655"/>
                      </a:lnTo>
                      <a:cubicBezTo>
                        <a:pt x="34282" y="78597"/>
                        <a:pt x="33989" y="78070"/>
                        <a:pt x="34048" y="77542"/>
                      </a:cubicBezTo>
                      <a:lnTo>
                        <a:pt x="34399" y="75024"/>
                      </a:lnTo>
                      <a:cubicBezTo>
                        <a:pt x="34458" y="74497"/>
                        <a:pt x="34926" y="74087"/>
                        <a:pt x="35395" y="74146"/>
                      </a:cubicBezTo>
                      <a:cubicBezTo>
                        <a:pt x="35863" y="74204"/>
                        <a:pt x="36156" y="74731"/>
                        <a:pt x="36098" y="75258"/>
                      </a:cubicBezTo>
                      <a:lnTo>
                        <a:pt x="35746" y="77777"/>
                      </a:lnTo>
                      <a:cubicBezTo>
                        <a:pt x="35688" y="78362"/>
                        <a:pt x="35219" y="78714"/>
                        <a:pt x="34751" y="78655"/>
                      </a:cubicBezTo>
                      <a:close/>
                      <a:moveTo>
                        <a:pt x="38382" y="78011"/>
                      </a:moveTo>
                      <a:cubicBezTo>
                        <a:pt x="38324" y="78538"/>
                        <a:pt x="37914" y="79007"/>
                        <a:pt x="37445" y="78948"/>
                      </a:cubicBezTo>
                      <a:lnTo>
                        <a:pt x="37445" y="79065"/>
                      </a:lnTo>
                      <a:lnTo>
                        <a:pt x="37445" y="78948"/>
                      </a:lnTo>
                      <a:cubicBezTo>
                        <a:pt x="36976" y="78889"/>
                        <a:pt x="36625" y="78421"/>
                        <a:pt x="36684" y="77894"/>
                      </a:cubicBezTo>
                      <a:lnTo>
                        <a:pt x="36859" y="75375"/>
                      </a:lnTo>
                      <a:cubicBezTo>
                        <a:pt x="36918" y="74848"/>
                        <a:pt x="37328" y="74380"/>
                        <a:pt x="37797" y="74438"/>
                      </a:cubicBezTo>
                      <a:cubicBezTo>
                        <a:pt x="38265" y="74497"/>
                        <a:pt x="38617" y="74965"/>
                        <a:pt x="38558" y="75493"/>
                      </a:cubicBezTo>
                      <a:lnTo>
                        <a:pt x="38382" y="78011"/>
                      </a:lnTo>
                      <a:close/>
                      <a:moveTo>
                        <a:pt x="40960" y="78070"/>
                      </a:moveTo>
                      <a:cubicBezTo>
                        <a:pt x="40960" y="78597"/>
                        <a:pt x="40550" y="79065"/>
                        <a:pt x="40081" y="79065"/>
                      </a:cubicBezTo>
                      <a:lnTo>
                        <a:pt x="40081" y="79182"/>
                      </a:lnTo>
                      <a:lnTo>
                        <a:pt x="40081" y="79065"/>
                      </a:lnTo>
                      <a:cubicBezTo>
                        <a:pt x="39612" y="79065"/>
                        <a:pt x="39261" y="78597"/>
                        <a:pt x="39261" y="78070"/>
                      </a:cubicBezTo>
                      <a:lnTo>
                        <a:pt x="39261" y="75551"/>
                      </a:lnTo>
                      <a:cubicBezTo>
                        <a:pt x="39261" y="75024"/>
                        <a:pt x="39671" y="74556"/>
                        <a:pt x="40140" y="74556"/>
                      </a:cubicBezTo>
                      <a:cubicBezTo>
                        <a:pt x="40608" y="74556"/>
                        <a:pt x="41018" y="75024"/>
                        <a:pt x="41018" y="75551"/>
                      </a:cubicBezTo>
                      <a:lnTo>
                        <a:pt x="40960" y="78070"/>
                      </a:lnTo>
                      <a:close/>
                      <a:moveTo>
                        <a:pt x="43537" y="77952"/>
                      </a:moveTo>
                      <a:cubicBezTo>
                        <a:pt x="43596" y="78479"/>
                        <a:pt x="43244" y="78948"/>
                        <a:pt x="42775" y="79007"/>
                      </a:cubicBezTo>
                      <a:lnTo>
                        <a:pt x="42775" y="79124"/>
                      </a:lnTo>
                      <a:lnTo>
                        <a:pt x="42775" y="79007"/>
                      </a:lnTo>
                      <a:cubicBezTo>
                        <a:pt x="42307" y="79065"/>
                        <a:pt x="41897" y="78597"/>
                        <a:pt x="41838" y="78070"/>
                      </a:cubicBezTo>
                      <a:lnTo>
                        <a:pt x="41662" y="75551"/>
                      </a:lnTo>
                      <a:cubicBezTo>
                        <a:pt x="41604" y="75024"/>
                        <a:pt x="41955" y="74497"/>
                        <a:pt x="42424" y="74497"/>
                      </a:cubicBezTo>
                      <a:cubicBezTo>
                        <a:pt x="42893" y="74438"/>
                        <a:pt x="43303" y="74907"/>
                        <a:pt x="43361" y="75434"/>
                      </a:cubicBezTo>
                      <a:lnTo>
                        <a:pt x="43537" y="77952"/>
                      </a:lnTo>
                      <a:close/>
                      <a:moveTo>
                        <a:pt x="45411" y="78714"/>
                      </a:moveTo>
                      <a:lnTo>
                        <a:pt x="45411" y="78831"/>
                      </a:lnTo>
                      <a:lnTo>
                        <a:pt x="45411" y="78714"/>
                      </a:lnTo>
                      <a:cubicBezTo>
                        <a:pt x="44943" y="78772"/>
                        <a:pt x="44474" y="78362"/>
                        <a:pt x="44416" y="77835"/>
                      </a:cubicBezTo>
                      <a:lnTo>
                        <a:pt x="44064" y="75317"/>
                      </a:lnTo>
                      <a:cubicBezTo>
                        <a:pt x="44006" y="74790"/>
                        <a:pt x="44298" y="74263"/>
                        <a:pt x="44767" y="74204"/>
                      </a:cubicBezTo>
                      <a:cubicBezTo>
                        <a:pt x="45236" y="74146"/>
                        <a:pt x="45646" y="74556"/>
                        <a:pt x="45763" y="75083"/>
                      </a:cubicBezTo>
                      <a:lnTo>
                        <a:pt x="46114" y="77601"/>
                      </a:lnTo>
                      <a:cubicBezTo>
                        <a:pt x="46231" y="78187"/>
                        <a:pt x="45880" y="78655"/>
                        <a:pt x="45411" y="78714"/>
                      </a:cubicBezTo>
                      <a:close/>
                      <a:moveTo>
                        <a:pt x="48164" y="74673"/>
                      </a:moveTo>
                      <a:lnTo>
                        <a:pt x="48692" y="77132"/>
                      </a:lnTo>
                      <a:cubicBezTo>
                        <a:pt x="48809" y="77660"/>
                        <a:pt x="48516" y="78187"/>
                        <a:pt x="48047" y="78304"/>
                      </a:cubicBezTo>
                      <a:lnTo>
                        <a:pt x="48047" y="78421"/>
                      </a:lnTo>
                      <a:lnTo>
                        <a:pt x="48047" y="78304"/>
                      </a:lnTo>
                      <a:cubicBezTo>
                        <a:pt x="47579" y="78421"/>
                        <a:pt x="47110" y="78011"/>
                        <a:pt x="46993" y="77484"/>
                      </a:cubicBezTo>
                      <a:lnTo>
                        <a:pt x="46466" y="75024"/>
                      </a:lnTo>
                      <a:cubicBezTo>
                        <a:pt x="46349" y="74497"/>
                        <a:pt x="46641" y="73970"/>
                        <a:pt x="47110" y="73853"/>
                      </a:cubicBezTo>
                      <a:cubicBezTo>
                        <a:pt x="47579" y="73736"/>
                        <a:pt x="48047" y="74087"/>
                        <a:pt x="48164" y="74673"/>
                      </a:cubicBezTo>
                      <a:close/>
                      <a:moveTo>
                        <a:pt x="50507" y="74028"/>
                      </a:moveTo>
                      <a:lnTo>
                        <a:pt x="51210" y="76488"/>
                      </a:lnTo>
                      <a:cubicBezTo>
                        <a:pt x="51386" y="77015"/>
                        <a:pt x="51093" y="77542"/>
                        <a:pt x="50683" y="77660"/>
                      </a:cubicBezTo>
                      <a:lnTo>
                        <a:pt x="50683" y="77777"/>
                      </a:lnTo>
                      <a:lnTo>
                        <a:pt x="50625" y="77660"/>
                      </a:lnTo>
                      <a:cubicBezTo>
                        <a:pt x="50156" y="77777"/>
                        <a:pt x="49687" y="77484"/>
                        <a:pt x="49512" y="76898"/>
                      </a:cubicBezTo>
                      <a:lnTo>
                        <a:pt x="48809" y="74438"/>
                      </a:lnTo>
                      <a:cubicBezTo>
                        <a:pt x="48633" y="73911"/>
                        <a:pt x="48926" y="73384"/>
                        <a:pt x="49336" y="73267"/>
                      </a:cubicBezTo>
                      <a:cubicBezTo>
                        <a:pt x="49863" y="73150"/>
                        <a:pt x="50390" y="73501"/>
                        <a:pt x="50507" y="74028"/>
                      </a:cubicBezTo>
                      <a:close/>
                      <a:moveTo>
                        <a:pt x="52850" y="73208"/>
                      </a:moveTo>
                      <a:lnTo>
                        <a:pt x="53729" y="75610"/>
                      </a:lnTo>
                      <a:cubicBezTo>
                        <a:pt x="53905" y="76137"/>
                        <a:pt x="53729" y="76664"/>
                        <a:pt x="53260" y="76840"/>
                      </a:cubicBezTo>
                      <a:lnTo>
                        <a:pt x="53319" y="76957"/>
                      </a:lnTo>
                      <a:lnTo>
                        <a:pt x="53260" y="76840"/>
                      </a:lnTo>
                      <a:cubicBezTo>
                        <a:pt x="52850" y="77015"/>
                        <a:pt x="52323" y="76722"/>
                        <a:pt x="52148" y="76195"/>
                      </a:cubicBezTo>
                      <a:lnTo>
                        <a:pt x="51269" y="73794"/>
                      </a:lnTo>
                      <a:cubicBezTo>
                        <a:pt x="51093" y="73267"/>
                        <a:pt x="51269" y="72740"/>
                        <a:pt x="51738" y="72564"/>
                      </a:cubicBezTo>
                      <a:cubicBezTo>
                        <a:pt x="52148" y="72389"/>
                        <a:pt x="52616" y="72681"/>
                        <a:pt x="52850" y="73208"/>
                      </a:cubicBezTo>
                      <a:close/>
                      <a:moveTo>
                        <a:pt x="56072" y="74614"/>
                      </a:moveTo>
                      <a:cubicBezTo>
                        <a:pt x="56306" y="75141"/>
                        <a:pt x="56131" y="75668"/>
                        <a:pt x="55721" y="75903"/>
                      </a:cubicBezTo>
                      <a:lnTo>
                        <a:pt x="55779" y="76020"/>
                      </a:lnTo>
                      <a:lnTo>
                        <a:pt x="55721" y="75903"/>
                      </a:lnTo>
                      <a:cubicBezTo>
                        <a:pt x="55311" y="76078"/>
                        <a:pt x="54783" y="75844"/>
                        <a:pt x="54549" y="75317"/>
                      </a:cubicBezTo>
                      <a:lnTo>
                        <a:pt x="53553" y="73033"/>
                      </a:lnTo>
                      <a:cubicBezTo>
                        <a:pt x="53319" y="72506"/>
                        <a:pt x="53495" y="71979"/>
                        <a:pt x="53963" y="71744"/>
                      </a:cubicBezTo>
                      <a:cubicBezTo>
                        <a:pt x="54373" y="71569"/>
                        <a:pt x="54901" y="71803"/>
                        <a:pt x="55135" y="72330"/>
                      </a:cubicBezTo>
                      <a:lnTo>
                        <a:pt x="56072" y="74614"/>
                      </a:lnTo>
                      <a:close/>
                      <a:moveTo>
                        <a:pt x="58415" y="73384"/>
                      </a:moveTo>
                      <a:cubicBezTo>
                        <a:pt x="58649" y="73853"/>
                        <a:pt x="58532" y="74438"/>
                        <a:pt x="58122" y="74673"/>
                      </a:cubicBezTo>
                      <a:lnTo>
                        <a:pt x="58181" y="74790"/>
                      </a:lnTo>
                      <a:lnTo>
                        <a:pt x="58122" y="74673"/>
                      </a:lnTo>
                      <a:cubicBezTo>
                        <a:pt x="57712" y="74907"/>
                        <a:pt x="57185" y="74673"/>
                        <a:pt x="56892" y="74204"/>
                      </a:cubicBezTo>
                      <a:lnTo>
                        <a:pt x="55721" y="71979"/>
                      </a:lnTo>
                      <a:cubicBezTo>
                        <a:pt x="55486" y="71510"/>
                        <a:pt x="55604" y="70924"/>
                        <a:pt x="56014" y="70690"/>
                      </a:cubicBezTo>
                      <a:cubicBezTo>
                        <a:pt x="56424" y="70456"/>
                        <a:pt x="56951" y="70690"/>
                        <a:pt x="57244" y="71159"/>
                      </a:cubicBezTo>
                      <a:lnTo>
                        <a:pt x="58415" y="73384"/>
                      </a:lnTo>
                      <a:close/>
                      <a:moveTo>
                        <a:pt x="60407" y="73384"/>
                      </a:moveTo>
                      <a:lnTo>
                        <a:pt x="60465" y="73501"/>
                      </a:lnTo>
                      <a:lnTo>
                        <a:pt x="60407" y="73384"/>
                      </a:lnTo>
                      <a:cubicBezTo>
                        <a:pt x="59997" y="73618"/>
                        <a:pt x="59469" y="73443"/>
                        <a:pt x="59177" y="72974"/>
                      </a:cubicBezTo>
                      <a:lnTo>
                        <a:pt x="57829" y="70807"/>
                      </a:lnTo>
                      <a:cubicBezTo>
                        <a:pt x="57536" y="70339"/>
                        <a:pt x="57595" y="69753"/>
                        <a:pt x="58005" y="69519"/>
                      </a:cubicBezTo>
                      <a:cubicBezTo>
                        <a:pt x="58415" y="69285"/>
                        <a:pt x="58942" y="69460"/>
                        <a:pt x="59235" y="69929"/>
                      </a:cubicBezTo>
                      <a:lnTo>
                        <a:pt x="60582" y="72096"/>
                      </a:lnTo>
                      <a:cubicBezTo>
                        <a:pt x="60934" y="72506"/>
                        <a:pt x="60817" y="73091"/>
                        <a:pt x="60407" y="73384"/>
                      </a:cubicBezTo>
                      <a:close/>
                      <a:moveTo>
                        <a:pt x="57068" y="67176"/>
                      </a:moveTo>
                      <a:cubicBezTo>
                        <a:pt x="55896" y="67879"/>
                        <a:pt x="54256" y="68699"/>
                        <a:pt x="52909" y="69285"/>
                      </a:cubicBezTo>
                      <a:cubicBezTo>
                        <a:pt x="51796" y="69753"/>
                        <a:pt x="50390" y="70749"/>
                        <a:pt x="49805" y="70046"/>
                      </a:cubicBezTo>
                      <a:cubicBezTo>
                        <a:pt x="48926" y="68933"/>
                        <a:pt x="51327" y="68523"/>
                        <a:pt x="52206" y="68113"/>
                      </a:cubicBezTo>
                      <a:cubicBezTo>
                        <a:pt x="54022" y="67293"/>
                        <a:pt x="56072" y="65829"/>
                        <a:pt x="57419" y="65185"/>
                      </a:cubicBezTo>
                      <a:lnTo>
                        <a:pt x="57595" y="65126"/>
                      </a:lnTo>
                      <a:cubicBezTo>
                        <a:pt x="58064" y="64892"/>
                        <a:pt x="58474" y="64541"/>
                        <a:pt x="58767" y="65302"/>
                      </a:cubicBezTo>
                      <a:cubicBezTo>
                        <a:pt x="59118" y="65946"/>
                        <a:pt x="57888" y="66649"/>
                        <a:pt x="57068" y="67176"/>
                      </a:cubicBezTo>
                      <a:close/>
                      <a:moveTo>
                        <a:pt x="62633" y="71861"/>
                      </a:moveTo>
                      <a:lnTo>
                        <a:pt x="62691" y="71979"/>
                      </a:lnTo>
                      <a:lnTo>
                        <a:pt x="62633" y="71861"/>
                      </a:lnTo>
                      <a:cubicBezTo>
                        <a:pt x="62223" y="72154"/>
                        <a:pt x="61695" y="71979"/>
                        <a:pt x="61344" y="71569"/>
                      </a:cubicBezTo>
                      <a:lnTo>
                        <a:pt x="59879" y="69519"/>
                      </a:lnTo>
                      <a:cubicBezTo>
                        <a:pt x="59528" y="69050"/>
                        <a:pt x="59587" y="68465"/>
                        <a:pt x="59997" y="68172"/>
                      </a:cubicBezTo>
                      <a:cubicBezTo>
                        <a:pt x="60348" y="67879"/>
                        <a:pt x="60934" y="68055"/>
                        <a:pt x="61285" y="68465"/>
                      </a:cubicBezTo>
                      <a:lnTo>
                        <a:pt x="62750" y="70514"/>
                      </a:lnTo>
                      <a:cubicBezTo>
                        <a:pt x="63101" y="70983"/>
                        <a:pt x="63043" y="71627"/>
                        <a:pt x="62633" y="71861"/>
                      </a:cubicBezTo>
                      <a:close/>
                      <a:moveTo>
                        <a:pt x="58181" y="62608"/>
                      </a:moveTo>
                      <a:cubicBezTo>
                        <a:pt x="58064" y="62491"/>
                        <a:pt x="58005" y="62315"/>
                        <a:pt x="58005" y="62139"/>
                      </a:cubicBezTo>
                      <a:lnTo>
                        <a:pt x="58005" y="62139"/>
                      </a:lnTo>
                      <a:lnTo>
                        <a:pt x="57947" y="59504"/>
                      </a:lnTo>
                      <a:cubicBezTo>
                        <a:pt x="57947" y="58918"/>
                        <a:pt x="58357" y="58450"/>
                        <a:pt x="58942" y="58450"/>
                      </a:cubicBezTo>
                      <a:lnTo>
                        <a:pt x="61637" y="58391"/>
                      </a:lnTo>
                      <a:cubicBezTo>
                        <a:pt x="61754" y="58391"/>
                        <a:pt x="61930" y="58450"/>
                        <a:pt x="62047" y="58567"/>
                      </a:cubicBezTo>
                      <a:cubicBezTo>
                        <a:pt x="62281" y="58801"/>
                        <a:pt x="62281" y="59211"/>
                        <a:pt x="62047" y="59445"/>
                      </a:cubicBezTo>
                      <a:lnTo>
                        <a:pt x="62047" y="59445"/>
                      </a:lnTo>
                      <a:cubicBezTo>
                        <a:pt x="61988" y="59445"/>
                        <a:pt x="61988" y="59504"/>
                        <a:pt x="61871" y="59562"/>
                      </a:cubicBezTo>
                      <a:cubicBezTo>
                        <a:pt x="61285" y="59855"/>
                        <a:pt x="60758" y="60207"/>
                        <a:pt x="60290" y="60734"/>
                      </a:cubicBezTo>
                      <a:cubicBezTo>
                        <a:pt x="59821" y="61202"/>
                        <a:pt x="59469" y="61788"/>
                        <a:pt x="59177" y="62374"/>
                      </a:cubicBezTo>
                      <a:cubicBezTo>
                        <a:pt x="59118" y="62491"/>
                        <a:pt x="59118" y="62549"/>
                        <a:pt x="59059" y="62549"/>
                      </a:cubicBezTo>
                      <a:lnTo>
                        <a:pt x="59059" y="62549"/>
                      </a:lnTo>
                      <a:cubicBezTo>
                        <a:pt x="58825" y="62842"/>
                        <a:pt x="58415" y="62842"/>
                        <a:pt x="58181" y="62608"/>
                      </a:cubicBezTo>
                      <a:close/>
                      <a:moveTo>
                        <a:pt x="60700" y="63603"/>
                      </a:moveTo>
                      <a:cubicBezTo>
                        <a:pt x="60407" y="63194"/>
                        <a:pt x="60582" y="62374"/>
                        <a:pt x="61461" y="62315"/>
                      </a:cubicBezTo>
                      <a:cubicBezTo>
                        <a:pt x="62867" y="62901"/>
                        <a:pt x="61403" y="64541"/>
                        <a:pt x="60700" y="63603"/>
                      </a:cubicBezTo>
                      <a:close/>
                      <a:moveTo>
                        <a:pt x="64741" y="70222"/>
                      </a:moveTo>
                      <a:lnTo>
                        <a:pt x="64800" y="70339"/>
                      </a:lnTo>
                      <a:lnTo>
                        <a:pt x="64741" y="70222"/>
                      </a:lnTo>
                      <a:cubicBezTo>
                        <a:pt x="64390" y="70514"/>
                        <a:pt x="63804" y="70397"/>
                        <a:pt x="63453" y="69987"/>
                      </a:cubicBezTo>
                      <a:lnTo>
                        <a:pt x="61813" y="68055"/>
                      </a:lnTo>
                      <a:cubicBezTo>
                        <a:pt x="61461" y="67645"/>
                        <a:pt x="61461" y="67059"/>
                        <a:pt x="61813" y="66708"/>
                      </a:cubicBezTo>
                      <a:cubicBezTo>
                        <a:pt x="62164" y="66415"/>
                        <a:pt x="62750" y="66532"/>
                        <a:pt x="63101" y="66942"/>
                      </a:cubicBezTo>
                      <a:lnTo>
                        <a:pt x="64741" y="68875"/>
                      </a:lnTo>
                      <a:cubicBezTo>
                        <a:pt x="65151" y="69343"/>
                        <a:pt x="65093" y="69929"/>
                        <a:pt x="64741" y="70222"/>
                      </a:cubicBezTo>
                      <a:close/>
                      <a:moveTo>
                        <a:pt x="66733" y="68465"/>
                      </a:moveTo>
                      <a:lnTo>
                        <a:pt x="66791" y="68582"/>
                      </a:lnTo>
                      <a:lnTo>
                        <a:pt x="66733" y="68465"/>
                      </a:lnTo>
                      <a:cubicBezTo>
                        <a:pt x="66381" y="68816"/>
                        <a:pt x="65796" y="68757"/>
                        <a:pt x="65444" y="68347"/>
                      </a:cubicBezTo>
                      <a:lnTo>
                        <a:pt x="63687" y="66532"/>
                      </a:lnTo>
                      <a:cubicBezTo>
                        <a:pt x="63277" y="66122"/>
                        <a:pt x="63277" y="65536"/>
                        <a:pt x="63628" y="65185"/>
                      </a:cubicBezTo>
                      <a:cubicBezTo>
                        <a:pt x="63980" y="64833"/>
                        <a:pt x="64566" y="64892"/>
                        <a:pt x="64917" y="65302"/>
                      </a:cubicBezTo>
                      <a:lnTo>
                        <a:pt x="66674" y="67118"/>
                      </a:lnTo>
                      <a:cubicBezTo>
                        <a:pt x="67026" y="67528"/>
                        <a:pt x="67084" y="68113"/>
                        <a:pt x="66733" y="68465"/>
                      </a:cubicBezTo>
                      <a:close/>
                      <a:moveTo>
                        <a:pt x="68607" y="66532"/>
                      </a:moveTo>
                      <a:lnTo>
                        <a:pt x="68724" y="66649"/>
                      </a:lnTo>
                      <a:lnTo>
                        <a:pt x="68607" y="66532"/>
                      </a:lnTo>
                      <a:cubicBezTo>
                        <a:pt x="68314" y="66883"/>
                        <a:pt x="67729" y="66883"/>
                        <a:pt x="67319" y="66473"/>
                      </a:cubicBezTo>
                      <a:lnTo>
                        <a:pt x="65444" y="64775"/>
                      </a:lnTo>
                      <a:cubicBezTo>
                        <a:pt x="65034" y="64423"/>
                        <a:pt x="64976" y="63838"/>
                        <a:pt x="65268" y="63486"/>
                      </a:cubicBezTo>
                      <a:cubicBezTo>
                        <a:pt x="65561" y="63135"/>
                        <a:pt x="66147" y="63135"/>
                        <a:pt x="66557" y="63545"/>
                      </a:cubicBezTo>
                      <a:lnTo>
                        <a:pt x="68432" y="65243"/>
                      </a:lnTo>
                      <a:cubicBezTo>
                        <a:pt x="68842" y="65595"/>
                        <a:pt x="68900" y="66180"/>
                        <a:pt x="68607" y="66532"/>
                      </a:cubicBezTo>
                      <a:close/>
                      <a:moveTo>
                        <a:pt x="70306" y="64482"/>
                      </a:moveTo>
                      <a:lnTo>
                        <a:pt x="70423" y="64541"/>
                      </a:lnTo>
                      <a:lnTo>
                        <a:pt x="70306" y="64482"/>
                      </a:lnTo>
                      <a:cubicBezTo>
                        <a:pt x="70013" y="64833"/>
                        <a:pt x="69427" y="64892"/>
                        <a:pt x="69017" y="64541"/>
                      </a:cubicBezTo>
                      <a:lnTo>
                        <a:pt x="67026" y="62959"/>
                      </a:lnTo>
                      <a:cubicBezTo>
                        <a:pt x="66616" y="62608"/>
                        <a:pt x="66499" y="62022"/>
                        <a:pt x="66791" y="61671"/>
                      </a:cubicBezTo>
                      <a:cubicBezTo>
                        <a:pt x="67084" y="61319"/>
                        <a:pt x="67670" y="61261"/>
                        <a:pt x="68080" y="61612"/>
                      </a:cubicBezTo>
                      <a:lnTo>
                        <a:pt x="70072" y="63194"/>
                      </a:lnTo>
                      <a:cubicBezTo>
                        <a:pt x="70482" y="63545"/>
                        <a:pt x="70599" y="64131"/>
                        <a:pt x="70306" y="64482"/>
                      </a:cubicBezTo>
                      <a:close/>
                      <a:moveTo>
                        <a:pt x="71888" y="62315"/>
                      </a:moveTo>
                      <a:lnTo>
                        <a:pt x="72005" y="62374"/>
                      </a:lnTo>
                      <a:lnTo>
                        <a:pt x="71888" y="62315"/>
                      </a:lnTo>
                      <a:cubicBezTo>
                        <a:pt x="71595" y="62725"/>
                        <a:pt x="71009" y="62784"/>
                        <a:pt x="70599" y="62432"/>
                      </a:cubicBezTo>
                      <a:lnTo>
                        <a:pt x="68490" y="61027"/>
                      </a:lnTo>
                      <a:cubicBezTo>
                        <a:pt x="68022" y="60734"/>
                        <a:pt x="67904" y="60148"/>
                        <a:pt x="68139" y="59738"/>
                      </a:cubicBezTo>
                      <a:cubicBezTo>
                        <a:pt x="68373" y="59328"/>
                        <a:pt x="68959" y="59270"/>
                        <a:pt x="69427" y="59621"/>
                      </a:cubicBezTo>
                      <a:lnTo>
                        <a:pt x="71536" y="61027"/>
                      </a:lnTo>
                      <a:cubicBezTo>
                        <a:pt x="72005" y="61378"/>
                        <a:pt x="72180" y="61964"/>
                        <a:pt x="71888" y="62315"/>
                      </a:cubicBezTo>
                      <a:close/>
                      <a:moveTo>
                        <a:pt x="73293" y="60089"/>
                      </a:moveTo>
                      <a:lnTo>
                        <a:pt x="73411" y="60148"/>
                      </a:lnTo>
                      <a:lnTo>
                        <a:pt x="73293" y="60089"/>
                      </a:lnTo>
                      <a:cubicBezTo>
                        <a:pt x="73059" y="60499"/>
                        <a:pt x="72473" y="60617"/>
                        <a:pt x="72005" y="60324"/>
                      </a:cubicBezTo>
                      <a:lnTo>
                        <a:pt x="69837" y="59035"/>
                      </a:lnTo>
                      <a:cubicBezTo>
                        <a:pt x="69369" y="58742"/>
                        <a:pt x="69193" y="58215"/>
                        <a:pt x="69427" y="57805"/>
                      </a:cubicBezTo>
                      <a:cubicBezTo>
                        <a:pt x="69662" y="57395"/>
                        <a:pt x="70247" y="57278"/>
                        <a:pt x="70716" y="57571"/>
                      </a:cubicBezTo>
                      <a:lnTo>
                        <a:pt x="72883" y="58860"/>
                      </a:lnTo>
                      <a:cubicBezTo>
                        <a:pt x="73352" y="59094"/>
                        <a:pt x="73586" y="59680"/>
                        <a:pt x="73293" y="60089"/>
                      </a:cubicBezTo>
                      <a:close/>
                      <a:moveTo>
                        <a:pt x="74582" y="57688"/>
                      </a:moveTo>
                      <a:lnTo>
                        <a:pt x="74699" y="57747"/>
                      </a:lnTo>
                      <a:lnTo>
                        <a:pt x="74582" y="57688"/>
                      </a:lnTo>
                      <a:cubicBezTo>
                        <a:pt x="74348" y="58098"/>
                        <a:pt x="73821" y="58274"/>
                        <a:pt x="73293" y="58040"/>
                      </a:cubicBezTo>
                      <a:lnTo>
                        <a:pt x="71009" y="56927"/>
                      </a:lnTo>
                      <a:cubicBezTo>
                        <a:pt x="70540" y="56693"/>
                        <a:pt x="70306" y="56107"/>
                        <a:pt x="70482" y="55697"/>
                      </a:cubicBezTo>
                      <a:cubicBezTo>
                        <a:pt x="70657" y="55287"/>
                        <a:pt x="71243" y="55111"/>
                        <a:pt x="71770" y="55346"/>
                      </a:cubicBezTo>
                      <a:lnTo>
                        <a:pt x="74055" y="56458"/>
                      </a:lnTo>
                      <a:cubicBezTo>
                        <a:pt x="74582" y="56751"/>
                        <a:pt x="74816" y="57278"/>
                        <a:pt x="74582" y="57688"/>
                      </a:cubicBezTo>
                      <a:close/>
                      <a:moveTo>
                        <a:pt x="75695" y="55228"/>
                      </a:moveTo>
                      <a:lnTo>
                        <a:pt x="75812" y="55287"/>
                      </a:lnTo>
                      <a:lnTo>
                        <a:pt x="75695" y="55228"/>
                      </a:lnTo>
                      <a:cubicBezTo>
                        <a:pt x="75519" y="55638"/>
                        <a:pt x="74933" y="55873"/>
                        <a:pt x="74465" y="55638"/>
                      </a:cubicBezTo>
                      <a:lnTo>
                        <a:pt x="72122" y="54701"/>
                      </a:lnTo>
                      <a:cubicBezTo>
                        <a:pt x="71595" y="54467"/>
                        <a:pt x="71360" y="53940"/>
                        <a:pt x="71536" y="53530"/>
                      </a:cubicBezTo>
                      <a:cubicBezTo>
                        <a:pt x="71712" y="53120"/>
                        <a:pt x="72298" y="52886"/>
                        <a:pt x="72766" y="53120"/>
                      </a:cubicBezTo>
                      <a:lnTo>
                        <a:pt x="75109" y="54057"/>
                      </a:lnTo>
                      <a:cubicBezTo>
                        <a:pt x="75578" y="54291"/>
                        <a:pt x="75871" y="54818"/>
                        <a:pt x="75695" y="55228"/>
                      </a:cubicBezTo>
                      <a:close/>
                      <a:moveTo>
                        <a:pt x="76691" y="52769"/>
                      </a:moveTo>
                      <a:lnTo>
                        <a:pt x="76574" y="52710"/>
                      </a:lnTo>
                      <a:cubicBezTo>
                        <a:pt x="76398" y="53179"/>
                        <a:pt x="75871" y="53354"/>
                        <a:pt x="75343" y="53179"/>
                      </a:cubicBezTo>
                      <a:lnTo>
                        <a:pt x="72942" y="52359"/>
                      </a:lnTo>
                      <a:cubicBezTo>
                        <a:pt x="72415" y="52183"/>
                        <a:pt x="72122" y="51656"/>
                        <a:pt x="72239" y="51246"/>
                      </a:cubicBezTo>
                      <a:cubicBezTo>
                        <a:pt x="72356" y="50777"/>
                        <a:pt x="72942" y="50602"/>
                        <a:pt x="73469" y="50719"/>
                      </a:cubicBezTo>
                      <a:lnTo>
                        <a:pt x="75871" y="51539"/>
                      </a:lnTo>
                      <a:cubicBezTo>
                        <a:pt x="76398" y="51714"/>
                        <a:pt x="76691" y="52242"/>
                        <a:pt x="76574" y="52652"/>
                      </a:cubicBezTo>
                      <a:lnTo>
                        <a:pt x="76691" y="52769"/>
                      </a:lnTo>
                      <a:close/>
                      <a:moveTo>
                        <a:pt x="77452" y="50192"/>
                      </a:moveTo>
                      <a:lnTo>
                        <a:pt x="77335" y="50133"/>
                      </a:lnTo>
                      <a:cubicBezTo>
                        <a:pt x="77218" y="50602"/>
                        <a:pt x="76691" y="50836"/>
                        <a:pt x="76164" y="50719"/>
                      </a:cubicBezTo>
                      <a:lnTo>
                        <a:pt x="73703" y="50075"/>
                      </a:lnTo>
                      <a:cubicBezTo>
                        <a:pt x="73176" y="49957"/>
                        <a:pt x="72825" y="49430"/>
                        <a:pt x="72942" y="48962"/>
                      </a:cubicBezTo>
                      <a:cubicBezTo>
                        <a:pt x="73059" y="48493"/>
                        <a:pt x="73586" y="48259"/>
                        <a:pt x="74113" y="48376"/>
                      </a:cubicBezTo>
                      <a:lnTo>
                        <a:pt x="76574" y="49020"/>
                      </a:lnTo>
                      <a:cubicBezTo>
                        <a:pt x="77101" y="49138"/>
                        <a:pt x="77452" y="49665"/>
                        <a:pt x="77335" y="50075"/>
                      </a:cubicBezTo>
                      <a:lnTo>
                        <a:pt x="77452" y="50192"/>
                      </a:lnTo>
                      <a:close/>
                      <a:moveTo>
                        <a:pt x="78038" y="47556"/>
                      </a:moveTo>
                      <a:lnTo>
                        <a:pt x="77921" y="47556"/>
                      </a:lnTo>
                      <a:cubicBezTo>
                        <a:pt x="77862" y="48025"/>
                        <a:pt x="77335" y="48318"/>
                        <a:pt x="76808" y="48200"/>
                      </a:cubicBezTo>
                      <a:lnTo>
                        <a:pt x="74348" y="47732"/>
                      </a:lnTo>
                      <a:cubicBezTo>
                        <a:pt x="73821" y="47615"/>
                        <a:pt x="73411" y="47146"/>
                        <a:pt x="73528" y="46678"/>
                      </a:cubicBezTo>
                      <a:cubicBezTo>
                        <a:pt x="73586" y="46209"/>
                        <a:pt x="74113" y="45916"/>
                        <a:pt x="74641" y="46033"/>
                      </a:cubicBezTo>
                      <a:lnTo>
                        <a:pt x="77101" y="46502"/>
                      </a:lnTo>
                      <a:cubicBezTo>
                        <a:pt x="77628" y="46619"/>
                        <a:pt x="78038" y="47088"/>
                        <a:pt x="77921" y="47498"/>
                      </a:cubicBezTo>
                      <a:lnTo>
                        <a:pt x="78038" y="47556"/>
                      </a:lnTo>
                      <a:close/>
                      <a:moveTo>
                        <a:pt x="78389" y="44921"/>
                      </a:moveTo>
                      <a:lnTo>
                        <a:pt x="78272" y="44921"/>
                      </a:lnTo>
                      <a:cubicBezTo>
                        <a:pt x="78214" y="45389"/>
                        <a:pt x="77745" y="45741"/>
                        <a:pt x="77159" y="45682"/>
                      </a:cubicBezTo>
                      <a:lnTo>
                        <a:pt x="74641" y="45389"/>
                      </a:lnTo>
                      <a:cubicBezTo>
                        <a:pt x="74113" y="45331"/>
                        <a:pt x="73703" y="44921"/>
                        <a:pt x="73762" y="44394"/>
                      </a:cubicBezTo>
                      <a:cubicBezTo>
                        <a:pt x="73821" y="43925"/>
                        <a:pt x="74289" y="43574"/>
                        <a:pt x="74816" y="43632"/>
                      </a:cubicBezTo>
                      <a:lnTo>
                        <a:pt x="77335" y="43925"/>
                      </a:lnTo>
                      <a:cubicBezTo>
                        <a:pt x="77862" y="43984"/>
                        <a:pt x="78272" y="44394"/>
                        <a:pt x="78214" y="44921"/>
                      </a:cubicBezTo>
                      <a:lnTo>
                        <a:pt x="78389" y="44921"/>
                      </a:lnTo>
                      <a:close/>
                      <a:moveTo>
                        <a:pt x="78448" y="42227"/>
                      </a:moveTo>
                      <a:cubicBezTo>
                        <a:pt x="78448" y="42695"/>
                        <a:pt x="77979" y="43047"/>
                        <a:pt x="77394" y="43047"/>
                      </a:cubicBezTo>
                      <a:lnTo>
                        <a:pt x="74875" y="42929"/>
                      </a:lnTo>
                      <a:cubicBezTo>
                        <a:pt x="74348" y="42929"/>
                        <a:pt x="73879" y="42519"/>
                        <a:pt x="73879" y="41992"/>
                      </a:cubicBezTo>
                      <a:cubicBezTo>
                        <a:pt x="73879" y="41524"/>
                        <a:pt x="74348" y="41172"/>
                        <a:pt x="74933" y="41172"/>
                      </a:cubicBezTo>
                      <a:lnTo>
                        <a:pt x="77452" y="41290"/>
                      </a:lnTo>
                      <a:cubicBezTo>
                        <a:pt x="78038" y="41348"/>
                        <a:pt x="78448" y="41758"/>
                        <a:pt x="78448" y="42227"/>
                      </a:cubicBezTo>
                      <a:lnTo>
                        <a:pt x="78565" y="42227"/>
                      </a:lnTo>
                      <a:lnTo>
                        <a:pt x="78448" y="42227"/>
                      </a:lnTo>
                      <a:close/>
                      <a:moveTo>
                        <a:pt x="78448" y="39533"/>
                      </a:moveTo>
                      <a:cubicBezTo>
                        <a:pt x="78448" y="40001"/>
                        <a:pt x="78038" y="40411"/>
                        <a:pt x="77452" y="40411"/>
                      </a:cubicBezTo>
                      <a:lnTo>
                        <a:pt x="74933" y="40470"/>
                      </a:lnTo>
                      <a:cubicBezTo>
                        <a:pt x="74406" y="40470"/>
                        <a:pt x="73938" y="40118"/>
                        <a:pt x="73879" y="39650"/>
                      </a:cubicBezTo>
                      <a:cubicBezTo>
                        <a:pt x="73879" y="39181"/>
                        <a:pt x="74289" y="38771"/>
                        <a:pt x="74875" y="38771"/>
                      </a:cubicBezTo>
                      <a:lnTo>
                        <a:pt x="77394" y="38713"/>
                      </a:lnTo>
                      <a:cubicBezTo>
                        <a:pt x="77979" y="38654"/>
                        <a:pt x="78448" y="39064"/>
                        <a:pt x="78448" y="39533"/>
                      </a:cubicBezTo>
                      <a:lnTo>
                        <a:pt x="78565" y="39533"/>
                      </a:lnTo>
                      <a:lnTo>
                        <a:pt x="78448" y="39533"/>
                      </a:lnTo>
                      <a:close/>
                      <a:moveTo>
                        <a:pt x="78272" y="36839"/>
                      </a:moveTo>
                      <a:cubicBezTo>
                        <a:pt x="78331" y="37307"/>
                        <a:pt x="77921" y="37717"/>
                        <a:pt x="77394" y="37776"/>
                      </a:cubicBezTo>
                      <a:lnTo>
                        <a:pt x="74875" y="38010"/>
                      </a:lnTo>
                      <a:cubicBezTo>
                        <a:pt x="74348" y="38068"/>
                        <a:pt x="73821" y="37717"/>
                        <a:pt x="73762" y="37248"/>
                      </a:cubicBezTo>
                      <a:cubicBezTo>
                        <a:pt x="73703" y="36780"/>
                        <a:pt x="74113" y="36370"/>
                        <a:pt x="74699" y="36311"/>
                      </a:cubicBezTo>
                      <a:lnTo>
                        <a:pt x="77218" y="36077"/>
                      </a:lnTo>
                      <a:cubicBezTo>
                        <a:pt x="77745" y="36019"/>
                        <a:pt x="78214" y="36370"/>
                        <a:pt x="78272" y="36839"/>
                      </a:cubicBezTo>
                      <a:lnTo>
                        <a:pt x="78389" y="36839"/>
                      </a:lnTo>
                      <a:lnTo>
                        <a:pt x="78272" y="36839"/>
                      </a:lnTo>
                      <a:close/>
                      <a:moveTo>
                        <a:pt x="77921" y="34203"/>
                      </a:moveTo>
                      <a:cubicBezTo>
                        <a:pt x="77979" y="34672"/>
                        <a:pt x="77628" y="35140"/>
                        <a:pt x="77101" y="35199"/>
                      </a:cubicBezTo>
                      <a:lnTo>
                        <a:pt x="74641" y="35609"/>
                      </a:lnTo>
                      <a:cubicBezTo>
                        <a:pt x="74113" y="35726"/>
                        <a:pt x="73586" y="35374"/>
                        <a:pt x="73528" y="34906"/>
                      </a:cubicBezTo>
                      <a:cubicBezTo>
                        <a:pt x="73469" y="34437"/>
                        <a:pt x="73821" y="33969"/>
                        <a:pt x="74348" y="33910"/>
                      </a:cubicBezTo>
                      <a:lnTo>
                        <a:pt x="76808" y="33500"/>
                      </a:lnTo>
                      <a:cubicBezTo>
                        <a:pt x="77335" y="33383"/>
                        <a:pt x="77804" y="33734"/>
                        <a:pt x="77921" y="34203"/>
                      </a:cubicBezTo>
                      <a:lnTo>
                        <a:pt x="78038" y="34203"/>
                      </a:lnTo>
                      <a:lnTo>
                        <a:pt x="77921" y="34203"/>
                      </a:lnTo>
                      <a:close/>
                      <a:moveTo>
                        <a:pt x="77335" y="31568"/>
                      </a:moveTo>
                      <a:cubicBezTo>
                        <a:pt x="77452" y="32036"/>
                        <a:pt x="77101" y="32505"/>
                        <a:pt x="76574" y="32622"/>
                      </a:cubicBezTo>
                      <a:lnTo>
                        <a:pt x="74113" y="33207"/>
                      </a:lnTo>
                      <a:cubicBezTo>
                        <a:pt x="73586" y="33325"/>
                        <a:pt x="73059" y="33090"/>
                        <a:pt x="72942" y="32622"/>
                      </a:cubicBezTo>
                      <a:cubicBezTo>
                        <a:pt x="72825" y="32153"/>
                        <a:pt x="73176" y="31685"/>
                        <a:pt x="73703" y="31568"/>
                      </a:cubicBezTo>
                      <a:lnTo>
                        <a:pt x="76164" y="30982"/>
                      </a:lnTo>
                      <a:cubicBezTo>
                        <a:pt x="76691" y="30806"/>
                        <a:pt x="77218" y="31099"/>
                        <a:pt x="77335" y="31568"/>
                      </a:cubicBezTo>
                      <a:lnTo>
                        <a:pt x="77452" y="31509"/>
                      </a:lnTo>
                      <a:lnTo>
                        <a:pt x="77335" y="31568"/>
                      </a:lnTo>
                      <a:close/>
                      <a:moveTo>
                        <a:pt x="76632" y="28991"/>
                      </a:moveTo>
                      <a:cubicBezTo>
                        <a:pt x="76749" y="29459"/>
                        <a:pt x="76456" y="29928"/>
                        <a:pt x="75929" y="30103"/>
                      </a:cubicBezTo>
                      <a:lnTo>
                        <a:pt x="73528" y="30865"/>
                      </a:lnTo>
                      <a:cubicBezTo>
                        <a:pt x="73000" y="31040"/>
                        <a:pt x="72473" y="30806"/>
                        <a:pt x="72298" y="30338"/>
                      </a:cubicBezTo>
                      <a:cubicBezTo>
                        <a:pt x="72122" y="29869"/>
                        <a:pt x="72473" y="29401"/>
                        <a:pt x="73000" y="29225"/>
                      </a:cubicBezTo>
                      <a:lnTo>
                        <a:pt x="75402" y="28463"/>
                      </a:lnTo>
                      <a:cubicBezTo>
                        <a:pt x="75929" y="28288"/>
                        <a:pt x="76456" y="28522"/>
                        <a:pt x="76632" y="28991"/>
                      </a:cubicBezTo>
                      <a:lnTo>
                        <a:pt x="76749" y="28932"/>
                      </a:lnTo>
                      <a:lnTo>
                        <a:pt x="76632" y="28991"/>
                      </a:lnTo>
                      <a:close/>
                      <a:moveTo>
                        <a:pt x="75695" y="26472"/>
                      </a:moveTo>
                      <a:cubicBezTo>
                        <a:pt x="75871" y="26882"/>
                        <a:pt x="75578" y="27409"/>
                        <a:pt x="75109" y="27644"/>
                      </a:cubicBezTo>
                      <a:lnTo>
                        <a:pt x="72766" y="28581"/>
                      </a:lnTo>
                      <a:cubicBezTo>
                        <a:pt x="72239" y="28756"/>
                        <a:pt x="71712" y="28581"/>
                        <a:pt x="71536" y="28171"/>
                      </a:cubicBezTo>
                      <a:cubicBezTo>
                        <a:pt x="71360" y="27761"/>
                        <a:pt x="71653" y="27234"/>
                        <a:pt x="72122" y="26999"/>
                      </a:cubicBezTo>
                      <a:lnTo>
                        <a:pt x="74465" y="26062"/>
                      </a:lnTo>
                      <a:cubicBezTo>
                        <a:pt x="74992" y="25828"/>
                        <a:pt x="75519" y="26004"/>
                        <a:pt x="75695" y="26472"/>
                      </a:cubicBezTo>
                      <a:lnTo>
                        <a:pt x="75812" y="26414"/>
                      </a:lnTo>
                      <a:lnTo>
                        <a:pt x="75695" y="26472"/>
                      </a:lnTo>
                      <a:close/>
                      <a:moveTo>
                        <a:pt x="74641" y="24012"/>
                      </a:moveTo>
                      <a:cubicBezTo>
                        <a:pt x="74875" y="24422"/>
                        <a:pt x="74582" y="24949"/>
                        <a:pt x="74113" y="25242"/>
                      </a:cubicBezTo>
                      <a:lnTo>
                        <a:pt x="71829" y="26355"/>
                      </a:lnTo>
                      <a:cubicBezTo>
                        <a:pt x="71360" y="26589"/>
                        <a:pt x="70775" y="26414"/>
                        <a:pt x="70540" y="26004"/>
                      </a:cubicBezTo>
                      <a:cubicBezTo>
                        <a:pt x="70306" y="25594"/>
                        <a:pt x="70599" y="25008"/>
                        <a:pt x="71068" y="24774"/>
                      </a:cubicBezTo>
                      <a:lnTo>
                        <a:pt x="73352" y="23661"/>
                      </a:lnTo>
                      <a:cubicBezTo>
                        <a:pt x="73821" y="23368"/>
                        <a:pt x="74406" y="23544"/>
                        <a:pt x="74641" y="24012"/>
                      </a:cubicBezTo>
                      <a:lnTo>
                        <a:pt x="74758" y="23954"/>
                      </a:lnTo>
                      <a:lnTo>
                        <a:pt x="74641" y="24012"/>
                      </a:lnTo>
                      <a:close/>
                      <a:moveTo>
                        <a:pt x="73352" y="21611"/>
                      </a:moveTo>
                      <a:cubicBezTo>
                        <a:pt x="73586" y="22021"/>
                        <a:pt x="73411" y="22548"/>
                        <a:pt x="72883" y="22841"/>
                      </a:cubicBezTo>
                      <a:lnTo>
                        <a:pt x="70716" y="24071"/>
                      </a:lnTo>
                      <a:cubicBezTo>
                        <a:pt x="70247" y="24364"/>
                        <a:pt x="69662" y="24247"/>
                        <a:pt x="69427" y="23837"/>
                      </a:cubicBezTo>
                      <a:cubicBezTo>
                        <a:pt x="69193" y="23427"/>
                        <a:pt x="69369" y="22841"/>
                        <a:pt x="69896" y="22607"/>
                      </a:cubicBezTo>
                      <a:lnTo>
                        <a:pt x="72063" y="21377"/>
                      </a:lnTo>
                      <a:cubicBezTo>
                        <a:pt x="72532" y="21084"/>
                        <a:pt x="73118" y="21201"/>
                        <a:pt x="73352" y="21611"/>
                      </a:cubicBezTo>
                      <a:lnTo>
                        <a:pt x="73469" y="21553"/>
                      </a:lnTo>
                      <a:lnTo>
                        <a:pt x="73352" y="21611"/>
                      </a:lnTo>
                      <a:close/>
                    </a:path>
                  </a:pathLst>
                </a:custGeom>
                <a:solidFill>
                  <a:srgbClr val="311F12"/>
                </a:solidFill>
                <a:ln w="58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38" name="Freeform 1154">
                  <a:extLst>
                    <a:ext uri="{FF2B5EF4-FFF2-40B4-BE49-F238E27FC236}">
                      <a16:creationId xmlns:a16="http://schemas.microsoft.com/office/drawing/2014/main" id="{7080D1BC-577E-CFC2-8C81-74BB3C55E578}"/>
                    </a:ext>
                  </a:extLst>
                </p:cNvPr>
                <p:cNvSpPr/>
                <p:nvPr/>
              </p:nvSpPr>
              <p:spPr>
                <a:xfrm>
                  <a:off x="998714" y="2444229"/>
                  <a:ext cx="4460" cy="6790"/>
                </a:xfrm>
                <a:custGeom>
                  <a:avLst/>
                  <a:gdLst>
                    <a:gd name="connsiteX0" fmla="*/ 527 w 4460"/>
                    <a:gd name="connsiteY0" fmla="*/ 137 h 6790"/>
                    <a:gd name="connsiteX1" fmla="*/ 703 w 4460"/>
                    <a:gd name="connsiteY1" fmla="*/ 2949 h 6790"/>
                    <a:gd name="connsiteX2" fmla="*/ 1640 w 4460"/>
                    <a:gd name="connsiteY2" fmla="*/ 4764 h 6790"/>
                    <a:gd name="connsiteX3" fmla="*/ 3925 w 4460"/>
                    <a:gd name="connsiteY3" fmla="*/ 6638 h 6790"/>
                    <a:gd name="connsiteX4" fmla="*/ 3632 w 4460"/>
                    <a:gd name="connsiteY4" fmla="*/ 3710 h 6790"/>
                    <a:gd name="connsiteX5" fmla="*/ 2694 w 4460"/>
                    <a:gd name="connsiteY5" fmla="*/ 1894 h 6790"/>
                    <a:gd name="connsiteX6" fmla="*/ 527 w 4460"/>
                    <a:gd name="connsiteY6" fmla="*/ 137 h 67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4460" h="6790">
                      <a:moveTo>
                        <a:pt x="527" y="137"/>
                      </a:moveTo>
                      <a:cubicBezTo>
                        <a:pt x="-117" y="489"/>
                        <a:pt x="-293" y="1074"/>
                        <a:pt x="703" y="2949"/>
                      </a:cubicBezTo>
                      <a:lnTo>
                        <a:pt x="1640" y="4764"/>
                      </a:lnTo>
                      <a:cubicBezTo>
                        <a:pt x="2753" y="6872"/>
                        <a:pt x="3222" y="6990"/>
                        <a:pt x="3925" y="6638"/>
                      </a:cubicBezTo>
                      <a:cubicBezTo>
                        <a:pt x="4627" y="6287"/>
                        <a:pt x="4745" y="5818"/>
                        <a:pt x="3632" y="3710"/>
                      </a:cubicBezTo>
                      <a:lnTo>
                        <a:pt x="2694" y="1894"/>
                      </a:lnTo>
                      <a:cubicBezTo>
                        <a:pt x="1757" y="20"/>
                        <a:pt x="1172" y="-214"/>
                        <a:pt x="527" y="137"/>
                      </a:cubicBezTo>
                      <a:close/>
                    </a:path>
                  </a:pathLst>
                </a:custGeom>
                <a:solidFill>
                  <a:srgbClr val="311F12"/>
                </a:solidFill>
                <a:ln w="58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</p:grpSp>
        </p:grpSp>
        <p:grpSp>
          <p:nvGrpSpPr>
            <p:cNvPr id="117" name="Graphic 2">
              <a:extLst>
                <a:ext uri="{FF2B5EF4-FFF2-40B4-BE49-F238E27FC236}">
                  <a16:creationId xmlns:a16="http://schemas.microsoft.com/office/drawing/2014/main" id="{5E0DBA8C-3FA6-35A2-CD8C-73662A4CD09F}"/>
                </a:ext>
              </a:extLst>
            </p:cNvPr>
            <p:cNvGrpSpPr/>
            <p:nvPr/>
          </p:nvGrpSpPr>
          <p:grpSpPr>
            <a:xfrm>
              <a:off x="829958" y="2445829"/>
              <a:ext cx="170303" cy="363126"/>
              <a:chOff x="829958" y="2445829"/>
              <a:chExt cx="170303" cy="363126"/>
            </a:xfrm>
          </p:grpSpPr>
          <p:sp>
            <p:nvSpPr>
              <p:cNvPr id="118" name="Freeform 1156">
                <a:extLst>
                  <a:ext uri="{FF2B5EF4-FFF2-40B4-BE49-F238E27FC236}">
                    <a16:creationId xmlns:a16="http://schemas.microsoft.com/office/drawing/2014/main" id="{4EFFC132-1BDC-0D47-B50F-3D30B0B5BBAA}"/>
                  </a:ext>
                </a:extLst>
              </p:cNvPr>
              <p:cNvSpPr/>
              <p:nvPr/>
            </p:nvSpPr>
            <p:spPr>
              <a:xfrm>
                <a:off x="927287" y="2797112"/>
                <a:ext cx="26089" cy="9294"/>
              </a:xfrm>
              <a:custGeom>
                <a:avLst/>
                <a:gdLst>
                  <a:gd name="connsiteX0" fmla="*/ 26089 w 26089"/>
                  <a:gd name="connsiteY0" fmla="*/ 6562 h 9294"/>
                  <a:gd name="connsiteX1" fmla="*/ 25796 w 26089"/>
                  <a:gd name="connsiteY1" fmla="*/ 5390 h 9294"/>
                  <a:gd name="connsiteX2" fmla="*/ 22223 w 26089"/>
                  <a:gd name="connsiteY2" fmla="*/ 4746 h 9294"/>
                  <a:gd name="connsiteX3" fmla="*/ 18299 w 26089"/>
                  <a:gd name="connsiteY3" fmla="*/ 4160 h 9294"/>
                  <a:gd name="connsiteX4" fmla="*/ 10508 w 26089"/>
                  <a:gd name="connsiteY4" fmla="*/ 2813 h 9294"/>
                  <a:gd name="connsiteX5" fmla="*/ 9922 w 26089"/>
                  <a:gd name="connsiteY5" fmla="*/ 295 h 9294"/>
                  <a:gd name="connsiteX6" fmla="*/ 2132 w 26089"/>
                  <a:gd name="connsiteY6" fmla="*/ 178 h 9294"/>
                  <a:gd name="connsiteX7" fmla="*/ 550 w 26089"/>
                  <a:gd name="connsiteY7" fmla="*/ 3867 h 9294"/>
                  <a:gd name="connsiteX8" fmla="*/ 23 w 26089"/>
                  <a:gd name="connsiteY8" fmla="*/ 5566 h 9294"/>
                  <a:gd name="connsiteX9" fmla="*/ 1605 w 26089"/>
                  <a:gd name="connsiteY9" fmla="*/ 7908 h 9294"/>
                  <a:gd name="connsiteX10" fmla="*/ 2132 w 26089"/>
                  <a:gd name="connsiteY10" fmla="*/ 8553 h 9294"/>
                  <a:gd name="connsiteX11" fmla="*/ 3069 w 26089"/>
                  <a:gd name="connsiteY11" fmla="*/ 8963 h 9294"/>
                  <a:gd name="connsiteX12" fmla="*/ 6994 w 26089"/>
                  <a:gd name="connsiteY12" fmla="*/ 9197 h 9294"/>
                  <a:gd name="connsiteX13" fmla="*/ 8107 w 26089"/>
                  <a:gd name="connsiteY13" fmla="*/ 7498 h 9294"/>
                  <a:gd name="connsiteX14" fmla="*/ 24859 w 26089"/>
                  <a:gd name="connsiteY14" fmla="*/ 8611 h 9294"/>
                  <a:gd name="connsiteX15" fmla="*/ 26031 w 26089"/>
                  <a:gd name="connsiteY15" fmla="*/ 7557 h 9294"/>
                  <a:gd name="connsiteX16" fmla="*/ 26089 w 26089"/>
                  <a:gd name="connsiteY16" fmla="*/ 6562 h 92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26089" h="9294">
                    <a:moveTo>
                      <a:pt x="26089" y="6562"/>
                    </a:moveTo>
                    <a:cubicBezTo>
                      <a:pt x="26031" y="6151"/>
                      <a:pt x="25972" y="5741"/>
                      <a:pt x="25796" y="5390"/>
                    </a:cubicBezTo>
                    <a:cubicBezTo>
                      <a:pt x="25211" y="4394"/>
                      <a:pt x="23278" y="4863"/>
                      <a:pt x="22223" y="4746"/>
                    </a:cubicBezTo>
                    <a:cubicBezTo>
                      <a:pt x="20935" y="4629"/>
                      <a:pt x="19587" y="4394"/>
                      <a:pt x="18299" y="4160"/>
                    </a:cubicBezTo>
                    <a:cubicBezTo>
                      <a:pt x="17479" y="3984"/>
                      <a:pt x="10742" y="2286"/>
                      <a:pt x="10508" y="2813"/>
                    </a:cubicBezTo>
                    <a:cubicBezTo>
                      <a:pt x="10860" y="2052"/>
                      <a:pt x="10098" y="1232"/>
                      <a:pt x="9922" y="295"/>
                    </a:cubicBezTo>
                    <a:cubicBezTo>
                      <a:pt x="7579" y="-467"/>
                      <a:pt x="4885" y="529"/>
                      <a:pt x="2132" y="178"/>
                    </a:cubicBezTo>
                    <a:cubicBezTo>
                      <a:pt x="2190" y="1525"/>
                      <a:pt x="1195" y="2755"/>
                      <a:pt x="550" y="3867"/>
                    </a:cubicBezTo>
                    <a:cubicBezTo>
                      <a:pt x="257" y="4394"/>
                      <a:pt x="-94" y="4980"/>
                      <a:pt x="23" y="5566"/>
                    </a:cubicBezTo>
                    <a:cubicBezTo>
                      <a:pt x="199" y="6269"/>
                      <a:pt x="1195" y="7264"/>
                      <a:pt x="1605" y="7908"/>
                    </a:cubicBezTo>
                    <a:cubicBezTo>
                      <a:pt x="1780" y="8143"/>
                      <a:pt x="1898" y="8377"/>
                      <a:pt x="2132" y="8553"/>
                    </a:cubicBezTo>
                    <a:cubicBezTo>
                      <a:pt x="2425" y="8787"/>
                      <a:pt x="2718" y="8846"/>
                      <a:pt x="3069" y="8963"/>
                    </a:cubicBezTo>
                    <a:cubicBezTo>
                      <a:pt x="4358" y="9255"/>
                      <a:pt x="5646" y="9314"/>
                      <a:pt x="6994" y="9197"/>
                    </a:cubicBezTo>
                    <a:cubicBezTo>
                      <a:pt x="7697" y="9138"/>
                      <a:pt x="9161" y="8377"/>
                      <a:pt x="8107" y="7498"/>
                    </a:cubicBezTo>
                    <a:cubicBezTo>
                      <a:pt x="13730" y="7440"/>
                      <a:pt x="19295" y="10661"/>
                      <a:pt x="24859" y="8611"/>
                    </a:cubicBezTo>
                    <a:cubicBezTo>
                      <a:pt x="25386" y="8436"/>
                      <a:pt x="25855" y="8026"/>
                      <a:pt x="26031" y="7557"/>
                    </a:cubicBezTo>
                    <a:cubicBezTo>
                      <a:pt x="26089" y="7206"/>
                      <a:pt x="26089" y="6913"/>
                      <a:pt x="26089" y="6562"/>
                    </a:cubicBezTo>
                    <a:close/>
                  </a:path>
                </a:pathLst>
              </a:custGeom>
              <a:solidFill>
                <a:srgbClr val="161219"/>
              </a:solidFill>
              <a:ln w="5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19" name="Freeform 1157">
                <a:extLst>
                  <a:ext uri="{FF2B5EF4-FFF2-40B4-BE49-F238E27FC236}">
                    <a16:creationId xmlns:a16="http://schemas.microsoft.com/office/drawing/2014/main" id="{AF2AFB9A-D612-9C32-C2B9-B446674024E2}"/>
                  </a:ext>
                </a:extLst>
              </p:cNvPr>
              <p:cNvSpPr/>
              <p:nvPr/>
            </p:nvSpPr>
            <p:spPr>
              <a:xfrm>
                <a:off x="918875" y="2674426"/>
                <a:ext cx="41373" cy="124737"/>
              </a:xfrm>
              <a:custGeom>
                <a:avLst/>
                <a:gdLst>
                  <a:gd name="connsiteX0" fmla="*/ 41355 w 41373"/>
                  <a:gd name="connsiteY0" fmla="*/ 518 h 124737"/>
                  <a:gd name="connsiteX1" fmla="*/ 32978 w 41373"/>
                  <a:gd name="connsiteY1" fmla="*/ 869 h 124737"/>
                  <a:gd name="connsiteX2" fmla="*/ 13824 w 41373"/>
                  <a:gd name="connsiteY2" fmla="*/ 1396 h 124737"/>
                  <a:gd name="connsiteX3" fmla="*/ 9724 w 41373"/>
                  <a:gd name="connsiteY3" fmla="*/ 2450 h 124737"/>
                  <a:gd name="connsiteX4" fmla="*/ 0 w 41373"/>
                  <a:gd name="connsiteY4" fmla="*/ 8131 h 124737"/>
                  <a:gd name="connsiteX5" fmla="*/ 10837 w 41373"/>
                  <a:gd name="connsiteY5" fmla="*/ 124738 h 124737"/>
                  <a:gd name="connsiteX6" fmla="*/ 18686 w 41373"/>
                  <a:gd name="connsiteY6" fmla="*/ 124738 h 124737"/>
                  <a:gd name="connsiteX7" fmla="*/ 27999 w 41373"/>
                  <a:gd name="connsiteY7" fmla="*/ 87899 h 124737"/>
                  <a:gd name="connsiteX8" fmla="*/ 41355 w 41373"/>
                  <a:gd name="connsiteY8" fmla="*/ 518 h 1247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1373" h="124737">
                    <a:moveTo>
                      <a:pt x="41355" y="518"/>
                    </a:moveTo>
                    <a:cubicBezTo>
                      <a:pt x="41355" y="-420"/>
                      <a:pt x="33388" y="49"/>
                      <a:pt x="32978" y="869"/>
                    </a:cubicBezTo>
                    <a:cubicBezTo>
                      <a:pt x="26594" y="1045"/>
                      <a:pt x="20209" y="1220"/>
                      <a:pt x="13824" y="1396"/>
                    </a:cubicBezTo>
                    <a:cubicBezTo>
                      <a:pt x="12360" y="1455"/>
                      <a:pt x="10837" y="1513"/>
                      <a:pt x="9724" y="2450"/>
                    </a:cubicBezTo>
                    <a:cubicBezTo>
                      <a:pt x="8201" y="3680"/>
                      <a:pt x="-58" y="6140"/>
                      <a:pt x="0" y="8131"/>
                    </a:cubicBezTo>
                    <a:cubicBezTo>
                      <a:pt x="879" y="47078"/>
                      <a:pt x="9958" y="85791"/>
                      <a:pt x="10837" y="124738"/>
                    </a:cubicBezTo>
                    <a:cubicBezTo>
                      <a:pt x="13473" y="124738"/>
                      <a:pt x="16050" y="124738"/>
                      <a:pt x="18686" y="124738"/>
                    </a:cubicBezTo>
                    <a:cubicBezTo>
                      <a:pt x="18745" y="112321"/>
                      <a:pt x="25656" y="100140"/>
                      <a:pt x="27999" y="87899"/>
                    </a:cubicBezTo>
                    <a:cubicBezTo>
                      <a:pt x="33564" y="59494"/>
                      <a:pt x="41823" y="29391"/>
                      <a:pt x="41355" y="518"/>
                    </a:cubicBezTo>
                    <a:close/>
                  </a:path>
                </a:pathLst>
              </a:custGeom>
              <a:solidFill>
                <a:srgbClr val="666666"/>
              </a:solidFill>
              <a:ln w="5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20" name="Freeform 1158">
                <a:extLst>
                  <a:ext uri="{FF2B5EF4-FFF2-40B4-BE49-F238E27FC236}">
                    <a16:creationId xmlns:a16="http://schemas.microsoft.com/office/drawing/2014/main" id="{79D8B876-461D-EAA3-09B7-45302BDF6B80}"/>
                  </a:ext>
                </a:extLst>
              </p:cNvPr>
              <p:cNvSpPr/>
              <p:nvPr/>
            </p:nvSpPr>
            <p:spPr>
              <a:xfrm>
                <a:off x="858835" y="2669317"/>
                <a:ext cx="61153" cy="126157"/>
              </a:xfrm>
              <a:custGeom>
                <a:avLst/>
                <a:gdLst>
                  <a:gd name="connsiteX0" fmla="*/ 50902 w 61153"/>
                  <a:gd name="connsiteY0" fmla="*/ 1469 h 126157"/>
                  <a:gd name="connsiteX1" fmla="*/ 48149 w 61153"/>
                  <a:gd name="connsiteY1" fmla="*/ 356 h 126157"/>
                  <a:gd name="connsiteX2" fmla="*/ 35614 w 61153"/>
                  <a:gd name="connsiteY2" fmla="*/ 3460 h 126157"/>
                  <a:gd name="connsiteX3" fmla="*/ 34384 w 61153"/>
                  <a:gd name="connsiteY3" fmla="*/ 8028 h 126157"/>
                  <a:gd name="connsiteX4" fmla="*/ 26886 w 61153"/>
                  <a:gd name="connsiteY4" fmla="*/ 64604 h 126157"/>
                  <a:gd name="connsiteX5" fmla="*/ 23957 w 61153"/>
                  <a:gd name="connsiteY5" fmla="*/ 79011 h 126157"/>
                  <a:gd name="connsiteX6" fmla="*/ 18686 w 61153"/>
                  <a:gd name="connsiteY6" fmla="*/ 89729 h 126157"/>
                  <a:gd name="connsiteX7" fmla="*/ 0 w 61153"/>
                  <a:gd name="connsiteY7" fmla="*/ 122643 h 126157"/>
                  <a:gd name="connsiteX8" fmla="*/ 9841 w 61153"/>
                  <a:gd name="connsiteY8" fmla="*/ 126157 h 126157"/>
                  <a:gd name="connsiteX9" fmla="*/ 38074 w 61153"/>
                  <a:gd name="connsiteY9" fmla="*/ 99685 h 126157"/>
                  <a:gd name="connsiteX10" fmla="*/ 54827 w 61153"/>
                  <a:gd name="connsiteY10" fmla="*/ 69523 h 126157"/>
                  <a:gd name="connsiteX11" fmla="*/ 58341 w 61153"/>
                  <a:gd name="connsiteY11" fmla="*/ 21791 h 126157"/>
                  <a:gd name="connsiteX12" fmla="*/ 61153 w 61153"/>
                  <a:gd name="connsiteY12" fmla="*/ 1820 h 126157"/>
                  <a:gd name="connsiteX13" fmla="*/ 50902 w 61153"/>
                  <a:gd name="connsiteY13" fmla="*/ 1469 h 1261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61153" h="126157">
                    <a:moveTo>
                      <a:pt x="50902" y="1469"/>
                    </a:moveTo>
                    <a:cubicBezTo>
                      <a:pt x="50258" y="707"/>
                      <a:pt x="49145" y="532"/>
                      <a:pt x="48149" y="356"/>
                    </a:cubicBezTo>
                    <a:cubicBezTo>
                      <a:pt x="43639" y="-288"/>
                      <a:pt x="37957" y="-464"/>
                      <a:pt x="35614" y="3460"/>
                    </a:cubicBezTo>
                    <a:cubicBezTo>
                      <a:pt x="34794" y="4807"/>
                      <a:pt x="35790" y="8789"/>
                      <a:pt x="34384" y="8028"/>
                    </a:cubicBezTo>
                    <a:cubicBezTo>
                      <a:pt x="-6619" y="-13876"/>
                      <a:pt x="29405" y="45745"/>
                      <a:pt x="26886" y="64604"/>
                    </a:cubicBezTo>
                    <a:cubicBezTo>
                      <a:pt x="26242" y="69465"/>
                      <a:pt x="25598" y="74384"/>
                      <a:pt x="23957" y="79011"/>
                    </a:cubicBezTo>
                    <a:cubicBezTo>
                      <a:pt x="22610" y="82759"/>
                      <a:pt x="20619" y="86273"/>
                      <a:pt x="18686" y="89729"/>
                    </a:cubicBezTo>
                    <a:cubicBezTo>
                      <a:pt x="12477" y="100681"/>
                      <a:pt x="6268" y="111691"/>
                      <a:pt x="0" y="122643"/>
                    </a:cubicBezTo>
                    <a:cubicBezTo>
                      <a:pt x="2753" y="124869"/>
                      <a:pt x="6268" y="126157"/>
                      <a:pt x="9841" y="126157"/>
                    </a:cubicBezTo>
                    <a:cubicBezTo>
                      <a:pt x="13121" y="120066"/>
                      <a:pt x="17748" y="118778"/>
                      <a:pt x="38074" y="99685"/>
                    </a:cubicBezTo>
                    <a:cubicBezTo>
                      <a:pt x="44869" y="93301"/>
                      <a:pt x="52015" y="78425"/>
                      <a:pt x="54827" y="69523"/>
                    </a:cubicBezTo>
                    <a:cubicBezTo>
                      <a:pt x="56408" y="64487"/>
                      <a:pt x="57931" y="27004"/>
                      <a:pt x="58341" y="21791"/>
                    </a:cubicBezTo>
                    <a:cubicBezTo>
                      <a:pt x="59571" y="6857"/>
                      <a:pt x="59923" y="16755"/>
                      <a:pt x="61153" y="1820"/>
                    </a:cubicBezTo>
                    <a:cubicBezTo>
                      <a:pt x="61212" y="590"/>
                      <a:pt x="51664" y="2289"/>
                      <a:pt x="50902" y="1469"/>
                    </a:cubicBezTo>
                    <a:close/>
                  </a:path>
                </a:pathLst>
              </a:custGeom>
              <a:solidFill>
                <a:srgbClr val="666666"/>
              </a:solidFill>
              <a:ln w="5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grpSp>
            <p:nvGrpSpPr>
              <p:cNvPr id="121" name="Graphic 2">
                <a:extLst>
                  <a:ext uri="{FF2B5EF4-FFF2-40B4-BE49-F238E27FC236}">
                    <a16:creationId xmlns:a16="http://schemas.microsoft.com/office/drawing/2014/main" id="{E739F1F4-9350-F2BF-84D7-C927448BA2C6}"/>
                  </a:ext>
                </a:extLst>
              </p:cNvPr>
              <p:cNvGrpSpPr/>
              <p:nvPr/>
            </p:nvGrpSpPr>
            <p:grpSpPr>
              <a:xfrm>
                <a:off x="829958" y="2445829"/>
                <a:ext cx="69050" cy="117571"/>
                <a:chOff x="829958" y="2445829"/>
                <a:chExt cx="69050" cy="117571"/>
              </a:xfrm>
              <a:solidFill>
                <a:srgbClr val="F3CFA3"/>
              </a:solidFill>
            </p:grpSpPr>
            <p:sp>
              <p:nvSpPr>
                <p:cNvPr id="129" name="Freeform 1160">
                  <a:extLst>
                    <a:ext uri="{FF2B5EF4-FFF2-40B4-BE49-F238E27FC236}">
                      <a16:creationId xmlns:a16="http://schemas.microsoft.com/office/drawing/2014/main" id="{C7DADD38-EE45-F674-B5E3-F57F5AF3B62E}"/>
                    </a:ext>
                  </a:extLst>
                </p:cNvPr>
                <p:cNvSpPr/>
                <p:nvPr/>
              </p:nvSpPr>
              <p:spPr>
                <a:xfrm>
                  <a:off x="835602" y="2445829"/>
                  <a:ext cx="8870" cy="21237"/>
                </a:xfrm>
                <a:custGeom>
                  <a:avLst/>
                  <a:gdLst>
                    <a:gd name="connsiteX0" fmla="*/ 7418 w 8870"/>
                    <a:gd name="connsiteY0" fmla="*/ 13004 h 21237"/>
                    <a:gd name="connsiteX1" fmla="*/ 8590 w 8870"/>
                    <a:gd name="connsiteY1" fmla="*/ 5038 h 21237"/>
                    <a:gd name="connsiteX2" fmla="*/ 7535 w 8870"/>
                    <a:gd name="connsiteY2" fmla="*/ 5214 h 21237"/>
                    <a:gd name="connsiteX3" fmla="*/ 6832 w 8870"/>
                    <a:gd name="connsiteY3" fmla="*/ 6737 h 21237"/>
                    <a:gd name="connsiteX4" fmla="*/ 6188 w 8870"/>
                    <a:gd name="connsiteY4" fmla="*/ 2637 h 21237"/>
                    <a:gd name="connsiteX5" fmla="*/ 3435 w 8870"/>
                    <a:gd name="connsiteY5" fmla="*/ 2 h 21237"/>
                    <a:gd name="connsiteX6" fmla="*/ 975 w 8870"/>
                    <a:gd name="connsiteY6" fmla="*/ 2872 h 21237"/>
                    <a:gd name="connsiteX7" fmla="*/ 858 w 8870"/>
                    <a:gd name="connsiteY7" fmla="*/ 21203 h 21237"/>
                    <a:gd name="connsiteX8" fmla="*/ 7418 w 8870"/>
                    <a:gd name="connsiteY8" fmla="*/ 20559 h 21237"/>
                    <a:gd name="connsiteX9" fmla="*/ 7418 w 8870"/>
                    <a:gd name="connsiteY9" fmla="*/ 13004 h 2123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8870" h="21237">
                      <a:moveTo>
                        <a:pt x="7418" y="13004"/>
                      </a:moveTo>
                      <a:cubicBezTo>
                        <a:pt x="8062" y="10368"/>
                        <a:pt x="9468" y="7615"/>
                        <a:pt x="8590" y="5038"/>
                      </a:cubicBezTo>
                      <a:cubicBezTo>
                        <a:pt x="8238" y="5097"/>
                        <a:pt x="7887" y="5156"/>
                        <a:pt x="7535" y="5214"/>
                      </a:cubicBezTo>
                      <a:cubicBezTo>
                        <a:pt x="7301" y="5741"/>
                        <a:pt x="7067" y="6268"/>
                        <a:pt x="6832" y="6737"/>
                      </a:cubicBezTo>
                      <a:cubicBezTo>
                        <a:pt x="6832" y="5331"/>
                        <a:pt x="6598" y="3984"/>
                        <a:pt x="6188" y="2637"/>
                      </a:cubicBezTo>
                      <a:cubicBezTo>
                        <a:pt x="5778" y="1349"/>
                        <a:pt x="4841" y="-57"/>
                        <a:pt x="3435" y="2"/>
                      </a:cubicBezTo>
                      <a:cubicBezTo>
                        <a:pt x="2088" y="60"/>
                        <a:pt x="1326" y="1583"/>
                        <a:pt x="975" y="2872"/>
                      </a:cubicBezTo>
                      <a:cubicBezTo>
                        <a:pt x="-665" y="8787"/>
                        <a:pt x="96" y="15112"/>
                        <a:pt x="858" y="21203"/>
                      </a:cubicBezTo>
                      <a:cubicBezTo>
                        <a:pt x="3083" y="21320"/>
                        <a:pt x="5309" y="21144"/>
                        <a:pt x="7418" y="20559"/>
                      </a:cubicBezTo>
                      <a:cubicBezTo>
                        <a:pt x="6832" y="18099"/>
                        <a:pt x="6774" y="15463"/>
                        <a:pt x="7418" y="13004"/>
                      </a:cubicBezTo>
                      <a:close/>
                    </a:path>
                  </a:pathLst>
                </a:custGeom>
                <a:solidFill>
                  <a:srgbClr val="F3CFA3"/>
                </a:solidFill>
                <a:ln w="58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30" name="Freeform 1161">
                  <a:extLst>
                    <a:ext uri="{FF2B5EF4-FFF2-40B4-BE49-F238E27FC236}">
                      <a16:creationId xmlns:a16="http://schemas.microsoft.com/office/drawing/2014/main" id="{71F38D2D-5FFD-FD2B-9032-8C3E099FBAE1}"/>
                    </a:ext>
                  </a:extLst>
                </p:cNvPr>
                <p:cNvSpPr/>
                <p:nvPr/>
              </p:nvSpPr>
              <p:spPr>
                <a:xfrm>
                  <a:off x="829958" y="2464806"/>
                  <a:ext cx="69050" cy="98594"/>
                </a:xfrm>
                <a:custGeom>
                  <a:avLst/>
                  <a:gdLst>
                    <a:gd name="connsiteX0" fmla="*/ 53480 w 69050"/>
                    <a:gd name="connsiteY0" fmla="*/ 98041 h 98594"/>
                    <a:gd name="connsiteX1" fmla="*/ 64023 w 69050"/>
                    <a:gd name="connsiteY1" fmla="*/ 69285 h 98594"/>
                    <a:gd name="connsiteX2" fmla="*/ 23957 w 69050"/>
                    <a:gd name="connsiteY2" fmla="*/ 55580 h 98594"/>
                    <a:gd name="connsiteX3" fmla="*/ 15640 w 69050"/>
                    <a:gd name="connsiteY3" fmla="*/ 39708 h 98594"/>
                    <a:gd name="connsiteX4" fmla="*/ 13414 w 69050"/>
                    <a:gd name="connsiteY4" fmla="*/ 351 h 98594"/>
                    <a:gd name="connsiteX5" fmla="*/ 4979 w 69050"/>
                    <a:gd name="connsiteY5" fmla="*/ 0 h 98594"/>
                    <a:gd name="connsiteX6" fmla="*/ 293 w 69050"/>
                    <a:gd name="connsiteY6" fmla="*/ 48845 h 98594"/>
                    <a:gd name="connsiteX7" fmla="*/ 586 w 69050"/>
                    <a:gd name="connsiteY7" fmla="*/ 58332 h 98594"/>
                    <a:gd name="connsiteX8" fmla="*/ 5213 w 69050"/>
                    <a:gd name="connsiteY8" fmla="*/ 66063 h 98594"/>
                    <a:gd name="connsiteX9" fmla="*/ 53480 w 69050"/>
                    <a:gd name="connsiteY9" fmla="*/ 98041 h 9859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69050" h="98594">
                      <a:moveTo>
                        <a:pt x="53480" y="98041"/>
                      </a:moveTo>
                      <a:cubicBezTo>
                        <a:pt x="63262" y="102843"/>
                        <a:pt x="76383" y="74965"/>
                        <a:pt x="64023" y="69285"/>
                      </a:cubicBezTo>
                      <a:cubicBezTo>
                        <a:pt x="52777" y="64131"/>
                        <a:pt x="33974" y="63545"/>
                        <a:pt x="23957" y="55580"/>
                      </a:cubicBezTo>
                      <a:cubicBezTo>
                        <a:pt x="19154" y="51773"/>
                        <a:pt x="16167" y="46268"/>
                        <a:pt x="15640" y="39708"/>
                      </a:cubicBezTo>
                      <a:cubicBezTo>
                        <a:pt x="14585" y="26589"/>
                        <a:pt x="13824" y="13470"/>
                        <a:pt x="13414" y="351"/>
                      </a:cubicBezTo>
                      <a:cubicBezTo>
                        <a:pt x="10602" y="234"/>
                        <a:pt x="7791" y="117"/>
                        <a:pt x="4979" y="0"/>
                      </a:cubicBezTo>
                      <a:cubicBezTo>
                        <a:pt x="3397" y="16282"/>
                        <a:pt x="1874" y="32563"/>
                        <a:pt x="293" y="48845"/>
                      </a:cubicBezTo>
                      <a:cubicBezTo>
                        <a:pt x="0" y="52007"/>
                        <a:pt x="-293" y="55228"/>
                        <a:pt x="586" y="58332"/>
                      </a:cubicBezTo>
                      <a:cubicBezTo>
                        <a:pt x="1406" y="61319"/>
                        <a:pt x="3280" y="63779"/>
                        <a:pt x="5213" y="66063"/>
                      </a:cubicBezTo>
                      <a:cubicBezTo>
                        <a:pt x="17807" y="80939"/>
                        <a:pt x="37898" y="90427"/>
                        <a:pt x="53480" y="98041"/>
                      </a:cubicBezTo>
                      <a:close/>
                    </a:path>
                  </a:pathLst>
                </a:custGeom>
                <a:solidFill>
                  <a:srgbClr val="F3CFA3"/>
                </a:solidFill>
                <a:ln w="58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</p:grpSp>
          <p:sp>
            <p:nvSpPr>
              <p:cNvPr id="122" name="Freeform 1162">
                <a:extLst>
                  <a:ext uri="{FF2B5EF4-FFF2-40B4-BE49-F238E27FC236}">
                    <a16:creationId xmlns:a16="http://schemas.microsoft.com/office/drawing/2014/main" id="{DA354FE2-62E4-CF90-9A21-8B58D74A2731}"/>
                  </a:ext>
                </a:extLst>
              </p:cNvPr>
              <p:cNvSpPr/>
              <p:nvPr/>
            </p:nvSpPr>
            <p:spPr>
              <a:xfrm>
                <a:off x="855230" y="2789910"/>
                <a:ext cx="25528" cy="19045"/>
              </a:xfrm>
              <a:custGeom>
                <a:avLst/>
                <a:gdLst>
                  <a:gd name="connsiteX0" fmla="*/ 25513 w 25528"/>
                  <a:gd name="connsiteY0" fmla="*/ 16340 h 19045"/>
                  <a:gd name="connsiteX1" fmla="*/ 22291 w 25528"/>
                  <a:gd name="connsiteY1" fmla="*/ 14173 h 19045"/>
                  <a:gd name="connsiteX2" fmla="*/ 18718 w 25528"/>
                  <a:gd name="connsiteY2" fmla="*/ 11889 h 19045"/>
                  <a:gd name="connsiteX3" fmla="*/ 11631 w 25528"/>
                  <a:gd name="connsiteY3" fmla="*/ 7145 h 19045"/>
                  <a:gd name="connsiteX4" fmla="*/ 13446 w 25528"/>
                  <a:gd name="connsiteY4" fmla="*/ 5095 h 19045"/>
                  <a:gd name="connsiteX5" fmla="*/ 4836 w 25528"/>
                  <a:gd name="connsiteY5" fmla="*/ 0 h 19045"/>
                  <a:gd name="connsiteX6" fmla="*/ 1263 w 25528"/>
                  <a:gd name="connsiteY6" fmla="*/ 3865 h 19045"/>
                  <a:gd name="connsiteX7" fmla="*/ 33 w 25528"/>
                  <a:gd name="connsiteY7" fmla="*/ 5329 h 19045"/>
                  <a:gd name="connsiteX8" fmla="*/ 560 w 25528"/>
                  <a:gd name="connsiteY8" fmla="*/ 8316 h 19045"/>
                  <a:gd name="connsiteX9" fmla="*/ 794 w 25528"/>
                  <a:gd name="connsiteY9" fmla="*/ 9136 h 19045"/>
                  <a:gd name="connsiteX10" fmla="*/ 1556 w 25528"/>
                  <a:gd name="connsiteY10" fmla="*/ 9956 h 19045"/>
                  <a:gd name="connsiteX11" fmla="*/ 5304 w 25528"/>
                  <a:gd name="connsiteY11" fmla="*/ 11889 h 19045"/>
                  <a:gd name="connsiteX12" fmla="*/ 7120 w 25528"/>
                  <a:gd name="connsiteY12" fmla="*/ 10659 h 19045"/>
                  <a:gd name="connsiteX13" fmla="*/ 23170 w 25528"/>
                  <a:gd name="connsiteY13" fmla="*/ 19034 h 19045"/>
                  <a:gd name="connsiteX14" fmla="*/ 24810 w 25528"/>
                  <a:gd name="connsiteY14" fmla="*/ 18507 h 19045"/>
                  <a:gd name="connsiteX15" fmla="*/ 25279 w 25528"/>
                  <a:gd name="connsiteY15" fmla="*/ 17629 h 19045"/>
                  <a:gd name="connsiteX16" fmla="*/ 25513 w 25528"/>
                  <a:gd name="connsiteY16" fmla="*/ 16340 h 190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25528" h="19045">
                    <a:moveTo>
                      <a:pt x="25513" y="16340"/>
                    </a:moveTo>
                    <a:cubicBezTo>
                      <a:pt x="25396" y="15110"/>
                      <a:pt x="23229" y="14700"/>
                      <a:pt x="22291" y="14173"/>
                    </a:cubicBezTo>
                    <a:cubicBezTo>
                      <a:pt x="21061" y="13470"/>
                      <a:pt x="19831" y="12709"/>
                      <a:pt x="18718" y="11889"/>
                    </a:cubicBezTo>
                    <a:cubicBezTo>
                      <a:pt x="18015" y="11362"/>
                      <a:pt x="12041" y="6735"/>
                      <a:pt x="11631" y="7145"/>
                    </a:cubicBezTo>
                    <a:cubicBezTo>
                      <a:pt x="12275" y="6559"/>
                      <a:pt x="12392" y="5857"/>
                      <a:pt x="13446" y="5095"/>
                    </a:cubicBezTo>
                    <a:cubicBezTo>
                      <a:pt x="11455" y="3338"/>
                      <a:pt x="7472" y="1523"/>
                      <a:pt x="4836" y="0"/>
                    </a:cubicBezTo>
                    <a:cubicBezTo>
                      <a:pt x="4309" y="1347"/>
                      <a:pt x="2376" y="2987"/>
                      <a:pt x="1263" y="3865"/>
                    </a:cubicBezTo>
                    <a:cubicBezTo>
                      <a:pt x="736" y="4275"/>
                      <a:pt x="150" y="4685"/>
                      <a:pt x="33" y="5329"/>
                    </a:cubicBezTo>
                    <a:cubicBezTo>
                      <a:pt x="-143" y="6091"/>
                      <a:pt x="443" y="7496"/>
                      <a:pt x="560" y="8316"/>
                    </a:cubicBezTo>
                    <a:cubicBezTo>
                      <a:pt x="618" y="8609"/>
                      <a:pt x="677" y="8902"/>
                      <a:pt x="794" y="9136"/>
                    </a:cubicBezTo>
                    <a:cubicBezTo>
                      <a:pt x="970" y="9488"/>
                      <a:pt x="1263" y="9722"/>
                      <a:pt x="1556" y="9956"/>
                    </a:cubicBezTo>
                    <a:cubicBezTo>
                      <a:pt x="2669" y="10835"/>
                      <a:pt x="3957" y="11479"/>
                      <a:pt x="5304" y="11889"/>
                    </a:cubicBezTo>
                    <a:cubicBezTo>
                      <a:pt x="6007" y="12123"/>
                      <a:pt x="7823" y="12065"/>
                      <a:pt x="7120" y="10659"/>
                    </a:cubicBezTo>
                    <a:cubicBezTo>
                      <a:pt x="12744" y="13060"/>
                      <a:pt x="16785" y="18624"/>
                      <a:pt x="23170" y="19034"/>
                    </a:cubicBezTo>
                    <a:cubicBezTo>
                      <a:pt x="23756" y="19093"/>
                      <a:pt x="24400" y="18917"/>
                      <a:pt x="24810" y="18507"/>
                    </a:cubicBezTo>
                    <a:cubicBezTo>
                      <a:pt x="25044" y="18273"/>
                      <a:pt x="25162" y="17921"/>
                      <a:pt x="25279" y="17629"/>
                    </a:cubicBezTo>
                    <a:cubicBezTo>
                      <a:pt x="25454" y="17277"/>
                      <a:pt x="25572" y="16809"/>
                      <a:pt x="25513" y="16340"/>
                    </a:cubicBezTo>
                    <a:close/>
                  </a:path>
                </a:pathLst>
              </a:custGeom>
              <a:solidFill>
                <a:srgbClr val="161219"/>
              </a:solidFill>
              <a:ln w="5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grpSp>
            <p:nvGrpSpPr>
              <p:cNvPr id="123" name="Graphic 2">
                <a:extLst>
                  <a:ext uri="{FF2B5EF4-FFF2-40B4-BE49-F238E27FC236}">
                    <a16:creationId xmlns:a16="http://schemas.microsoft.com/office/drawing/2014/main" id="{247DBB8A-1769-9F94-C294-4A6945F21E38}"/>
                  </a:ext>
                </a:extLst>
              </p:cNvPr>
              <p:cNvGrpSpPr/>
              <p:nvPr/>
            </p:nvGrpSpPr>
            <p:grpSpPr>
              <a:xfrm>
                <a:off x="929386" y="2467145"/>
                <a:ext cx="70875" cy="88160"/>
                <a:chOff x="929386" y="2467145"/>
                <a:chExt cx="70875" cy="88160"/>
              </a:xfrm>
              <a:solidFill>
                <a:srgbClr val="F3CFA3"/>
              </a:solidFill>
            </p:grpSpPr>
            <p:sp>
              <p:nvSpPr>
                <p:cNvPr id="127" name="Freeform 1164">
                  <a:extLst>
                    <a:ext uri="{FF2B5EF4-FFF2-40B4-BE49-F238E27FC236}">
                      <a16:creationId xmlns:a16="http://schemas.microsoft.com/office/drawing/2014/main" id="{7A52041C-8F70-D3B3-1F42-57C9A156A752}"/>
                    </a:ext>
                  </a:extLst>
                </p:cNvPr>
                <p:cNvSpPr/>
                <p:nvPr/>
              </p:nvSpPr>
              <p:spPr>
                <a:xfrm>
                  <a:off x="988229" y="2467145"/>
                  <a:ext cx="12032" cy="18023"/>
                </a:xfrm>
                <a:custGeom>
                  <a:avLst/>
                  <a:gdLst>
                    <a:gd name="connsiteX0" fmla="*/ 11832 w 12032"/>
                    <a:gd name="connsiteY0" fmla="*/ 2229 h 18023"/>
                    <a:gd name="connsiteX1" fmla="*/ 10954 w 12032"/>
                    <a:gd name="connsiteY1" fmla="*/ 2112 h 18023"/>
                    <a:gd name="connsiteX2" fmla="*/ 8962 w 12032"/>
                    <a:gd name="connsiteY2" fmla="*/ 4 h 18023"/>
                    <a:gd name="connsiteX3" fmla="*/ 6209 w 12032"/>
                    <a:gd name="connsiteY3" fmla="*/ 1468 h 18023"/>
                    <a:gd name="connsiteX4" fmla="*/ 4920 w 12032"/>
                    <a:gd name="connsiteY4" fmla="*/ 4396 h 18023"/>
                    <a:gd name="connsiteX5" fmla="*/ 3632 w 12032"/>
                    <a:gd name="connsiteY5" fmla="*/ 8320 h 18023"/>
                    <a:gd name="connsiteX6" fmla="*/ 2812 w 12032"/>
                    <a:gd name="connsiteY6" fmla="*/ 6856 h 18023"/>
                    <a:gd name="connsiteX7" fmla="*/ 1640 w 12032"/>
                    <a:gd name="connsiteY7" fmla="*/ 7207 h 18023"/>
                    <a:gd name="connsiteX8" fmla="*/ 1230 w 12032"/>
                    <a:gd name="connsiteY8" fmla="*/ 8437 h 18023"/>
                    <a:gd name="connsiteX9" fmla="*/ 0 w 12032"/>
                    <a:gd name="connsiteY9" fmla="*/ 16461 h 18023"/>
                    <a:gd name="connsiteX10" fmla="*/ 2987 w 12032"/>
                    <a:gd name="connsiteY10" fmla="*/ 17808 h 18023"/>
                    <a:gd name="connsiteX11" fmla="*/ 6150 w 12032"/>
                    <a:gd name="connsiteY11" fmla="*/ 17574 h 18023"/>
                    <a:gd name="connsiteX12" fmla="*/ 8201 w 12032"/>
                    <a:gd name="connsiteY12" fmla="*/ 13708 h 18023"/>
                    <a:gd name="connsiteX13" fmla="*/ 10134 w 12032"/>
                    <a:gd name="connsiteY13" fmla="*/ 8730 h 18023"/>
                    <a:gd name="connsiteX14" fmla="*/ 11832 w 12032"/>
                    <a:gd name="connsiteY14" fmla="*/ 2229 h 1802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</a:cxnLst>
                  <a:rect l="l" t="t" r="r" b="b"/>
                  <a:pathLst>
                    <a:path w="12032" h="18023">
                      <a:moveTo>
                        <a:pt x="11832" y="2229"/>
                      </a:moveTo>
                      <a:cubicBezTo>
                        <a:pt x="11598" y="2054"/>
                        <a:pt x="11247" y="1995"/>
                        <a:pt x="10954" y="2112"/>
                      </a:cubicBezTo>
                      <a:cubicBezTo>
                        <a:pt x="11071" y="1058"/>
                        <a:pt x="10075" y="62"/>
                        <a:pt x="8962" y="4"/>
                      </a:cubicBezTo>
                      <a:cubicBezTo>
                        <a:pt x="7908" y="-55"/>
                        <a:pt x="6853" y="589"/>
                        <a:pt x="6209" y="1468"/>
                      </a:cubicBezTo>
                      <a:cubicBezTo>
                        <a:pt x="5565" y="2346"/>
                        <a:pt x="5213" y="3401"/>
                        <a:pt x="4920" y="4396"/>
                      </a:cubicBezTo>
                      <a:cubicBezTo>
                        <a:pt x="4510" y="5685"/>
                        <a:pt x="4100" y="7032"/>
                        <a:pt x="3632" y="8320"/>
                      </a:cubicBezTo>
                      <a:cubicBezTo>
                        <a:pt x="3163" y="7969"/>
                        <a:pt x="2870" y="7383"/>
                        <a:pt x="2812" y="6856"/>
                      </a:cubicBezTo>
                      <a:cubicBezTo>
                        <a:pt x="2402" y="6622"/>
                        <a:pt x="1933" y="6856"/>
                        <a:pt x="1640" y="7207"/>
                      </a:cubicBezTo>
                      <a:cubicBezTo>
                        <a:pt x="1406" y="7559"/>
                        <a:pt x="1289" y="8027"/>
                        <a:pt x="1230" y="8437"/>
                      </a:cubicBezTo>
                      <a:cubicBezTo>
                        <a:pt x="820" y="11131"/>
                        <a:pt x="410" y="13767"/>
                        <a:pt x="0" y="16461"/>
                      </a:cubicBezTo>
                      <a:cubicBezTo>
                        <a:pt x="996" y="16930"/>
                        <a:pt x="1933" y="17457"/>
                        <a:pt x="2987" y="17808"/>
                      </a:cubicBezTo>
                      <a:cubicBezTo>
                        <a:pt x="4042" y="18101"/>
                        <a:pt x="5213" y="18159"/>
                        <a:pt x="6150" y="17574"/>
                      </a:cubicBezTo>
                      <a:cubicBezTo>
                        <a:pt x="7439" y="16754"/>
                        <a:pt x="7791" y="15173"/>
                        <a:pt x="8201" y="13708"/>
                      </a:cubicBezTo>
                      <a:cubicBezTo>
                        <a:pt x="8669" y="12010"/>
                        <a:pt x="9314" y="10370"/>
                        <a:pt x="10134" y="8730"/>
                      </a:cubicBezTo>
                      <a:cubicBezTo>
                        <a:pt x="11247" y="6680"/>
                        <a:pt x="12535" y="4455"/>
                        <a:pt x="11832" y="2229"/>
                      </a:cubicBezTo>
                      <a:close/>
                    </a:path>
                  </a:pathLst>
                </a:custGeom>
                <a:solidFill>
                  <a:srgbClr val="F3CFA3"/>
                </a:solidFill>
                <a:ln w="58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28" name="Freeform 1165">
                  <a:extLst>
                    <a:ext uri="{FF2B5EF4-FFF2-40B4-BE49-F238E27FC236}">
                      <a16:creationId xmlns:a16="http://schemas.microsoft.com/office/drawing/2014/main" id="{5E0F5B54-10E9-13BA-C056-DCA0BB95C255}"/>
                    </a:ext>
                  </a:extLst>
                </p:cNvPr>
                <p:cNvSpPr/>
                <p:nvPr/>
              </p:nvSpPr>
              <p:spPr>
                <a:xfrm>
                  <a:off x="929386" y="2482845"/>
                  <a:ext cx="66047" cy="72460"/>
                </a:xfrm>
                <a:custGeom>
                  <a:avLst/>
                  <a:gdLst>
                    <a:gd name="connsiteX0" fmla="*/ 58784 w 66047"/>
                    <a:gd name="connsiteY0" fmla="*/ 0 h 72460"/>
                    <a:gd name="connsiteX1" fmla="*/ 49529 w 66047"/>
                    <a:gd name="connsiteY1" fmla="*/ 34086 h 72460"/>
                    <a:gd name="connsiteX2" fmla="*/ 39396 w 66047"/>
                    <a:gd name="connsiteY2" fmla="*/ 46502 h 72460"/>
                    <a:gd name="connsiteX3" fmla="*/ 7882 w 66047"/>
                    <a:gd name="connsiteY3" fmla="*/ 55170 h 72460"/>
                    <a:gd name="connsiteX4" fmla="*/ 7941 w 66047"/>
                    <a:gd name="connsiteY4" fmla="*/ 71627 h 72460"/>
                    <a:gd name="connsiteX5" fmla="*/ 53512 w 66047"/>
                    <a:gd name="connsiteY5" fmla="*/ 59094 h 72460"/>
                    <a:gd name="connsiteX6" fmla="*/ 58901 w 66047"/>
                    <a:gd name="connsiteY6" fmla="*/ 53179 h 72460"/>
                    <a:gd name="connsiteX7" fmla="*/ 60893 w 66047"/>
                    <a:gd name="connsiteY7" fmla="*/ 44921 h 72460"/>
                    <a:gd name="connsiteX8" fmla="*/ 66048 w 66047"/>
                    <a:gd name="connsiteY8" fmla="*/ 1288 h 72460"/>
                    <a:gd name="connsiteX9" fmla="*/ 58784 w 66047"/>
                    <a:gd name="connsiteY9" fmla="*/ 0 h 7246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66047" h="72460">
                      <a:moveTo>
                        <a:pt x="58784" y="0"/>
                      </a:moveTo>
                      <a:cubicBezTo>
                        <a:pt x="55973" y="11421"/>
                        <a:pt x="52868" y="22782"/>
                        <a:pt x="49529" y="34086"/>
                      </a:cubicBezTo>
                      <a:cubicBezTo>
                        <a:pt x="47831" y="39767"/>
                        <a:pt x="44257" y="44042"/>
                        <a:pt x="39396" y="46502"/>
                      </a:cubicBezTo>
                      <a:cubicBezTo>
                        <a:pt x="29321" y="51656"/>
                        <a:pt x="18484" y="52710"/>
                        <a:pt x="7882" y="55170"/>
                      </a:cubicBezTo>
                      <a:cubicBezTo>
                        <a:pt x="-3775" y="57922"/>
                        <a:pt x="-1432" y="69812"/>
                        <a:pt x="7941" y="71627"/>
                      </a:cubicBezTo>
                      <a:cubicBezTo>
                        <a:pt x="22995" y="74497"/>
                        <a:pt x="39806" y="69870"/>
                        <a:pt x="53512" y="59094"/>
                      </a:cubicBezTo>
                      <a:cubicBezTo>
                        <a:pt x="55563" y="57454"/>
                        <a:pt x="57613" y="55638"/>
                        <a:pt x="58901" y="53179"/>
                      </a:cubicBezTo>
                      <a:cubicBezTo>
                        <a:pt x="60249" y="50660"/>
                        <a:pt x="60600" y="47732"/>
                        <a:pt x="60893" y="44921"/>
                      </a:cubicBezTo>
                      <a:cubicBezTo>
                        <a:pt x="62592" y="30396"/>
                        <a:pt x="64349" y="15813"/>
                        <a:pt x="66048" y="1288"/>
                      </a:cubicBezTo>
                      <a:cubicBezTo>
                        <a:pt x="63646" y="820"/>
                        <a:pt x="61244" y="410"/>
                        <a:pt x="58784" y="0"/>
                      </a:cubicBezTo>
                      <a:close/>
                    </a:path>
                  </a:pathLst>
                </a:custGeom>
                <a:solidFill>
                  <a:srgbClr val="F3CFA3"/>
                </a:solidFill>
                <a:ln w="58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</p:grpSp>
          <p:sp>
            <p:nvSpPr>
              <p:cNvPr id="124" name="Freeform 1166">
                <a:extLst>
                  <a:ext uri="{FF2B5EF4-FFF2-40B4-BE49-F238E27FC236}">
                    <a16:creationId xmlns:a16="http://schemas.microsoft.com/office/drawing/2014/main" id="{D6173F83-0350-6D52-E7A5-950099F3D66E}"/>
                  </a:ext>
                </a:extLst>
              </p:cNvPr>
              <p:cNvSpPr/>
              <p:nvPr/>
            </p:nvSpPr>
            <p:spPr>
              <a:xfrm>
                <a:off x="891892" y="2482576"/>
                <a:ext cx="40267" cy="45365"/>
              </a:xfrm>
              <a:custGeom>
                <a:avLst/>
                <a:gdLst>
                  <a:gd name="connsiteX0" fmla="*/ 3378 w 40267"/>
                  <a:gd name="connsiteY0" fmla="*/ 3666 h 45365"/>
                  <a:gd name="connsiteX1" fmla="*/ 215 w 40267"/>
                  <a:gd name="connsiteY1" fmla="*/ 18424 h 45365"/>
                  <a:gd name="connsiteX2" fmla="*/ 1796 w 40267"/>
                  <a:gd name="connsiteY2" fmla="*/ 37166 h 45365"/>
                  <a:gd name="connsiteX3" fmla="*/ 11930 w 40267"/>
                  <a:gd name="connsiteY3" fmla="*/ 45365 h 45365"/>
                  <a:gd name="connsiteX4" fmla="*/ 20423 w 40267"/>
                  <a:gd name="connsiteY4" fmla="*/ 45014 h 45365"/>
                  <a:gd name="connsiteX5" fmla="*/ 34540 w 40267"/>
                  <a:gd name="connsiteY5" fmla="*/ 3021 h 45365"/>
                  <a:gd name="connsiteX6" fmla="*/ 33954 w 40267"/>
                  <a:gd name="connsiteY6" fmla="*/ 1557 h 45365"/>
                  <a:gd name="connsiteX7" fmla="*/ 32314 w 40267"/>
                  <a:gd name="connsiteY7" fmla="*/ 854 h 45365"/>
                  <a:gd name="connsiteX8" fmla="*/ 7888 w 40267"/>
                  <a:gd name="connsiteY8" fmla="*/ 854 h 45365"/>
                  <a:gd name="connsiteX9" fmla="*/ 5369 w 40267"/>
                  <a:gd name="connsiteY9" fmla="*/ 1440 h 45365"/>
                  <a:gd name="connsiteX10" fmla="*/ 3378 w 40267"/>
                  <a:gd name="connsiteY10" fmla="*/ 3666 h 453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40267" h="45365">
                    <a:moveTo>
                      <a:pt x="3378" y="3666"/>
                    </a:moveTo>
                    <a:cubicBezTo>
                      <a:pt x="859" y="8117"/>
                      <a:pt x="449" y="13329"/>
                      <a:pt x="215" y="18424"/>
                    </a:cubicBezTo>
                    <a:cubicBezTo>
                      <a:pt x="-137" y="24691"/>
                      <a:pt x="-312" y="31192"/>
                      <a:pt x="1796" y="37166"/>
                    </a:cubicBezTo>
                    <a:cubicBezTo>
                      <a:pt x="3378" y="41558"/>
                      <a:pt x="2792" y="40270"/>
                      <a:pt x="11930" y="45365"/>
                    </a:cubicBezTo>
                    <a:cubicBezTo>
                      <a:pt x="20423" y="45014"/>
                      <a:pt x="11930" y="44662"/>
                      <a:pt x="20423" y="45014"/>
                    </a:cubicBezTo>
                    <a:cubicBezTo>
                      <a:pt x="51234" y="37869"/>
                      <a:pt x="37820" y="18717"/>
                      <a:pt x="34540" y="3021"/>
                    </a:cubicBezTo>
                    <a:cubicBezTo>
                      <a:pt x="34423" y="2494"/>
                      <a:pt x="34306" y="1967"/>
                      <a:pt x="33954" y="1557"/>
                    </a:cubicBezTo>
                    <a:cubicBezTo>
                      <a:pt x="33544" y="1147"/>
                      <a:pt x="32900" y="972"/>
                      <a:pt x="32314" y="854"/>
                    </a:cubicBezTo>
                    <a:cubicBezTo>
                      <a:pt x="24289" y="-610"/>
                      <a:pt x="16030" y="93"/>
                      <a:pt x="7888" y="854"/>
                    </a:cubicBezTo>
                    <a:cubicBezTo>
                      <a:pt x="7010" y="913"/>
                      <a:pt x="6131" y="1030"/>
                      <a:pt x="5369" y="1440"/>
                    </a:cubicBezTo>
                    <a:cubicBezTo>
                      <a:pt x="4491" y="1909"/>
                      <a:pt x="3905" y="2787"/>
                      <a:pt x="3378" y="3666"/>
                    </a:cubicBezTo>
                    <a:close/>
                  </a:path>
                </a:pathLst>
              </a:custGeom>
              <a:solidFill>
                <a:srgbClr val="F3CFA3"/>
              </a:solidFill>
              <a:ln w="5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25" name="Freeform 1167">
                <a:extLst>
                  <a:ext uri="{FF2B5EF4-FFF2-40B4-BE49-F238E27FC236}">
                    <a16:creationId xmlns:a16="http://schemas.microsoft.com/office/drawing/2014/main" id="{C7B1AB24-BB5C-767A-ACFD-8F85D2577E6E}"/>
                  </a:ext>
                </a:extLst>
              </p:cNvPr>
              <p:cNvSpPr/>
              <p:nvPr/>
            </p:nvSpPr>
            <p:spPr>
              <a:xfrm>
                <a:off x="884741" y="2470486"/>
                <a:ext cx="47828" cy="40282"/>
              </a:xfrm>
              <a:custGeom>
                <a:avLst/>
                <a:gdLst>
                  <a:gd name="connsiteX0" fmla="*/ 46435 w 47828"/>
                  <a:gd name="connsiteY0" fmla="*/ 3984 h 40282"/>
                  <a:gd name="connsiteX1" fmla="*/ 42394 w 47828"/>
                  <a:gd name="connsiteY1" fmla="*/ 4570 h 40282"/>
                  <a:gd name="connsiteX2" fmla="*/ 41808 w 47828"/>
                  <a:gd name="connsiteY2" fmla="*/ 4511 h 40282"/>
                  <a:gd name="connsiteX3" fmla="*/ 39758 w 47828"/>
                  <a:gd name="connsiteY3" fmla="*/ 5155 h 40282"/>
                  <a:gd name="connsiteX4" fmla="*/ 30972 w 47828"/>
                  <a:gd name="connsiteY4" fmla="*/ 3750 h 40282"/>
                  <a:gd name="connsiteX5" fmla="*/ 26871 w 47828"/>
                  <a:gd name="connsiteY5" fmla="*/ 1407 h 40282"/>
                  <a:gd name="connsiteX6" fmla="*/ 22361 w 47828"/>
                  <a:gd name="connsiteY6" fmla="*/ 3281 h 40282"/>
                  <a:gd name="connsiteX7" fmla="*/ 14160 w 47828"/>
                  <a:gd name="connsiteY7" fmla="*/ 1407 h 40282"/>
                  <a:gd name="connsiteX8" fmla="*/ 12520 w 47828"/>
                  <a:gd name="connsiteY8" fmla="*/ 3281 h 40282"/>
                  <a:gd name="connsiteX9" fmla="*/ 11290 w 47828"/>
                  <a:gd name="connsiteY9" fmla="*/ 4160 h 40282"/>
                  <a:gd name="connsiteX10" fmla="*/ 8713 w 47828"/>
                  <a:gd name="connsiteY10" fmla="*/ 4570 h 40282"/>
                  <a:gd name="connsiteX11" fmla="*/ 5725 w 47828"/>
                  <a:gd name="connsiteY11" fmla="*/ 10368 h 40282"/>
                  <a:gd name="connsiteX12" fmla="*/ 5257 w 47828"/>
                  <a:gd name="connsiteY12" fmla="*/ 12769 h 40282"/>
                  <a:gd name="connsiteX13" fmla="*/ 4554 w 47828"/>
                  <a:gd name="connsiteY13" fmla="*/ 14760 h 40282"/>
                  <a:gd name="connsiteX14" fmla="*/ 3968 w 47828"/>
                  <a:gd name="connsiteY14" fmla="*/ 15346 h 40282"/>
                  <a:gd name="connsiteX15" fmla="*/ 2328 w 47828"/>
                  <a:gd name="connsiteY15" fmla="*/ 16107 h 40282"/>
                  <a:gd name="connsiteX16" fmla="*/ 44 w 47828"/>
                  <a:gd name="connsiteY16" fmla="*/ 21320 h 40282"/>
                  <a:gd name="connsiteX17" fmla="*/ 512 w 47828"/>
                  <a:gd name="connsiteY17" fmla="*/ 23663 h 40282"/>
                  <a:gd name="connsiteX18" fmla="*/ 1098 w 47828"/>
                  <a:gd name="connsiteY18" fmla="*/ 24307 h 40282"/>
                  <a:gd name="connsiteX19" fmla="*/ 3617 w 47828"/>
                  <a:gd name="connsiteY19" fmla="*/ 25947 h 40282"/>
                  <a:gd name="connsiteX20" fmla="*/ 4085 w 47828"/>
                  <a:gd name="connsiteY20" fmla="*/ 27762 h 40282"/>
                  <a:gd name="connsiteX21" fmla="*/ 6311 w 47828"/>
                  <a:gd name="connsiteY21" fmla="*/ 38890 h 40282"/>
                  <a:gd name="connsiteX22" fmla="*/ 6428 w 47828"/>
                  <a:gd name="connsiteY22" fmla="*/ 39183 h 40282"/>
                  <a:gd name="connsiteX23" fmla="*/ 6428 w 47828"/>
                  <a:gd name="connsiteY23" fmla="*/ 39183 h 40282"/>
                  <a:gd name="connsiteX24" fmla="*/ 6663 w 47828"/>
                  <a:gd name="connsiteY24" fmla="*/ 39593 h 40282"/>
                  <a:gd name="connsiteX25" fmla="*/ 9709 w 47828"/>
                  <a:gd name="connsiteY25" fmla="*/ 37777 h 40282"/>
                  <a:gd name="connsiteX26" fmla="*/ 11642 w 47828"/>
                  <a:gd name="connsiteY26" fmla="*/ 29636 h 40282"/>
                  <a:gd name="connsiteX27" fmla="*/ 15918 w 47828"/>
                  <a:gd name="connsiteY27" fmla="*/ 35083 h 40282"/>
                  <a:gd name="connsiteX28" fmla="*/ 19315 w 47828"/>
                  <a:gd name="connsiteY28" fmla="*/ 34146 h 40282"/>
                  <a:gd name="connsiteX29" fmla="*/ 17558 w 47828"/>
                  <a:gd name="connsiteY29" fmla="*/ 26239 h 40282"/>
                  <a:gd name="connsiteX30" fmla="*/ 16913 w 47828"/>
                  <a:gd name="connsiteY30" fmla="*/ 24600 h 40282"/>
                  <a:gd name="connsiteX31" fmla="*/ 17441 w 47828"/>
                  <a:gd name="connsiteY31" fmla="*/ 24365 h 40282"/>
                  <a:gd name="connsiteX32" fmla="*/ 21248 w 47828"/>
                  <a:gd name="connsiteY32" fmla="*/ 18509 h 40282"/>
                  <a:gd name="connsiteX33" fmla="*/ 21424 w 47828"/>
                  <a:gd name="connsiteY33" fmla="*/ 18450 h 40282"/>
                  <a:gd name="connsiteX34" fmla="*/ 21717 w 47828"/>
                  <a:gd name="connsiteY34" fmla="*/ 19153 h 40282"/>
                  <a:gd name="connsiteX35" fmla="*/ 24528 w 47828"/>
                  <a:gd name="connsiteY35" fmla="*/ 19504 h 40282"/>
                  <a:gd name="connsiteX36" fmla="*/ 26344 w 47828"/>
                  <a:gd name="connsiteY36" fmla="*/ 16225 h 40282"/>
                  <a:gd name="connsiteX37" fmla="*/ 30503 w 47828"/>
                  <a:gd name="connsiteY37" fmla="*/ 15815 h 40282"/>
                  <a:gd name="connsiteX38" fmla="*/ 36185 w 47828"/>
                  <a:gd name="connsiteY38" fmla="*/ 15405 h 40282"/>
                  <a:gd name="connsiteX39" fmla="*/ 39934 w 47828"/>
                  <a:gd name="connsiteY39" fmla="*/ 14350 h 40282"/>
                  <a:gd name="connsiteX40" fmla="*/ 41047 w 47828"/>
                  <a:gd name="connsiteY40" fmla="*/ 14643 h 40282"/>
                  <a:gd name="connsiteX41" fmla="*/ 44268 w 47828"/>
                  <a:gd name="connsiteY41" fmla="*/ 12476 h 40282"/>
                  <a:gd name="connsiteX42" fmla="*/ 47138 w 47828"/>
                  <a:gd name="connsiteY42" fmla="*/ 9548 h 40282"/>
                  <a:gd name="connsiteX43" fmla="*/ 46435 w 47828"/>
                  <a:gd name="connsiteY43" fmla="*/ 3984 h 402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</a:cxnLst>
                <a:rect l="l" t="t" r="r" b="b"/>
                <a:pathLst>
                  <a:path w="47828" h="40282">
                    <a:moveTo>
                      <a:pt x="46435" y="3984"/>
                    </a:moveTo>
                    <a:cubicBezTo>
                      <a:pt x="44854" y="2930"/>
                      <a:pt x="43624" y="3691"/>
                      <a:pt x="42394" y="4570"/>
                    </a:cubicBezTo>
                    <a:cubicBezTo>
                      <a:pt x="42218" y="4570"/>
                      <a:pt x="42042" y="4511"/>
                      <a:pt x="41808" y="4511"/>
                    </a:cubicBezTo>
                    <a:cubicBezTo>
                      <a:pt x="41047" y="4511"/>
                      <a:pt x="40344" y="4804"/>
                      <a:pt x="39758" y="5155"/>
                    </a:cubicBezTo>
                    <a:cubicBezTo>
                      <a:pt x="36946" y="4218"/>
                      <a:pt x="33959" y="3750"/>
                      <a:pt x="30972" y="3750"/>
                    </a:cubicBezTo>
                    <a:cubicBezTo>
                      <a:pt x="29800" y="2637"/>
                      <a:pt x="28570" y="1583"/>
                      <a:pt x="26871" y="1407"/>
                    </a:cubicBezTo>
                    <a:cubicBezTo>
                      <a:pt x="25290" y="1232"/>
                      <a:pt x="23767" y="2051"/>
                      <a:pt x="22361" y="3281"/>
                    </a:cubicBezTo>
                    <a:cubicBezTo>
                      <a:pt x="20545" y="294"/>
                      <a:pt x="17675" y="-1345"/>
                      <a:pt x="14160" y="1407"/>
                    </a:cubicBezTo>
                    <a:cubicBezTo>
                      <a:pt x="13340" y="2051"/>
                      <a:pt x="12872" y="2637"/>
                      <a:pt x="12520" y="3281"/>
                    </a:cubicBezTo>
                    <a:cubicBezTo>
                      <a:pt x="12110" y="3574"/>
                      <a:pt x="11700" y="3808"/>
                      <a:pt x="11290" y="4160"/>
                    </a:cubicBezTo>
                    <a:cubicBezTo>
                      <a:pt x="10470" y="4101"/>
                      <a:pt x="9591" y="4218"/>
                      <a:pt x="8713" y="4570"/>
                    </a:cubicBezTo>
                    <a:cubicBezTo>
                      <a:pt x="6311" y="5565"/>
                      <a:pt x="5140" y="7908"/>
                      <a:pt x="5725" y="10368"/>
                    </a:cubicBezTo>
                    <a:cubicBezTo>
                      <a:pt x="5433" y="11188"/>
                      <a:pt x="5257" y="11949"/>
                      <a:pt x="5257" y="12769"/>
                    </a:cubicBezTo>
                    <a:cubicBezTo>
                      <a:pt x="5023" y="13413"/>
                      <a:pt x="4788" y="14058"/>
                      <a:pt x="4554" y="14760"/>
                    </a:cubicBezTo>
                    <a:cubicBezTo>
                      <a:pt x="4320" y="14936"/>
                      <a:pt x="4144" y="15112"/>
                      <a:pt x="3968" y="15346"/>
                    </a:cubicBezTo>
                    <a:cubicBezTo>
                      <a:pt x="3382" y="15522"/>
                      <a:pt x="2855" y="15756"/>
                      <a:pt x="2328" y="16107"/>
                    </a:cubicBezTo>
                    <a:cubicBezTo>
                      <a:pt x="512" y="16927"/>
                      <a:pt x="-191" y="19153"/>
                      <a:pt x="44" y="21320"/>
                    </a:cubicBezTo>
                    <a:cubicBezTo>
                      <a:pt x="-15" y="22257"/>
                      <a:pt x="102" y="23077"/>
                      <a:pt x="512" y="23663"/>
                    </a:cubicBezTo>
                    <a:cubicBezTo>
                      <a:pt x="688" y="23955"/>
                      <a:pt x="922" y="24131"/>
                      <a:pt x="1098" y="24307"/>
                    </a:cubicBezTo>
                    <a:cubicBezTo>
                      <a:pt x="1684" y="25185"/>
                      <a:pt x="2562" y="25771"/>
                      <a:pt x="3617" y="25947"/>
                    </a:cubicBezTo>
                    <a:cubicBezTo>
                      <a:pt x="3734" y="26591"/>
                      <a:pt x="3851" y="27177"/>
                      <a:pt x="4085" y="27762"/>
                    </a:cubicBezTo>
                    <a:cubicBezTo>
                      <a:pt x="3558" y="31569"/>
                      <a:pt x="4261" y="35259"/>
                      <a:pt x="6311" y="38890"/>
                    </a:cubicBezTo>
                    <a:cubicBezTo>
                      <a:pt x="6370" y="39007"/>
                      <a:pt x="6370" y="39066"/>
                      <a:pt x="6428" y="39183"/>
                    </a:cubicBezTo>
                    <a:cubicBezTo>
                      <a:pt x="6428" y="39183"/>
                      <a:pt x="6428" y="39183"/>
                      <a:pt x="6428" y="39183"/>
                    </a:cubicBezTo>
                    <a:cubicBezTo>
                      <a:pt x="6487" y="39300"/>
                      <a:pt x="6545" y="39476"/>
                      <a:pt x="6663" y="39593"/>
                    </a:cubicBezTo>
                    <a:cubicBezTo>
                      <a:pt x="7717" y="41291"/>
                      <a:pt x="10646" y="39534"/>
                      <a:pt x="9709" y="37777"/>
                    </a:cubicBezTo>
                    <a:cubicBezTo>
                      <a:pt x="8420" y="35200"/>
                      <a:pt x="6956" y="28348"/>
                      <a:pt x="11642" y="29636"/>
                    </a:cubicBezTo>
                    <a:cubicBezTo>
                      <a:pt x="14395" y="30398"/>
                      <a:pt x="14629" y="32448"/>
                      <a:pt x="15918" y="35083"/>
                    </a:cubicBezTo>
                    <a:cubicBezTo>
                      <a:pt x="16796" y="36840"/>
                      <a:pt x="19549" y="36196"/>
                      <a:pt x="19315" y="34146"/>
                    </a:cubicBezTo>
                    <a:cubicBezTo>
                      <a:pt x="19022" y="31452"/>
                      <a:pt x="18553" y="28758"/>
                      <a:pt x="17558" y="26239"/>
                    </a:cubicBezTo>
                    <a:cubicBezTo>
                      <a:pt x="17323" y="25654"/>
                      <a:pt x="17089" y="25068"/>
                      <a:pt x="16913" y="24600"/>
                    </a:cubicBezTo>
                    <a:cubicBezTo>
                      <a:pt x="17089" y="24541"/>
                      <a:pt x="17265" y="24482"/>
                      <a:pt x="17441" y="24365"/>
                    </a:cubicBezTo>
                    <a:cubicBezTo>
                      <a:pt x="19491" y="23077"/>
                      <a:pt x="20545" y="20851"/>
                      <a:pt x="21248" y="18509"/>
                    </a:cubicBezTo>
                    <a:cubicBezTo>
                      <a:pt x="21307" y="18450"/>
                      <a:pt x="21365" y="18450"/>
                      <a:pt x="21424" y="18450"/>
                    </a:cubicBezTo>
                    <a:cubicBezTo>
                      <a:pt x="21541" y="18684"/>
                      <a:pt x="21599" y="18919"/>
                      <a:pt x="21717" y="19153"/>
                    </a:cubicBezTo>
                    <a:cubicBezTo>
                      <a:pt x="22244" y="20266"/>
                      <a:pt x="23825" y="20559"/>
                      <a:pt x="24528" y="19504"/>
                    </a:cubicBezTo>
                    <a:cubicBezTo>
                      <a:pt x="25348" y="18333"/>
                      <a:pt x="25934" y="17337"/>
                      <a:pt x="26344" y="16225"/>
                    </a:cubicBezTo>
                    <a:cubicBezTo>
                      <a:pt x="27808" y="17162"/>
                      <a:pt x="29566" y="17279"/>
                      <a:pt x="30503" y="15815"/>
                    </a:cubicBezTo>
                    <a:cubicBezTo>
                      <a:pt x="32319" y="16342"/>
                      <a:pt x="34017" y="15990"/>
                      <a:pt x="36185" y="15405"/>
                    </a:cubicBezTo>
                    <a:cubicBezTo>
                      <a:pt x="37239" y="15112"/>
                      <a:pt x="38528" y="14819"/>
                      <a:pt x="39934" y="14350"/>
                    </a:cubicBezTo>
                    <a:cubicBezTo>
                      <a:pt x="40285" y="14468"/>
                      <a:pt x="40637" y="14585"/>
                      <a:pt x="41047" y="14643"/>
                    </a:cubicBezTo>
                    <a:cubicBezTo>
                      <a:pt x="42569" y="15053"/>
                      <a:pt x="44092" y="13823"/>
                      <a:pt x="44268" y="12476"/>
                    </a:cubicBezTo>
                    <a:cubicBezTo>
                      <a:pt x="45498" y="11715"/>
                      <a:pt x="46553" y="10778"/>
                      <a:pt x="47138" y="9548"/>
                    </a:cubicBezTo>
                    <a:cubicBezTo>
                      <a:pt x="48076" y="7850"/>
                      <a:pt x="48251" y="5155"/>
                      <a:pt x="46435" y="3984"/>
                    </a:cubicBezTo>
                    <a:close/>
                  </a:path>
                </a:pathLst>
              </a:custGeom>
              <a:solidFill>
                <a:srgbClr val="A52323"/>
              </a:solidFill>
              <a:ln w="5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26" name="Freeform 1168">
                <a:extLst>
                  <a:ext uri="{FF2B5EF4-FFF2-40B4-BE49-F238E27FC236}">
                    <a16:creationId xmlns:a16="http://schemas.microsoft.com/office/drawing/2014/main" id="{9057C76C-0319-51E2-27B4-CE4350C05AF1}"/>
                  </a:ext>
                </a:extLst>
              </p:cNvPr>
              <p:cNvSpPr/>
              <p:nvPr/>
            </p:nvSpPr>
            <p:spPr>
              <a:xfrm>
                <a:off x="847180" y="2522918"/>
                <a:ext cx="123166" cy="169098"/>
              </a:xfrm>
              <a:custGeom>
                <a:avLst/>
                <a:gdLst>
                  <a:gd name="connsiteX0" fmla="*/ 122071 w 123166"/>
                  <a:gd name="connsiteY0" fmla="*/ 18611 h 169098"/>
                  <a:gd name="connsiteX1" fmla="*/ 111469 w 123166"/>
                  <a:gd name="connsiteY1" fmla="*/ 7015 h 169098"/>
                  <a:gd name="connsiteX2" fmla="*/ 103502 w 123166"/>
                  <a:gd name="connsiteY2" fmla="*/ 8596 h 169098"/>
                  <a:gd name="connsiteX3" fmla="*/ 97352 w 123166"/>
                  <a:gd name="connsiteY3" fmla="*/ 10002 h 169098"/>
                  <a:gd name="connsiteX4" fmla="*/ 85988 w 123166"/>
                  <a:gd name="connsiteY4" fmla="*/ 9826 h 169098"/>
                  <a:gd name="connsiteX5" fmla="*/ 83001 w 123166"/>
                  <a:gd name="connsiteY5" fmla="*/ 10119 h 169098"/>
                  <a:gd name="connsiteX6" fmla="*/ 81888 w 123166"/>
                  <a:gd name="connsiteY6" fmla="*/ 8772 h 169098"/>
                  <a:gd name="connsiteX7" fmla="*/ 43169 w 123166"/>
                  <a:gd name="connsiteY7" fmla="*/ 6663 h 169098"/>
                  <a:gd name="connsiteX8" fmla="*/ 40709 w 123166"/>
                  <a:gd name="connsiteY8" fmla="*/ 6605 h 169098"/>
                  <a:gd name="connsiteX9" fmla="*/ 32509 w 123166"/>
                  <a:gd name="connsiteY9" fmla="*/ 5785 h 169098"/>
                  <a:gd name="connsiteX10" fmla="*/ 28408 w 123166"/>
                  <a:gd name="connsiteY10" fmla="*/ 5082 h 169098"/>
                  <a:gd name="connsiteX11" fmla="*/ 14233 w 123166"/>
                  <a:gd name="connsiteY11" fmla="*/ 2505 h 169098"/>
                  <a:gd name="connsiteX12" fmla="*/ 11597 w 123166"/>
                  <a:gd name="connsiteY12" fmla="*/ 5433 h 169098"/>
                  <a:gd name="connsiteX13" fmla="*/ 6735 w 123166"/>
                  <a:gd name="connsiteY13" fmla="*/ 10821 h 169098"/>
                  <a:gd name="connsiteX14" fmla="*/ 2284 w 123166"/>
                  <a:gd name="connsiteY14" fmla="*/ 15741 h 169098"/>
                  <a:gd name="connsiteX15" fmla="*/ 2167 w 123166"/>
                  <a:gd name="connsiteY15" fmla="*/ 27103 h 169098"/>
                  <a:gd name="connsiteX16" fmla="*/ 8786 w 123166"/>
                  <a:gd name="connsiteY16" fmla="*/ 30500 h 169098"/>
                  <a:gd name="connsiteX17" fmla="*/ 10309 w 123166"/>
                  <a:gd name="connsiteY17" fmla="*/ 32315 h 169098"/>
                  <a:gd name="connsiteX18" fmla="*/ 19095 w 123166"/>
                  <a:gd name="connsiteY18" fmla="*/ 39519 h 169098"/>
                  <a:gd name="connsiteX19" fmla="*/ 26475 w 123166"/>
                  <a:gd name="connsiteY19" fmla="*/ 46840 h 169098"/>
                  <a:gd name="connsiteX20" fmla="*/ 22258 w 123166"/>
                  <a:gd name="connsiteY20" fmla="*/ 68041 h 169098"/>
                  <a:gd name="connsiteX21" fmla="*/ 21731 w 123166"/>
                  <a:gd name="connsiteY21" fmla="*/ 75596 h 169098"/>
                  <a:gd name="connsiteX22" fmla="*/ 20032 w 123166"/>
                  <a:gd name="connsiteY22" fmla="*/ 139961 h 169098"/>
                  <a:gd name="connsiteX23" fmla="*/ 18509 w 123166"/>
                  <a:gd name="connsiteY23" fmla="*/ 146169 h 169098"/>
                  <a:gd name="connsiteX24" fmla="*/ 20208 w 123166"/>
                  <a:gd name="connsiteY24" fmla="*/ 160752 h 169098"/>
                  <a:gd name="connsiteX25" fmla="*/ 47035 w 123166"/>
                  <a:gd name="connsiteY25" fmla="*/ 164266 h 169098"/>
                  <a:gd name="connsiteX26" fmla="*/ 47563 w 123166"/>
                  <a:gd name="connsiteY26" fmla="*/ 164266 h 169098"/>
                  <a:gd name="connsiteX27" fmla="*/ 53010 w 123166"/>
                  <a:gd name="connsiteY27" fmla="*/ 165496 h 169098"/>
                  <a:gd name="connsiteX28" fmla="*/ 70056 w 123166"/>
                  <a:gd name="connsiteY28" fmla="*/ 167956 h 169098"/>
                  <a:gd name="connsiteX29" fmla="*/ 103502 w 123166"/>
                  <a:gd name="connsiteY29" fmla="*/ 168776 h 169098"/>
                  <a:gd name="connsiteX30" fmla="*/ 114925 w 123166"/>
                  <a:gd name="connsiteY30" fmla="*/ 157355 h 169098"/>
                  <a:gd name="connsiteX31" fmla="*/ 102917 w 123166"/>
                  <a:gd name="connsiteY31" fmla="*/ 44263 h 169098"/>
                  <a:gd name="connsiteX32" fmla="*/ 117033 w 123166"/>
                  <a:gd name="connsiteY32" fmla="*/ 33253 h 169098"/>
                  <a:gd name="connsiteX33" fmla="*/ 121954 w 123166"/>
                  <a:gd name="connsiteY33" fmla="*/ 22066 h 169098"/>
                  <a:gd name="connsiteX34" fmla="*/ 122071 w 123166"/>
                  <a:gd name="connsiteY34" fmla="*/ 18611 h 1690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</a:cxnLst>
                <a:rect l="l" t="t" r="r" b="b"/>
                <a:pathLst>
                  <a:path w="123166" h="169098">
                    <a:moveTo>
                      <a:pt x="122071" y="18611"/>
                    </a:moveTo>
                    <a:cubicBezTo>
                      <a:pt x="125527" y="12871"/>
                      <a:pt x="120489" y="2329"/>
                      <a:pt x="111469" y="7015"/>
                    </a:cubicBezTo>
                    <a:cubicBezTo>
                      <a:pt x="109301" y="8127"/>
                      <a:pt x="105904" y="8010"/>
                      <a:pt x="103502" y="8596"/>
                    </a:cubicBezTo>
                    <a:cubicBezTo>
                      <a:pt x="101452" y="9064"/>
                      <a:pt x="99402" y="9533"/>
                      <a:pt x="97352" y="10002"/>
                    </a:cubicBezTo>
                    <a:cubicBezTo>
                      <a:pt x="93544" y="10177"/>
                      <a:pt x="89737" y="10236"/>
                      <a:pt x="85988" y="9826"/>
                    </a:cubicBezTo>
                    <a:cubicBezTo>
                      <a:pt x="84875" y="9709"/>
                      <a:pt x="83880" y="9826"/>
                      <a:pt x="83001" y="10119"/>
                    </a:cubicBezTo>
                    <a:cubicBezTo>
                      <a:pt x="82649" y="9650"/>
                      <a:pt x="82239" y="9182"/>
                      <a:pt x="81888" y="8772"/>
                    </a:cubicBezTo>
                    <a:cubicBezTo>
                      <a:pt x="69060" y="11583"/>
                      <a:pt x="55763" y="10587"/>
                      <a:pt x="43169" y="6663"/>
                    </a:cubicBezTo>
                    <a:cubicBezTo>
                      <a:pt x="42349" y="6663"/>
                      <a:pt x="41529" y="6605"/>
                      <a:pt x="40709" y="6605"/>
                    </a:cubicBezTo>
                    <a:cubicBezTo>
                      <a:pt x="37956" y="6488"/>
                      <a:pt x="35262" y="6253"/>
                      <a:pt x="32509" y="5785"/>
                    </a:cubicBezTo>
                    <a:cubicBezTo>
                      <a:pt x="31103" y="5550"/>
                      <a:pt x="29756" y="5316"/>
                      <a:pt x="28408" y="5082"/>
                    </a:cubicBezTo>
                    <a:cubicBezTo>
                      <a:pt x="25773" y="397"/>
                      <a:pt x="18626" y="-2239"/>
                      <a:pt x="14233" y="2505"/>
                    </a:cubicBezTo>
                    <a:cubicBezTo>
                      <a:pt x="13354" y="3501"/>
                      <a:pt x="12476" y="4438"/>
                      <a:pt x="11597" y="5433"/>
                    </a:cubicBezTo>
                    <a:cubicBezTo>
                      <a:pt x="9371" y="6488"/>
                      <a:pt x="7614" y="8479"/>
                      <a:pt x="6735" y="10821"/>
                    </a:cubicBezTo>
                    <a:cubicBezTo>
                      <a:pt x="5271" y="12461"/>
                      <a:pt x="3748" y="14101"/>
                      <a:pt x="2284" y="15741"/>
                    </a:cubicBezTo>
                    <a:cubicBezTo>
                      <a:pt x="-1114" y="19489"/>
                      <a:pt x="-352" y="24116"/>
                      <a:pt x="2167" y="27103"/>
                    </a:cubicBezTo>
                    <a:cubicBezTo>
                      <a:pt x="3631" y="29270"/>
                      <a:pt x="6032" y="30734"/>
                      <a:pt x="8786" y="30500"/>
                    </a:cubicBezTo>
                    <a:cubicBezTo>
                      <a:pt x="9137" y="31144"/>
                      <a:pt x="9664" y="31730"/>
                      <a:pt x="10309" y="32315"/>
                    </a:cubicBezTo>
                    <a:cubicBezTo>
                      <a:pt x="13296" y="34834"/>
                      <a:pt x="16400" y="36708"/>
                      <a:pt x="19095" y="39519"/>
                    </a:cubicBezTo>
                    <a:cubicBezTo>
                      <a:pt x="21496" y="42038"/>
                      <a:pt x="24074" y="44322"/>
                      <a:pt x="26475" y="46840"/>
                    </a:cubicBezTo>
                    <a:cubicBezTo>
                      <a:pt x="24542" y="53809"/>
                      <a:pt x="23019" y="60837"/>
                      <a:pt x="22258" y="68041"/>
                    </a:cubicBezTo>
                    <a:cubicBezTo>
                      <a:pt x="21965" y="70560"/>
                      <a:pt x="21789" y="73078"/>
                      <a:pt x="21731" y="75596"/>
                    </a:cubicBezTo>
                    <a:cubicBezTo>
                      <a:pt x="18626" y="96915"/>
                      <a:pt x="19036" y="118409"/>
                      <a:pt x="20032" y="139961"/>
                    </a:cubicBezTo>
                    <a:cubicBezTo>
                      <a:pt x="19036" y="142011"/>
                      <a:pt x="18568" y="144119"/>
                      <a:pt x="18509" y="146169"/>
                    </a:cubicBezTo>
                    <a:cubicBezTo>
                      <a:pt x="13179" y="149508"/>
                      <a:pt x="12476" y="159230"/>
                      <a:pt x="20208" y="160752"/>
                    </a:cubicBezTo>
                    <a:cubicBezTo>
                      <a:pt x="29228" y="162509"/>
                      <a:pt x="37839" y="163739"/>
                      <a:pt x="47035" y="164266"/>
                    </a:cubicBezTo>
                    <a:cubicBezTo>
                      <a:pt x="47211" y="164266"/>
                      <a:pt x="47387" y="164266"/>
                      <a:pt x="47563" y="164266"/>
                    </a:cubicBezTo>
                    <a:cubicBezTo>
                      <a:pt x="49261" y="164794"/>
                      <a:pt x="51019" y="165145"/>
                      <a:pt x="53010" y="165496"/>
                    </a:cubicBezTo>
                    <a:cubicBezTo>
                      <a:pt x="58633" y="166551"/>
                      <a:pt x="64374" y="167312"/>
                      <a:pt x="70056" y="167956"/>
                    </a:cubicBezTo>
                    <a:cubicBezTo>
                      <a:pt x="81185" y="169186"/>
                      <a:pt x="92314" y="169362"/>
                      <a:pt x="103502" y="168776"/>
                    </a:cubicBezTo>
                    <a:cubicBezTo>
                      <a:pt x="109536" y="168425"/>
                      <a:pt x="115159" y="163798"/>
                      <a:pt x="114925" y="157355"/>
                    </a:cubicBezTo>
                    <a:cubicBezTo>
                      <a:pt x="113753" y="119521"/>
                      <a:pt x="109008" y="81570"/>
                      <a:pt x="102917" y="44263"/>
                    </a:cubicBezTo>
                    <a:cubicBezTo>
                      <a:pt x="107720" y="40749"/>
                      <a:pt x="112464" y="37059"/>
                      <a:pt x="117033" y="33253"/>
                    </a:cubicBezTo>
                    <a:cubicBezTo>
                      <a:pt x="121719" y="31496"/>
                      <a:pt x="124121" y="26459"/>
                      <a:pt x="121954" y="22066"/>
                    </a:cubicBezTo>
                    <a:cubicBezTo>
                      <a:pt x="122129" y="21129"/>
                      <a:pt x="122188" y="19899"/>
                      <a:pt x="122071" y="18611"/>
                    </a:cubicBezTo>
                    <a:close/>
                  </a:path>
                </a:pathLst>
              </a:custGeom>
              <a:solidFill>
                <a:srgbClr val="E6AF23"/>
              </a:solidFill>
              <a:ln w="5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415888170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4" name="Picture 133">
            <a:extLst>
              <a:ext uri="{FF2B5EF4-FFF2-40B4-BE49-F238E27FC236}">
                <a16:creationId xmlns:a16="http://schemas.microsoft.com/office/drawing/2014/main" id="{35B3C825-B6DA-A8B0-390F-35B0C3B8FB3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275746" y="5021542"/>
            <a:ext cx="1963532" cy="1284202"/>
          </a:xfrm>
          <a:custGeom>
            <a:avLst/>
            <a:gdLst>
              <a:gd name="connsiteX0" fmla="*/ 4603651 w 4851030"/>
              <a:gd name="connsiteY0" fmla="*/ 0 h 5081476"/>
              <a:gd name="connsiteX1" fmla="*/ 4827723 w 4851030"/>
              <a:gd name="connsiteY1" fmla="*/ 669963 h 5081476"/>
              <a:gd name="connsiteX2" fmla="*/ 4837903 w 4851030"/>
              <a:gd name="connsiteY2" fmla="*/ 2094980 h 5081476"/>
              <a:gd name="connsiteX3" fmla="*/ 4848093 w 4851030"/>
              <a:gd name="connsiteY3" fmla="*/ 3169064 h 5081476"/>
              <a:gd name="connsiteX4" fmla="*/ 4848093 w 4851030"/>
              <a:gd name="connsiteY4" fmla="*/ 3913475 h 5081476"/>
              <a:gd name="connsiteX5" fmla="*/ 4817532 w 4851030"/>
              <a:gd name="connsiteY5" fmla="*/ 4838667 h 5081476"/>
              <a:gd name="connsiteX6" fmla="*/ 4471241 w 4851030"/>
              <a:gd name="connsiteY6" fmla="*/ 5008818 h 5081476"/>
              <a:gd name="connsiteX7" fmla="*/ 4114767 w 4851030"/>
              <a:gd name="connsiteY7" fmla="*/ 5019457 h 5081476"/>
              <a:gd name="connsiteX8" fmla="*/ 3748105 w 4851030"/>
              <a:gd name="connsiteY8" fmla="*/ 5072624 h 5081476"/>
              <a:gd name="connsiteX9" fmla="*/ 998137 w 4851030"/>
              <a:gd name="connsiteY9" fmla="*/ 5030086 h 5081476"/>
              <a:gd name="connsiteX10" fmla="*/ 488884 w 4851030"/>
              <a:gd name="connsiteY10" fmla="*/ 4976920 h 5081476"/>
              <a:gd name="connsiteX11" fmla="*/ 81481 w 4851030"/>
              <a:gd name="connsiteY11" fmla="*/ 4742962 h 5081476"/>
              <a:gd name="connsiteX12" fmla="*/ 40741 w 4851030"/>
              <a:gd name="connsiteY12" fmla="*/ 3679517 h 5081476"/>
              <a:gd name="connsiteX13" fmla="*/ 20371 w 4851030"/>
              <a:gd name="connsiteY13" fmla="*/ 2084351 h 5081476"/>
              <a:gd name="connsiteX14" fmla="*/ 0 w 4851030"/>
              <a:gd name="connsiteY14" fmla="*/ 1552629 h 5081476"/>
              <a:gd name="connsiteX15" fmla="*/ 20371 w 4851030"/>
              <a:gd name="connsiteY15" fmla="*/ 723142 h 5081476"/>
              <a:gd name="connsiteX16" fmla="*/ 30551 w 4851030"/>
              <a:gd name="connsiteY16" fmla="*/ 457275 h 5081476"/>
              <a:gd name="connsiteX17" fmla="*/ 71291 w 4851030"/>
              <a:gd name="connsiteY17" fmla="*/ 74435 h 5081476"/>
              <a:gd name="connsiteX18" fmla="*/ 2261085 w 4851030"/>
              <a:gd name="connsiteY18" fmla="*/ 42537 h 5081476"/>
              <a:gd name="connsiteX19" fmla="*/ 3554584 w 4851030"/>
              <a:gd name="connsiteY19" fmla="*/ 31898 h 5081476"/>
              <a:gd name="connsiteX20" fmla="*/ 4603651 w 4851030"/>
              <a:gd name="connsiteY20" fmla="*/ 0 h 50814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4851030" h="5081476">
                <a:moveTo>
                  <a:pt x="4603651" y="0"/>
                </a:moveTo>
                <a:cubicBezTo>
                  <a:pt x="4868463" y="0"/>
                  <a:pt x="4827723" y="340302"/>
                  <a:pt x="4827723" y="669963"/>
                </a:cubicBezTo>
                <a:cubicBezTo>
                  <a:pt x="4817532" y="1148520"/>
                  <a:pt x="4858273" y="1616435"/>
                  <a:pt x="4837903" y="2094980"/>
                </a:cubicBezTo>
                <a:cubicBezTo>
                  <a:pt x="4827723" y="2445922"/>
                  <a:pt x="4858273" y="2818122"/>
                  <a:pt x="4848093" y="3169064"/>
                </a:cubicBezTo>
                <a:cubicBezTo>
                  <a:pt x="4837903" y="3413650"/>
                  <a:pt x="4858273" y="3668878"/>
                  <a:pt x="4848093" y="3913475"/>
                </a:cubicBezTo>
                <a:cubicBezTo>
                  <a:pt x="4837903" y="4158061"/>
                  <a:pt x="4858273" y="4519633"/>
                  <a:pt x="4817532" y="4838667"/>
                </a:cubicBezTo>
                <a:cubicBezTo>
                  <a:pt x="4797162" y="4966279"/>
                  <a:pt x="4613831" y="4987548"/>
                  <a:pt x="4471241" y="5008818"/>
                </a:cubicBezTo>
                <a:cubicBezTo>
                  <a:pt x="4389759" y="5019457"/>
                  <a:pt x="4236989" y="4998188"/>
                  <a:pt x="4114767" y="5019457"/>
                </a:cubicBezTo>
                <a:cubicBezTo>
                  <a:pt x="4023097" y="5040726"/>
                  <a:pt x="3849956" y="5072624"/>
                  <a:pt x="3748105" y="5072624"/>
                </a:cubicBezTo>
                <a:cubicBezTo>
                  <a:pt x="2709228" y="5104533"/>
                  <a:pt x="2199975" y="5040726"/>
                  <a:pt x="998137" y="5030086"/>
                </a:cubicBezTo>
                <a:cubicBezTo>
                  <a:pt x="886096" y="5030086"/>
                  <a:pt x="733325" y="5030086"/>
                  <a:pt x="488884" y="4976920"/>
                </a:cubicBezTo>
                <a:cubicBezTo>
                  <a:pt x="264812" y="4934382"/>
                  <a:pt x="152771" y="4976920"/>
                  <a:pt x="81481" y="4742962"/>
                </a:cubicBezTo>
                <a:cubicBezTo>
                  <a:pt x="20371" y="4551542"/>
                  <a:pt x="50920" y="3924104"/>
                  <a:pt x="40741" y="3679517"/>
                </a:cubicBezTo>
                <a:cubicBezTo>
                  <a:pt x="20371" y="3126526"/>
                  <a:pt x="20371" y="2743686"/>
                  <a:pt x="20371" y="2084351"/>
                </a:cubicBezTo>
                <a:lnTo>
                  <a:pt x="0" y="1552629"/>
                </a:lnTo>
                <a:cubicBezTo>
                  <a:pt x="50920" y="1254863"/>
                  <a:pt x="-30560" y="1031534"/>
                  <a:pt x="20371" y="723142"/>
                </a:cubicBezTo>
                <a:cubicBezTo>
                  <a:pt x="30551" y="616798"/>
                  <a:pt x="30551" y="627426"/>
                  <a:pt x="30551" y="457275"/>
                </a:cubicBezTo>
                <a:cubicBezTo>
                  <a:pt x="30551" y="393469"/>
                  <a:pt x="-31630" y="221930"/>
                  <a:pt x="71291" y="74435"/>
                </a:cubicBezTo>
                <a:cubicBezTo>
                  <a:pt x="358675" y="-52826"/>
                  <a:pt x="1476830" y="42537"/>
                  <a:pt x="2261085" y="42537"/>
                </a:cubicBezTo>
                <a:cubicBezTo>
                  <a:pt x="2658297" y="42537"/>
                  <a:pt x="3167551" y="21269"/>
                  <a:pt x="3554584" y="31898"/>
                </a:cubicBezTo>
                <a:cubicBezTo>
                  <a:pt x="3676805" y="42537"/>
                  <a:pt x="4481430" y="0"/>
                  <a:pt x="4603651" y="0"/>
                </a:cubicBezTo>
                <a:close/>
              </a:path>
            </a:pathLst>
          </a:custGeom>
          <a:solidFill>
            <a:srgbClr val="D9D9D9"/>
          </a:solidFill>
          <a:ln w="19050">
            <a:noFill/>
          </a:ln>
        </p:spPr>
      </p:pic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F7921E37-A140-438D-875B-75E927BE5D9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473" imgH="476" progId="TCLayout.ActiveDocument.1">
                  <p:embed/>
                </p:oleObj>
              </mc:Choice>
              <mc:Fallback>
                <p:oleObj name="think-cell Slide" r:id="rId6" imgW="473" imgH="47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F7921E37-A140-438D-875B-75E927BE5D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FCFFB68E-3399-487C-9FCF-4482D8F6D5A2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6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DLZ BITE TYPE" panose="00000500000000000000" pitchFamily="50" charset="0"/>
              <a:ea typeface="+mn-ea"/>
              <a:cs typeface="+mn-cs"/>
              <a:sym typeface="MDLZ BITE TYPE" panose="00000500000000000000" pitchFamily="50" charset="0"/>
            </a:endParaRP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B00BC99B-B34D-C27F-7486-740FF744ACE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7036" y="530343"/>
            <a:ext cx="11097929" cy="485335"/>
          </a:xfrm>
        </p:spPr>
        <p:txBody>
          <a:bodyPr anchor="t"/>
          <a:lstStyle/>
          <a:p>
            <a:pPr algn="ctr" defTabSz="685800">
              <a:defRPr/>
            </a:pPr>
            <a:r>
              <a:rPr lang="it-IT" sz="3600" dirty="0">
                <a:solidFill>
                  <a:schemeClr val="accent1"/>
                </a:solidFill>
                <a:latin typeface="MDLZ BITE TYPE"/>
              </a:rPr>
              <a:t>IL WELFARE in MONDELEZ ITALIA</a:t>
            </a:r>
            <a:endParaRPr lang="en-US" sz="48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1B7C6929-55C9-0106-7799-61C4A9D7769F}"/>
              </a:ext>
            </a:extLst>
          </p:cNvPr>
          <p:cNvSpPr txBox="1"/>
          <p:nvPr/>
        </p:nvSpPr>
        <p:spPr>
          <a:xfrm>
            <a:off x="2500503" y="1700143"/>
            <a:ext cx="3510460" cy="94096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3600" b="0" i="0" u="none" strike="noStrike" kern="1200" cap="none" spc="0" normalizeH="0" baseline="0" noProof="0" dirty="0">
                <a:ln>
                  <a:noFill/>
                </a:ln>
                <a:solidFill>
                  <a:srgbClr val="E18719"/>
                </a:solidFill>
                <a:effectLst/>
                <a:uLnTx/>
                <a:uFillTx/>
                <a:latin typeface="MDLZ BITE TYPE"/>
                <a:ea typeface="+mn-ea"/>
                <a:cs typeface="+mn-cs"/>
              </a:rPr>
              <a:t>WORKPLACE OF 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3600" b="0" i="0" u="none" strike="noStrike" kern="1200" cap="none" spc="0" normalizeH="0" baseline="0" noProof="0" dirty="0">
                <a:ln>
                  <a:noFill/>
                </a:ln>
                <a:solidFill>
                  <a:srgbClr val="E18719"/>
                </a:solidFill>
                <a:effectLst/>
                <a:uLnTx/>
                <a:uFillTx/>
                <a:latin typeface="MDLZ BITE TYPE"/>
                <a:ea typeface="+mn-ea"/>
                <a:cs typeface="+mn-cs"/>
              </a:rPr>
              <a:t>THE FUTURE</a:t>
            </a:r>
          </a:p>
        </p:txBody>
      </p:sp>
      <p:pic>
        <p:nvPicPr>
          <p:cNvPr id="14" name="Picture 13" descr="A picture containing text, clock&#10;&#10;Description automatically generated">
            <a:extLst>
              <a:ext uri="{FF2B5EF4-FFF2-40B4-BE49-F238E27FC236}">
                <a16:creationId xmlns:a16="http://schemas.microsoft.com/office/drawing/2014/main" id="{B0A95E65-80B7-6A18-E448-BD9CA9C04402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l="5480" t="5375" r="4099" b="995"/>
          <a:stretch/>
        </p:blipFill>
        <p:spPr>
          <a:xfrm rot="541520">
            <a:off x="644720" y="1092666"/>
            <a:ext cx="2082402" cy="2070029"/>
          </a:xfrm>
          <a:prstGeom prst="ellipse">
            <a:avLst/>
          </a:prstGeom>
        </p:spPr>
      </p:pic>
      <p:sp>
        <p:nvSpPr>
          <p:cNvPr id="20" name="Graphic 11">
            <a:extLst>
              <a:ext uri="{FF2B5EF4-FFF2-40B4-BE49-F238E27FC236}">
                <a16:creationId xmlns:a16="http://schemas.microsoft.com/office/drawing/2014/main" id="{1A59EF42-1DE1-849F-95F0-1D4A6068625A}"/>
              </a:ext>
            </a:extLst>
          </p:cNvPr>
          <p:cNvSpPr/>
          <p:nvPr/>
        </p:nvSpPr>
        <p:spPr>
          <a:xfrm rot="5400000">
            <a:off x="3823931" y="3708538"/>
            <a:ext cx="4544139" cy="45719"/>
          </a:xfrm>
          <a:custGeom>
            <a:avLst/>
            <a:gdLst>
              <a:gd name="connsiteX0" fmla="*/ 5634971 w 5634018"/>
              <a:gd name="connsiteY0" fmla="*/ 49074 h 147637"/>
              <a:gd name="connsiteX1" fmla="*/ 5600681 w 5634018"/>
              <a:gd name="connsiteY1" fmla="*/ 27167 h 147637"/>
              <a:gd name="connsiteX2" fmla="*/ 216693 w 5634018"/>
              <a:gd name="connsiteY2" fmla="*/ 12879 h 147637"/>
              <a:gd name="connsiteX3" fmla="*/ 0 w 5634018"/>
              <a:gd name="connsiteY3" fmla="*/ 85269 h 147637"/>
              <a:gd name="connsiteX4" fmla="*/ 812480 w 5634018"/>
              <a:gd name="connsiteY4" fmla="*/ 121464 h 147637"/>
              <a:gd name="connsiteX5" fmla="*/ 2112638 w 5634018"/>
              <a:gd name="connsiteY5" fmla="*/ 85269 h 147637"/>
              <a:gd name="connsiteX6" fmla="*/ 5472094 w 5634018"/>
              <a:gd name="connsiteY6" fmla="*/ 120988 h 147637"/>
              <a:gd name="connsiteX7" fmla="*/ 5634971 w 5634018"/>
              <a:gd name="connsiteY7" fmla="*/ 49074 h 147637"/>
              <a:gd name="connsiteX8" fmla="*/ 5634971 w 5634018"/>
              <a:gd name="connsiteY8" fmla="*/ 49074 h 1476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5634018" h="147637">
                <a:moveTo>
                  <a:pt x="5634971" y="49074"/>
                </a:moveTo>
                <a:cubicBezTo>
                  <a:pt x="5634971" y="36692"/>
                  <a:pt x="5622588" y="27167"/>
                  <a:pt x="5600681" y="27167"/>
                </a:cubicBezTo>
                <a:cubicBezTo>
                  <a:pt x="3833323" y="25738"/>
                  <a:pt x="1982622" y="-22363"/>
                  <a:pt x="216693" y="12879"/>
                </a:cubicBezTo>
                <a:cubicBezTo>
                  <a:pt x="162401" y="12879"/>
                  <a:pt x="0" y="49074"/>
                  <a:pt x="0" y="85269"/>
                </a:cubicBezTo>
                <a:cubicBezTo>
                  <a:pt x="0" y="204331"/>
                  <a:pt x="541971" y="121464"/>
                  <a:pt x="812480" y="121464"/>
                </a:cubicBezTo>
                <a:cubicBezTo>
                  <a:pt x="1245866" y="85269"/>
                  <a:pt x="1679252" y="85269"/>
                  <a:pt x="2112638" y="85269"/>
                </a:cubicBezTo>
                <a:cubicBezTo>
                  <a:pt x="3250871" y="157183"/>
                  <a:pt x="4334336" y="120988"/>
                  <a:pt x="5472094" y="120988"/>
                </a:cubicBezTo>
                <a:cubicBezTo>
                  <a:pt x="5526386" y="120988"/>
                  <a:pt x="5634971" y="120988"/>
                  <a:pt x="5634971" y="49074"/>
                </a:cubicBezTo>
                <a:lnTo>
                  <a:pt x="5634971" y="49074"/>
                </a:lnTo>
                <a:close/>
              </a:path>
            </a:pathLst>
          </a:custGeom>
          <a:solidFill>
            <a:srgbClr val="4F2170"/>
          </a:solidFill>
          <a:ln w="4758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666666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19" name="Graphic 11">
            <a:extLst>
              <a:ext uri="{FF2B5EF4-FFF2-40B4-BE49-F238E27FC236}">
                <a16:creationId xmlns:a16="http://schemas.microsoft.com/office/drawing/2014/main" id="{2FBF636C-ED38-6923-7772-F241AA5FFD21}"/>
              </a:ext>
            </a:extLst>
          </p:cNvPr>
          <p:cNvSpPr/>
          <p:nvPr/>
        </p:nvSpPr>
        <p:spPr>
          <a:xfrm>
            <a:off x="917254" y="3723183"/>
            <a:ext cx="4544139" cy="45719"/>
          </a:xfrm>
          <a:custGeom>
            <a:avLst/>
            <a:gdLst>
              <a:gd name="connsiteX0" fmla="*/ 5634971 w 5634018"/>
              <a:gd name="connsiteY0" fmla="*/ 49074 h 147637"/>
              <a:gd name="connsiteX1" fmla="*/ 5600681 w 5634018"/>
              <a:gd name="connsiteY1" fmla="*/ 27167 h 147637"/>
              <a:gd name="connsiteX2" fmla="*/ 216693 w 5634018"/>
              <a:gd name="connsiteY2" fmla="*/ 12879 h 147637"/>
              <a:gd name="connsiteX3" fmla="*/ 0 w 5634018"/>
              <a:gd name="connsiteY3" fmla="*/ 85269 h 147637"/>
              <a:gd name="connsiteX4" fmla="*/ 812480 w 5634018"/>
              <a:gd name="connsiteY4" fmla="*/ 121464 h 147637"/>
              <a:gd name="connsiteX5" fmla="*/ 2112638 w 5634018"/>
              <a:gd name="connsiteY5" fmla="*/ 85269 h 147637"/>
              <a:gd name="connsiteX6" fmla="*/ 5472094 w 5634018"/>
              <a:gd name="connsiteY6" fmla="*/ 120988 h 147637"/>
              <a:gd name="connsiteX7" fmla="*/ 5634971 w 5634018"/>
              <a:gd name="connsiteY7" fmla="*/ 49074 h 147637"/>
              <a:gd name="connsiteX8" fmla="*/ 5634971 w 5634018"/>
              <a:gd name="connsiteY8" fmla="*/ 49074 h 1476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5634018" h="147637">
                <a:moveTo>
                  <a:pt x="5634971" y="49074"/>
                </a:moveTo>
                <a:cubicBezTo>
                  <a:pt x="5634971" y="36692"/>
                  <a:pt x="5622588" y="27167"/>
                  <a:pt x="5600681" y="27167"/>
                </a:cubicBezTo>
                <a:cubicBezTo>
                  <a:pt x="3833323" y="25738"/>
                  <a:pt x="1982622" y="-22363"/>
                  <a:pt x="216693" y="12879"/>
                </a:cubicBezTo>
                <a:cubicBezTo>
                  <a:pt x="162401" y="12879"/>
                  <a:pt x="0" y="49074"/>
                  <a:pt x="0" y="85269"/>
                </a:cubicBezTo>
                <a:cubicBezTo>
                  <a:pt x="0" y="204331"/>
                  <a:pt x="541971" y="121464"/>
                  <a:pt x="812480" y="121464"/>
                </a:cubicBezTo>
                <a:cubicBezTo>
                  <a:pt x="1245866" y="85269"/>
                  <a:pt x="1679252" y="85269"/>
                  <a:pt x="2112638" y="85269"/>
                </a:cubicBezTo>
                <a:cubicBezTo>
                  <a:pt x="3250871" y="157183"/>
                  <a:pt x="4334336" y="120988"/>
                  <a:pt x="5472094" y="120988"/>
                </a:cubicBezTo>
                <a:cubicBezTo>
                  <a:pt x="5526386" y="120988"/>
                  <a:pt x="5634971" y="120988"/>
                  <a:pt x="5634971" y="49074"/>
                </a:cubicBezTo>
                <a:lnTo>
                  <a:pt x="5634971" y="49074"/>
                </a:lnTo>
                <a:close/>
              </a:path>
            </a:pathLst>
          </a:custGeom>
          <a:solidFill>
            <a:srgbClr val="4F2170"/>
          </a:solidFill>
          <a:ln w="4758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666666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20" name="Graphic 11">
            <a:extLst>
              <a:ext uri="{FF2B5EF4-FFF2-40B4-BE49-F238E27FC236}">
                <a16:creationId xmlns:a16="http://schemas.microsoft.com/office/drawing/2014/main" id="{846B980E-3A47-C702-7525-3AA2D38BD462}"/>
              </a:ext>
            </a:extLst>
          </p:cNvPr>
          <p:cNvSpPr/>
          <p:nvPr/>
        </p:nvSpPr>
        <p:spPr>
          <a:xfrm>
            <a:off x="6867526" y="3731397"/>
            <a:ext cx="4544139" cy="45719"/>
          </a:xfrm>
          <a:custGeom>
            <a:avLst/>
            <a:gdLst>
              <a:gd name="connsiteX0" fmla="*/ 5634971 w 5634018"/>
              <a:gd name="connsiteY0" fmla="*/ 49074 h 147637"/>
              <a:gd name="connsiteX1" fmla="*/ 5600681 w 5634018"/>
              <a:gd name="connsiteY1" fmla="*/ 27167 h 147637"/>
              <a:gd name="connsiteX2" fmla="*/ 216693 w 5634018"/>
              <a:gd name="connsiteY2" fmla="*/ 12879 h 147637"/>
              <a:gd name="connsiteX3" fmla="*/ 0 w 5634018"/>
              <a:gd name="connsiteY3" fmla="*/ 85269 h 147637"/>
              <a:gd name="connsiteX4" fmla="*/ 812480 w 5634018"/>
              <a:gd name="connsiteY4" fmla="*/ 121464 h 147637"/>
              <a:gd name="connsiteX5" fmla="*/ 2112638 w 5634018"/>
              <a:gd name="connsiteY5" fmla="*/ 85269 h 147637"/>
              <a:gd name="connsiteX6" fmla="*/ 5472094 w 5634018"/>
              <a:gd name="connsiteY6" fmla="*/ 120988 h 147637"/>
              <a:gd name="connsiteX7" fmla="*/ 5634971 w 5634018"/>
              <a:gd name="connsiteY7" fmla="*/ 49074 h 147637"/>
              <a:gd name="connsiteX8" fmla="*/ 5634971 w 5634018"/>
              <a:gd name="connsiteY8" fmla="*/ 49074 h 1476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5634018" h="147637">
                <a:moveTo>
                  <a:pt x="5634971" y="49074"/>
                </a:moveTo>
                <a:cubicBezTo>
                  <a:pt x="5634971" y="36692"/>
                  <a:pt x="5622588" y="27167"/>
                  <a:pt x="5600681" y="27167"/>
                </a:cubicBezTo>
                <a:cubicBezTo>
                  <a:pt x="3833323" y="25738"/>
                  <a:pt x="1982622" y="-22363"/>
                  <a:pt x="216693" y="12879"/>
                </a:cubicBezTo>
                <a:cubicBezTo>
                  <a:pt x="162401" y="12879"/>
                  <a:pt x="0" y="49074"/>
                  <a:pt x="0" y="85269"/>
                </a:cubicBezTo>
                <a:cubicBezTo>
                  <a:pt x="0" y="204331"/>
                  <a:pt x="541971" y="121464"/>
                  <a:pt x="812480" y="121464"/>
                </a:cubicBezTo>
                <a:cubicBezTo>
                  <a:pt x="1245866" y="85269"/>
                  <a:pt x="1679252" y="85269"/>
                  <a:pt x="2112638" y="85269"/>
                </a:cubicBezTo>
                <a:cubicBezTo>
                  <a:pt x="3250871" y="157183"/>
                  <a:pt x="4334336" y="120988"/>
                  <a:pt x="5472094" y="120988"/>
                </a:cubicBezTo>
                <a:cubicBezTo>
                  <a:pt x="5526386" y="120988"/>
                  <a:pt x="5634971" y="120988"/>
                  <a:pt x="5634971" y="49074"/>
                </a:cubicBezTo>
                <a:lnTo>
                  <a:pt x="5634971" y="49074"/>
                </a:lnTo>
                <a:close/>
              </a:path>
            </a:pathLst>
          </a:custGeom>
          <a:solidFill>
            <a:srgbClr val="4F2170"/>
          </a:solidFill>
          <a:ln w="4758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666666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21" name="TextBox 120">
            <a:extLst>
              <a:ext uri="{FF2B5EF4-FFF2-40B4-BE49-F238E27FC236}">
                <a16:creationId xmlns:a16="http://schemas.microsoft.com/office/drawing/2014/main" id="{665E893C-EE99-B0B1-978D-86830605D921}"/>
              </a:ext>
            </a:extLst>
          </p:cNvPr>
          <p:cNvSpPr txBox="1"/>
          <p:nvPr/>
        </p:nvSpPr>
        <p:spPr>
          <a:xfrm>
            <a:off x="6227780" y="818409"/>
            <a:ext cx="5280289" cy="1588246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2400" b="0" i="0" u="none" strike="noStrike" kern="1200" cap="all" spc="0" normalizeH="0" baseline="0" noProof="0" dirty="0">
                <a:ln>
                  <a:noFill/>
                </a:ln>
                <a:solidFill>
                  <a:srgbClr val="287819"/>
                </a:solidFill>
                <a:effectLst/>
                <a:uLnTx/>
                <a:uFillTx/>
                <a:latin typeface="MDLZ BITE TYPE" panose="00000500000000000000" pitchFamily="2" charset="0"/>
                <a:ea typeface="+mn-ea"/>
                <a:cs typeface="+mn-cs"/>
              </a:rPr>
              <a:t>Employee assistance program </a:t>
            </a:r>
            <a:r>
              <a:rPr kumimoji="0" lang="it-IT" sz="1800" b="0" i="0" u="none" strike="noStrike" kern="1200" cap="all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DLZ BITE TYPE" panose="00000500000000000000" pitchFamily="2" charset="0"/>
                <a:ea typeface="+mn-ea"/>
                <a:cs typeface="+mn-cs"/>
              </a:rPr>
              <a:t>magellan</a:t>
            </a:r>
          </a:p>
        </p:txBody>
      </p:sp>
      <p:pic>
        <p:nvPicPr>
          <p:cNvPr id="123" name="Picture 2" descr="Magellan Healthcare">
            <a:extLst>
              <a:ext uri="{FF2B5EF4-FFF2-40B4-BE49-F238E27FC236}">
                <a16:creationId xmlns:a16="http://schemas.microsoft.com/office/drawing/2014/main" id="{9736EEA3-7C6B-CCAE-92C8-857F0B83AA7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64939" y="1371027"/>
            <a:ext cx="1342619" cy="6274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4" name="TextBox 123">
            <a:extLst>
              <a:ext uri="{FF2B5EF4-FFF2-40B4-BE49-F238E27FC236}">
                <a16:creationId xmlns:a16="http://schemas.microsoft.com/office/drawing/2014/main" id="{20733A0D-230C-97C7-E032-81A86DE990AF}"/>
              </a:ext>
            </a:extLst>
          </p:cNvPr>
          <p:cNvSpPr txBox="1"/>
          <p:nvPr/>
        </p:nvSpPr>
        <p:spPr>
          <a:xfrm>
            <a:off x="1424602" y="3805171"/>
            <a:ext cx="3529442" cy="407223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2400" b="0" i="0" u="none" strike="noStrike" kern="1200" cap="all" spc="0" normalizeH="0" baseline="0" noProof="0" dirty="0">
                <a:ln>
                  <a:noFill/>
                </a:ln>
                <a:solidFill>
                  <a:srgbClr val="A52323"/>
                </a:solidFill>
                <a:effectLst/>
                <a:uLnTx/>
                <a:uFillTx/>
                <a:latin typeface="MDLZ BITE TYPE" panose="00000500000000000000" pitchFamily="2" charset="0"/>
                <a:ea typeface="+mn-ea"/>
                <a:cs typeface="+mn-cs"/>
              </a:rPr>
              <a:t>MDLZ Partnerships</a:t>
            </a:r>
          </a:p>
        </p:txBody>
      </p:sp>
      <p:pic>
        <p:nvPicPr>
          <p:cNvPr id="125" name="Picture 6" descr="Mindwork | Benessere psicologico per le aziende | Psicologo online">
            <a:extLst>
              <a:ext uri="{FF2B5EF4-FFF2-40B4-BE49-F238E27FC236}">
                <a16:creationId xmlns:a16="http://schemas.microsoft.com/office/drawing/2014/main" id="{46FFF5CC-6526-C9A0-B033-06C40FE8305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8235" y="4415853"/>
            <a:ext cx="1879242" cy="4072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6" name="Picture 125" descr="Logo&#10;&#10;Description automatically generated">
            <a:extLst>
              <a:ext uri="{FF2B5EF4-FFF2-40B4-BE49-F238E27FC236}">
                <a16:creationId xmlns:a16="http://schemas.microsoft.com/office/drawing/2014/main" id="{AB49BFF4-28E9-A18F-43BD-4A7BB8249B23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592861" y="5005530"/>
            <a:ext cx="1450729" cy="407222"/>
          </a:xfrm>
          <a:prstGeom prst="rect">
            <a:avLst/>
          </a:prstGeom>
        </p:spPr>
      </p:pic>
      <p:sp>
        <p:nvSpPr>
          <p:cNvPr id="128" name="TextBox 127">
            <a:extLst>
              <a:ext uri="{FF2B5EF4-FFF2-40B4-BE49-F238E27FC236}">
                <a16:creationId xmlns:a16="http://schemas.microsoft.com/office/drawing/2014/main" id="{3E3932AE-F09D-B2D0-B919-D9D7998C8551}"/>
              </a:ext>
            </a:extLst>
          </p:cNvPr>
          <p:cNvSpPr txBox="1"/>
          <p:nvPr/>
        </p:nvSpPr>
        <p:spPr>
          <a:xfrm>
            <a:off x="2036798" y="5065617"/>
            <a:ext cx="3819526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200" b="0" i="0" u="none" strike="noStrike" kern="1200" cap="none" spc="0" normalizeH="0" baseline="0" noProof="0" dirty="0">
                <a:ln>
                  <a:noFill/>
                </a:ln>
                <a:solidFill>
                  <a:srgbClr val="003A5D"/>
                </a:solidFill>
                <a:effectLst/>
                <a:uLnTx/>
                <a:uFillTx/>
                <a:latin typeface="MDLZ BITE TYPE"/>
                <a:ea typeface="+mn-ea"/>
                <a:cs typeface="+mn-cs"/>
              </a:rPr>
              <a:t>promuovere l'equilibrio di genere e una cultura inclusiva all'interno e all'esterno dell'azienda</a:t>
            </a:r>
            <a:endParaRPr kumimoji="0" lang="it-IT" sz="600" b="0" i="0" u="none" strike="noStrike" kern="1200" cap="none" spc="0" normalizeH="0" baseline="0" noProof="0" dirty="0">
              <a:ln>
                <a:noFill/>
              </a:ln>
              <a:solidFill>
                <a:srgbClr val="003A5D"/>
              </a:solidFill>
              <a:effectLst/>
              <a:uLnTx/>
              <a:uFillTx/>
              <a:latin typeface="MDLZ BITE TYPE"/>
              <a:ea typeface="+mn-ea"/>
              <a:cs typeface="+mn-cs"/>
            </a:endParaRPr>
          </a:p>
        </p:txBody>
      </p:sp>
      <p:sp>
        <p:nvSpPr>
          <p:cNvPr id="130" name="TextBox 129">
            <a:extLst>
              <a:ext uri="{FF2B5EF4-FFF2-40B4-BE49-F238E27FC236}">
                <a16:creationId xmlns:a16="http://schemas.microsoft.com/office/drawing/2014/main" id="{700D1326-320C-8ED7-8183-D9A4504A8CB6}"/>
              </a:ext>
            </a:extLst>
          </p:cNvPr>
          <p:cNvSpPr txBox="1"/>
          <p:nvPr/>
        </p:nvSpPr>
        <p:spPr>
          <a:xfrm>
            <a:off x="2018767" y="4464470"/>
            <a:ext cx="3930018" cy="49244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400" b="0" i="0" u="none" strike="noStrike" kern="1200" cap="none" spc="0" normalizeH="0" baseline="0" noProof="0" dirty="0">
                <a:ln>
                  <a:noFill/>
                </a:ln>
                <a:solidFill>
                  <a:srgbClr val="1901A0"/>
                </a:solidFill>
                <a:effectLst/>
                <a:uLnTx/>
                <a:uFillTx/>
                <a:latin typeface="MDLZ BITE TYPE"/>
                <a:ea typeface="+mn-ea"/>
                <a:cs typeface="+mn-cs"/>
              </a:rPr>
              <a:t>Non c’è inclusione senza salute mentale</a:t>
            </a:r>
            <a:endParaRPr kumimoji="0" lang="it-IT" sz="1200" b="0" i="0" u="none" strike="noStrike" kern="1200" cap="none" spc="0" normalizeH="0" baseline="0" noProof="0" dirty="0">
              <a:ln>
                <a:noFill/>
              </a:ln>
              <a:solidFill>
                <a:srgbClr val="1901A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285750" marR="0" lvl="0" indent="-28575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EAAB5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31" name="TextBox 130">
            <a:extLst>
              <a:ext uri="{FF2B5EF4-FFF2-40B4-BE49-F238E27FC236}">
                <a16:creationId xmlns:a16="http://schemas.microsoft.com/office/drawing/2014/main" id="{A4F52B8D-0CF8-1A52-11F0-2B993502A861}"/>
              </a:ext>
            </a:extLst>
          </p:cNvPr>
          <p:cNvSpPr txBox="1"/>
          <p:nvPr/>
        </p:nvSpPr>
        <p:spPr>
          <a:xfrm>
            <a:off x="9376717" y="4366958"/>
            <a:ext cx="2551610" cy="185898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342900" marR="0" lvl="0" indent="-34290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it-IT" sz="1400" i="0" u="none" strike="noStrike" kern="1200" cap="none" spc="0" normalizeH="0" baseline="0" noProof="0" dirty="0">
                <a:ln>
                  <a:noFill/>
                </a:ln>
                <a:solidFill>
                  <a:srgbClr val="4F217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pazi di condivisione</a:t>
            </a:r>
          </a:p>
          <a:p>
            <a:pPr marL="342900" marR="0" lvl="0" indent="-34290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it-IT" sz="1400" i="0" u="none" strike="noStrike" kern="1200" cap="none" spc="0" normalizeH="0" baseline="0" noProof="0" dirty="0">
                <a:ln>
                  <a:noFill/>
                </a:ln>
                <a:solidFill>
                  <a:srgbClr val="4F217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Bar e ristorante aziendale</a:t>
            </a:r>
          </a:p>
          <a:p>
            <a:pPr marL="342900" marR="0" lvl="0" indent="-34290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it-IT" sz="1400" i="0" u="none" strike="noStrike" kern="1200" cap="none" spc="0" normalizeH="0" baseline="0" noProof="0" dirty="0">
                <a:ln>
                  <a:noFill/>
                </a:ln>
                <a:solidFill>
                  <a:srgbClr val="4F217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ervizio Take-away</a:t>
            </a:r>
          </a:p>
          <a:p>
            <a:pPr marL="342900" marR="0" lvl="0" indent="-34290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it-IT" sz="1400" i="0" u="none" strike="noStrike" kern="1200" cap="none" spc="0" normalizeH="0" baseline="0" noProof="0" dirty="0">
                <a:ln>
                  <a:noFill/>
                </a:ln>
                <a:solidFill>
                  <a:srgbClr val="4F217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osta interna / servizi di spedizione </a:t>
            </a:r>
          </a:p>
          <a:p>
            <a:pPr marL="342900" marR="0" lvl="0" indent="-34290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it-IT" sz="1400" i="0" u="none" strike="noStrike" kern="1200" cap="none" spc="0" normalizeH="0" baseline="0" noProof="0" dirty="0">
                <a:ln>
                  <a:noFill/>
                </a:ln>
                <a:solidFill>
                  <a:srgbClr val="4F217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ervizio Farmacia </a:t>
            </a:r>
          </a:p>
          <a:p>
            <a:pPr marL="342900" marR="0" lvl="0" indent="-34290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it-IT" sz="1400" i="0" u="none" strike="noStrike" kern="1200" cap="none" spc="0" normalizeH="0" baseline="0" noProof="0" dirty="0">
                <a:ln>
                  <a:noFill/>
                </a:ln>
                <a:solidFill>
                  <a:srgbClr val="4F217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paccio aziendale</a:t>
            </a:r>
          </a:p>
          <a:p>
            <a:pPr marL="342900" marR="0" lvl="0" indent="-34290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it-IT" sz="1400" i="0" u="none" strike="noStrike" kern="1200" cap="none" spc="0" normalizeH="0" baseline="0" noProof="0" dirty="0">
                <a:ln>
                  <a:noFill/>
                </a:ln>
                <a:solidFill>
                  <a:srgbClr val="4F217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alestra</a:t>
            </a:r>
          </a:p>
          <a:p>
            <a:pPr marL="342900" marR="0" lvl="0" indent="-34290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it-IT" sz="1400" i="0" u="none" strike="noStrike" kern="1200" cap="none" spc="0" normalizeH="0" baseline="0" noProof="0" dirty="0">
                <a:ln>
                  <a:noFill/>
                </a:ln>
                <a:solidFill>
                  <a:srgbClr val="4F217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ercheggi interni</a:t>
            </a:r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it-IT" sz="1600" b="0" i="0" u="none" strike="noStrike" kern="1200" cap="none" spc="0" normalizeH="0" baseline="0" noProof="0" dirty="0">
              <a:ln>
                <a:noFill/>
              </a:ln>
              <a:solidFill>
                <a:srgbClr val="957AA9"/>
              </a:solidFill>
              <a:effectLst/>
              <a:uLnTx/>
              <a:uFillTx/>
              <a:latin typeface="MDLZ BITE TYPE"/>
              <a:ea typeface="+mn-ea"/>
              <a:cs typeface="+mn-cs"/>
            </a:endParaRPr>
          </a:p>
        </p:txBody>
      </p:sp>
      <p:sp>
        <p:nvSpPr>
          <p:cNvPr id="132" name="TextBox 131">
            <a:extLst>
              <a:ext uri="{FF2B5EF4-FFF2-40B4-BE49-F238E27FC236}">
                <a16:creationId xmlns:a16="http://schemas.microsoft.com/office/drawing/2014/main" id="{3E4F1A7E-F51D-0BBE-C630-5BD06030D1A5}"/>
              </a:ext>
            </a:extLst>
          </p:cNvPr>
          <p:cNvSpPr txBox="1"/>
          <p:nvPr/>
        </p:nvSpPr>
        <p:spPr>
          <a:xfrm>
            <a:off x="6145670" y="3810108"/>
            <a:ext cx="3529442" cy="407223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2400" b="0" i="0" u="none" strike="noStrike" kern="1200" cap="all" spc="0" normalizeH="0" baseline="0" noProof="0" dirty="0">
                <a:ln>
                  <a:noFill/>
                </a:ln>
                <a:solidFill>
                  <a:srgbClr val="2D6EAA"/>
                </a:solidFill>
                <a:effectLst/>
                <a:uLnTx/>
                <a:uFillTx/>
                <a:latin typeface="MDLZ BITE TYPE" panose="00000500000000000000" pitchFamily="2" charset="0"/>
                <a:ea typeface="+mn-ea"/>
                <a:cs typeface="+mn-cs"/>
              </a:rPr>
              <a:t>Servizi @ milan hq</a:t>
            </a:r>
          </a:p>
        </p:txBody>
      </p:sp>
      <p:pic>
        <p:nvPicPr>
          <p:cNvPr id="133" name="Picture 132" descr="A picture containing text, ceiling, indoor&#10;&#10;Description automatically generated">
            <a:extLst>
              <a:ext uri="{FF2B5EF4-FFF2-40B4-BE49-F238E27FC236}">
                <a16:creationId xmlns:a16="http://schemas.microsoft.com/office/drawing/2014/main" id="{D85DDB8E-48F8-DAAB-78E7-351F3AE10701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7829394" y="4232079"/>
            <a:ext cx="1173277" cy="879958"/>
          </a:xfrm>
          <a:custGeom>
            <a:avLst/>
            <a:gdLst>
              <a:gd name="connsiteX0" fmla="*/ 4603651 w 4851030"/>
              <a:gd name="connsiteY0" fmla="*/ 0 h 5081476"/>
              <a:gd name="connsiteX1" fmla="*/ 4827723 w 4851030"/>
              <a:gd name="connsiteY1" fmla="*/ 669963 h 5081476"/>
              <a:gd name="connsiteX2" fmla="*/ 4837903 w 4851030"/>
              <a:gd name="connsiteY2" fmla="*/ 2094980 h 5081476"/>
              <a:gd name="connsiteX3" fmla="*/ 4848093 w 4851030"/>
              <a:gd name="connsiteY3" fmla="*/ 3169064 h 5081476"/>
              <a:gd name="connsiteX4" fmla="*/ 4848093 w 4851030"/>
              <a:gd name="connsiteY4" fmla="*/ 3913475 h 5081476"/>
              <a:gd name="connsiteX5" fmla="*/ 4817532 w 4851030"/>
              <a:gd name="connsiteY5" fmla="*/ 4838667 h 5081476"/>
              <a:gd name="connsiteX6" fmla="*/ 4471241 w 4851030"/>
              <a:gd name="connsiteY6" fmla="*/ 5008818 h 5081476"/>
              <a:gd name="connsiteX7" fmla="*/ 4114767 w 4851030"/>
              <a:gd name="connsiteY7" fmla="*/ 5019457 h 5081476"/>
              <a:gd name="connsiteX8" fmla="*/ 3748105 w 4851030"/>
              <a:gd name="connsiteY8" fmla="*/ 5072624 h 5081476"/>
              <a:gd name="connsiteX9" fmla="*/ 998137 w 4851030"/>
              <a:gd name="connsiteY9" fmla="*/ 5030086 h 5081476"/>
              <a:gd name="connsiteX10" fmla="*/ 488884 w 4851030"/>
              <a:gd name="connsiteY10" fmla="*/ 4976920 h 5081476"/>
              <a:gd name="connsiteX11" fmla="*/ 81481 w 4851030"/>
              <a:gd name="connsiteY11" fmla="*/ 4742962 h 5081476"/>
              <a:gd name="connsiteX12" fmla="*/ 40741 w 4851030"/>
              <a:gd name="connsiteY12" fmla="*/ 3679517 h 5081476"/>
              <a:gd name="connsiteX13" fmla="*/ 20371 w 4851030"/>
              <a:gd name="connsiteY13" fmla="*/ 2084351 h 5081476"/>
              <a:gd name="connsiteX14" fmla="*/ 0 w 4851030"/>
              <a:gd name="connsiteY14" fmla="*/ 1552629 h 5081476"/>
              <a:gd name="connsiteX15" fmla="*/ 20371 w 4851030"/>
              <a:gd name="connsiteY15" fmla="*/ 723142 h 5081476"/>
              <a:gd name="connsiteX16" fmla="*/ 30551 w 4851030"/>
              <a:gd name="connsiteY16" fmla="*/ 457275 h 5081476"/>
              <a:gd name="connsiteX17" fmla="*/ 71291 w 4851030"/>
              <a:gd name="connsiteY17" fmla="*/ 74435 h 5081476"/>
              <a:gd name="connsiteX18" fmla="*/ 2261085 w 4851030"/>
              <a:gd name="connsiteY18" fmla="*/ 42537 h 5081476"/>
              <a:gd name="connsiteX19" fmla="*/ 3554584 w 4851030"/>
              <a:gd name="connsiteY19" fmla="*/ 31898 h 5081476"/>
              <a:gd name="connsiteX20" fmla="*/ 4603651 w 4851030"/>
              <a:gd name="connsiteY20" fmla="*/ 0 h 50814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4851030" h="5081476">
                <a:moveTo>
                  <a:pt x="4603651" y="0"/>
                </a:moveTo>
                <a:cubicBezTo>
                  <a:pt x="4868463" y="0"/>
                  <a:pt x="4827723" y="340302"/>
                  <a:pt x="4827723" y="669963"/>
                </a:cubicBezTo>
                <a:cubicBezTo>
                  <a:pt x="4817532" y="1148520"/>
                  <a:pt x="4858273" y="1616435"/>
                  <a:pt x="4837903" y="2094980"/>
                </a:cubicBezTo>
                <a:cubicBezTo>
                  <a:pt x="4827723" y="2445922"/>
                  <a:pt x="4858273" y="2818122"/>
                  <a:pt x="4848093" y="3169064"/>
                </a:cubicBezTo>
                <a:cubicBezTo>
                  <a:pt x="4837903" y="3413650"/>
                  <a:pt x="4858273" y="3668878"/>
                  <a:pt x="4848093" y="3913475"/>
                </a:cubicBezTo>
                <a:cubicBezTo>
                  <a:pt x="4837903" y="4158061"/>
                  <a:pt x="4858273" y="4519633"/>
                  <a:pt x="4817532" y="4838667"/>
                </a:cubicBezTo>
                <a:cubicBezTo>
                  <a:pt x="4797162" y="4966279"/>
                  <a:pt x="4613831" y="4987548"/>
                  <a:pt x="4471241" y="5008818"/>
                </a:cubicBezTo>
                <a:cubicBezTo>
                  <a:pt x="4389759" y="5019457"/>
                  <a:pt x="4236989" y="4998188"/>
                  <a:pt x="4114767" y="5019457"/>
                </a:cubicBezTo>
                <a:cubicBezTo>
                  <a:pt x="4023097" y="5040726"/>
                  <a:pt x="3849956" y="5072624"/>
                  <a:pt x="3748105" y="5072624"/>
                </a:cubicBezTo>
                <a:cubicBezTo>
                  <a:pt x="2709228" y="5104533"/>
                  <a:pt x="2199975" y="5040726"/>
                  <a:pt x="998137" y="5030086"/>
                </a:cubicBezTo>
                <a:cubicBezTo>
                  <a:pt x="886096" y="5030086"/>
                  <a:pt x="733325" y="5030086"/>
                  <a:pt x="488884" y="4976920"/>
                </a:cubicBezTo>
                <a:cubicBezTo>
                  <a:pt x="264812" y="4934382"/>
                  <a:pt x="152771" y="4976920"/>
                  <a:pt x="81481" y="4742962"/>
                </a:cubicBezTo>
                <a:cubicBezTo>
                  <a:pt x="20371" y="4551542"/>
                  <a:pt x="50920" y="3924104"/>
                  <a:pt x="40741" y="3679517"/>
                </a:cubicBezTo>
                <a:cubicBezTo>
                  <a:pt x="20371" y="3126526"/>
                  <a:pt x="20371" y="2743686"/>
                  <a:pt x="20371" y="2084351"/>
                </a:cubicBezTo>
                <a:lnTo>
                  <a:pt x="0" y="1552629"/>
                </a:lnTo>
                <a:cubicBezTo>
                  <a:pt x="50920" y="1254863"/>
                  <a:pt x="-30560" y="1031534"/>
                  <a:pt x="20371" y="723142"/>
                </a:cubicBezTo>
                <a:cubicBezTo>
                  <a:pt x="30551" y="616798"/>
                  <a:pt x="30551" y="627426"/>
                  <a:pt x="30551" y="457275"/>
                </a:cubicBezTo>
                <a:cubicBezTo>
                  <a:pt x="30551" y="393469"/>
                  <a:pt x="-31630" y="221930"/>
                  <a:pt x="71291" y="74435"/>
                </a:cubicBezTo>
                <a:cubicBezTo>
                  <a:pt x="358675" y="-52826"/>
                  <a:pt x="1476830" y="42537"/>
                  <a:pt x="2261085" y="42537"/>
                </a:cubicBezTo>
                <a:cubicBezTo>
                  <a:pt x="2658297" y="42537"/>
                  <a:pt x="3167551" y="21269"/>
                  <a:pt x="3554584" y="31898"/>
                </a:cubicBezTo>
                <a:cubicBezTo>
                  <a:pt x="3676805" y="42537"/>
                  <a:pt x="4481430" y="0"/>
                  <a:pt x="4603651" y="0"/>
                </a:cubicBezTo>
                <a:close/>
              </a:path>
            </a:pathLst>
          </a:custGeom>
          <a:solidFill>
            <a:srgbClr val="D9D9D9"/>
          </a:solidFill>
          <a:ln w="19050">
            <a:noFill/>
          </a:ln>
        </p:spPr>
      </p:pic>
      <p:pic>
        <p:nvPicPr>
          <p:cNvPr id="135" name="Picture 134">
            <a:extLst>
              <a:ext uri="{FF2B5EF4-FFF2-40B4-BE49-F238E27FC236}">
                <a16:creationId xmlns:a16="http://schemas.microsoft.com/office/drawing/2014/main" id="{C8FFF274-64BE-E812-9338-0939EC7B4718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6145670" y="4504973"/>
            <a:ext cx="1404799" cy="1284202"/>
          </a:xfrm>
          <a:custGeom>
            <a:avLst/>
            <a:gdLst>
              <a:gd name="connsiteX0" fmla="*/ 4603651 w 4851030"/>
              <a:gd name="connsiteY0" fmla="*/ 0 h 5081476"/>
              <a:gd name="connsiteX1" fmla="*/ 4827723 w 4851030"/>
              <a:gd name="connsiteY1" fmla="*/ 669963 h 5081476"/>
              <a:gd name="connsiteX2" fmla="*/ 4837903 w 4851030"/>
              <a:gd name="connsiteY2" fmla="*/ 2094980 h 5081476"/>
              <a:gd name="connsiteX3" fmla="*/ 4848093 w 4851030"/>
              <a:gd name="connsiteY3" fmla="*/ 3169064 h 5081476"/>
              <a:gd name="connsiteX4" fmla="*/ 4848093 w 4851030"/>
              <a:gd name="connsiteY4" fmla="*/ 3913475 h 5081476"/>
              <a:gd name="connsiteX5" fmla="*/ 4817532 w 4851030"/>
              <a:gd name="connsiteY5" fmla="*/ 4838667 h 5081476"/>
              <a:gd name="connsiteX6" fmla="*/ 4471241 w 4851030"/>
              <a:gd name="connsiteY6" fmla="*/ 5008818 h 5081476"/>
              <a:gd name="connsiteX7" fmla="*/ 4114767 w 4851030"/>
              <a:gd name="connsiteY7" fmla="*/ 5019457 h 5081476"/>
              <a:gd name="connsiteX8" fmla="*/ 3748105 w 4851030"/>
              <a:gd name="connsiteY8" fmla="*/ 5072624 h 5081476"/>
              <a:gd name="connsiteX9" fmla="*/ 998137 w 4851030"/>
              <a:gd name="connsiteY9" fmla="*/ 5030086 h 5081476"/>
              <a:gd name="connsiteX10" fmla="*/ 488884 w 4851030"/>
              <a:gd name="connsiteY10" fmla="*/ 4976920 h 5081476"/>
              <a:gd name="connsiteX11" fmla="*/ 81481 w 4851030"/>
              <a:gd name="connsiteY11" fmla="*/ 4742962 h 5081476"/>
              <a:gd name="connsiteX12" fmla="*/ 40741 w 4851030"/>
              <a:gd name="connsiteY12" fmla="*/ 3679517 h 5081476"/>
              <a:gd name="connsiteX13" fmla="*/ 20371 w 4851030"/>
              <a:gd name="connsiteY13" fmla="*/ 2084351 h 5081476"/>
              <a:gd name="connsiteX14" fmla="*/ 0 w 4851030"/>
              <a:gd name="connsiteY14" fmla="*/ 1552629 h 5081476"/>
              <a:gd name="connsiteX15" fmla="*/ 20371 w 4851030"/>
              <a:gd name="connsiteY15" fmla="*/ 723142 h 5081476"/>
              <a:gd name="connsiteX16" fmla="*/ 30551 w 4851030"/>
              <a:gd name="connsiteY16" fmla="*/ 457275 h 5081476"/>
              <a:gd name="connsiteX17" fmla="*/ 71291 w 4851030"/>
              <a:gd name="connsiteY17" fmla="*/ 74435 h 5081476"/>
              <a:gd name="connsiteX18" fmla="*/ 2261085 w 4851030"/>
              <a:gd name="connsiteY18" fmla="*/ 42537 h 5081476"/>
              <a:gd name="connsiteX19" fmla="*/ 3554584 w 4851030"/>
              <a:gd name="connsiteY19" fmla="*/ 31898 h 5081476"/>
              <a:gd name="connsiteX20" fmla="*/ 4603651 w 4851030"/>
              <a:gd name="connsiteY20" fmla="*/ 0 h 50814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4851030" h="5081476">
                <a:moveTo>
                  <a:pt x="4603651" y="0"/>
                </a:moveTo>
                <a:cubicBezTo>
                  <a:pt x="4868463" y="0"/>
                  <a:pt x="4827723" y="340302"/>
                  <a:pt x="4827723" y="669963"/>
                </a:cubicBezTo>
                <a:cubicBezTo>
                  <a:pt x="4817532" y="1148520"/>
                  <a:pt x="4858273" y="1616435"/>
                  <a:pt x="4837903" y="2094980"/>
                </a:cubicBezTo>
                <a:cubicBezTo>
                  <a:pt x="4827723" y="2445922"/>
                  <a:pt x="4858273" y="2818122"/>
                  <a:pt x="4848093" y="3169064"/>
                </a:cubicBezTo>
                <a:cubicBezTo>
                  <a:pt x="4837903" y="3413650"/>
                  <a:pt x="4858273" y="3668878"/>
                  <a:pt x="4848093" y="3913475"/>
                </a:cubicBezTo>
                <a:cubicBezTo>
                  <a:pt x="4837903" y="4158061"/>
                  <a:pt x="4858273" y="4519633"/>
                  <a:pt x="4817532" y="4838667"/>
                </a:cubicBezTo>
                <a:cubicBezTo>
                  <a:pt x="4797162" y="4966279"/>
                  <a:pt x="4613831" y="4987548"/>
                  <a:pt x="4471241" y="5008818"/>
                </a:cubicBezTo>
                <a:cubicBezTo>
                  <a:pt x="4389759" y="5019457"/>
                  <a:pt x="4236989" y="4998188"/>
                  <a:pt x="4114767" y="5019457"/>
                </a:cubicBezTo>
                <a:cubicBezTo>
                  <a:pt x="4023097" y="5040726"/>
                  <a:pt x="3849956" y="5072624"/>
                  <a:pt x="3748105" y="5072624"/>
                </a:cubicBezTo>
                <a:cubicBezTo>
                  <a:pt x="2709228" y="5104533"/>
                  <a:pt x="2199975" y="5040726"/>
                  <a:pt x="998137" y="5030086"/>
                </a:cubicBezTo>
                <a:cubicBezTo>
                  <a:pt x="886096" y="5030086"/>
                  <a:pt x="733325" y="5030086"/>
                  <a:pt x="488884" y="4976920"/>
                </a:cubicBezTo>
                <a:cubicBezTo>
                  <a:pt x="264812" y="4934382"/>
                  <a:pt x="152771" y="4976920"/>
                  <a:pt x="81481" y="4742962"/>
                </a:cubicBezTo>
                <a:cubicBezTo>
                  <a:pt x="20371" y="4551542"/>
                  <a:pt x="50920" y="3924104"/>
                  <a:pt x="40741" y="3679517"/>
                </a:cubicBezTo>
                <a:cubicBezTo>
                  <a:pt x="20371" y="3126526"/>
                  <a:pt x="20371" y="2743686"/>
                  <a:pt x="20371" y="2084351"/>
                </a:cubicBezTo>
                <a:lnTo>
                  <a:pt x="0" y="1552629"/>
                </a:lnTo>
                <a:cubicBezTo>
                  <a:pt x="50920" y="1254863"/>
                  <a:pt x="-30560" y="1031534"/>
                  <a:pt x="20371" y="723142"/>
                </a:cubicBezTo>
                <a:cubicBezTo>
                  <a:pt x="30551" y="616798"/>
                  <a:pt x="30551" y="627426"/>
                  <a:pt x="30551" y="457275"/>
                </a:cubicBezTo>
                <a:cubicBezTo>
                  <a:pt x="30551" y="393469"/>
                  <a:pt x="-31630" y="221930"/>
                  <a:pt x="71291" y="74435"/>
                </a:cubicBezTo>
                <a:cubicBezTo>
                  <a:pt x="358675" y="-52826"/>
                  <a:pt x="1476830" y="42537"/>
                  <a:pt x="2261085" y="42537"/>
                </a:cubicBezTo>
                <a:cubicBezTo>
                  <a:pt x="2658297" y="42537"/>
                  <a:pt x="3167551" y="21269"/>
                  <a:pt x="3554584" y="31898"/>
                </a:cubicBezTo>
                <a:cubicBezTo>
                  <a:pt x="3676805" y="42537"/>
                  <a:pt x="4481430" y="0"/>
                  <a:pt x="4603651" y="0"/>
                </a:cubicBezTo>
                <a:close/>
              </a:path>
            </a:pathLst>
          </a:custGeom>
          <a:noFill/>
          <a:ln w="19050">
            <a:noFill/>
          </a:ln>
        </p:spPr>
      </p:pic>
      <p:pic>
        <p:nvPicPr>
          <p:cNvPr id="2" name="Picture 12" descr="Con Lifeed trasformi le esperienze di vita in benessere per la tua azienda">
            <a:extLst>
              <a:ext uri="{FF2B5EF4-FFF2-40B4-BE49-F238E27FC236}">
                <a16:creationId xmlns:a16="http://schemas.microsoft.com/office/drawing/2014/main" id="{A9EB3ED0-2E2C-61AF-3C53-90A78432D7BC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0290" b="4980"/>
          <a:stretch/>
        </p:blipFill>
        <p:spPr bwMode="auto">
          <a:xfrm>
            <a:off x="592861" y="5712137"/>
            <a:ext cx="1381434" cy="4797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8014869B-6BB4-5453-0FFA-154783B0349D}"/>
              </a:ext>
            </a:extLst>
          </p:cNvPr>
          <p:cNvSpPr txBox="1"/>
          <p:nvPr/>
        </p:nvSpPr>
        <p:spPr>
          <a:xfrm>
            <a:off x="1958485" y="5737418"/>
            <a:ext cx="3819526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200" b="0" i="0" u="none" strike="noStrike" kern="1200" cap="none" spc="0" normalizeH="0" baseline="0" noProof="0" dirty="0">
                <a:ln>
                  <a:noFill/>
                </a:ln>
                <a:solidFill>
                  <a:srgbClr val="E85B0D"/>
                </a:solidFill>
                <a:effectLst/>
                <a:uLnTx/>
                <a:uFillTx/>
                <a:latin typeface="MDLZ BITE TYPE"/>
                <a:ea typeface="+mn-ea"/>
                <a:cs typeface="+mn-cs"/>
              </a:rPr>
              <a:t>Trasformare Le transizioni di vita – come la genitorialità, in opportunità di crescita</a:t>
            </a:r>
            <a:endParaRPr kumimoji="0" lang="it-IT" sz="600" b="0" i="0" u="none" strike="noStrike" kern="1200" cap="none" spc="0" normalizeH="0" baseline="0" noProof="0" dirty="0">
              <a:ln>
                <a:noFill/>
              </a:ln>
              <a:solidFill>
                <a:srgbClr val="E85B0D"/>
              </a:solidFill>
              <a:effectLst/>
              <a:uLnTx/>
              <a:uFillTx/>
              <a:latin typeface="MDLZ BITE TYPE"/>
              <a:ea typeface="+mn-ea"/>
              <a:cs typeface="+mn-cs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8D65C4FC-6CF2-327F-CF19-8C4E35211D39}"/>
              </a:ext>
            </a:extLst>
          </p:cNvPr>
          <p:cNvSpPr txBox="1"/>
          <p:nvPr/>
        </p:nvSpPr>
        <p:spPr>
          <a:xfrm>
            <a:off x="6493519" y="2218517"/>
            <a:ext cx="5314039" cy="116955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2065" marR="156845" lvl="0" indent="0" algn="ctr" defTabSz="914400" rtl="0" eaLnBrk="1" fontAlgn="auto" latinLnBrk="0" hangingPunct="1">
              <a:lnSpc>
                <a:spcPct val="100000"/>
              </a:lnSpc>
              <a:spcBef>
                <a:spcPts val="95"/>
              </a:spcBef>
              <a:spcAft>
                <a:spcPts val="0"/>
              </a:spcAft>
              <a:buClr>
                <a:srgbClr val="666666"/>
              </a:buClr>
              <a:buSzPct val="68750"/>
              <a:buFontTx/>
              <a:buNone/>
              <a:tabLst>
                <a:tab pos="344805" algn="l"/>
                <a:tab pos="345440" algn="l"/>
              </a:tabLst>
              <a:defRPr/>
            </a:pPr>
            <a:r>
              <a:rPr kumimoji="0" lang="it-IT" sz="1400" b="0" i="0" u="none" strike="noStrike" kern="0" cap="none" spc="-10" normalizeH="0" baseline="0" noProof="0" dirty="0">
                <a:ln>
                  <a:noFill/>
                </a:ln>
                <a:solidFill>
                  <a:srgbClr val="73A769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Programma</a:t>
            </a:r>
            <a:r>
              <a:rPr kumimoji="0" lang="it-IT" sz="1400" b="0" i="0" u="none" strike="noStrike" kern="0" cap="none" spc="-35" normalizeH="0" baseline="0" noProof="0" dirty="0">
                <a:ln>
                  <a:noFill/>
                </a:ln>
                <a:solidFill>
                  <a:srgbClr val="73A769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lang="it-IT" sz="1400" b="0" i="0" u="none" strike="noStrike" kern="0" cap="none" spc="-25" normalizeH="0" baseline="0" noProof="0" dirty="0">
                <a:ln>
                  <a:noFill/>
                </a:ln>
                <a:solidFill>
                  <a:srgbClr val="73A769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di </a:t>
            </a:r>
            <a:r>
              <a:rPr kumimoji="0" lang="it-IT" sz="1400" b="0" i="0" u="none" strike="noStrike" kern="0" cap="none" spc="-10" normalizeH="0" baseline="0" noProof="0" dirty="0">
                <a:ln>
                  <a:noFill/>
                </a:ln>
                <a:solidFill>
                  <a:srgbClr val="73A769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assistenza</a:t>
            </a:r>
            <a:r>
              <a:rPr kumimoji="0" lang="it-IT" sz="1400" b="0" i="0" u="none" strike="noStrike" kern="0" cap="none" spc="-50" normalizeH="0" baseline="0" noProof="0" dirty="0">
                <a:ln>
                  <a:noFill/>
                </a:ln>
                <a:solidFill>
                  <a:srgbClr val="73A769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lang="it-IT" sz="1400" b="1" i="0" u="none" strike="noStrike" kern="0" cap="none" spc="-50" normalizeH="0" baseline="0" noProof="0" dirty="0">
                <a:ln>
                  <a:noFill/>
                </a:ln>
                <a:solidFill>
                  <a:srgbClr val="73A769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gratuito</a:t>
            </a:r>
            <a:r>
              <a:rPr kumimoji="0" lang="it-IT" sz="1400" b="0" i="0" u="none" strike="noStrike" kern="0" cap="none" spc="-50" normalizeH="0" baseline="0" noProof="0" dirty="0">
                <a:ln>
                  <a:noFill/>
                </a:ln>
                <a:solidFill>
                  <a:srgbClr val="73A769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lang="it-IT" sz="1400" b="0" i="0" u="none" strike="noStrike" kern="0" cap="none" spc="0" normalizeH="0" baseline="0" noProof="0" dirty="0">
                <a:ln>
                  <a:noFill/>
                </a:ln>
                <a:solidFill>
                  <a:srgbClr val="73A769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per</a:t>
            </a:r>
            <a:r>
              <a:rPr kumimoji="0" lang="it-IT" sz="1400" b="0" i="0" u="none" strike="noStrike" kern="0" cap="none" spc="-10" normalizeH="0" baseline="0" noProof="0" dirty="0">
                <a:ln>
                  <a:noFill/>
                </a:ln>
                <a:solidFill>
                  <a:srgbClr val="73A769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dipendenti</a:t>
            </a:r>
            <a:r>
              <a:rPr kumimoji="0" lang="it-IT" sz="1400" b="0" i="0" u="none" strike="noStrike" kern="0" cap="none" spc="-45" normalizeH="0" baseline="0" noProof="0" dirty="0">
                <a:ln>
                  <a:noFill/>
                </a:ln>
                <a:solidFill>
                  <a:srgbClr val="73A769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e familiari diretti mirato a </a:t>
            </a:r>
            <a:r>
              <a:rPr kumimoji="0" lang="it-IT" sz="1400" b="1" i="0" u="none" strike="noStrike" kern="0" cap="none" spc="-45" normalizeH="0" baseline="0" noProof="0" dirty="0">
                <a:ln>
                  <a:noFill/>
                </a:ln>
                <a:solidFill>
                  <a:srgbClr val="73A769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richiedere ed ottenere </a:t>
            </a:r>
            <a:r>
              <a:rPr kumimoji="0" lang="it-IT" sz="1400" b="1" i="0" u="none" strike="noStrike" kern="0" cap="none" spc="0" normalizeH="0" baseline="0" noProof="0" dirty="0">
                <a:ln>
                  <a:noFill/>
                </a:ln>
                <a:solidFill>
                  <a:srgbClr val="73A769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supporto</a:t>
            </a:r>
            <a:r>
              <a:rPr kumimoji="0" lang="it-IT" sz="1400" b="1" i="0" u="none" strike="noStrike" kern="0" cap="none" spc="-25" normalizeH="0" baseline="0" noProof="0" dirty="0">
                <a:ln>
                  <a:noFill/>
                </a:ln>
                <a:solidFill>
                  <a:srgbClr val="73A769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lang="it-IT" sz="1400" b="0" i="0" u="none" strike="noStrike" kern="0" cap="none" spc="-10" normalizeH="0" baseline="0" noProof="0" dirty="0">
                <a:ln>
                  <a:noFill/>
                </a:ln>
                <a:solidFill>
                  <a:srgbClr val="73A769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riguardo</a:t>
            </a:r>
            <a:r>
              <a:rPr kumimoji="0" lang="it-IT" sz="1400" b="0" i="0" u="none" strike="noStrike" kern="0" cap="none" spc="-35" normalizeH="0" baseline="0" noProof="0" dirty="0">
                <a:ln>
                  <a:noFill/>
                </a:ln>
                <a:solidFill>
                  <a:srgbClr val="73A769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lang="it-IT" sz="1400" b="0" i="0" u="none" strike="noStrike" kern="0" cap="none" spc="0" normalizeH="0" baseline="0" noProof="0" dirty="0">
                <a:ln>
                  <a:noFill/>
                </a:ln>
                <a:solidFill>
                  <a:srgbClr val="73A769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ad</a:t>
            </a:r>
            <a:r>
              <a:rPr kumimoji="0" lang="it-IT" sz="1400" b="0" i="0" u="none" strike="noStrike" kern="0" cap="none" spc="-35" normalizeH="0" baseline="0" noProof="0" dirty="0">
                <a:ln>
                  <a:noFill/>
                </a:ln>
                <a:solidFill>
                  <a:srgbClr val="73A769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lang="it-IT" sz="1400" b="0" i="0" u="none" strike="noStrike" kern="0" cap="none" spc="0" normalizeH="0" baseline="0" noProof="0" dirty="0">
                <a:ln>
                  <a:noFill/>
                </a:ln>
                <a:solidFill>
                  <a:srgbClr val="73A769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una</a:t>
            </a:r>
            <a:r>
              <a:rPr kumimoji="0" lang="it-IT" sz="1400" b="0" i="0" u="none" strike="noStrike" kern="0" cap="none" spc="-45" normalizeH="0" baseline="0" noProof="0" dirty="0">
                <a:ln>
                  <a:noFill/>
                </a:ln>
                <a:solidFill>
                  <a:srgbClr val="73A769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lang="it-IT" sz="1400" b="0" i="0" u="none" strike="noStrike" kern="0" cap="none" spc="0" normalizeH="0" baseline="0" noProof="0" dirty="0">
                <a:ln>
                  <a:noFill/>
                </a:ln>
                <a:solidFill>
                  <a:srgbClr val="73A769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serie</a:t>
            </a:r>
            <a:r>
              <a:rPr kumimoji="0" lang="it-IT" sz="1400" b="0" i="0" u="none" strike="noStrike" kern="0" cap="none" spc="-20" normalizeH="0" baseline="0" noProof="0" dirty="0">
                <a:ln>
                  <a:noFill/>
                </a:ln>
                <a:solidFill>
                  <a:srgbClr val="73A769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lang="it-IT" sz="1400" b="0" i="0" u="none" strike="noStrike" kern="0" cap="none" spc="0" normalizeH="0" baseline="0" noProof="0" dirty="0">
                <a:ln>
                  <a:noFill/>
                </a:ln>
                <a:solidFill>
                  <a:srgbClr val="73A769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di</a:t>
            </a:r>
            <a:r>
              <a:rPr kumimoji="0" lang="it-IT" sz="1400" b="0" i="0" u="none" strike="noStrike" kern="0" cap="none" spc="-45" normalizeH="0" baseline="0" noProof="0" dirty="0">
                <a:ln>
                  <a:noFill/>
                </a:ln>
                <a:solidFill>
                  <a:srgbClr val="73A769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lang="it-IT" sz="1400" b="0" i="0" u="none" strike="noStrike" kern="0" cap="none" spc="-10" normalizeH="0" baseline="0" noProof="0" dirty="0">
                <a:ln>
                  <a:noFill/>
                </a:ln>
                <a:solidFill>
                  <a:srgbClr val="73A769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argomenti:</a:t>
            </a:r>
            <a:r>
              <a:rPr kumimoji="0" lang="it-IT" sz="1400" b="0" i="0" u="none" strike="noStrike" kern="0" cap="none" spc="-35" normalizeH="0" baseline="0" noProof="0" dirty="0">
                <a:ln>
                  <a:noFill/>
                </a:ln>
                <a:solidFill>
                  <a:srgbClr val="73A769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lang="it-IT" sz="1400" b="0" i="0" u="none" strike="noStrike" kern="0" cap="none" spc="-10" normalizeH="0" baseline="0" noProof="0" dirty="0">
                <a:ln>
                  <a:noFill/>
                </a:ln>
                <a:solidFill>
                  <a:srgbClr val="73A769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genitorialità,</a:t>
            </a:r>
            <a:r>
              <a:rPr kumimoji="0" lang="it-IT" sz="1400" b="0" i="0" u="none" strike="noStrike" kern="0" cap="none" spc="-55" normalizeH="0" baseline="0" noProof="0" dirty="0">
                <a:ln>
                  <a:noFill/>
                </a:ln>
                <a:solidFill>
                  <a:srgbClr val="73A769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lang="it-IT" sz="1400" b="0" i="0" u="none" strike="noStrike" kern="0" cap="none" spc="-20" normalizeH="0" baseline="0" noProof="0" dirty="0">
                <a:ln>
                  <a:noFill/>
                </a:ln>
                <a:solidFill>
                  <a:srgbClr val="73A769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cura </a:t>
            </a:r>
            <a:r>
              <a:rPr kumimoji="0" lang="it-IT" sz="1400" b="0" i="0" u="none" strike="noStrike" kern="0" cap="none" spc="0" normalizeH="0" baseline="0" noProof="0" dirty="0">
                <a:ln>
                  <a:noFill/>
                </a:ln>
                <a:solidFill>
                  <a:srgbClr val="73A769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dei</a:t>
            </a:r>
            <a:r>
              <a:rPr kumimoji="0" lang="it-IT" sz="1400" b="0" i="0" u="none" strike="noStrike" kern="0" cap="none" spc="-50" normalizeH="0" baseline="0" noProof="0" dirty="0">
                <a:ln>
                  <a:noFill/>
                </a:ln>
                <a:solidFill>
                  <a:srgbClr val="73A769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lang="it-IT" sz="1400" b="0" i="0" u="none" strike="noStrike" kern="0" cap="none" spc="-10" normalizeH="0" baseline="0" noProof="0" dirty="0">
                <a:ln>
                  <a:noFill/>
                </a:ln>
                <a:solidFill>
                  <a:srgbClr val="73A769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bambini, cura</a:t>
            </a:r>
            <a:r>
              <a:rPr kumimoji="0" lang="it-IT" sz="1400" b="0" i="0" u="none" strike="noStrike" kern="0" cap="none" spc="-55" normalizeH="0" baseline="0" noProof="0" dirty="0">
                <a:ln>
                  <a:noFill/>
                </a:ln>
                <a:solidFill>
                  <a:srgbClr val="73A769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lang="it-IT" sz="1400" b="0" i="0" u="none" strike="noStrike" kern="0" cap="none" spc="0" normalizeH="0" baseline="0" noProof="0" dirty="0">
                <a:ln>
                  <a:noFill/>
                </a:ln>
                <a:solidFill>
                  <a:srgbClr val="73A769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degli</a:t>
            </a:r>
            <a:r>
              <a:rPr kumimoji="0" lang="it-IT" sz="1400" b="0" i="0" u="none" strike="noStrike" kern="0" cap="none" spc="-65" normalizeH="0" baseline="0" noProof="0" dirty="0">
                <a:ln>
                  <a:noFill/>
                </a:ln>
                <a:solidFill>
                  <a:srgbClr val="73A769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lang="it-IT" sz="1400" b="0" i="0" u="none" strike="noStrike" kern="0" cap="none" spc="0" normalizeH="0" baseline="0" noProof="0" dirty="0">
                <a:ln>
                  <a:noFill/>
                </a:ln>
                <a:solidFill>
                  <a:srgbClr val="73A769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anziani,</a:t>
            </a:r>
            <a:r>
              <a:rPr kumimoji="0" lang="it-IT" sz="1400" b="0" i="0" u="none" strike="noStrike" kern="0" cap="none" spc="-65" normalizeH="0" baseline="0" noProof="0" dirty="0">
                <a:ln>
                  <a:noFill/>
                </a:ln>
                <a:solidFill>
                  <a:srgbClr val="73A769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lang="it-IT" sz="1400" b="0" i="0" u="none" strike="noStrike" kern="0" cap="none" spc="-10" normalizeH="0" baseline="0" noProof="0" dirty="0">
                <a:ln>
                  <a:noFill/>
                </a:ln>
                <a:solidFill>
                  <a:srgbClr val="73A769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gestione</a:t>
            </a:r>
            <a:r>
              <a:rPr kumimoji="0" lang="it-IT" sz="1400" b="0" i="0" u="none" strike="noStrike" kern="0" cap="none" spc="-50" normalizeH="0" baseline="0" noProof="0" dirty="0">
                <a:ln>
                  <a:noFill/>
                </a:ln>
                <a:solidFill>
                  <a:srgbClr val="73A769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lang="it-IT" sz="1400" b="0" i="0" u="none" strike="noStrike" kern="0" cap="none" spc="0" normalizeH="0" baseline="0" noProof="0" dirty="0">
                <a:ln>
                  <a:noFill/>
                </a:ln>
                <a:solidFill>
                  <a:srgbClr val="73A769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dello</a:t>
            </a:r>
            <a:r>
              <a:rPr kumimoji="0" lang="it-IT" sz="1400" b="0" i="0" u="none" strike="noStrike" kern="0" cap="none" spc="-45" normalizeH="0" baseline="0" noProof="0" dirty="0">
                <a:ln>
                  <a:noFill/>
                </a:ln>
                <a:solidFill>
                  <a:srgbClr val="73A769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lang="it-IT" sz="1400" b="0" i="0" u="none" strike="noStrike" kern="0" cap="none" spc="0" normalizeH="0" baseline="0" noProof="0" dirty="0">
                <a:ln>
                  <a:noFill/>
                </a:ln>
                <a:solidFill>
                  <a:srgbClr val="73A769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stress,</a:t>
            </a:r>
            <a:r>
              <a:rPr kumimoji="0" lang="it-IT" sz="1400" b="0" i="0" u="none" strike="noStrike" kern="0" cap="none" spc="-30" normalizeH="0" baseline="0" noProof="0" dirty="0">
                <a:ln>
                  <a:noFill/>
                </a:ln>
                <a:solidFill>
                  <a:srgbClr val="73A769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lang="it-IT" sz="1400" b="0" i="0" u="none" strike="noStrike" kern="0" cap="none" spc="-10" normalizeH="0" baseline="0" noProof="0" dirty="0">
                <a:ln>
                  <a:noFill/>
                </a:ln>
                <a:solidFill>
                  <a:srgbClr val="73A769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supporto </a:t>
            </a:r>
            <a:r>
              <a:rPr kumimoji="0" lang="it-IT" sz="1400" b="0" i="0" u="none" strike="noStrike" kern="0" cap="none" spc="0" normalizeH="0" baseline="0" noProof="0" dirty="0">
                <a:ln>
                  <a:noFill/>
                </a:ln>
                <a:solidFill>
                  <a:srgbClr val="73A769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per</a:t>
            </a:r>
            <a:r>
              <a:rPr kumimoji="0" lang="it-IT" sz="1400" b="0" i="0" u="none" strike="noStrike" kern="0" cap="none" spc="-5" normalizeH="0" baseline="0" noProof="0" dirty="0">
                <a:ln>
                  <a:noFill/>
                </a:ln>
                <a:solidFill>
                  <a:srgbClr val="73A769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lang="it-IT" sz="1400" b="0" i="0" u="none" strike="noStrike" kern="0" cap="none" spc="0" normalizeH="0" baseline="0" noProof="0" dirty="0">
                <a:ln>
                  <a:noFill/>
                </a:ln>
                <a:solidFill>
                  <a:srgbClr val="73A769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la</a:t>
            </a:r>
            <a:r>
              <a:rPr kumimoji="0" lang="it-IT" sz="1400" b="0" i="0" u="none" strike="noStrike" kern="0" cap="none" spc="-40" normalizeH="0" baseline="0" noProof="0" dirty="0">
                <a:ln>
                  <a:noFill/>
                </a:ln>
                <a:solidFill>
                  <a:srgbClr val="73A769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lang="it-IT" sz="1400" b="0" i="0" u="none" strike="noStrike" kern="0" cap="none" spc="-10" normalizeH="0" baseline="0" noProof="0" dirty="0">
                <a:ln>
                  <a:noFill/>
                </a:ln>
                <a:solidFill>
                  <a:srgbClr val="73A769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gestione</a:t>
            </a:r>
            <a:r>
              <a:rPr kumimoji="0" lang="it-IT" sz="1400" b="0" i="0" u="none" strike="noStrike" kern="0" cap="none" spc="-15" normalizeH="0" baseline="0" noProof="0" dirty="0">
                <a:ln>
                  <a:noFill/>
                </a:ln>
                <a:solidFill>
                  <a:srgbClr val="73A769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lang="it-IT" sz="1400" b="0" i="0" u="none" strike="noStrike" kern="0" cap="none" spc="0" normalizeH="0" baseline="0" noProof="0" dirty="0">
                <a:ln>
                  <a:noFill/>
                </a:ln>
                <a:solidFill>
                  <a:srgbClr val="73A769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di</a:t>
            </a:r>
            <a:r>
              <a:rPr kumimoji="0" lang="it-IT" sz="1400" b="0" i="0" u="none" strike="noStrike" kern="0" cap="none" spc="-25" normalizeH="0" baseline="0" noProof="0" dirty="0">
                <a:ln>
                  <a:noFill/>
                </a:ln>
                <a:solidFill>
                  <a:srgbClr val="73A769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lang="it-IT" sz="1400" b="0" i="0" u="none" strike="noStrike" kern="0" cap="none" spc="-10" normalizeH="0" baseline="0" noProof="0" dirty="0">
                <a:ln>
                  <a:noFill/>
                </a:ln>
                <a:solidFill>
                  <a:srgbClr val="73A769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pratiche</a:t>
            </a:r>
            <a:r>
              <a:rPr kumimoji="0" lang="it-IT" sz="1400" b="0" i="0" u="none" strike="noStrike" kern="0" cap="none" spc="-25" normalizeH="0" baseline="0" noProof="0" dirty="0">
                <a:ln>
                  <a:noFill/>
                </a:ln>
                <a:solidFill>
                  <a:srgbClr val="73A769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lang="it-IT" sz="1400" b="0" i="0" u="none" strike="noStrike" kern="0" cap="none" spc="-10" normalizeH="0" baseline="0" noProof="0" dirty="0">
                <a:ln>
                  <a:noFill/>
                </a:ln>
                <a:solidFill>
                  <a:srgbClr val="73A769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legali</a:t>
            </a:r>
            <a:r>
              <a:rPr kumimoji="0" lang="it-IT" sz="1400" b="0" i="0" u="none" strike="noStrike" kern="0" cap="none" spc="-50" normalizeH="0" baseline="0" noProof="0" dirty="0">
                <a:ln>
                  <a:noFill/>
                </a:ln>
                <a:solidFill>
                  <a:srgbClr val="73A769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lang="it-IT" sz="1400" b="0" i="0" u="none" strike="noStrike" kern="0" cap="none" spc="0" normalizeH="0" baseline="0" noProof="0" dirty="0">
                <a:ln>
                  <a:noFill/>
                </a:ln>
                <a:solidFill>
                  <a:srgbClr val="73A769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e</a:t>
            </a:r>
            <a:r>
              <a:rPr kumimoji="0" lang="it-IT" sz="1400" b="0" i="0" u="none" strike="noStrike" kern="0" cap="none" spc="-10" normalizeH="0" baseline="0" noProof="0" dirty="0">
                <a:ln>
                  <a:noFill/>
                </a:ln>
                <a:solidFill>
                  <a:srgbClr val="73A769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finanziarie,</a:t>
            </a:r>
            <a:r>
              <a:rPr kumimoji="0" lang="it-IT" sz="1400" b="0" i="0" u="none" strike="noStrike" kern="0" cap="none" spc="-40" normalizeH="0" baseline="0" noProof="0" dirty="0">
                <a:ln>
                  <a:noFill/>
                </a:ln>
                <a:solidFill>
                  <a:srgbClr val="73A769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lang="it-IT" sz="1400" b="0" i="0" u="none" strike="noStrike" kern="0" cap="none" spc="0" normalizeH="0" baseline="0" noProof="0" dirty="0">
                <a:ln>
                  <a:noFill/>
                </a:ln>
                <a:solidFill>
                  <a:srgbClr val="73A769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servizio</a:t>
            </a:r>
            <a:r>
              <a:rPr kumimoji="0" lang="it-IT" sz="1400" b="0" i="0" u="none" strike="noStrike" kern="0" cap="none" spc="5" normalizeH="0" baseline="0" noProof="0" dirty="0">
                <a:ln>
                  <a:noFill/>
                </a:ln>
                <a:solidFill>
                  <a:srgbClr val="73A769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lang="it-IT" sz="1400" b="0" i="0" u="none" strike="noStrike" kern="0" cap="none" spc="-25" normalizeH="0" baseline="0" noProof="0" dirty="0">
                <a:ln>
                  <a:noFill/>
                </a:ln>
                <a:solidFill>
                  <a:srgbClr val="73A769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di </a:t>
            </a:r>
            <a:r>
              <a:rPr kumimoji="0" lang="it-IT" sz="1400" b="0" i="0" u="none" strike="noStrike" kern="0" cap="none" spc="-10" normalizeH="0" baseline="0" noProof="0" dirty="0">
                <a:ln>
                  <a:noFill/>
                </a:ln>
                <a:solidFill>
                  <a:srgbClr val="73A769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counseling</a:t>
            </a:r>
            <a:r>
              <a:rPr kumimoji="0" lang="it-IT" sz="1400" b="0" i="0" u="none" strike="noStrike" kern="0" cap="none" spc="-60" normalizeH="0" baseline="0" noProof="0" dirty="0">
                <a:ln>
                  <a:noFill/>
                </a:ln>
                <a:solidFill>
                  <a:srgbClr val="73A769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lang="it-IT" sz="1400" b="0" i="0" u="none" strike="noStrike" kern="0" cap="none" spc="0" normalizeH="0" baseline="0" noProof="0" dirty="0">
                <a:ln>
                  <a:noFill/>
                </a:ln>
                <a:solidFill>
                  <a:srgbClr val="73A769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e</a:t>
            </a:r>
            <a:r>
              <a:rPr kumimoji="0" lang="it-IT" sz="1400" b="0" i="0" u="none" strike="noStrike" kern="0" cap="none" spc="-30" normalizeH="0" baseline="0" noProof="0" dirty="0">
                <a:ln>
                  <a:noFill/>
                </a:ln>
                <a:solidFill>
                  <a:srgbClr val="73A769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lang="it-IT" sz="1400" b="0" i="0" u="none" strike="noStrike" kern="0" cap="none" spc="0" normalizeH="0" baseline="0" noProof="0" dirty="0">
                <a:ln>
                  <a:noFill/>
                </a:ln>
                <a:solidFill>
                  <a:srgbClr val="73A769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supporto</a:t>
            </a:r>
            <a:r>
              <a:rPr kumimoji="0" lang="it-IT" sz="1400" b="0" i="0" u="none" strike="noStrike" kern="0" cap="none" spc="-25" normalizeH="0" baseline="0" noProof="0" dirty="0">
                <a:ln>
                  <a:noFill/>
                </a:ln>
                <a:solidFill>
                  <a:srgbClr val="73A769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lang="it-IT" sz="1400" b="0" i="0" u="none" strike="noStrike" kern="0" cap="none" spc="-10" normalizeH="0" baseline="0" noProof="0" dirty="0">
                <a:ln>
                  <a:noFill/>
                </a:ln>
                <a:solidFill>
                  <a:srgbClr val="73A769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psicologico</a:t>
            </a:r>
            <a:r>
              <a:rPr kumimoji="0" lang="it-IT" sz="1400" b="0" i="0" u="none" strike="noStrike" kern="0" cap="none" spc="-40" normalizeH="0" baseline="0" noProof="0" dirty="0">
                <a:ln>
                  <a:noFill/>
                </a:ln>
                <a:solidFill>
                  <a:srgbClr val="73A769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lang="it-IT" sz="1400" b="0" i="0" u="none" strike="noStrike" kern="0" cap="none" spc="-10" normalizeH="0" baseline="0" noProof="0" dirty="0">
                <a:ln>
                  <a:noFill/>
                </a:ln>
                <a:solidFill>
                  <a:srgbClr val="73A769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personalizzato</a:t>
            </a:r>
            <a:endParaRPr kumimoji="0" lang="it-IT" sz="1400" b="0" i="0" u="none" strike="noStrike" kern="0" cap="none" spc="0" normalizeH="0" baseline="0" noProof="0" dirty="0">
              <a:ln>
                <a:noFill/>
              </a:ln>
              <a:solidFill>
                <a:srgbClr val="73A769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645628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>
            <a:extLst>
              <a:ext uri="{FF2B5EF4-FFF2-40B4-BE49-F238E27FC236}">
                <a16:creationId xmlns:a16="http://schemas.microsoft.com/office/drawing/2014/main" id="{E02CCC24-39AC-16E0-7A47-02C584589BB4}"/>
              </a:ext>
            </a:extLst>
          </p:cNvPr>
          <p:cNvSpPr txBox="1">
            <a:spLocks/>
          </p:cNvSpPr>
          <p:nvPr/>
        </p:nvSpPr>
        <p:spPr>
          <a:xfrm>
            <a:off x="3401382" y="369249"/>
            <a:ext cx="6154098" cy="485335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3600" b="0" kern="1200" cap="all" baseline="0">
                <a:solidFill>
                  <a:srgbClr val="E18719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0" b="0" i="0" u="none" strike="noStrike" kern="1200" cap="all" spc="0" normalizeH="0" baseline="0" noProof="0" dirty="0">
                <a:ln>
                  <a:noFill/>
                </a:ln>
                <a:solidFill>
                  <a:srgbClr val="E18719"/>
                </a:solidFill>
                <a:uLnTx/>
                <a:uFillTx/>
                <a:latin typeface="MDLZ BITE TYPE"/>
                <a:ea typeface="+mj-ea"/>
                <a:cs typeface="+mj-cs"/>
              </a:rPr>
              <a:t>Workplace of the future</a:t>
            </a:r>
          </a:p>
        </p:txBody>
      </p:sp>
      <p:pic>
        <p:nvPicPr>
          <p:cNvPr id="9" name="Picture 8" descr="A picture containing text, clock&#10;&#10;Description automatically generated">
            <a:extLst>
              <a:ext uri="{FF2B5EF4-FFF2-40B4-BE49-F238E27FC236}">
                <a16:creationId xmlns:a16="http://schemas.microsoft.com/office/drawing/2014/main" id="{D5BBCD15-BB1A-C82F-F8E4-EA03410DDD39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5480" t="5375" r="4099" b="995"/>
          <a:stretch/>
        </p:blipFill>
        <p:spPr>
          <a:xfrm rot="541520">
            <a:off x="9786077" y="118149"/>
            <a:ext cx="1634558" cy="1624846"/>
          </a:xfrm>
          <a:prstGeom prst="ellipse">
            <a:avLst/>
          </a:prstGeom>
        </p:spPr>
      </p:pic>
      <p:sp>
        <p:nvSpPr>
          <p:cNvPr id="10" name="Graphic 2">
            <a:extLst>
              <a:ext uri="{FF2B5EF4-FFF2-40B4-BE49-F238E27FC236}">
                <a16:creationId xmlns:a16="http://schemas.microsoft.com/office/drawing/2014/main" id="{15AC6A70-A962-7BE4-E9F7-2A457958B050}"/>
              </a:ext>
            </a:extLst>
          </p:cNvPr>
          <p:cNvSpPr/>
          <p:nvPr/>
        </p:nvSpPr>
        <p:spPr>
          <a:xfrm>
            <a:off x="349166" y="1472184"/>
            <a:ext cx="11493667" cy="5303520"/>
          </a:xfrm>
          <a:custGeom>
            <a:avLst/>
            <a:gdLst>
              <a:gd name="connsiteX0" fmla="*/ 7391400 w 7391400"/>
              <a:gd name="connsiteY0" fmla="*/ 45500 h 473512"/>
              <a:gd name="connsiteX1" fmla="*/ 7364837 w 7391400"/>
              <a:gd name="connsiteY1" fmla="*/ 40495 h 473512"/>
              <a:gd name="connsiteX2" fmla="*/ 6945606 w 7391400"/>
              <a:gd name="connsiteY2" fmla="*/ 20862 h 473512"/>
              <a:gd name="connsiteX3" fmla="*/ 5507363 w 7391400"/>
              <a:gd name="connsiteY3" fmla="*/ 50889 h 473512"/>
              <a:gd name="connsiteX4" fmla="*/ 4159587 w 7391400"/>
              <a:gd name="connsiteY4" fmla="*/ 73 h 473512"/>
              <a:gd name="connsiteX5" fmla="*/ 1666530 w 7391400"/>
              <a:gd name="connsiteY5" fmla="*/ 30486 h 473512"/>
              <a:gd name="connsiteX6" fmla="*/ 498535 w 7391400"/>
              <a:gd name="connsiteY6" fmla="*/ 31256 h 473512"/>
              <a:gd name="connsiteX7" fmla="*/ 169771 w 7391400"/>
              <a:gd name="connsiteY7" fmla="*/ 17012 h 473512"/>
              <a:gd name="connsiteX8" fmla="*/ 0 w 7391400"/>
              <a:gd name="connsiteY8" fmla="*/ 28561 h 473512"/>
              <a:gd name="connsiteX9" fmla="*/ 0 w 7391400"/>
              <a:gd name="connsiteY9" fmla="*/ 421614 h 473512"/>
              <a:gd name="connsiteX10" fmla="*/ 52741 w 7391400"/>
              <a:gd name="connsiteY10" fmla="*/ 433163 h 473512"/>
              <a:gd name="connsiteX11" fmla="*/ 471972 w 7391400"/>
              <a:gd name="connsiteY11" fmla="*/ 452797 h 473512"/>
              <a:gd name="connsiteX12" fmla="*/ 1910215 w 7391400"/>
              <a:gd name="connsiteY12" fmla="*/ 422769 h 473512"/>
              <a:gd name="connsiteX13" fmla="*/ 3257991 w 7391400"/>
              <a:gd name="connsiteY13" fmla="*/ 473585 h 473512"/>
              <a:gd name="connsiteX14" fmla="*/ 5750664 w 7391400"/>
              <a:gd name="connsiteY14" fmla="*/ 443173 h 473512"/>
              <a:gd name="connsiteX15" fmla="*/ 6918658 w 7391400"/>
              <a:gd name="connsiteY15" fmla="*/ 442403 h 473512"/>
              <a:gd name="connsiteX16" fmla="*/ 7247422 w 7391400"/>
              <a:gd name="connsiteY16" fmla="*/ 456262 h 473512"/>
              <a:gd name="connsiteX17" fmla="*/ 7391400 w 7391400"/>
              <a:gd name="connsiteY17" fmla="*/ 447792 h 473512"/>
              <a:gd name="connsiteX18" fmla="*/ 7391400 w 7391400"/>
              <a:gd name="connsiteY18" fmla="*/ 45500 h 4735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7391400" h="473512">
                <a:moveTo>
                  <a:pt x="7391400" y="45500"/>
                </a:moveTo>
                <a:cubicBezTo>
                  <a:pt x="7382931" y="43575"/>
                  <a:pt x="7374077" y="42035"/>
                  <a:pt x="7364837" y="40495"/>
                </a:cubicBezTo>
                <a:cubicBezTo>
                  <a:pt x="7248192" y="21246"/>
                  <a:pt x="7091125" y="20477"/>
                  <a:pt x="6945606" y="20862"/>
                </a:cubicBezTo>
                <a:cubicBezTo>
                  <a:pt x="6397411" y="21631"/>
                  <a:pt x="6055559" y="50889"/>
                  <a:pt x="5507363" y="50889"/>
                </a:cubicBezTo>
                <a:cubicBezTo>
                  <a:pt x="5113925" y="50889"/>
                  <a:pt x="4553796" y="-2237"/>
                  <a:pt x="4159587" y="73"/>
                </a:cubicBezTo>
                <a:cubicBezTo>
                  <a:pt x="3109393" y="5463"/>
                  <a:pt x="2715955" y="23171"/>
                  <a:pt x="1666530" y="30486"/>
                </a:cubicBezTo>
                <a:cubicBezTo>
                  <a:pt x="1497913" y="31641"/>
                  <a:pt x="665226" y="32411"/>
                  <a:pt x="498535" y="31256"/>
                </a:cubicBezTo>
                <a:cubicBezTo>
                  <a:pt x="393823" y="30486"/>
                  <a:pt x="269093" y="14702"/>
                  <a:pt x="169771" y="17012"/>
                </a:cubicBezTo>
                <a:cubicBezTo>
                  <a:pt x="100477" y="18552"/>
                  <a:pt x="44656" y="22401"/>
                  <a:pt x="0" y="28561"/>
                </a:cubicBezTo>
                <a:lnTo>
                  <a:pt x="0" y="421614"/>
                </a:lnTo>
                <a:cubicBezTo>
                  <a:pt x="16169" y="426234"/>
                  <a:pt x="33492" y="430084"/>
                  <a:pt x="52741" y="433163"/>
                </a:cubicBezTo>
                <a:cubicBezTo>
                  <a:pt x="169386" y="452412"/>
                  <a:pt x="326454" y="453182"/>
                  <a:pt x="471972" y="452797"/>
                </a:cubicBezTo>
                <a:cubicBezTo>
                  <a:pt x="1020167" y="452027"/>
                  <a:pt x="1362019" y="422769"/>
                  <a:pt x="1910215" y="422769"/>
                </a:cubicBezTo>
                <a:cubicBezTo>
                  <a:pt x="2303653" y="422769"/>
                  <a:pt x="2863783" y="475895"/>
                  <a:pt x="3257991" y="473585"/>
                </a:cubicBezTo>
                <a:cubicBezTo>
                  <a:pt x="4307801" y="468196"/>
                  <a:pt x="4701238" y="450102"/>
                  <a:pt x="5750664" y="443173"/>
                </a:cubicBezTo>
                <a:cubicBezTo>
                  <a:pt x="5919280" y="442018"/>
                  <a:pt x="6751967" y="441248"/>
                  <a:pt x="6918658" y="442403"/>
                </a:cubicBezTo>
                <a:cubicBezTo>
                  <a:pt x="7023370" y="443173"/>
                  <a:pt x="7148100" y="458571"/>
                  <a:pt x="7247422" y="456262"/>
                </a:cubicBezTo>
                <a:cubicBezTo>
                  <a:pt x="7304013" y="455107"/>
                  <a:pt x="7351748" y="452027"/>
                  <a:pt x="7391400" y="447792"/>
                </a:cubicBezTo>
                <a:lnTo>
                  <a:pt x="7391400" y="45500"/>
                </a:lnTo>
                <a:close/>
              </a:path>
            </a:pathLst>
          </a:custGeom>
          <a:solidFill>
            <a:srgbClr val="F3CFA3"/>
          </a:solidFill>
          <a:ln w="28575" cap="flat">
            <a:solidFill>
              <a:srgbClr val="4F2170"/>
            </a:solidFill>
            <a:prstDash val="solid"/>
            <a:miter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666666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B3AC76E3-77A2-EAC8-47E5-DA51164CFD83}"/>
              </a:ext>
            </a:extLst>
          </p:cNvPr>
          <p:cNvSpPr txBox="1"/>
          <p:nvPr/>
        </p:nvSpPr>
        <p:spPr>
          <a:xfrm>
            <a:off x="826334" y="3481681"/>
            <a:ext cx="2757483" cy="2369724"/>
          </a:xfrm>
          <a:prstGeom prst="rect">
            <a:avLst/>
          </a:prstGeom>
          <a:noFill/>
        </p:spPr>
        <p:txBody>
          <a:bodyPr wrap="square" lIns="0" tIns="0" rIns="0" bIns="0" rtlCol="0" anchor="t" anchorCtr="1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600" b="1" i="0" u="none" strike="noStrike" kern="1200" cap="none" spc="0" normalizeH="0" baseline="0" noProof="0" dirty="0">
                <a:ln>
                  <a:noFill/>
                </a:ln>
                <a:solidFill>
                  <a:srgbClr val="4F217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ossibilità di pianificare autonomamente la settimana lavorativa di 39 ore secondo il seguente schema:</a:t>
            </a:r>
            <a:endParaRPr kumimoji="0" lang="it-IT" sz="1600" b="0" i="0" u="none" strike="noStrike" kern="1200" cap="none" spc="0" normalizeH="0" baseline="0" noProof="0" dirty="0">
              <a:ln>
                <a:noFill/>
              </a:ln>
              <a:solidFill>
                <a:srgbClr val="4F217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285750" marR="0" lvl="0" indent="-28575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it-IT" sz="1600" b="0" i="0" u="none" strike="noStrike" kern="1200" cap="none" spc="0" normalizeH="0" baseline="0" noProof="0" dirty="0">
                <a:ln>
                  <a:noFill/>
                </a:ln>
                <a:solidFill>
                  <a:srgbClr val="4F217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08:30 – 19:30 dal lunedì al giovedì;</a:t>
            </a:r>
          </a:p>
          <a:p>
            <a:pPr marL="285750" marR="0" lvl="0" indent="-28575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it-IT" sz="1600" b="0" i="0" u="none" strike="noStrike" kern="1200" cap="none" spc="0" normalizeH="0" baseline="0" noProof="0" dirty="0">
                <a:ln>
                  <a:noFill/>
                </a:ln>
                <a:solidFill>
                  <a:srgbClr val="4F217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08:30 – 15:30 il venerdì.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25143F53-DCC1-D8C8-6838-E696DDBA6914}"/>
              </a:ext>
            </a:extLst>
          </p:cNvPr>
          <p:cNvSpPr txBox="1"/>
          <p:nvPr/>
        </p:nvSpPr>
        <p:spPr>
          <a:xfrm>
            <a:off x="8562450" y="3543111"/>
            <a:ext cx="2844241" cy="1457676"/>
          </a:xfrm>
          <a:prstGeom prst="rect">
            <a:avLst/>
          </a:prstGeom>
          <a:noFill/>
        </p:spPr>
        <p:txBody>
          <a:bodyPr wrap="square" lIns="0" tIns="0" rIns="0" bIns="0" rtlCol="0" anchor="t" anchorCtr="1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prstClr val="white"/>
              </a:buClr>
              <a:buSzTx/>
              <a:buFontTx/>
              <a:buNone/>
              <a:tabLst/>
              <a:defRPr/>
            </a:pPr>
            <a:r>
              <a:rPr kumimoji="0" lang="it-IT" sz="1600" b="1" i="0" u="none" strike="noStrike" kern="1200" cap="none" spc="0" normalizeH="0" baseline="0" noProof="0" dirty="0">
                <a:ln>
                  <a:noFill/>
                </a:ln>
                <a:solidFill>
                  <a:srgbClr val="4F217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ianificazione autonoma ed individuale delle ferie annuali in coordinamento con il proprio manager.</a:t>
            </a:r>
          </a:p>
        </p:txBody>
      </p:sp>
      <p:sp>
        <p:nvSpPr>
          <p:cNvPr id="28" name="Graphic 93">
            <a:extLst>
              <a:ext uri="{FF2B5EF4-FFF2-40B4-BE49-F238E27FC236}">
                <a16:creationId xmlns:a16="http://schemas.microsoft.com/office/drawing/2014/main" id="{D88A5E68-0B93-35D2-D229-95DE122615CF}"/>
              </a:ext>
            </a:extLst>
          </p:cNvPr>
          <p:cNvSpPr/>
          <p:nvPr/>
        </p:nvSpPr>
        <p:spPr>
          <a:xfrm>
            <a:off x="669822" y="2142974"/>
            <a:ext cx="3252747" cy="577076"/>
          </a:xfrm>
          <a:custGeom>
            <a:avLst/>
            <a:gdLst>
              <a:gd name="connsiteX0" fmla="*/ 11735 w 762000"/>
              <a:gd name="connsiteY0" fmla="*/ 157605 h 371475"/>
              <a:gd name="connsiteX1" fmla="*/ 18402 w 762000"/>
              <a:gd name="connsiteY1" fmla="*/ 265237 h 371475"/>
              <a:gd name="connsiteX2" fmla="*/ 135560 w 762000"/>
              <a:gd name="connsiteY2" fmla="*/ 361440 h 371475"/>
              <a:gd name="connsiteX3" fmla="*/ 158420 w 762000"/>
              <a:gd name="connsiteY3" fmla="*/ 365250 h 371475"/>
              <a:gd name="connsiteX4" fmla="*/ 189852 w 762000"/>
              <a:gd name="connsiteY4" fmla="*/ 365250 h 371475"/>
              <a:gd name="connsiteX5" fmla="*/ 644195 w 762000"/>
              <a:gd name="connsiteY5" fmla="*/ 351915 h 371475"/>
              <a:gd name="connsiteX6" fmla="*/ 757542 w 762000"/>
              <a:gd name="connsiteY6" fmla="*/ 227137 h 371475"/>
              <a:gd name="connsiteX7" fmla="*/ 659435 w 762000"/>
              <a:gd name="connsiteY7" fmla="*/ 29017 h 371475"/>
              <a:gd name="connsiteX8" fmla="*/ 622287 w 762000"/>
              <a:gd name="connsiteY8" fmla="*/ 15682 h 371475"/>
              <a:gd name="connsiteX9" fmla="*/ 202235 w 762000"/>
              <a:gd name="connsiteY9" fmla="*/ 9015 h 371475"/>
              <a:gd name="connsiteX10" fmla="*/ 127940 w 762000"/>
              <a:gd name="connsiteY10" fmla="*/ 19492 h 371475"/>
              <a:gd name="connsiteX11" fmla="*/ 11735 w 762000"/>
              <a:gd name="connsiteY11" fmla="*/ 157605 h 3714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762000" h="371475">
                <a:moveTo>
                  <a:pt x="11735" y="157605"/>
                </a:moveTo>
                <a:cubicBezTo>
                  <a:pt x="6020" y="189037"/>
                  <a:pt x="3162" y="228090"/>
                  <a:pt x="18402" y="265237"/>
                </a:cubicBezTo>
                <a:cubicBezTo>
                  <a:pt x="33642" y="303337"/>
                  <a:pt x="66980" y="338580"/>
                  <a:pt x="135560" y="361440"/>
                </a:cubicBezTo>
                <a:cubicBezTo>
                  <a:pt x="141275" y="363345"/>
                  <a:pt x="149847" y="365250"/>
                  <a:pt x="158420" y="365250"/>
                </a:cubicBezTo>
                <a:cubicBezTo>
                  <a:pt x="167945" y="366202"/>
                  <a:pt x="178422" y="366202"/>
                  <a:pt x="189852" y="365250"/>
                </a:cubicBezTo>
                <a:cubicBezTo>
                  <a:pt x="209855" y="363345"/>
                  <a:pt x="591807" y="359535"/>
                  <a:pt x="644195" y="351915"/>
                </a:cubicBezTo>
                <a:cubicBezTo>
                  <a:pt x="701345" y="344295"/>
                  <a:pt x="751827" y="305242"/>
                  <a:pt x="757542" y="227137"/>
                </a:cubicBezTo>
                <a:cubicBezTo>
                  <a:pt x="763257" y="151890"/>
                  <a:pt x="726110" y="63307"/>
                  <a:pt x="659435" y="29017"/>
                </a:cubicBezTo>
                <a:cubicBezTo>
                  <a:pt x="648005" y="23302"/>
                  <a:pt x="635622" y="17587"/>
                  <a:pt x="622287" y="15682"/>
                </a:cubicBezTo>
                <a:cubicBezTo>
                  <a:pt x="562280" y="7110"/>
                  <a:pt x="516560" y="5205"/>
                  <a:pt x="202235" y="9015"/>
                </a:cubicBezTo>
                <a:cubicBezTo>
                  <a:pt x="188900" y="9015"/>
                  <a:pt x="141275" y="14730"/>
                  <a:pt x="127940" y="19492"/>
                </a:cubicBezTo>
                <a:cubicBezTo>
                  <a:pt x="69837" y="40447"/>
                  <a:pt x="23165" y="94740"/>
                  <a:pt x="11735" y="157605"/>
                </a:cubicBezTo>
              </a:path>
            </a:pathLst>
          </a:custGeom>
          <a:solidFill>
            <a:schemeClr val="accent2"/>
          </a:solidFill>
          <a:ln w="9525" cap="flat">
            <a:noFill/>
            <a:prstDash val="solid"/>
            <a:miter/>
          </a:ln>
        </p:spPr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all" spc="0" normalizeH="0" baseline="0" noProof="0" dirty="0" err="1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MDLZ BITE TYPE"/>
                <a:ea typeface="+mn-ea"/>
                <a:cs typeface="+mn-cs"/>
              </a:rPr>
              <a:t>Settimana</a:t>
            </a:r>
            <a:r>
              <a:rPr kumimoji="0" lang="en-US" sz="2400" b="0" i="0" u="none" strike="noStrike" kern="1200" cap="all" spc="0" normalizeH="0" baseline="0" noProof="0" dirty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MDLZ BITE TYPE"/>
                <a:ea typeface="+mn-ea"/>
                <a:cs typeface="+mn-cs"/>
              </a:rPr>
              <a:t> </a:t>
            </a:r>
            <a:r>
              <a:rPr kumimoji="0" lang="en-US" sz="2400" b="0" i="0" u="none" strike="noStrike" kern="1200" cap="all" spc="0" normalizeH="0" baseline="0" noProof="0" dirty="0" err="1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MDLZ BITE TYPE"/>
                <a:ea typeface="+mn-ea"/>
                <a:cs typeface="+mn-cs"/>
              </a:rPr>
              <a:t>corta</a:t>
            </a:r>
            <a:endParaRPr kumimoji="0" lang="en-US" sz="2400" b="0" i="0" u="none" strike="noStrike" kern="1200" cap="all" spc="0" normalizeH="0" baseline="0" noProof="0" dirty="0">
              <a:ln>
                <a:noFill/>
              </a:ln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MDLZ BITE TYPE"/>
              <a:ea typeface="+mn-ea"/>
              <a:cs typeface="+mn-cs"/>
            </a:endParaRPr>
          </a:p>
        </p:txBody>
      </p:sp>
      <p:sp>
        <p:nvSpPr>
          <p:cNvPr id="41" name="Graphic 93">
            <a:extLst>
              <a:ext uri="{FF2B5EF4-FFF2-40B4-BE49-F238E27FC236}">
                <a16:creationId xmlns:a16="http://schemas.microsoft.com/office/drawing/2014/main" id="{533F3837-3C24-077E-3055-C452D89038E2}"/>
              </a:ext>
            </a:extLst>
          </p:cNvPr>
          <p:cNvSpPr/>
          <p:nvPr/>
        </p:nvSpPr>
        <p:spPr>
          <a:xfrm>
            <a:off x="4469626" y="2189129"/>
            <a:ext cx="3252747" cy="552588"/>
          </a:xfrm>
          <a:custGeom>
            <a:avLst/>
            <a:gdLst>
              <a:gd name="connsiteX0" fmla="*/ 11735 w 762000"/>
              <a:gd name="connsiteY0" fmla="*/ 157605 h 371475"/>
              <a:gd name="connsiteX1" fmla="*/ 18402 w 762000"/>
              <a:gd name="connsiteY1" fmla="*/ 265237 h 371475"/>
              <a:gd name="connsiteX2" fmla="*/ 135560 w 762000"/>
              <a:gd name="connsiteY2" fmla="*/ 361440 h 371475"/>
              <a:gd name="connsiteX3" fmla="*/ 158420 w 762000"/>
              <a:gd name="connsiteY3" fmla="*/ 365250 h 371475"/>
              <a:gd name="connsiteX4" fmla="*/ 189852 w 762000"/>
              <a:gd name="connsiteY4" fmla="*/ 365250 h 371475"/>
              <a:gd name="connsiteX5" fmla="*/ 644195 w 762000"/>
              <a:gd name="connsiteY5" fmla="*/ 351915 h 371475"/>
              <a:gd name="connsiteX6" fmla="*/ 757542 w 762000"/>
              <a:gd name="connsiteY6" fmla="*/ 227137 h 371475"/>
              <a:gd name="connsiteX7" fmla="*/ 659435 w 762000"/>
              <a:gd name="connsiteY7" fmla="*/ 29017 h 371475"/>
              <a:gd name="connsiteX8" fmla="*/ 622287 w 762000"/>
              <a:gd name="connsiteY8" fmla="*/ 15682 h 371475"/>
              <a:gd name="connsiteX9" fmla="*/ 202235 w 762000"/>
              <a:gd name="connsiteY9" fmla="*/ 9015 h 371475"/>
              <a:gd name="connsiteX10" fmla="*/ 127940 w 762000"/>
              <a:gd name="connsiteY10" fmla="*/ 19492 h 371475"/>
              <a:gd name="connsiteX11" fmla="*/ 11735 w 762000"/>
              <a:gd name="connsiteY11" fmla="*/ 157605 h 3714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762000" h="371475">
                <a:moveTo>
                  <a:pt x="11735" y="157605"/>
                </a:moveTo>
                <a:cubicBezTo>
                  <a:pt x="6020" y="189037"/>
                  <a:pt x="3162" y="228090"/>
                  <a:pt x="18402" y="265237"/>
                </a:cubicBezTo>
                <a:cubicBezTo>
                  <a:pt x="33642" y="303337"/>
                  <a:pt x="66980" y="338580"/>
                  <a:pt x="135560" y="361440"/>
                </a:cubicBezTo>
                <a:cubicBezTo>
                  <a:pt x="141275" y="363345"/>
                  <a:pt x="149847" y="365250"/>
                  <a:pt x="158420" y="365250"/>
                </a:cubicBezTo>
                <a:cubicBezTo>
                  <a:pt x="167945" y="366202"/>
                  <a:pt x="178422" y="366202"/>
                  <a:pt x="189852" y="365250"/>
                </a:cubicBezTo>
                <a:cubicBezTo>
                  <a:pt x="209855" y="363345"/>
                  <a:pt x="591807" y="359535"/>
                  <a:pt x="644195" y="351915"/>
                </a:cubicBezTo>
                <a:cubicBezTo>
                  <a:pt x="701345" y="344295"/>
                  <a:pt x="751827" y="305242"/>
                  <a:pt x="757542" y="227137"/>
                </a:cubicBezTo>
                <a:cubicBezTo>
                  <a:pt x="763257" y="151890"/>
                  <a:pt x="726110" y="63307"/>
                  <a:pt x="659435" y="29017"/>
                </a:cubicBezTo>
                <a:cubicBezTo>
                  <a:pt x="648005" y="23302"/>
                  <a:pt x="635622" y="17587"/>
                  <a:pt x="622287" y="15682"/>
                </a:cubicBezTo>
                <a:cubicBezTo>
                  <a:pt x="562280" y="7110"/>
                  <a:pt x="516560" y="5205"/>
                  <a:pt x="202235" y="9015"/>
                </a:cubicBezTo>
                <a:cubicBezTo>
                  <a:pt x="188900" y="9015"/>
                  <a:pt x="141275" y="14730"/>
                  <a:pt x="127940" y="19492"/>
                </a:cubicBezTo>
                <a:cubicBezTo>
                  <a:pt x="69837" y="40447"/>
                  <a:pt x="23165" y="94740"/>
                  <a:pt x="11735" y="157605"/>
                </a:cubicBezTo>
              </a:path>
            </a:pathLst>
          </a:custGeom>
          <a:solidFill>
            <a:srgbClr val="4F2170"/>
          </a:solidFill>
          <a:ln w="9525" cap="flat">
            <a:noFill/>
            <a:prstDash val="solid"/>
            <a:miter/>
          </a:ln>
        </p:spPr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all" spc="0" normalizeH="0" baseline="0" noProof="0" dirty="0" err="1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MDLZ BITE TYPE"/>
                <a:ea typeface="+mn-ea"/>
                <a:cs typeface="+mn-cs"/>
              </a:rPr>
              <a:t>Lavoro</a:t>
            </a:r>
            <a:r>
              <a:rPr kumimoji="0" lang="en-US" sz="2400" b="0" i="0" u="none" strike="noStrike" kern="1200" cap="all" spc="0" normalizeH="0" baseline="0" noProof="0" dirty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MDLZ BITE TYPE"/>
                <a:ea typeface="+mn-ea"/>
                <a:cs typeface="+mn-cs"/>
              </a:rPr>
              <a:t> agile</a:t>
            </a:r>
          </a:p>
        </p:txBody>
      </p:sp>
      <p:sp>
        <p:nvSpPr>
          <p:cNvPr id="42" name="Graphic 93">
            <a:extLst>
              <a:ext uri="{FF2B5EF4-FFF2-40B4-BE49-F238E27FC236}">
                <a16:creationId xmlns:a16="http://schemas.microsoft.com/office/drawing/2014/main" id="{04379090-840D-4BD1-1BC1-1FC3E4FD5150}"/>
              </a:ext>
            </a:extLst>
          </p:cNvPr>
          <p:cNvSpPr/>
          <p:nvPr/>
        </p:nvSpPr>
        <p:spPr>
          <a:xfrm>
            <a:off x="8296870" y="2220650"/>
            <a:ext cx="3252747" cy="585643"/>
          </a:xfrm>
          <a:custGeom>
            <a:avLst/>
            <a:gdLst>
              <a:gd name="connsiteX0" fmla="*/ 11735 w 762000"/>
              <a:gd name="connsiteY0" fmla="*/ 157605 h 371475"/>
              <a:gd name="connsiteX1" fmla="*/ 18402 w 762000"/>
              <a:gd name="connsiteY1" fmla="*/ 265237 h 371475"/>
              <a:gd name="connsiteX2" fmla="*/ 135560 w 762000"/>
              <a:gd name="connsiteY2" fmla="*/ 361440 h 371475"/>
              <a:gd name="connsiteX3" fmla="*/ 158420 w 762000"/>
              <a:gd name="connsiteY3" fmla="*/ 365250 h 371475"/>
              <a:gd name="connsiteX4" fmla="*/ 189852 w 762000"/>
              <a:gd name="connsiteY4" fmla="*/ 365250 h 371475"/>
              <a:gd name="connsiteX5" fmla="*/ 644195 w 762000"/>
              <a:gd name="connsiteY5" fmla="*/ 351915 h 371475"/>
              <a:gd name="connsiteX6" fmla="*/ 757542 w 762000"/>
              <a:gd name="connsiteY6" fmla="*/ 227137 h 371475"/>
              <a:gd name="connsiteX7" fmla="*/ 659435 w 762000"/>
              <a:gd name="connsiteY7" fmla="*/ 29017 h 371475"/>
              <a:gd name="connsiteX8" fmla="*/ 622287 w 762000"/>
              <a:gd name="connsiteY8" fmla="*/ 15682 h 371475"/>
              <a:gd name="connsiteX9" fmla="*/ 202235 w 762000"/>
              <a:gd name="connsiteY9" fmla="*/ 9015 h 371475"/>
              <a:gd name="connsiteX10" fmla="*/ 127940 w 762000"/>
              <a:gd name="connsiteY10" fmla="*/ 19492 h 371475"/>
              <a:gd name="connsiteX11" fmla="*/ 11735 w 762000"/>
              <a:gd name="connsiteY11" fmla="*/ 157605 h 3714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762000" h="371475">
                <a:moveTo>
                  <a:pt x="11735" y="157605"/>
                </a:moveTo>
                <a:cubicBezTo>
                  <a:pt x="6020" y="189037"/>
                  <a:pt x="3162" y="228090"/>
                  <a:pt x="18402" y="265237"/>
                </a:cubicBezTo>
                <a:cubicBezTo>
                  <a:pt x="33642" y="303337"/>
                  <a:pt x="66980" y="338580"/>
                  <a:pt x="135560" y="361440"/>
                </a:cubicBezTo>
                <a:cubicBezTo>
                  <a:pt x="141275" y="363345"/>
                  <a:pt x="149847" y="365250"/>
                  <a:pt x="158420" y="365250"/>
                </a:cubicBezTo>
                <a:cubicBezTo>
                  <a:pt x="167945" y="366202"/>
                  <a:pt x="178422" y="366202"/>
                  <a:pt x="189852" y="365250"/>
                </a:cubicBezTo>
                <a:cubicBezTo>
                  <a:pt x="209855" y="363345"/>
                  <a:pt x="591807" y="359535"/>
                  <a:pt x="644195" y="351915"/>
                </a:cubicBezTo>
                <a:cubicBezTo>
                  <a:pt x="701345" y="344295"/>
                  <a:pt x="751827" y="305242"/>
                  <a:pt x="757542" y="227137"/>
                </a:cubicBezTo>
                <a:cubicBezTo>
                  <a:pt x="763257" y="151890"/>
                  <a:pt x="726110" y="63307"/>
                  <a:pt x="659435" y="29017"/>
                </a:cubicBezTo>
                <a:cubicBezTo>
                  <a:pt x="648005" y="23302"/>
                  <a:pt x="635622" y="17587"/>
                  <a:pt x="622287" y="15682"/>
                </a:cubicBezTo>
                <a:cubicBezTo>
                  <a:pt x="562280" y="7110"/>
                  <a:pt x="516560" y="5205"/>
                  <a:pt x="202235" y="9015"/>
                </a:cubicBezTo>
                <a:cubicBezTo>
                  <a:pt x="188900" y="9015"/>
                  <a:pt x="141275" y="14730"/>
                  <a:pt x="127940" y="19492"/>
                </a:cubicBezTo>
                <a:cubicBezTo>
                  <a:pt x="69837" y="40447"/>
                  <a:pt x="23165" y="94740"/>
                  <a:pt x="11735" y="157605"/>
                </a:cubicBezTo>
              </a:path>
            </a:pathLst>
          </a:custGeom>
          <a:solidFill>
            <a:srgbClr val="E6AF23"/>
          </a:solidFill>
          <a:ln w="9525" cap="flat">
            <a:noFill/>
            <a:prstDash val="solid"/>
            <a:miter/>
          </a:ln>
        </p:spPr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all" spc="0" normalizeH="0" baseline="0" noProof="0" dirty="0" err="1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MDLZ BITE TYPE"/>
                <a:ea typeface="+mn-ea"/>
                <a:cs typeface="+mn-cs"/>
              </a:rPr>
              <a:t>Pianificazione</a:t>
            </a:r>
            <a:r>
              <a:rPr kumimoji="0" lang="en-US" sz="2400" b="0" i="0" u="none" strike="noStrike" kern="1200" cap="all" spc="0" normalizeH="0" baseline="0" noProof="0" dirty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MDLZ BITE TYPE"/>
                <a:ea typeface="+mn-ea"/>
                <a:cs typeface="+mn-cs"/>
              </a:rPr>
              <a:t> </a:t>
            </a:r>
            <a:r>
              <a:rPr kumimoji="0" lang="en-US" sz="2400" b="0" i="0" u="none" strike="noStrike" kern="1200" cap="all" spc="0" normalizeH="0" baseline="0" noProof="0" dirty="0" err="1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MDLZ BITE TYPE"/>
                <a:ea typeface="+mn-ea"/>
                <a:cs typeface="+mn-cs"/>
              </a:rPr>
              <a:t>ferie</a:t>
            </a:r>
            <a:endParaRPr kumimoji="0" lang="en-US" sz="2400" b="0" i="0" u="none" strike="noStrike" kern="1200" cap="all" spc="0" normalizeH="0" baseline="0" noProof="0" dirty="0">
              <a:ln>
                <a:noFill/>
              </a:ln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MDLZ BITE TYPE"/>
              <a:ea typeface="+mn-ea"/>
              <a:cs typeface="+mn-cs"/>
            </a:endParaRPr>
          </a:p>
        </p:txBody>
      </p:sp>
      <p:sp>
        <p:nvSpPr>
          <p:cNvPr id="3" name="Graphic 11">
            <a:extLst>
              <a:ext uri="{FF2B5EF4-FFF2-40B4-BE49-F238E27FC236}">
                <a16:creationId xmlns:a16="http://schemas.microsoft.com/office/drawing/2014/main" id="{5666C909-18AF-7A42-4ED2-7CAA589047E6}"/>
              </a:ext>
            </a:extLst>
          </p:cNvPr>
          <p:cNvSpPr/>
          <p:nvPr/>
        </p:nvSpPr>
        <p:spPr>
          <a:xfrm rot="5400000">
            <a:off x="6068893" y="4175777"/>
            <a:ext cx="4111325" cy="45719"/>
          </a:xfrm>
          <a:custGeom>
            <a:avLst/>
            <a:gdLst>
              <a:gd name="connsiteX0" fmla="*/ 5634971 w 5634018"/>
              <a:gd name="connsiteY0" fmla="*/ 49074 h 147637"/>
              <a:gd name="connsiteX1" fmla="*/ 5600681 w 5634018"/>
              <a:gd name="connsiteY1" fmla="*/ 27167 h 147637"/>
              <a:gd name="connsiteX2" fmla="*/ 216693 w 5634018"/>
              <a:gd name="connsiteY2" fmla="*/ 12879 h 147637"/>
              <a:gd name="connsiteX3" fmla="*/ 0 w 5634018"/>
              <a:gd name="connsiteY3" fmla="*/ 85269 h 147637"/>
              <a:gd name="connsiteX4" fmla="*/ 812480 w 5634018"/>
              <a:gd name="connsiteY4" fmla="*/ 121464 h 147637"/>
              <a:gd name="connsiteX5" fmla="*/ 2112638 w 5634018"/>
              <a:gd name="connsiteY5" fmla="*/ 85269 h 147637"/>
              <a:gd name="connsiteX6" fmla="*/ 5472094 w 5634018"/>
              <a:gd name="connsiteY6" fmla="*/ 120988 h 147637"/>
              <a:gd name="connsiteX7" fmla="*/ 5634971 w 5634018"/>
              <a:gd name="connsiteY7" fmla="*/ 49074 h 147637"/>
              <a:gd name="connsiteX8" fmla="*/ 5634971 w 5634018"/>
              <a:gd name="connsiteY8" fmla="*/ 49074 h 1476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5634018" h="147637">
                <a:moveTo>
                  <a:pt x="5634971" y="49074"/>
                </a:moveTo>
                <a:cubicBezTo>
                  <a:pt x="5634971" y="36692"/>
                  <a:pt x="5622588" y="27167"/>
                  <a:pt x="5600681" y="27167"/>
                </a:cubicBezTo>
                <a:cubicBezTo>
                  <a:pt x="3833323" y="25738"/>
                  <a:pt x="1982622" y="-22363"/>
                  <a:pt x="216693" y="12879"/>
                </a:cubicBezTo>
                <a:cubicBezTo>
                  <a:pt x="162401" y="12879"/>
                  <a:pt x="0" y="49074"/>
                  <a:pt x="0" y="85269"/>
                </a:cubicBezTo>
                <a:cubicBezTo>
                  <a:pt x="0" y="204331"/>
                  <a:pt x="541971" y="121464"/>
                  <a:pt x="812480" y="121464"/>
                </a:cubicBezTo>
                <a:cubicBezTo>
                  <a:pt x="1245866" y="85269"/>
                  <a:pt x="1679252" y="85269"/>
                  <a:pt x="2112638" y="85269"/>
                </a:cubicBezTo>
                <a:cubicBezTo>
                  <a:pt x="3250871" y="157183"/>
                  <a:pt x="4334336" y="120988"/>
                  <a:pt x="5472094" y="120988"/>
                </a:cubicBezTo>
                <a:cubicBezTo>
                  <a:pt x="5526386" y="120988"/>
                  <a:pt x="5634971" y="120988"/>
                  <a:pt x="5634971" y="49074"/>
                </a:cubicBezTo>
                <a:lnTo>
                  <a:pt x="5634971" y="49074"/>
                </a:lnTo>
                <a:close/>
              </a:path>
            </a:pathLst>
          </a:custGeom>
          <a:solidFill>
            <a:srgbClr val="4F2170"/>
          </a:solidFill>
          <a:ln w="4758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666666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1EF2F9A0-03FB-39D6-C907-FC8C1527D97F}"/>
              </a:ext>
            </a:extLst>
          </p:cNvPr>
          <p:cNvSpPr txBox="1"/>
          <p:nvPr/>
        </p:nvSpPr>
        <p:spPr>
          <a:xfrm rot="-10800000" flipV="1">
            <a:off x="4170202" y="3543112"/>
            <a:ext cx="3851596" cy="2386795"/>
          </a:xfrm>
          <a:prstGeom prst="rect">
            <a:avLst/>
          </a:prstGeom>
          <a:noFill/>
        </p:spPr>
        <p:txBody>
          <a:bodyPr wrap="square" lIns="0" tIns="0" rIns="0" bIns="0" rtlCol="0" anchor="t" anchorCtr="1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prstClr val="white"/>
              </a:buClr>
              <a:buSzTx/>
              <a:buFontTx/>
              <a:buNone/>
              <a:tabLst/>
              <a:defRPr/>
            </a:pPr>
            <a:r>
              <a:rPr kumimoji="0" lang="it-IT" sz="1600" b="1" i="0" u="none" strike="noStrike" kern="1200" cap="none" spc="0" normalizeH="0" baseline="0" noProof="0" dirty="0">
                <a:ln>
                  <a:noFill/>
                </a:ln>
                <a:solidFill>
                  <a:srgbClr val="4F217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Flessibilità</a:t>
            </a:r>
            <a:r>
              <a:rPr kumimoji="0" lang="it-IT" sz="1600" b="0" i="0" u="none" strike="noStrike" kern="1200" cap="none" spc="0" normalizeH="0" baseline="0" noProof="0" dirty="0">
                <a:ln>
                  <a:noFill/>
                </a:ln>
                <a:solidFill>
                  <a:srgbClr val="4F217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in termini di luoghi di lavoro;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prstClr val="white"/>
              </a:buClr>
              <a:buSzTx/>
              <a:buFontTx/>
              <a:buNone/>
              <a:tabLst/>
              <a:defRPr/>
            </a:pPr>
            <a:r>
              <a:rPr kumimoji="0" lang="it-IT" sz="1600" b="1" i="0" u="none" strike="noStrike" kern="1200" cap="none" spc="0" normalizeH="0" baseline="0" noProof="0" dirty="0">
                <a:ln>
                  <a:noFill/>
                </a:ln>
                <a:solidFill>
                  <a:srgbClr val="4F217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Nuovi uffici </a:t>
            </a:r>
            <a:r>
              <a:rPr kumimoji="0" lang="it-IT" sz="1600" b="0" i="0" u="none" strike="noStrike" kern="1200" cap="none" spc="0" normalizeH="0" baseline="0" noProof="0" dirty="0">
                <a:ln>
                  <a:noFill/>
                </a:ln>
                <a:solidFill>
                  <a:srgbClr val="4F217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er facilitare l’impegno e la contaminazione;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prstClr val="white"/>
              </a:buClr>
              <a:buSzTx/>
              <a:buFontTx/>
              <a:buNone/>
              <a:tabLst/>
              <a:defRPr/>
            </a:pPr>
            <a:r>
              <a:rPr kumimoji="0" lang="it-IT" sz="1600" b="1" i="0" u="none" strike="noStrike" kern="1200" cap="none" spc="0" normalizeH="0" baseline="0" noProof="0" dirty="0">
                <a:ln>
                  <a:noFill/>
                </a:ln>
                <a:solidFill>
                  <a:srgbClr val="4F217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 giorni a settimana di </a:t>
            </a:r>
            <a:r>
              <a:rPr kumimoji="0" lang="it-IT" sz="1600" b="1" i="1" u="none" strike="noStrike" kern="1200" cap="none" spc="0" normalizeH="0" baseline="0" noProof="0" dirty="0">
                <a:ln>
                  <a:noFill/>
                </a:ln>
                <a:solidFill>
                  <a:srgbClr val="4F217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remote working                   </a:t>
            </a:r>
            <a:r>
              <a:rPr kumimoji="0" lang="it-IT" sz="1600" b="1" i="0" u="none" strike="noStrike" kern="1200" cap="none" spc="0" normalizeH="0" baseline="0" noProof="0" dirty="0">
                <a:ln>
                  <a:noFill/>
                </a:ln>
                <a:solidFill>
                  <a:srgbClr val="4F217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+ 2 giorni extra al mese </a:t>
            </a:r>
            <a:r>
              <a:rPr kumimoji="0" lang="it-IT" sz="1600" b="0" i="0" u="none" strike="noStrike" kern="1200" cap="none" spc="0" normalizeH="0" baseline="0" noProof="0" dirty="0">
                <a:ln>
                  <a:noFill/>
                </a:ln>
                <a:solidFill>
                  <a:srgbClr val="4F217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(facendo </a:t>
            </a:r>
            <a:r>
              <a:rPr kumimoji="0" lang="it-IT" sz="1600" b="0" i="1" u="none" strike="noStrike" kern="1200" cap="none" spc="0" normalizeH="0" baseline="0" noProof="0" dirty="0">
                <a:ln>
                  <a:noFill/>
                </a:ln>
                <a:solidFill>
                  <a:srgbClr val="4F217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remote working</a:t>
            </a:r>
            <a:r>
              <a:rPr kumimoji="0" lang="it-IT" sz="1600" b="0" i="0" u="none" strike="noStrike" kern="1200" cap="none" spc="0" normalizeH="0" baseline="0" noProof="0" dirty="0">
                <a:ln>
                  <a:noFill/>
                </a:ln>
                <a:solidFill>
                  <a:srgbClr val="4F217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ogni venerdì).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prstClr val="white"/>
              </a:buClr>
              <a:buSzTx/>
              <a:buFontTx/>
              <a:buNone/>
              <a:tabLst/>
              <a:defRPr/>
            </a:pPr>
            <a:r>
              <a:rPr kumimoji="0" lang="it-IT" sz="1600" b="0" i="0" u="none" strike="noStrike" kern="1200" cap="none" spc="0" normalizeH="0" baseline="0" noProof="0" dirty="0">
                <a:ln>
                  <a:noFill/>
                </a:ln>
                <a:solidFill>
                  <a:srgbClr val="4F217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mart working continuativo in </a:t>
            </a:r>
            <a:r>
              <a:rPr kumimoji="0" lang="it-IT" sz="1600" b="1" i="0" u="none" strike="noStrike" kern="1200" cap="none" spc="0" normalizeH="0" baseline="0" noProof="0" dirty="0">
                <a:ln>
                  <a:noFill/>
                </a:ln>
                <a:solidFill>
                  <a:srgbClr val="4F217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estate </a:t>
            </a:r>
            <a:r>
              <a:rPr kumimoji="0" lang="it-IT" sz="1600" b="0" i="0" u="none" strike="noStrike" kern="1200" cap="none" spc="0" normalizeH="0" baseline="0" noProof="0" dirty="0">
                <a:ln>
                  <a:noFill/>
                </a:ln>
                <a:solidFill>
                  <a:srgbClr val="4F217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e per 8° e 9° mese di </a:t>
            </a:r>
            <a:r>
              <a:rPr kumimoji="0" lang="it-IT" sz="1600" b="1" i="0" u="none" strike="noStrike" kern="1200" cap="none" spc="0" normalizeH="0" baseline="0" noProof="0" dirty="0">
                <a:ln>
                  <a:noFill/>
                </a:ln>
                <a:solidFill>
                  <a:srgbClr val="4F217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gravidanza</a:t>
            </a:r>
            <a:r>
              <a:rPr kumimoji="0" lang="it-IT" sz="1600" i="0" u="none" strike="noStrike" kern="1200" cap="none" spc="0" normalizeH="0" baseline="0" noProof="0" dirty="0">
                <a:ln>
                  <a:noFill/>
                </a:ln>
                <a:solidFill>
                  <a:srgbClr val="4F217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per mansioni low risk</a:t>
            </a:r>
            <a:endParaRPr kumimoji="0" lang="fr-FR" sz="1600" b="1" i="0" u="none" strike="noStrike" kern="1200" cap="none" spc="0" normalizeH="0" baseline="0" noProof="0" dirty="0">
              <a:ln>
                <a:noFill/>
              </a:ln>
              <a:solidFill>
                <a:srgbClr val="4F217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Graphic 11">
            <a:extLst>
              <a:ext uri="{FF2B5EF4-FFF2-40B4-BE49-F238E27FC236}">
                <a16:creationId xmlns:a16="http://schemas.microsoft.com/office/drawing/2014/main" id="{3ADD8C02-025D-3F95-4752-A8D46FC91CA2}"/>
              </a:ext>
            </a:extLst>
          </p:cNvPr>
          <p:cNvSpPr/>
          <p:nvPr/>
        </p:nvSpPr>
        <p:spPr>
          <a:xfrm rot="5400000">
            <a:off x="2091680" y="4175777"/>
            <a:ext cx="4111325" cy="45719"/>
          </a:xfrm>
          <a:custGeom>
            <a:avLst/>
            <a:gdLst>
              <a:gd name="connsiteX0" fmla="*/ 5634971 w 5634018"/>
              <a:gd name="connsiteY0" fmla="*/ 49074 h 147637"/>
              <a:gd name="connsiteX1" fmla="*/ 5600681 w 5634018"/>
              <a:gd name="connsiteY1" fmla="*/ 27167 h 147637"/>
              <a:gd name="connsiteX2" fmla="*/ 216693 w 5634018"/>
              <a:gd name="connsiteY2" fmla="*/ 12879 h 147637"/>
              <a:gd name="connsiteX3" fmla="*/ 0 w 5634018"/>
              <a:gd name="connsiteY3" fmla="*/ 85269 h 147637"/>
              <a:gd name="connsiteX4" fmla="*/ 812480 w 5634018"/>
              <a:gd name="connsiteY4" fmla="*/ 121464 h 147637"/>
              <a:gd name="connsiteX5" fmla="*/ 2112638 w 5634018"/>
              <a:gd name="connsiteY5" fmla="*/ 85269 h 147637"/>
              <a:gd name="connsiteX6" fmla="*/ 5472094 w 5634018"/>
              <a:gd name="connsiteY6" fmla="*/ 120988 h 147637"/>
              <a:gd name="connsiteX7" fmla="*/ 5634971 w 5634018"/>
              <a:gd name="connsiteY7" fmla="*/ 49074 h 147637"/>
              <a:gd name="connsiteX8" fmla="*/ 5634971 w 5634018"/>
              <a:gd name="connsiteY8" fmla="*/ 49074 h 1476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5634018" h="147637">
                <a:moveTo>
                  <a:pt x="5634971" y="49074"/>
                </a:moveTo>
                <a:cubicBezTo>
                  <a:pt x="5634971" y="36692"/>
                  <a:pt x="5622588" y="27167"/>
                  <a:pt x="5600681" y="27167"/>
                </a:cubicBezTo>
                <a:cubicBezTo>
                  <a:pt x="3833323" y="25738"/>
                  <a:pt x="1982622" y="-22363"/>
                  <a:pt x="216693" y="12879"/>
                </a:cubicBezTo>
                <a:cubicBezTo>
                  <a:pt x="162401" y="12879"/>
                  <a:pt x="0" y="49074"/>
                  <a:pt x="0" y="85269"/>
                </a:cubicBezTo>
                <a:cubicBezTo>
                  <a:pt x="0" y="204331"/>
                  <a:pt x="541971" y="121464"/>
                  <a:pt x="812480" y="121464"/>
                </a:cubicBezTo>
                <a:cubicBezTo>
                  <a:pt x="1245866" y="85269"/>
                  <a:pt x="1679252" y="85269"/>
                  <a:pt x="2112638" y="85269"/>
                </a:cubicBezTo>
                <a:cubicBezTo>
                  <a:pt x="3250871" y="157183"/>
                  <a:pt x="4334336" y="120988"/>
                  <a:pt x="5472094" y="120988"/>
                </a:cubicBezTo>
                <a:cubicBezTo>
                  <a:pt x="5526386" y="120988"/>
                  <a:pt x="5634971" y="120988"/>
                  <a:pt x="5634971" y="49074"/>
                </a:cubicBezTo>
                <a:lnTo>
                  <a:pt x="5634971" y="49074"/>
                </a:lnTo>
                <a:close/>
              </a:path>
            </a:pathLst>
          </a:custGeom>
          <a:solidFill>
            <a:srgbClr val="4F2170"/>
          </a:solidFill>
          <a:ln w="4758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666666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" name="Freeform 26">
            <a:extLst>
              <a:ext uri="{FF2B5EF4-FFF2-40B4-BE49-F238E27FC236}">
                <a16:creationId xmlns:a16="http://schemas.microsoft.com/office/drawing/2014/main" id="{B98809F2-94B1-5FD8-F470-415B6579D412}"/>
              </a:ext>
            </a:extLst>
          </p:cNvPr>
          <p:cNvSpPr/>
          <p:nvPr/>
        </p:nvSpPr>
        <p:spPr>
          <a:xfrm>
            <a:off x="6469377" y="5851405"/>
            <a:ext cx="3356075" cy="465562"/>
          </a:xfrm>
          <a:custGeom>
            <a:avLst/>
            <a:gdLst>
              <a:gd name="connsiteX0" fmla="*/ 29723 w 1021001"/>
              <a:gd name="connsiteY0" fmla="*/ 953 h 698963"/>
              <a:gd name="connsiteX1" fmla="*/ 323319 w 1021001"/>
              <a:gd name="connsiteY1" fmla="*/ 953 h 698963"/>
              <a:gd name="connsiteX2" fmla="*/ 497232 w 1021001"/>
              <a:gd name="connsiteY2" fmla="*/ 953 h 698963"/>
              <a:gd name="connsiteX3" fmla="*/ 748440 w 1021001"/>
              <a:gd name="connsiteY3" fmla="*/ 953 h 698963"/>
              <a:gd name="connsiteX4" fmla="*/ 899289 w 1021001"/>
              <a:gd name="connsiteY4" fmla="*/ 2199 h 698963"/>
              <a:gd name="connsiteX5" fmla="*/ 1013362 w 1021001"/>
              <a:gd name="connsiteY5" fmla="*/ 6563 h 698963"/>
              <a:gd name="connsiteX6" fmla="*/ 1016479 w 1021001"/>
              <a:gd name="connsiteY6" fmla="*/ 12173 h 698963"/>
              <a:gd name="connsiteX7" fmla="*/ 1018971 w 1021001"/>
              <a:gd name="connsiteY7" fmla="*/ 38354 h 698963"/>
              <a:gd name="connsiteX8" fmla="*/ 1019595 w 1021001"/>
              <a:gd name="connsiteY8" fmla="*/ 220994 h 698963"/>
              <a:gd name="connsiteX9" fmla="*/ 1017725 w 1021001"/>
              <a:gd name="connsiteY9" fmla="*/ 689749 h 698963"/>
              <a:gd name="connsiteX10" fmla="*/ 1012738 w 1021001"/>
              <a:gd name="connsiteY10" fmla="*/ 696606 h 698963"/>
              <a:gd name="connsiteX11" fmla="*/ 924223 w 1021001"/>
              <a:gd name="connsiteY11" fmla="*/ 695982 h 698963"/>
              <a:gd name="connsiteX12" fmla="*/ 765270 w 1021001"/>
              <a:gd name="connsiteY12" fmla="*/ 697852 h 698963"/>
              <a:gd name="connsiteX13" fmla="*/ 325189 w 1021001"/>
              <a:gd name="connsiteY13" fmla="*/ 693489 h 698963"/>
              <a:gd name="connsiteX14" fmla="*/ 187430 w 1021001"/>
              <a:gd name="connsiteY14" fmla="*/ 695982 h 698963"/>
              <a:gd name="connsiteX15" fmla="*/ 8529 w 1021001"/>
              <a:gd name="connsiteY15" fmla="*/ 692866 h 698963"/>
              <a:gd name="connsiteX16" fmla="*/ 2919 w 1021001"/>
              <a:gd name="connsiteY16" fmla="*/ 503992 h 698963"/>
              <a:gd name="connsiteX17" fmla="*/ 3543 w 1021001"/>
              <a:gd name="connsiteY17" fmla="*/ 10303 h 698963"/>
              <a:gd name="connsiteX18" fmla="*/ 6036 w 1021001"/>
              <a:gd name="connsiteY18" fmla="*/ 9056 h 698963"/>
              <a:gd name="connsiteX19" fmla="*/ 29723 w 1021001"/>
              <a:gd name="connsiteY19" fmla="*/ 953 h 6989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021001" h="698963">
                <a:moveTo>
                  <a:pt x="29723" y="953"/>
                </a:moveTo>
                <a:cubicBezTo>
                  <a:pt x="121355" y="953"/>
                  <a:pt x="277191" y="-294"/>
                  <a:pt x="323319" y="953"/>
                </a:cubicBezTo>
                <a:cubicBezTo>
                  <a:pt x="369446" y="2199"/>
                  <a:pt x="453598" y="-294"/>
                  <a:pt x="497232" y="953"/>
                </a:cubicBezTo>
                <a:cubicBezTo>
                  <a:pt x="540866" y="2199"/>
                  <a:pt x="697326" y="3446"/>
                  <a:pt x="748440" y="953"/>
                </a:cubicBezTo>
                <a:cubicBezTo>
                  <a:pt x="799554" y="-1540"/>
                  <a:pt x="845059" y="1576"/>
                  <a:pt x="899289" y="2199"/>
                </a:cubicBezTo>
                <a:cubicBezTo>
                  <a:pt x="953520" y="2823"/>
                  <a:pt x="1006504" y="6563"/>
                  <a:pt x="1013362" y="6563"/>
                </a:cubicBezTo>
                <a:cubicBezTo>
                  <a:pt x="1014608" y="6563"/>
                  <a:pt x="1015855" y="8433"/>
                  <a:pt x="1016479" y="12173"/>
                </a:cubicBezTo>
                <a:cubicBezTo>
                  <a:pt x="1017725" y="17160"/>
                  <a:pt x="1018348" y="12173"/>
                  <a:pt x="1018971" y="38354"/>
                </a:cubicBezTo>
                <a:cubicBezTo>
                  <a:pt x="1018971" y="110662"/>
                  <a:pt x="1020219" y="155542"/>
                  <a:pt x="1019595" y="220994"/>
                </a:cubicBezTo>
                <a:cubicBezTo>
                  <a:pt x="1018348" y="286445"/>
                  <a:pt x="1024582" y="535783"/>
                  <a:pt x="1017725" y="689749"/>
                </a:cubicBezTo>
                <a:cubicBezTo>
                  <a:pt x="1014608" y="689126"/>
                  <a:pt x="1013985" y="695982"/>
                  <a:pt x="1012738" y="696606"/>
                </a:cubicBezTo>
                <a:cubicBezTo>
                  <a:pt x="997154" y="699723"/>
                  <a:pt x="966611" y="695359"/>
                  <a:pt x="924223" y="695982"/>
                </a:cubicBezTo>
                <a:cubicBezTo>
                  <a:pt x="881835" y="696606"/>
                  <a:pt x="846305" y="700969"/>
                  <a:pt x="765270" y="697852"/>
                </a:cubicBezTo>
                <a:cubicBezTo>
                  <a:pt x="684235" y="694736"/>
                  <a:pt x="372563" y="694112"/>
                  <a:pt x="325189" y="693489"/>
                </a:cubicBezTo>
                <a:cubicBezTo>
                  <a:pt x="277815" y="692866"/>
                  <a:pt x="239167" y="694736"/>
                  <a:pt x="187430" y="695982"/>
                </a:cubicBezTo>
                <a:cubicBezTo>
                  <a:pt x="135692" y="696606"/>
                  <a:pt x="19750" y="693489"/>
                  <a:pt x="8529" y="692866"/>
                </a:cubicBezTo>
                <a:cubicBezTo>
                  <a:pt x="-3938" y="673542"/>
                  <a:pt x="4789" y="558223"/>
                  <a:pt x="2919" y="503992"/>
                </a:cubicBezTo>
                <a:cubicBezTo>
                  <a:pt x="1673" y="449761"/>
                  <a:pt x="-3314" y="199176"/>
                  <a:pt x="3543" y="10303"/>
                </a:cubicBezTo>
                <a:cubicBezTo>
                  <a:pt x="4789" y="10303"/>
                  <a:pt x="5413" y="10926"/>
                  <a:pt x="6036" y="9056"/>
                </a:cubicBezTo>
                <a:cubicBezTo>
                  <a:pt x="9776" y="-2787"/>
                  <a:pt x="13516" y="2199"/>
                  <a:pt x="29723" y="953"/>
                </a:cubicBezTo>
                <a:close/>
              </a:path>
            </a:pathLst>
          </a:custGeom>
          <a:solidFill>
            <a:schemeClr val="accent1">
              <a:lumMod val="20000"/>
              <a:lumOff val="80000"/>
            </a:schemeClr>
          </a:solidFill>
          <a:ln w="6231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FD0B0907-8174-5D49-875F-7D3C91BFCB1A}"/>
              </a:ext>
            </a:extLst>
          </p:cNvPr>
          <p:cNvSpPr txBox="1"/>
          <p:nvPr/>
        </p:nvSpPr>
        <p:spPr>
          <a:xfrm>
            <a:off x="6401016" y="5838441"/>
            <a:ext cx="3537705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kumimoji="0" lang="en-US" sz="2400" b="0" i="0" u="none" strike="noStrike" kern="1200" cap="all" spc="0" normalizeH="0" baseline="0" noProof="0" dirty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MDLZ BITE TYPE"/>
                <a:ea typeface="+mn-ea"/>
                <a:cs typeface="+mn-cs"/>
              </a:rPr>
              <a:t>+“GENITORIALITA’ SERENA”!</a:t>
            </a:r>
            <a:endParaRPr lang="it-IT" sz="2400" dirty="0"/>
          </a:p>
        </p:txBody>
      </p:sp>
    </p:spTree>
    <p:extLst>
      <p:ext uri="{BB962C8B-B14F-4D97-AF65-F5344CB8AC3E}">
        <p14:creationId xmlns:p14="http://schemas.microsoft.com/office/powerpoint/2010/main" val="319899015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F7921E37-A140-438D-875B-75E927BE5D9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73" imgH="476" progId="TCLayout.ActiveDocument.1">
                  <p:embed/>
                </p:oleObj>
              </mc:Choice>
              <mc:Fallback>
                <p:oleObj name="think-cell Slide" r:id="rId5" imgW="473" imgH="47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F7921E37-A140-438D-875B-75E927BE5D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FCFFB68E-3399-487C-9FCF-4482D8F6D5A2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6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DLZ BITE TYPE" panose="00000500000000000000" pitchFamily="50" charset="0"/>
              <a:ea typeface="+mn-ea"/>
              <a:cs typeface="+mn-cs"/>
              <a:sym typeface="MDLZ BITE TYPE" panose="00000500000000000000" pitchFamily="50" charset="0"/>
            </a:endParaRP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B00BC99B-B34D-C27F-7486-740FF744ACE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7036" y="530343"/>
            <a:ext cx="11097929" cy="485335"/>
          </a:xfrm>
        </p:spPr>
        <p:txBody>
          <a:bodyPr anchor="t"/>
          <a:lstStyle/>
          <a:p>
            <a:pPr algn="ctr" defTabSz="685800">
              <a:defRPr/>
            </a:pPr>
            <a:r>
              <a:rPr lang="it-IT" sz="3600" dirty="0">
                <a:solidFill>
                  <a:schemeClr val="accent1"/>
                </a:solidFill>
                <a:latin typeface="MDLZ BITE TYPE"/>
              </a:rPr>
              <a:t>Benessere in azienda</a:t>
            </a:r>
            <a:endParaRPr lang="en-US" sz="48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9" name="TextBox 36">
            <a:extLst>
              <a:ext uri="{FF2B5EF4-FFF2-40B4-BE49-F238E27FC236}">
                <a16:creationId xmlns:a16="http://schemas.microsoft.com/office/drawing/2014/main" id="{8818BFF2-3A22-D5E7-A3E9-8C1E8E0C64AD}"/>
              </a:ext>
            </a:extLst>
          </p:cNvPr>
          <p:cNvSpPr txBox="1"/>
          <p:nvPr/>
        </p:nvSpPr>
        <p:spPr>
          <a:xfrm>
            <a:off x="547036" y="1177870"/>
            <a:ext cx="11230749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it-IT"/>
            </a:defPPr>
            <a:lvl1pPr marL="0" algn="l" defTabSz="914400" rtl="0" eaLnBrk="1" latinLnBrk="0" hangingPunct="1">
              <a:defRPr sz="1800" kern="1200">
                <a:solidFill>
                  <a:srgbClr val="666666"/>
                </a:solidFill>
                <a:latin typeface="Calibri"/>
              </a:defRPr>
            </a:lvl1pPr>
            <a:lvl2pPr marL="457200" algn="l" defTabSz="914400" rtl="0" eaLnBrk="1" latinLnBrk="0" hangingPunct="1">
              <a:defRPr sz="1800" kern="1200">
                <a:solidFill>
                  <a:srgbClr val="666666"/>
                </a:solidFill>
                <a:latin typeface="Calibri"/>
              </a:defRPr>
            </a:lvl2pPr>
            <a:lvl3pPr marL="914400" algn="l" defTabSz="914400" rtl="0" eaLnBrk="1" latinLnBrk="0" hangingPunct="1">
              <a:defRPr sz="1800" kern="1200">
                <a:solidFill>
                  <a:srgbClr val="666666"/>
                </a:solidFill>
                <a:latin typeface="Calibri"/>
              </a:defRPr>
            </a:lvl3pPr>
            <a:lvl4pPr marL="1371600" algn="l" defTabSz="914400" rtl="0" eaLnBrk="1" latinLnBrk="0" hangingPunct="1">
              <a:defRPr sz="1800" kern="1200">
                <a:solidFill>
                  <a:srgbClr val="666666"/>
                </a:solidFill>
                <a:latin typeface="Calibri"/>
              </a:defRPr>
            </a:lvl4pPr>
            <a:lvl5pPr marL="1828800" algn="l" defTabSz="914400" rtl="0" eaLnBrk="1" latinLnBrk="0" hangingPunct="1">
              <a:defRPr sz="1800" kern="1200">
                <a:solidFill>
                  <a:srgbClr val="666666"/>
                </a:solidFill>
                <a:latin typeface="Calibri"/>
              </a:defRPr>
            </a:lvl5pPr>
            <a:lvl6pPr marL="2286000" algn="l" defTabSz="914400" rtl="0" eaLnBrk="1" latinLnBrk="0" hangingPunct="1">
              <a:defRPr sz="1800" kern="1200">
                <a:solidFill>
                  <a:srgbClr val="666666"/>
                </a:solidFill>
                <a:latin typeface="Calibri"/>
              </a:defRPr>
            </a:lvl6pPr>
            <a:lvl7pPr marL="2743200" algn="l" defTabSz="914400" rtl="0" eaLnBrk="1" latinLnBrk="0" hangingPunct="1">
              <a:defRPr sz="1800" kern="1200">
                <a:solidFill>
                  <a:srgbClr val="666666"/>
                </a:solidFill>
                <a:latin typeface="Calibri"/>
              </a:defRPr>
            </a:lvl7pPr>
            <a:lvl8pPr marL="3200400" algn="l" defTabSz="914400" rtl="0" eaLnBrk="1" latinLnBrk="0" hangingPunct="1">
              <a:defRPr sz="1800" kern="1200">
                <a:solidFill>
                  <a:srgbClr val="666666"/>
                </a:solidFill>
                <a:latin typeface="Calibri"/>
              </a:defRPr>
            </a:lvl8pPr>
            <a:lvl9pPr marL="3657600" algn="l" defTabSz="914400" rtl="0" eaLnBrk="1" latinLnBrk="0" hangingPunct="1">
              <a:defRPr sz="1800" kern="1200">
                <a:solidFill>
                  <a:srgbClr val="666666"/>
                </a:solidFill>
                <a:latin typeface="Calibri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600" b="0" i="0" u="none" strike="noStrike" kern="1200" cap="none" spc="0" normalizeH="0" baseline="0" noProof="0" dirty="0">
                <a:ln>
                  <a:noFill/>
                </a:ln>
                <a:solidFill>
                  <a:srgbClr val="E18719"/>
                </a:solidFill>
                <a:effectLst/>
                <a:uLnTx/>
                <a:uFillTx/>
                <a:latin typeface="-apple-system"/>
                <a:ea typeface="+mn-ea"/>
                <a:cs typeface="+mn-cs"/>
              </a:rPr>
              <a:t>Mondelēz Italia si è posizionata nella </a:t>
            </a:r>
            <a:r>
              <a:rPr kumimoji="0" lang="it-IT" sz="1600" b="1" i="0" u="none" strike="noStrike" kern="1200" cap="none" spc="0" normalizeH="0" baseline="0" noProof="0" dirty="0">
                <a:ln>
                  <a:noFill/>
                </a:ln>
                <a:solidFill>
                  <a:srgbClr val="E18719"/>
                </a:solidFill>
                <a:effectLst/>
                <a:uLnTx/>
                <a:uFillTx/>
                <a:latin typeface="-apple-system"/>
                <a:ea typeface="+mn-ea"/>
                <a:cs typeface="+mn-cs"/>
              </a:rPr>
              <a:t>TOP 10 della classifica “Best workplaces”</a:t>
            </a:r>
            <a:r>
              <a:rPr kumimoji="0" lang="it-IT" sz="1600" b="0" i="0" u="none" strike="noStrike" kern="1200" cap="none" spc="0" normalizeH="0" baseline="0" noProof="0" dirty="0">
                <a:ln>
                  <a:noFill/>
                </a:ln>
                <a:solidFill>
                  <a:srgbClr val="E18719"/>
                </a:solidFill>
                <a:effectLst/>
                <a:uLnTx/>
                <a:uFillTx/>
                <a:latin typeface="-apple-system"/>
                <a:ea typeface="+mn-ea"/>
                <a:cs typeface="+mn-cs"/>
              </a:rPr>
              <a:t> per le grandi imprese (oltre 500 dipendenti) stilata da </a:t>
            </a:r>
            <a:r>
              <a:rPr kumimoji="0" lang="it-IT" sz="1600" b="1" i="0" u="none" strike="noStrike" kern="1200" cap="none" spc="0" normalizeH="0" baseline="0" noProof="0" dirty="0">
                <a:ln>
                  <a:noFill/>
                </a:ln>
                <a:solidFill>
                  <a:srgbClr val="E18719"/>
                </a:solidFill>
                <a:effectLst/>
                <a:uLnTx/>
                <a:uFillTx/>
                <a:latin typeface="-apple-system"/>
                <a:ea typeface="+mn-ea"/>
                <a:cs typeface="+mn-cs"/>
              </a:rPr>
              <a:t>Great Place to Work®</a:t>
            </a:r>
            <a:endParaRPr kumimoji="0" lang="it-IT" sz="1400" b="1" i="0" u="none" strike="noStrike" kern="0" cap="none" spc="0" normalizeH="0" baseline="0" noProof="0" dirty="0">
              <a:ln>
                <a:noFill/>
              </a:ln>
              <a:solidFill>
                <a:srgbClr val="E18719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</p:txBody>
      </p:sp>
      <p:pic>
        <p:nvPicPr>
          <p:cNvPr id="2" name="Picture 2">
            <a:extLst>
              <a:ext uri="{FF2B5EF4-FFF2-40B4-BE49-F238E27FC236}">
                <a16:creationId xmlns:a16="http://schemas.microsoft.com/office/drawing/2014/main" id="{3F25E2FD-CC24-4CE3-E8E2-4BB057FD003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359" t="18500" r="3026" b="6741"/>
          <a:stretch/>
        </p:blipFill>
        <p:spPr bwMode="auto">
          <a:xfrm>
            <a:off x="2718716" y="2135852"/>
            <a:ext cx="6754568" cy="30668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750809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Zcu8mTfWk2ieNlzQercZ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Zcu8mTfWk2ieNlzQercZQ"/>
</p:tagLst>
</file>

<file path=ppt/theme/theme1.xml><?xml version="1.0" encoding="utf-8"?>
<a:theme xmlns:a="http://schemas.openxmlformats.org/drawingml/2006/main" name="1_MDLZ Widescreen">
  <a:themeElements>
    <a:clrScheme name="MDLZ">
      <a:dk1>
        <a:srgbClr val="666666"/>
      </a:dk1>
      <a:lt1>
        <a:sysClr val="window" lastClr="FFFFFF"/>
      </a:lt1>
      <a:dk2>
        <a:srgbClr val="000000"/>
      </a:dk2>
      <a:lt2>
        <a:srgbClr val="DDDDDD"/>
      </a:lt2>
      <a:accent1>
        <a:srgbClr val="4F2170"/>
      </a:accent1>
      <a:accent2>
        <a:srgbClr val="E18719"/>
      </a:accent2>
      <a:accent3>
        <a:srgbClr val="287819"/>
      </a:accent3>
      <a:accent4>
        <a:srgbClr val="623E23"/>
      </a:accent4>
      <a:accent5>
        <a:srgbClr val="A52323"/>
      </a:accent5>
      <a:accent6>
        <a:srgbClr val="2D6EAA"/>
      </a:accent6>
      <a:hlink>
        <a:srgbClr val="4F2170"/>
      </a:hlink>
      <a:folHlink>
        <a:srgbClr val="777777"/>
      </a:folHlink>
    </a:clrScheme>
    <a:fontScheme name="MDLZ and Calibri">
      <a:majorFont>
        <a:latin typeface="MDLZ BITE TYPE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algn="l">
          <a:lnSpc>
            <a:spcPct val="90000"/>
          </a:lnSpc>
          <a:defRPr smtClean="0"/>
        </a:defPPr>
      </a:lstStyle>
    </a:txDef>
  </a:objectDefaults>
  <a:extraClrSchemeLst/>
  <a:custClrLst>
    <a:custClr name="MDLZ WORLD">
      <a:srgbClr val="4F2170"/>
    </a:custClr>
    <a:custClr name="GOLDEN WHEAT">
      <a:srgbClr val="E18719"/>
    </a:custClr>
    <a:custClr name="GO GREEN">
      <a:srgbClr val="287819"/>
    </a:custClr>
    <a:custClr name="COCOA BROWN">
      <a:srgbClr val="623E23"/>
    </a:custClr>
    <a:custClr name="TASTY RED">
      <a:srgbClr val="A52323"/>
    </a:custClr>
    <a:custClr name="COOL BLUE">
      <a:srgbClr val="2D6EAA"/>
    </a:custClr>
    <a:custClr name="SUNNY GRAIN">
      <a:srgbClr val="E6AF23"/>
    </a:custClr>
    <a:custClr name="COOL GREY">
      <a:srgbClr val="666666"/>
    </a:custClr>
    <a:custClr name=" ">
      <a:srgbClr val="FFFFFF"/>
    </a:custClr>
    <a:custClr name=" ">
      <a:srgbClr val="FFFFFF"/>
    </a:custClr>
    <a:custClr name="MDLZ WORLD LIGHTER">
      <a:srgbClr val="724D8D"/>
    </a:custClr>
    <a:custClr name="GOLDEN WHEAT LIGHTER">
      <a:srgbClr val="EAAB5E"/>
    </a:custClr>
    <a:custClr name="GO GREEN LIGHTER">
      <a:srgbClr val="73A769"/>
    </a:custClr>
    <a:custClr name="COCOA BROWN LIGHTER">
      <a:srgbClr val="93785F"/>
    </a:custClr>
    <a:custClr name="TASTY RED LIGHTER">
      <a:srgbClr val="C97B7B"/>
    </a:custClr>
    <a:custClr name="COOL BLUE LIGHTER">
      <a:srgbClr val="81A8CC"/>
    </a:custClr>
    <a:custClr name="SUNNY GRAIN LIGHTER">
      <a:srgbClr val="EDC765"/>
    </a:custClr>
    <a:custClr name="COOL GREY LIGHTER">
      <a:srgbClr val="858585"/>
    </a:custClr>
    <a:custClr name=" ">
      <a:srgbClr val="FFFFFF"/>
    </a:custClr>
    <a:custClr name=" ">
      <a:srgbClr val="FFFFFF"/>
    </a:custClr>
    <a:custClr name="MDLZ WORLD LIGHTEST">
      <a:srgbClr val="957AA9"/>
    </a:custClr>
    <a:custClr name="GOLDEN WHEAT LIGHTEST">
      <a:srgbClr val="F3CFA3"/>
    </a:custClr>
    <a:custClr name="GO GREEN LIGHTEST">
      <a:srgbClr val="B4D0AF"/>
    </a:custClr>
    <a:custClr name="COCOA BROWN LIGHTEST">
      <a:srgbClr val="BEADA0"/>
    </a:custClr>
    <a:custClr name="TASTY RED LIGHTEST">
      <a:srgbClr val="E4BDBD"/>
    </a:custClr>
    <a:custClr name="COOL BLUE LIGHTEST">
      <a:srgbClr val="ABC5DD"/>
    </a:custClr>
    <a:custClr name="SUNNY GRAIN LIGHTEST">
      <a:srgbClr val="F4DB9C"/>
    </a:custClr>
    <a:custClr name="COOL GREY LIGHTEST">
      <a:srgbClr val="A3A3A3"/>
    </a:custClr>
    <a:custClr name=" ">
      <a:srgbClr val="FFFFFF"/>
    </a:custClr>
    <a:custClr name=" ">
      <a:srgbClr val="FFFFFF"/>
    </a:custClr>
  </a:custClrLst>
  <a:extLst>
    <a:ext uri="{05A4C25C-085E-4340-85A3-A5531E510DB2}">
      <thm15:themeFamily xmlns:thm15="http://schemas.microsoft.com/office/thememl/2012/main" name="MDLZ_Widescreen.potx" id="{BCA8ABF2-666B-422D-AAEE-EB9FCF85AE21}" vid="{D602B769-5CAD-4414-8A6C-56F1EFC6CFFE}"/>
    </a:ext>
  </a:extLst>
</a:theme>
</file>

<file path=ppt/theme/theme2.xml><?xml version="1.0" encoding="utf-8"?>
<a:theme xmlns:a="http://schemas.openxmlformats.org/drawingml/2006/main" name="MDLZ Widescreen">
  <a:themeElements>
    <a:clrScheme name="MDLZ">
      <a:dk1>
        <a:srgbClr val="666666"/>
      </a:dk1>
      <a:lt1>
        <a:sysClr val="window" lastClr="FFFFFF"/>
      </a:lt1>
      <a:dk2>
        <a:srgbClr val="000000"/>
      </a:dk2>
      <a:lt2>
        <a:srgbClr val="DDDDDD"/>
      </a:lt2>
      <a:accent1>
        <a:srgbClr val="4F2170"/>
      </a:accent1>
      <a:accent2>
        <a:srgbClr val="E18719"/>
      </a:accent2>
      <a:accent3>
        <a:srgbClr val="287819"/>
      </a:accent3>
      <a:accent4>
        <a:srgbClr val="623E23"/>
      </a:accent4>
      <a:accent5>
        <a:srgbClr val="A52323"/>
      </a:accent5>
      <a:accent6>
        <a:srgbClr val="2D6EAA"/>
      </a:accent6>
      <a:hlink>
        <a:srgbClr val="4F2170"/>
      </a:hlink>
      <a:folHlink>
        <a:srgbClr val="777777"/>
      </a:folHlink>
    </a:clrScheme>
    <a:fontScheme name="MDLZ and Calibri">
      <a:majorFont>
        <a:latin typeface="MDLZ BITE TYPE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algn="l">
          <a:lnSpc>
            <a:spcPct val="90000"/>
          </a:lnSpc>
          <a:defRPr smtClean="0"/>
        </a:defPPr>
      </a:lstStyle>
    </a:txDef>
  </a:objectDefaults>
  <a:extraClrSchemeLst/>
  <a:custClrLst>
    <a:custClr name="MDLZ WORLD">
      <a:srgbClr val="4F2170"/>
    </a:custClr>
    <a:custClr name="GOLDEN WHEAT">
      <a:srgbClr val="E18719"/>
    </a:custClr>
    <a:custClr name="GO GREEN">
      <a:srgbClr val="287819"/>
    </a:custClr>
    <a:custClr name="COCOA BROWN">
      <a:srgbClr val="623E23"/>
    </a:custClr>
    <a:custClr name="TASTY RED">
      <a:srgbClr val="A52323"/>
    </a:custClr>
    <a:custClr name="COOL BLUE">
      <a:srgbClr val="2D6EAA"/>
    </a:custClr>
    <a:custClr name="SUNNY GRAIN">
      <a:srgbClr val="E6AF23"/>
    </a:custClr>
    <a:custClr name="COOL GREY">
      <a:srgbClr val="666666"/>
    </a:custClr>
    <a:custClr name=" ">
      <a:srgbClr val="FFFFFF"/>
    </a:custClr>
    <a:custClr name=" ">
      <a:srgbClr val="FFFFFF"/>
    </a:custClr>
    <a:custClr name="MDLZ WORLD LIGHTER">
      <a:srgbClr val="724D8D"/>
    </a:custClr>
    <a:custClr name="GOLDEN WHEAT LIGHTER">
      <a:srgbClr val="EAAB5E"/>
    </a:custClr>
    <a:custClr name="GO GREEN LIGHTER">
      <a:srgbClr val="73A769"/>
    </a:custClr>
    <a:custClr name="COCOA BROWN LIGHTER">
      <a:srgbClr val="93785F"/>
    </a:custClr>
    <a:custClr name="TASTY RED LIGHTER">
      <a:srgbClr val="C97B7B"/>
    </a:custClr>
    <a:custClr name="COOL BLUE LIGHTER">
      <a:srgbClr val="81A8CC"/>
    </a:custClr>
    <a:custClr name="SUNNY GRAIN LIGHTER">
      <a:srgbClr val="EDC765"/>
    </a:custClr>
    <a:custClr name="COOL GREY LIGHTER">
      <a:srgbClr val="858585"/>
    </a:custClr>
    <a:custClr name=" ">
      <a:srgbClr val="FFFFFF"/>
    </a:custClr>
    <a:custClr name=" ">
      <a:srgbClr val="FFFFFF"/>
    </a:custClr>
    <a:custClr name="MDLZ WORLD LIGHTEST">
      <a:srgbClr val="957AA9"/>
    </a:custClr>
    <a:custClr name="GOLDEN WHEAT LIGHTEST">
      <a:srgbClr val="F3CFA3"/>
    </a:custClr>
    <a:custClr name="GO GREEN LIGHTEST">
      <a:srgbClr val="B4D0AF"/>
    </a:custClr>
    <a:custClr name="COCOA BROWN LIGHTEST">
      <a:srgbClr val="BEADA0"/>
    </a:custClr>
    <a:custClr name="TASTY RED LIGHTEST">
      <a:srgbClr val="E4BDBD"/>
    </a:custClr>
    <a:custClr name="COOL BLUE LIGHTEST">
      <a:srgbClr val="ABC5DD"/>
    </a:custClr>
    <a:custClr name="SUNNY GRAIN LIGHTEST">
      <a:srgbClr val="F4DB9C"/>
    </a:custClr>
    <a:custClr name="COOL GREY LIGHTEST">
      <a:srgbClr val="A3A3A3"/>
    </a:custClr>
    <a:custClr name=" ">
      <a:srgbClr val="FFFFFF"/>
    </a:custClr>
    <a:custClr name=" ">
      <a:srgbClr val="FFFFFF"/>
    </a:custClr>
  </a:custClrLst>
  <a:extLst>
    <a:ext uri="{05A4C25C-085E-4340-85A3-A5531E510DB2}">
      <thm15:themeFamily xmlns:thm15="http://schemas.microsoft.com/office/thememl/2012/main" name="MDLZ 2019 corporate presentation (002) [Read-Only]" id="{46CC66DC-98EF-4FBC-AF28-CF9AE8E8D258}" vid="{36AE2E68-2392-43C3-8137-F37BD1D6E667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Metadata/LabelInfo.xml><?xml version="1.0" encoding="utf-8"?>
<clbl:labelList xmlns:clbl="http://schemas.microsoft.com/office/2020/mipLabelMetadata">
  <clbl:label id="{a9324442-4656-4fca-b26e-099b64ea741e}" enabled="1" method="Standard" siteId="{18a01ad8-9727-498a-a47d-17374c6fd9f7}" removed="0"/>
  <clbl:label id="{b5da5f35-6442-4f5a-9622-92ec6a535127}" enabled="0" method="" siteId="{b5da5f35-6442-4f5a-9622-92ec6a535127}" removed="1"/>
</clbl:labelList>
</file>

<file path=docProps/app.xml><?xml version="1.0" encoding="utf-8"?>
<Properties xmlns="http://schemas.openxmlformats.org/officeDocument/2006/extended-properties" xmlns:vt="http://schemas.openxmlformats.org/officeDocument/2006/docPropsVTypes">
  <TotalTime>73</TotalTime>
  <Words>362</Words>
  <Application>Microsoft Office PowerPoint</Application>
  <PresentationFormat>Widescreen</PresentationFormat>
  <Paragraphs>48</Paragraphs>
  <Slides>4</Slides>
  <Notes>3</Notes>
  <HiddenSlides>0</HiddenSlides>
  <MMClips>0</MMClips>
  <ScaleCrop>false</ScaleCrop>
  <HeadingPairs>
    <vt:vector size="4" baseType="variant">
      <vt:variant>
        <vt:lpstr>Tema</vt:lpstr>
      </vt:variant>
      <vt:variant>
        <vt:i4>2</vt:i4>
      </vt:variant>
      <vt:variant>
        <vt:lpstr>Titoli diapositive</vt:lpstr>
      </vt:variant>
      <vt:variant>
        <vt:i4>4</vt:i4>
      </vt:variant>
    </vt:vector>
  </HeadingPairs>
  <TitlesOfParts>
    <vt:vector size="6" baseType="lpstr">
      <vt:lpstr>1_MDLZ Widescreen</vt:lpstr>
      <vt:lpstr>MDLZ Widescreen</vt:lpstr>
      <vt:lpstr>Mondelēz in italia</vt:lpstr>
      <vt:lpstr>IL WELFARE in MONDELEZ ITALIA</vt:lpstr>
      <vt:lpstr>Presentazione standard di PowerPoint</vt:lpstr>
      <vt:lpstr>Benessere in azienda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Fornari, Giulia</dc:creator>
  <cp:lastModifiedBy>Balzano, Emanuele</cp:lastModifiedBy>
  <cp:revision>6</cp:revision>
  <dcterms:created xsi:type="dcterms:W3CDTF">2025-02-18T09:37:06Z</dcterms:created>
  <dcterms:modified xsi:type="dcterms:W3CDTF">2025-03-17T09:58:5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lassificationContentMarkingFooterLocations">
    <vt:lpwstr>1_Office Theme:8\1_MDLZ Widescreen:5</vt:lpwstr>
  </property>
  <property fmtid="{D5CDD505-2E9C-101B-9397-08002B2CF9AE}" pid="3" name="ClassificationContentMarkingFooterText">
    <vt:lpwstr>Mondelez International Internal</vt:lpwstr>
  </property>
</Properties>
</file>